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257" r:id="rId6"/>
    <p:sldId id="265" r:id="rId7"/>
    <p:sldId id="264" r:id="rId8"/>
    <p:sldId id="267" r:id="rId9"/>
    <p:sldId id="262" r:id="rId10"/>
    <p:sldId id="266" r:id="rId11"/>
    <p:sldId id="271" r:id="rId12"/>
    <p:sldId id="272" r:id="rId13"/>
    <p:sldId id="273" r:id="rId14"/>
    <p:sldId id="274" r:id="rId15"/>
    <p:sldId id="275" r:id="rId16"/>
  </p:sldIdLst>
  <p:sldSz cx="12192000" cy="6858000"/>
  <p:notesSz cx="6858000" cy="9144000"/>
  <p:custDataLst>
    <p:tags r:id="rId1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BA5207-4E4C-A5D9-2265-BF031E3CC55B}" name="Hilebrand, Lukas" initials="HL" userId="S::lukas.hilebrand@student.reutlingen-university.de::267c311b-e648-45c2-ae1e-8896b1574396" providerId="AD"/>
  <p188:author id="{A8488165-0931-29C7-E32A-0E4EE8884082}" name="Ziegler, Caroline" initials="CZ" userId="S::caroline.ziegler@student.reutlingen-university.de::7a2ac3d3-4568-4cfb-9daa-cf03b385e139" providerId="AD"/>
  <p188:author id="{0CE57187-8EEB-CA54-7449-D6C66D2F68EB}" name="Stefan, Chantal" initials="SC" userId="S::chantal.stefan@student.reutlingen-university.de::32a90bb8-83ff-4b15-9e26-b584e52773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A6C7E6"/>
    <a:srgbClr val="083979"/>
    <a:srgbClr val="AAAEBE"/>
    <a:srgbClr val="008000"/>
    <a:srgbClr val="A6A6A6"/>
    <a:srgbClr val="E6E6E6"/>
    <a:srgbClr val="0000FF"/>
    <a:srgbClr val="80808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A7B533-D5A4-4B45-98CD-6530035A6CE0}" v="46" dt="2024-03-19T12:11:37.143"/>
    <p1510:client id="{60EAE1D3-E42C-497A-AADD-8D5694D00A9E}" v="38" dt="2024-03-19T20:08:22.0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81" y="51"/>
      </p:cViewPr>
      <p:guideLst>
        <p:guide orient="horz" pos="89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Book1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I$10:$AI$48</cx:f>
        <cx:lvl ptCount="39">
          <cx:pt idx="0">Australia</cx:pt>
          <cx:pt idx="1">Austria</cx:pt>
          <cx:pt idx="2">Belgium</cx:pt>
          <cx:pt idx="3">Canada</cx:pt>
          <cx:pt idx="4">Chile</cx:pt>
          <cx:pt idx="5">Czech Republic</cx:pt>
          <cx:pt idx="6">Denmark</cx:pt>
          <cx:pt idx="7">Estonia</cx:pt>
          <cx:pt idx="8">Finland</cx:pt>
          <cx:pt idx="9">France</cx:pt>
          <cx:pt idx="10">Germany</cx:pt>
          <cx:pt idx="11">Greece</cx:pt>
          <cx:pt idx="12">Hungary</cx:pt>
          <cx:pt idx="13">Iceland</cx:pt>
          <cx:pt idx="14">Ireland</cx:pt>
          <cx:pt idx="15">Israel</cx:pt>
          <cx:pt idx="16">Italy</cx:pt>
          <cx:pt idx="17">Japan</cx:pt>
          <cx:pt idx="18">South Korea</cx:pt>
          <cx:pt idx="19">Latvia</cx:pt>
          <cx:pt idx="20">Luxembourg</cx:pt>
          <cx:pt idx="21">Mexico</cx:pt>
          <cx:pt idx="22">Netherlands</cx:pt>
          <cx:pt idx="23">New Zealand</cx:pt>
          <cx:pt idx="24">Norway</cx:pt>
          <cx:pt idx="25">Poland</cx:pt>
          <cx:pt idx="26">Portugal</cx:pt>
          <cx:pt idx="27">Slovak Republic</cx:pt>
          <cx:pt idx="28">Slovenia</cx:pt>
          <cx:pt idx="29">Spain</cx:pt>
          <cx:pt idx="30">Sweden</cx:pt>
          <cx:pt idx="31">Switzerland</cx:pt>
          <cx:pt idx="32">Turkey</cx:pt>
          <cx:pt idx="33">United Kingdom</cx:pt>
          <cx:pt idx="34">USA</cx:pt>
          <cx:pt idx="36">Brazil</cx:pt>
          <cx:pt idx="37">Russia</cx:pt>
          <cx:pt idx="38">South Africa</cx:pt>
        </cx:lvl>
      </cx:strDim>
      <cx:numDim type="colorVal">
        <cx:f>Sheet1!$AJ$10:$AJ$48</cx:f>
        <cx:lvl ptCount="39" formatCode="Standard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  <cx:pt idx="16">1</cx:pt>
          <cx:pt idx="17">1</cx:pt>
          <cx:pt idx="18">1</cx:pt>
          <cx:pt idx="19">1</cx:pt>
          <cx:pt idx="20">1</cx:pt>
          <cx:pt idx="21">1</cx:pt>
          <cx:pt idx="22">1</cx:pt>
          <cx:pt idx="23">1</cx:pt>
          <cx:pt idx="24">1</cx:pt>
          <cx:pt idx="25">1</cx:pt>
          <cx:pt idx="26">1</cx:pt>
          <cx:pt idx="27">1</cx:pt>
          <cx:pt idx="28">1</cx:pt>
          <cx:pt idx="29">1</cx:pt>
          <cx:pt idx="30">1</cx:pt>
          <cx:pt idx="31">1</cx:pt>
          <cx:pt idx="32">1</cx:pt>
          <cx:pt idx="33">1</cx:pt>
          <cx:pt idx="34">1</cx:pt>
          <cx:pt idx="36">1</cx:pt>
          <cx:pt idx="37">1</cx:pt>
          <cx:pt idx="38">1</cx:pt>
        </cx:lvl>
      </cx:numDim>
    </cx:data>
  </cx:chartData>
  <cx:chart>
    <cx:plotArea>
      <cx:plotAreaRegion>
        <cx:series layoutId="regionMap" uniqueId="{181E1832-6D80-474F-BDA3-FB405882AC26}">
          <cx:spPr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cx:spPr>
          <cx:dataId val="0"/>
          <cx:layoutPr>
            <cx:geography cultureLanguage="en-GB" cultureRegion="DE" attribution="Powered by Bing">
              <cx:geoCache provider="{E9337A44-BEBE-4D9F-B70C-5C5E7DAFC167}">
                <cx:binary>7H1Zb+PIku5fafTzpZu5MvNgzgAnuUjyvtX6QqhsFfd952+bt/vHbsi2XBKtsnymPagC7qgbVSjS
qcj8IjL2TP/HXf+Pu3i1LP/okzit/nHX//NPv67zf/z1V3Xnr5JldZQEd2VWZd/ro7ss+Sv7/j24
W/11Xy67IPX+wjqif935y7Je9X/+53/At3mr7DS7W9ZBll41q3K4XlVNXFevvNv76o+7rEnr9XAP
vumff/6rqeoyWP75xyqtg3q4HfLVP//c+Zk///hr+k0vqP4Rw8Tq5h7GUuOICUM3dGr8+Uecpd7T
c0SPENWlEITpDx+0oXm+TGDcGybyMI3l/X25qqo/nv7eGrgz663nQZWZj4s2s/UM/3X7sKS/dkH9
z/+YPIBFTp5s4T5F5NCrvbAv4/cEXsPsyMBCp4Ig+fjZZQChR1TqyCCE/pQBh6b0Cgseh+5jwuOb
F2z48OvZYFd1lr4nE5g44oJwjkHUHz67mwBYJIhhSAPxvZvgDfPZz4HngRP8n59P0bftX4++Oa7u
/D+uV3nzLQ7uNurgHVSQPDKIxETAnw8fsbsR2BEhCJjANyQfNdDDdF4Xhv3gPw+cgP/8fAq++fXX
g69WsRc0yQaCv4860484SD3jwtgn+vSIc4QFE+JR8nWyIf2I/hvmsx/954ET9J+fT9FXv4PoL9Pl
/TtaXY6PmEExQgg/K5Yt46tJfsR1QyJ9o3gm6JsH57Mf/M24Cfabx1PozX/9esG3VmmyLKON9L2D
4LMjSTCSxGD7BF8cSQF2d2N1dR1MwqOz9Sj4b5jPfuyfB07Af34+Rd86+fXom34QrzYA/H3sNYKO
DI4IMfCT1pE7ul4z0BFBwjAQmWr7QxPZD/rT/CeQPz2dAm6e/nrAnSCNl+n9+0HOyRGm3DA4e9Lk
eAdxcHEk1iViTx6OPvHz3zCf/cg/D5xg//x8ir6z+A3QL5fp3TvKOwU9jqnQJZ44lkeUgWdJ5WYX
wDbYVjLOwXn8BPSncVPMnx6/gPz610O+KFfvK/AMHwnOkOSYPNrWXYHXjCNAnTLwJ588m4nEv2FC
+8F/HjhB//n5FP7Fb+DZzFZlskyHjfj9fRXP0BGoEykA3n3mFelHROhCNzaO5QT9N8xnP/rPAyfo
Pz+fom/9BuifNv0q+ZY1pfd+DKAQThlcYCrpIwN2wykO7MFk7VruF/+3TWk/D7bHTtiw/WrKidMP
v14NzcrV6j01PxGQPxPgRkIW7eEDHvyWh4/JkWRYUMpBO21r/sPz2A/9ZtwE9s3jKeSz30Dzz5vU
W5bvqHogl4k4oPqcUNuVfCSPKMJISLqxurvQv2E++7F/HjgB//n5FP35byDwi7t3trucriMnJOjE
19EQbAWdrVOZPxKd2yL/hpnsx/154AT35+dT3Bc3v17RLKpyuYo3kvf37S3RjwTCFIMDv0/dQxZZ
MJD4TRpnmsc5PJ2fYP+0jCn0T49fIP8bhFaLehm/p7YhRwwzxnTxpOHBk9nS8AiDMlpr/g3yE0fn
4Gx+gvvjIqawPz59gfpvUDo5XubL9B3FHSIqRhFjBn4Ud4ictlEna/eeM47ZhuZj2ubgNPbD/TRs
AvfT0yncx5e/Xr3cZE3t/3GSlavlBoB30DH8iBKBseBPTuOuM4OwAXUSDGVEChZ3W7W/cTb7sd8Z
POHAzrspH05+A+dGlcsxeEc1r60Dp4ePPolnGSR4HjzMTUA78SgPz2Q//JtxE+Q3j6egq98A9NNl
3b5eEfr3iuOMg/GkOkLwx8NnF3oMHg82dM43/iToom3pPzyd/chvxk2Q3zyeIn/68dernbNVH9xl
m+X/fY2zjo8IYRKJvTVB2A1QQdElX/+3ofqo6A/PZD/om3ET0DePp6Cfff71oJ+van9VrrNn1QaD
v488pM8wZRwqJLspSwaZTC6RsWGInAj7GyezH/ydwRMO7LybsuH8N/Arz1fdH19Xy/fNYmoUgYCD
9wiV8X26BxmQ5iSUIjTNILxxOj9jxNZaXjBi690LRvwGNfLL7H15AFsBIisOYeuTEpr4mpBP0HWK
uZiooMPz2A/+ZtwE983jKeSXv4PsZ2W3HN5R+8gjCeVByNw/hU2ToEqHVhEBSn/iZ54fnMZ+xDfj
JohvHk8RP7/49Ur/Mivrxlu+o2tJJDRBQUHcYLsaf10pgRfQH7IRf3i/7d+8ZSr7cf8xcoL8jxdT
7C9/g1j2Js7aZfQ/0QIljqAHkxrAgr3KHjSNgGwy1yea5nFCr7u8+znwY+SEAz9eTDlw8xv0I6xn
t3rXFkAo0SIECTK+yRrvbgLog4XAV9fZOqu5LfxvmcnPoX9cwx7oH1+8gH7x6xXPTb4M3jGRQyGe
hZywzjdJ4d1kvQbZNUahNRP9pE51cDo/Af9xFVPkH59OYbd/g3zxTbe6X70j7gy0/brxALOnBNou
7iDvDOvQ97fpjpq4+Yen8xPcn5YxBf7p8RT5m9+gOHvTBfX4GF9ttv7fD69A3QgdQQF2U3/dTaWJ
I+hakJC/3Ej9JJnzxjn9jAdbC3rBiK13U26Y81+vfm6bMlq9o6cJBVoppA5tgE/Zm129TxikPAkm
iEwSybf/97/KKBhWr4nEfvh/jJxg/+PFFPjb3yCp9iEN6tX9HydwzuU+e88GZEjxQFYZMH5K5O8q
Ig0SPExn0KP8dABlnffcNsBvn9d+dkzHT5gyfT1lzUz9+j3x4eZfG0z+vmaCMIDpBBxQBk7mVklF
k/JIhzwcXRdxHz4TT+gJqZt6Wa9eTUS9yofN8P1s2LydcuHDb2Chr5uqet0F//eyzhxB772hY2hl
2GHEmg9SwI5A+49kHZ7HfgZsxk2Q3zyeQn794dcL/s1Dletf38vg7h3LXBoGmyAh9akbu8hDk6wu
DESxpJv99phsfus89gO/O3oC/+7LKRO+wsaHc36TE28vHvyPHop7Pi/zqJX/vgZad67970GgycHR
6VHEN2vbf0/p/K/2z16c1n3YtdODvFN+/HDe3msb/K9nGtdvgv5Hquq9oKf//+ThJqZj60T083Fx
a1kv7Ydz5m9+u+HbZOiT477XRDzybnH/zz/Xlaznw+vrb9jx960wgE7pOthY4M2I1bKq4Rw7gSMV
eN12bugC+hAJRBPd6uENHDmC80S6gMcSM0NASSGFJLr/zz+hRwvewMEYRBAjurGeQLV2LeCVDoWI
dQs1hbZFsPxMPJ/rh3rM4GXpM0xP//4jbZLLLEjr6p9/YgRRY/74c+t5GnDEBuhDty+4b3Di2DDA
h87vltcQVMGPo/8DM+tI2vNBjSjuZ4Um2rnwKJWOLOPgQx4n+BMyOn2eVKmeqiEyqJVWvfRVGXvh
wsvrsLWg17j2FIai+SoYdTEP864106ELuB1HWWGhkbDwpHU9TI6xkaXzCEt+PWgUj4riOi8UtE5l
RNUC5dYgsvE8SLOgtRiN+2tNBsmZVusysHqGmwUNkRvMx7FvZsgYqR9bLo1iIzbDKk65FSdB8qnX
QnLZVrRUVVjpqtHRqMKSuB+MsspVL3jMVdyVhtkUYXJZ47yYoSZuZzoEhU43BqUt9aFUsZZXykMp
VYmvFaqNDd1XIy7rMz/pc6svZXrVBiS+xB68iJqAq8GVmZ1yOphtxxIzylvsjDIld5oMk9MY8Uw1
fssCsxS0T22XluyMjTRYoPCqb2Q0LwiJ5qkRYVuyDJ31Yd0ve+RmHwY/zJyUaDo2czxWs7pt6vMw
ywLL17rAiquqPRtIj8/6qHMdhvReSVY3TloWEVe6dLXjsAi9m1z4Rn8SRnm0MEQ3zoeyH1RQ541V
syC8ElUymJE7+s5g5J4VpQM/jVmqfWtyJjtVtLp/W1Dh+mYQe/1VGRnRCvORm21RhydJnGmOTuLo
Ms90z0690PcVET5Gqio0FquxG4pzVMekNkPPrVqV+YSHSnI9nHeQ+zsRLJCByf3Bdfqx7S19JKXd
tRnXFAmI/p3RpHA8N2NEBS2vWKo0PTZCVY1+zawkY+Unn7GwMAXv49vWRblvl3Aop1ElyHpwGrse
b+wsSDTtuByz9qJgUeR4WDbXQY9wrqDxpp/hLqaOkFl6WRAtPCmDulelbEmgqYZkcWjiBrdODTCF
nxMaw7DaIOi64UF61td5fpWXUr/ChpefIT1jJ32qt2bkxY0VyDy8GEM0rtq8GM9wVPIb5ibF0oh8
9K3KZf8hFWX+naBi/JYV/cpLDN3kQ8hUn5b9Ze0a/kc9LqrPUYUCOxn9wLeHmlbsetT4KE9R0XYm
SnUs5gx7tLPkwMPOxuPYdrbXG0U4b2WXCpsOmS4sjYZ9ZTatTqmqMO5MltEkXuhhXwoFIlzLXMnA
B0Fqknr4HKYj9+2iSmM0i4OAu6rL/fh6kFIP1eg1Ept6lY71XAeh9GZJnnmaaeDWTxRuDAntoiQl
53HRd6usl4N3TpqxuNpSv3uU2lplbas0CEPh8DicYIaD+xg/dFzuqDQ6liw2GFZpmqlAT8wg0Rc+
Ow5yXdWIP9bzHm/12ENtqkAfqVFOKXRcQasz5E23qaVGRXSt4Fhhnlq0uyWBawc1Vq+vCVIde9b0
gwrEe9tUqNBIwLUWK1n5pyKV98VY3wRCmnVdPpbHfrogBJn0l7QEYohzBhaBgF3apiUyI45ECviJ
M+qbKFDeCZqnn+Jwjq6ihVDMjKzmE2w2R7OMW+/T6ytFa8BesG+LPNi+bfJ9HCWa9DqsCruxRyux
m8xMzFoZs+Cemf4xyw9gu2+9EqwznM0zCIPelV2CRpx5hREAQSlmTVPNi/xb3seKi2NtDK14nA3e
AYrrpt8Xa9wmuX6/ZXXdTvpJWAI7aydfcLM6c63IXGnnfmTKazRPzoCxtqs8sz7TT9ilftJ8S0br
/gCn8aGVr6VuexqeSxGRPVaVrZveif9lkGYwby/JSTLjREVnmpnOe3Ow4nk+K+aapZ9UF6CJ/Cs+
5yeaFZr/Dd5v4zLxRjTdrWXpwoTEWXDdfQ2txMxt77JxehsMxnH27QC9NWunsibB6YFcLwaFQSab
l2kgDzpvgA+Wbup2bIlQZWeR2ZtrMc9uurm8P0Byj3YyoI0E0pmUI8HJmidbmDeJkKFRFGvMkVOp
7LgYZs2qOGvnhaao4oo65cynysUfXPsA7T1aZJs21XdpV3DXSUkyoI1nfFYuSqu1vDmIm9mBAXXI
MXXGs2Hunx0gu2/J4HBAXQ8OwErdmKDcu5TrSQzSTmeMmNk5N7Ov7qL9RjvlnhozYofHolYJNkGf
WK/T3rPRjG3Sk72dtnlIYgLa2TM8z4xdd1BR1LVX9UDJ9euk8B50uYBcNFQwsST8hTAhEQRwvwDo
kUb5i2E2mOC+nIWOZiNVXlZmaIlFrXpwVFVm5WZsfkjn2aL4EjjugX30oKKncg2nb9Y3BBmGTvhE
yCJWxjUOAHFOHc6c8KqaNya7KIyToLANi11od+Vp8BFcd98WM03FVj9Hsya9qDLVWXd96SDWgiTq
89jUD+C0X8FDCUViCD0wxDG7UljmbV4Kby0OZ43dFCY3wYe3WpMlNjHrNwjBHvnjYosghGDbW04f
XQTOMzBm9CSbM+G5ZkNzbEdDktgReGrnCYEd8Lo4kD26xQDtAVcYrCM/vA7vtqn2BFwn0oAZ7czW
qs5jy7OpWZn9PAaJyO3kAzsfPzUgH5HZOMGsc1xVXOoqcOJZbrl2dBGehczyHHmbHdD7aL3giXjA
1CgBEy8wnEqZ6IEkCXtw/kDtab6iV/7taFVmcqZ/KT8R3Sw+sxl2iJ2fRd+4p6IDOnePzdmhPYGF
VEXQ8BKsLZ1589Rp52RWLcpZNX8dfoT3rtEwIPJmnMMhv13441Ybwc0EKeuOR8dwipkEU5IsPLME
CTtouPZSg1OcGPa9DkH+xKAzcIWFCIGacYFN3xwy07Vq5Z9zJ/8QXxmL1xe3F0MG57sIHKWG+wQm
1PQQ+xl0x2Gl4zQ1mZ7c54Nmjij7WI+NM4TdtUybVe2RAwYEr5kzFRwOQgNOL1t3fk2Y1w194OMI
7LOVf8az1hqt8ZbMNTP+5Fut4hfeaWMRk30sZ54jxgM7as+GEkJAmkJCeyvH01QFBrcU86Ynqos/
agWG4J07r+P6IhsC69ohMdEUXZZVrGuAjYE7YhVp5LLWIqnSYTT7HMLGOi7V6EM2oR4uinBwKL0u
vHTh8ls5nvKo//z6fPZYL8jzQJeXQeCaFDr1TH1Wu6JDnKqoGhTnUrlRZZZYP8DWfXtlh85EngrR
c7+tgE5Vdk6clYr3xSwtkEoSauJuxuuvMsAnWlCbBGIpzY0PzWCP7YQZwFku6HtYp7fW77e8ojYu
BhA4mEHatRetG0GyJVBjw52QRSopQ5U2xTEZySLUXQuVmmopUq4BJh03J7I0bK0Ss9fB3ycMkoJ9
gkuBJHhsUy2JZBPHgQZxcWkhp14k9iLiZmRS1dupHVi4VunskCLZY6rWt/ohCTEsNBw/eOxbOHS9
Prb5mib1G0cUp0XkVPqpq/tmV0YHvIR90gU95NBgCM3i0Ls80ZBpkqVc6wlVOk2tjOhOgYyL1MAH
NtXeJUHReO3/6RyaV3ZZG1YRTbiPAUajM1MPQnKvsDlY45wjpcXJAS2xl23QsooQ3BEKfXp0oqPa
MFgfXhioao4h/ufHqeNeokTFiszsbFEe+8cnzSFjs17DRC9KkF22bsmEC9SmHm7dlzSMAUtw6rWL
3mpmIzjVjROeu6o289kh/f9SEyI44UvBuVhf14OnnGsIxTgYMqRiOfdxbCISWq8L/0vZAAqQEoZr
Pg3IWq9vX9rej7kw6iiNe6QinCrSaWYuhfIr7QCz9i5ki8zarG6JO+1572k+kPFFd0zFaKfrCx6f
c/GXjzzYznDvpQAqRYA5hEiATihEcT62Y9IhZRie8oZeBRH572AF8aPOEER1hE60J67RwGraINV6
oQXJ3HMjG28ILg5gtcdrQ5jra4UEN6VAPm7i1KdR2LgDBzqV3VvICuxQKE9BYjS4kjabDVZihZ7p
umY4i2fNIeovTf8O9ak21BtPttgA6kx1tuFUqwQ0oTHLrPBr+O9r3l1aE+nDCXcb332g1VrBnJwE
kdXeuBbkGO+4wk7iZO3lIar7RJ4zOMYhuAG+MZmow7giMq7KGMxKAVlNz3Xytje10DsgLXt8KFgc
HFgD/wl01AvHNNFCrcn0Eqnhqv3MZ8jRVGVWUF5QLigNwmbpp9zWrobT6r40/W5RzZND/v8+XoKN
hVZPCp39mK03zda2g6KCCyndcu2D1wv9zLO1h4xHdVnODqnGtce0qxnBqq+jYganJuHywunm6KiW
BQag6kXHPW+/FEhejxmduV6wcFnq0GD88PqO3xNf7pKc+BL94MU9lRGCpI6h1qFNECkNhFV3Utu/
8g5G23sEB5YIzvj6gBBU5SYGjldDnkUuLDGX0QIAh9QZP4YWz8djUj/Ny+J1VPYCynW2CvILkKyc
xhhtV6aJ24PWL+zO1u3I9iG3bzH/gutOba+3f+Dg7Dg5IUj1l8YtuxTVoxZ4qrk+qdPHAuJdlg9l
4PlPd4M///M/zzYXjj90+fx4vr5d/Me/LvJVelPD5UX12TKf/uSa3vOP/ugFWpdWn1uFJpXax3vK
f1LGffXl22q8iMJ+fzYsL4q829dE/SgMPwx6rPNyaE+H2ETX15XcdRoZpOSxzgvXaYPYP9x5hcm6
RgBvnuq8cNct3EuzvveHA1PlgyF/qvNCzxFcwgTftb4UDoyL+LfqvHANxa7wwD3wMAcG0en6OgQB
Xdy7W37Ime+RxqMKVzUkoSLeggNbmnXipaovipMAR9k8zDq7jaBGmaDMtTP5qc+7ZB6WbmUneTCa
1G9tWo6aGl2aOhGRd5oL9TaUhGYbjYlduWWgmiouzES6525XOr2rMyvLtFhBLh2bEsffGqO66qLa
GrUyhZi16yxGKlW5/ZcSQ5Y51++9vCjN0nfPh/qk7GrHL4jhQGHwe6qXJ7wZ5yKqMxv5ea0K0p+2
VHxDLjIDSPEu3M69ymNqcb8rLOZ1pU2C6kNl4FC1rWtqWtqbzM1t2gxWGbuXRpOcu20cWk2GL6Bu
+0UawXkQy4XRgHdP2DxJ27M+5VALkOlF7XLbY0WrcNrqJnK9L00VhdaQdKab2n1KBkVHDXKZUMC2
g7QqzEy7lg3jSmadJTQZgQesJ6pNcGPnaVoqdzAgtKxylWfGPeqlq4SHdMsY/cF0a/rNcwWE+a4u
55GWfWu6olSCRETJsqtMj2XXXsSgxPo9DhoHrMqtHPRvPqHdrKy7RYSjK9JrrokasytQ4jSSU7M1
AmpqPhTcx6qLVF1593HTV3bjd5nSu56bZemZNBk+0Ko7jcPzIvI6U6b0c8yhPpD4521ZjDDPKrSo
/x0SkN88Typf0y7aMjuNguLWYPHopKi7rXr+UU+8yMpHF/K7RuvZnge1egwL7So+Ol1Tn0ZovC/d
9CKg1byMKxWMkGHAns2JAQAmTIfYVyxLZLv3ssk6s8r93DKMW96Tey3rdbPRu8JBuvgU0HI5SA3g
MfLLxsupJfKmNJkGMp/gsTtLy6RSYyHoNdyAX6uyqamTMAiuJWtO3RpXCn5ZgvKCPFFeZ3xI9bhV
kNRWRS8ClQkaOmXUQcqlJCrHemiOeVmoomgTNRrI5hX4mYC5rn1F0WeclKkz1uNHaGLWwE8nyHJd
3ynpwuukLdzgOBiGzqpYft30iKmsV5FXQ2o45YlqxnaGZVsponezMQN3wWtrKGLTD0VfJSbLy49k
wAYItc9VeJfmw5WBu3kgiw8kHGI19L6KK8839YZ95E12q7euMBPiHhedPBV9dB377UdMMlt0tLC0
8rbLT4Uf2DS6Y12FzLalnjP2pwGiRGE3KKBVg5+1afVJtEQZSfFR4tqK/QGpQBvmget5irqJp3zU
fmIasEnXqE1xcVMhcKgGaE8AJxlyYlFzmvbFcYSqb2meB8poRidPicPW0w5FvERle+nqDfhCsvhS
uWTWk9Oi8M9jvXTcohUqjKM7kowckseQS0ei/uqh8BjgsUYWLCOsQb5E+X3umkFjDfrcE8lxU5NW
ed4AQbtE38o28JSAikMfUVvz0g/Mg8y363aW1xazoQmXWdSkZtyzuzT2Y5XIXlcxhsaQweCw70Z5
QaPyc4lTbFdRdMayFp+grlrUY4BM2hYWh2K517HY9ProNKOu4hWlZt/HyxAFoxpD/5Nf9b2KRVjZ
smy+RJl+HOBAQYYpD5P20qOjw7SinbcaUrw1dKfRNNAjw3g6UHzsj0UAAAWeHWhQEaUdPdOo518g
rYzmoZG3qgD5U312UsuGWzKmJUDCYB/HMYi7b5X9ohshAvf75LN2FsB2UKJH4FzUmtX63fe6Q7Ep
O0izSF7c1GM/WNR1rZgEizL3jj1XO0tqI3Dqvl8kbXjZl40GXS29p6qO4/MyqedozGakrI7TMrtq
OFpQDfiRdZmw6vz7UPdzWaSGKcYht11tNINWfK109iXyvG9gd05dI7jK+jpUdTfeVsysAMwBTE3l
5lwFhDrRSA2b6Emjajefa3qkmVFJI3OkZFRZZZxoeTYqVnAIiaI0PDW10gFavGzFwm/qXBVcv0kh
M2K1QV6ZbqZ/QiWZaZp3Xhu5IgkKFaT/TFQZ1UKkrdlK/ZKHYaRE4UKNR3evax8UMhqXQ9jfIrQu
JAaImH3T+VYaxp8D1kFtw88jFQ2jAxrIdYTbznhUDPZacylKcidjYjTdwB1mGooSUwRZcw5KWZuz
IjilUVNZGioXrh9a+VCMVj0KT2kkorOo8RULmsApoE9L5bVQ0HESK9ynx37ZdeckMcQxIQlWCXRl
iUQkZi+yElpjIMFZpbUKky6+0GLErBG8Ewuh4YQhN1YtNBnpJDwr9aYzB1EcNyQaFc791PK8xGyv
XBFcBrILj30//wLnxj6FPg+sIq28WeHFC5zL72AKzvWsEmaY3brJ6Kkg9WOzj1FtItpiE8ull1YX
PPCjC9KU4ccsdk8arblkrns/huKqXvdAjc0sgJYZMGDhZ6/ofDALbq2CZvxgxG6phnzR0d6OwWlR
ngBLavihYjm5CyoKEXKU2h60jkEfS3M96jxx3Ho8SYVmJai/kL0xK0Br2WWVfs+gUU2JGBKLMpCV
0soAiiCGexcaGrOKqM1MY1hmDYoVqntvHvrfmed9hjYBK2z5R08jPZjl9syViY1lfZoNWq96meQq
k9UX6TaDSnWjsUPeXccN3rlA4W1e+W2WwP9TR3vbz36j4z5bZeszBNX0q35Lnx2izVd89uDbsNzu
yoQsEPzzoS0TTk4gqCToIOpgtiAIhjeP7rqE478IfseBhIMukDVaN1hu3HVC4Oo8GCR1Ab0CkCD7
0ZUJ3jocQRIC7t17fPvvdGUChZ1AD379BdWhJ5PDd0KM/uDLb4XnoqlDvXOh7bBvoTwrMnDQwQf0
boY4U1j4lu8bX7aAeRKg7SzZiwrAw30KUGqAG3qhQ+BFzxQHAyczyElDsbKzh8BM7Ha+rlV3pyFo
ltmhsvyLGH1KbxKj1zIjrPI4h9y6e+aNtjevZuWJP0BbqfLuU3s4yT4dWOI0EwgkofcAQUst5NeJ
ZOswfgtVPdfKuoe1PzQ/DDY0MNqesPUvldOb0a1wtIXvHb9O80XIPqU5WabgNQaPxjMeGmyQFVvx
TexaXWc2RIFbEZ+HJ+CeWMKUc/61/TLWVlIfSNytl7WdNYCuXgRXz0KTMfwNB4Umyw5rmUJlB1pT
YzBgTXHa4fu+un99nftprH8j1PoqPsiD7ELbUK/McOmBDs7Py/iKlgseX71O4kVaH9bB4JfCQGQL
99oYkDvbpRGONS/KOmPKBWftIQHSzZLZeA2OcwNO5HGoIqtTh+ox00orUIX6qlgnySBQh4zZLtXG
K90xYylT4aJcRMfJjMzkMZ4L+9DqXkonXD8OsTkUvxiBRNkkPocbDONQ1DUUvfIBe8iOc+76+k0u
iUaGxNQjt5XcwTKpM+JbNZUFSru1wxCn5DNKeCVcqwwCXELxrm7y7DKj0PfyTfZBXCxkGrqd00cC
YkuTJ62Ocuh/1jutU36YJBpEPFqVGxl0PMMs7qDxttJqi0Z9i85CEnVoNLXRrTysyqFJE7CIIwH/
JRyji0gLEW5nacwzGNKVMXh02pi6oxnysgxsEmboArw5FHUK5V6Z2lBvEF+jEUGBtRI8mbM44PoS
nKe6pCdGI4vC0mlbgR+d56xBM5m0cVesvcpIxuvoYswTq2yiMM+thmaGETmtqL2+cWhJGtQpOY60
wWas14R+hN83J+orMYTCOKedn49MId9NC6Ha0ODuJ9b1AXQvN6KISmxmBs0Ytjlujc6wO91Lta9a
iAuo/5Is4h6zIx5C8Gv3fdKE5MStmY/Q1djlNNCOITnY8NQpYlxCR3btyma88XhRx74VxH6SrXAb
sfaOQdQ9nKOiiKm0vKqB6rKDG1/qHyG2HAVxetgF5SqNiNF04LtktLrjWQfFUVhrIKiNSz1Ke2Cd
EUFFBhtDk+gKZTgtyHFX1L32CZyNQX5mzC+aCELBrhovkxL/P/auY0l25Ej+yhrvSYMWx82EKi26
qtUF1uI1tNb4+nX0zBi7Uc2HHe51zUg+2ozNRCVSRXi4ew7a49hJCaCSvuJ7VaKBlMdeRweUTt4B
aVBTnas6HKJXV+0LfUtcoVa3qRI04rvne5WManSsw9GMK5/0IyofaciBq/AgwRMaRk3DK6But5Ki
bF2gQ/VH4atufI3h7OCN66Id2h58Fi5PohIARq5lrlUmveyfA57U4MyXoB23Dc0SQdaNOtb11Cgr
VU6R00W57z2RgDTIdMNEadK3GIWr+Atk+lB56jJFqHQjBwqF4qqv47bwmSilchE+EQG0rAr5G58K
MhX5vk9jBjq05G9VH5xmiUXaIPprjCbut3mNS9dbdUToO+R0ktyFIcWG7WP5sZXFZuAVqgQ6WBBG
HMh6RU5+IPOp98R7bjmEGQU3Xq27xkzAsIl1mvuRPoTHTIlAU3Fp5HdlVSlYgyoo4Q1L0VfTAMEl
g1ip3H7hVBFuz360B6WJCc3hBpgzJmot9D2UImi99qMBotIF1ckrlCIHtwUvP3IbC2xyYFnunduM
No9ChCZN9Yej2r/FrefZDM5sREYqg24snFjnR2iaBFo9chH6sQnYRsVe9ZR1KwHT0ZxODVhBooXD
9PY2UkArA/cNag14Mc5HXXJJ54plPPW1rUR8bIcUWdMSGeWGJQ2KuQhDDBkcaTTk0JX7fjPIUShq
Ydkhylq2dPBfdOZbr819bnnrwJZ39T1v1jYXWPpxid53e1cgNNzG0GuAskibU5tIFEUD72NaM9KZ
RRtafLo4vNulo0qg0YPWDlwbCcRseO6I9hWXAvqpTNdOzMTOJbsyejOzvEMfUuBff3ut4uExOCjj
CoTmCf/5/j1HWeyBBqgi2vbuKQArNQo3OmsM3ixtFbDzEgf7h5QXyKQEcRWc9+HWOV+XFb6gG8QY
4dQEi61204srdZeteju9kq2U2wsDvE0lVBUwPhhG+BPEkmmffMk/27EibVwKIupCKqM59Sitcyu8
GxMKzITcB6vBAn7QbT3Q63WjO0kLp8EPq+Zb/Fn7WO8GtBp6xBd5oILxuXfvFkY46zHAcBBMah5m
DDjKBDS5ZhHqXC1TFyRjCuBJvusNAWVEavkGYc1Tf0Ixgcns7cEpFvqZP40MxDu8CwhTDvRMpt/1
5csOLZ8SrcCSFLxTrz4pYry0OGcRxE8pBBgEmD00bOC7+D1CF3pkqBKuQXnUI0s6Jg5prfKBP2db
nskv/S7uzEVy+vQv/ZK5Iyj6NOpEXAXJA73iWdBoLIWih0gOuWe9So3QmM6Ynqm27+QsZUvrY55h
f8ZT4DcGqg4oQfy8UiClqGSg/UE3A3Iwb+gPohGsJy688uZS/h645HIdOBVAszGi1y6gkYbpA+1p
NsYglfvM7RCzY5ot340W2hNH3tFZTPOYyutyD57QctgfPu23sNN8f1kxLZf3TVQg7ETtUlAJch0U
Jo0xce/dvXyUjd9vDWEp4HRnfQkI0IgLvCYEDx3omiGxuDS4D/xhtBvFaH75h+k7j4DtAR6a0CBY
0QVFsNOGCyt5djdOc/xt4LOCNClL5OaDAJwSRCw5tgMxAjDn/H60/KxT/WcUYBc4VtHVnLPYxEKr
4qzCaMVDuWpsDQKO+FzbkBMuDGeOI0yRtGnlAHuZ2Lfa7Mhp8jDu9RSwdWl0pmyBzn0iZmEMlmIp
r1Nh/fuR3Z4DEztkImSqIKAi7fs+jV6U+IApoWYMlXvJ3WXJ6T/492voBKHSBfVwTuxS2rJWU1xV
NCkAe+vHKl/9PgA/3duzDQcVBsROYMhxECPM7nU57wDCiy2PtMW1kfqaGcs3/Dp2OGeJpcb/sLm/
xRK+f62+cLOgy8G9EmxUOEwwpYKOlOw9u7JGlu81J9CovlpKj/gfZglxcRdBwDY9qTa7D7paVvKk
An0IQkirvjS2chyeJKNnkgU2HqteoWlc+Kw/hgThECkMB7xbme1vErl5WORo/7WoQumERiODIaZs
8usazMMPEeoleWkuf9jMU1YNiBAveoAePFv8g9pnSqGDEAK6rOFtUmN8iNGc2vGnaisYJfOQb3s0
U/+TwX6JO6eCSZjWRJjoh+Dp9o/xkTc4TOxDueFPxGfVpTwR42/na9NW/zpaebZyidTFQkEQlbOr
dCOtJdM/5A5fbTkrMyJrEZKZVud8p+D8mt5ClJGOzvd6kWZqT6JkWkWaLUC5UYDTnzrJCiyidbF0
ZN7uSwDOeN4VFEXk9jf7kkvCUQgDDzu/tDRbMj1TM0rXbE3BWL7/blarOh3LkirgDMPLU/PzOVeE
MirriqMV9+zHd4O0NJqbnT89IgyuCYoEPFFwI/GJBr/Skgyd9NpKV6PRHmp0qnjmvovPMcWGaF+K
Q2BUFeN862/uRDxerKIaQ0UGYH966Oz7oZM0mST3yZCjcOEtLbOl3qhssnedYisFYEsaFQQa0ED9
PuxcSokUBoSsicmjTf8HLKDvYcexVTNujKewru2ehHvtXn2InNEJ2cCmqrB3VKRuwzYyUvYGTWVA
w3P2rjjlNV6nbAm3nB8NUxoOwgNyOUWAh/I8dwRhhE8ydeo/9QYhElq3oC8M3QK+fXP9fobhZfCa
ZBVPcs9PIMkLo07IEWZqG6RHsCeg2NSg6ePN9gqax8L1O+dO4itjWP+KNz95NHhVlKT4M960J6Gp
a81mH61LR9fZaNemAtFa4bLYdlkRWIOzNNO3XxZnLezOphYR6ilpdgzBkLfphlbKoJaXQBZRLSWO
HC1IFob6WcR/PX6wf1CZKrimgWMgk5qt43aUysHTcsTBglIYv4l2hQ1qw1QTS1a6xjqyNVMFqrp0
rcxPB0QGhQ3XmKZDeyLP106p8oTUqj9F5i0RsrUaPe7agSsDtIE8slKu6OkSv/iHoBqiovTQ0fdS
57WjkJEhbzU3pSV/7LMH9OD/7q2FYSF5Q3EKOQfc6ub1fpG2WDyBntLgo/lQ1jxNDZBaeNTeV+Ux
MyD3OSxfWtMszWZRA1AEcihyLeBFsyu64Gu9gx4hhQqt+ZCtytaMEdw2M6W+E1nqcXz6/Tl0k3N9
jvJfAdVZHwEY7yAGCUaJXmH10l+iZ/ddeAedKYA0izcTy49o/EsMafCwEHlhqOpsY6T+qA34bwo8
pUX5GFrBrgqhaJ7WDOdoZ/H97wbEET+RGiHbxzUNFtb3Izcf1TTIpBFLxiq32jpao7OmIuVqzWGb
HDqnrRcO+dvjDhFxAEHnAZYv/ncWcbpyhJ5U6ScHHsxi6gO5BbMYYvF1gQbiolR2noMIeOYBDSFJ
wxmOP+aZrDwGITBxkmArKgnqm8puHeSUKkR2k1B2KXOeAThwy/gebgZRpaDleUmOcGNaubQJiVkK
I1K59i2DdwtBH3NhCpfGN9seUe2ncjYFnGST4MFDN1M7Mm4PuKAs3h43AIcg4DADCA396dSnn2/G
his6kR/EhA6xIQdG6cFgYkDrGS0bW1kVOAqg6AMCsKQsuDnbEBctdRH3BYgGgAC/L9S25twuFAvs
QdDdtOzUjn/7Hp4ioMkLbHHqb88vpTxHE8AruwTUcOX0xzHDrQqjMTi4dHjGYrY6LYRvx9os3jSv
X+AMLqq5IKwRr1trrLVGa/JOCC1VpRHrrMHwzyJQTGR4m6UK/Ic9+H2os3tRzXtp0HQQLifPitFI
DQ0dP4AnGkXnc0OOS9fh0lCnyf0yVD4n6KN2iBeVEQWzjLYiTCkENO+TD32wQ49fQDNvytdpmSqQ
yuFdBQX431xMpolc2kQRIsp0wsOgX4BtkDlZoEhvvJnbMCURjwsb8SargWkBchmUA1Nf4QZ917Ow
ljkCroeUM7eiig3FNAPTpKZvQcPQ/fxfCfPnGDwOHFkUJ367OK3em96QIPpZNrTAvWSab+sVite1
spIoKJTb5W34w9JBXQVwGs18APHoDH2fSmjNVEkiU/lhKaqhWiOUy6WpHZCLe0yBvclSvjovg1Bf
fQs4O0+lQK7aLm3AH+UPkgI2JtJGbzxoIMgvzN/tyf090uwg5TMiFmKOSK2V7YnqYPqQapRmHTnl
R0ohQ0c+XFodypGFyLdH+FRGIu3APCI/n+epkYzULRLxUYd186lKAcFlAjOJjVwDHmSXhXjzQnkK
9jXebD8OCjpFrox4U8lR7XkHkgCc22TNOWRBcfPDhfE91uzgdrsx1ktpWjBv3lliOT4q+Lg0IVZr
TowTcIJ31WAsjPB2L05RJywAIiHoFmeJVKEmIsn7CkSomEYvHDgPDJYRLGBRwwL4xxkocTbhTl36
sj+t1q9xZ4d6Q9D0y0fETQaqnTq4VcRGZiMRz51oK0JfqFjjNbV9e2G8N4kjplNBYwHSScgn4Qny
fVv6Q9ioSQO4P1zBxm/qxflG7vRr/aTbiuWv/zayM62fLwH1WY6ckKwuax4B+YlINM1ru3GtqDRG
tDcDawn8//Hc+RpvPqGVr+SFiniT4U5QUdnRz3AABBuUTvrgwOoWi50fzgN8z0lwDXIjWo6zkM3o
qXroagAGLRdSEHhMYaNUbLKVGlEE6Eef+qIdGWS1lOz8cH2p30LPl5Ei5HKb6RCWGKPlP6F3vIO5
Sst4XCLhWtmktnBeWEG3OwbCawHlMrpWwM312WghE8nlibcylR7Qi4LEztCwNmtI/mInMPSVsVSu
3uDo6DV8Czkb5ZjIIqgmY4SbC0qq6ZJe584w2abYizjv7Qb5Hmv6+19SEMC8YGm1GJ73kq8msx6y
n7iZ5Qt6Y2gE/gdHOuIBVwYtB8nADZYV+ZlE/LyfPqfnSNcJihTeII1gnNM8LEb7cXRfok3H0pfR
gblT8mWBaFCMsPIiO5OVyNSMKy4lmsVL8W7zuWlwoPYivQKefHNftUJfjTkmTipjsKZkHD8O78fF
NsqBYjdBqD54caifWyIIS1nWtCi+p82IDWgURqso6PBI4myocpiNI5k0V+hWhTltwGBs0RYvAZSi
O7a0SH/cFl/CzdaoC7mVJrkIF5cO1zui/CgvMVyns3k+InEyR8e7AD/0qL04S1AH1H8sFRHFW2d9
AhurhR0+Hck3cbC1YXiDPsfnG6BfF0kiuOXEP4toutWpNB1mm9qULOGvptX/K1z/MRGe/z1ZnkHV
Wr7E//XH2wXpzVtyk1vw9G/4kz6v/hMkPuASAENQTwNv+os+j3eaMEsQuAsAR0FdmN6g/MvVmP8n
HpFDhgFgfjLJ4HBp/al2xduusJuAKhV2ZepEuxf/Dn8e79N9Xy4oZSa7B2A1oKwDplFmG02rQSRE
JmNnuh4GcOXUsjbdqaMa4RISiYorMC9bwFJi0kR2UWd+ZFd1MWY5k8e2RIOpdXVtlWskSNZyJcT+
qu4F6BZdGBlHuzAX22STh140nHuRL11DHYTUs0ohibT3EWpX/TXo9THbxplW+Wsp6GRiNjhv1NVQ
+gqKZTHpvL2fEPgI1XBHiVjh1lHgKGrUquuoL6sPriaKpfFStpL6ekwMTQ41kMkgPg0++D4g/S4q
tDZ/x73nAiDOQac8uhGOL8gFICCs7rQ2CkBB40QvtIsRw7PiuPd0Z+BhfrYPm6rQD4UuygGsWbO4
IS+5NAYKcpFMhQq4BYkxZErIQwbHg1wMKKEIQteuIzloTU5t3fYOckkxPCuQe0Ua1FtZKh6jsQv8
XRx7elhTHQpflYZAzCSWNYKav/F1PmR4zaf0uXUEw94YXW61gxFyMlS+dxaBl/orHkZWHryMQzmw
SOn31caVkmA4e/mQ+IZQdPANbOAtp175vG2rXcK5KXcco0qKf41hyQePg8slkd1qMcSeSkGaigpd
IWeG7+H8PXDNBNcPImkLq9WDsHK6TBT8feKLlX6p06TLoGRGcm54QUo4OrZ5U648EVpnpuCzdGxs
aqiDa7EUQ/zaMhefo1LvtXVfwdaAlYMe5lBaNW6wc8G8blYARrnYp0TqYT4yShIkxUVfcBk4wvhf
U6u8ftjwbVniXtD4kF+L8agkDP7Drmb0UUvkbSKVhW40Uqj5VlPqarvCdoIRcdAWyWhFtddp5yJu
tEvPd1FPgVrgl+jBIArrNOXDgAW1CHlFF4t9ia8xVi31XT7ozDxoPOXoF6k8bNA0d+FAyldSQrkW
9tOqPsr5JdBcyd9IeZHtlKBAUG+oes1I3ZJTGNiu9RuX+j5MOytYVmMxBZOJOBJiSCxHaOco6bzS
R69RLPqNOpKmpl3X8TnTwKwGplJGDWcOodh3FsjvuWKAyOy+CaSRIgpLlxoWzxXfAbdvyh5S60Ro
qVgmsEQqSRW/tkocPGrKKPr45Jw3sDHTM28d6eXjEMWtstXGaBQp14PK3blRsfOgwnsNCxC3YSrl
2Vqat1Bm16IhVqXLEk9tObvhtIqwuoI01FSH3j356FhURxmQ83ugVUAKZbdL975YjL4BTrVcgP4s
Fb+6mNOeG4IMat/5GaearVr58FssMmgZw1qskD+FvSia6CR2oLFzGQ9PLQnClNDEv4V4b23QqLRL
C9XIIFX33pu8yDV0YFoFTG4o4VzokUFF3+kCSZpDg7Zcs/ZqvxfMQk1jTJ6Kv+Hg+HULViYiBMsJ
Fnds6koPJy0xD6snrWp7leVKGD94pD2ERQTNaSSrPb5rVoqMh4FGtIWvsZiuCrB7YRQqD75LuVyP
ectTx4TQOnQhn8Y6CAGh8JFem5ropeh89k2gXwjpY87Swk7raZgC5TkEOG9rs0u6st0lodjqhsvH
II37Qg6L6k5Jg556Et8VmzKLSMlGv8wgVy5aCXs30HAUcS7MZyyocrkaMunU6+08y1NAGlBGpJTv
ktx9cH18b5wZcaiuSlcSiJGOatHYgNNSiCClnBtYnAfE3XSy6soOlJlhvEryPDzLoVxmRzim1z3c
3RsB+mCw9APVbio3gfeRHER+efVSoFjQZaONdezQXy2cdNT1djupDPhNXEm9exwbqRIdSBZwL3R8
mYMFUlSq+jyQuD9mcTaEjAx+pxsVn0nSWlHcuM0hr68a6BH1TG02BFz/YBtiM1WO4om5enG7uhIs
KIHjHWk4HVYCU8fQhre7qrzWmACQ52IyyAeNH6tyXYDVIJ0SPi2i1wFyyPq9SrDQ6n1S6WGjs4GE
OM0pjkN3PJcq1yX3IFcmlWB4hOMvEud5jp7G6WBpfh64z7mAc/akqG5db2oBRv5m1/QkNUkhj8IA
y3CZexc8T67sRgw6WONhIsd143tR7gDJ8PyrUnG4pqjmVqpny1UhEUtu837UKN8m4VMLsbILlWnX
kVXZhS2U3DjfoeXMCk7JjKQjccvqNPJfmgonzTrz4RxF05HLlZ3sDlFphXycEMNXsvJjHNTBt0fX
EzM78cZOfYAhfwjxZ9p3jUGaoC23EGkqIe2KQfLuZAHNVqfPIKK9wGxdFbdZW/OhMyWosdP02sBb
EhAD+NQWrqY9kVDmPUsWCg4bCpz/gNaZ5O8bzGp9EPSuwW7qvf4JNhMplEkgpo40UrkeB04dxWO8
bbKYgJgUibnHtIx42UUCMTfcKCDgQ69dKES8xwnNpy8e33F15/hZx+k7j6guB+uJGicxy7lcHDZx
wkux4cPzTDS0soKeJ0v8JKAkkbydEqkAG0RPSt3t0ENBxEIt8RtK2jJMjEzjQoj1Y1iAw4Rf8QK7
wT33Xvml1xtaIPiwrYWquWJ10Sgf2ZC4B3i8RxF1/YDAZkLxCyvTkj62PBgRuJswEYdo0xcQzltN
48kntYpgQKlq2HbrPMZ7DiyTtChgLURMEL75UVmqkCHrJN4VENMHp17OQv5ZA40CdVGQodtUj2lZ
gbhQ5PnwKrkR6TuoTeDlYYWwrtHN0O8jdPqirkC3kYfh/3tGxrpjZVqMPK6RJsOSC9QwOcEPiFQl
1A2uKhp5OMjJnlPjAOoHyeOj9kHEj8mQ6IykQIc0IvlVqJs4XcWxn3s7gR8gJMlqLrmr2sLt14WQ
BsManhXjh4okrD+ng0eEZx98onpVqBkej0i1QoMtF+53qLQ7SUo6HHB9oDxzrohrhMZS3w0XLy66
4gnjKhRHI9UIPj/BqDaEZBmMMbQQjhk4bJM8wtsJYzbygw3Rv6zAj5L0fX6Fgj/mzVCK/PasI6Pq
aDAQ3MCwefGrDvZVRSHh7Ym+1nZ1FEKur0WwS/6T/vb/RdM/po7Fvy+a/ruppqLpX4/sTVXS9I/8
USWBrPJPHkwrtFXBssKTnsAi/hAZ83jhBVUs9LZ43VmEMxbqpz+rJIJ/BuQp/CXQocGH+NSv/Fkm
Ebwmo4JPhb+OygusHogI/rJEwtWx+PrLd8RXQRcE6A4MZMH1APAKMct3PKIQOR+ROe7KnWoQaA7q
24Dr89GH9wGsyMALtUls1OugdYTShL/MFpb0IJ6ntN5xHA2v3BkvuHz5gH/+xq9K5E/K0L8q/dvf
NIODIEzqGqiuuGt4ya1gz5nCaer0pRe0NU3dN0CGt+JtvkWGuoaZ85voiA/8c7iRDNVJ1sk1s+HO
auJudNp7/LW1S3UbwCMMIDUjdGp2Lan0UB2LI1nCz78DWX/8chG16CRCQAv207/vC5DFqzCSGZqB
u3an6AUVjzy5yQuhrXgGHqHAnZaFTH9fAj+FCcWZfzBRBusNSiQZnOEZmq0gKyhSbeSu0UvwQngD
jtoqzd+9kws+Fh62MWCsYyc43ErGayzF4x0rgsdeIHrOzd/P3bSeb38Kxg4uqgxYQMGq/orScKnI
p3Dp5a8JoG68ZcPCY2tALXFSzPC9g8wmYxMndhtsJr9vYKXgwcC04R4LawM/jY1PT+vQmcygvUNt
L9rfT+FvvtSXnzdb7norF3iKCF9K7+Gy0wNv9GE/EgesgwGEcNAUYo3hUwU6AtGIGUQPcN+1SdMt
fCbs/IUfMlvjk0Ndx0v4TqN18XfNB3HSVWigcLfaR/mtXk2NNHhrYfZkcHsHM6DVHhNo+JZsQSV5
Se4j8NpS9EtBYGCyFVvPNRwhexgJ6tAUriRWUGPMqGrVxsB0qlLVkQ8S80zwciAicR28CATZe/d2
57SJXeKRGLu5cI/1QGVtX6DVVBnmQ4AunrxOtiMT8BhCfm4Vik5tnrPaholWbROj/CUbFQwKN77d
W9lriyGE63cY9i60xMUf1/iXmZvwni9bKyp4vLEyYGs1a+VUXtx7HqyfCJUHlRpD3bRw48XCsryT
clQuyGyjSycY7mMQUjUGkpxss4wOAhsiBussr7SFfaTSYglaFpYW2Kzf26MohTwg569ovKh3NRxF
7Oxc2eDuScjDIMS1uWMKtxnQ6TpDOlRbzUki9H90YCxPfWpVivH7HYk27E9LDRxCtNiBOcO94vuX
a8IBzrQDftIAD83C+4Ual3JRYvudUyvQLvUgbIxngc9MrxBorL4MIK9XQn3f15XRCh5N+tKAORvr
tE2IGjvKPcr3iaFk3gPpU7sCHdBD/f2QwYwqhb0UV2JfxZEF4xNjkLB+1U2REpqE61DFaow9OAx1
LM6eJPWhQVZTuY89nh+TcbSP3aYSeNi95bTsbD/OrCKy4xj1Cg/CrHTEe09UkJHjwjwMsDbjuRIm
YnDqkhwCh7latkd5NLJhlYl3eYMXLsjVr/dlCrkGR9Z5tQ+BelTyHdHNtvZYGqs2XoGA84UBZy1u
U9yHKOzb+qJLeFQL797o8HsqxpPbI4+rGycnFy14jWTFlIOnClay0L0yCR3ZWIoph6q7HhRLzEfg
gNBJylhx5BgmuiFVOw/pnQhzuLzxN8i+jUTZF8ORa586SHFyyYHzkAsPungcaFgIj310TYA2FnDi
c5sTzKWoX/rAnvYksYLwtcue6rKkXlVQrvCY4IcsjnMbSmo29r5ZwUcLj4OZcnRtxJWUv0otMXKv
s3W4oPGYALh9X7S+eNN5/+TqbwD3WB45oqex3j/U4onza1tyX7w6mfxPV1UA03HAFGFcnxsI5ysk
tABh8Iob/LP8cwFHLnG8yz2ZxTp6xuAajpzIIG9ZtV1+iEn9DHRvNZnLedE5Uo0YgEvaXMr8pQOG
AOcucKMMV49PvTfAlK9tTEhXQOyHrxN65EYFMyxOC9gQu0CM0hVM6I2yUX4prgv3gdps0tSMivhO
5IPNGClGCSGgn3Q2ah0zK6BN6BpnjLytqmZm4wlm3WQrXxscJV2lUHmGUXD4/ab7FMp9vWfwBIAO
Pgvo7zCql6TPa/LLaaXFSp75kPdfwcEc4PxzKT6iMxy5YI4Ig4cOtddH5YEZQRzvDAOuC78RTvKd
5wRX1xreIohVhLsUO8MObDeeeFTbwcKLYK5ZfnSD1X9gPTQrYSPt4RM32L//8cL8wPj88Z/SLRH+
/vxcZtEEQ1rl8Jy/+tv7R0iccHnsDhVd/eqOx+NDtt2KbM8ch90vnZ7aPH+aR54ugS+fDW6kYLCF
iAy3LHhJyjShu8cCV9eh853D64E8PvvsFUqCgqUwoz4EgpWxcdNMRqjRL9jChxdicjBwtI7dsWWw
7gL79AF3GpHB0OzNq2iuxwIYF/vQVPqRQwqUn5jjWWHGTifHgCwgPME+OZUNYtw1DxDh8ia5vL+H
TBYhXQvRO8B1fP/7D35zQs+HPevukr5FC78Y42uk9KsYluVZdq5VJ/atJLdTPNDHo3fA/0pLsLA6
4HbRc+Pv+eoq9Ev81pv7a7KCRx8dfgG4KVAOzK5ZHHRKDi8XEXOv2elTsReNiYxRo3vvHkpTAtnV
NXT8uedZSEOzei1qOjz8/oN88lu+bx8oF+C6j+MTXSS087+vg0zM+V5Sc/GqXYG1IZ3h1v6K2wOT
hm1Jf2zW8eqxPozUM3v4+vK6AUanOtLATkFOf0/vZShVaf3sJjRdIjdIt2t0+m3Qb8OGBp2lz2T8
yxqN/FRrBTyFeJV4uHiKHbzR4fEQjzRGMzlvDqHyK+XvU3jLwaOYlRJyKeVSBptaw6tw5C5tnZLD
YcfpZl7iApFH2pD7UgCRSN25DZ6qFNYVeasaM1ChhJXW6FIwvi4NRTlIfMq4AK2eUTJ7dRU1mlmg
H8Lzp4ZAWgKby7E5/X4qbmqLaUFMglFVVsRpxLMtGTYy38MEcbg+7p5fISVjBMSK2omYnVLzmjM0
FGjl+PZpieb56ct+swiQssCsCYcpN/fD4RW+7IVRla6bjj1CXI1DqOSs14JdVq7x6zie7XYdbSW6
haUcdvfaY2v2gX6RgZdJdz5eZvCMD9UoNht1gRQ2tTa/VRGf3wTevJMfkSoAaP2+PKscLrl+2YhX
aSenB8BvwwfSG6Q1NmHtJjhFtrjLB1N/kc/hoet32Sn34TzJhJTpL11nu3cjRF29v07zLQ+tTL8O
8Ht/Keffz91kOPzb3zmbu2Bo4loKxBTl6FSOCWs8H2I/j6tXsB0xk5dL/XA+xpvKgq8hpB1PcD4w
XzTryrpNyuCUexEXmvifc3Yzp5OoBTJJmP7P6Q9aQkR1LLURWXxEHy2dPl+aXX6HqnD1i77RbbzX
aLFam7HJnJN4bOjCcp6Xp58z9yX+7Itglct+y43SNdE4CkzE7IuHhDvGPbSpQwvrrY79fg4+VV+3
IwaFFyiqBGXfrOIElU9I8MyndM3M3e75YIXGCNAZItiVfdxui9V+XzPnDs+XesZCyTSTSkH3NW1d
ODL8FXpWY3pKlKOXXcjXjWHBXpleVvb5gZoMNqD0znA2C9fYJ4n9d0Od3R3o92cjNw31vn7EeUzV
t2feOnAVfYUNREUPr4Bp6Gvi4JegZivYawJXR3rJ4FLc44P8cnNqHyXj+DAOLIPX1nZrmtFRo9Eq
p3hGY++Bp0fhhQCQAI9k+TQwTrohH08OzDUH6uiGIx5PKYOmcKCJRj+A0BOcTu+8SN+LChd8af0f
J3dWWklBCyN7bZjyld2uOEP5CiOB1Yp7+uVaR3NklNteHUcL2UdDdef3wZUfLyJcjyD863h1dHIv
/5osdXDDKvwxka6gwbL68Z5s+ieRkk3smTGxFfNROHn3SKCeK7YKD+dfwsqmIzPfkBFtU7qtPfoQ
rLbHpsHNQ99g2rrz6NlTzYAdvZZuzZKu17GZszvn/f3U/Ef74suvn326BB5ngQx7mWtp7TYZfcZC
8I0zvpu3ReJmrp27DzB77jW2aDMzWT7eHIvg1gLxBPwKgsrs+JaTeKjwmBE8XjbBPYz57lG/vR+i
zUEUgLPw2+fgvAO2yHYtoBZXZbA/XGX0tTkfWp++yluc9WdIq+6BluKVv8mtCo8M3G0Ee9ca1i41
LNRXjrr/FYsrnannNjch2gt2qCz9fjvgicfaUFZH8gLPcxiNDoejaZoCXTsfp47mKIyhXPxgobln
3nHE+9WGjjetKRRHa9hC8LurT4fXu24zUO+Oc3wKHVdI9/vWTLbbztivM4ujH/7zHTGcDzzXjOvw
BE9F+y5lMJnCQzF4cvIVzUO28QxH2PwPYde14ziSZb+IAL15DXqK8qJMvhBp6b3n1+9hzu5OpkpI
oYBuTE/PkApG3LjmmFDHifnwdfbw9P5+tsx3sbYL8jynJH7y4FBjp+5svLyVBoCZXqopBqvDIefU
QIZeBQ12WTHwRpY/1OeEKsMFgXTQWENxOLRrkfQY9RoWkZfePE7ky1ehzUs9OczKo9sSaFkoDyFq
gpNw10Wlac7PSgh5eatmaal1wCJuFWPLWXAONxC011vucihUBb1BNYlNqLteCnj5HRIVHImefNKA
PEBsnOBG3V3AgeNU1+WROdMoGVTRdRlkTDdMO9Vu5x2LI3sBANehVwt+M9QHayLKDmGiko1UpXJ1
L2mrQl9dMZwmy/CeVTn4hZiduu8sfP1jSCzKts7is87kw6/GLHRFWMvRzP1AAFpJAR2IIoeQBosZ
Mr7h++k9uUjOsMVuS+F3pT4PZvKjlApuV///2Lu7KpMTvpgAN0DfOLSviAeBhZIzIuUWQRUxTDbX
V0jYr+Hj9zZ82uERVj7kwB16Mh52g3FDxn9LyQ7fJwK4Gv/V584l7LVjga9WPRX5j7TliPaFLDG1
lFvsUfDSRQkOd0WrVp2S+O/QmQHlrLM+2Cfupw9zaHD3kPQswiHAzP2O1ONcNAwTfa8p4nGrvRjb
8P1kk3RFBkM6O8dA+/DVJ9c/8xsw+Z/rHwxF+MyKmDuBC/77qTAdnzh+QguogdVC2dphcRWk0qBn
6BlAdryAimbl0UHxtOH4b3gFjA/SZCCDgJb5fW/9KJAg8FV33SRwnnZdK8YbyjJivuuuTG4t7hLL
Vz+e/NJH+TgDXzHA/MCShMjp3fpS2Dep2HCoFK7LVRJCQCjuoNBN3k7Ic01y4AlxqT3czF2QmMRE
XXxS0BSAyNa+A4/5WR/jzqfpe+mh27SAGCGaDuuPuxtmmHsoT/o559VadQalSS9j1Esretu5OEJr
QRNOFm6MJwnBcuHf5V+/nnoXcHk255JyudcEoq0HfdtvX7a9+xaqRqTDLgGcMfTaCKe9tTYLeA0q
KkZL9NO8wnH5DmHZJ5ynTyYOlamXREaexUKcFmrhGJoVH8KrMJLqmG2/KC1VQw/mHCQx8pdjYOy1
j79/yx1h4v9W8NvZDBWg/K2992MTpWFSlHSEFYTcFsIQVFUgnrCbdTQdhlX5ZMtKy/f4d+X+/2ns
3VHhuSCpIgoHtIKQOAIQ/4KHamj/gkAwk+0pUxvjlrnvIik3o/qOYE/pogqBURt0zuIrdsNdrqVg
ApviqVCrxfrz0OI2wASShJqo8ZieAIAH+DwRbjTZZKeQYO9BIVRN8J/TdXSpVvQlXXcLDe65ZtHD
3wfqOweMGsy170MBeqWpHFR04IGEhqyGdtBVMeEhZsCWFj8Ql5parxJZL7ccTQJzeO8nUmCl0eFB
T4MmtcV+xGfe6M3+U9IGTJ7KigyYMTIruVahWv9ce+XhZv7xyndHiB6BfCyqivNyFwi8yPLtdiWB
9IBjBB1ROyal518C4xkV6VuD75+t8OO5d4doDGKgekN6SelX6+nrBcQOwuun1LAP6cosvy637LRx
PJyBvcWV5MlOfPr4Jen/se+7HjSoWsLPhhnI63L1ldvYECwwzVPyFu0BqGQw4dMxMgXdddYrAwgg
9BKC92hAURRWJL3+fRLvZE3+9yT+WBD+9xvBx4xN0hRV3XpFqwY8QLxGLbcnNN9QwvoGfYRxDXG8
EKoQiBdvaHHY+9VTAtWDywydaHD8F+crYB/u8gO/a+Yqz9vY6+dq1fi0louQ0pbgJwT2fwE5kACd
8FpadWL0pFJ5GMx/Pvquzmraue9CHqGoN4a9rHOkIN+nRvwwS+tCqL0zkadFyqNG7K8ffHen+Q18
dutAyBGSYEy/3aZGt57J6ZP7TnwKtVmfeP2FRhCntpMqokt/nTV4cGhrxHu7WNvIS3fNDYnoxlFz
R93cRO0ddhUUrX/6t5MNOwZzRHg62dkaJ1wG48Y3WsJW37XGRnAmzfEmgupAU+gVJuXnxik1do2m
v6/6h3QNskqLeoL62E8B+RisfXa0ButLdTYoLmv9clPMjeot/wxYbSJ8iLnGPbklvkvc+8MKRXMB
dnrgG0AI9ffebITUp7ie5dBOWqFKA+ZJgHw8MCNzhG4ho2Gvmqh9wUHd0PyiS6MBeqiP8OV0y9fO
vQlqdBWN8dyedXA5MRwIbpnmfGnJRXHPf58j/tEOhogqKFWgsEDP8a6n3fp9nPslvSTWwjEDvXIN
KeLt9bpGTWQcMvMQhsS0Zdd0qbWbv6Kh6UDk8UsVVEuF2viT13kwc0Dx+9/X+afaqcexQz7OeFXe
Wn6LqVvO640A0j6dbiMacJssV3NM+8EjdAOBt7PWt8FQUOXet2uIeE/Q+fh7ibhHMf/nO93F/ALZ
LOCB3VIEDA52tKhuA0x2PutCAySUsBm+MWdTyZUBkL/bfIKKjx1ro1rcvFpWW7hjyKq4yqGhaJfs
sex1Xy1Ww/7v11zQXP9kC1ByQBjCh8R47+5LUhgddrQwYqC+RxsA7XAIgGgMEoNNosGI5++nfave
3u9xHhMHZCeYN3z7zf28EVJ2bgoW+tmetl7XHxVRCMxFiIE5mG3Hhm281R/2jHrHxPUEKVJVRVm5
r73jkfO8mhD9klsuuW2cI3wPQV/Rn1HMHh7Cny94dwhnJoXpQqCwHm2e1yjdtlul1Ox0i6wy8gLi
a3CQdw6Z+qmoQay/o1fhRFqpIrIwvbVHHYzWxNcRrQjy/YZLQv73Ej7aVsDTLXyk79bvXQs2nWTK
Z3ol9OawVKm03otB7QQJjKHqnkh1a/z9OMzmHmyQnw+8u6yULqolQHWR/leYXQ97uqacIYd0fUwD
cc5DV0ksWq3Pqp3fQ5ir7ewm490hqq8YvgG6Umb2xJfnvJm/OHnwQoY12V60fEnUSgUoPR79mghG
ETlXkCSlMAuWgjNFAdXTzhtBSUPgbJVLJKKhOmeTO4rtKx+K+2QE/lUe57eoZWCClXM49+2ZFykH
xDA4jNeMw8T+qcqUfVcnH7PM2E2enLq2uSGgxcSPmhHgW4yduVGGjhpc0ILFfT5jAQ8YcgzqWV64
dQvxVxYniItCN4NIvWC3nZTqFY8Zv+wDJQRt4KKHy8c08scxk2yFgscYj5s1ay60n27aqcaVlLhM
JNEqAMGOTwNF0ysoA4rhfe6lS1PEJlf72ypDZUNlSEho1hbledN3fK1GdPPKzkWl8lV3i2IFw/8c
ts95yRpT3p2zekDPhYH0etJRuyliLRhaAKCbNJmbF8OklgW9HzoaLHuBXeULS7wdkzWssq5VAAsW
H5/InyFskLLobcNyKiMFNFXVUkYrtY/SKyP0W0EuX+bWh/o3SMhlYbDt6MJR+RLznJXHyroM511d
RMepTg+l0mE62Op+yuKmippSY8rCYalRrdjIwFNgVfhWAxEc3YrSLEtqm8upVQ2SkSX0eRjLWiv8
EqrOU3SKqhC6p03vjDL0Qyeuy4kfM191ihhKtT1j+XXM6zFAgm0W2WUBGnpWamHBglHpM7rQxJeU
LlM1CgrQU7sLK2cfWUdt+bhkMGwMYrXsgUgopfEQ8oCExlK8bnvOCYfIrH3l0vHZOm1nOxbhmpTO
YHAkSQWiXPsKYCDMn4ThTYxzq+6FE+9TEDZrKeCOFDDQCjBGiFAAlTj1tC0UMEehGGkdyD480xRn
7uNGi2B2JvvBaYgCa2TyL5nioYkQgdnRiGDQs+lgwaDQ7NNZletSHwoaHaRePoMxNKky29LqGOOa
LcUAyg1lAn2VscWWLoqvNOSumSisJKUxqhm3oVwfZio0Q4nFFSN3K3hmunPsrxLJxzkrei3mGxNI
LzNRGiumeIQtmBwutCRPiGeQtRbjs1GjMe2Ch0DsgSrwIiWxzjCz0WSsJrGlGY2ygXm7C8IdzjAD
+whfvIYhJodU9eoDArySaCAAigztzpjjRYuXC2iDW1zyRQXGlMJtPGoQG+bpMAkxrYGydMj7eRdy
UURAlZhgGyRoYTyu4phzqsDfKDMm6WyIWaAkf0b+WGl8Fu85gd+HfoN8SRh6p+Ar3L8jyCzdCPwD
77Vge6TwClYzOtYaTjZbpnTA195PNDYtJ44qnaEzwOSHJlMSjR3jDcNHNj0j64KJ1pz0pyEJP6lk
snK5e+GFxOnK8VOS5/cgGzDfYUVd8enjyCeod3xFo6r2pYiwAQBD0WsF6u8NgKMdDLWqHiwtuQon
uGaEA6mUZNJAAYuMnpMYvYnyTvWn/BM8yY+oUzJMXKFZx1J2RYdADqsz12/aFgCxmD8MfApTx64y
4P25jdLarsrsXNXdigu7XReD6J6CIxH30kHkqrW/oN7iAii+vA3OPoMXFHu769BIY5jwXDMNpSNY
imo2tPYUw0BPLtEDjosdKJJAxIV2zDCWyAVwfwPVho/WbCuaScmtuSbelOBHMVS69RkFuum+AGsE
vj+0YmH6VKQXYQtgFCxT6TA0uHl87YosA3aNWhUM7QyibKboGjN+4cKb47Nvc9BlaBEUECXcFFXc
ai3FgLtPAR0X+MJiZqc4Uz5cODmCh6WIiO/DuAetQoMXJwUABHBglfHCcbBWpKa6MeNROTGB+OmH
7BEC4WreTyswQUwl7i80bPNKPnWiIL1lybCFEch6iFI9nH2sJgfOlRTSZMpxZykwNFTHnJ4tQcZn
94v2fYzeagDkVYabvoCqkMGjUaySwxQI7hx6WlS9nivCSkimTheGEL/JD8wygRHtwGLqgl6+A26n
K/ZSp/UBC/ApqHJyQm+GFGcGTCQPyoVWTmPaC+fYLQqJWyRRnx1VOW1WrsDZgIFObEe8svTpKQa+
jtEuiONrHU+B2o8xr/ktc0hLIIlmPoJnTt2a8Zxv5ix/ofOJAxUPQqO977tpkl26OttLExSMeGAx
4rh6LWIOUrXhGq3YW6ckx0iZOCuOaJ7MUbkDZE+LG2lTjsCvTDlCeAYNJpJy8oHlKpoUdDORaATO
hKPot6iuKyuo2i+wnXsCPh6rRlPxWYjKJ8ydTLGEvw/HrvqSN7oYs5584LwgDfY0DZs8Lu93I0fZ
8NYBJ7MAX1kpXvyZWsUttYaL4LVIAqcDPURlKBlMTZnpSR/Wr00UwtBF4bQhlxIVyfuxp+YN2+HG
YtPdLPtoKIpJT+amuVCScFSy3B3L6twCFKeBSPU6iW1vcKPwKnPzOaECoIUK2SclzAtpBrZNMito
klz26jRQIqkm5SLHUIhusbSQX0j0SgEUhgLozW/mXi+H9IyrddFXHs4gmTKrPMZma6kG7lZCbuZ8
o0LD3s1BTiIMje4VWEsIZMwuHQr8trba+mJj91MlqmGOvKvhQDqC0BbDUg5bos9Fs1uel9fwAn5p
g2mDPQUgL4h4qu+X50wQzhyXwAUXsiqLlFuadDrbDqssnG4lH++ZtnhF33cH/va2KxizB6qyGtg9
W8Yr0G4aLHvn1ODEtYF4ror+fQAFW2ppr2Uip47ZDcxkdanId2mUwc6KKy9shPyiSZRtWqRo3+YU
AFm4BtSO71a+NJm0mB7nKXnn5JrX+jbcBTAnnAXwf6gBNsQxlTjlyLpUgHZ4XmWViv8vLM0E0BTN
970+LzkU0yEPxJUP6eHiSrPDEffMVm5warIkXI3J6IlCcKyRi0LAXudwzbRiyGsBUiaDFeG348v0
jg0jDJP9I9IbUx6GLesX2ogNLCEpzSo5hMEloKoghuKjwP2NlDmvIt81+SyA/v4oW4lCe3kwhKpQ
lWoYp24WA9Obd3BNzZTAnNL+je2EBMzZvtTmOd1mQ7YZR/Y1KthnSfzjHB7qZPCPAY4TM5TfrQVw
DuFvJBaYBkrkhVcBO+LQJw8xqcwTaJRx/DbySLEeiRhDmA1ARPwdfZSyWWUYDdLURxJ+xLOWFlYT
OHNuB+HHaBUwDgUfdgZOf1euzEujuY270VHNkgGdszkGo9Wtww/8lettFpm6YNaSK4LkPZxHFhfe
W6ri8GJETH3CGAowHWx4K+w0QKKtv8uYh1XTjwW4a3tFZUDHaZDkXjf4hoIvF+bQ1JFTMrKsJsrP
9AvvlLb+02eEIgTmjlDbBjv5roysemoM5KkMvNQOdyNKVUlrjfI6AOuX2yA4aL7WnGm9wow4PCNd
MikdQ1kdrGezQfEC0cHyXOs26P5fmCGaEEIkiR6Q9wamGYz1KWqtVa2pQ7kads0VuaWKL2gi2YSQ
ZoHB+SL+Cr9FVstOtIZ5LKmsThXNGZyiSKcgxo028JePBv10kTfxOkwwyIUNqYkyRqugGKlAOq5T
OVCTpG0JsaX8OOkJmvygsbwkp/SVNUIiHxJtPmdaav79qeAN8KjiXKSuAQaBsvd9gx/5aBKi4km8
RIDFKI0ctvgspYCIEkQZc5Ql5S3hEUeFz17h9coHsF/ItMnfJUHnNglaBmXkJS383dnQonJ0+LpI
G2DRFE29GgKlIM2DKg3NthYyD/bROi9x6uQrFhzMNBr/u4IyI/bA5tus7AiXpLoAyYWMBSZuMFPI
EwRjqc9S7MB2HobfOAPJkcWdKoG6yEH/AGZaBlPhMTwY07LLV401y53dC6xTzltIKwBMSa1gu7YK
s9jghHo7jpUjJg1+HWZTPWsKvWKOsIcOIesZV5QRRbXGcZ3aB6NRRshTpXeJOdHdRWbOYRIjYdzP
yZfc9pspXTEjY005YPvlF18fk3bvI3SO8VcXW9BxKKNRDxvcHvWnD/6D4lstKKml6LJS7ygsJK+L
DhoGHzn6U3l+65tbwjhSd+Pnr56/9LiJeLZHHAOfDhcSTXFGWfJEzLNLwGyamtLGaSa90qtZNBp1
XdspnbkBXHJhWIuTNmoJn2lzCcbD9E6FgLbCrXyQRVfsvmKEaBZe7ixrtDO+yGDNtSUDnd/1wpWO
BzUOOMDNAp0NRT2LOLVmS6tiWy3Je5IGn7Arx3VDr+jM33eVQoCLeRJGvhlf//SvfmzNu6YerPZG
pm6KwGsNWn0JTVqtNoPeasFbJpFOH7Vtc5jWCK5wL4Bow7p+SzV4HZsMBlOCXn75QEST/lINKvzD
tNAqgPD09Uqfr2guaABuR0YMXNNgdG5hDwYStmPjKk6tJkeA5ifQHtTpAurGk0nNwy4g/+N3LV3C
H5OalA4ajpnDyJvZ2RjzalWFOy64Tjln8r2DMZLKQK2va9cMDM986dnjl3B4v6yLYCekdr6FyO/C
JTszyhz2PeulEaEnkvok09uLfBLdwYhOgtPYcBaNdewEa3zCbvjWzvnn2RizS+hJAtUg3f10ZEF9
UEC+BsPZ2q1tZdUfxVduxVnjKd12e//Me4IbXxkrNNgbD99sMoCQgdmn3hjcIbBphchH0OVd6ms0
I03aIfA2LcFMsbtMq0AtNGB9GnX2IH6whyqYRa8+MBe1Kx00FzXeh+v51jjhE5jGw0HPogoMOw0g
NZVvmMGPLxr5bT53CabAUP+B7vls87hXkOhhJPopbIADs4djlQOhQ+I99fFM1vLhoG15OkTfob4K
FNLvDVUyadwzTJ97AO3BL3JS++vVQBe1h0apsDGBIBJMdyM56AVs0O8GDmpFPYEQMHeedt+3MCwb
IHGgABcHiO5drxR0FpiWx3XqASUiv1RnymqvMGN7DW1Wj08ZlCHPME0EGr+vbQxZwh1Q7f012NIQ
hRTX7S3Y5Aa1SY1CF4D5Ks7xLvFiozpnm2Sf6fIAQTkeFER2OxgYNewSpzIlldUKA34p+OeZDvln
yNuNWm9NuxY44Al2G5wp7KkND0iCzdv8llLh0I7LlzpkNmVKZot5juShoSg5qCDwb1drZqHNwP8b
ZkoBogWzrwBtTqELDvtO3O+TpYBlShu0Jlr5WthBr8iKjsqNeWa29A3vvTsqrAityUUdVYZU+d1R
oZBUQ9qfGj3p2GsCNDwT9V0hPQtEA4tB3BEcTF1XaeC+QOTcHnaf73BOwGiXRkaXmhxYcBD5fgbN
ezRoYRcDa0i3YMbDi3dfORa5AmSsmvGknGjXFRinSMftF/huYaq74EEAxSQ9ecfJ3fFbnTZYAxNW
1UOKqybbL8XuiHX+O4f5Xon7lfr5TncJdx7zUYuuH+2dBbI2tgyxbUo/BPpp+/YCJt3LFvOOg21W
GvGPC9BxPm9CgtFBDiQCAXf441mEf0DiwoTsxyrdZcBxzlUDqnLGOxe4dAPAmbiIvICMBMTi1rfn
UpcLFERgMvunXUt0vQEsIbWQ6m08z0rXsTlcLIcOCWgJWrxWCg/6G+qTdYNgwL83wa/XvLsJcBFA
lLfzoZfujrgbRQe0IbXVckNaZeob5XIkdVmQwBMzhhEL1KuBp1lO2ALMiiEQLhLgsrVkD6QNcIxA
Z09AtlQqmDWAsb6JOu0EB+o9PjYwcKqP0csILVr/NuJfXMC5OKm4dbbKIVgHtoTDXGmMkxNOhUiu
Af6w1WkyxHkn+FXEKHSmFcCbmqT2egDcEEpcg0aOiPlmZHRgASykYmiegRqeGa0+rhsLONBj6cUm
RrU5EmjKcFNSaaijGgucmEMI7+wEIL6/N+N3rP13My7oLQRDKBvejfiUMKSV2WfjfRUnGDWaqIbI
rBg8xiTiIGnoJhb9SvafhN870br/RF+IMOBgQocbF+zduczhboi+lT97zJHfY5TGOyzY6QAcXLXJ
3O+p295aDAgXlvU2P4bqlj2P9skAFkAGKFnlwNnAjBvCBzuXc2b9BiQ1IiU0CA7o0JguTFq0ytbd
T/pGTLfXN7ojWkd6hXHcYEHm/8sPyBezewZmeETngiv4f3/W3dEW64mFglnWeMDUOhLxX/pAn1l4
4EkXMUZdVsR6bjEmwM4yB6PIDIuMXVnZvEXLBp/ZgQFQs3argfJ/9m7/iE2AJLF4bkNmGU4nChxw
f9+6TNuyhcgPtddX9ro/iZ+FCSycaCdrSVzz+vSVf+Cv3qzBPz07IFHnrMosvHBb47CscA0BD9Fj
rGCBc47iYMk4FVllzpg8KE67b19yT0Jfb4AQQ2VCIHBENwm4Q8iMPdk8T3/J3SozPc8UBafM3mQC
BYlcu9nA1Xp/Kl5O4+VgdzjORL59mjYaMAsLJdkvUBIzUgmSCoBfK6NU49kM9Xz/Na0iA1hYHFZf
bQciAvXy9wlbDtA/B2wZoPO0wqPHd4cqkou6R7tQAduyhVi4nNkyiM2UADtGPls16FClHdC5Zfn2
92PZB6QJ6AKyuI5pHtj/e1xh3MxzzvCQEViv36bNKXAO0GF2AU7VndZEFwag0A/cJU+AKv+oF3zv
sv8+lr3L7dBVjvuhllsgG/qPZPUGeUWtLiDuXyHKAmWNDR+hvmmRoVSnGHkNf50QN18nsprAxgI3
iNn9vRKPc4BF/nbxUwKV7e6VhKjmp6rIWmBUeVM2fZODXsLXaGfwcUC3c8EDWd0VMV2vV9Dw0jst
2TGI4MOxfYFUHZH1Wmu12sUN/EJpkvZ0ar+8wN0WAWAazkcYP7E8J97FYLkf/FnowRCRvSsg09A8
RjsCWQG7O5ATcKvU5kBw31zcynVxYvHCw07xJNU82CrxvERbKA/HD4D0VqtKL99X64psX7S1pQLr
4x2/vvAbDr7+9YwHxSwV7R8vLt2trJQOXB3RM+tVEEzIdEYZMCdH32EkNbsJgg9qQjepdLKZ0Z98
0we7G0sGdD4gUUBE3WOMaIywWpafWA+oMAKDoxu9+TZVmEkOqeG9ZI20BrGwnKAaJyUiMWYk6/BV
hLi82QMJqicdDiDBHGaCaHboRbLxLKsSloz3fnXQToU+K4xmIfp8lxGzaCtTc+/TXont0wMlgDk8
ZGvkF8WePyoUq8G5+eL3w760fY81QZQPVX6fJDraAAvpOyc0Bts79Foh3zZKC0hVga4Npr8fM8x4
Y3gt1qQHHQAWMp+SSOo9TMdheN+aXEUapD7rZxnYckX884tAm5YFiQPE5Jvb8KNulIu5GPqamzy/
O7Qxd02rm4DbdKIUMszA3KMGT9+69LWBIhklTqsuFwimHVos90/ylu848s+rLIYB+INTc89MhXkv
l8sysIrncweZn6XQyGBuk4HzfqB31FlaU/sMvrLDGxXr/tKx/HsHPuqKgLL73xe4+7oph56EUnI0
YIvbKYD/pYy7fTWr/uoLjD0/fNKKeESv/PW85UT8WHuBzQUZjta0F53fUF2uOU0gjQNocoK4Cfgs
qEWBFTI6O5hJZbsiLJqaeemWv43RKh3I3z//EeWS+6asowWrwGPk/uhD9z4uouXnk3yrbBKv8hKL
1mHj8GaIlI29it6qoMurAnMqzGliDSOYZyxb/kEAAusA19tiqwKbqru3mOk8H+cyEwAihs8RAALo
htMwQjW2b5RMToCoH5TNjrffEdUNfgu8JmbjwDWX5HWh3gL2ma5BRUIj9ynL6hFXY/HsEmA1w+He
vw9RCS0omSKOM27CF4CII7TpF8rPwhetwAVF2bF774xShwC89eleoANDwHXK1QVw2qxwN//9xR6h
136+z/1aJUygUAU/LSm3uJYBjle23+n16QBvPxKflbWyRlVC3jO8WoD3zTVWH+1Qxbuanxf3FsNz
SIC1wYSqD2kLRgCCXVlPkjt2OTd3B/vXa951UUUJCINK+V42dGmX1zBiQ7ZD3HqgBt4C8CKOoIxh
ImSmT870o03969l3Z5rrBnqS5DBBgZm8ySYmwzNMs1lScAZMswZjwYiuuTPn+Bgs6jjmylm5QXD3
7y/FLfnrX0twd9QTyudFlsOXCm3hmLtQyFIXHjWIg55vRx62i6SHF0Hvbo3REsG8zbqDGdnSQgnN
D+CzTLRU1Mpids88qB+17n6t0F02S6WtEEAOcvZQs0Fry2hQIsdGYRZrf+fbmWrqG/ROEoyJMgMt
LWxnJJpIsEEi+HuRHk3RcLgE6MAtpsDoDf+Oh6088xkkjjlkAJybcdDDCi89ZnavILch5pReikbd
s1Hhw93586l3pUcZ/p9IRIfGw3q9hY6VGWE8hwTtm/PY2ZVx3D/t0HDLJ7/fEhClgEQNrBRQq9+l
iIMkDDELAVrcNuzLoGaTDqFAh5ZVlraABF6BdB6RcVWval2ZrdwCBAtcUrJJTrI7Ip2w4Ps0ZWqY
avkaOMa3vz/Gw1j34/XuvUqpIKDKLAsFcP8bXSIUzO0xpEntl7WB+dExIMYnCrB8BRuaffoFJTyI
lmk3qOtgtSI0NULv7xd6VP3AQRAwagligfCqvvtOUV5mY0gzE0pEcJbs0G70F3SY8cfEvAsRL0B7
FUIQzhGIfbQc/n78w3vp5+PvGmos5cdB27Pg6VV6MennNtAycp1UTNjR3Cc+4u3HgkFQJWPbqIfF
aGnamfF5uAKWJGLIE1DrpTX6CqT+Eepfx9x8Nlb5/ib/bClUQ8gZFKi83LdgpIil5qnHEsWuDxzU
VjjOx3ELNTd6HxeApefXecuavJnbMvS3Do0eo88du+LLNKmxqxzhhg1KGJCMW+mIju6uhGRTipwU
JjEh9LPQhuE1AW1oSU3czB1V9sjBsjbDfPB1Nt8XYRXcyrMTnptreEaHEY1wH756jRqqnMvqQF7Y
vC5ZOWbaiC+Iv9g8BaYVshkggWdJiAYQTIWO0p7aVy6lAy6Bw9iZwItnm07398EhZgFrI8Gmv45X
/2V+XxxlmX3itnoOzXHXBzYUjlOvA6eK2/B1eg9xXvID6oNi15s1GEAQA4Nn/F420IoayVHR4EJ7
osDFGoivMnZxKZ5cf49Ed0Dv/O9Xudu40wShXoABc28awYleb7eQgEH3RQesfBnPoJ9RqOHxQKkQ
EHiHusEGTDu1hAoM9KP7Bf2uWmgSzzsY252fbOoHnYxfr3a3qYeQ5iQJQtuYGq2vyeYFDbkYkkXo
vr7lMD2CCujScK1e0mN4xLviHVGimjLhDYg/AukEQc5NfnAU5EFbjDJ56CdGmrIbyBd/yY6RcZTs
J5eE9GB2yIvw4ViUX2kMeu4uCSXgOjkeo8wDrlcN9i0mJOjCcqfGSYCpwyz7Or0Cv51/TV9wORx9
EgME4JsJgPwYRyGHdYdZF+EFnIJCCEjGOgJUOVCbkXBv3XlY+6f4xGiyHbj0TjBCAwjq7hpmEOCi
vvrDZHPYs6DfhsAwAg1GgJy0+4OAATHgLFBH2zY9gTB1xavDMV2Le5BQ/IKwPqQQsvexQ6xmsyfJ
xaPC6deS3G2wPhq4IUjmCewczKkdwPF0ztgah53LIiBymMmA8/cs+fzusdwHm58f4m7vMPOM7hif
F0jUAR1A+35SQVsiW6TBK/szWEsN2UH0wYGYg8ODOqyBKH5+1jh8wDmEX9YiZ0Sz6IGCov47Zxj5
MQw5IL48jF2WoxQQ/G0kn582CEmEEFV1LH+TqsH2GWX5wbnGowWoDCxyxxL0jn8/GujyIEpzwDR5
Z3BqM3eha/o6Al+PlC3e8U68A/dxVUBBKdgjqYC4xmcFsipjRhgvuOEBOIzwEK7RKr4OdrHzV8UO
KbDbu5VVbhrr76POLG/z+3Ox/0Paeey2jm1b9IsIMIcug6hsyXLuEJYDc878+jdUrVO+B+XGqwJu
XaCCJIa9115rzjFvJhKIVDeuH6jdf3/brBDQrA1mczK6bTVsZyP2xcJp6nAto86FKVhc24Shox57
v33y/1Y6Mr26WxCwZJGt9rPSqVQhXYI6kG7P58fY2Af0G3Nmv10pcTiJIGovnbC2UfnfR6sVz9GL
EkKxAEiyukrwEJYdPuYWZ+DtxGB+WlBe+tC9Lfl2uTluCy90jt07u+r6e7t9PRmPN4SF4b8G9lZz
nO/P3dOh2NwORhrvx9PnGsWQd+k/34/oDB7L1dYFrnN7iHW8HfZLtGlWdJARqtuX9flXj+7ttfj3
fVBuVEVWLpBkCt7Mf9+HGSxbipdnfkRVsNHudkTM7g6H1X2w8u+xSTj0Archyqz9EdODm/jtL2K1
/13y+Xy6axpiKxJT5R+LhZLqC+D3YnmERN3jT28xgk4cmu+jX+77Xwo2Pgm7K2+JTNK8+WOBaLp0
lo3Ukh53zc30pa1rmvb39/uqduDDiEBjMjbdz6ff+jh/vcI0MhjaWNr/NocnbClpOEpgbLmtareO
IpJqWnLg523aWc+/PN3a7Xz0PzcU3QVZlzRO5H/mYn90cXCCZPkkGHDyVuNMjCiToWylO4uw7R7m
4Nh8Tu26Os3ejIz9KVKOygMwlPjO0j06lMlhOIQrpgZX+jnGqXfkBthZ2dndY3Bv7IPDwGOicC6v
PvqZ1o+wY8yVutbe2kx37U7aDOlK/1bW5mu+NeGn7uT3bs/uNkmwTW3tOqmO9iF71YXYDJmoY2ok
6rlVcpf6wTqBhE7MkQSdHA/LgA8Kkz/rAXXHCOytoRF1DpgKX+tDh6KFAF+BME06l9J9EnhUhflL
tNw6Qup9+WFKJG7bsYeCfGodgIbDDiHDxVzDZT5ap/LSQ17AOtp5RgQoZ3GQpzHT2RXv4G+3Aq14
sLCmK33r1TlQMP2sQb2WDx1pTK66G6/qDUUl7oyvmEnuVjiVv6WHq3+/kTqHYYsML938sUJOpmBW
RGRIvJnF/uVlzt2aeA/U4fw1XYhtG++v85dyvQ9evyh5d8/WAeG+937s7uNXpQDPLtvFPUzfOwxz
drO90MOn5/MbO+tHQuVt0KqIjBRudBKwZDxy/15BCmPoe31cgoeQpCstyS5DdFWG714TgGTk+6Fc
dnobeVKIamQ5k/yCujx/npfrL0/+/1ZifI8bIhZPsKnRuv/39+ikrI0rQtSwkiLyX6XnJDsLiy1+
SlSI06HwnzTBfkQbhTIl/+1u/WU/49MhGPIHqWvKPx7hP147knu0tuwq+ZFZ3HtqqbaIg60yJfqV
0l3b124eoEIvNJ1smIZ+9ut///q//Xid1EBNJqWNqIMfP16XB1Grs0lE8WvZ097i/XHEAs3s/+9j
fqyhk1WLFdlfHHo9LDmCAZQtQYe++W3N/Osq9ufvuf3ePy5nx9MWhuLAZKOXV0l7c2A8x8JTYnhd
8SZD6SL1Cb9RGWteYW7ycJ3o6yE9x8kmof3ABENIHuSSkLAk8bKwJqA+f5eU07Jc2jDf9ywWouKX
+OrMoFyrneinY3PfwUEf4R8nJWcjhiC4thv5xYgR9FAPSLEAE/UtK0WXOEpHD5TVqK3NULPH5m5Q
NVvN6RFXIn7EFKg29LNQ/eXy/22zJByazYRJHtTgH3c5FOpqCka0RlQts19F7gjCNXLCh8D+VcH3
lzJeYZBvWDccHp3kf3TSf9wCuZpKnrZoeXxqvd5GSEdB/QJKw4bkZa3e0jXshh6g2z89VC/e2idi
WnY6BuqH2gEwDNNi/2zTnbku9urhrvZ9nxbN9e56a0xvbl3X2LsvSUUm2MD1PaIlHk8XzAo2ATe3
7ZibR+b9es1p8/ydeJC9OYGGTmB/YMFxtvR1oJltOwB3ib3O7U+HfxnW19rVNr+nuMp/28VvKaOM
gm5/mD+qa4LHu0BSeSCXD1J4mXZad+lZ3ejv6RvdLwNY4SZ4HTbFVVS8GsyKo5w6xdbv+9QJXgQm
br70+d/vovTbV/qx8CZtKCthX4qPu8Pq2nIR7ynTtqHLxbv81jT/i5iRp+GP3/+jYxxnRqF3Wi7e
2rL0lWA0Pmw2p9NCtsF+m3Dhf2lT/GUa9e8PvG2Pfzx+fSNmk17z6zrXPdxtIh4hYJf39z49+m1O
fC4u/DOK1v++qH97w/78mT+O87EVxrLes8BZ7XkoX4XinGsYz42rUkdMQgt7yoRfPvIvJ9d//9If
bzULd08sI7+UI8Fbbb+99N7hrdgcGOls/NfK9hTHe33O7GeOFmv3t+v8t50DEgypOYCqLZSV/77O
+RSnM6/6DIAXiaQrQAjWGCDByENQsSGxgCOAasebxsPLZh1endskIPPJpfjvKy/pt9/5s3K1KM9v
Ck+2759bqGL16oz4DqAtNgFWG/gryQ0KJa2uFs8cOWUIK+9su/Lu77Q7d3W/6Wx7WXNA22XO5+1L
Z5sVYru1fgr23e5+9TKsWK02qc//+vv9luaWZNtfm4NhrzYfDwcsxhtg5ucSCf2V6u4Qw4iPHXFj
PKLves+8LSCK/ZFOweVx/3rDI7+bFyQuCIhtkN27Wwb3Y7jJnsyL5sPUsMtL40fn78xh4Oc8HTaD
vVnBPppW37M/O+5tCHi2yWlxLt8gOffe+hs5E3+KzstatH9bH25vyP9eT7DfJgIGFq4fRzuNnCtz
YG1/jB5EfPeSTcv+Xn/oGg6jCpZ70AJoAJOv/76Pf9HnoLeGH0eEjkLb95+//8eLC/JAEaeslR9B
AyxMZjbprrpID+PT+N1u+12ILnZF4lYEPOYh3arCWn0wU9IMZLcl4VwD5FgbtnVJTqNnuDOOcVfL
fzsL3pbGH5fmX9/xx2pmojPAltvchh2ldZxCn+16LJ7jt+6mzum26kVhM3tP2hUwcuooqLjVNsRY
eS53Sf3Lk/+3pe5f3+bHUteEvZkOTS0/VntC+ixGb5ELIyLaYDbNMaWci9CF8ouWr9kZj8s2fo2+
jfOg2zpyJ0/tPFIxjv99F/9W1cMBhMyOfvIm4v9R6Qk4vS0SZ+VHXYRdr3zqGktCS2zOsUSrRGyO
vns0XpPfBqR/0Tfy9PzxuT+Wo8Ca2naQ+dwgtXscu2tDtOsj6TvLhpPFJkbbra1S1LcveJrv5rtp
bT0PO/VkCfuydcfQw6WuEvbK1MB04w/tNe5+uV1/2SL+9Q1vf/+P57sap2HWQr6hlMfbyRoPBaLF
Kt0UU2nXBALqgoll7Jc2ifLLp/58mWOC7WoLJR7tzX8WZwKh2mO+5pxzH2zxRv4zwu7QT2MsxMhn
rSCSbHR3cXiOCXi0s628k3mW+FPwp6doh7FJ3X3/91Oj/6Uk+fPaaD+qpEQD0XLTC3JmpSx0mBPS
r8+9CkZt8B0jcwZ15oXb+qCtsUJT+zGTgTePTWU1vcmu5PQMdJjPuOk249Z2a9VtkMw3TuFbp9At
HP2ekc8xPUzrcDusLSdDhjvf0H+r9ppAi7ANpJbXGS0sVMXfmmXS/3YOFfqVBuE/2EqQuf5cUctl
VCZCdGmxEhRLk4LEX/oaZO1s25N0lN0qXvfa5r8v6t9Kr3996o+L2he9GIwzn0r+ZRw7NY6N0jWO
JYlWLzRtRQycd9nZIoLsonsDKhCv3EVvv3wJHT7SXxbNP3/9bVH948HvRwRRdYIolsiZybG6wZHU
whea4QbhKOzeQiFVTdKzWWMnNKx12g0EB+ULJjvQs2KORK0LLllc4VwR5qduNq6pKtIAtu61qp4R
PAjJgXTYd/I0MKoZK6KAH3BMrcHjcJLnoRBMzY418ul0xdMVTKv5p6h+iRzoYw3DY3VtOMGlVb+e
1dlRxNgJFkSWTKkTgzYRabCYvru9klk+p0DCqyQb746TFuFJqGL2Gu1oGYUbqNnVEM2dOCWrYtgR
W4rE0Djy39xWxuIGSXfKIgHXTrmJc9MrdOtipu22w4oFGckesKRH0ZPeSTvMBG6bmK4BuUYSu6PW
3fz1xWOTao6Y1XRL0Aj2HC35JqEEG5m4MIgouuhoaKEb/YHoXEdN3kOmPGJjOEohuhViqBlIOStN
XJD0pOKm7otVGplcP84Zmuiokel2C0obCb27wOF3PJbFtzUN7kxTolVTvwh1T58UdzbfctJRpad+
eM1m5ShmhW+m+abopq2Ii3LANJws9AoFvy0ZsCmqt6TYbbT2qC1YzEbD0ae1KSdf5AMfS8ou7W1o
gTiUOEkT3sZkERyW9JU6taMdVgQHQuRw22le4Y612+yh18+1tOlhPWBUl+NsTYIrJ9v53KjtfZNf
YPL6IvG+PVZRQVVfjJDwr6Bz8glwZmm6BEi4uQVuQbpg7fTjRuJQrG3ygoa9nHu1wjCOTaMAUdQa
DVLoPVwWX2EmxtTaiUuSgvp7VXkbBEpdCcCokvtWKrrKzBA2a55w3j9DxLCXEedhu1rafpvovV/D
81CXxTEYGA8RwayG8mxC6Ck10h5GoC9pNfWOJQbPQstM9+ZTbRlbT9phROyeZG5bx44ZZmu13sXV
zfMqMUMIRs3pqxRPhAbkKY+Ku0VvwHOWaUpqu5Tv5qnezFPnWNVRGFNX0XRXqj9lfqiijX5TFPYc
3H6DsDVGYijSyMnU+CSEwUZmzegnQu/UahUS26ZWpSNae9ADZwZKp8L0ebsceQQChbyjFb6GlFxq
Sz8Z5tus1fBgYlD4EI67CpNtNq+bdvQYOXldQ2xZn3shVnz4KasgWT5joXvUzchV5fmuq2c6tMRo
2yCo9kadIhVeRkwyVfRckJXia4L8ORuJnzbhy1QGT500XrQuPyRLeScWOv4Ukz40mCpbKI2DNFXX
XJxWSlZsByvI/Kls/C7rHicyrzss0NOUe4HZH5Jb2jC507J1XCw6YcUpjI7RgD6jt7BHPiOJJvyV
rGtz9OJwQwAMkRUxncHMTTXFC3T5bqZZWJm5T8z3t2ROj6MwonjUd7WQXmpR3Oq8pEVqPAbxTJuz
ApenvVftM0EhfqsRPrWcG4w2WRa6Uk6MWbFSqEzoImJ71FxrDJEFkPBmMbM18q0kqpsqQe4lAZjQ
/bF70nueyUEoD0Utu31NZBhjFEdP0D5RzMvVtZOTb8zk7gI/ooPBRizyKjIxGOSql4uiL02sToZu
J7PplWHnC2a4X+r0LipJe5M+xmJxurKCVBg+FagQWNvtrv+QjcrNeshIsv6gW+JlNGXfUi2c6PVb
KmkrcchWxqC4eVOwzENtWRKvyVj6dbQM8qGJsUXJ9Jnn+VBxn9ux8HXSdXrlzqyxsc79WxOFh8gg
wFoRB+Q89cRjUR6D0uTKVoc4zU9dFfg85yc5759bE9DJksRbpbJsEZZI35NWbzSZ2wvLKqmzO0Lg
/VA3T2ourYh1vahdNZEWZD5pObKQWn2IJ/QwElnV9pxIXkcY/RAWB9MI3HLBwdHrwSNKyrfQTNdR
q1FRFMvXonXoJqW5sFtB8OtxRFrZojLOydVyQ534AjloH4WibI9q396PLTHoivUiNyMNWB0Mz2Bi
za0mTPc18Nk0jOyumFgalUx2yq58zEzu4FIDFdCmgxZNl27QCthU1mctytj2xXtA54+mMFl2k0+b
KQUFlTaaK5mtald9t4qnxM87kwAaGVqWJUW7eBQGty+Vgmz78TK3vAFiALwERNc8J3dgKKhX9KZy
LcHaR6raUbBmr3pQvxOhudLi4CHugVP32mWqeGEX+H5JSX2htmaw78WbeiFKRCewZp806ItsVQ9d
0vSOFmdPxJMfTJLQPWEWiD2M2d0UZZcm+WXqYp8I+GvAWlMv+ocVkcaFrtUfwXPJRXISUdKCDvLq
StLAiMWWo0TjRjAS1gGs9oJ4GCP9kcB3ghuscduX9SrBNjaG7XZO2j0rEjg7vSa5pKLxnS+J05E5
7chphPqDHD7yhD9SNToNVbgz2/m5C1HemKX+1oTl9ywY20bL3gFxodlP6Pn2vQrFOW7vJ5PJJ2ZU
u0kQlSXCszaXLxaoBWEgkSo/NN0WRE8NzsAo39Q8P40haiM98uTmMufTPiTJMAZT1VeFx+7qtI2+
SqQvi+NTWrRHYcHpoV80jafWlLcBHaZpsGBWbSryc2TGv5G8sEiPdxPauhAhdjZ/Dsk9LC1nnC2n
nAjFaGs3arPtGG1ioAixykFJvvaIjmaj2ShSf5gI9TU+GzG9S+avwrzyRkviTMkROXEUnueWqFiZ
bKeYz0jFh7GgSaLzwomN1+YV9ya654w/210relFWnOc6O4F6+9a65Sya2sqS+vUYSc5okikm8unP
WlWcUgFtS6fHz720YsLMfePnpOBWsPm7yG85T/fAPYBc5YF5kUZKwlawtRYjc5UdFXPmuFm/Z0Lg
dmoi2G05BhSNHYVePW/nsjyMRYubXY49uL7r0IhcK2CHMBqYxWiluXSh8SirMtvUpS1Mkh+Nnv/k
zS6gdjrBSIiJ8vTd0gS/NL5MDZhWjTyZGMpczxxNfo6t3svnmThO4TlBa17WfAvuTpvUH0MEeUoQ
GWqqMfYdPCmZOD906vIuQc2Yk2gl5ZNnNjl2Y8timBkezTl9NUThhRxPfkJHUYcDO5lhkuVP8aTe
W032PcYwKmsugWA2wBBx6wCrg5EjY2jSJ9jhJNKOXyP3L8n9NtY2Yt88torOCSmNPlIh9bWagjAV
vxpLswUN/VjL+Y+wzj4NnuubZ+ZmV0tLp7GecnPwTF1gmTRWk1GRh6F3a3m6CMXHUobbZI5XC6Sz
cbmRKA3fkrJdqeXrRaTy146TlToKgxBVegoqTnBWj6wod+qAtGih2sdF5FZ89dGavWLsYHRai62b
qRcM8m6uOK5SrU462mKgPCpGmmjMXEMXvDwTnSWcV0me8ubEPM/IneZrYZ4aoXPaOXSJtUUxV/si
XzlpFifWrFUPaqub+50c9HYxI3+3oAaxm+ilBvMoIXc3j/dlvpHSq1i86EysLKJjkvhcMorrsPOo
tQ6Wx/DCpXOz5GlBQNaN6xJQpfyR1YOjptRQu3zZhvpLCVOyGtZqQwcQ0WUkto6kXGr2z0X9SCxI
IwXRM/hq4nqnYkgQPwXhriPPTknKVay7wrwSGReEOGkUxZYnV8/9WXRGrHsgSIv6Qaw/E5kBlrUB
GMf3MJHZcuebeGXMrUuknd7DFAT0ghhu0GN3CetTiwix1yZ3sk5q0XptQwHLOpUQ7Qo5qxq3YjmT
FIuJpVtrmbOMkV0LT0rrU8FMjTugoEw/4FCOumOqHOm2mbSzLNkT+ldJYeQ+AN/Rj5Ay0VidkvDY
8/INgLtk8X1R19LyXLeTM0hXgZfHmAMvbd+FmjFNRdd4uKuV7bwIdhh9wwjj39nk2S6OXprpKTf2
WfJedZd4eS0AtzWLuxi6kw6iY6IMCMb3IL6kMds9sauPgbgmQHbmDBxNqOl2caA5g7WttJ1EhZ8c
YnXf8S1HzsTksGF+xWJagoxp+5NpeQLvUFoXbtNd4FsG2p00VE4tBbbWuUvvNOlpiDZz8JiOp6R+
lIgN1ahZNVo8h6J76TjVWMw853IdWCOrxA5+opvOqyVemzihdKd8CaD7kw8UwoDdkMVrgQwp3UVa
C8GGej4cbU3aJQj+0GQpboBAS94lFV4s6ua9Em6t5GWa3GB4Y67DxDG1o+SyGKkn9YhljQ+xeijC
Z9O66u0Lzqdc+RI67n55bCcQnQPcNYAaeuubRO4AqiHbmR5mm7DXpKkfhnt1ydYKlq8KfeI0XkRx
cXJUHh2zUCHa5cW33J+i5RaaI2tsnrSMLfFdEUC+TC9Vm5G3uio70mXtOfbThQDeTVgKG4FcdOlb
nHHDBw5RrcA4HySg+uZTrL60fPu2RwcXfwKV1RIv7DfKcG44H8HsdMP8VcpdrZJdQX02aJ+NvPJj
exUb4FgP1XBHxV7Fz62UIXH+hoJnF8ZJC47D9JYXq6y/r/RdIp5Vg8RfvvSdrkAf3OajKxLmKdXs
KdM9KE27Lj+wnuu6O2tvdFI4N7+YjZtkPLJQODLEx7L23s4O651ZugH3slYeUIZUhV/DbrVUYJK2
BTto3EGvA7S0qedLOH+I3cMAKsB4yIJnOaQtl5Aw2tkKv7iKMWBzHDOU2VUHyc2GT1kUnH6qCQHe
dNlGEQ9Ro6xmSXfGSXDn8ShTaCQNVufkaOrnvrtEI0l6za4tPxb1VCfhKhY/UvkptzYlEKMOBWj8
BOJ1Ys4YV5eBvatQn8WZR6vxa1YQgwu0rJOwd3mFFUQ4Y2OrwyoI3hfTTdjRy0vWXWeR/GSKRLxV
pGeHPEs5FjdNezD5GdObFp41bdfLipPIh7Y7BkAHk3tJ2IvCXVTAGM03cj5Ri4BxlJxIPoPAJQNY
ENetsrjpRo8I3bqR+zBU21qU7xvBPM9CgeGkpJnH+c40lnehVQKbU/JJquUUh2F1jGXrFSTnaFvD
9KFNFAypBfO4G9xJjp8DtDp1V3Faa411k6NgpCn7WLcZcpe8dxtZX4dxsjYrc9eVEYlEbQ0/SMsG
DpL1sIlgSHKuLNXtEpajF0koZ0UtfYdFeJF1FEJRfgbZ9hpoyueUF9M+GGJvwIc4JfcAs9ZLVxzK
cNikQ7jSynJl5QB6Wfqz9qAJxMXnw3ZRrmPVbqzyOaUuyQjI1lh/JF64KbVWWC0OS8b3j4gAFSJP
mztqz35lhc29Ief+OJ+rRXWCJHZlq1iDB2YQ8J40hz7tNyqHdXMS/WmgyNBPo1n4uao4HV2I4KVN
L1H8EePvnXgEzPCl6bCnB8lZZF3KxXDb5qQuaIU7DZGbtaYTzvEujQ/G9JnDq2EFpqg1DpV1bqMa
HlZD7rcvqWuypFVwskb5kgtf9YRzS/gKidPVHeWWy6xhdCYIvO6UY0exWDO50JKDgO7KZLlRBRnq
2XVc1mm5LqOHxXzM+bXBxHLD3lNm3zVTlUlYVYOxqbpDU1BIdkTRqumlGjQ3XDI3tJrtrQgT0PQs
ueBJJuSugZ5xjubeVL2mmnwreBwZa03moUKtNdKMU6b4iE6ijdYyRyf4wV22hYti1WD/QrKg+adn
atDSK0JPYeez/LrYGePKRNIhHabBT8pXMw3dhR/VNJdF3ij1JkMGiee8fRPCD0FQ7BaeQZUrTlTC
feP/Wl/yMLh6hwKvhgeh1yck7UMF8RToS8FQskBMz+swKY9aQ/WGqWgR2QHSvUI0vNG+BzxaMgeL
Oys7DMJL2Kvntnxkqeill7hZ1wA9Stdsr5O4H8F2FrtAIMkOIwRNKboJU7rSxJNIhRHrhyH2rW50
VVo3/I5ABtR8+8rRM9cwa5DIm+u82dcwuGF/J7Pk9hJAMQ1CNv6eiiD6DnATSZAhXDhqHQ5IblkR
ZqM9Wn14aIt4RYOrC96VikIFcEMALFbVeSEN/PdTbnfJ6DY5HX7+JQpX6sTRhw9uo+Vit7J84hAa
lX4eQeVNTxTd9NHTfpO7zNdpLU40bKLI5KiC1kj6rGRP0ntbqONdmQ1r8uB5nWj1sqXKJVZsjmr1
x0zFN3HmLnL6u5XfCiup4lmJvziI0u55jadzYbzW3R1Hjc044n5hxoeJqKCia78HfViHZu5o3C85
qiHzHXtN4QB7o1VdLLq1oXiWO7IOB6pC2owRABv0iDk8uoEbKwLjUr9bYd3qLVaVTzPiDDU4VnEQ
h9qOzJWWBBTlunPboPIyd6OKOnrS6acce93wJPVpqQSggVRYlJ7xyOYenhPkv0sTOXX0ECbXBtK2
oPF6t4z/1KOWsnE1Xio7orSL63McbTsqv348KOYVnZJDC8KhQWVzdnWMgaCb/Eut72vqhZpT1xie
zcXwSvNEBKdbi92+yB4EQfc6yvqkCnaqdBbiXWJsFbroKHY9mWB4WZ8dVcQeo90P86FOE6dWQ7uh
NopjUnwt61gPtBqZUwaLw+fK8c7COkO7g1CRBUTqgYrODN617NSpR3pKKifRpfHKYlW3OwCxDTvB
1G9rmSf1qwTrpAobDan2KL6mygt6RMqWgX0N2hX1cQSyX0moXlc0w7VKOQc5CHZaTFq4A8/uT4UF
dYYTEuaA7q4QN2ZbAr4G4xK+Rjpu9u4AVR2/+7JPCWEZ1Nda3Ujla2qCktDuwY3bunEu+Ec430QK
x5badAKxdtPuRZlNjlaYWjsMi8FkJ2Pj9DnDOP2Vphbv25n2ZhNAox0OrUQVM2+6KPam4CuOYDGr
z5Gi7paG6IvsMAnlqsipxzWOY2ZuqxEZiaGySef7Ssqd0hA/Ox0FrZIfSB1xm0lIHEHrD2VHoIFM
YtDk5/WnFeh2OT2Wwtetf2yO1lVgnpqA5q/Vy8zCTpvLtsbyYoSam0cUQ3WwabkMY/hsBe91+tHU
58H6jsNvM1kP4WPAYLqNNzIA0SE/LtXdzDhgXu5QGjtDq9vRrX0TfZsRlN9XpecadN96tM2rJ3rH
Zr8SVMQW1oMl3unRp558pWptx+Xsm8JHH8EXzLB1s41vO5M5TvEamKuycTpZ2+ohQHLuKpi3G7fe
W5q7zmjIbNhNyT4F4xvSmMuCq24AWStP5fIA7NypCH4vKsse24ZzpflUqMuD0QqbbqEVNogKgHnp
Pm4eGuJaJ0HfUx/YQa1uFY32YJFepO5VFC5dyjov2YHwYqTrJuk4qvYr4vFoj++XYLb1aAIAMTt1
KpPlIHzLi4xjvv3AnQGskLZEc1TYtOKvxbgu40GwDkHLWVfcRVTm5rRXFGMzTeCdqoc6NL1oeo7n
8HlICUca4oQBFpso+E8xhrjAWHEgdIEodztWQ6eP6/c0VH2jy+lyf8VJsVWXej2UqqdX0GmCxsuq
2k50pGoxIX3aM+Me2raBHTbg/5ZrJpFXZrUeMQQUrfHnrA3nrMvdtgxPpTbsx4hosuKpDhsnyAfI
YLpNZCBvMa2VpgGTeJcnvpHRz6YmXAY6/C3LLwiWkHmf0B1yKvVuWhXJO5TsvaERX5GYQexqRf5o
0j1W1f6SYEXMEHsMKhtMZ3La0OMXkgA5D8TB06xFD6VO2jdYYqyBqbyLzeRKRPBWz7ttzxyDkNFz
MvX7OBZPnTY7rc52HrZt7uXyvpywAJXkOIX1XbVgAC1gR7KQywX7GidfWvOHehw2Sa9/hpn8JtIS
0K3eXQLlUCmJZOuznrplQ7+jkE6JzJYVlUtLMJbJcDsvtq2wnJK4W/WytG8jFt5Z2+V1sZ9NcH5S
fIrzdNfpyy62yFke8FJLyrpSm+eoTfdDkjzMMqKTJR5XRVu8VR0vgZXDr4aAOWsGBh0UF3DpP0eD
DV+nrp7NhaFBdUqilENzfJ8pgitWiqcwcspnhkHiuJsKAfiUGjhTDClCHdmolEuYwvkMxkM20Hus
67NRZF83uAkVW1hsokjO4L2z5gl9ve8jGgWiZCQbTRgCR1GExosFBlvhBJ5y1EGENvShLKlmpJAa
TgFb1auTmQegqGHlC0Hp16JZARaR3tguOMRClN2GY+bPXblWgojnqPlsKt3HguiIS3ChkQaqqGne
hQKGQ7rQKlJEJvl6H+AVm1nfGYS4hRKR/EoMkZDNL1IWDz5mr32zWJ07qcKqGelkLFIg+JoSPRVB
TZqQrL+l6fQsKhOTylhqiSXRUkcz+P5E7OwmLvmStvvFaM/soJe+W3zSyU5GJp4zUcwYsqk4Uhri
EkRi8uaIGlmlEairr2peL7ZUjSej5LrRQXKLEH+pbAnA1Kc3U+W0UYvBHRkQ5A03xhZs0zbFgWB9
0tp0ekK5Q0vZBKFMCaRuBInyhSdOSzllSMmWWRd1lrkLlsahvPEzSmCBXscc6G5ZvJDT5aBQhFJu
W+kmmduPuFSvXZi7aj1uYu0pyuXXeq62lhWfG1XfDcYE5HY4VM14LFjxjGQ8mqgXUmG6tAqcXG5f
U4HiutWWJctDr9pDph/jlmM+K6nQr3Ndef4/js5quXEkCsNPpCox3Fpgjh1y4EYVmAharBY+/X7e
u6mtnQlY6j7nx6p1N42eHe5vATSYH1MdMQ1e1GZozZk/DHbd0TQeCsYsqDAg5SFQSig0yditif04
vSyOfeid1UcjsrGYmluBh7u1TwrjXemVUcvvqy7fVteO0tg+Di4GXEnSV+tu5YxO5E6n8RmYWZRA
VnsgngLEapzhQvi+RvfVKvqwNek8UclKkRi0uuIjl91D7mFeYtaZYaey9JwVyybPv1KL54lpUZc5
i8VSPxWdujfkt54/LDBGIt67qb6dLXIR47y2D95SfjYN4NTQjsxjrUUbaWpdak9/MZeY/2mst6QX
gLHIWt1rqvFvpBeE7Zy1ohA3Vkkcv9rMy+1qiIUmGUdK1+tsvsNW9uM2dvJjm1t/eQo8nbXKI5/K
wRTtGmVuC8y5NKHTcshKYu+DPtM+pnIe2OvZqjP3QVfwVtRmzO2gUNcrUYctEy6cmkR61YSNFySF
bVbBXqDOFdyPwz6cD4CRXJf3Edh6aF3c06JEbAa/82No/XdLbuPGxvsQdnFK2WrTWFsS6MxNLY3K
d0xCXa2is/ZGPZ7Ghh/d1JbetwebI6AwU+D8ZE/Fx1M6xG+p6x1SKQ62nW81SfFSPFNaMzza7G8b
szIhzdS05rVQ/uCw9sBttH20N6/rzxobIMg29iBvPvLtBG1SXu1MyTaOwoIbTw7DYhN/O6kQPund
u3bsbmU2NH7ZAL2Z8RUkJmxKgH21OjWuOOpWP/qrpdJo1CbpsdCUZcspwhssjNviCiccbbuMBtFH
ZZWfjE7Aj7jLS+ZUZ+xcoVjLhMYixr0kbQBWZP41psqHWLv+4GXOb+U6x6yYwxxaphjKnefRflBl
hhMUluh9C21L72DAzPO93qx7dU74u+NDJqrtCmG/8ez0g1oFCEPXBB6u7vhjrRzSauRKECRK5Qst
FMPTajegaM6PrGImv/LBoxEidcww08fTLNubOsLJm/VDmYwvqsXCB2X26cR8PhIi3IZn3OiTeuod
OBXJ+zV32jmf+4SwHwaHbrHJgphFyy8V00zapjoP1d0VxoG8VVKT08A4OXobZcrwz2rV0GDXUNzy
VtXVPm+6MtCyYissZd0bJb03ppOCFtn9EKl8cAc9ZqXoHWSehbnwMmZqzbjtxhQlTh/8djdarF8S
/D53eHtXj/lrljYvRW9+iNLeZerwCUZDHUKJBW1dcpr0kCe6PXCLiNErN13HxJPFnzI9qgxnXk8I
coxgzit8odMXpj32lcHod0vsFAPa1U4nhoc1aMB+S2IR4uakszZ7rDU6DT+uuj7mDU+SVVTPRVxG
3Nefi9BDkUhyZ3tjC2Hiy/atWi6d0h/AX6r4WjXu3oZI1nH2T9dS38U58hkSUEffauuTN/BeQQ86
bf/bDl8u1EPRb5fpmibbKTf2rd18unoS5CiuGlX35764S0eCeGaJXPcErgf6KtFuQOWuhCm6Rti4
BavO+FLpctfH5FC0qCfm7KzmZBFat1ZU5BK0G3umXwceUMz+On+qpT8YJOpbFzX/NzmwNl3YIUVV
6XmW4EQ7e73YKL9K+RTHZlil0Jf9lz1mu6Yg25+Z1sPiXiDnGW1zZ3XsmgvTs3fQ3Bczfc405q3G
N0xEFpx5dhdkMb6c01KJyFRgoaSzV7ynHn4KWSkNlf4K0V0NoaB+Kslb0FuicpwxSC2eWwOWLmXW
IFiiKMbozhR2HsqDcXjQY5KAi3K3KCGr14oA1Mj+FcTYD0FC1MHyON11URUpbdFobuFmAcftDhgW
ceJ4gh4gLi9sdOMVxWXIhr4pwR+YuRkaGDlz1BdlQDFc0JSfo/eZ5mmoyhsAKWPAarMt1S+U5qx3
uY/xVo9AyF/Eqvgy+6N7EADAO1GvFwkHWim+atl5iRWqQRrQfsrKun8ITTZNCsNrwqDP5tGK10eb
jWX2XvV5L/h2ev4kblUaIhWQztPQXz1s2mz/CSpQEfTdi1s+ckttkpnKsNleaR6onpI5DRTCdIAK
xKembGgBAgmuAaS9cg1S7ZDBTyBEmqT6VjnKNbFAL0WFGfe9r4dtzkHHcBhk43K00wewOsbCTcxP
5PYvjqhDYUzPFdhiVRvb0vOuMrYI2qdyTSOT3z5UXA3ZKqOOHS4uDxLxWUfS5wgQq6juvxlFnK06
L2uHlGP6TOIUsPlrlOalSIFb8o8FCko3v+PhKmGSW3UOa+RXunJeWOwbXuXJywLVghoqfzr1M2mR
Og1o/qi0FSjeK2kekSpsUFAcVAW1UkVdy2SByFknmgcoHPJZRU1t9AuMlvfyONNqQMSvRJNFrWcF
+UDTlk4e3fRUFBeaZubC2bYrqbxuH7n6fnB35nAzUHlY3k+LYKxGzM5O5Hj5ZhicUAGFXnoAKeTa
5RgWphWow1dbVNAL4qFQiGOdt7nz7CZe6BXUXKGgUxTrbbDgLfse+zdu9QmZBwsZk++1kf2OIcfP
Pcz6ihGC3EFhqRFbR+Bmv8Wa+uUdA+M0nkrllhBqn4GYzqI4Wvr3mtdna/jWvTOBG37ncO1Mx8Uc
LjpHbzPDGw3rUc2Hk+uaB6cxD6q0IzUnZQklogKPaJTjRcmVRwRjAbVCRLe+udPga04TuYw+lvdq
2ctmAN7vdNS51ktNGZOp7Vt93AKGH5ycSEW9fRLCfpxz5ahn2jaZkamRgV4uybHssqduXH07TXeO
03OrdA+OR8EYKkFnXPbKujVg4zrLiUzDjgSmwMoCJJne3Dt4VhYfnetgAy3Nr2lYoq7nqUuJsUMs
tNahDrnDBbZ3oWVj+djfGUs45KR6oWrv0DTiRbDvdmSPZJ2FoLYyz0uv7vIBkvfuBkAZCRicWy58
bQMnxMjepeEwgRpmw1bEZ3udyQEmYVF/q50Wxo/mlDXfoxuACQTgci4rpF7q/pTqd7fCS3IiVcg6
PPkxzMhzSn3C+hyTJZmUz3laffR1trO8+JYMQ6Q7b5Jvb7QhH/p3NzlY9NVp8eOocdmz5dwH0fnG
lWyaM0MomXUsM4mOiAmb9Fy9mMiMvPiPfpBNalJL5u3M+TuZkPTNtINDot2lHl0Bh94dral6qWiU
Aik+8F2FRVluBnUMFAPlofKHH/GzscCsqWewMCPST7eZ2z7Qaf5wHTr96B5p77RXCQSBSK12wzFH
TcBsYOfaaxrHD4nNOJw6R1Pqm8rA4weFqqUy8GoT1KE9zCVPrcSU1GeB2VNmkznbjuyUYXYuWb4i
+lrCfDTCWgoR0YHyWa7GI51N3N0Yy6lef1aad+okP0BSz6s0YBYMd++WDb9hTfmaY4+NNB2ZIVf9
c1yU3TLXtNWM42418t06Gp/lTG+itzqXpM/ORTJeE4V6NzQYSs/TR+vo6hYHqpWIZSmOU1UchFJd
khHcFUD7c0rotSvl9FXlKyPCouNvL/XfociOcmzPjKXPfVmFbaI+i35x/BXvQH4fZ4dEozVBP0tJ
I2C5Wu+VjVgA9myltJJuwNmk2INnB3EY+38WVDmPo6CWEbmc5X1V0/s8DEFRlbuEKBZGS7v97QwF
mR9grOyCNUOTUSCtbHkGnPJxMF5aaHIPuSIOnl1d5iE/IDIWeIvlUVOeE29rOB+e2FkAkJl+Fey1
lu43qbsR+qWHKlJqbXP/GeZ0OKXa/Odm/VV3T2P/viRZGNcP9bTvxFdrxpEDwJWP1X5pW79G1mub
GExbXs0coMK2PhxB9F9JB4nLgqOBR9UyTMEsJMmPNCpno43QrT4q7rSVHIeJQLYbl4FaZ/REdWFV
AF3n6sWUxklYwOi9vE7DjGBnX7coWdBTYzFqQTSdsMHdlz8pCNA97+bE4HB7ab7UNKCq2nbpjmVP
FruVQGyZTDktT7WFXi+jxo3sOaDOzLw1AlGD7r50ag0+xsTvJaE9fayYnCrjtxck1NrNuzSReEFb
MlFInMyu+eEqKb+GyVFp5MuyILOqKlCTDioeVh6sd28tNwJlNgW7ihO/QAzsBS77gvxWD75F0NY5
ktwy76bsoV0obGxowXQvOKNbFkOcxOh7tJ8FFYMkdN+sfxT128rcfWVehPyaCrrPtMK3bfPuXPkw
9fnSdiP8cfNkzcZBEcNhbNm3ddQmatXvRd+fEceiFHyt4zSCP02QCWTkYZb9X9x9dSzNfSG3A9pn
m7Leug4HZQjQPTWtweFbRbFYQIS6UJrN/s4e0NfK4o1Y8lKWuZ9oPpAUowlP5PCpGR/j9FpRswwP
Puh0HhGARDOFSY47bMV7wdE8aJ8psdpj4MRX2E0WwZcCxBtqxUOMNq/vwzgwh4UZXIdekQJhvebW
vdLnYmKZkH48b5040qdHOHg9/cjiY58+YrPeSDMYnKOrHdHYZsPHml+AtTa9VYcOCraW96ezqWJy
YnoxY3Qlpw6DCswAmj7VvbLw0/5mM3z0BVGtPA0jsh8SusWuYICkWHeSPyPBHBMSFfSzFYR+yfHQ
ZA/1Ag2SfTtOgVLjISlDZc2B5V8q489SIxWvSfUqPaTCaPqfVevY2kG/XOrlrDdL4LVii3VlR13O
BsipTXeN7SD+QFT0lbWIcgkCH5gMe1Bfo0SnpNe+WChSQi3cJSdhMCtW6snSupOJRJ668lLVN2Z9
kYAGCmxeT22it027rWnvmmndTt2nqiKmpL20rGWkQy1O/fMyH4w15B8qp8M0X5Rur2tUg2mIhMfM
t4AF8gmJKWPZwD3GADcxeNnDzkLFpDxl8BA6uSL1QKiu3A8Fjb6R6HZqRZo5wx5NwpxRTnWqVER0
ccMb4wUtesOmmyFSf7V5DkmkIPfqkCSf5soTw8M3/sKm+7G2M9ovq7lTTdDW1DQttYLYBZcrjETS
I4r4SgD35uarhQ9OzM9+xX/g3rqBJVz+69xsO860TKJvoIGziG+9ynjO54zLsThYNGYCmGbPhfJ6
H+eT7VDtjKnYjMu72qFhQFk1PIJ9B9LwIs3pUAWADZkJPGaBWyorzyMXo+9YzgmYzTc77iXEnPPi
BZ52W/hCq3zpiJF3sYOoy6cHp67WlLPV+UkWF8YksNmHaeh3SXlsdKyBqXpxS+odKCGLPepaFlC2
ujsuiLxSh1e5KcGAgDbi5CwIVZjSP5p5c/LxCt4afCk98Qdja0RlX++TSTyQqQRaCc3MOvo0cX/A
o281N2P9aj4mqz/V0vNNND2LXRFmZh4ddFJligqToYnYF+rNeX6as5koR4NpRmIIJelksyQiEkgh
KoGxLz5qvX1UZLObrIU2+vdh4YlOiyZSaGwfs/3ottvezL60/t4xZgUi5fAz2ad7Jlo1RBq9GbH4
2KjfehF2i/Azz2jCpsm2yr2gVCnyq+dAH8rP1KUOC3RVL1xKtBbnZGAenM360DdrVOqdX9Qv1Wzt
soT8Oa3c1rxxBUacrgUHFPI6NJJrOY1gNTau3E4KrtWFhzIFpzNuHRbYdVlvpJMB88W7VaxPmsFR
P7mX3nnL8yokpyJ0Oj5SC8dEh5iYldTLxscVLgzN+tuC4Hb8SLKWfM3nlZ+qJP+ibZVjOjebttgr
pg4ze5OjCznOkWj9kzbROtWb0yfbPn0B2dXUY4IQrCVW1vlXoOsr1VDFrsNg+twn3YaSy8Ap8Vgv
Lz1zWGqd5rkOunzaCAb8DDm7y5k8ePuWaI1+/e1G6PhJ+vOabGuIy97+aSCBJsJxmFJ9ZUofvMVF
h0V1pnr3tYAfAGA1Q4+UZgxnGHf9vkFLlCzIM7qWvG/JmTE+lJqzM/s/p2zQR5D4XnYKGMVl7tKg
QlNOpbEajCsgeuJo1PPNxJjLYrxhUjjnsQTeFr5rMQATJuUNz85ic3tEORKVXinCacj8RvfA5s8Q
EAqKEBt/+Z0sNSn5nPBHKiY6qXEnljNlnv4ISF6Kh/n+14trASzvuA2FzPMmRv2T361JvfqvHFeU
yjZarfaaVBZDPD0Wxvd9ea6c6jG10miaXj1caq1OlKzOUCrUU9a+ppQYxnQ7aXR6/qRo2Ez0AyMf
KsMC/bDp2RyI32JXyerkLTbyQHcpZ0uBGdBqp0A6NLMGxQSWMhgbhke6cq29K1X/f7kRCIldPQ8Q
UXeM4Z+Z3TUQ+T89Tv3J+h2X8VNKbSshtuuOwEHtNq4L564alrl+9IqLVC1mTLI+zC/wtm1WtDuH
M3JBhJtUmGzuLr2YIb1ZSSbCBjU7h0H7iOFhrQ5qfDlr3necswdYG5sAOcPAyWEHmMHeyyWIB/VL
a/Jr2WbfRW5yubBsTkNKvrh4tJN5vyr8mAm9t/ppbRg8LkoDf8nD2PF8OZl7QHADnrErl3exoGiY
H53p0sjvmPuq6PmAkDsUnIYEnGw69u77r2QAODMS0u4Y3BgOuTsMqIWFOtr1IZuSoJ6V96nUQcGU
TaV+Kcbrij551IXfIvF0ZH4szQX7CCH6HLkjanAxPxLTHtBWHcFL+Wv5uUzzjwmaXqe9r2ivBYJY
9tqgwphAuzIyO/2a0gFejYnfZlvsF2/mCOqSxC7QOZLXDCGnMXkVY0WZgbLWh8ZNdjRfAQA5eyPH
MWExgGCY4bSBVWQvfR7zGfpvEd9QwFjcJrR+WUP0aJnMp3E1npZY/HluFelNd0ys9kPm5il2p4ur
OOculnd95nIx+zTIINq6jt7O5bvrBsqTEdLU/bmuPsX4NuEaW5f91Kbo3jS/z0860wkCq6PqQDuh
aHG1IZqwOI05wl6dZRCqCYOomfv2QlNZ8VdBehkm3t12QYxdHNXUQ9VBhAxduqRGXgqhnm2TtB87
9cLOe2bCCyRSzTR9uKONVA2HoJhBzG4Ql6q/ZGa08mY4nGCFQz51tj4J5yIpYpT1cNLn4ejRkbtR
189ugAsapmOXENW7GCcz6Tm0cCBP4Bo1ppqeG24ARkmuavYrJ/peEPKo/BKcOT3bnfLYuDTDVuMD
/A56SqAEhhL6CNRNKpK95lEBKdd3ZeJqspt9UjkslcubrnvhkEy7uNxpLD1DF4mVakwYpAJhiMo0
q+XmdU7+YNoWAFltkZ/rMu0FzwaBx8yFnd9zd3J5DwYPLtdazKCeC5AgUTFXxILtcinbPwF6uWow
/toa9PgdrHR8VPWzy99Kx/IlZunwKLYGzx7Ed9ug7MgwQ2LPOGnVx4RMoIJoLaQTUJTeeB8eZnpk
cENT+Bqjcc7jC00d2rwHDWvoWmAV08kwZKymi8jgohg5d2L8ZTSkZhl/I42PYyF2ssGHVinH0Z4f
NMrp3XsOHAP9ZF0yQTxO46HVugvbHEw0HrsBXOhsAOanqMmwvWFTvK/bqWGHWI+YGMZLNwDoZUZ/
XPKYA19BS1B/w6aHA8MANPTB5s9xIgPitzjBiJVEM7h3aF+2uphoCQ1TItKXYk1A/ftbUVLuOi+S
pkvRvTZ5buNhMNka9Phq9NU1Y9TVCwR2Vopg3zI7LqhJ1Xyr26oo9jNG0g4xn15eW0EclBKVhnuc
tX8gvf5o/xZqEyrubioRZNXUxV4X9jSkp9+IJCBRTflEeYGNR25CR/4xjU9tdUhQqMGQDNqIwIMX
KUbXJ7Soxr2rsvIVysfE95OnXThOA+Y8LGwLGHjzWzTcnJ8Ll1llpjxrs9+PT0717lFKUOAUG9fh
oU7jMK5+F8w0cMcb2s6IokUTmv1qXE3jfRIw1mMrSJ9cdkn8hy6MLDpf6ZKfKuuuEq8OOrKwUF/M
XAdv1I7WnbQh0nI1TzmncpXMoNdBr+0kEHFffSspzYRIwStc+R27lardpGts0+WiuoQHaoxd4qHJ
H8saOK4AlG1v9//VJl/MGIEzUfkU7XYc5UldjcCoDVQryGB44CiW5iBqieukBavXeT7zg5p8mLhr
WqR1eYUVx6JczYK+WXTO54oCWBiUWfjNcFCxfkjuCUXjuTSHvaMeS/XXbHkep65CsLT2nZ+47btT
96afzwzjmloVp0SRiB7WSQXBaO9WgpQwcsdBZ11DPfQumAEuWF+fa1qCf81kN9g/Sl9HTkogbNyi
IkYf0zeornRmSnNmrtDIvEcNrOVk5qE0cWtg8IaFIcl6Jcyc4dlYn1OFHB7phaJOaciO7m5eid3f
MOpzOjZAchfNeJRrFdAYsekKPGrLUONwpG6wh67xIkKhfZXVPBbaTq8oCv7y+q8GIKRtigud0a91
hmTWNVDoYH0flwoA3701evMw6MVpVSw+/PYwlCgSAL/V7Fqn1xQcTMcpKTw2j076EvuGh1JMMTWE
S9tmIXBWvFrpc5Vc6v8PFUpnWL9G9uLhdWl82I8hf06TQ2ox45yL7h3PpW/o12w+z2tktOgmy01e
lju1HUPZoE+9TD0NZwW8LIs3ulwoSqd9WdR2ayE4tjgdpPfChB8iWewR2pQOFecgL+rnqp8X+Wwo
D7rKMbFixwNj6ar1fiwFVQEpuExPi/chSMcw2uFQcgfDfm5EtmBueNO6T5HOkcA+M3peAGa1dYzq
Nll4bHqb3YxSw1b36EPBgqhwnnveuvWYqwuzO1StBHbk22BPyPhJxnc5Y8jRvvKmiRotrCwsuPwD
g7fwFuIQZ89y+NouQiY7eUJXN8/suZJIFHDDVtHPaJazKT7FanasJh4r5lkMVVh+sZSRMJ5rEWFK
KrSpEgKLmXFojU8jKmmi/SGggMCT36nVKAO0t4t9nMuPqrZ8c1l+WHeQAM8EVY+32nqfajdSPRmV
TfW82pdYGQ6rU0Zz/7BON4MzRL/bf6Fhk5VfFd7eOb/WTr2dReKvuBFz9i23fUkQ2DkwWdlKkM5w
183m5hRZwNWq/TP2XyvIdwN5mJAawfxrMeBwDNvMNoP2NEKhVYoaSrcKHM7CXNPBXWVUF8VBjT+9
DElZ/8nLGZf7AoOymyKdObVWMIKbwAwo6BtCDfP52PkuxGkxfUnv2E+PKrx+zDpPWuTsWqwn80ZS
vqHcpa7uRMEQoCHtysKx9w7Lz6hhBZHIFayjwSoltIdF3hK2iATS0oSd1dOFofRDS4q9itV/khf8
rBZLj5682TAE5N0GbZtucQuWDCp4EjaOertLGizvYHWPbdsFUzs9NK049Rg1XCu7OO5dJsy7ieg5
cBLwVoSk+aGwf00dFbWzPFU1jmfSTzNIbxXhsaIpW53s5Mn7yBSegR+b8Gcn98uUoUIp/WX9QfMV
4XCMsup+0huvOpZm4f6Wy2XNDu30M+u5n8mrpPy7GQAqUhT1zECeIGRft/5qgG+biA2XBA197iKk
CohTuBxaizAWG52jp/l8yZ2t2ftuekJPrCA9brAYxcu7C3CQN32UecQ44Ol1SjysLdZYuHy3OyT3
YWckaJn5ahhpYU4we06YF4HwmFNwrm/rePGzhM7aRGfj4pUv1+cm/7acs45WegAKir0sKpPJr9T0
lA8FM7d6zG0Xk0KDELO6LCb6A8q5mL3KST2DNgc6YnJEvfQjOPFT07WXdujoBtefZYrOw9rX6WuB
AyhP8LI/j0p2SbgyzSL2zWpvcOgpQ1ijURfqe2MUPG5375mGEhc8w+wfRigMZXkvW2zQT3kB9OWe
0uZmoK3VF+NgGIRzoASaOHga+bVOv9pCHAMH5Zw86gSbu8CmmQ9E7PGRdUILrBaRrDJcqpHN1/gU
jXJRZt1PK4a7le+47fKn3hvQPuLPLfPAkvLU1Dq4cXFq8/I6Ms4t2R12nAjbtXfO2kWWgdNAzbcx
6k3DKENL8iwOBFUAh8nK9GVDS31OPAUsauw1hLQAtfMPYg4zKx9vQWASRaNJtMTY7nIZmGIemRhs
8P+Us7pH2Uu0HLOfVXdnG0tw0pYvvcc7rLmwt8YW73iwuGwY/bsK9lnVnt+ME3qn5m51JmLGeO1Y
oXSdSSLGkKHQcwbKJeqzq33bhYE6roOXxniAeXQqbqNX/xXo7zUXwc4ijmY974DEtyW5JHnSRBU0
bew8lpm6EQXvjqaY76aZRIKXNm2X48wzs/BJ6A0x4LCLWU/3Jn49pI+7YVooo8oiUyZv0kIyjUyr
GbcuYojC7h5lBrjdxO4v2Km/OJjdIFtSTY1k/E9vP9r+T0kxbKjOjub4jRga5uaHpveiEde/ayNx
NSHTaqY0dLQLjnJD/Un6D8NwGZkuiVKzWRlBxuKeSrLD/vLqz56ZdQgJHuLx4hmHtjH8ts1xWbWc
m3LH1y6Vw/2qrP5c+3U2CXTmP7fYoIpcnuzKebSQhJQoEJr8bHjjTieoxRGTbzszBPtrpSb7kSEU
3xBxzUw/2kM63QYyk13jlDOKVsahvq8HKLZmMNbpvozrXaAzyS/qp84B1OU9onGXFxTp99AlcH8F
sSo6nknXMc9VwdWBUymZJuQZ3UDmhlgDVc4P7UxyxYA7N59xt6Jk3qlyIELAfiNZBkTRiWqh0YWX
8VvOdGMIMA/hd0nzQy3M0xI3B7l0oaIJLxiJIEIXweHRc/UA2u1Ks/hCgMeswa3ntfp24fsYUuVU
us2pX5DMuEZ6vcusanDipTT3GCjI0cBWNCXPBlsfBoKnZLTOheyudZIGpeElaNPLP47tg0CyPq3w
CZ11b9chxEkdo8oV6KiVL1FzWOrWyCgtIqzMkTW570NtXuNmdTdlfr8uxXR3hZYu/sI1cN0Hu/ge
vb2T/Hj6rYFvdhUsM8ilycTd3OeMFE+LwpluLPsaj3bbvCqa5VvWWWE2XZCndPhV9erLnhFf88dk
frPZyVsgfMM6d31MstxNW+HD+JQ7XMomDE3lelvyb3yI3Wzo/Zm4VziDGH9HTaVLtdy6icBxorCy
T9V4rh20g9PljhA6JQLRlitdudWTF+nJjUbKzeo1xIMPG63TwpQxJFmcSPGoQ+m1J9Igz9Z4YKk/
2OxYdfLS2PWOSJ1n2z6mKEJzrFoe8iIDE0XGmWItCZYBEVTAPchh2P+x7IMwjPHFKK2dlTX3TKCr
SJAONXJTl+lWQ+3qLA9G/yYEi2hPTfD0r8e9ZCT/xMKtD+A+eOAR9W1QnwZ112kn1T6bBYLYxxxV
kUTSXAdjutVjIzRRtMJfksfxMRl8gfFTHR4HthdBOUx5W7QEx+3bkpETcWmbH0u/GiD5Sj+fMyle
naSM0oE1juIBq1Iim+vAQHLpFvtBXULNuuk1NlBcrhwxSRTXr6r95sGltPVXjl8LfDXhJkGHKZ3I
ouJD1Z4t8dZ7oYt/A9IrUWzkIzFwWIbsVPH7AsrEefHW506Bxu345Tr/cF70gBc6RtEUA6h0bUSO
EiDqqyx/SmWHin51pm0+pYgq9J0rmygbPzLMv7H+DERodvssHk/gonzG22xB0UPq/ZdkdRb6uayf
HDSGbfbsYPxM7ahxG57lZtdOb8w+qk6CcuzBKJ5Ncm309LymH8Z0dMwvc3gtyr1a7qT90qJsVZIp
hEN/buvXmZu0hS/Nk3dTJxWgr3clvLjK42p3ydaSCce9Ec4SQ8/cHrqMwpTRsr+YGmr02n16TDVI
bi8xj0nesECoxtGzMAxPn2q616wyaMRlhdg11fyUGwWzuwfOLj1qt7Pq2VS77WB+xNWPVSImsoCy
YLPqGUPLyLLm9kFn3TRCwhZBizkaZMvrSCmCamqrMG5/RX1naa1dtfzL2eGscnmIUSnwOdbVUcBO
LdbLbPzpI9p2W/AW/rg6Wy9RR5V2bDMOLqhdzaAjDVPa/7Cgzes2VifpOTuhdI+abhCVtXNiiddo
3gpsQ7n+Iex9z0SZlqsvyiWS08la/mFK73FRGRBC9zcfxnXXLm+2JJmfy8+Z/qZ8r/KQmZIRSzvl
GaWniMx5HrmhKISD+yhJzKafnH3L63bKCG6pjJBic9it1GClkUccFMH2m8Uj80+9EgwWWq62nwja
1Eb8NEgr2le1D815CUflMvP26ckj2QRe2W8KqHHSRPA5a/eVw8FNpqBb4qATRtAD/arrS9x/VDzt
TvGiKr/9dJTMEAkgo95/WvOn4fzYI1ozVEkoefFJ2w8xiVv/cXQey40jQRD9IkR0w+MqEvRGokS5
C2Lk4D3QMF+/D3vYmMPOamdIoLsqK/OVQW85YGIR6JyYUFS6d9yDoV7ximqWTwbNpfyFIjG7uyR5
00qqQQe5TlxSnCwzU/IYeoBZASrRP+yFjiBTvXmilQvxt6cuHrOoJafkBj3sn+HQUvJGXnjtXQGs
Kt1V4H/cyHo0w+yIbIk0bDxRxm9xQeIziNB/sDKzhz4eWO41Q2RzEm7l0O34e0rN2CVVVIAxj0eq
17gllWG/dbI/OEaKl9OaHjqnqFbU2WhJzcgI2tnKgUlH7aZcQQ2m3aG4GEr7joZhH/FRZJVDKqC6
OAsqJpHolCmGasJoxVsfRedmVM/6bOwhYLYbG8/8aHa4WEraosZKNh5vRlVFmHsRhvrY29VdgCKF
Y9t1EXdNJFkAL1c59B9D1RwYC+zHqfqoneCn6bpLH5evhs1nyJjBF2iFYcBQpyEkwhHXBwP/gKIB
4tSTkZSM9gLnRS20CF5EXX65NnwSKHsr10k+qjBcQxSoutqfDfvTknO5QXm5xo4kkSGJuEgbid6k
RA3ShFfeZfbXqr3CFjHO8jcutH0z/+sokF3aiqb9yvjTB+A9knFpiucdjixS0c1VW8ISEQMSEEVn
fCC7ZG7/iRR/g0rYuUZgPxq2XoZnXuYvovWwPaCplt11UP1lVKyygDYWwFGQpof1nB4PV0ZZ5j5Q
TUAa9bqHE+Flz7FQrwkyR5Cb6zq/yYbZeDXuYr3YBgMELjF8RRiHG/HbOdlZV8lZ5t6l0pLHrECe
H0jSe+lFBT+mPfjtYujQBJoouq6pnyarfdIm41HB2BihBszQF/tKHtSI/tFjGKbxCF3jXJeSVe3f
JjSY1GE8AnQ1NpP1QC89twX+SdRSW+7jNnyv1W3+35sIHiZ9XULXIVGECgpa5xLmJxUBz7EL/Wr8
h6H3yai1rat+hDuDLGu2g3WItQ+PgZU3U+UWIcBxJzx1rIRG6On9sWpPLZd5MJnrpKxJy1fYHdyH
mUUrnfM5ot3pCAw0QvCO02MYv49N+6oBlTX7ftuYPy1ve4yBL6oFVci8tygeXH3YqGC4x1hiIXX5
k67dWspebgNVXjr31jnJBTeJT4JrRchpW7bwSRN97WHDkuU/w3oZ2seMET8hYQGoqTRhaLnWpsAe
h6T20I3lTgs54z0smqXk7qpS1125szavO53dHbakuTHKYVz1mbWJ0R0ay9hDVr6WjGjqNj2EGjYC
IIu4lmaaHSfxjlUbHSwMKV71HOX0RnOO20/fOcNFWjczBISoziW1fRmxGqT9S6v2HAfmwc7ra0aB
2BMs8RQZqIJ2pwxXjocLH9bgtCTqo389cx+Ro6lO6c6GZzk159J5bepfhe9kcN+scuge3BQznf4+
A0GQ5F/xN9MIVZg1XayqJY7mUHzEJjVVOWxk363qoddWY4Ep2e46b5umOhDtKvvDtcI1mjre1tQb
TvYxXGOghT3ILW8vrtZvN7+I4amRFzvnBeAcbKtjSV5gEIAe8q8hecv6SyEecfscglnzQX8luHIz
88kJYAF9jlTJpfGasxnL+qmTI/qUKndtcivgmdnyy/T+hfz85l5wtwXGgMXpsLA1wuBXhKiWkjj9
APWD+EuOO3poPwNsI4PMd0qUx9myrlPQP3lQpFw2tSxyYvfc9OOmw1xrd8eMWzZS0WNmIWj2fPXN
9G4L+zCS0Kwthul+jmkIHEzCngrDIik4RsqPkUPS4jvOPi3NIju7EBfHc1u6+xwfd5cZ4CPbkd7M
zuSDUTD6j2CVFg6wpTx7jOKAF8ikc9exJFNRa/laeSGKFP5d58tOj4X1aeu/XU6gwPZOc9gdBd0+
LfWKtj2M9JU7OduiY2EsHk8PnZqtnFvIarsgxZqfvdd0/TVHIBXdSstHzoE7npyDPR1GbI96wbmP
wGO7uDtzfHcBDjY+q9jh5yCWbZrou7LxcHTigZxYDRPrwYnFuqCL6Jts1QrGjc1Vhvamiw6MF8zE
Aa7yRU5oa5BQkIS43EX47FM/GTZpf8mAhYoKJNPyb3EOh5LZetc8a9E/BTKgwoObmeYmzX81k3vP
XacNfSyJtyH6tbsvsjH3qNTeo+YpzuxzX8tdHT21Aa1L5eepOrT9zVt+DjeDp0frfk790kwORjCs
2CNxGkA7Rp06tfa07Yb6HBqQrTwHo4F1hFnnj1T8lkH8i9s21eFhUCRHmiCyy8IeD70Gt7lf1R18
M/T78Fm2YlXQChlw5qsOiZVZ2oxtcNDY3o4F08Tq3wz2waVotKmN8qbfjDjbW5Uf4niKIHd1h7Gq
QASpcx/aKzhzeHf7RymezSwFvXTOXbyL9rzDV7mvPRp9SZKXWP2Y+im9vV3lPnrPVdOd/cCWO3fm
+ebwFvo+V+tYB9yAeYuOyjH2U3WMkvtkPlcwJ0yor5gXOwaNVXLz+tcKMOEk/hJ7m/GsEI6JweXW
1xxjTdFskvIzVDbfH5lFuMDp84QmaN1y5KZIburAXkU274V5ZnZyKgl6GN73OOB6B63CHD9mbWh+
Lax7Q+vaU8eCwWhuwXxt1L31mA3J1zrhAkGuNsfMVyBFnXtVvOQGi7LEwYwIqjPTHR4iTlWmMIoR
NtzA1C0IDZC4BeCmVP1QmpcBwIQUwTpgtBFhpQ+qaFMVzTpk/p1DNGpgdRkpi0k8NlNJuS7qqwfs
voR1kHACaYgotmUfHYcpyPhUG98Cu3OvUr8aSKv0AYP+5thjVsmxBabydWyU32aX2DqKLnvNsu9x
ZDmX00Kcu4roYwz/lWZ0dAztlochkZX40ClnnYy3BR/ozR+Oex27PXUw4nhZnrBLOUyVrP4YACFx
sXa01e84XjP3qehPecJfm0qgsaqzYTBgBriJct8fwLtCZgkmoEnl1mg0npz6MPDSm7zL85Cfs7y4
dPJfvoBVUZjnQ4VmEOO3SjuQDAhJxsC//4tjLqXG3Eb4y5K8XJv6a6C7vjn16yCK/4IJv0ibrjLM
fzUstYp3rFRiN44/Ul6U/kPIB9/IgWzezsJ30tQage1sUwMT0mksA9xGk/0atpzSwsA0lcVY+pEb
cbzsyPo9NNGmaO55oT1qKvdLC/ReuBEu2Mri2lWuL6zXaui2DZiZqR3WHc7mhfCtEmCL7lttdd9t
611bEGiuwzoD/R/Ov3z41Ua1qbvyo6WNy8s/ZsEmwU+DO7mYfwLtUQUMriS+8eG3156n6tlW7sNg
veS2tWmb0C/7qz192ljtCRXOJWgx80VrvlKBo4r7PL0qe1fbHxldyKT/anWOjan6K5ZYLtJ+UuBz
s+uVHnrvQbg1wgklcVyTMiNi5G5GLYLElZ6mGbA+fMBAvugpqfTgp2LkoQNwrtFp5+DYjXDSGP8z
ZXOaN2OQD/P441k/MFlXQfnj5vJaOObe1V8S78ka5zV7DPwCLELECCVumPc0jJYtxYM7AAdcGy7l
SmacST/u5kmH2GrDY4j/wUGlxx2MjZ0OW2pVJmMjEK9zIr3HPB4eY+9WEdduDXVRNBUOSRS3N31M
lE+uXr3PrDStGLS4Jpwh7xxR6kzbHiMQXmuZp1s0yoPt/PTYhFtDeyZc8hElGJBz+siqKW6CVtbB
t85KCG7eD6d1ngIL20fD0xpoDPazBmaF4qKpWDNn+n097xr8xWkhfhPjMZXTJsKtMiJlsitJh2pp
NdSl+WsZqi2moD2PyZ+Igley8QQgoHS4I9P23jmzp/AygcZW6pIZ5r7LHZ4/O21WTdKIVVVj9IdI
E2Xbvgz52vjjEvpjr0bjXrX+GINfBBfEvDZtj00NPslLH/KcZMybre/m6JjEpyb4mGf827FYvmx7
Bj5VWhx/k05swPTWDB3y7E+vs02PMbiGCNfWXwSaDR4fQ2ffXxI94GZYdV2xnIt9064N+eLUuOcB
pzUcWi6vXGS8GE3LrJORIBwjqadf1L63JAH+RPRbK86AMm6s0ML73+88pt1Gl+wq9AUNHFaWvnVG
vzI4e2bMe+BpMTPkh5ZI8or/5qgi5sDypahv1qBtHHaEDAm/PTmL7j123wvtW1nYzcS3WXe+bhzM
Ud7IrpFfGCkl9cPckLeECzYJbSca+9L01N4U+0X/4yAOy6LaOuZO2Ee336Hz6GLh0tqnPjG+Y8PO
13HFm1rW4902kAD6sFw5WkgJbq0ydQ/t34ZmQRgkDmxzHXbvcDX5JKAcwmWpYMpl6MYKVE9avfKc
v3aIsnbO5AeRCtj1LkLeWC6BJn+2JIo4FpJ4FNCWYDC7YuNobwLDJwmBXRu2j0AjqweL/ifA/QVc
eWOXjh8XAMZMF3pQEqsHsNZvVlucKaKYiUV4aUk4DCI8Cyv/sIvyLW5LgDoG0U3zOFj6hYV20OQn
LiVanK1AQHYFO4NBGRg9iRyCiWPFTCpCkbH+sNGDp2cFKiaZQMcqieMx5dDtf1ogMEYxbSMTC2iS
H1WXXUycpnq7xjuftyxPaab5BXKYP8bPev5uGwPw5nsyPc7dNUFdKxOQP+7GNt9IhFKbqb2ojd0C
34LiAG2fErwadqbHggs3ug5W9DMMJRZroMThtG+g9tmOeeHed6z5uPSAwmVHeCG6HX+AOfhXoDcP
ydar4sULkZbdA+ZDDjxITn2BxfkpkFdZMYIdOG8NwpSOb0wEHktcY3O6J4i3WiACKtjF5Qt0rC3C
kBERaI06vMa3FMuzk3528xFzEflUBu70ZZoWrcOJ75vuZe5+3OAjAZ5cFRH7b56LmLhsEl0dW629
ZPoyiyVslvUA4g2kqXFC3Qebkn+FlvWjJe22gHPr6NZpEjtPYvJrq1vjAUJ8Nwx1X9JdLTKIhXNH
DRD+NO0lNNLTaKiCRM5wNAwBuahOfFL7X3Y5eisXpuymt/p3GcfpLog9FPkhX48w+0KOw6J70pgc
5jECCX/JpKnh1gL9DD77EgpYY2FD6cKLKCKwKCJhs3pNsRq0fCW5RoIgwMSVqPy9dQQOgA4oRqlA
+Y8tDxg+H3rwqPrnMOXqLPmnF7wanmJKL1L74kQUFSq4gTfKiIcVu1Y1a0tHVA0rltozeN4mmfHh
ysFYj8PEyKLXNobQtpEjNxNHW1jpZ0Ozt+Oc71Gozmoot8rt/4jC77rUfnE7ul5+1kOdpwfoTpAA
+WJTthBDRQFdAG4xEsZFoINbQf9iVtzGptmiZVtnzo3VVC7xNgJ/NbZdLKC5weBwsQDYS5BGC8Ob
PiXxHT+UvPGZX22X16axGEF6VCvRXL47bc/XXyV/rYCr5hjjRfCZO+Ddq/axi0pSCY0fduktBLRg
w3RhfOLbFud32w02sHmUsLKc/tUtESW9b0kQBDjAZ+9Y8PRYuAiruF8SwXa/n/RwfizduVilIY5C
RR2re+WDHGBz8eAuzErPxIRe39zW/J1Kb+fAadBCZ+v2bJPk11FPPwbMo77ndV/WBOxqqndxt3TV
ySHR1Juuqd0kNX+ca+jc2ccwG35rS18GM83rqN16a4C2G1PCVcwWWDnMXab/2gNalqR/RFQTMxom
MqPsGeTksB3yXD8oo9qrnv8P/JzTCNPJmpqvDndRGUdUNkm8uJQ6Yiv5Sk7ZSwtTosujA3RPpKiG
bIy1XOPAwIs3gJxgH8AulgUHE+HLGT4KXwzdiYcobctzhSeeUu5tptnS3lhRjd/jiXUwDzroAgOG
UVW9djidwJrANWjIzm2cOWBQYQEDzn2HwURD15qicU/jJTC3OEjSxgYonTDSd19V/Sp11oMtmhmq
ddZA+/sYOuZVHfQvl7QmCqdDV0ItF6af0yjZiDWula2fUldfaYKd8ulbnBksYpIy348CuxxbVpdK
5iAWsUZeWo3kziw4ybAbGAnIRFfShLrKHoDz5kb9ZBl8d4EIpK8aJ/ftZLD3tQEtJbIAQprJ8L2M
CBGwER3mTeVMzOungFWNU5gtarBayxGNXd8QQvkcZ3vX4DHrOgPwwnPSHOom/Uqt6imLwnPoyK1I
qTxpP1zbQRVgOyNBIbMINpHD602ALbF8RcIaesdEuVDiDGlIC4buR1qBDmFRmeluTMgBDfUuB7Fn
OJsOw3sDHAYbyZocEUYQPpzCwnpQEDRIHpWudo1Ly0EhFSkSDDrLVSRbCWCDX3u7PBQD3TBVcAmV
LcpYKdIGoG7yS47ROkExyGT8Yv2/oYCaeIw5Mu9m/jtCQK6jb1mUrMDo+PTkSol/OuuUF3+KfkCa
gBNbv7E0hDDbrPGbqSYFDo7IxlXtfVTe4h7q34vxyYz6A5Dybc6gq0/TAwLC3iPm0/YKisURapff
T3AQROCHdbW2Q3U27ImjHQON0lgw1/cr7H+v7mQ8j3l3ToC2Q7w8hnnzkIjiU6v1BzbqcSp1Gfx8
7c2m8N6AqaBSM6HGVxqiJBD1jzEw34Zw+qni+gIZYa0LljnX13Rifm9jbKMhJTKzt+bqHwaWTR0F
FzDeXJ5qNbQAEh1+g8NDvRiEzPbdg2yvomHVgNgRqThkLTuKsCHj06uLAfR0+OZW6bG3D47EYT0+
WniMCVu82+1zV7xSopym/lAYb3GpAw/OcRiBEQe2E4xMubaz1z/qSb+1lpa8lWscoYy8o5bNLxQI
1i9GQWw1b9nM/nQvwxIcbDwtwDQyvIRoSzXlpSSP1kbL9KLcKT3rNmrJK3YLPz7UETsz1EarsZ7y
wtyASVtpdBJRwqfV129CXMviSZJmM3FMzLHcpEZ8qxr3SR8fVSbBxto3WbJBhehZAi8hxeiqzH1f
ume6z6Nq83dH6QCpOu4DKZxT5OU7tv18ZssRjiZwbtnMzUqWtTVD5Y1YT9Teu1yH0+U8BuPA+JlL
AilFOh8jqMeS2Z+qsRsqbdVF+q5M3K+h5cRv6qNU+rSOhXXu47sVZr9W6G1sV+zb8WVaktRATDMg
Xut6ts4ia454tc8eZcGQRQxICJ9XEBPGofuqYvMlsoOnOOjNVRvwvQwCUYVleSQvIyd8Kl2yM61W
I2Q7vCKz2OqWd4vdvySfHovAXav2d4hrUJuTb8/uKR3UR55WVwX/IDQ1cBo4ltKmOcSodFD6H50+
ZignhXYYwYABrzSKHV3eMnUsXwX0NYEHq+i9o2qoNaP+La5T+IfmLg1S6IqKlUy9/C5d7xI1/QBh
hhi8CPKfrkAVz1gX0xX9VtXobN0QawdFFoA5SYPH1t3kUpLq7Hrh80qkh3yOXp3SPqLTMNKOOaES
F9qO8T3WRMDt+RMhjGmAuFQZJHVd3TSr/McLcShMi1A1FtEmQBCBJRYE3j23KjTA5M+t2WmXdPj7
JYugMBm3CO1Mvk2cVdK8i6jYZ27yTzey70xrgEa3R8vA9DTRb2oGBZQuQFUF2n3Mpzc+GQwJzUuu
Z08ByCv2XSE4hHqfrTqz96VeDjBQNH1D9DNjHAzCx1mIrBOrnXLtk3zqiY5jZ/Xlv3LQDnzu26p2
d6rq+NrLU9jx5zbaG0UZkBPcuKKrvtlAwSwXA+/UhTgTklvngZ80RfY0ZYm9KhZn4iRT7AxMuqP4
yx3BAE64jPih5ZBBqIXRk58ykPgTt53FHZ2EL2XW4nY0/M76F4c5zLTej0wXbM58bBobM8SMxTKu
su9Ciicj0M+By/FTckjOcXMX5hF75bQBOcR2F+dxQvx9kGV0LjyWKMBSYN4/ItxpXhPsujjtjgDH
4Abq6lDHKSZBXAzLsRnQ5dT21YtjmvkKez8A76g/R9m8d/tk79o/DUioAS29dG4d+VlFUsaUwbVW
MJxHbgWODUzKax6iDXQAjHK4Ui1Yz3nCCI6VGCMixAJWeo219wwCkT1xyirCuM5nVLGsIGDHTL3t
B+8CR+cR6g53BEwRHGkdxmPGjBi6kl0m+tOS0S+YZyk4k1jjMeJfHKzuTOc1DEKCuSI8rh5ZRpXo
KIrmydrHBWxVuNbbPESQ9YaJJwdVsAzeB1PfmpJbKQXozLiCdR2PVuLsG0DkTl58Ndmr5qWfou4u
QKjwuREfm+d5rcppTcd5m8fi7pXQrnTSagwL8Zms6/QJKdR34BJM8kME1b13lkpQsFoNISWRGUle
tW2tjWhbDJIEwOF+h0yn2PGQms4pobWiVnsVTIzMCYuxNfgutnw74y6cVb03FiEQRvdDx7ovnqJA
DgfNzAkWDu0uMQy6pfw0cO5E/dWAaZxpO8fVDh47k8zsbzb0vdZGmww7tNeTyJiPFfOv2MKdzX4C
QlxlcXLAXc3YbuxenQx+rd3sNRA3Ve9c8RiRsHqQY09qi9ly4l376Til2Hnn9NK1h86h7M/KuwYm
zj4z46qISJ0kTRz0epm532XXfo4U5mMuSM8QXcEeD52DkgxfUb8tpuqWNi9wBDXGe1MMforNXs4U
nwab9RIOaobLcVaaBBLchrzx9CfC6MXNfuY02SUR8bqhrR6dBqKk92u07WNTgP1Flu8XaLg57Jc9
cwjFh9TTEE80Nsy1d1BfoHLeW+wTZS62ecZ0ipy01yGkue4DUC4SKMF6pCcdzedSoKMX2Zo9SMQm
yWqNn4NREw5m2xWiqwqyu4N7hx1zymz9ntRSmjgfYW2RtxKsECCPanwrVx0LOa5qEroslyU1Tfi/
bg9j8jTqUI2WRW5OvHep9d1EbdJshIkOS87OD/Nc+w0RSJc1JOnMWxZ+2xo5mBmbMmNp6nKLJ7sy
vjTLZY1Uogj0tfBVQct6IBTG7p675VeaF8810RNGn2joqwHoitov0Z2RyULX5ud8lq+yKnGnBEea
uFNRz6uQfh/31Z3dGF8DKRAr13hqRj9EcbbSQ1p+kav7c/tnr6Pb1f/mobqEnbxrTBqHcLy2wPpE
+IxIszYAZesJhRPjORPyre3hHAZKneTo3eLej9deb3eDsg7sYqEJogQyyRc+WbYvydgO7MiLT7He
HrX5pCX4cnD7+M4U7nRtX3WHsLJPrYfFmSKJuxN6zi6LopPtgYDXdhWLLijwvXrn5dWu7+tdHlb7
THjrODI2AUHKFqQrz3l8rkGoFNluXk6P8m3o6iN7sPaVXTHrjz2yZPExVHgObfkTcGprxR8f4sEl
70SfsQ40rJfQ6a0Rh5biCbvP3IMTTHbl/ODA2gxTuZ96Fj2AR8Ps/Z3aBdWYTncDfJDD2ewZ7PUz
WfNmWgPQ66S1y5aJku7kCObNdRrURm8gRqX2TsnWb9jTE3DSezRQaRj6fck2l+I16UCq1sHVxSlM
emm7aJ2j92Xqi839t/ZSovKM1uQjWKJDytxah/nncbVa2runGA8teTxikVFp7qu0O08h0UuG1gUR
0UCew1BuJPuhm4DlCTSBSt8QMztPVr+2dZ3CqQDUxgqeGJ+ROzx4FiuXopHaNFslDq520i9Cv1o1
zamjYTBnNRB/JgpprD0cIr4njL3AguVhp1LMANG04BXa6G8SMdd+tuxIo3vSFqaD3xJ0nfMSXlX3
aBJOLYKzOd07dzF6QCOe39GJ1oMKtxGBS2PEEC7PBntxlN0dyqQ9hECpZfunx+mht4t1gWi5xMLi
4rua0kMSfBb5NsKwGyZfZdXslTZdx9HeaLG2gfP4U+t/OQRXU8WnNPHYDPep2T+Fgwnnf7JadliQ
FAvbXRhPGZMrYS2Wz3eagFVU1a8Oa37s5B24coOiNkdk+iUdOcNQD9OLBQ4HJC32nF/JL84wXbJ0
eJiAXFpuuzUj/SYnD39ZAhxUIwjZ8dQ4m4y/eIdEghF9VUS2z5yHDC6trChXrcb6EER7R6MUUpcZ
xUC1km1aM9uAkJAmhzqFtbqqwrO+pMwwu6EstG6PWhife9mcq1buqf18qCmvLkUA6tKS/kF09DAz
uX3hJwEItQqTlEUGzqGI6dGYtxVdZCTLH7BU2xHX2GBiCgqfJ687ShA0c8ZIPte4EUfQ+CcWtsFh
ke0yHgNiwOaEFLDPLD666B16E0mQEIXsZiItGjRAduAih+v7YmC5ZKQYiTPJLzKim4jIXn8ws0tn
Eu7HIzfnmNrE7CuqC4vtNR4bd2Zzr5u00CSnSxKLM8CGavpoUTrpTdAk9DXKK5LoewLPK/zsR3Nr
UhMNLUgvVjzozgLGBc8Bu80tsSyoTzJVE45X1TAChvenT2pbcjy1XAOzgSXEM0AVlusCt4EGK5cb
lbCO7vaPQYnxKgACiYI70H+iA4Dmx27SEprX3SfVTXQ2z5FAZ2zUQe/EpigevZD9Pfeu3rWURWnM
QBnKYciM1+LYsZxjE0estbxNzDVSr3000oupvRee3Li1ucuK6WIlNwFJJVc3MyKMoct9AB+rgzdX
pR6LZCIUMJCO80M034LhrelAgsjdAKVcyYtW7DoeLJX9tBavyYelio0cwBCYud/OSMRsGW3fg+hd
j3/BuyCLgxBoH+riV8ZvYXVv29+GB7swC79tmHiwRwc5Z9gM4kmLDuHkp0V+oDhMHDrriw7wJGRb
4Yz3OpqyzQIplrDWEIUHnVTxXG89RqWCVWAOBcFcxgTGLjZTUZs2JsXjYWeXHvBJ0fnZsDe7Tei9
6HLbt/mqIaGT2ME6QZZyOVo0zOIhDrF62g4hhu6cStQ7hwyOKms5L4Nz2NzLhYO67M8qqiOmn60r
qy32xwf6MU9/a6xjQc4gYbuWhnwugvkhi97l/JUyNMh5CDWepi72fLlscYt+SgeiwoA2SgpmLIqL
TCo/6N8ghS9bNlbs6n2waqxhySU0XyON/4Zsuud9ifjXbvlpHuN64zYObzFmaAMMsItRRaRP9qCv
7cS9pwMNOWuIMz4fbGGYlT5H9eEVBYWGWCmbRDLe4AImQ8yHQRjtaDbGmzsT9xK/QyGIsYHhoPRj
9RzOGZbTWjyOntjWYF5wmWw8wf3sPMf0x3m4mXT9Tbf6cx/dXe7axKG75LuHLroqe/2WxzMugmo/
aPnVTb4S78DdRiaKk3Jac3qx66U8UwjZCBG5/k93rvTjGFk7LA4OOepqY+rELuCNhI7vRKwGN95r
pzgnQr5X+uxLw4R1Yb6682sNAAU3+mNAs2sZV7PmCI0/4gyDG0aaLJj2rveXMCUOddOvrOAbmeZh
Dh+jFLwG4ypBFes1z8KAZjYx/WvrDeX6tiFv7+g/lf3UuQ7u5+aaxcXe85r1InSFeXjQbPfFKGrM
tV13HUBjzFxP3EU7rSEeuxyQkvQn4oivL30i8w/MbOlxkPHBYNQ74Jh0igTyFottEVSncjx37keX
zau5IwXFVdk4Hh78aZOrbJ+TBxBFejFEjudUHQI9pGkjZJY1vj2lp6oN/aF6L6iCNgKEazPMBWIG
5arTXusYbYktrh13eCQfRsM+JaI6s5vxsWMnQh+5DGHiy7gc7KP+WeB7kOC7lR1sGlc8O9l3YmFO
6iZ/ppiOsTjhk8aR1rBqb2BdFOX/TI/umqP9oOFgzF1WG3n3vjMRITKOSSRIRsUGxkZjzje6TG5T
9Z7MrLa4uAG+/JrZQhPjO1Jk1KkjHxICJzSmzfw4BTlqqsFE1Uwf+7mPln4VsZQAzsrIe1DYM0jQ
ZLE/2pX1DBr5aq+uG5qJjZNyNOvnson2bO/huuFXHBqY8nbJsjVTvWqUDw5JJUxck/zrg6/SujXp
fLBC2BRK2neN/d8OS1YB8997LqhJTDAqcf09CDP7JcxYAUXH6z0VtNcF1WqeB7u2CYjEhzdKA/ZO
dP1rEgJ8SjL9Wo7GW+8GXJNxDVMDLzWewAUjzt1amcxfrzMG6HqGPeYYnBdYqfl9Ias+aGOpBmGf
pBx+VXUtpjV789LgN8RvmbbQ9SnIpujEZh86u2zhsaao1gnQNL6BjFeIFBgc2+2S2k0N51oa2Wun
nsJln48HMd5B0P1nYLy03RaRilBDAQVMEjnhDpBZ/4V7hK+PXoAuB/aVhf5gcF6wWUjBMgrHajsb
F4sZY0iWAWH4oUEpGVh8DvPfFw6AvhEMOSwWj4Y6DmHQtQctp2/KeRGCjqI+O5FDhkgQnDxddqBt
+nM6YZnNforwK3H/RZzVtsjOzUTpo/dHO+ARWLz0Md8zRJqKfagjhMaFrSwE+PgEZmtmYvp6wff5
MEzgLtO7GF6t2ULOSfAha6TxPr2RjTh6sK3JM0bNfE7AwA01UdeMpXlAzCa72UVDdQuD74gHNEjt
c5NAnZ/OTHeAcpyqGl4CcHfV3t3ku62Xf6f9Kmw6jXiKKBAt/uqJC3MiP7XuZ9xU/K8Dim+8mbSf
HfyxxhhBW1OqspskHHddcmCQ4SXNk2IzWTnwUAQ6idcPbKrhaPgCw0APXO0/js5jOVIkiqJfRASJ
Z1veq7yk2hAyLbx3CV8/h1nMohc9LVVB5jP3ntsiXk00f6VQ+pvmSxqHrKY7boKli0A+RSGprixQ
aL4NqaDrLmqonNLgnBJ/ZpBQy6rrQnpiqF3iGr8jKVsBi2eLxWzJ1zuwT+xZGbrs/VumqwLCSKMi
Nrq7+ORk99GL8gaLezYdh35ogOAdLqWo56Xdrar4L8yeSRBdSo4wNWWy5gjtyDMNpGN8dtR9PnMa
gonAROAz9B+ytgH2RXhfrnXHNRG265IAALOId4P3Ghg55JzXpeut3cRaosiBdPNl5BrK9oSfOV/F
1QdtLre6s5GqXKPbYYXyZba4f+x27XnqlonpMkA1H03dLhlMDUvM2EKpNFbrpMcRwPeEVm1md87G
CkKeMnzUm15ljwPMiBWLEn8QIgjfgCN75vJGBbm7y0R+RRK5D/Iecx5nrDy7WEXbkQBDtXtr/WrV
0ko02HTU4rdMzzVWMUx05H4ySEseyIlXNgEoiVMeDBbqBe/+6KuLHPWfbyAX/edEzqLB8itEf+8Y
3bkWC7kow7Keelj8K++PbpdVnotzwupXPlMX3ccL3Q4lG92xdndeErDgi8Yt6vIPQPDrluUBq0ro
GgqSVhl/eCOMYKnvSUOaC9QUPeONJiLFOGQJ4g6XxrY/bcVZUx0nMGwcdgzM5E0iUWK0gk2MAsYA
9JFOLQIDeqzx5ZsfimOWkcMRrz31pvuS3aG/S7JkaYX2weHzG1XCNRyuQBUyMaKgqA7WUhB04aIo
rTm0cCbrFJE5mdtawMTEmWntxi7OAeNhLqtFGqYrDx38iB4NXD6tvA/YJNo0gbqwo1fB6jZsLuwC
WMwSQ83iyaQpr6dAJbAKHVUFHwOYa07IaET7WL5yhgJOvuvVdSapxNGX4UjFHm6eC+CHcuVkm0Sy
+nRszB7zIds2tDIh+rJgGX4oeBOwjeAKFmHE2n8BB9JuKAxQYI4rz5mNCvINwHiI9LZYMxYlx8cz
hTJguc8gAhnHQm0eiFOQUxW6a9gVjLx8XBr2JRqPWE3nDfuRxSSUJKus2AXaCqrQesgPwE3a7BCE
XHar9hQZK0ehW5xN+BF+fBWpIQHynC6gk9S1Id+gHRU4IcCfLE0LRP+hL+fWL/hdSLooM74nneYy
PWa/fbxkDDUmy0gmC+RVvLCzjLyLpfYRFStJojrp0gSbI+504BxAMJm3xiYHSmescHsw2GqjdUy1
mR/C4upsjVX9r8OAz4INmE3xy1Aktbdsnz1ziTx1yFGJsLUh83ih9iCZ+ABhUJprs9+a2BfW7WZa
5xWLdOsMaxGS3Ea09JwK2tl5uDXoidtdy5vFeyIWjABi/aWq1HGPXFvnlFBAIArKHi1cMarktWR7
tUDZDNPWRKXGRbydSH8Uyizy5sW/bodfI/7lE0fZwxSM9nyeh6xwtwE72hfmSdJ4WahHxU6sIVZ8
+ydJswIz/4sUHOejA1ofnDOYb1Pe9Y66Hp5W8+UukPPDFF+qtJa30P12GOZDvkfqDyv6awwAzK8c
YnLpU4fkUTD+RWUfTxmM5HjtfVwtYXfWzXNprD16PHJzYoEYHHLiIvPm6Y6GmVBypE5xfs38gw5X
Idr7XFYz/Bq5R+WMBZG8Yf87G4EZlVv0zURB61djqShg4ncUN8CZICVjgGA7Q99Zx4f6w1YZOyPL
XiYb4MPNOM9v48XeoQNmxmDD78Pvz4hfma4XnFR8HcPcyd4mOVDGszFznpaybVu4tW+SugjytX9X
PyMyhf15lBKM80jrDYTdttgqwdzZ8wH79sY0Lx6hR/ncvLIVGwIGIBTsq9Rmj7vXi6P6x4CcvWJV
H9HEYN6VxlsvF/goIelCqQSCCrBOqVb5ueDI+tRcgCnz7Huk0Hv3avB+IEw3ORoGOjJv6ZJUBvCK
pUC/6Q+AUT64LiNWStqsSVfZR/NFIhDUee2RyE1EHmh97f8xEQq+k0/0jQxnyuXUeZI8U8xhg6Zf
9c0+aMoSGyduPV4RwqnSdpFe8wclCtQ1PIW8Ds0bE1gkEkQ+vyALHfV6BdHfa1dQWnz0dkgDHizU
R8ojZkYMX7G0Yhf7oXQYjDMjUwHbu4GguUBKCRUZ+39rH8ZF+B0yg3ZI/pvr3RbMpMZJQJYsPIWV
Hy/VHz4c56r/DN/YHikuDAcb5iy8wCKhPqNQIb3qSBkSC+wVM8bNuTXLnPBkYjZDE7hQim1Q/Ah9
1zmvXtxy015P+LdNOLC7YeLPgGbZ/RYp4bEzvjWKDXYugB4IyKQz6dtX/g9GA2AYZDA2s9CWooer
Z8t3RQRPaC9jnBqI4ZxFD7afn/VQcIxUC4ncb9hMoqBtPC4ZXOj+go1Jt3L+2W+UymJqTrfik1F3
rJJVsNDLhZouWrnuMV9rCyKU96Z/DTT+5SIkqQV5L6A9xtHan4ioyZSLFYBS1s49hWVOtpP/rZUP
cjHkFNtUZ3wQny2vBqA8YJ+3rDpODILEP5hIY1rGCRRCcfNBkbYskQK6oM1bHuvORixsBFCrGRUR
q45SXtf3AVc6pyv6eu53i6SjiDo4V10CwJK11v3pfTf3snRbWz2q1gMhWNxmgo3USHLDb9ysTFrP
RNHfA3MzQNgZK7xfnHMxr9NQ6TOBwTr23/MMXWL761CRMvazst90/IiQykOAoyNR3uzxio0kL74m
M2Uin7AP8I1QpDJ+LJjHpP5TSOuiV/Z3nsbLtGdhyIiS5DJcf+AKu2QjyOJIuwgftNyXVFJi2Di8
RWQmQxlcpCZfvXth0aiHHyh+6BfgHwysL7DFdi7Zks9pIt55BBpPEBi420W0i8N+oTrVe+F8BPzL
ypuWbnL1YJVyXwgBJPrSG7cO2ABuavo5tp3BRx2Rm10RZUq0tiA4UprpQTfNuR/BMQw30gLQUuZA
1xBsQEqawidtz1s6CYMshGOwJEdEftVLAzsBP7TtEK60Kgmv7VddPWIwX3YmFl55bdhoVw77w62q
H6Pu4BrXKI/Xo0auXE5CDrulwuqZK9R7dvBgq9/qoWTk+j1FzncFVmFyCCdkbnETjKud/sNu8foD
zSAQC0caKYAdNrlooYzNuoBZmhfpKi3NU8AolUqMyhWK9LeF8amm8kDDuRQ1fQFhOPhmkh53aspZ
rOHtsFnvh01NAk+3MoIBCgz5LPjnPebWLgGfrmK+FbZCQm8wUcnmZVueKVU5FgtGs59tU+/ZINV9
Ox9btNluTRQhqxYbkZFaI2Q7VP57T3mrGOS+828WQbwTRbDuqDci5gC4HfqMC9rgsk1QAKl9t6F+
/Re4xokB3Ja9Rg3FNPQR0YZHRx1XJgwiGfLRDsZ3EGsnQg5I+SyZrLjrsqr2BsETDqVyus/Rk7lk
Q4cc1yiboyQ4lPBua1ULDkhnolUx6CC8o+orlcYqpVb1G9od268BTNsND66ozlWa7isSL4UE3emb
FzrZbVHgV055nVxraQRyr08Abau4+G0DknYIT+Bj5v2orVn3LOG6bKUZXQq8pzMjUg6+5q0KTsGA
vYzHQmDQoo0+hMduFPpMtc3DJJvKw5SOx+cqsi/SJffDJiY7SESM0gLluqC0igyX18meg3bZ5E2x
VyoXuEn2rVuw3XxHfcm+x4akn51+BNmMTICr2g7FdSRytKRHajhcgAcJIP2scUuX0AbEdyYvTBWQ
ORgCcOsLFDfGXbKVr4PmMUmt4AjgDoKxlcOeGvSCV4lo+YaCWvGcfO7U5Db40VcEb5OxScCZLWJC
nhX/4EfduXQHLALQnVKoDgeP8CRcvYTX8moGnssWBV9hl+GbzkLE1E6m/mmNd3IGioGwND4szF99
Z9AWZ/9qXz2rQv6qApN0Oh3qfQ/qKZvcLg4Iby88AoT3Z1pcbfMG5QkSjHuG4lO2TFESSqIJip1U
KKt8QnukxLKuKsO/alAWTSf+kirYBaE5Tw0urgbIRy2p6MiXA7TQftkuU2t4ABt32qO7JAHA6PO4
SzStWnVRvuij7gOa3o/dcw31THTGnHEJ7aGAYdyq+sYywatW5aMUclOGzcFP/LtOdHClDS/DcP5s
DQyTtLuNp5GlmyFv40B4hrFF8cwdyFaG6GQDIIe6KwvaKQ17+Swo7GsWt83SKCSxZEVyduL25dT6
gnizg0SvZxju3QzNl2ixjSNFTPP86gfW1fIJb4URytTsN2U5Y7EAs0OUJhkz3KK8jyF058zgpjRI
kxi870wQnO1F+qrP2w+zABdo1soXQ+F9pai3Vk1vAuF25U8uzDK9DTj+eLyDX6wmDAFKtOvFxNTw
DeEv/T7YGA4+vVr+0xsLCz3FgKUoPSUTlMAgoEHVOAeqSrmHgoeu1OVn2yU0+6CKAOByhNKUIeZm
JkzLEY4afpXsNXq49ID0dLOwpZf1c0Sz+P6umsJwoDF69mduT5BXQxlOWDtOq0F7gqsjZryxrv0I
S7wLEwRFTATZMh1MFwWssI33yuEiyypxTNT0DQnc03C8W+CRn2QN76RpTuBe++hAjcfLif98iLaD
OV7cDLdllRQn1SHCUiEjzKtD9lrJRmIHEtanoFS2tP4ZptwBrDF3UdXuBpuLFGV8mcudY1BgVNzF
EnUmG66TnrJ1CnqwPyx0ba1YV8WwzYJgiUB8AWlpm9mMYY3R2nZNcNLGx0AVT4IHww4yQzgq8iQm
uRNRdenuI3g8HpbHHlalS2SOj9h90Lp5LcWbanZnh5FE4hGrkk7qo3edcx57AgRaZCTskofkaXFE
jz4maA57VyIvljzMwTpymOKoX6FRoQ4Jl4YVLQd0jYvO8e8O1ohkgAGiWktrMrM5cdOteBUpcEkx
6oBOlyLbOa6ySlz5HgGak2Ii0aasdvQdi+KT2yd3Minmo4cHXQPRxpWTV7TXZo0Y4tfi4g65de2g
v4ZB9Gnb0EWZodg9gmvoViXNsxOaKwIUlrnLY+iMhMlzQ47GviahowN4uQNc4NICdHjZWizv7aEc
UQqAcRikc4nIKRqJM6romutkoXYl5zF8IqY6GSEwblQgUwpxtTo7NxHbwsjwN8AupE0aGaSyhSn2
PLCs3YvN0P2hbGqKcCJ8VmvZJtdY+VPt5uhH6tYntymxx4McxMo3AipjggGGMN9Zen6w+/GuZISp
5lbGSWn114QRtmLlX51avDV2/6w6515k9j9OtZnfmjsNBXJqSFi0tGUO63Xbevh6f+VjmVd8inhG
Z42I3lQc1KGIjiMiID8yvxgZbmK73hueveT9YjRORMU46nstG67aaD3z3DbOtt3WN5fqaebBUlJK
JV259rTKgHnIdXf3umAna44DC54ItbInq5PTh+9NFWAzM/HRRTuzN59GEP3ooQX+L1z1uE+k/8xi
i5o0Ro/l3VRbfLoeMZ5B8tC9X6FNzNkeIJAFy4OUGcKIiyh/s5HmtwWPfz10bEudPELryI3fpdER
XccGcdxDzYybbxhzvSDayMDHGDXYxcpMfUWt/6YrmLAslKxJEG/Rlp+KwsNlVy28MAgxh9MPdb1S
LnVFfNm1eUulBu5ZAUqm5dpGFUCvMuuhRu5LUSGYoUDTub+rUybROpUu8qxWreCQds66s9kcBp69
w59PdAM0sYj8mGbMP12t+hjq7F616EpZjOhzr8e9BdRiprs6zTIJZGPN0LEhN9RH1YHnf8CHIfRH
HLXGCulRusjrxNjGE/a1J16vpg2WCKYSRz41e3DXltPmK6cbrYWhkiY5ljhY4n4ClhuhuolF/FF5
PVWqZubHxGSqnP7vxnqhS2IaRqOZ58B6jL3s7DeLE0Jtu60Tpn8UDKtSK/YNSeQOhWjT70y12gfU
36aKTILRAnmOybsKvFjlGwiTf6nery1TXzqmSlREw68X77SoIi+Y9HMYKA2HsIlwRL5QWXTq28gT
7dl/qvRwq63b9kvSEjaMgmJvr/hwGlg0BOKuFtsKr7miXL2SSPL7yGwhADIysh6IQorQEF1yPq+q
TWRfsSfY8Q7RFzRrBOP33Drb7lIrf1rvUFpnwdpXx5Rnym88DqRYT6cOtmO6hgFgwsg7NCZIlhh0
eZ84PYjwo0ghf6WN8kPMsdKlR13CmTyQbJbxzqcw1+qtjTwpuaRsCz17U/m7nNQ4dHBgm0gQDlDk
JcYKxTAIf384oToveRR8YjzEQQO1DvQbWeZXkd7Yx+j1RQ7R2jEOcedTQ1q7gIOBzd/cL1gODuyH
rGKhK5gu2o2pm6s+fSDRwfuGb7D/dej9x44hWTNsJGa3lvYr48PynUNf/GuGH0cXB4J9kdARjpxF
kDXhKXo+cptknZF1JJGU+6O5BJRGA8I+zwQwFBBGku4DFBSkUSaOtgn4aOpCITDdXqhi44Yag65z
IT89DZfDNCDFjjzso+bTRBLrBQavVXbwlQ/NH64JbV3CK9SzHQvTq88mX5I3NNDFjCynIv/ksH2Y
mDy9B8ye7aVu30ZlbxnX1vqwoOLQmqi/kC2WPeqM+FwK3ALmzTIeUvts9Gcw/jZ1tm/INNJR1ioF
AZ/llHm2TLqL1WFCoM8YstVUL1YgEbTEfxkFZK+MyNe63GtI0zF+HD2CWK2QKQhDvozXFb2AygQY
0k1nc4R53WqI0OiPx7o0V4IDNER+XMU3jFlLEPLzyoPWSl5w4J0DaWMO53mmK5ckBPjFn4Jc1GEY
N+g6PlgCI+HjY6g6hujNE/Nmq8lXYo13lmMM/ng3/0X5SHsRrFVMGvid53WsXnN0pKDQ5uzvIzfH
fHQeumdIDZG0N0QEjO4GntEJx2dtDCwicaKicPkc6E+l0i+naNu8im5OxDAZWaKaI52BCNnZzFYz
0RO0OJ4LqHOYsO3hmJlfkWavx/KzGn4FZn3OvWkW4jLXNf4GHoZRgwkDPalA8Oa3Gjnkw1yiVclq
/V4wk/YhOCf15K3hIWZ02xqXzmGIBv9TZ2CV5RYqI/XpgLTVOPBljpMrR9hXYcKIJjOLMuqroXBp
RG2Ad2kJcMquHkrApFslY7KKSRMAnoNGY52EYtHa0FkqJsyN5nygGfkrmgiOIx1qW39L2/pKe9rJ
Ig5f+CTXBlSJPNfupYoET+2aP5/eXerGLezLozPqAiRgepcE+RaevBRhcq+aaloP5GsNDX0OgWxm
lcNFC6PPSMRHYt+/rd75RHC/Rwj9NQouWFUwW/bdvatqzx53tBe6v34N5VEzAmtWEyK00h1xVgQO
6Az3amC0yGxddvgNqFcmF6/EyL/bCiFWbZUQDMNdHw3vo+GCCCpweBnVqky9BvVqf86d4WS4Rk/c
rdIs0EZu44YFAolIrHsYuQ72I0dJN8+5xLYaguuh59IscwuCaMrkTxZMLSPkyIHHFANGyoA/E7Xe
rLTqh2L6G0OJ74kh3qtRlwtlihKrkhZksIH00ihxrfYYZWIvYCjLJzutybG5IV/oYNeX6sKL4lPm
DFQ82bJ1udhc0/jM8fG5Tnsgd3VjRtkqZTdfROGnXpKN1lxsHZ0scY8Lw0TK2RGDy7gkO/ate/Ts
kJcn+Rap9TIbYW1EiRUmEdWfpaebDjNJ0ggGvurAz8pwubeuQPM2SqbUM1XWb0lPprAWfXuatmtD
aAP89okz/HPhG6D2XY5ewSBVb542vq9Gz9dB7dAeMa8v7QopWbv2vZCCuWF+ZH7ATXrj00WrW8AG
xTJKbGqrODRmyqud2u5Q57DFlIG8ZdNnIYApQdZatDS88KQE/jOJPAxC6UeYgPrGfecgL/G3A1an
yCCXRqj91dMahhEmJBATaTyY90LCwkZnUQOy6X4b76xwfA05hwIz+F/fWqq1XKTaOfFZnjU7QW2c
MkevGs7jLzPGEPcuJ14wDTWjk6lGmbu6xot0IQXITK5q+NVlb4F+LBSCVAU9NqmMKnu7kHEYca8c
WCvZnGGeWs6pJK8H7xgRXOcJB9HUfJz6PjR/+gQotvMqlCvXXqdPo42/sMfHINhGZgnVLHO9eq0V
5KZ1qyhYqcM9Dvc5Ft7BO2alt6rLHx+VI5nkyyj9Gfi1J4I3SRBrHUYULeMMa/Has8aliuWgwiaO
+5m5Dp+RjYGdubKJCVlcBRELqI/hOA65tyXCdW6SdzjQlw0VmFB6YXfEAOjJ9BvP1yEg8MkAlma3
6XXMz5r5NXVDYzVtqFamUi5CUR5GZOvjyH5LqtNmKwgYWjSfgUDyEAbfXHSYrjoQu0aqXyqOaPqY
bF2xmUUHeE4kQjE27qHWHgsI0pnLXgBtso7x3bKKTQDFU+wKcKAFvVUBU6j/S+Jj4h56uAFOxwrS
wMG2ysY34MNkmRyiPkIHDsgKsy6jBzKEFzS7J+F3i0HhScm+Iu8ZtNe4vVloE/o2WVRI1eUBj/XY
38V4EejBVWxhHd7nca8kWBvEo2uVedA+YfzNdJLx8FN0XrvQ4Ei0nAU+m7De/ina+0C/EFEBowKd
Jeqbhw062DMoZ4tVgTX6UYnDxgA4y7qMb2JYmDG2kSV7MjY8iXgrWANaZ1MlCqJeRybVQPLt6sey
5uj7Vctjq9yHltXQNo5PvvKZM7tuU6S33NDVecBW3krIAfF7TD8RM9u33e9e2Vo18T2wsLLqLwQX
4xacXlR/wbgziEyoeCjG/M5wj8KWa1GhXkNQMRZi0zJTr3VrGYUgCa6Nf7HGKz3CzCQNPTjb/l/F
FQ8beD32wJV/UOIeDIoI3MYLT6PWZgAUsaTLQ7IWaN4rfiFfOXQ+7jC5s5NTmnKcoQ8yyluesboj
X5zhGS0Z2J6w3+I82qd0xEMmfnX9AhEKwgR4afRJsrqaRQ5De8TOdsgSnrrcx5j4YyT6IgkLjLuX
0qhvjo45pvr2c3PTKYhqkMsWQDJz7tpWrwAm1Kep6GhTwMRv7vgRyHBuGKALsKD65jxX27WUFymv
inhVNYAd6mM9gCizF4A7aonRWPz60/5A/9TyF104qxhQhAkeujVYbky8rnbJkg/F2sMqUKyNl7+R
9SkZWBpsRSvo+B7gDkZ7Ooye7qeP3/vhmgrWvE1MxkDOtPg0ICIO8ydLYTYmAE3/yexLprcgsrFX
ocNjbdfWF034Kze7WvWG5NtC3/c9vmpGSsmYbB2FfHbJhOhvgIPGVQooB3Ea37RC7cP1ZRJFwTq1
ZizEljATn6EaLKPJ3QHeiJJXDOcIXmDpvqsh+fEDsPaHyYpQYu9T3WPVd6TovXHQzydKvERFnfCe
eDz1AbvC1mThi7Q2DCNW/vIt1Jw/eNFkfBCOBhpRgY8u/GnrXy4FgyW4NKeAt8YC4t0wzzF8uDj3
MNuZ+t5zl2GSLhTgxC5LHLMgksb+Q2KxRB+xNCLyt4t4UzpgliINHViZnxkEzkJEU62C3oFTl1bx
M8El05vygZP7U2/bU9/E4AaLnVqkR2EA3RpOpW6wgkNpMhKSSFZAUT8BPdxcWy6lQdVUSfPKCALz
n96crCY7RHRFautvfUC76EN1xhUGmka3vdZMgbm4GMJ2u4IUNukUy8C/Vrl1H4SzM1HG4X2dFyE/
cUegSmb+cxo2cV5yGPx7IhF9quaqwhSniYc6GpgKutXYl2syCtaj3+316oX5iZmufRnUeD826Tbu
q5+xQJWFnkBhkZ7hNR9zEP6jsvNCyGbJuuBkMEYD7vi4kzhv2iF6t9wj1iEyTM9Z2h4aA3d9SbRC
hJmdPftIKTZ1PAh8VlFTv9vdiA7AWPGxfZA8dfGKYmel6mVwwM8gi4jrFDgVDYXh7kaST70KrS1t
q2azCAzYzpTfZHE1ODCjRZp2DCNZivDPmyy0ek1bpgY12KjuVSyUbWFiHdSO2IyXsorOJob3BGRb
S32gIezLMXmEkbke7EMMBEvW47YiSUt43z4++JF0VTNQTwmK19QK9moPld36CnS5cgGQCDIgiwYr
gUISTu7smhGbU3TxYZGNDMXRTV00Lb5axni2Ch/ZJw+AbotzRW4Yu8Cr3jMBzkx0UJwzg/UjsAiB
RJ2x3QFghoOGuZU9EsCDGMwtewo9/v9Fd29JkJVswHJh7zUC2oQ37AoCQUbEFCmeyT6iT4SBcQp1
qPs2TXx71sLTqBDQHOan6fPySm9Xq9mSWDam/3Jli+IYI1UXJmdD6jFLKsu3ibgaC+x9xEE7w9WU
9lIhdjZCQeELvJLC2yYYqJ0z27BZHOjNymIU0k6bTQulLAIXylgDKO4k8rTsB1rmUH4Spt5XJUrL
Yfw3IlAbgYZQklij3Njll8rnWatPAahKhbtRMSjB5b7pLf9XSRVYAK/IBjYJHJ3Vppazw+GPXXfu
AGGyA9U0XtGkA0+3q7u/BkhxQ0hJi/y2L14ImoEaUgneR/7ypPopJGkj6I964FwtmAkxbnp6zYKD
OscBVDdrBYWRX37aICwDbSAJsJiP47ZGF53xyCUw+Qwv/m1s/+gU7neUe9MMlIXSom/6Z2R+dLRt
Q9AuMDfzw6vHMP5ipzoPcyD6+SpT39GzcVaBCyOfUAMW2FFNgfyEyeqsiCAFzciTjmASSTBvBHQv
1uHTzhnna6g9G+WfH2/r9J77X0CFXJ1RGdB7r9yo/a+cwMakEOprC2xxuIXZi8aNGebwWwX3kj5Z
tz+VZmIZoMoVw8wLLx6EI/RFJdIjvk8DfYpEnyNycS5SucXIARLyR8OuaNA+xgqFiK8tXTCUaVos
a/vW9K+c4nLA9wUujQw92Bu8JZhLWXaywohXknzQMfk0k/cEKa/OSLsf5CIWhLqYcXHXGOm7U2lD
fI7dsYMamgO4hnTiO5qMQkJId+MPcmEv+dA4692gWQvv1KAykD0ok2Y12MM5CS6iurlusWlkfK3N
v4iZcE23XfA9pGhrPIUnD3hNmXhnN0Gvg4EnCOm+WSb6ACl8Vp4t062xZDxC/Y6MFzVFPFc0tj8R
bWpqPHOb/UVHDgr/kVZh0XEwacGLM7JWrzJwY9Fr4qn1zPjUne/KJQtK/I84Pu49hgz5NLsbUbGV
ydIYwVd8swICRJhfI3dmENESaPLeq9dJ7dqETxWtedAf/Oo9TnZd+BtSIiNRqPOnmzwZUs21gZEA
kT2jfE0uJ48xcawuJtBPgd5wzPYhFpr4JiyHrJqPkdY3eXOLpztVDJRDfZDsEtqQ3iP3bucq2w72
TXeqxEuChgIoWd8F/YtDgjcExWAVGPux3ujhzm8eFhM8eczRY+IWlVsNSH7dvkZE8zqKUcN7y6Ot
zqvkMqGNcow25rj2nR0BHJr9DyvZSqvfG6hovBNWvS1jKAy32Nqp+lOx2UWLX0bZafvPMv/6cdv7
h9Q/Wk64KV1trkJ2oB1Koevnyt2oqfqaHB1FsvIGmJoJO20XCjGKhO4yOVKz6NRE76X3XeZUq3Q3
NCQOKdRPQHgzL9tK16CIOAcNdTARsg529WxS3j2DZFjY4Fz0SdtfukcYi4X57osjKAQ4vpXyrI2K
MvkjIstXxjw7PcjaYKeTzBR7d/hfjjC/uTtapZgFiO7JdV1r4l0LmDOP3H0aJbS57/qfNDIWnsOY
l/ImujrwW9QWg2KfIybF8VVqrJS5mnz7rxcLoyAZI8BTySEc+CBxDaIbOSyiFLsby814aYwoDlqs
dT8Wv2Iqj62noYJIF0jUA+xpJZGF0UNAyreDixOzuVaB11Q2BI92bgvG6mVPkV/9gsVaplTanT1u
QpLhahhyTWescz4ZMwgAYLMKS2AEzNrKvNO6nwKfzPOm205kegP+jQTZUhINQRdUE4+lu4+S0iVW
YHpr31XO5kWdVUxxaS5bDxIGO4PQeyh8EYPvkvvHOiwAKKT/Se2WpatOR19n1utSLXc64jZMocDF
HrgUsIrebBkthujuwlQrcDNnfjwPgj+7RJtG6ZBjPiXQdVW6ABjUg4M+HcXGxdRRyIlSX5sg5mIc
8DUhrVTNA1KQ/pb6cBnZem4tG/7mDyoBfk4bwRSFQojQTyUkFWJ0gi+oreoVyLE0IKhMPQzusVWv
msYOj35QwcN+NcS/jL/K5erHV01/aSTydhq2R5UUxy/TMDhP/PkY4ndQ83VZ+huUxXNhpLs+rZd2
9zAJtGiBgjElQk67s3DDhgW2nF9WbCLedgSA4KRM4IRl/bAsB9pS/znaNyZJi4FdUpD2cxNfZGNt
GmMdF8M5rY+6xuWnIKoKRuRd7O8ndI5IVIRc8lLVzkUnQdPFFtkRIxtKtMFa7s5s7Bf6qG5UwEwy
n279em1x5SBAOyg6i1FHEryubbQifXej/iyIjtCzBwpqr+r/aZ5YW367MUikEvaXVYDcQ/FYlDZ4
XOUnzl8Bf/TV7g4WhTrSP4AK0uwbmxhaO+tjhAlApHHDMRAjOI+9ejvyUvX0wF570/WTURfrfmLh
fGlsMQ3lXFQGE16EaCHICf+3KM4RkyqrsNBcYLpiBetXG1s+3Oww4JTOION773kJqwmuPU6Bqr2Y
FDim85T1tQOa6+Oz4JtyEWrADWyCnxLBsSLPjkOsZ/ltwuzFulM5HxhU0/Etd38chL9Y4iX2lAEq
EfDPiI7IQKLIyJs9yw2S0NKVfMhxvlCRsg6PKHnqOpk07DOyh16SOUUwZWCQIHTKxTOD+eBVHway
Jzc6cqFkPB8GW78p3jtHsmg6h1DcsS8tPIqNjJWvCTuDOoyulL2IT9Br8cytixpfy/zZq2dcnB7l
PokYjoqW1GXNJHdB/66P7WK0VCZfuxRZaFANM9G/rEnG4EADMV5NjOv61Qanyizmvf3PJQlTTe4t
E1pw54BYwplp3P/j6DyWYkeiIPpFipArmS3taUc73EYBD5A3VfL6+jma5djX0FLVNZkn3Tk9UT/2
zjFJbpK9Y8j8eUepTs84oRfl/wqwvZrV2YzmtEfVATFHdIQkn6aDzGxUvM+Z0S7y/i/HXxxQ1dks
e/qyWHSYM8r5i3KxyPXX1r76QPeCnSO+TdJW4oycaD9d+ICgsJ7YZ9x/3DYTx9xzzQvtOu9xS2Uf
nYlNoBigqbn26shfw0xDeN/o7EWMBzKo2HxM+d5E9tAaNlYmBc30ZAy8aucG7CXK1FYQJGBuU+/I
nJESRBkvCULKSACKYv1Tcxu0RN8a5LuqNN45ZvPqRdUF4BOEq/67tgMoaozQoVIv9bFDTO02r8XA
k5YkAG5j6w4qDF+Uv7JTYjIRgqEMZlbcVtZKZhGoJhR1oJyjFLNLWpK8IfPqX15r74PBuZWM8uhX
uJKVeQW0voSUaVvkydnDSraHANEZOqNdiGM4yx5B/Oe02W5Cex1DqxyqpT19zDqkOaGhQJZpjRvl
l89li1+a42hcF9iCccfstRZ6Gw0zpm8IosXGEGSdu9raQ2CbMkSlwG64hdJgvJapfElZmkqWcCYq
XD9Qa3uk5W/foPfvyvq7IHtTS9nYB+aqDYNkkVpguqZrFl1TnNNV+F36L2lNNPEdZuzr0D2D+F0i
jFlMmbbK8bpZqb42irtPbp9tPsVMLWTN2NZaFelPGiAKJX7R6OZh9akLm48W+gxPky/2I9QlVSBo
g3s9MPEZFg4uW7y4SPdQxVRImUDZbksfs6FAgUU1ofnFygLQIrDxNzrpEuGvN9DIN++R56wt0rgS
pPAG/UdtADvvGXyHwMP5BbA5EhpHLWv+kMmYY+C/YIztwln1EYAWDeppY+nQxNZ9s5MhPETSA9Ly
znR/6ySgylHwWTbG9S7e9ZW/n9K9K77DtluS2oykDXeqTf2u35n5M5wYedPSrRla72Yttjax3xKD
CAHtgOyClyShS0LdrzRy4qV/oHpaZ455nmwkBv3V6YmRk7SU0/BE5h86bX7kmEtpNMJNMpsy24+Y
RyUyxXvZXuIEzN1t7C7gsAwVbStW7QBYjiZLpZQQuQbTnuHrTNXsEs+K8Z2TT+eAgc4qa86kwRek
dd2E7o6QLZJxN0mIPsduv00HxUo+C2Ydm5V5pQKuIH1YqhHslFM+6qrLmGzlD4UPgQFmhTeoxSUz
X+GYgEL7STLHC0iSH6oXjFjo6sbz/6gq49Bp+MKvtbstqAszsixrZ0IdgxCRh6E21SpgVx9J4jjK
MyOWhMMhfjPM4KrnXxkC3HEcAbYx22B6Pw9824j/GRGQPH4AAuY9hYljSBJ7WhjvvdRWtslAqH1v
XADvz5CGmRBrmCmc3F4r9g6O9YXIuQJJIJCO0R4amcbMgJs7uSQ99bY9a4XfUv8rwqagj83SHPcx
JkwXDT90p6cctfDY/rbGaShISz958hirm0A4YosnUOUSKI1+VAbfOn7nvL6l0Te61gxrlt+OcFg+
R+ecj5+gH2P9HHkG4lMXMf41k+22CH6rIQJ6t89VvGjFHd1648YLB7/xQPqBYb1kbv00JOdQEEkN
zW2I60eEjGccfyrVr4xS/xOiW+NOb5Ifh0w7WnQdfBNoZ0ERkCwy7JxBo11AGi/GOZ/bnDHPUcTS
YMq4hEl41pKDMhhr4EbQNG3LmINYp/oUEVMQ8KfLmgG8F2IF8gGdsXwbHBAZNDkMyR+DceoxxyEb
qNTawDhF2ATT+wQdeXifjI2AFaH7m149J8wt3XQjtL8uurja22g/9HaNTKTo3jALK8aR4cJicDmC
eQ6Hg13u4mjtmaskeh0dMPDlUut2hbXRuq3v7OmRalpau3x1rResfkBlVjAYBVBcDwbVPUnSJU25
4WO2fU+5B1oNRxgWQApI3W6WFrrEIXr3Qn01nCQ5BI8mw1Vrek+SVooPn4tVQLvKzDF175X30vqI
ai8tXmqtO0pqFWl8W80/v/9wrUuS7j0XedwqgICDFiG5ISl8Goq1wh3dP5MIWKTvBQkEOIVnmRil
ISgp2e8RDzvDGqYzixhHvYPXI+CLWHCce+M8VEUXyUAa9UDaziAEisuNoAALi3MpP+E7pNGHajBC
OWy1LxCbEnbi8mYfSo23Db3jPrNPon8x818kk7X3EUsGKORsLpoEHsROw48s5bAdiC4bb20MOgG3
xqcf3AYy1LigCh8gVfPmw6c08PWWtNTkAUJje2/aD5+5b9YfnQ7zCnMUNLf8iQQBUXVac0qJ6vA9
3HUAbdayZ2KqNwdAnzSTnf0GZJW66erF74FnrCy+QEnwSHuVgPi97mFDZq3IRJ3EIW5n9P2nJH4Y
eQyYKsECyrGep6p9GhllNtG1cD4cjmpB5BXEsXlSQk6GLN/L6m1IPyO6gcbbNv0RTdqSSvlo40Eq
YTglikssygFg+B+1mrZcuY6DOlQbUK304QOJXbBB0n9PIPCc6g5oEsJFEB7eeFEuwH1T7eGL0iNn
1b41q+96iK/1iM+gabsNxQtflpUyAuDBU9LTlx1IuGUsUDM2zUiEqfvZ5eaRbmKjBtN+SlPSc/D+
FKM61E3ExKZJN5mZ/Yg8+DFBi0MXQ3ujt5ytoAeomjBtRXQr+s7JGXMXyBMpv9t+eMoaQDK29Ji3
iTKamPOxPYprJjMWqC5HYy6Sux+1T96RBSvKc8d7KE1m3kDGiHZnu4NuUM2DHzyiTW09UJZ/GzZR
GuTvbIxZ5M7Lugno01E3RetGF9fRCnip+vxThP9S0roGS/QH3+cWEHW57zrrVW9yyln0MCXwjinJ
GeJ7qyEkZ69VGwsgig7CPW9auDe1UbzlGU8TVrKgHPJNnwTas+5H3jWL+1uQIuWPZx2eaEFAu1BU
fMWbO5oM8EiXq9d+CPxzauYgG2EzBnBIi4Cheehs1lqjbMnXpcnN5lnB6L1OOqqEWvRvCZRF9JeM
Ojol0DmNt8rrmn0995sgyNbz4+hK792Pmy+9snjpnVXc/lasqskU41gtul1AwImVZyDa+ncNl0Fc
s5PFWTmWzl/LfRlIUkGZ9gvBegmORuiz7xtNjJzRyh2AlPj9jj8ZVZa1qHPvkrr6sSGSwBqwfTjd
lnaTnKNyx1Zu4WfzXQQa1O12ViE+/Np5FVHx0mrxrXKOGj3+YKcbUGWL1rZXfevcgOfggO3nYUly
GW3mE7L6VECsB8Rled3wnU2rlsSDsScciIkKq2YV7GCVrnQN6XNZHodQ+zE81GvVsIEUOvPKCxiO
tSLUt0Ui0VbpPy8J3j2iRRfSaKiyavMFwwAjAf1dQU6KGEQFDqvJsp7QcUCQZaG8kDiBFLl4ZZFc
bb38LC3n0pZs1DSH6bvy9Ute8ZbLQSK1rEjzCAKmR6NE69c67ovNM8Jug4yVSFGnYO+hASDiOi36
TVCOxaL3sITpk3NrXEC/LnnBDAT/hEnkoRUbuzQTLP/hzz61ZueBjRhfm6S5zAzDEHQO3jU6s1J2
PF0uHNjcY/bMhgF41RQdos7tFrHm/TmhbZ4cF9BsaZiAJEqLaUc8UQdGn1Ho3TBjJMsWQeaGt/+L
0NVPG7AamRbm0mMtZSCIbVts6thdHl1ubEWEFbs3V45hANHr9k2TnfUau0RFD+1BIbcj+Vn4+jG1
DObPoQVOPfzXduXXEDR/oHPWuabtSS35CCdzp0L9sxrTVWzCo3EUdUEcfLqifmkqOi+31z/RofHc
De0tiJt3aeBQikEmhlHNtMWwvtKJLEJj/EfU11dbBQLBaMzUinxc3J4wBYo82qVhypaXsTW0tlbr
b7BCZ/Qw+11PvkB1BDQLiEfGIccQMklpMb/3/tomvtuqilleWj8Qs7G0+I9A6vays7lxWS+R2Ewq
rTbM9F3O8rbOngMxsTvsLm4lVqrnX0szg4223324SUmacwmgwFUQs5z0Ypckc7lylgrn1NuuYBg6
hNuWWUODHzmLwC4bPXJRL7VvRmNdOLSeFc7woGJYrMV4/8Is37SSOb1nBet8Ei+mXfuLOup/a6vP
XvQq+xJeAOkwCNn0wpdl/aXVJ29WDDhpNe0cn1GZMhpCEoI/EzsTi3k220GCLUhNxlUF/k+k1StS
Bmom5E4G5t9+T63h0iTgxSdifxne1eQVEVy/gJHA5HdEbukb2lr3IjCHIRogqrbPVrAKJrJ1JShW
l67bMIIy/CUTvJmwOt97GaMpwZAQanPIYJFXBbMMxVyWQcypehjPZYILxCYxp+/OjWLBVlchhieC
IBYOkkgUgoqNDpp0EG1MG6yAtrtqU3msCvR9QEhQ7Lb8NEKkw8UPAJMoJqFLIYxNUTv+qmqsD2wZ
KBTM6d4G0T9buF989dC+0FzxeyKAnT0iMY5cq7ioGf9EmdqEQGI1ajEhx1fpwWWPulPV95Lfhx0v
84yFWeYHB3eaXs1q4p2O9bsWoLSptHVsm3T2SBaHFBbSOExgdgTbk4ARGTwXNjXtxtXVYUS2EuAO
dhooSpFxlAGu+qE7xjK+Or66h7wdiqkrBgRyDQP2Fo3yb3HYXqo03xsTLNmARLs8vzfobsChbZqR
FB6nXNs+h6+da8fSspZ5jXCjQc8tCrGWjvOMQy2Hi+uM7HtygXGGU6a1fgukSn0G1jGit7dnszSJ
aG3mb40iJtOWmmAg4AYRWbFoq2pv2cVzHaPGdiD3Ug5Sr9wBigBC8361MDtLZZdLq1NfaYt3i8Cy
ymy3wxiwl+L3UXenAsp9RXZP4dewMLN9KnljQh+NkC0JLA5vtl+9tX796CJJKF+9qcvpObTDl6Ku
3+ZJy4RmOan5oLYbPDKCGrhuIDPOoRZqXDTDsO1ltguEvDEBxYRHyRsYS+WxDKHnLIZowytwqWs6
rIp9HiBs0r8XxvQRSfRXVsEpXUiNfFr2d21/mbrp2ZqGAzFra74S/LPggMQIkyw+GzHhTcJd61n/
rwYY5vT1yqvHY0bKme5kt5EA63xKjw0J1DLtX6QK0OYl+0Fh6iHUewmh6KNIMW/x8xo+3ZVJfTxi
aOzxQnIXa18FTmst7zFXJwhGdNICddRa5HDRVsmGixcpmRcEfDY5wOvuadzDCBlbikuoFMxQjQot
bOqYa1ET7om77ww57mcSsGatAZ4jxs95GLF0YgIFkS/qOeIr22PkN2Brq9zJx72mVo0LjK4YX6Sd
vg4ZDV8aUJ207k43aMFFNXzGg88myjpoTHRTLzoZHRGlzXj2wolV+bTviNVhZGj+zbVRkABFDeKN
kujec3IonFljAz2cvGQr2xWqP9cFvRuk2wbnLJ4UqjGv2pg8/pbJbak1+k0qtvZlFGxcREJVWp4c
rfrHkf5JoTFLQvAEst135VqwDzUs6AR8FIG5N8qCTcxtC/91l5RorMqEYaDJRsdV1TzQfU5G/8eT
2bNuMwpVDZYT6yMgA6XHclxIm0hGlBKW8o8JNAAIJEvDobQLx4UFla3m/acZXMgAfI8CtDsu7L48
WFw5iLXm8NU0ueHOgjdQr6Mxxp3Fz44nXWj8crVPkYaXnHWyXcxfsoeMS+G/CCy5RxRndg37kZbo
LSjMDmCPcxTF60ihSbSZC3XGxlPjiz4O64mxLybZpVvn65Z8E+VptxZRyOSynsVo9YRlngH6PYjc
zeyOC0Rx7qqbBiEGR8ITaZ37ACaD6hHrV9bCDL69/ssifzVnnYc4YmuE00mV5jntdVJWvIULPc7u
hn1IYIgfRGe0yZsMPhyT+8PQof/qq3OpyecI5W4JPisOnOcYy7avZfdBdKsEOSQew2GFvnHLacU8
A2SoUd4c2T4L49diZ2hN1jdZXvskwcdTD+rXNIxjbclDILqzx5GqNCIWO6wD4dku3V3UN1gehpe4
yfeh7qGP4KFr/jy32uV0b45tcTZIOki3XLsDgx/iuky0kzxkYID1j3m/Xs7BbOwv+/6nLWGucXkt
uua3JvO31qO9VSIdNwN7OcrhhIByKQmam5rwRoH1qPQGJc64nMIIYwQ3r+uteBMuZjuHR1jIVqwJ
uQBxDL1xHXXJvLN85GmIfLXLn7krth1740GppRrQ79rWHm0OMhgJZt/aKJbZegT9wrYopEB/kb55
cht5w7xz1G13S/D5XnOQlPKkuxkZKWhmwhCQ9wxPNSYD6Ix2oCLG/9ywJmcQZ7n6XU/DbT4bWuX4
p3M/cn6d3bG4mbp7rQt1CvPh5LYIACx2p2Hifit32ul9/GkOchGlwYrkTmCXFkgsubZnCNQYTvRw
Jioj6azGKqLqGqpPr8fHqvzHUAcXhYcVhWoHhc0AwjZuk84HYQzAIe9o1Cd2ky6SLTwM7H1NRLm4
/N7cuTWySsy4XpIDrMp2smuvDcgI/jxoPlVgPrm1h9k/jl8KT99mjvOdmczkJm08Igc/xRHBFlP6
6EoAnHa3K615rK3PIPMYaXwl2LNYbXO0DZBS3kx5pojiciWucqrqFz+2141HdGZHeqQPQJ5U10vK
Kr/USb9qZfA6iHLGFJGiSFAqsoaFDLtNY8JfJj24oCuzS3bQtnXPZbgrO37Jo0a6zHDMQ1prO5E7
O7GZFDlbVU1biqqlHWt7t6v3KgH6SnTKoUMW0/r6czTNVozsx57c77YUb8HMhyU2JEwJkc7Q2ph5
cQz09iPSwGcWnCmlgaa9Y24cQ/IuaE0KQowmP91UeNR7cKFeO511qzqwJL/Y0j6Tv30yHZyhXfze
iPat8yGr1QVffvpv4HPFBdZLy76HrUP2HM2+GuU1IUE0rNG1DP6wndxg6cXQf/jVPWkVJVyY7mVX
nOKWtpvIsoNFxBJ9bvXImlnuzRxJM5oKbZ/FtMx+hHa3dIb0eaAMzUKKNUNz+QmaigVkjxGn3TZi
3Hsh4CM7fnZS9TYVwUdaB2cQfLtJhWJpDNqLFY+bctBRxYrsYxTN0h3zA+q6eWlEGdWnPStqqiFi
67l75WHUPOh6PVNpO9/meGJ7lPnKoCOv/W3bs3GB2TdiNo0csmDIwAmgcKApZCPn74KexL08PZjg
upxaPHoCZnSl0QD7xqZ24FI4w26KvTmBo8Kyhp8ujz5GjARG4Xw20HYN9EoGbgfZpQbyfR8SiV9t
KhMnalefKaKIDfPPLVMrN8iex5AIjvmNkMiKyOGICvUMKH6byWxjT/9skCFVVC1TDJAIGReh1Vwz
TT/HhQK3aFhoTtm5uu8DYvSsdQ69fYxM5rvgVBI7vUJyfko1Em6i60TWxfTIrH9BRNgwk1LdwbtO
UWZQOHoMGt3QXWvDhywZ8UfXuBSMJ+ddHVNIHHN5Bl6F5Ehjdj4w2UVoOnPxZHJ1qteA/UYdYhPA
3Evvg5kB9nNc7jMSvA0tQGgolyE36FhrWIeN5SCg+6Od41yIim9HexlQPzL4owT6zUTPH8ZZ0bKn
JPeytraq5LeMAnYE7qASHV6xQxfEZhv3kd3cWutu5sehvyUGXmT2GhvhnNLSWSsNJrJMGH4SXCRf
TPeuYdZJmH/rhoVEHYNZNq0ihphj8Z6b94RRURMPD5OpSpU1z46C/JoBQETg7SEjkJRzc4lQlPLg
QfjDrMywulvp5p1yQNT3kvce+ymjftdO1nKW8iQ/pkJKN4lTU4kFFfLCFkQRIz30sm06sr539G3r
vyTNp1bdK6AJYhYXOiffpBjsQWT5L350K8MjJ29ptitZAShEkFtWf06EroDNDKOdh6Gw45iWA2ZS
ars8LFFzCK7XaoUScdNlV7dKDqRvnkrW6wR8TWGMdM+GXIEQpv0tWnlW5T9/qvc5C5tCgC4ovEUu
mRInd83VHmE3AfYUSzvSnoR/Vu2ZTD4A7Gx1EGzYVsEG8dYE1i5x73F5IT9rNaUeGUrh2nLf00Hf
FuVfa341tP/yp6zJ7NXCRYHaDKnlHL3E5qBhL//b88SRbkRL/wMxYWXE1wgiYBu8NRa6AUJp4gF0
Pc4XUORoMlhijdTwyV2S4GTzUSIePvaIGjtM5X/5Ico9DZkLaWKifkhxZ/a+sURJXsVb1nwarP0n
ZqpJ+m2xEZ1Y8NFhduzvc94dG1yRw6LShmvUK/Yx7W9sutve6rctjm9rDrJqH1Hy3Q01dVCxM1zz
KWB8wCv+ZOAMHfr0aLvua09IJDDxpeQ2mpUYLTPRaD48ibVDtbrorbuPzj01jnTSi75wt4aX7mLx
0Ad+OFqFDEOdyutrRgPRpi/RzJsbFccTOMC0eklluBIuw58R829F6DCHX/WledpD8S6VkOWb8kbe
1tZKs/X/ttXxWFN1+nEOpxv+P/od76obIAiSaz+idJxx3OxYYianmk0+tvx1DC6Ws8z3/sSbOsf7
ucdqvgkadFGoM6rp7jEjNfO70YFyh2REBuIC7Qe1Lf5aCtOAAGBY1CI/JfV48Ct/EcBIkawZapKy
fYSNRd0sde00CFD4tc9WAYpVETL8e5uVWTw7VgTX4MXXh6fY15DukP1akW9f3mqyNxo21Y5/78TV
zsJNWADiz659/AG5n9XhloOGo/gZy9kKoMyT2Zxk+Tdje2bTChgq0/oygojy+eZ5lzJ/ZuW0nupy
Z5rMcOprUYl1RJZdI8kYqnz0VAg0HTyQMQJW5jd8S22Atk0HLXArcORDdsgFWlz8I2mu7jYbjy4b
94jxFgnPAdnrs+9/p2UsrJVJFVjtc8YqvnmXerPM+ytZYBMChC7xt2P7Lw7uNVBv77OeAxSzf3ba
44FT29BVGAyHZayvTDAButGu8WQsUvvLqM486esGnbBtH5lFsn8QB4PvLIK+YEwoXvEXmWyDQ21c
ZZO7Vui6kBPDXCs2Tga7WSNoFbRQHuOXxZZXIkeLkGdlNMA2AROQC9Swthp8WcR0t4lOdHZxjac/
lZHnrvl7vd0LLn2Ftbcv4MxEm54aKMAxNjbNni9s4+EuHLV+XWsC3o391PvRYcgZ6XERmMafm7rb
vIL0DZQtCawvhe5AiukpyJ1V22HJyd5FK5cB0lOHA6xxXn2g6aDO6bsa1N80CgE6EV6NTM92Ppgz
pWk7l+jlnoaGsnFtVvVnZXp76UMpSdN0x/r8RNTra5o6OG0b3FZ+CcJsqnmVNEonKyOlKAhPqXB2
wzD+5pp9De3kPIAzttk7Wzry1LIPWdQM657tliGZz1sYGVwjZ28ervXWwZdq7rHhLtMpvhtAe2HE
A+mIRoN10fSLYvzHtIBuazYhvTGYEhj3SEhY5axiLHIlPlbT0E+FS56ni8UkUM5XoGAdRQEiXemv
air+YCQmocKL4ob6NkRzl5Mk0E1cjV7yzs5qpWE7pXl9SjpEnx5+uHxmveD3GeiKBYmnKQ+Z3vUL
Gr31LNloUKBp0feAUdP2InTuE+1vUyChd6t176ZrHad3T0Kbq9IATbtYRIX9LsZ2neFeoBtaG9r0
ErB5sQDc5fB+F8otXGbf/rOR55dMd24py/TUg+uWTNNjiLruxCiGX33LK17Z9dFRxIXZ5lFM8dGI
xY9TYOP1KpY/yhk+y4J1JBCY91HGm6KX66LpHlPCFCCAbe3M8Ha4GXVVng1Hvimtuc0QFQv124Se
V/TZRzs2J10RnhhbqziHnYUjigkMh6JnEWAfB/U+6LXHpIlH5aWHtJ79hzp8MewwNdDSjC5DWfCI
qRdM61T4u6Qq0X+OBL8ESL3JrOIWiL6j1r4r78emCiAil1DX6l2HwhhHzcLVjbXJMMPvtc0Ydge0
7lavndmvMVBB0K+n//wx/JlKsBEQ1LV8IkQiXpoE0pbD+JxHPzVKgxJ5sWFxpYmXitrJtdVhVsno
aPTjMllb0l2LuDg6RLkHfXrQei5iDY9D6y+nwDloKY3W+Bg5r0R5K4A92kg/w449bW2TXtMzraqW
MjZuFrLk2mbYQpNl6N6KowZNWlIdKE8eXdZeVOjeRB+9CqtlKB5kG59c1qngRaxGOG3pLsUxzM/O
rvlhdaRJZ/VunOQFVtvWavRf1eY7s44vle4915RiEcR6vQ//tETb1Ox4KKX3/owak2qt2ysnmNA1
4QXARRXM0UarwGYYPQAN+Q0oPs3sPY9fRf5qj9fZezgMLO+hotnw1QK2XTXpflgKxph/Vcfy18TX
tvIPlcfXV3xM7nyYjJuEBhTNOeSf+Cd3+3WFVzgaT768ask3rbuj+wheXyfy0yyypt3+Ipx32e2S
2lxq6P5k/z5639lw7ripOrwIoJHlVzOnO9ofrh2ymsN416idWXhrwreWOXU2oSy4NjflLPdCVuXk
m1p8ut3bgNEWjPdimDDosc//9Oj1omPaoKmhbItJbmTFi5X4qRqzXd2++R25CcUty15L+9jnPZdX
iSmGEokEwVVs7ZwWhBmIisk8txnoMnziHf6aHOEFx1YxPoctWMb+gmtn2w06q/5TVNCdHAUWACNd
VRk6NmKCxoOi1pcGyEo/AGtDnlodX32Smnt8PKUxo/0ZS4/m2YuPTUKvSVHiiH9m/hjiz1E/h83V
kc1zbQ4IYC9mMpA0cSc/BSLrppywAGGXzflVpTGJASyDnKQ9uMKB4sfcv4qO7WS8+fh2WoFfRgML
YUHoDHY21XWtnHVg3u0Bfw5MP8kH9ZMOzMGMQWXBB23cdpgbRjqiBOa87pfV/yAGZGe+Y3u/zNFz
tzFA0xpSJFahjgCbcg6eCwkLIP1ZYuwzySoVJfd9ybyaDUUzcrxhu4qr9lgk1BKeuet9wCKMVIfq
r0AsG5i8uL3JSQV0HvHEoJc7LKhs9SDkoTd0cYyU9tLgUeWegZ+BehRBowCv2+VXLyQVPLtwniyK
pN2ZDeJqc1HNd27Nd6zkDyu9ZYCwtgz5CMWbHz4yxZHENQ4mfovH0m5eXPu9735U+4/jkPwXxj6I
3BTh2Ywn3OxLE6dJHQcGvIZFWi6bkUL+ddAiiW7b8RBWCQ8HZHoZ4X3FEjqJ7OAJMFIDVQWqIhEc
hKGvw3486ETiTnNYuN2jX3OPAADWUllrLu09kbjk2TyMEX+/9p4kAac0wiyYZnAPNsQzYJNeZb52
6C0YX9APR91akj4ppz9Z+3Mo6FM5mHuS8iCyPshsxZ2JHsDnbLxqOIdEna3gErIm+2d2gNGQt8rU
WI1996ywlD15HqpiJ2MyQ5VXNi/Q7NhKGEsLsqUOmc035sg+Ltiy+HJB0doxRI7BWaV58uohuPfg
0dns0mrGRYzcbKNndz2D/xFQ618lSV0R6Z8GQRayRWzmI9dk25mJz1L99PyEqQewLP0MUHt25QyC
9JcMbhfDnEGRsDyIjX3aAWtlHhiHdNWQe3CbFMZFZmiLxEkwwu+Y3xiMQC2W+QHSQGR465mG3uof
Y+6wtOCU882lRR0el9peOBRaYtM6UH0EWcDY4gVgNQesbOAka6Jqtwr6Z58g5IP0UrcVXQfDHQLO
JhTWMp6gRnZI4Qg/p9HVRUmZQY5HFT6jbVhMQ4eGnA/HkwN2yMAi2TH8SPT3GH+LNN/8xrtkwtja
/F3ZpLMA4mlwzFNO017ZbzUtIL3pymRvO5kd9GxWWsl8zaentGr2gd4fPXseR404OS+R9J87Ie4R
c9YcvZf/Sez6wux/Bx7C1P0J8CEjuRqLaNWRYty7LZD1UyBeqfwfIV76kRfLKfZF+IZgbps2xkKR
BDXW1rqdR47hTXns8AB0FNR4GsFOgKoT6w12B+WrD6pDX0xozgb33cWA4jivqAdQw2Y3N9RWhofm
PfiJ6ks/Qppvi0camRfXj15zv7uZGDErJB+9/mHVOsttbipe8aD+sUwfBZezEuOb4ilOvO9GPoJO
PFexv6QoIfkOvnw3Ld0w28UT6eH2rNxHrcCDkiUvpcvcPUUDRCitjjjI6m2yLOOlV+VY28pTb868
Tip9XEIuul6vMNYdPEZLbFkfitY6OCza6fEuXYREe4r79ayopnpDvI/gJSchoIJVJjVj7w4/k7Kf
w+k1SOUih+QU898iun31OQ2DcHr2sNc5NFkpXHeDoFVTsU3IMcQavwn2QDVTbnr4F2xRZnSZgUS4
jFCDQMTFnjWHd5Fc5kt9YQoSvFhZNpL/kN6c+yUDQmh2P8kcuYcTp6IqCNmd+54GjBXodlCT8nOs
KyKtmDSo6E1Zv4pllkjEOoQMnPO1JlbE9DGcVsVI21xay64n0NvojyRNLCF1UNfOlbGgfiAJi8ld
mBsrNTJBs6yPXiOWCGCIY+5DPryMQTSCEpfOdB54RrqchbkcqN2Ko3C4DSAO+c1H0uqPEUWNjk+3
CMY30TXLzG82BXduKDGrcLFYiolyBziW8LWFBpkhFO6TTtBEDT6N4YS7tTxQUOo29s8l3PLafdW1
DnSvzSXPd4MNF88Kdk2PYwySYWiyLARNQAS2Z6FIAyiUBO1R2N5GBek6gr7f1damcojwggwxwrQr
AGrodDnWFBCs5q6LGL3QQKHI8mBqelaC/orgCCJoMDB5JeKpkeBxa1m482FS7hRSANMa0agXWxLV
rt6odjLDk07MWGCwDmf2GwGjdoS2Bt+7q8mDb1gQFSy1HZ0R6FzEuP9SSzv2xLZ0/a8yUb1nLp6s
nzGFeVvgCSAwHHErt6/TMwGoIQgxfpeCh4lKGUdp9h60iLVjvgf+Ya/YQwdLLXa2PdlJdUbFFQfW
ecqbtTSJ6SnJUHXyLY7VZ/kfaeexG7mWrelXKdT4EE1vLvr2gAzvQxEhhTQhZFL03vPp++Np4CKP
SkgNelQmExl0e++1/vUbhKZR3D5gmEm3xwi1Yy8QcfMgh1gPWwy3ul2mqEtrIBy1H2dN1myyrl1G
IUaFfGESUgrBwvE3xOOhLptF5qbnGEmKrn3IuXGkq5pV1tlQMKrESkQok3UbZ3trNDbV+BRgSc1x
gcUj8iRfgzwfHtQeuWXg78voV2s++klPU53hikfEMaYgyYinMQYuUcVxwNc2wLSLA9iCcCmzkHAv
cLoySN5EA7t/9qbeH8AMvLlR4aAaNfPAzRdDRDYN4OKoQsUgj1s0rM3fgltYpZZCHglfUfka+I+T
xhI5Ksd9vlI1/gHq1qDp95SwdoN6XEJj7jOFTaBx4da47mk0UoAIxq8YLvXV0mgVQggljLYQh+GY
Bmd3GYNDesQjFq24gFyECd1DycilEj84GBwNP+++QWVAZ9cwjcNls/VDtq8XMTynA3r56uLJEyWZ
BIOyntcUMz6u4J41yUkvPjUSaOpqxD2ohlarV3sSVLjLkzzQb4rpcYoPHYCzdEGbKJ3aOpS8/QRR
6Tw0hB+mR/OWj0uzJpeuEJwWTRCsGuA4sDtEOxmpeuQvQ78JMQ3grcp4AXjEF1ONqcQdx3IxDyeE
uCpZNAxmwQpc+nmWjXwQFA6frjy6cLYy1X2yIpz/jXbVxi9us5Zqa+3RurVRepw0n3gU+wR2gOQv
8mo464Z69BHlR/GzwZeQ5951YCKPy+usQGcc8yWatEItKGxN4rncVDssT1a8WRwWCK4JQowmq3BP
8tSDwLFhMJszgbh8bBAmlx+JQCsPQpDojcdBs9Zx/iJjbK2BceD4bNh+j9A1lvdJpx+hBRl22T1E
pE6ZdUCiECznhNwLOAKOAcUcx9TpBxaZL85ZGjMPbribyAiJMfY38MKky9ZXTbBrh62KZ7BBZFKS
Av+89sGHHt4GLT0MUHC7WJ6KRSTnhEyOulNrx9HqobUclfZjaPSlgZlcRMKJHP4aPP/sl5OlUbKN
KMmxaFJbglzdjesFM70kCKjbh9ZFZOKHlZLqgYL2A/I+0MGGXQS0RjXwFUz1RQKdxYDyGPprmdID
wxQmHMsuo4onLsMLlaUyAJEMn+xUa21AHF3zK3I9FzzgMmkl0zK2dYMLyFyXTcg9jy5NbiBJzCWI
kBE8AuhucegtNBOgEFWLzsuoUsBwWUOjraavneXB08d7s7jWQnhM6I21jBHnWjUhv3qw+hNx1sNb
MnxtE3Kbo//Umw2dM8gnXxdxLTCkbEU7D90h7x/U6kmynnzc6Cr0Ud2488ieygUUZsNTQulitTLN
NxK6UjoHI4n39ecYUleUL4r/EKOrryJpBjFty+COAB1hJSSA8lRCOWl+g35OTHMRJsztGLh7r0bJ
aEUsjZMVERcIs3si2uYZYbqfTRqsShDL0RJmjXlRsHBhomSg6fIY2IMToDUtyJBK9rU/PrUlnvpo
VHu/2iSZCLdPXAxDuqU3Qzu7kjMYG7VyNevuqRIYvGvejg0HEhnKMEqkTENrR9mwyoEGY4a4splv
Ysr8XFcYm8f3DjICDJODICIPkuPHBgFurXnzgbSpgHl8Sh2Utp9thfC8PeIS7RIdYdACS8ymm2Jf
x6SRvwgAf+gixFInLCheiFrixFhBmQmCkU59c1Fu+9rOAIAh43WZwm4RqhDyI21sJs4UkuXCPN1g
Eg9VEXVL0i218qEVvSWecQq0U12zIdbgpHEUmKgld98jueXaFx9pA2GswiI1fFQIe8KGYlXq3oxY
bzuvOeFVLJ0DHkP0KBjItWBPtG40xxOnbj7k8EFhg0siTEzQSiS0AWXx5PerWF7p/UltsKywbmJo
LHt5Y0ZvFjO+CEmlRV5gGDx15gZe7gCu2vMVZNox5CjVcF1q4ebU1EQqGTYddgoR+mcx8+Fq0GeA
WukGbQHaLB2aaNa7UG/fZYBLkfZcV+/KAI4k09SMMYEPbxBnNcwyk8nmykPloh08SiOvIuYpgGWW
LMUCAj3mOobPYrPIp0lWcnhXjGrGv0IfA+Dhp4fGkJYt/M2YqN+RTl4158Bvh1CRseS/1CbO1n6R
HTQ4/Z7MoJA5RG9efdlbBxaAMx2Kl8JgaBT02/IpSvAN9br2aWTzyZK33v2cCEdqlW0aLBkJEDJj
kvuUk9ij2cS6rS+V/WgezZ6OBYtPD/d1VQfHAcupX7WeCSAgFcyaWENFGRyNvL/h6bLNqowCCmo2
cbiy/jwRpVMlWEsxpEfwBgM6g5xAIG+YzRFaWZwDTvaE4Woa/ZIo5Orh3sD/qFpkDBAIKcHJQfvM
JxO2SXYKQTlTPlE8BfJzYV5FlzDBKbCDcb58HJor+iHUNpjIuljdjP5KqinFpjrtpc6Qc3+EwGNt
gzzrkAjrjsjSNHnskBmNzE01JQFK7+YqNaQxoJvgjbl4x0fKm1jdE3MHd9nppeihlVBCgjRoH1b/
UfbTJ+JjvvJQJiLohsskT7tizjwTIO/EYv/GhAL+GgrzRl9ZDZmPImmfAwVwQBviqceEHE1s83C5
S8+Dhz1i/Ya0Oxu3aqCRHnUxMfkaUW2KMHFbCOeZ/NhHwXscNAtTZ3nR1JavBuxgkYGjC9Akk/pc
5e+sTyV4EBk9kYJYMOlq9VM13hvyoUDbh9i00555I4MNzUc+JaUzmoEtRjc0MY8ycmtDfDEtoplB
ly8Wpqrd8CbQPuBVP8cGKO/4BxrkcgBXQu4eFOnSFvVyIuiDYXcXmLuYbiDtYiSSQg8ngc0coW9h
gtW7hwFXzbRKdwKBuj7NUUTumkkJDa1fQnpUqA8NThGTLZABNq0iLLLwzCg6Vl1G3dhES+wM7Fa6
i4CtOn2gRLkrJlc3eKF4rcOrgmmI3KjzAuqgxGrguJ9nAggLlTWEezjnuFMew+KGMdsY8dkw1W5y
gFfxCpkfr4/XKj7L8HRS69SNT5P9aELc1midPHeR6fUqLfzFaGirQNd+laGAPi87xkCBEGix1Dhj
58i6XQvguXW67/moTPxuA+tlBK4pmHd1THU4fUnZCSarF5+Bdbpo8VMafJgCIQAfRqmxQLwVjUyE
30QVPjReQfSJEzAtbQBbOuiHJFdJF5++RNOeMrR4lglbAB5vbb1kNG4+rXqfgL4W8alQOphk2lqP
KRv0dJXJ+SKenN2lyDEb7C1SOjUcTtMpjjFBiKb06ky0njvLWIoJzhwEw1MpoQ1M90X76A2fAUM/
EpiwySCYA2RQVN8iA9Efnb9C3giukWhQPFInAhCgo+tvNNTFfr9wuSool01WzjrvHPrPiP8Yq1nr
ujH2lhvMRii8XpPOlLTl8l8z1mJQmvO8FxaK1S3ShMY7pvlFB0UeYZHqM4E4vkiOV2kpn8PqHtCs
5l1vD+wkmRAsi+6mSbj9fXZ4mDWG+dgJdzc/JMjTyZNhAqjMZXCqTGAEwdmP31pPchOsOhE3u4jc
B19v7nI8J9NhLrfpC7Ik3IrqfVXj6chnIw/VPHGNnTHo0IpoU+Oiwrcexnw08Alh9/quQE4MX6zo
WjPMC8Z3EYPBJnJnhSFPPZi2cJv6iBmZncf48UG4wCkg/GwGChk2dz9PEOmd6DbIqw6PQ6IhO9Yc
tccA1cc9I73VAlomfJH77k1jV8rBUhJOS3TJqvYyhMMzts4C/N3U8i4yBU5SvSUNOqmA1YfTjqbj
PFNajj4+h3h1lMlpxDBMbkD8DHzDPZJrondIkjJ7n2iOW6z1baP3FnhmOxXZSJi+u+NH329rrjQm
3qn1wazzKZF8H5K51ZVPRnbtmBeWRUc+UjmbhPkaToDatKJ5V6MizwdFB3XcjQGbNw4mLQVdhLc4
pkJGPdHhXj06m8koyID0k+hHWGAwc1BwNUwnOlQWPvOiTIMIPSw0z59YsxSoOBdMiB6Z2RH1Y47t
hQG1MxXfkBtTSYOndtZeTD/lkMyTrll3ek2Q484lnSbLyztV5lLJjEUH6XmoCNRDsOvy5q2mWXU+
k5WRwla9VuGJmEBC4rlQPCySwiC0tltZibUppWzlY2M+RSLFprQju2g2iC+qIrIJV9CpIUCmBfba
2JqmFelIxNxyMoa43EQovM0I0gW8jDupAbhgoDsbTp3WkRtwGqpykdAwpuS6RZgJZdhOi0ypUQ2q
yaJzIRH2WXeQsvg1HVvMPviHpHqDuPDZK6MJR6OELkS88iW4sZ6F97F26AKKGN3blgPaVnCXSM3J
5kuAcznTzZBZjg9Jd5Lr0TJ7kb8umavFiQ7Hx0ADG0cbRAtbEZUf/Ypx1kVhayVs425/TQf1oR3Z
ZKN2X4/dcxZbOiqxmMdWL9vMBOp2saKVF3kLRKEIYMa8/GlFaSOTPsxkRK9ZdCSrk1KxjXTeYxuX
La7w3gIbhKdeD16C2LjHCeQIV9NflZ4dMeqbW+rThcVVyC5l4DJSQe8e3E1rfJQEdJUq9A5RWrdq
itLdezSV+uZnwy4MCcNDyF4gWTN7BLNI5KKS4WwnrjQ8UUhSWeop7ise2s6oYEMeZTQGI+IH2W0c
fJvPndzOvdi/CdgpZJp0rCz5UybHYyJSHVyreJIMlPdsemWSrCK42GPeEfAE8onqd2iRMw7xJcdm
hq6C3sldipKwxHFtQTH5YA0JMzvaTD6TbSsxTMK4ba3pyiEI+5rBroHXQVi9BrIPc6EzuujoE8Th
iTBAkDygAKkDnhWmEdjPQ53BAy1IOLbkCPLHSKgUxoSVjxlWwigeYKNeKxq2opkPIudBSEUB99RU
HspbxlMDk6AS95CoFPYjdJh2oDAlOTdqoPSIPu4tpfeSakSC4pDhJFZC4mjBKegz44hU3LLzvZkK
8aprWcxWV45bZQA91D3S7PyefamP96GK1Dc3av4CuLQyRqgGxU3CTGVgyzc5sCM6kAG1bav32wxX
2VCA+WAyxizDh1Hvl/lIKezWZByquwmkSjJ4kGI4bwCaPHYWWB8dYGqPgYsuLCl559aozg35ggG9
3cqY0HvPiSk6ZQN4yEBEAcgqexXhUTFPBAId3FPXK05Ys+0F+LJ+wtoG9XlWk4uGqZIho+pg5oci
NGXAO2BGowCJVqVl6+rEClu3xUvBZ6iBmceXQvyQ5dem3MdRbNf625ReGuf+wu2IPQbNYpjl5s2m
c98HgCWzEAFRg2WVl1PLDXkxgwep5ByJ3gkqT50VlPggjdrELwKzx4cpYbxXEERZetnZ0uMHQqsi
jC40hu1DAH5zTjPir1CLmCB3uZziu4ahmNESFZssiafbim100XBOpytkYAAnOWeqh1+c6pgW40MC
qAxbCcwtzWmFKGzQTQSD2TluGhbxGK67DgDIwCQUhmYJ/aQgH5GdSSqLnV8H6czr8wPzxlsddWuC
pbZFpVQ7CTWUGDU7q4M2GmXJQw9IInfsjylTH9Fi0dWTlQqo30nBjQBGmHHsLViKlm7tZMN6r8DX
iobZYNjgPgOICS45MToYDyfzqBTxI+vecnwLlkTZHP9SAJgHN0eiPdBE0v0v2FSSxV8yoU6Yoose
fEULYwi0acPUH7iFtcxjPJKs6SxsrRtaUDvQ1Sd1APYNoLtX3bjEnhZiD39Sj+KeamDOfb2Oqkz2
E7YD09RCVxMaaBKrNBy/0nZcKWSn5q3Fv1G7nMb1S66Xi15nMthK4/4vU8gGj2kYA1Yv2kkI+1Ps
o//yCModc6/ybxMpx0o/m+CWsCqK7uyZkAhSVJewRvHBT/KFGtcn5ugVLJyWs4WMWMP7hYSUxvkJ
u3fH9za6uVGV13//63/9n//93v+X9yvjY4VZnP4rbZJTFqR19d//lsR//yv/f//3+uO//62zLSkS
yU26oYimZaiyzp+/vz4AZk5/+6/B95oYM1np5k0iCmdcMQ6VNgrkBL4PJ3f+P3/O+OfP+b7cijwo
8ZbPcAv17GovHPgIT+6Tf/7hp6Z/6uudyTKhV6ICmmZo8j9/qhXkqpIzJiwkpMzRlkNBYhLcqjvE
0mzLAnZxOZimuhC0e6CTsV5sIvNZqttlojdvXXT1iQT98zVpivnDRSn/vCjPxNimkzP5Bg/y2cgr
B5HpQiCoSEmm1rhcxVZxFlOrX0dV8qADiOYWISewE5SWCV3USsFJZ3KUhqbJaeKNkBNIIurYeWYa
RUZvMMQ0rcdIaBaaEh6jaHhr45wQJHeyT+1BrEjEQ6rkrZUSLT+SKxT+hLAyAJ01YrvCPHcRJP5S
zsW1KEuGLWDAhS0dyjlNmBcFNW2IrydkMHJ0Cx07YXdEgBejvq2BC0oq7MC3CMyEu2q6yWPFLjNX
GULB1XCESLo1GpMRuSSbvCI9iS3b6tGjG1QZldisxy5FnyQ84oBwFwOY/En90ZDZlfvQEMhWLqE9
QL4H/I+HsF+JiLO3YM6Y0tZu/kvxXOKrchWtPglqnmzCi1NJhQRH69t26VO55K61wI6NE8XCuM9a
S526Kyb6rKr48lIa2YiE3LqmQXNSB5Tajfxk5t2HEIGi1oJ1qxB3Fqp7HWph67bqRcM20PTyNTnU
CE6s5whHcwP69ahqb3pdHdohPapeF0KR7/aM7uY1yJes1cxJipOHq7EtVtBqtTZ9yGVMAwpJWU42
VYrSbyLeScyAPSwICcQbKfQEPJWV4iSMqLYqalrFgGlZLEQfPCTBcMroU7zWorM7SjtxHPZMf4B2
9cco9c+u1gWomIxVHQyPpawgkOvaV11r97qBTVguudZSGOpza8HSiCrcBJgZ8u2pWJTwF26qWy79
1txkOd6LsfJi+pAsmsB6aMpOmAmxerd6dWUk6sZtNLrCPloUFakyYdKXjGLorfQ6eg0jZWVWaeeY
8ujS8mi/khJlchzQeuCsRHYnoC4ecghSqs2YKEszafaD1x+ioPnUM/mShem89msD3HE4KBhO0evF
ryrpc+s67+FhWMMuhg7JpQmrIsEXtsmHLUfrZ6RUSNMEZKQye10+9CTG51fCCEnPlrx1WQCJJ4P4
1ovlOvP9S927Gz3nvE/QvSFMM2YVwAsH9S3sq/0Ywu8La/FEzA4GmWX4ZLnR2si6GZMArF0M9VHN
TRiaAp0NQvn3gXhPKMToKJS1D/VdL1pafTzF9GTfaAWRQcNVxLClw+LdxE1Ha3JMhuHNNpD+bEoF
RHvGpR+N1zgyiSIaUh0+KHEx2FJj1Ug+h6uAuvQFDGTJNE8m7EIAZh1mSf3oaRLMNXzB8I5IK6BT
y+XdukX9EovEgZUKtBTVfMhMQKjpHKQ1YLLuSrdoED60ol/2OIiijoe+IAyPSqzvYt1bS9FjiqtP
mzarsMSPKYQc6+iNIi263O8eu1QzsPqdvOoxBazqYi2ilqVKrFcVLj1bNwy3sRlMDi2JMHctsjMC
JOGaUK6tQjr30oRBSO2VvhwXB91l0pU/GbJFGkEEVcaYguqizrzpJJIPLtHDMmlLjpAneO/0zTWu
k2MV6VAI3AR8NKnSpZHADkusjuG5/lq7dKqtzCQ1zLA4Cs9tyXQrk1vFEevqQ7YagPGY8kVJa5OR
fo3lSFdTZoz1sajooAPo0cB+3aYWREQlbL9JSe1ujq+Cj9gOLbhdAYGYZUpeD0WmhEMWUCTeWRVf
Ya4mM02Rr1Rt0FnTW4tK1kC4Tv9xFFJMqlHR9vmwj+Ceo2ecwgS0bd3VT1EZfcR1xpag9yDLwYPC
sT6p0FeRp95bgjlQRoPmpAmG6ljS1q47xfWRTRuW9dIjtY/5TP+EEP494qvJUwXT8jbFWA0rGCev
tSc5yIYNUSHRKu1knUhI4SwX7IZFVa/pJQDjunXjQ3pKCn89oYQ9qmVDRd0ueTgphdJHZdS7AshQ
cuWzx3KoynZbdc0N3Skxzk28bKxyjbPl8xTiQ/2y7q12nqvhU8hPICd3MlwjWz0/lq03l+VhHck9
PqG4LoW9epFjBevfdCE06jaxiq3ZYxwoC3sEx+eQncBhIv6LxYqIrhqBB0idjHLojPIA4FTUdNGk
pl6RVrQYRgV7SwP1bZVDOJENFBY7HEOcZ5st3BOGNPrkxth1xBEOhyb2T2UVKXOyX7FnpyOdTGcq
79zG3Vau25UY5ze0bFj3QAXGh0xkpcbJHW7UFtsfF/0sA3f011APAzRDTc5WaBFMLWYSwIPIWB3f
NGjATbzQrfbdMlrIVgXpFbgJDT0MPEXJV5k4urM2h34ge9klUULscoVzW493Nc6fqI3R3WI5MUOV
dKwk8BexZ/gUc7S3lfyABJJJH4MVqw33MrkSCIXnQMy/AoxqWj1aWZG1Fjx8fUlzwkPk0XTjWzQa
uzTjlcuwWKQMDekoxDuDb1jo1U3Y0Q4zuAxykryN5CgybNWQcKSt9djL2auiNy+hJ38YIWHheMVU
kPn/vmMXkIv8og2TNcfFGrqNzNmfay5J+6HkUv9ZckV4yedN4lF5ME4mEOshW6qnGkaDiNDDoW2G
r/WGI1mPwmT75982pnLuP2pQRVSkqcwWJfFLuetiP2/UgznemBgvus023G8fFTuz795K2b0Z9qNx
emQs7Yw2GgR79mg6q/0imGe2sLgPe8T2K6BnB5mHk2+Nw3p3cOJNaNv5nGn3clfPY3uHReAcrN/Z
PQPUr0rnUz98Dk5I6d79UL1aU8X8p7uZitvfe4XB1JJWCLvbdq86C89OnPX6WJ+u63W9Mk/onZbh
bG13p+UvSAJ28gu+wRHMVrTX+NU47zvh7EMBs2N7uba5t8t1XF3x76E3dtT1chedcnvTLjcguS/d
Kph1W3eOehyT1nKxrXdwOK71InS82copnYOw3DjxnrFlbX9sxbO/O3vYRfxwy9r0cfznLSt0D4qo
mqoxfVy/3XIk+r4aqtwygtx4hyV8Pbsz6CfTwm7o58/9bBFs37LzNZw9PMRvNKLN/B2mP875uydp
s3t+8g9kqD+aRxhCzi5bz+vlZXWeLvrCek/tj49q0/xw1ZL1w1V/aerKssr8JOeqy9m9eN0ru7Vd
20tAfNs7OfLs4i1mP3zpkvTtTxoUFjKTbVOdLum3B9VqVYGVZy7dsDA0jsPrSIBh48DbA8y++nNr
9+eV9f2qVv7n97Spr/3t92KUYnoQ6+ItONCxi4zO3tXRSV6NhX4SiZYVSOKGcYt1HpzWn57vtwtB
NVRLl0VRspQvW0ofqqKVSNxseSf0Rx2ZZjryiYhl8T651y7Bb9PlTzf83afIRiJLmm7olvJ1LxnY
V5mzW/q1iVSiNEGaiOXEgEcFpg2uSdiBqsg7eBL7vpGXecm4kw6AjtEho3yOtaWhFDY74Uq1TnQo
mBjCiqdMsPwUKlw30ygI5eIGK8KW1RayCrFGw0tP8F6B67qkl6sq0tDO71IUCXHXrDK4aumE5LnZ
VU0SEkfyldZxwg5wlfExtTVV39Kn+px3LYFNsLlh3ashk5b8YIjXNnmJkmeZVg0UYyPJ41yWCOeS
jZ0g4HwGK9mAz+BRGuZdSOLSh0wwRmsuTFoJYhj+xuDrIVtBIUGNTowO6CRK6UVUXI0GihwalGEj
icfCuKXDe5hum/StG+4JYtghPLRMmVJmwqmVbMaoWxLZ7KQgfC0kAYs0hzI8kvuT1QYGkT6ErMbR
4o9Gbp/LyeOWMlJOtZ3bpkQDaYuh2eKXZIo3qIEPiQTVQaUtROuWm/GswCE0Uj+w3jUIQbJkj+p6
KXrU1NYhjZM5/kiaxtiKQY93StJx3gHPyu4wN0TEcQq+KQGxe1k898Rmg+fRrNF4ZKABfrhnQKEG
awusyu0+YgY1AZAyETJApMM2C68+Q2hofMuwO9MKExbbzX/4Lr9b+KosT/iRrpmG+OVQcHNF6skq
l27mflxkG1U9uB/iHVanCbgR4wg5+/MPyt/hOqqm6Hw97Mmi/GXlN307JInP5ibvoUXZDadlZr/o
zjWw1729zFcnTHaf5vPNpbPj/dlf/rTVfXeoU5jrpizK3LM+PZHftp7OqHKxhyB/Cykky2IKlsmB
I0h9ymPGTD7jJvFU6fJqLFy47OJaNZrHQMkPf34Q326Bv1/HtEv9dh2+0Gl6k/nSjWUqYp/tWVej
eM7HU8IiIXmRFotAiRetgxSMkjoenpnQzPzspwrru9Pm9+v4gmnBHGGugGXqTdxE8arYtKv8cxrb
QRz+aRP86dF/2XgLEYdjYh2km0v9hqb9WD3AYEr26XbYSY9ICaxn7acv/Nsa4Pf7+1IDFE0Dg6oW
2tsd17mDcu8XGU5MO0GaYfs3NiTfznNwksfgFcCwJz7vKjq+stPUOciYXdgv6+t6uYzAoWyobBj1
XnQ7RCFk4r5HRrvDAJMjUoQcAE98Zr6b9kZ9rwtntzn/sHa+RXt/v5UvhYGWNnUp9LwqpDvr9gg9
wjoMx2bGu0Lx9efv8++F+LV20vg1yzANSdetL8Vv5SdNOIyKdlUVgazFdF2SA4gYkQlqcmm6q+Ah
Hie3xkA/2k7MoDqY1T2qRR2rSM5WWSaV75eGiaRV/HBt38GwmmEonOCmqcnal2oF0VAt5i3YMKR2
qpQTdC/xfYpOWf35GSjfVQq6jLe8osiyjJPAP9doLeel15rucFNsSkbpPjj38j67HyX72lM/S579
0D0Hznye2w4OFdvLrTo5q+3jny9Dn9bF11ehK7Iia7JuWZL65TKSqkTsI4z9DRVIKByxku1nOe6k
RJLao/pIroiOpPOQoBl3dGnVXr2tKy/ldgfgdbza62rR3KvMfnaP8cHYwMhfQ0o6xhsNLeylPfdL
FSzPJlYXS9HoQ1c/c0Q0pxu595TqzBEu0v61SxaQZv3t5eLNXBqUP9+i9O2TBunXJVmlXv97t/xt
Nxzjpu58U5avBuHDfuI+6qI8Q26oSHiN60SDYRNf1wODd+JUpXRbMY798yV8/7INRdN0EANLM79s
FBYevkEo++MtRVCoQQkFFrxO8sQ76nI8Efs7dLHyGb/TW+f9YhJsvbSfIGZQcEfcAvSz9mKdcVSg
I2W4CV7eqWsV5sEzNPI/X6r53SHKzOd/LvXLRjAQqz6YaARoTNUlthDzfK1vmkfjPszbXXLAut1d
dnOogJt6hwzzY5jj1R3byYGyZsNEepE9lNdhnvG/kd8osATst4W0SB7Eue4Mr9JsvV4yYljm89OT
dn5SNqRKrmtssjcCk+NZffBXw+xAKvLctTXnVUW2Y0vzao2C1nvGIR67hW4dPGPTs2sfigWmufYP
S1P7bg/QcWuTTUtUdNmazprfPhhJB4zEIUG+RiGhyAKojP9pKvpOD7pNhWKzGHCrtYgbD8dTm2OT
UlZzyb+G1KsuaiDBK7YTJKiE4sr0Py2lnbu4FqRWRNOKs6N+nia/vUEqn8adRbeJ0N0S6ag0DMAL
A4aJAQ4XbTzlFyiR3XRPlnpV5GjhgfDqFr4aD1IBX+WzCbv55EtSaA+BirO3atoCPKE+fMTVx4mD
VYbFH65HevuR88tmsv/zx/JtxWXImmhN40L+48uTimK/qXWZ3VKzy5nswKnbJEt/Ic3GRb5L1+2J
6AHrEOzylbezzpBMyA64+Bs0Tftg0fzw3uRpFX3dyxgWUfgpMq9PnPa6396b2ClDIbQh0PQBXNEh
amkNv3JTnWFYzq0FlOmFuxaWTBAOw85cUPFsmyuqtR+eyrfll2HouqJLhiTytfzzOhocfQkNAVci
glvDLNtEnrJS5wD7zziYYzJB4OmIQ+sKadlPv/3dZmfKJI1bPAHOxy/PAEJehC9UqpwUNvBkXmzw
aFu8Kxt3mzrR5c+v/+9u9usDN+k8pWmIqnJk/vNGy7JvsWZIlFO/EF/JiojlmQXo+TJydtolRmgI
9D5IO4c/8G5NW4b+GMI3QDkozhWSEKHzuJt0UrPB27V7zJFaUFY7O5ag56vI/uFyv1vXnOm0JOzB
qiF/eTbE7+pFIrVsbehTKv0pqlDGipI6K8oKWDPh42SdRoZFxGawjAz9YlXyVlIujAkwL30ms3kA
0taZlzLThyJTzFPA50I3HuVs3vvazcL/hxiOc9DI5AqaJaxLPGQrBhBGA/vC8tEoeeLCbNW3BtaG
3RB4JSr1Xam9259v1vj2Q/jtZr8cOXqqmJRO3Gy12e+bxxeoR1DYnGIzxVzPqgNcjqObLQVbZDOv
CgdK4aK84pb2INkNACOxFECPyuFXyuTXUc44ttlsJt6SqTxDwVftBhoHIse9RXivvG0SCK62vMqd
m/HKnyFd3df7jRc7tbNafaJ7/vGF/v3C/uP7++0ev3x/gWj0tek2/e0ub/YLZYYiYPkQLA2HVzqb
A3sO9uoTKRKAZ7H6oXJSvuNHmJqFLEBjxKfqX34cBojpR4xJbqSENM523/szML90ts4crmA372bz
G2XRE8amVHGvl3NjW9cfXvJ3O97v1/ClkMbJrhvZg0Vyh1aPkF7tDl4S2XXXdHdH/i8oD/u7cYdR
4nQPx9FeJ0tIMVj+XJ+q2a6d79QLEvWdqNi/0H5iZaZjSeVz4q5Uwf4luM6vtXSwd6PzrDgH3iSm
W5eWd+vkD6/dhf8y8Jo/vaOIpZq+//QWHctW+fipX1B+us1pYf+2sReRkUDV4FFj9mMDyhvOnZJ5
sTi+HcPZhCfDf3C60H5QZ0uUTro9bx8PTjq/rLzZp7/8yOZ/fu7f7vCmbqmioeoqeMOXxVX4xcgG
n1PPRS8twzx3kDcJ0r1SimZy8pRSzxRaOK9Ld6aIwyphmB+Wj3pBLODw47b2XZdt0q5YtCuagpf3
P5+OJwC0SBZOLeWsmN/vCxau9wshPIaxbDX6HBDMwqZxFX7W1PAs4ldndVkZJ2tmIAp1YClmV6qZ
0NGaeSwsP5TTR/38wwP7Dgv6/Rq/PLA0M+EuSToOhBjA4PQ/s/oO4mL6fzk7zx3llXRtHxGSM/bf
cjY5NTR/UEcTjY3BNhz9d7m/vWdov6iRtlaY0dKacWFXPfWEO3hn+S0n28GgRS5aywKHug38gr+f
/jAxuH96c/+0jYN+a6lXilu69S+7t6UnCy88dciox9BZhNXTqDJF3w2CESTIz7+frz769Rbdb+yY
ZMukE/v7C4H2OsuIdtZqRi5tgWTjbMaaH3N6kBaWwmQoTxGrOn7pMF/60KlB6pyFOW2PLt185ZPx
IghefRsHWwU5iVO26a6P9vlZ/iTX2VoznP53mRiL/V7mprhCeTkmyuzqrq3oqgnttYgQe0S8lG0z
ur7D5Hl2th+OByyN1jVuzYTyduPd4LZ3tHatkzLTDu6ta4mtg1kU3JmJski/LvbfX+Jh58EiU7FM
k+Te+EFh3UWSMk+T1VmXrzNoLS9tsUi6zsAbi5vvK4vXlYgmzpMH1oev8U5pBkrcE6qskpY1Dude
O+etG1CC2dFti8SBOVyKg0/MDYHIYO0kVt7ZNRfk8APUkIaf+nQn2tNn48ZHmZqCby2ALeYwmiE1
zp9ZZudUMfndnUUvnK7CDUWZcxEvveVGDEI/9De2T6dBtS9h3558tp2T9394EfcraHzn07llrHTI
sihc2OcFhMhD//JWG8Ohx9KyEWWukHE6CAavcU93t/1WtO2cMZ+T7epoFzoQJ9AYTwKDrD3Y8kDV
TENDbMYiO2tcoLetdQR2mxvTXLu4ialBm6YavcgIg2EdieL+KZU7yin1Vwh+JCmITHDHxmZaqZ+J
oUbp+tK7wAlVD2u3QpUXtV3kbPhPcjv11gKCj8zTrWY37frajo8NH/lSqK6VwhRJXjblUDoz2kaA
vQXLXKZPchE6nq9I82S4vuhC1jo6LKCz1RI7jXISXa3WcbotqjfKDsY4M43rvtgOsi0TFoalyBiC
PYATzAAGWHeKyK/1lrYG1zg6lCoosHeEqlQNqmWLpkurFiiy4fe4lrT38xtep3E9qMQJi3tjBSym
aCFNjqpFvoENbnmQBcTJ/GrTT93tp+BKGYzsnY0OjxFmxG0/1rWv2ICTUn7c9NI+IxlxXAH8OZSO
lkIWxRal+rhdulLSAbcH4xcuz+1thcrIFTbZFoLKEe3dyyqyDBCYqMXoJcqKtKiNAirdLfNULKev
fILTqnPeG4xnajEYgDRXADVm0aX2O1+Xh2wGK39/+Fhr4xKW1rm8uDGcgnVS9qsCBCFathauIPBC
5CQ05G9jo7gJcogqsOMCzZq/t/6D+/nXHmvcPpcyO6pKtpZm7URyJXl5bvfa2MMfjLN9TGHAtT+S
q//3Ix8lp7+e2Whjni9r0NMXTls1kGrKilh9tSYl8Oarx5hvcMJSCw0kW4lKXCY8A1NiezVFLrmX
BLco/ZY+rNG+n3kA4Iwnb+NRz+B+aT9LvwvBpx0G5+0NS+v0BsYbQzA7mxVBXWxYtv/h+24URdyM
bOZ5UIrYefn71egPGly0XbluyNolXdIbtxyiMOC8rayavVzt0tUX+OZ94xpBQx6hI4+m/M0Dfmff
uqZfvsleb+r789ebnb5B6MvqpPmVzmXk+t2u+3YNZVdbO3k4vwGziKLvUecZ0OBR8vtrvY0bRD9h
X3VDQI5GMWg/eKdaD2p2VLFKuE221ZFFaDqrcL0WLff0Tj4DcqyrOfVQX/LSfvGCCCOdQ7cU22cT
L/XR3r5/mY17hQ5YfEL8tpo5TNowoHJuXe0FJOhNQJGxMdJ1cHp3dyEMs7Y/m4yQeXW+r2IyOYlZ
a1j0QLnbBw91CzF6MoxrP/7OFuNHxdRU7actfLfPjjtsmKzkXAEoh7fuLaBAht7aHmzccHDrDhY9
ZjYvumA26Q12bii+htrQ93Lb82ClOavlonJ6urcb88OUqDVZvr8jEAMeB0SgEBv7ZitrxxTQMdBB
2Y+Rl0OQ/Q2+mzOJvi1nNOo8S14evmvMeQzGBqYMeP13erY1j8gHV/wgDHBOnrVvDfdJzS+FMRDr
MvIUFkJz7crPrtaTtEmtL+dmFkNt8Z9HN/Yg8LfNBQWt2+wS5S5jrkVv6e06HvrTi/dchBv/NtqE
274hXq+Luly8OoCRbMasIzW8jv8+wI+q/rrQ+c9iGnsO0LaOIglV/8vlah/Ektb5cpB6oaD66x7C
i+Maqv0aTZ42hpUHDaRfT27kMCUASWmHXucsKwA1MI/PLnSkT9AtYiiT28NIktFUImhu4GJrrS+r
VdiphIbhR1xeohX47ZUlzL3ly/gtwX1JQXe/Z2cFBxB4WjISimu/vSMxpMOfJfvo7xf3aBCi0KcF
niJTg1jN/B5WTaIkSMHOlPW5JrfZQEqEKV/8EnWoc9aN5fB2fIOJu5PeMgAPfz/+pyj+ZxPdPb6x
iQ5Jke4kpQ68Et0mDK5shMYwWbfjcTxuifdKQJANLRekrb0ZxeTG/gcjz7fZzpmdxOvrxXlFZBX9
K/vgSHSaShF0ngQN4+EXvltjY29lRp6ZW72qZjCKxELznaWlft283il8l6fLVVQjCgpnscZP0YGX
zM5bpq+DvBdWnXB4CmqQcc49lgRzAHjVN62yt1Tk07drYcf2W1I51rd7imaoPXRsu5/0SbaRKXVH
pXjySx7VVb8+dmOvnjeqApN1AxYh1BeoVXVOoKnfD+EBGQtNbN6ffNzHL45NJcn0IJRmRyRuHUzr
kp6qWXVad7eJKAHSa6CT+YumLmJJ+NZgFCJae1wY8xwR+ryTtlCzOB29ndZGomeNQtNp3dm/Wqru
tBL0Ik5Q47IAPpIjI/h426zeknK1UDSUTknYMNyCzt+qQjD9tc0y2FMafvMTH4gqeU4C4BwPnYMU
R9kc+YMTxNEYDQUaXrc+TPO/f//DoFQ3hDRZNlFE+5kp3d026412hleU3GooAMC/ouD6y2wsdCle
RNv9MMBkiZVIx3SfvWsH+4Sjvc7E6O9l/AwSm2fMZHhd9+SZgTTLzWSL1ejJaO0pNw+CLOby0lP8
o2smUeqgDLukb4Yjb8Y8W3jtYLpPBJMjsfr8it3xYXnsjcfYop06X+kc2iATI2dj08ukmpi/xtP5
rgu8zBJd11bdCfqtogRv2gmuAr0uO9oGEf8Qhr0dRAHuEqitztA+8CetEGDj3n6yw5VH9+H9b22c
VRV/htUxpatS2i/IGNrY4lFGDRIHrScRhmOGrEITc1Pokcxk+uhEiNzW7UP375f+aLqr3C+kcdTU
bHO4XMuSudNJHMTixrhzUDejw6mJED8z8l6NiB3zIk1R29suiAVRkNjfpn17fdYOfJhfW3T8FJyc
JBoqjelTjuvY5ZZtDzPIXPioAi7YTs/doksXpzuFuiF4ManrswXCBMLMi2xH0eRZd/xRh1SxdJk5
lFKDC37C09152Ft5ATnE2s/0QAbpanRXQwn7yHnSOXIe3lZ9a4o0guT9/Ske5Xx1J5RGm8WwX2uU
WkoGYfKgcgovdTlP5Xk7tTySpQvGcpjDPzn0er3DGqeN36bJkmYpkCSbgLNtdmoX6wKPuZdewb4b
AN7YdabIGzo71+rk9nvuk26iWCn0YO/kvUHYdZVOtHF+zsXs6BkBqGaQzZRak7PNn9HRm2BQSj6c
cpL+fjkPzsuv1TagHhkK+1mcV9IsodrBrNOcXhxrY+9nzw7ED3blr/ei/M5UlbV1OqplzGdwzTcm
fgVdrrnvuv16DvQ9OTInQOCst3pSWsr1QWs+l3Sfb6FTlEg/3Z67TZeeabQm6kGakeyfHeg7heiB
sLrALHLpc9gEgL9f6aM6W71/YiOnyS/0fFWJJx5IC3R+VRJeXCj9geFTqBGUAFk6LMEQOE0DsE7E
B/fA1Un7kjP7/nsx8oM7GDKBpdLhU1Tk8RqLUXJll1dxcp3BJ9j1e7vO1oPyPDSmH35hu7cZ6JqV
HTx56KMzAIKJmbNqtalMGrtK21qagZLqdQbi8iicXjkeb75436sOCuXO+tl8u/4N/3ziu8c1ttYt
U/KifU6vs038fbm9IT4jTA1DR6N8OSfHIM+Xe70W6jKjWh3HKDe96wlexQHZr79/+KOmPpk0dQiQ
AxqqVn3c7jbbrsBiVQOPDG9VbLa2PNEXOxzw7GIoBwhEoKzcRuhS2vryGBs+wBrASYTUybGn2Ylr
WIyl+WWYGgDdoMP7wD9ksNTh34t8tCXuFvkPFKEVX1cmXX2gCC/Sd9Y3v1I0+gBFvBx9PO+hTZIX
2cdzaAabgdTP538//hGp+dfjG5vDvCLxsU325UzrdRYXd+Bltjfe9cbmFC8Lf+2Eu1GId3hHHQvh
wlsTG89ORtHIcgLQ5fvC/Xx6PdYbpLGBfi2psYGyeGPiecySriMNzR+719NcEbZxFPFW3ofol05/
YtOn+Pz7VTyqHTXOhwaVvs6PpeZ2MVdperIAJ199XPMEEaqXMYPaT2KxCsdDWDDm5BUWiEJcoBw4
dp4toH7X//xwQ7dUlYdDOGqkS22kRnb4WcLRKWjWMKjee9Ov8XYOziqy127QGgYd3fn7V6sP+uv8
6v8+tJEalflxpwP2LGeZqxMeSne5PE+RTmNSL3ogsyHH+ElHHLrd16Pu9gHECLoGwLP9z+BJvvgI
4vprLXXycHdgj9Zaae32rIXuTm/l694mWtELXXWuT2Lio2Lg15MaacguwSLwVNSvule6A5A/JKSx
mI79D+FK3mYY2QymR5/qk9P+KPX79dzGHjOBlyVXLFtm5mxx/UZHwyYjqelYPmhSo/sx1wa0aPp9
bKPFevl9eTboBAn39yYzG8mneZFKvLY5XaAHkRwdSFEbcxSRGw46M4zbwiVCVTRZ+fqHq2AA1/Ny
Mch6e8frOSb/Kz586nR6+QtdOE8PmM2dY8F8vxJe72pvvjv1qfHWjuUiS4Me2fhr0zt1buS0x7ar
fM6L6NAl6Y/5W3fffx0eF65v+UyT7G7brQTMs1jsnfcWW7G3e+EUHsW74tJ18EFdfqijOQ6g7pt8
cFIxi2JnAnzbI1n/hjyXbF3ne1L4rj0HVocKRm+ed+dkz6kfOxunc4GBWc/UaOlPRp+QgE/Prpz6
+/1xhM1GOM1KebuR6n3VW+A7QI8J9yiyDNQyDi7Oje44mW/8uhc8bLvDGjmseYk7w4+XhislWh8h
HKF0pDntyafMsgd5wP3eMxtxtdxX1iZOE3mWI2sNeIvUx9cRqLc302IZrT7yQQoLa9J+EmGUJxHG
bHRFz2W5b8d4YXGqYd95Cw/jaXbLF9tm6KJnGXY5bcEnip3PTvmDbPPXL9Z+xxNovLKUxzxZFeqg
jm6yt1zb0/q4HWhkSSFzAxD7/XwwGWXB6OVJaH1Q6/x6fDOe71atzUapg0xcOh2qPASwhBSdujSl
dh3eQWdH7T6czy+0qV9tXOQFyuigHFaDVPQVZt1l8CzGPhpW/FpUI94fTxjJnup436lPloeawLvc
wbVEJIMQJNnHHLs9Gl8RIqKTYAZvP3iLaORx38ZPco9HoI9fS2mE+wIZqOO5PiwanX7n3O15bc8L
V7Axq3FXtEZ90nFaxObzHIPL9MlBbVwAZ6vKj1b9bRgiLBZEhuP8paNFmRjsnenaG+tjAtH4fcDk
YNprEdoKr9dTQQege/uKC5hH80BPxJR/6QsVQW0Yu+duaL6A4SKSS6GYt0Y3ey+UAVWVu3eJ52XA
EdftfWAnX6Otv+3FHhO0jROMjHHLwccDCNzF/uQD8GciRD+KttF32emMzGfTgieZhtm4hg4tyNwK
cvI0ZvSLABW37L0Xk+luND1GoL91l+ZojUOSvFeUrgQ+hAD/S+E8w5Y82wJW4zbao7Pw/1Oeq8+g
p1d0adkOKNRrEvKq6w9fCxepjD7NLO7jp5O7R/32+x1oNcL16pYdrlfjKM/WYcsCg5cYPhhTJURT
pnSM+alW/HT/jgo//JQ/rogfpvZ9kgP0dV9YBCVdXEfFR12TSWQCiv2eeHuHn81fcmd6Iu0MYf72
+4oDiBORGHaP4p1eunOVYlGCl12IL1rGYyWcX7zXbV+PXNsOnNGGXddrdY2r8yRBlet4+dfSG5Hc
TC7l+QZUYFaL2uVabViN3fXu6rSt7hZ+aYFj2kuRviEfaSdXhFfSD0PeP9m8T/dMI6qvaBNtEpPN
m8gw41T0cl+2hqMwGdZft8p3dh231Nd9tkQZMk5nlR6UUg8ej5MnPfx4kZeUEdNBhE+0ccJCT6oW
ZlOz5d+f+RGO6dfWagT/Lc32yqozPWTuEBCghhlQOoRDV46Ia8RWR3eePPJJTGuC2BA9yY7HhEe2
gpcF5TQ6q/S464h67qyd8Vfb7brY0QnI1bO6ghs92R/PstsmawwDxRT5SRbg9DxyDCdcs4khihH2
CIorT3S7B4fENkrsy/xzpH4a42cj2B/Rs7/2aCOwZ5idbSyzfgkdyEMcriXtHezH7LZ765MVDhPh
nkTd3GWiE78HGbH/yXeoj8FfS2hE19vZlG5lXcepYrHrL3NBNjxVg/Bn/kl5EaXRJPVJ7v9+7qMu
ty4ZmomKJ/QKMFO/0x3rZhTJXq4RNs6lX398nC1c0EHOxs1s2NHTi5/1zOE52HfIuK+O4mgBrY1I
C7YjtPswsWBrWOHfq3o0BIB5YrTpvkKtAkH4e1VGdmoleSXfAL/ClEH6B1wZ8/CgHE93btWpgcFM
X7rzfuH2LyGG1l+T005MnCfJ4E+bq/FV4Hu0JTBkcltSjMaBXF3Nc9yq1O3s5exYk02/cNLw1EX9
iz4g9S64CNWhH9iDkmFXAUQUYI6IcgpjuLPP4uPQxYjHvjLotEEQC9O7hvug6KNx7O6cnbdhX6c2
zdNnX/WHkvzXuhtftVox0otb8pb3V+PHEQLGlBbqdB1VCscS7C+8ufkDdzyuMLpUzjvQxY2NxiY9
ze7wqxBdgwL+R70jWzClrdOLs/tztcd2zembfEMKWAtQEe2nd7z2ICwZarutSbqsmrr6w4O4u/Bu
q/3hTFP7Rv6vi0X2Uji99mJZrMS7QSUEaHDdpf0+R5gdkVSxer0JMxwiNGKC9jXZoJv9oMo8mGZQ
EIEtXCczJnQO4IFr59t50oJ4NDD4tdjGFRfvquyACdqOs6v4hcdd2grgkrklOAYEEPyTc3QLkEgo
S1Ekx3DmsNBhnoxxKRQSe7x2xHBIMxl0AVZg0BxO7rGr1tiLvdiFh7Cell/BTCEitPZxmFk8BV88
KEF//YLG9Xi7GXtlp1UAD3s/ReiyA6K67mf1loOx8iq9Dg0WBEDvZTOsk1E+/7PKpz5K/2xZWtxt
JAVAKEiNLdtGxVbaHpi6bE5b/Bb2XfVa4bOSPpkmKHXo+Os5jQLiiC+M2d6CqzdnmJ1QQyynCPBQ
X8MNKqM6gXVjO2iRua5cnXr/SWR70EphkmXBxWSYW4so/I5s27NyVnZHvZyuD56JwvBWGe+Bd+5i
OKFnMH3IY+0vvdYevBeyXdb8dJkoZh/2kiNXLT9D4y5GMxj1XbExN0/SzEdV9/3ifnptd6dOwfQJ
mDVdf5TP4DbZNaB+4K88lK3mh/Bmg2vgwyuEZGLt3y/m0Yk3IV7AsEPevAaN/34xVro7W4f2aj1j
tLmEToFRSLH2dwG03VuLsesuoq0YftW1Ly1VXLLsvLsZyrZdjGeTnYcL3lpo3T5i57E9m0w2O3sd
bZD7gB8p9PDl79U+CrCs1kSgRDbh4/1kvXdvyricjPK4KsrpyVP8fYi8E41XDCWjC3QzH7sUL2Vq
6KZeMVVcydVcTKECWlWj1iwOLx6Ce16brykAboYYJHHIj6Hu86MqF6Znn4wniGFi+esvOG3B2kdC
0Eeoc264+C4GJ89wi/TpyPvRhM+UTJl0gM2pI+3z+xvgwqVbN7QlZwZSG9fv9dDA2u/mYhwAfGcV
JN9wwjGD2lNe3MD/Bjvnu/UkmD4I/GbNa9FUs622mbL9XsLhIltJlVzXM/WE//dVsc10nJ1r6sIB
iXf9yXFs14GtEQ0A3cEa5GFIFvz09+++Y3ErYqu4nsrp0cVj2MeMwD8vrpESpSFgdsNPwjQ0fdWL
gziQHZ0MVYHwrLl7L/Pl94MP5t7f+Keg/rsRrsIqqIL672aI1Lt78a58ZuSCmILoNpbh/LfVoPqW
PBjIfstfLfLh0TmNUl8KymDvb30rbIdZcKVZ4D/D6huPfisoHpngI9U00kaKuSlam9JE/G+a1v5b
55WvpoevS57304MxX2d4N7Cfk4p5vpVgn3gZl8cr8popVq35JG7Hb/oOg9O8zT/IbhiFnwB44ivU
rlI8G2gMATtLN9fx3uwfkthR0OpOUmDAe0yS25/mEVtYA+27vEQi/ltHTNM6F46hn6J2CynaXcmR
Tz4q5coQ4UTqmbwqR5zA0MM8H6CBcYMWc+X8bqxTBDdbfS1T3lKI9Nv4Gm6tlQctZHwq19N2/p5f
TghTfyqa7MZA9c7a/BLLTzbOoxExecl/XmazJX47aWem0nE8u9jrcLH/gEGKRt8mmsYk0KhkC6wI
YhccDqyQvSi9i1OBUQoQ7kG1CPrDBYMJYizTVO/v0PQoGzHh3aDJpcFK0n7GGHdb+rralJqCKeJM
naCZBGf6EKmdeITtHHwQgTDmsk1HWY1FOo97CA2FR3yF6CsqoTmBwh8Zk4Mvd9aeOfz6AlgWMklC
Uys4elXvNNtHyOjmdv5err3q2JOHa1QL5tZw7f/9K36QJM2DyVwNPr4ExQrl4d9xoDisdtessKop
g2icILLxrZJFktyCVVnNDZQDDas2jtHtq4SJbnZ6UoH8gAr+eb6KuJluKarMd/79fGu9WuEosWpN
9QFh0D6qXrXuZjP07OwzLBB5CCXUfE0n7UBWam2PpAM9X0YDAaficnGz8T/HqNxWI5NxBpJawzQ6
AH7f0Sy/BuV7iToK6IVU3CZPXtyjAAoD6n8X3kSvZKtbu73JLRYuduPSVUYtEuS8FB+yTRSKIqPz
DJMtP4IF/ZBtNJRfJB7duDfMVUvf7G5Fa+r0aA8DIAZkT2oFfXfNJJZ/pvlXu+dcXNJ4z2NcTNEx
NKKFA2XRjt4sP2JICXWrt+wNEEcMkcxPB2EIc2DtnOYrgPCnABuvvkWFMnS7fdnWvL7bnXfnLjW5
aX/bb5MAlI2DU5Zz3jGPJ9MHTMrc0aYdLbtSN4oC23mKLK2ztX92CSyj//3hjcw/ux1OKeaz+VDj
3mjRMRppcB7T1D5X0bZ6ciYeJB06+gcW2CulVjn/+Qx3J/uSkD3Hcvs4O/yYOw/NFZdMOkp1Wlpr
rJI2pBnssC1+arJKkog7xqboyltM21FKstz40LmeX1vZq2FFl9tsvXILIlLmH1eTM2psF5g31XDV
itZqcLniXY1Y23mwSapBaWxeNC2eIPcrqvOtd5NivORpPRqFK5+R989GK+I6/j0nEweAtRMb30pR
OcV1Zq0yJ8e2+NY27VPOEdaH8qkIFfmNIOXsd227umaT4+n0JJd90Nj4/bIa9cTxrBVI4K5u9NJS
5mkV8wpc3P29d/SHwvfHyPH4Z2E4t0hinEaf3TbHF9Fb2WUnmz8Lysa/p5LVyKqKqB6KrwSV3+Hk
UAEy3VelVE9QahCR8W2JHipSC9VjZs9EoJjHYkC2u/FrjOHeG9fzAssuxFzGy9vpt/2uWkOeunNp
IEwh29txlA2QDoL6dwqdxd4eTdIlCriMBSUC9mYtRitYwE8SX+3fJOLXD/kZFd/tQWMlF5me8Fo7
dUUL+XFFFyG37IG6FoN0gtJuh4mlr3yCDpv6Hzu7O0/FG+ZhMzvam06kOIHSAU16cfCns1f90cuz
POdBhfd7iY2r45jIyepirfezFGsb1ZwlCTom1/6JSgtpyO2BUkrn3tjsu8l1cMBRaLe3TYI6d6Z/
KaOWrL23tHQpoWfZBte83bysT+0n2/PB/fZ7kY2QeVtrhySl3BltcG1TyPWT9XrGPRaYKA7ECloq
lHiIfOO5MtfX1jPA1b9laP14o22BKdPpbDUeHwOmQWx9l8xW/Mprknc2Sm97QVUzH7axfE9LOJK1
sqP5JDt50GrlwSr8LIjINcKy3l93+0c5xGuzaJ1Ps7Ty8OKkHRXuoUaMC0/zkVFanp1cqIFUhpAV
nVvfWq4ze3N2ryjsYIsy2kaff9+X/0Zw1oNdhGGZdPisHyrU3XrSdrvARqQ6QQ1Iwr2nOUwyj09+
9AO8Fow0CaUqmpk1r6rufdw9RJfKS6VYyWFmjFBVWZzCtpcOct+ytUVlt8e5U/XUCAKElz1pYGqP
vvP9kxtR0LLOlokBGAx9zH9HOi3AeHyGzLWECqd2FXspO0j2oq9Bld9FxRYzQlL3GA1Lu3S2UBlS
wd2JsYz4xs5RIIkfZO0nufTDPUGGRcGn6VQmP/SNu9cjyYc83yI5M0Ja0sFkfnTO9TDWS0+5DuJ1
1SWvt7Mi1NfSJE8vk/bWcJMdWps6cJRiP1WtWRutKkVJ/bOR0li5vKwUxZcAgrXPFbtKcnS0nKjm
n33X+pT8vv55txLCcgrMmzap6u/vGm+OhrmqymxWa2rtOhWkZ08J8ZHsIumVflWDv/eq/OgWuX9e
I7Jhu3NRszbPUycHdHdqFGobmz88mDzl8wruuNph6oH4AG2P0d/PNuqd8tdvbUSMcr/NddpyNeUd
Ds1Csr2l5ob0zhAgeR8Mzt13j51El2ZaUmaEx95UtLhkh9eh73dLzwJOiR+x7ZZdLI5ugNPq4Syg
oAXC5Lw8MHsvFxAD+ELax/n2Ga3gwdRWl9q1ToPEtEPWfxoBd3vscCqseH84oSRZYAZyne7Xb+sU
Hy1Vxn99iwUqE9VkqcVrLOKtQD880S9+MEmonw+q3JBoa/wjISxrew33AGM3043cQ4lNtDFMkdd0
3Fdz3M3c3R47sBPez5hUxzDRdfwl2ifRyk+Cvp9kdc3b1SO9QFgcUtpqCyjkupSVPNTRYTrw/6Me
t1z6AKUOmCu3JoVa23FJoqhBTYev1dn0sxU+6EcE3TBnsAyEki8VU5PBRT111XMeHk/tkZFmHaXS
MbTDEfgAH/ym5596yxwYZHP4KWMtazxp+KiPMoq2TErbJhQZZjOr3VQpM8CEL5O7Tm+wXZBF7Adi
/IV4wfz0XSNLALaISWonduwhbCzk4UsQJL3A+XuHP2Cy8YnuFtKIlTdkFJP0iMrzS+9KCx8G9cpf
2+/t92l+tKdVwIwB/RwKZ9/oziE/hd3cGUqh4STBEFSWi1Y7eZczAfiy2U4VNfx8yZ+R/eoT3jyF
92usI8TdNs6zrEDg7nqZbbGSOh7Q4oKnbAwRDM4wqEiCS4sR1QpyTPzkyQ9Av7/fTqNxHR8LJT0q
KzzCGBl9H8T7Hl51wpjwFtSS7rdgzIbjjwo6LW66HQyWBPwsRoUwiUrx8jk6iU98bB3tSUdfVh+F
RSR7DJrHQHC1Zk8dX8Dd+YxVEcOig+jhW2qnKxFjH3cO3tOLeF9uP8HoeHJwtFdb2rM3MSjJwVWA
TN54nLqa+PBFeOtMcwFwcS+oQqWeTkt3qSG/F6Ir/d2GedDrIXVWife8V4nQb7ugC8OwV4XHPryg
6XTtDH33tV+BSoxO1KLZZHIN+2gevkofr324UqbtTILKv4QzM4j6FSppggYWlIEIXKId6FuHwVVQ
zr8nGvN/4pB9Etraz85hXxLB5OXv7f743N29tUZJYqSaejUOx93MwHlTbIIMfKSdjbErSl+RqUCT
MjxGwPyinWbnha2/EbBiS9y+Kv/NjyMye7b7Ndgj7Vk+nYfrT75pcxSRqCWb7Xg5zrSoHULb7F/6
W9rs0lvVXQ/XdGVDtVN06qEELt0DjL19w0ldfZR7r6Vz9NquEcZdOUKMOeRUeIVrRa1hGejRyTdc
zVeCI2PLc/cSFJ4cXsGLWYM2PfYn7/hR+tX+nzYhqoHN2Fa2q1LJklM9UNl20fEqnQV7C8T8MA0K
Ma4643Fhg1d6pRoWb5IA1/Xk3n6YAd4voRHVVORjpN2OJeRRZw+K8IYaDO105MSoL16kxK/7Md7X
/t1HDwUQl5xif+p0weooIgvfwJaeAO/vg8MHYxbnuw0W9u+X9NOQ/CemwVuGYmoy+fmpne9imiQV
6nZvWTkrBFC1uWEe9aMEdmFYnUWrEFeZfvf0rRNNaohVhLrmsFrW1jCzv1fyOEm4W0kjxlmr2/GU
XzF8ajNLIkLckLnU+zifOiDa7NaTC+cB9IWQeve4xgksaNNd4rVUh9SlDuK3pvFBkgZLUGM8Swc1
hTcb1Yx9PXb7JDhhaf3k5cuP0joGnmg0GYzataZS8BFX1N023mQgBViCaYOjk4U6P3U0Zx4rzhvG
ZRfnGeDmQfecRB+daArBNprqP/iPu0/e0g6rZCNtDjMrlvx4e/Eg4Lqa/K5XC+BifhK/G9vay4HZ
X3JyW9IckQSnnXErq2+768RSUttEllI+l/2rOi51YHEQ0s5K7ObWq5KNSg1JpsMWTfqvDYjy82r7
5Ns9KhvvfkBzTJUd5VZxNCquHKOGVqTu6UJaK6vYN8ZuevquYAP9vTl/eF7NY3L/yEbyrxxxOzMP
BxRW1rmrrbryYPPCjNShUbrxv6bh8mCI3mLxGUgCwu4IWOgLvODB8v0QgUAdfX0ZyIfkuCudXNCA
r1nsv+5Rot6Ca3qS0j2Y5f76vD+9ubvPuy7ia4ZsO0tVJ6owezm6CjVidEEhB5AGyY6ld0OtykPA
vwZ7fbQlt52Lj3pQMnwFw9G/TNw3Mth+wvRBEXYQPKOyPhC/QNmWYaeKd4mGL14jLtJfNapdS01n
Zw+IzFvavXmSfXUz8V6b82iioNf8dQu+rN7ZPbuVC88QeP1nYONzCOX7ZKN2B67j74/8YOzAqmQd
6yBNU2iPNEJCS1lpin7kzRlcGYqvfhRO/gK8dYMeTO4zZ6hIYuBQUWqNSZBJ7ncYMXl0MoXbrTBB
APyiwwsYYVNACxCZzi2yJ38v8odT1NyJ/12kLjXK3k1Z5mvD2F1n2y4I9Syze4vlQbQGu8Q18JrF
oKEN1NmjhcMELNzZynRIbRNcPi4LLJlXbk2bhK7ufBw/vti6UohuZf3Vo8luEmzdyWjyvfe/t3b1
yuh+ootqcLFHeRBMEN7ntY+s6cp+kg2Zjw70/W9qnK7D3jqvlaSFCAhbdXHewGuJ3yiy7ARiUzt3
GWK838JiklMYqIp4v4wG/DtRyF7pdt9eu92hvPzouq7m2W+KmL1mIXrXtUZq52XhtAYIwedu6jhB
ZNuv89KDNdtfsb0zu+7l9q3v/EwJEYHx5Og+SQEezg3uf1ujdD+fMffL1O0VnZeLvUs6Nwxru4eX
m7c8uOF40xLDmKnN+2DZ+ljSjCaTnQJhAyzs7zvDSvJ3eeTvX9A1h9lOMZa+2bptU45dAA4re1cO
R6VIZxZw9DxA6ezJdjPq5f2z3cBZmP+Ps+/akRTbtv0iJLx5xZsgPBnmBWWkwXvP159B6t7TlVGh
QjrqrW5ttbogYLHWnGMOQzPY/+DE8LvnqeBc3uEMyZdCFfYGEWAdmbFyA7wIBTMIDO0pM1YQcMxZ
yB5QMIXF+st3xDZAPhWSCPRx04DE6N9YgP3BBlbR+mDxemJUXutQpm+jg7nVJkgYeu5xSqMPm0Jv
NsMFQYadg3CzB6F2K1sk9zffk2MkzBZFBItQYDs8NXJiOCGXfKBIrLc3yMnupDaru0bZHfvLwm4k
Y/lLvB3xXTc6dmvhkFmGjJnALJ9B8V5E1/Z37opQPRkwpzq/sds37EaIJpFXbvTVUQ0JMNTQwhJE
hGX0++nDGidt0gwd59gO8kx7JHju9FzrRHwOOuTOVGj0EMzO1u8R9V0DXI+qg8DuAsSA19MIf3R+
E4+wdylnoxxNakR/SDdawudIbYYRfYuWud7N7DanDgG1nchC+fdu9UKsCNSF/Zm7IJEBcQi/f0Cf
l34qJi3a+oXVVGUqxHs/EJUlB8ZecBvsnlAV4ZkiihxaC9s+CLdBjhXpvHaGCy/e+h/3IjzvnDNM
nDh/4FtoKHw33QzfCCVCOhzk872HmAJdUBl5gMW5JJc4IJe06FrrjIWfliiUgfylChI5mOLJAtjo
cgNLHdJqri0CGq7VhsbCjRhZsgUDBVFhUUqIqX2tnBK46OHcdRwMhrBi7gBRcI1yP0JML6iLMBOE
hEH+/L88eORtLKbpME8Rnr5b0mfLJgoGkAauzE6SsVh4+JuBh8rsmA3lHAM7b0DjzXKlNMFA4K2P
UE2Aa26aZCN8iw7pxJ64FQaZ+OyQe3z59+29qnxZWqJRgAo0PN1/UOk/ihQ4d4tlDadvLxtgilIZ
or/NWIuKF2KKg/Sour9ODQAWZGTQ8GmcDRG0n25CX5Tr/74VFLN/b3EYioCDzWM6iJSxp91gGMUk
RSQBInX6Yzeek1zNR70Rz61kt4GNTGDgeIaUnmkJybZQE/VqjqBKwsonncKOR9odgfKThS1/XSo0
d527DBZVsOC0sm5bUIdoRJanJ417CZr1yOEnCyNkZageQelIgD4ZdtcFmHTJfIsgLY0TNTK9kmgQ
wxumubRw5ooNNxh0mSgI144pF91XAZLeXKujf6hGhA3jW452+FNRppskexeYY8AYYxaqeeQwqU5J
GGcKVo7uJnViQlRZ3kQ1C36R3EmEyuSf87yD244s9idKVAfpvaYAuoQGJdh9bha1SQScyo2hzHFw
r2ERBjoY8eeQPVjxbeRBh2SUIAtUnt/PQEQTFD8BvoK+cLHgfLC0O7WlN2z3ESEBZ7SoPoDfue2j
voTmspWQ5VzJALeI6p4NG2Z0uMZlqcPAnEMETk1G0rsiou3o7sbOe3GCV2eEiBu9Tw9U75XhJgRt
iY/ug/RWczaZBwpYT3O54fgzh+yM6XOJlqVO/qQ3FOggdy5YLi+n0o2UdkmxYbltAwLUEIL6OiuI
JWfmt2ko5ADMMUHrEBxLvzPAtBilD27j5IjtPSq2SezWnDHCI5RrFQC2tTRhnZgFTPnT1ugDU6Ts
kv4Iifco+xigzUdqE+afmxJPcAjgkEyosWiE9W5Jih47z8+RnIIfyamkD58jQisCs88cH6QlKrdF
/EfgNAmJXJe84kdbBp8GC1vjxmGHG8/D80sHQIdAWfizbLhJI8GoHd2y1PLOJkGLi7eCpDTMmxjd
a9ZAr4nk1UmwkBynxpIZdnsi/Sb9dwFJZ1WWq33oZswWHIYSU+2ERFKreGV60KgOIo1oUnMCq73Q
o8aEO3eeWG3l5AAuJtHg01JpotFpolswHWfhVjanGFBu/5kVD9AdkNYQU5pYW77g5rMiUrOaw+1c
wvNvDjF54kkEd9/qFEwfBum/XeLW+b6RvhK81jitlFLsVGZCC0pPA3K+aJmlKytFZnGNMI9MhNUp
QboED+CMDj7bYrDFCtA1JkLIc1UIVtjy3VyDt3Qg0koTgkJLk3IDa5sjDmGTb1s7znslS8athNjz
kQJnYo71PArUnsvUWTSIHDYZo5zGHiN8iEEtT4k1C5bIGRllEYXek84QIWGeE3Sp95WgwQZbHMve
ioPvNH8XI7PF8kvnaw9T7GgZ9vlgpUPUBGtFLBkvDy/IQMjYL+S+N9KOJ7+KCjbi7Y4oBdXHECDr
kXuF4VvZ4qfpwmwMvu1jr06OVAQywBzLSA2IuxJVjAXDhy6xeGlDi4FSjRaDzlxISrQB9pTseuK7
7RsERGyFGtkRdufv2u42Vh49TYi0c5gRRuwdwuzlOTCJQUs5BRY3TIUYRIWoVbI8jTkMH4HkBQ7F
mznxGU42ngXRkXqbkCuV6A8H+akS/bVNP51olVgKZd5wo0cr7r1SgBcPQLwhCpNnHKWj3qGIm+FP
BU+7RQv5oJUGLBOEQMs0wBzsSIB3QhVRPwZnTHCI7rVAD4C7oBrAX59YIQrw1DWA7RVnAwIfWKOC
VEtyNMX+roCGWAy6qgVng4CDmyLt7i7kHpG9g6edjAwJmBRf+XciUaCmcI6ZAe3HeGCMza0ntNuw
mTWkj2efwAGB955K+M0c2CNjrZmavOAtIvVwsTFE1CUOZPKpIcfsvOqIgWm9K/w8R7DAIcOi5Aha
iccSZwE9bQHgnbfO1x4uArveWebmCg5AGxgw4iiAaIL5khvBLlcUgPMfcMc5RXi+sZE510pW8X2b
/z64X0GXuGcwByQSY33we34/WaRUZKRP9zMQvBa+bEg7sR59qS7v+Qih+mYLLjrlCu9LOC9IJmul
7YvO6Nfln17snDDDTCbT4lPUKfVGBPyDHm5R9YRLGghkxvAD9s0Gtgf+x00x30mTlhMVHM5C+/73
o3g1hPl1L099wiCk/hDU8KFynVl/3PU7DCgN0V5QgONxITKhlzx/aRftvcJczxi9FGtdk9TgtKz9
f9/MqxX/62ae1lIp+mHRj7iZK8Y2vYrQVmiedg+rMGDYkS+D6q89sCegJpB7AH0wGkQtw6ortks0
uMsUL1FDDY62h5Ut5IXEc1nl/62Yp0oP04CgCkPwX6RQ9nmVnDDHB21vV1/4DeaIwh3EKEjsCrgc
YlWDlbLyZJY//2kL+3X9py0slJic51qsWOgMSQg8MOTCTEC/77pDb7H2Q3Iex1DncwVQk2ORHhz3
BGUx3UhaQBaLCjFEtIRMA14CVBEAmPZX1/Xrzwrxywjj4H/0QL8/K79nuD6XmhqWV8WbJKMdSkwQ
D9zRkRTpnT5lktxcGYPUWb12c6jimb1wjsKVZ/XyNjBtRIgchtNLIMjv2wjYAvRq5MiD8lB9i5PC
HlCczR/pZ2NEXzhV0aSXZv4QFPQHwhGpE8r81n3GaIHxAFe2mlftCgdVBm4E2CAMwZ4WDhfDh7Jf
uB+gAHRvo3UGexIBLZCm1mhaPdYcvwBTrFz11Wr586JPvXOYtjHbdIg+bWFtjzxinOClPNYPf+LU
ZhxWPtsfLOF5cf5xuWc+DWKcfCofkszrdX4yUJ7Opc1+lt+CjSMo51RYnILbwp0hTkMg77+/DOZF
D4ZPEwlSAAvAEnmG9HOhKYZxHDKPCVTiJICBnJ/AtMGxaAtQ1z/yXWFId9GCkf+V0iDNg9HEO6YU
VADCyrgPnTZXigegjsGOv1bu7cUckft/IxoOWQ/PGEbJZbSwoDBeFJsZ8h0WlrW+s46QSEfecdh/
sEDOefizweeqBlz+vWhK1+oInnmxd/x3F9Jf6AUGnSkz4S5qHZ7zm+sVAU2kogowvGBtbK+z3LgP
+IOHRlQYlZyCs7eh8QXzBmhmsMv7SpAkBFOdTaVG1qXXlk2X9vWtTYLgtynlW0XL23cPvcwFg/Dv
2F1jqr+CEn+C7ViekhZV79MXHcdpHnETHXtN77HsjWaq00x4HOsW5K4sR5UTUKFHBwqk87jcNqPZ
dWaXXkbBTkk8YrzcKfzg85NIfjMRODs+pC1nYuFgxJ+0dImbQg+xOaUFejv+PZ5zE3GmJXQA46y1
yOlqao1FJkwkoI8eQLzMcptBgnjeondwU6IC9HCXQrQ6SGclanxuk6TONK0XXQ9a967vU3XiQyWk
wNipjGx6m+lbG1VaHJwxUVuZOL1QYQMc4RBwIwKhRHrq05HOgGg3TnMXewV182G9o3WVwn4lC/3I
KX1ViJYoIpbSxdu8ZXwtaUxEnpyGC+87/iwnhEKeW9DKL9Q+CJWuUNe8el7BJgLqQn7RCCNv9rn8
6roqQ+8UQCwWMl9Ui2YenHKfJ4yY2ZPxgyqlA6YXVhuT73M+rzwe6sXnANUYhRgYZKxArvY0MmA7
oCzhmAde2IC72X9K6c4fIVgD9pIQ6OJDh+ctDsnFuDuIaU9ztwLsv3hB4LyAVkaCxovn8DOH+wPC
6n0moiserPJSdRdTsvtjd65Q4hQKEStH46LBI8uGMzFpRioO6q25Ag4LSx31e8PGDbAsugoKWiiO
ezqUGpDpmHKAWa/ovSXAV6Evh2ESIASlglBmZ83gqSMKYkTf8XWUtjTC4+GihPwsJFYPvTb6yoQs
YLnF/NQZlprjK7pbRxjZbuAiY3dInZ2WRFkwTzBTsbPP2j5hCITCg1A/c1Y98IL8WTllrH4C0yQh
BoNljr8FaKiCQyescPhe0AN+KEYADQEbihjS/a4HWCqDN20P0vTsFyY35LuKnZSQhAtcYBZACwM0
UIAApBqzI14yMkFcIWFxr573MgaB4+ti+PdsFVZKSda0dVsgC11A5qxJWbw7fvBAezHZlcc9Grzx
KtqDG9mlxm9CCBygYzaQ9AKoeLEoQIJYpAVG4rJq/tZgIFy5zDXRKEOEz5nC7igboayj2xrwjsk1
2qSvwZ7XyS2w6rXS4u/mBTrT//0t1DNrKyVqJpjINvNqwZenYDcC7m7azxRpLXz/EYKEyAcFSL4N
LNlvCSuqpcjLJOqPOL6lkp1jOlMSvksKgcECjIiC6ZMO0AZRi8k4jLnzSSVr2sjiVh460o75DKZz
1KngiA3JDTJXg7rm3/L04oMMI2Em0TONwlEXcQTxZQC0UYKcTtA64Vdawj1mCQPJONKgCj/1lEzW
ByCzAvsttAeyT7SglpSCnZwy6zSWA3IBi1x4wmZsbaDmVvzK5VpuGb4hhUgABbSIbSQKA6QdZSEY
j/+uF37Uac/fJbyrKbDhONiGPxPOkwhGVVGYZkvHD80O2NFJJfdI15lUrtOJL0CLpOm/F5f6g7NE
gDuxUT2Ile/lRUXFcyTUcxQC0jiJ/VnNf2xPEIX6VcKzqdfUwptYZFrPQeWebcADrWSyhMygGx2h
lZyBYLWY402e+2omjNq76jsI4C8YvAk1Emjp7dyVetMSu1CiVTGHpWiLEBKw1iaEU1MbKrkInTtS
rBv2UDNNaySZn0nF0+P89UOetrm4SYixEMnCK2d4gVeEXFeNKqT8pauR/ltN7hyLKk0UMpE9GkRn
UugMGg5Zta2WcfeJ2sXSd4f3IIJcGLOFzcZ7vP9McsIO5im+m6fumIwKI0L1y9cmGyaqVOD/09uc
RGkBMyI00EhsLsH3II8JF2khJZhc75TTqI8SnHCFSSHaKzd9db7JIbG4LxAbOAcKxe+wfmWmRygZ
lIhVD0SRJLd5d8zDwuAJX5bS1iyqbltPrcpx2IvJWqWqwiyo65iL+hhRxgitKE2CI+3bEVUpEqjD
ItvK7bSEG3PHGdh6JN7+vYRfnW1oVBkWAeYMDHmfldl1H0ZjwE2FRxpI4VRd6C3PidGa+/CSKCzc
GI2v+ahtwAeDyA/UPpS7FeuuTexelBhYw//dBv/EdUDMeBzzBHZcKQuUUUhUjuHlIAHGg1cStmoo
snJcfA5gp6XRtNKBvmiIwMqiJURXgAwiQhj/+8RhyiqOkpQtvWXmHVtAMjD2A3jBy5CVgyEG+5WV
x/53p4ErQmPALVkiLPjyv6/I80IY9iOG7aQxwbZg+tJjTMonHQJ3a9BJfXBK6FQwSDQ6hV7Ztl6w
X35f/KndnOHgCwa6iA2DI+UsCcw6m65JsgTvIvc6cMMw2gx06HYBzKALEammuTlV2FNGjIbCWBW6
Yiexbw0Jj4JqVisKA6AlrDMHgac8SW2ndCiWmd5Xu7bEAAvq3LiGTlK0mR5Z5QRrl+QSRhLrc17q
cKexqugjLT96CQM5tlHZyeWbU+9zK70n4jTwWJ93GAynWQ6+IDjanwspWhKSoAcb14PEc5uPA549
y4DcI/qpTAaFUfTJLipgRjXGpykYQExkZmFXt/7k+l1niQUYur2UfsRzpaZEaQkkY0w05EVVyyrx
EN5aUnBLsv5E0nkKGzYMhMNu2rMkapYiqlM5HWBbIHKtXCJFuR79QZVK8p2vU23g4FnE4BbGtjeQ
eXjB0YIRl7hvaB8c9KjU8wx4fw91v5xPGYf5ShWpgHKhY8geiDd1kgwpsxmROPmM69JsccXKu0dZ
Dvf8uj5OjaSWIUaEo3QiiMRkeuGb5MHTpTizGWFvzfoaGvNNHkwwvxGrQysK+wEhyHJI+oRSdCJw
eNpHr1apY9TvpC7Zh1yoZQlFK23FfEzpaGR+e60FYgNq2oVn2sNAC3Cgy11pIm0xCSw+yU8DwuFb
Lkc328H+wk+2REweq4yExJ/iVF7I7SBD3A8rDhiJ5oRdsZTx78/vhU6Uh430f+vg6fMLQ4pPezGY
YMeGaSyCE8/BFtQhCPNgAnrFae5c+UHtVd8oIgy5FGhwYD6pw247AMsRpbRBWnt+2l+yTadWoQrb
AUVKFzovXas3WAwhwGajgZq0UI1UB8qXN/ZIhjrq5+9Q+1ZXOpQXJHP8HlGAqwxJAkp7LplDqhXg
LDHnyKvhD8k7xGdWdGRQjsLd144gl+qXNBJs6+RNUoACyEqj9gYB+xPOgkfGHgG24PfQarQipXpB
a+Fh8o4oC3BaaBLhW7/3uYaPktqnq8KbYfJaTfJdfTwSMG8hPS9ckKKUjQxEgkKsxyI1H5FyJoEp
sYIGL2/z+atnKBHkg8VNm3zG9OJG6tuIDymP6BbJTSwLZOSKSawUE+RSBXLJxDU21QsNGYBMGv0y
MjxEXvwLY0MrG0xcXXvdd6kONnJVtgSkEoin2C+mmUDBxQvG6DANWwvWeIHK49LM8j+sCNi7PW3v
mVRNA78s7rerm56hsXHBoTsnNiYEX+yncbQaD/kuyn4LJg5Mu7q9CXhZZY+f5rfCO6r5uSoLe+Hf
zgNYA7iBIvUnXOf3MuhBX5ri3G9AZZROeWcgIxC+mncBiXGzHLmJAmPP/G2AkwCEHBgXO8OAlDgI
Yy0GjRUKZ+vfG8DLsufPG3p6RjWRkAFaoxTnr9DJqH55yPywT25psB7MCqNxVs5cQrnA1qDCSE7U
mUrh9RS99x5WQm6nxpqwykt9Md3Bc4IbB/wdQNFnnhm9BAKeWH8hH7851zuSkB5oKjc7HTaB8rF0
DMPYaqdJtu33xtp6dqphUrhwkN9Wns6LnhEKWhrdt4S1CyXd79cFviw/5yRfgT/VKTGDJA5Y18Fp
n7cEH5uJsQQTIpztnbAZLdYGhzhT+5VbWCDC528Wn41IIxsC1D1uQYX+aGqIMZf8hGlSbziILrA4
YifBqvEj2YDiAX6rSWiBPRVKYvsqNmoj20GQD0jsSK/Inl7w2njI5f67kScss2iblh9rZsYOBkHm
jJkorQTm4lypI5NV4bYfcIJFIHwJGcf2vdIVszQc8DMPKy/l5Y7y5408wYRw44n7OiozvJRZr63y
JkEiBSIQXDuARzd73glgTe8AUVib8/3kbz2/DKxIyBZE7Ceokn+/jFoE/lUuuSHqNVqm2XDl3/Eg
wmByIBcLtxyd0AMjP6u/nM/WeIG6QhYeaIgWry4Zsi8g0L7DfBWnU1fa30UJx3ckVTCJDNlFfMfY
toUAxly8rFe2/p+K7l+3/rSOqCkekdpdLKK1N9cdl+gEZzpc4bgXKkDxXHC9fTWnFGhoLUhsfcxR
z4xjZYoBqrcGSFb2QkwrB1nCNgkSv5Zv0Ql537nyuXKrL4BOHh4B/z3lp5VGVxCpdCLGMsyJNnJ4
s3qCIA8YyrPa+FYa4yAHpzUfmxcuDr8v+ryqeCKha5+qQJCl9PkM2khhN1Cnm6w17Fk52A+bH71z
pA6muO1AijuCAry6wpb99q/XxLJQd4M4weOY+L3CunrsGiYPco8Sp++gy7QS04JmOPqsmYe5i5mY
3of8hoBWZpwzI6UoKyErVo2biETQXcIoYi/YQ84d+xwepuUtpSOTEmCA02xj2JvVTeANYNYK1Snj
Pnzuk4SKvMLPCZGVS9JW1cG6ZThTdekRKW3zCak1YIkJ7T5twMSqR7mYcw2WHAr+lbIEV7ZLRd6z
zgxlCmzbXSYMzS4HUU8MnRlBMTTr5Sjrl2uUvtfTtNzPDCGvbJNrz+3py8SULUKy6Tx6GDKnijtB
FPAGSaH64EGMObsYx18i+fbOGZTiKdvL++f/4fqICMIkDyayJGTfv99bO4e9z6J9xOd1heeKIOH7
gvfQ7rgIJ+btnoGb5eYdjkinZViWKivfzKufv6iqYGBKL9LUpzo+qXumJ2Fh5REsB0orX8hhWcPg
bLAYSUE8ucPxuj/6K0995ao/OYJ/nE18GhP9BEKI58/wG2SpLcV9Y8CuchNzKVJSnud3oRBXepYX
k2kUrxD8IKSKw3yaf9oeuixrh4Rvc09EX+rH3xwC1icWTiuERQSnTLD6eht2zjDpc2hn1Y5kjSG9
cFDm/vud/+TAPX+rSxXHLFYSDBypfr9zf2ASRGR3aDZA6byydgZeBXVB6Cg41BjRIZmmcgteGR+Z
G3msBTXUubBYnXSiXWdWGjh5jmA1zgKqd06OY5Ox/R0N6zYaaClc+WxSxmjJLlamKK/mCtyf9/20
1YHhJlHNRKWeJAbmxLQfoZ9pfi+pHRWg3gMSX1iNiFcHIy/+LSbLlQcnLmXTXw8OajwMRSEv4p9N
oMM5oMJOYgEXI3E949VWMCbRoeJ7xfpKRH500YXJocUrJiDh21kA3N3UVoKgvzKVHCElNgRwB45G
m5rgn7UzCo7o37MIRj8zxOANjAxooLU+qxGisAmJA0tDKZ4mhtTBG437qtkTzEFwpvQfZHafwlJu
GWrXUqDhJ3ZZ6FPtRvGJyWFXyCsR2L4N0ctUcGRDfLtQsdFgJWJSJwuT0Za3GqzCxqYz+hAAcK1B
mGbI2sK/SLNjFDTg+QJG6z95ILIR5wyFJYlmXFNIphJlqXRLsCP78D0JA5WCregYgBlZwrKp/MiA
8mVLWV5tWwpCyXlQCWKNiPDCLQbfkwjCHnjz2MGeLWmYBBKLzucyL+s+UuZSVXsh2NXgmXbdjaCh
DskJJxYFjBs2E8Y2BfWW0DgK2veW5lU+gi9oUq0BVC9m/79u6kdm/MfWIpIjjLDh3uD5U6TTIc4R
Mc91ID2XLvc1gUhO4yQk+swJUEhVwo5Iexec1SNfDEoLkLjuEQwMrnpHgswNVfsQQLTTpJj1QBzI
w02UnDoQkALiPnbTFsXRtqWRIMYVJxLuCzXO0GmqrTlqdImuj31dnLJktueQMwVCjFRfmGG6OCp1
GNw4cSbkXgh9ORsDSqYTDPXhvJFaEsjhxdylysAIJjthSFT2klaX+blPCXOmm0/Rl7QiJoCRC0ZZ
4+FKHLPniGTDEcxhqHN14ia75JH7WNaPIm07dQiLEzNz26QSTzAYSkHy5ZwyIj22qA0O+7BSUSzc
lepbQSZuOlLgAqR9avpkd2byeJTZqnhjChiKz6kJjzXLJzo7aeJbhPlIP3Aqm9UuUWTbsqW1OBa9
OK/0KMlUcYBmo6AQpcALEEaPJjnHatiN1wS6I4UQyU4OMvpE8wFg/7RplUYcCiWNuQz67/iahRkq
qpE1ejY2SnES5SxnDngWHyQRjBrsUlx2HLUxR23iIwrVyOrwFIfzZ4A/X64HyWJAtRYbAhyU9C4y
yJ3jEn0UJczMwg+h6b8qtgb1sCdKGeHaJ/ADC4z3emsmqBspTh7Xsl9iHPkyF/FvKSlthZByGYLd
ViSzReLMdxzAbTTnxkmNhkBS+XwC0zrEBKlIRKgiAwGJozOslASfw72LnwGJWXIVhZs2BhkfEGdm
NcS0a5I6U6JpoLR/nzavpltI3qPBAOAw3PorG9kXw8iPqw6mTsbwHmJlv7FvcwgboHwXwaBc3vdm
+UZtK7yMI2OkZrVBiPtnfqz05kIjTihHLLdSqOLKfb1QlQPNAm0DRQ8sfDF7+30KipwfEm2KKg/i
LLlWYZ0v34EunXQox5C9jZzftlK0RSVsHtSVXvBHNPN0ksDeajlIeBbVwHNQCd/PDTUVbO6FG4TJ
6/6tFMFGAJPQgNZKhpFLq8Db0Qt2J0XCzGbNcOGF2wF+/B/Xf+qqwpxpGqHF9TM5eoNmQJD1es/B
6GNngcbv9DjdNhA937R+y7yRaqWbp4MjmW/Rm0O7B7R5CYgSMKNcKQdfQV+/7uupNIlyKaD53GdA
u1zyrFw3MUH2QU165cCeomr1rqN1BXPDtYzw8UEdLtpGqmUNhC+ooecUfknK6YAYNXVaKd9+ZsF/
vTKsZB5yRGGx+P69XkDmJ5mFFuo5C3+DVLCHgcSPt4Y5U3dbEISbZECb6p2Gx+GwpnjmXgycYFb7
v5d/LtSjkKpbPqDQYJ2u13bD6T2rPBYPxHKX2EiZCtCyj9A9EqV2pGMtUThkC5qXeHsLHbt3KR7R
CjMCFg6xZoIfmCrJDFdq9Ts4KaT8U9qvrPEX6nassT/u+KklnOOQLn2Gmry2k+m7ZNYQJKjciT6k
G/bAH0AQtZZohR3YLL0iuOyOQ2aeloK7CllHA48SBMpcBewQIUyke/Sz0SbZYLvdzbjjTs4ulRk8
OnLlCH8Fxf+67aeObA4Ioi8FvGesNVBW5OAOhFOrd40HRWkALNFBlNeSJIYv1oIa+2R/p27xWMLA
HwG2KW4tN4F/MfT6dUdPHyvddAI2Mrx6DLBlPQHT3+odfp99oTMtQRhcIgXvkGfdEeV3tvYio0pI
JJGFLWogL1O+PjgNmQ+U8g679FI91bZNXk7wo/k6+AKo2xA2ZlgPEFhYQqQioF6J3bXS/VWx9us3
PH3Y8HahO/Dw0XJ56WZScnjVUtv5yLi93dqSQkwqs/i+KPkjFnVMaHLMzS+FG58SkLTwvXvQ9WMj
GDThJGAJ0W6HcCfweoILHOwOESZNBv6WdiCwHzkt/i7hwJ0q0NQ+ykf05e8rOzBzK9gKO7hjUB+Q
zYSgFJxCvGHM+VD43KGfQfXaf3AoCN6wRI2F0S24cabBRRnEGeieOkIfoU95Z4xoMQEMt/F7Vash
3LVnpYdtNRyQIIj2YSF4bYAnlopgQZSzbdrFwDqsYEmmoKTuUX8ENtQ/ZAyfMAyclLlbOdxejW1+
Pe6nVomNWon3SyyZ6YC4Uz+E6gHRkRBOL6Q364s/pzCewuaAm1xyAHB3CJ+N1IOvrb355cX+Y9t8
7plSkU8JnikYJL8uFgG7zDxG2CwXTjpyXrDu/l1u0MvH8Pf1GDCUwQAmGe7plxNRADOVBJ9voV1h
sGzvOHOBN49H6vjRLrzfJWgX4X8HfrtGgnhdUmBi8/+vzf8+Ivg8nyQpwLUXz9f8vPg77HR+f/wC
kJIgI+YyapgngoyQuw54oNjE1k6pF3Ydy6b73y08If/VGEVtlUWJVw20irZO8YPZaMNCpytKg9zL
rmdOzYj8QE35Bt6mcjikGoMg9AkOrykPK1f2WsSsWqSXISMtkv1kEiMkKW1IvLrjFJE78hkD3uSD
LNhzGPuIl0FXwkGtx4RgdxIHMgkUpmVlzDlX+u+fmcG/3u0TWuS3I5YSF7Geq9576351M1CA5Wuv
gjc9y3UuQ6uC7XmHoL0YHmv6EdaoxwtyekjdhxfJon3qDS+UlWVOOTk5PBTxbS62a0t+6b8XIrUs
tL9uFnDwEnsBgcbzgV0WYwotVM54LBIY2TsFtdbZKjBsENzCsr/9lU+eflUgYOCEkwBGrQJovr8X
H6rZMAt5XI82Zj0zWfjPUfqwb2tZ/ECekteYhElJCGmHIFEtWlk6rybfv/rJf97C0/tpe2oSiAyk
mMVgjlvkMg0i0o6945+R02ItWr8N3DxOJ9BSBWw9K9XjD8no+ZH/ef2nEi1to7kDpX0h5UAJrt7b
T/BDUnlHwBjGhjMh/lbq/DuYAIu5XW/2JsNY9P5jhncVu9vc/N2N1uFKp5wCHTVuPyjYtLEzQikH
jphZuvHhVPjqwgD4PqxNOl7NDvn/7v4v04M8iShY0NLwvlYnLdMKJKQoViTX+6FSQpxlqdxazb3y
EEFwgxVzD6eDEXS2NxJuSiOYbgrcJRCdMHpspFOUTtPeBKe3G5Fv1uwVxVebOhjhmE9jII8W5uk0
h43sMOVknXnNG6Z6++a7s6kb70ZbUIdqGgk9qEo5pzBorVYli8PvgWsZDu/KgPA12TBvgQU26p5H
AkgPBzUEwVSG4BTYETu1NydVfIxa5CJJXosOncGYpRZAYVmoeQFH++hMftA7zBPgbOK7gjqdGQOH
M4a7tn9E/p3deqk7XSo9NGs72flgRcqwADhEuzViPUbyLz7yPx7ET+n2B9wjMGiYi5AuPHiD7P6H
svPajRuLtu0PXQLM4ZUskpWrFErphZBsiTlnfv0ZpYuLY6sFCxeNRrftVheLYXPtteYccyFKw0FJ
EHtRrCROLCHRrZRoP6WlOw6BRzj1ZIuRsJdq2hDp+FoK0UFKxG2WZ9tJE2S7K2PIBXp/ZssMVFRW
3/ltbNXK6FWs0eOCe2Yad5rRt3ZlLHj9y01VhyINhfEBucymXqpHdUgidieWT5diTefrNAfRUYih
VmtN/dDnwzFV6mOsW+9dYAjkI82VA5JvFaqho8YHwfAL+VeX73pRho201kHJyHyl4mZmpxXlAKeB
HiJXsfsqcbOo3xdxcK6qZ61LKKH6cxgeFHE8meoxMTfpJLl5JmUrU0k2EbuUKuv9JCxtE8rq1AGn
qxenxpAvGPBp+HWGISRIBvA1tds1i2cti1slzPal50bXzroqux3BZtmQYsrXnGAaHnpGyiUvJVqO
vjGcxmraLnjm8yU9LAhQg1qjNbLYEtRkSeH/ND2a5jmcYYAEmUVIxRI9GsbitCVhm3q8ikU3IzNJ
xey9tA9jMm36qd0PNELjbJdVD52On6yD/7rrhXTbNfUhuZ4EwdyKJj31qjvksn4fV1PsVGp+Rbe4
lSSt5vRjjpRjIePS0xSnaKJtqpDGV0UlWpK4uldT886YW1e0xocq6Nh5iMmFpd4L6/RYZOVDqxk3
i3Rv0merhWSni7RWRVq/sZcPhMfgHugE1bbKG6E9Zoa004LGm3PRHZca0dibVqtOEU2ugUm5Bpkp
lnbDEFiXWk6PZHMb+GrWPAus4HZcQ2ie21VjaCQdRKvlynEoyJqUqcuF+dFoxzX+MFrB1k0cMzCb
KwjYkfVSTDVLvzjsprDzgyByJ+vGaJQbw2zXs6zbqXRu8YRBsfYT89lUwYfNd6nA3vXaDEruZ/Mc
MPOZaG3HWoAWm2RAsVuFUD+n+cHUSz+IGye2blMRsnVHmaUGXhD3B6mKPTMJz3JnuXM7r4TFdKl1
9iqeg/B2DGC/wNRRu6eOrJtFV1wDsZ8qbTLCArTxXeQQxviSlq9ZZzhdOmw6E3ITumOtW7bNaCZe
Usq7zpChzwN4CjvLM8RLk0tuMTU+ffMohOkVyO4Y7E0Z7Adtvr4HraT/4s9l2QAdMCC6lo9R0z6J
y3irNONLnSaXXJbPvSHQqcQiOmHavFUqCArJLpoxzfckhBR3ybg4gp45C7fFrLd4R5bfBb5Ya2i8
TKs2SpLul/mjbuOVWuR+aWwyBOv9rpyPurxrF+b74a7qewJaLGgho19aHyN6wgTVoXXpBSirKbGH
M2pPsWIJH9aacU6yxVHm7LZOWtTRk1M2+do038d8AHoBFmV4TLOdIow2EqpdlWKZjnA01YXPe8xO
CYdF4fggFRbci/JxmDNvMb1kuFWghsXqez0dS1NwJr5gHDfPgYRrAR2KajgZ36ID09xKO91cN8pp
KgiY9QoVmpJx17QJ4nhOAzowBcBSwpA4ZwowB91h0tO13Lb7ZHxKp9jtEALqoicuxaYLnnMFMfd0
Iyak0WgL5gkkoFrvCkFl91NCp1nbXJ8UodOBwMiuhZ6Jk6VB1jB4jBuVvmz9lEv1Jg9+j8X4a0kD
d5Q+mPk5JjSLPhUhf+EYGCoJ855VAsBQXHUeFMgtKGrT8TbpWHPmJcbelynQP6qNxeAI3CT/ibxQ
nw+qZedDctLn8lcpVfCnY0z8AZWAIfhyGx/EJnuQtNLrSvoP6UlqTuOMpbZsz4MienVSnbmiQ6O/
RKphl+3IwbD3gwcaqYemu8jNXTw8SspWyFaq2IwY+XB5RMuFFKpfXRZ6fd0fZixo0pTtjVT3GQ27
Vajskyi+ZBbwLX3xjLTxlsG8jSrU3gLCDzFzVb27UYvuglYY40lsXaSuvUyycVN118wGtv97Ua9M
b0gKaHsGYXVJwuA+N4pTN86BPUrUavTdg6ZcQGJId1NQbnSWDzHvHJ0lJTcD1jMY6CYRKEWss5xH
iYi8VxL44bZe5X1w0LKltlU1HuxeZzVBqOBScOE9GuHrlGGzhx3kLbLoZZlR8BpJ03VqhVstJjxB
WObYV5NwPIZhvOtabgZx9iYjepgiSlehXPWZAVuoym3FyNxC7vGIjOJWXUZfEievj++jawFjBats
fCQ04yq+bif9xASLoIYqehySGCyflRXAWCzBSyPZWjXKEDn/pxPHEPEtG8cuurYWjWKyE+PQpOe5
hnlBtv2/9ybf9uRJ48EeDUhJ+o+nSDKGkJcovW/ccM6hAXc7uy+nE3m2XugG51sCQuPV4JBz4LuI
Z+4+ysEjOeUnp9h3m3U26SDrUHfSUxW/bNax2Pdmly0zexYuMRDp1cmjP+Erh0ebBLjneYWsCI/r
TwzzT3n+l53CVcoISkpED2WqXz+4F9PBjPhgzQZ8sHmZ3aeGthRGGvuppClZ2/cIiyyXoEF6qhK/
9hCOSdfIpi0ggKm0i711egKWTQTw+2T77+cAmLK/CVN60+E2Rn2IuIxcF6DZI7TezfDREoYXraqH
6mFyTbousE6cyF0JK6xSIJX7Xctf4278TDSkroU0owD8txDePuweboLjVX/x7xvhuzkEvUMktaos
gRT+pJn/Ub+GgxxqPCcpohmnBynkJmdlXRhwiJiK2SMxnznOxCXyqNvVDYTbzVi7EKnAY7UeCDCx
9YvYCRhf/rCd/RQMfb1CsiobGm4OkqOkL+OZhUrILAxDOMdZ7sd0+2ZoSpUM12rCBQz1IdMVLw9n
N+gjVxp/Uph/J5IwZAQp5EgR+fwfRfbcCugIFB5JgcgtZq/S3W4Fj1Ww3yTawO4Vx0r1oW+QlCtv
1yGArx2t10e/X/HYb9z4HoTnCx7nM2w/G5XulYvM+90Vo5MGwebf1/FTEvyfswWmlazUq1nwq/xK
VpUsUuYqvYzjKwHybtkxMxslr6buXfptXryWVUJg4F2Y3U36w2IFlGHKQ99iloFNpevVerFyu55w
Dsjw1vOXvCjWhUUG3/zch3dVPa2m3Nwa9RzaglYey5QU3vZ+TAGWzGtredKLUxoSyqudeqlzBt6D
ddrbSE1WcXKLIQWCGS/7Ol5PlHPqMNpVQ1DAfJSQJizlnZHv2gq9QpPsAklejdl7QGR2VpzYM3Dc
b2lyyknC0cEayI95egimB6l+C4SVPv6kDvoU6f7rZH6ZAAx9IFRpsiyXB1j2BO8Y1xWBxfGejpJt
uI++u38+gty9zPbFfFyjLfypafr9c8m01IIEhuxe+zI7UTOzwjKNZzrOP/KQc2/MuDITOw2fIgAb
yyaM3iOIUjWMJTkhChd+HDNlRYzWPFGOweXXDIiw/XPbdNR0zr4Vnbhmlzzt9dCv2DcrniTftY0j
KiUbGWmbEJvMwbhV+hCXv+L0PS/jVZuq61l363iTmuekv6/lnnQHeVVGk4Nlz5x8U7xvM18RNp22
yaX7lNJPQXEtB+0qBNRo7Bv5vJSPQtqtdFU5x424KloEK0piOvAm36w088yqh5axH5WVrBF7GUsu
XQd/yU0vToQblN6UpTj3NMYa0XR9USzHLMBJyIa/nvAhvQtgzuSVLt/N4q+4bB2zxbVCwYY6Brvq
Nhzug+UwXL2ddelrLXmy1t0yHnrrVS7gJiIvaIX3rPVk7DSW/GwsNwsNH728WlxkWzDPZfukL7+T
ZTOVAk7EggpRchS99HI58lV5G+NObMxlY7U0MNrbRv1Bxax/03ExFN5W0PHRvIhfH/BFjYTCLDsZ
OTUSfFC7PKTnbFNB0UZCpt+IHye+ZGLLZw3pJU1+hkC/ps1G4nS9t4yGtsPeItutj/1qB1sLcSgB
pTUiVZlBELMIGnPZa8w+7Bp1Cchj8eEkl0B+3PCuIOqZ6ny1DwLAUR9Q30XAhT+sYd8WA398xU/J
/x/vIikg6Ssd+YqIdFb6TbQJ3OWsHuQb4xffd62szd9sCozJFZ8sH/xQtSW67IcW4ich5OuzD/2L
wbyI4wX+0N9dVCXM60JRquxS6P2e/aEzaofIJA0jHP2lGmkQIC+ZWyfpyCyvV6hK7DS5L7O1Me5T
8QQ6Msk2ZvVQyG8FP2ZWsWuoD531Wpm3Em+vVA/dxTQ3anyTImttlTW6pbrC/3qvZ6FtRb/G0XBa
SXN6bbiTKz+v8fcMqZPlgaNa6dqw2D1VmpcAU0jYW5v5SjTDZ4t+TeP0E49QcTFwaRdRvWrQf7Cl
04ND2xaupTYQBrbi8qK1xFYp9GHGU5PcKFPsiaMr5KSe6iiGA8Gz9LumgMem3QjCvNV7BT+HbJvS
Lm/YGFXQMu87SExl5Lbybq5/j9NTkVi+AfzDAO2QDfc6Th28wk6NEEUcvQKRrUX13quHuhx+uHO+
aTtD+1E1FHkUdBi5/75mBQqLsp1EONuN9EZGzkprP9pCvf33O/a70QoGWzgfkNBlBbHs3x+TLlJS
xFGaXpKIxGW3fdWtO8w50ym5Nz+MXU67kUuUsX2lzy3dWvMq+1B/xb+1h8IGH3q7OBT35q/KpIfZ
+aJoT0dxHR0MYZM9/ftQtesb6utdrHILy6wXJtT2a9vyj0fJ6KokkfGiXKJNflSIUG4d/ILs/qkG
doZHSyA2ALjY2t48L+vRj07xwXhs3jqUYs54VpBV1654lrbZDa23BNOzrRArcRS5gX/nsSdszMeI
l/1bRYTnJbpY4F92865FswJk8gBoavPvb/TJUPnHN/pKdJjps9at2qYXbqSi3S77XCVIeBdRD66R
JMrhWmeterPyddD6qT9RojGtSmM7u8XUeJo1v+92VBTiLaKocqZ/aSvnaCvvs3cD7dmPWW3frddX
1xyAPkCC2ud6/scVKIaUHVafMap6Orx59xv79ny73++PLqjzm5ubn5Ii5G8/j3g1VblWDfongeSP
z6t0dpJ6a8RAeijt8KTlS+PkYWMHGhO6komHCDO1nld5SZZ6IpCgqawaJGG8VNygRmP3qnePUg/n
m0a2OLuFNNghL78hGlZ59EOB86nN/Ho5kYZci2tLwQr+Zf9lCEHYRtYEJttXfTqb7DSf6H+/WE8x
DA39OPvGXfcr8PWH3I0dn6m78iI4HdXf7XmwrVf8mUO5i89IjYt3eWfQV3ayS/LD9uhztf/PYdK1
x1zOLBnQxN/PUdhks9qNuXyhNKXLtM2hnmvuJt4G+8lxsyNUz271O//h7HxnJOHOQZCvSQR/kIf6
98eOkyYJkHnli0lltWhrocKlm59pp660qnE0TXqSy3u5PVjTq9TmXj4bPwRffuevu851sH2SQYlt
6EsBiuQyHHvNBNoTDK4C7VYs93kUOaZiuoH1ERVgR5R7iZIqi1/V4LcZmfYg32ULvqLcLmizGfAQ
2BeR823U+3Q5F+nIkderumGrmS0rnQ1JbNyn1k/Aoe8UPIZFYI/MVgjaj/lloY6qSqpGrZcvD+LN
w3WnjqXh/v42d4g4SZ2B1Ex29coxs8+mnd67x/ae0NW79UNr2KZTVz/cRN+pAv44HO1zcPvHo9kn
piqN6ShjviLpGa3O1bjUHjbB+V5w3vcOuNDpolyc9c3vHyRY36lu/vroL1cxVPO2ipOAxFTlOpcL
ACSfFgq9U0KQvdsj734iWiFhfxE7gFYAnKOs+lEBer1dvz5FFk4Whd389Ya+vq3+OAGRIQrFQKvh
glbmatZugIAGN1d6u0VaRO56t7+kxT7HrI/PlT0P9vPzo1ueyL1d//7p0fpmnTRhkDKUx5ZIEuWX
hScJSbzV5ATfaEXTte/2MYjurnhQo94JoxlW701ZDN7YXdU6IrzcTRso3vhTptF3xQTFioFJFEce
lrHrcf5xTpDmpmGuaMvlqbj62g4vw5mVDrnZsruFhEvWi0NVtrpIzq/Zc19vUDvZPc7ED0Zuhx9u
k28y6659DuBlLMRsN/+jmVniqFqEQERgtuNQWpsuD2HtnwkL74yaSdqF0jraW5zP15QZYZX5sFHf
0A+iAUXjZDo/9X+uz+iXe+avQ/oipZEHoHBt3hExZZCs5EZptMqU9YTvOPas+nUuf0BGfdcSpdrH
PSFblP2chb8vSBtKpZRLZM+WsnBZlFtRQxprPo3x3TVPqeUtKqT1Ic7ekN43zWPaQ4uG31DM+PKn
0ivMZwvCVQPzJSk/DPIKagsMCdDDoj4reewMeFQqIlZDhA/lsLh1B9dYFX6ok77xyNCqogTAKKOK
Civg319DGOW+SxNFvmha5nUjwsr6vp6QOIvM33V506mK38SFNwb3inkCV/9DnXb9//993a4pyfSh
oNFgPba+rDgdmuoymWTlskN9BUUH5POvJ91HX/wC9cte1if1csL+tLoliA7yLymnsve6UBuvNadb
7MvNDze3/N/dAUfEQ2apFhWH9XVHFwVx1AqxGtJb95sSxBS+xNRyouUxoq+gZsem1+2x1txCRwUl
wpoq3JTCxNK9sR8h/evuFELWEKh9reNU7SpmN0ongYo6YV77YS9z3V/+5/z9cbRfrl+fydgjVSG8
JPptL+AgqB9HKtbU+rVo0/rfF0sy/7tP+PvcfHlTalkgt9miRBchjNbY0txEZQ0q8r0RZ6tJeDYY
4tU61mSNNyVVs8JgPtAKTw/2Vrds2nr0WjCj2hVwpLrmkD9Fy60V9XYc6zSgUCmUFs1zRXS7KVxD
itss8rzPpslPo3fYMU4pVPuYQXCUsbWefmcZ3aPh3JK9ICQaMyLCz+HXVGpCeW85sUnlHzyH1YfF
xzWi7E88qDyBMw8VTJBtbFC0QpoVtN08sBetRFtC2QnVr3uesTFN+WiL8rtVjDuzllca/5lO5IfZ
PSX6q7jMboY3YfyQs1dqiLWenK36mCgnoSedyzjFRXNuA9XJCAAstiWoU2RU5kxfFzS/Vb1H440u
Pg7VZWH+PdTrAedpKf9qJwmK/EtnPg/i0wKOv5A4tOy31h8UNstqcUymtSKSVlUle11/L0DLTxdJ
vvT1NinPi/Au6RrU99Jf2t+5TuJd8JwiLSkplKlotObX2GVuE92IzOA1we/zF6XX/aFgxq8wlryZ
o9k1sl1v3jNBs0XgCInSujqcHnrRk2FX+dssn63krZeMVcSsOIqh/JT+1N8v7ewM8QOzwn2lV840
4AxnZ8/IBnUKseTm/czcFvJmGr1aI1rSVEMMS4xZo9mVDuSxvVsWzY3V5EkNEVAsNwgSLqDB3M4y
vGQiXpuOYlHx5UtsK5jnWjRN/77Nv12SrkAGYst5337dGvWZOSqkxEuXxRA8IxpdTU3RKrxEFXdv
mPmVNPzwid/47a/P1f9+5JcuUlmYRWdZiwKeJqXg0U4sg56C6GNzGH3vZVg9PU09jBpkMH7gM1rB
d3Gr3d4u6+iEgZ15Uupc66FrjJSxfXW6myMWumRTb2TvCO96yyt498NBf0bKf116ADMSQIMu0YJr
9ferI49UscgiI7zkyHI3iie64ZoUZD9/iI8VQrRhF9vRM1TVFTPQfsViYQNdes5sZYt8bhNesjck
am/abQrgAV4SnqIbLEWkUkar2CHKbEUfaFs4CqPExC+c7jZxJYC2Vz8pdpc9kTz0LeNbcTu6zN1X
hZOffmsEqmMWw7COeyt3HiK/Wg1P/VbdovFzE5/70B1uOC80Jtvdj4rG75ZjPEvEIXFeiNX6Uqbl
1cyccKZ0NQ/G03BGhF7bReeU0Dl9fOfEGlsv1k2/55KUJxYrhxgeNN39Lj0hg/jh5f7NJp8Ommri
sOef4I++vBymBdZb0wZcoddav2Ncro/3ZuLC4ooeq3Lb0JLMAWK5JLBUhytdNnB6dR29V8V+iv1+
XeiObtjB67+fr8/S6OuNwxliSgZalfyrL+98CTBYmAyZfAlzv8epSBT3atkwbAjOyFXOkn8kEReY
5r3kbGsv/Im/+43YndPxx+d/2V8MWV2HiYks+EGzD4f5SIiSxxjijUt1jY2C1X7aEB4b3ZrN6kig
1mW4pCsQSqt/n4fPofHX80DVxdaT9iBD9S83S5i05tRgvbuMOlGgGUG2vZu+Ph2wLLWgsQigZ6bc
Pd4O7ELl32cmg48lxKnsSql71NGfmjZD4bsSJEzh31zramP/U0vjs5b/z0FiOmOIgB+PMIa/n/Ka
PnISGV14Qdji1QWuGkPzxjT0iHiyuxZpSINAMJG8pDsNIo+yMq+TigZhPWMRho46z2tJkOAZE/9e
LJtECvzOSt/AdDBrSo9hnq6DEdGj9KJYwm6eFcfoq19S09wH1rRTyHCPtfJkDo8LZIVgmjx1/J0S
erJE0wl2GOvMxI4D+6uZl3t9qm+kMbudo9LVBcY/Uc/YCoSh1tpLJDg8s6c4yTcx7+QxlX5YEvHC
f1OOGVgXYTExhVM+4xD/2KaVUVpL/bywDUmz2bUCbu806H4lqQiqJb+KTLJqN5fTXq4VDN2jaFOK
ou20/FCJyH3qapzpxfgSR1Zoy/X40VvUkLQiO5XolbEJBV60S+W2RMOoRXbJh+xcm8azhbUZTC8a
tkKDcUUr5k5VIjc2wNUl802JAVadhR3IEURV6OnQB13GQER/MiibcBrfl7g5lOBNV63UrLQ89Bhm
GU6jRNNbaCXGQyoGB0vHxpqJnLYMlyjzgWzQHH4wfBmT8jHMczYPxvPQNxbRrbK+iTJtp0bZXknG
cj+T77WKB0CjY060JbGruhsgOLQqQ9zK0oRmyayftLR+EjCHqwXTttGSXuWBdQHP6eCzGX0RuKZe
MBoUcnNq/qrjsPJhaWNXM8xgXan1vAXih9puyNTRrmktHecm8rRSXaWR/mikPe3mPqKPETcrQUme
o2Bcx4uOO0yo1nlcb8IStdxQDg8t+zBriRJkeKawL/IQ4XEyzcHvJJ3RZIndRh5rEr4q8VLX1jYa
xLXYhpVAXJWO7m0UzfJUmkb4qg6N/DufEkWwM3O6r4f8d1EvG2UYj3xtaLfReSJitkkGZP+tZTB9
HJ2UcVGcSL6WtudmIFeq6EfudLB8k4gEtS2bzNPTaluYrddZ2q6PYyJ8islVrG4vZHnuRVN0VuXS
QzZV2JA4BXuKoBDIivAS1lXipJM62EVDnu5sKhs1u8Z5SfoZx+LDTP4U0+TNTEZXLAmHuSu2Sd68
iAkboDFkZhQ11VkbgrXem09TYL12NGaKnK5/3adgo3mUBXWVDybJCQsU5bRLnoyouRejcicoBOvN
aehqcs14A63oVKE5g8q+j6qBWYyVAQJIQi4n7MJhaFHuReJjojVeH0nHsJ2P44igOOutjZn2e8EA
Ta7Bj9VH3iOVvwydb801qgLNb6ZmFUaUmO0439D8o3NVe0kv0+EWi9+lmEmroFJEQo6nI6b51LGa
a2gbmletXPx5UZ6wI55kLTtJaoG+tgx/L2WAIkFztah/TaThIGKJ6+Yo8YZJOwj5QgLguPgyY1NV
jXaCzke1mMEECW1cXp9LSTnBAd0ImnzpauHSadR62vSc1qruhGiaGafVh7Qmw76PGLVFMcdLmJaY
THe9OmyTxnoK0ZwVkGjQTlMKJ5qfldwbJS1Mx7BQ/8iFZBODea4McAHV9F4vqq2HnEdK5m4tyeNt
nCq41ZUip7vfiuu8nGBDdM/6Ij53/Zw6YSwZByXMqhtRtQI/JOt5lRSUaOgVmcnNem3PgkyFjuhX
jh/FSQcNFa/LlJZpM3hFbdwGjXjfKjWEjwhHf8o9OzMkrvJl1VXTTZYsyEMIuS/MbR3B8qnKJ/QH
t5lFvyRfWkcpjRq4TL1sgwakdqpAqlR2V+VhmtehE4zoRRqr3zcpj5Jl5NCel6k659P0MSat5os6
hD+AAK+FMOwDRes2Zmze0YB4qduQkY6+73rhpkqMX0Vr3XYdUaAyCF51VDZVFhP9ZaXvotWwBhMN
4gzsBuyqbNc6He1+klZqHN0H4NttTek05Ph64U15x5xscBvFim4RqZLKxWT4YYwQJdY5rdJcHMkU
XqrDHEvXbWThBFWu2X2ioxggRdZuzNY362Q9yPpOVvNTPXbUsZJITcJ81ZhI5+iy9hyL4lOuoiWS
GyHzuBYvvYqqBs0clv/igKhnmwkD78dUQt4/bKcKlTxZ5I+NIj61lZq6VoMSsm37vdx2v5s4df9d
13zWb19LBgOdIBAHmR3UZ4flj5dgUlpyn+sJSuUahAh5mNnsKNPisEvVhAcDAXA0PEfpPl9+6CZ9
Iwm45gYYJqIHmWRbUfm7WJlCsG6WzJhIfnl4IsrjPq9JdY2deI//FqRxh9t7dTPe/PsLf9Ox/+tj
v9ZIfZtXabbwsSQRrxAGHk76g4dj9T2EdPjL3buOdEDs668/MueHdpWkXb/Tl7NN90y3RI3tKmOn
LwUaXc9FiOk9X3Y7w94Bg+I28YhN0+xuldOffXl6efGQItVOtjq9eA+rwl/f7CD4rl5eVAeh4tsV
cnqiECZn60SvLcPGHF8DziVPYKeJlM3e8PP8Aaa5ezD3drpFs2jfpuw6N8Ixdcz7M4bhMx4xGtGq
fcY/166wOr9u17j+txdyjY8UqYxV6UgXPjGw0I6B4IPGR8rLNu/1ubC3r5e7mwcObPdBCDI+0//r
Nk3s14j9HLQMZ7eu8Ev/NPT4bpek48U3DCb1gK2+xhHVnL5RjgzxUvLQFa3oVnH+kLWCk7EcZ+iJ
BaHatcltqWu+KkpOpXQ+0YG+FDyVKB0VfZMTwNIxJ836wa7Ezgt4mRYyrsdiuYvFn0SY+jdFJnU4
CBvNFGWVSJ0vd3kw1JKcgHMO1OW1MW5bkCO8u1fiPHty3HvlmG+XSXEy0FQ8ohR5JR3pRCBeZuhQ
WChkaNzIKuSobEUKCK3N2c5jcxUMuyV56OiJddm5pCOjoXMORESd/LwW3xgkgGRXo5KobMfxHMGG
zDSkwMrkUlOtY+mM+txk+x0XlxCEY4LDUmMd79BLRfKTlX500UHvJqTY9FOnzSiY5P28xUlh59my
KRPRAXqL37mhPqUhHtOkq3hpWITp9iZyrnzdyT/skT+HSV8fn+vE1qDje+34fGlpFq0alllG1MbT
w0iWOIb5cFf8hpBCJPYbWYQJs4wFS3DpY0tc5f713y1HJW0QOju3+7Tz39XV4yN5fqFDiEboRW6/
Dj00m08rYtIeaAU6H8flIztSodn6+g7ircLdzUQk2v6cSviNVBlN0f9+oU+Uxx+rr2oUkQ4+amEx
YoBqqz74uqO2L56rMzzuVbweX4Mbfat4SLij5/LY3b+dWj/x4i1/3+C4QyFh7K4JgfeJN7H1xLNx
mG57L0bPq9vP5WZxxZWMQ3ZyJ2f8lTxo/nPx2q647hu3wDc7nqIdyXA+nF8Iv/I6A7u/6Xcf67vl
gLPAxstKpPgzVneXUp2dNTjacIUGQT9Km5+UDuo3PWvOh6mqmqaKzKi/tKk6aaqsbkzyy653W5yR
Z9Ijbi07vC02tIpJgmXdQ87P0ngf217unKu1yjcx7/pgO3rRERiXzf1ak/wL1J+vRPo8VAznx7fI
t48167hO6M3nMOTvx9qq22pKunCB99m7gAvstzfkN7btXbt7qj04iv98xHvPYO2DXPYf9q7fdWV0
QgH+38d/5ZXUBXlAnWpll+6JZsx79ly/pC+6YIeJz7NOBhswc7JCbWAgRoV52lGvoILoByHBp1bh
y/NI9hCMneuYE2nyl6ZIpSwiCKVOvCSy3exrtu3e4mk7f7CHD0vzxH3i//+/vclh14lk4vOYKXxp
ByUCg7gpyMTLUmZ3YQMUW9R9hfRbOQ9spQi2U7dV59sgepL6+HYWSP8e0rU+8yYYG6dQBm+QKmfI
jWMirSWaw4ZYujLpt0uh2EY/rhps53R/SP5bDO/fB//NxJ4Z5B8H/+VdMJeG1JYyd7fViLtpElZV
qjm5uK0nLytPM9OUwNTAy8u7QBgflqbeG3L3KjXPffrcY4nLSDROop9kkeY3fdC/DuvLVRRVOkPY
V3P8Es2qdUnTAK5O855FR992G9RX22D7IpNHWtwrXnqrOqJbH7naymr0VUfDkG7gGHtBA3CnPSar
je8z6kece3v1QYTO66u4Z95jo/NBHafwaJIv4CA5Iz2uv399rfh95nEbiY7x9fd5F/tMxxWYJuTu
JOtkff3d7bWu+PcF0f5rqyfX8CoVUMA0kbHx5X2SdBIN12peLjXNxSfROQ2/nwQi6E23dVeIOYqY
/v1LdU/hZcvPzePtGSnFA9uZ83yif3981VVnXqneq1zar5K7vXM+4HNrv9m//ftI9f8ujDxeuLEJ
ugICwMvvf0i7riVH0bN9RVSRwykZJLUSCt0nVEdyzly9H9r1e1tIJcr+d7wzW97ZAb74hifcnjdM
X8EXGy7NJ3AlICmiDIq76XUaBhQNZEfwizfIqJDCt73D0ZkDDoI35/SPztiWkxcLmKhyhEolaJ5g
yE9g91pu7VSGOwIMbutYJjZrdtA7FQJj48/reqDUVE4JDX0AAFvNHACW8/NP+kVu3h4e+KQJhiRO
YMY7VFtRtl2flbj7an21CZ0NyOPmVkQ3mdteW3VTQbGYtSzc5yCNXR0EsidrfOl5XF3QvFPWNmRL
UZA/wmoGlu+h/IPaKv5B7XCFP3/TXzzU/E1BsAZwgKYQ07OzqH0U+6LlBqF3Sr3WSYPGD9BBbdag
0aoorcCEmL8Btz8j2USGayX4GyUF+PtNDse4fD/ZK3TYrpDlNnsz0RhdNFIrxA/azi1So0z4SmrE
eTQ4bTT6faOjxhKtKzWB/D+pTzd4rEXAZeJiNiX8XJmNmXwAm/4SXYDfN9tXQudPyOsXDiz+/mQQ
ATsEvR069RAbn3fXII/LilGfBkA3gUWFBhcqAhYhgyT1hrLhRJsA9hCuWr4qWkC1yDIyNognKPaU
KazXKBP+Es1eFSwf/GUiekBqcczhUAY0jmLbtmIeFyr11D0m4Palp4/6E1MxfOyOY9T1TkaTcjFW
L0nZf7YgYMJ7MChdI8GRBqbzkIwoIZxrtlYggAlijELH0sK2/dXlmK0cBuEBkAk0GjuI9G7fpRbL
hqwbqnfqzxK7tbzScHKANyZWT7ymjXgdr/3fleBbA/7f3zWBtYU40CZt38qgs3EcDF7D3H7W+mCj
YafBRR7Lq9IbvdI1QZHeGh0VES3AqssMyCmJVrkKsJQEbfodKD9fQfCwGKPRO/w3nAGj9B/O6HTc
LoZgQJ5cj+Bq0+AHq04/A0OiAZeD/huEYE1CBzF3YV1Nx+psVGDKJVIIXwATx8K6HRU4JMNRlm47
x6+SU4N5kDJRpqlMl9jx6PU9bMI6bUCr7fk+pqc/9+65gJBPEyLAKnE2G6EnxnWdBOOucCMUVYZW
FQdQbbnC6dDqHIlJ5GFTNgDNgbXaVF8t3VgZlV2SgF4XHcQokFdxvaSMIIbnTGfzFIqvLeQpIUeZ
s7CMyROdCTxNcL+evznFPTj/ERCjqQMI8ASsnZ3/QlknRedFPgS2qG2rVxqWDrI5BRzVPVzX1c3W
kTRIf4P8Ua5gbUcg65luYRyisfotKYZcKVvdgdXHaoR4jqtOwvAj/oZ2NkiAAXzBN4CD7CNt0k/x
NB96/t+EQr18fhv4Tavpt4Fma8DR2/Bf8FcsX1L5kkMobVLfgeg6uSI/CBhGe+oPQI/Y4R32OHy2
7VzGDf8O+XioHpq2fTpJtvb6fnp3cf2jtap4enFJT5BkCcGga2T3ABtDMzSQbhrwuiDM+jXT4B2p
LJwTD842jKiE9Qdw3CT7e7sIaYprGCaoO6diGytgyg0HqdNRQHhCiysu3j2fwUdH6d/HzSFoQtgQ
9ADxDgRZvkIrIOmje8nJAgS5y1cUcnpZs7Xd92ep7SZrC7gUHnaGVmvfznbr6Ib2+nJK5Vc0WWHH
fd2szCP7EWwBUVN+KhMp9zTaJkbw+VtTU+h3t2PQSMR+EVEumVNIyQE9upRMfCiYZy+dkerjhUTp
aLh2aqajAx0r5AIZ6gF6HJBZLHEAxyd463xegkpgi57j/VNjA2BGKrhowPVqcd2gQwhwrUVohx2r
7i4g3wKrsJO11zWEfd5Tm77EWHmTUN9i5e4eZnLzUvPZK4ugz4mk6ZzBF1/7AfIo7ZYsW6Wr29fc
KxE1LXjz/MqUz0eeooBz5qCBDKmz6UD4c4u5FHqyYFN2iDlog4NFOaTqSJT7UrUxwJW18nVqAfQE
thhrS1cEESqjQk1Yd63WFOGUMAkg9fgBz4Q3gJmg/lkC9sHpNED3qZ7hwmj0xILwgArBWL3d1wqj
MRrABqteY3XCkAwaTmejNmoTeC/WSFQDaTPRSwOCGCY84iECPv0MH7SV/zZ8VOaSjunDMacRGcKK
jQSDfFqbf0agLkiBIsrRP2VupfTVFg2lNILrKbYr2f2URbdwIDwKHADHB2ccflw02sWzaynvKI9g
g9g/ReOWztZotLTVMS3eJOpEiRei8EyywOeC9Yqiv8hpDdQBIMy18BoPj/q/rzGLX0L4HseEkHdO
pk0wGN+qdR8RQbrO17xRr7N36KNrmEhMOQideqLhzIaIZoX4E8aPsJEqTcQDBvMDbZ0DqUbwPnEg
HwEJFFztnT5d+tA10QK9MQtM2hK4F+KUDw6Nvx8wQ7IEIQv17gDwFd6baqtRCdJYPlwlKs/1Omg7
NeyA0m+SAkU5P7nmjPea8MQZ8G2rJ8E98AdiJ3VdbzeE+0aU3aWQApA1JZinCOiipDko/PFgcB6k
0wfQXRmVTCk1IooXIfJHdId9u6J6WQSFnYVetVI2WWJ0WQw5nr45l3SsDPEqQgc3IjLg5I8jpPJH
PlElNtfbNFDztocsJPrt2egZASEpqbum+kPfQVc19vVYxM3poryIRjVTOj46/MlnS2qblMomtwsF
YQaatcEVlB1dQMISgjSW1/ELuMA21DLkkfosfAhJDoCNZIA7j81RauINmROqBM8pt6x3Ivi3JI06
eiLpZZcfquyUSacevGAR4gMUqhn1C9EEvwC7DoIyafKR9Sg8ibGeCcmGR1DLjuIAJuNHDupvXoKF
A77QUPbvCccA6tm8eCKyvzr96RlPd+GpTRXnjKmMjmZPoKXoPgk9vaCAKyotV1K1bQt/F1aCMjQQ
wgxaMxZCJYSMK1dCdzzWWvwrt5ZUAImA3+gwtDsChiU5cnwBBwzvcFUPaFljRGUB21qwmOlVUgNx
AOFaMjeqsflGjSKWXRLd/4JZs8w+cymngPwIBRM4IX0Ri1T2M0YbIx9CUK7W9nAxHFklzxv0cjFu
ft/wMJ52Vbw6FHE4BVLnq5hPFZKr8bonosMaFAeZEr8oqnNa6AoJ7QtPQbeLBiChYoQdFXY6T7JQ
bAJWMd0EHIeyYwKCdrbvGmlVdbkZ1HBqI0O7ZfUy2lao2hMclB3SCAgGYVUzYMOAblslayIlLKYr
t1EoWS3oMJSUaQXiTL4L4WkC/SsP+Dnos/veiML/V1lfvELau9GqgESYKNJmKdUHaeq7Ry1nNlyx
K0UQgkH7HIRh7yaRHnKodIuuUpdGQ30PBEKuPtwIVaZRSbklu1UVcJuERTWw/BEqFCUJCNzG9S6L
Q7VjVw1sFT2AC9qCy1AR64YNy4RQpQmzAvJM6FBSoVgCEA051BI7ohdoaCalzKGEmN1CZP4oIfh7
Ysxisajuqx5rEnd+8ZFU4Zol4TEhBgowe1ootBs0X5USodnz6OZROjB1ZgQB5AiYac2eynZV36H7
2Tksj9YPIb3VQgJ5+Z/Cr5eYKQ9Kfwgg/nnWXJC8jvvEy/u4P00q25vJggVyvvoVuV0FARAw0ABl
2HJHuNUAbAGN2qm9AUIRZkJG6eNgFMBj/uz8UIES8SfALS9Q8J5CeDjCWs7BiFf+jwGBTFRJNFz9
zrZ5eQu/tlMNBdZJ3c74Jl6M7/Wa2K8/wRtfQQJd42xtDWG1HPGT3VmhFtQK0BWAWCOWFDXzCHH0
dNOZ6Hq4SmEygLgsjP8DPsPtoMzyMS4PU0Hyy84ZkUjlAM7AaQgeANBKJzubhsSYtw6QOveoa+fX
wcW/eL4A6EdZFTcp1IDECQ7BPCGsRcqFqprYOgDssv0b2an8T39M0WLtXTUyWIv8SsDm/YQ4F6ln
Fo5Ez1NRa5qKL89f5QGvDUI1f15lFu9JYhpkJV12pxxVoXCXruF2YElbVy0vU3KApod2JZANfdQr
F9p2694utcAicZ0X68oiV8UxP0mv0GNacuN7UOS/fTPmNg5rPCYO8zoHa6GhXqpONMhwLaSR7npg
R5c6lKrywaFLM0GQ7rlnHjrTz8fm323xeTDMsTwEUOFwBhb4bHDiqOm9NpRahwaj9Bq9QxthDWSI
MVXfGBXaY2aEXl+q5qir1ChY0G8EihYZRFFrVOwQP6Ou6CJCAuwdYXFhNCijRDDE+RMur+pVqlcG
o0NvTfdMWpuKLFNFLjBEK/keEUoLGmI+PXwn9Sk47tZTFCWa3HuGELpzcFFtpn8i1QzlukxnvvGz
muL3xBpYnLp4mYJoqKMuLZ3fJuHd6Ex6/yxD4n+/RJA/gTKfEXTNIk468Rv3TdwXZ0YNUSMo9dSI
Ld9KrRyFoXHVXgDfUl7lSTGXMwQ13qCjjxxgnOo9b8I+W+cvkVUr4HF8PZ/AX8bv3Rti3lC7pjmI
ZM5C2rZvOCYsifZUNkqwymxh1Z28l2ZFvIoHAtLUSCgMF/1ExAQXcVP9SCa7F0zPTo+JmR5bczSk
S76rjwAch8BG+MBos+iGyNRL/jFsOZvb8Nvu+lor6on8GLBzGSO65gfJhgo1HNIIFNdijVgAsDy6
PqAv9Z+PmoW5HTQWewoePE5TeBpdpLrII2704Cri68/H72Hhip9UCcDhm8zkZ+MXdR7AVoJLOP0V
CV/GQ6Bpao/WVgqjxzVE/d62MFoHbEBNOSzXHJ1ddEGh4OAVrz1MqGz0+C/P34mZtv18Tv++0+zz
+aITharHO/EGaDbpromt5r1NFAm1KRitgS63bWFxeylNcY0CZGWKvJlYKQgBqhbtWg0dQ2hLuS/k
CtynHKKjuyWq9QOtH7AdWBTMgBiAdtJcKaEpEyRtPdmCqRHsXQeNrW37Shv5ZNDoeKa0Aj4CBvA7
6iVZA5UVWb1CKYA+oTBVKrEtvJJmc6lW1OvzoXt47YCUycCkA3DyOzHgKMvSguuZ3gk7oP/g4x6O
0CKZFEMgqpF22BFEq/J1vq0ayOsynBUEdCsDFqOw1Ecb2ywgjB7BgGso0bYvBkbnp1YVmn45LBy9
D9BSEJ7CmzJItsFknXcAclcg2yEXqZNkwkKFfa+AuIc3BXFJ3iyNUigo7R24M1yGdi+2DWuObLUk
f/UAoXbzCtLs/qEgnAiGZoJWO7ol1AXJDwdzECXbJqncRAshwYM1IwELB3NgHKeTAvKsCJC2dcT6
Yk+Bz5zIG1LRP5xRjjawLIDsG5Q2ZQPwHPWXvIPGOmTHJ7rO3oWxQs0pnJqZz9cKfNvu9hleCGbY
CFAn3tGcF9JC6iOth2ASBxqv3DV8hRBhmqtSoA/QYfcUSt5eg/cNrCPwolORlt1hKU8Sdd9QdYM9
hKFpMGCALKr86sqaFaqMSXsKcXGG7wj2F9/fvNPKByBmZavZOOA+AkZzQPkI//Xuc60R0DmWFQXt
VyhjQxi4k81SUaDg58uX1/oMU5T6gH+pmabJf6DsC/37ny9R6xRGrq+AE8umCs3wzd5Tc1Y+sivo
C9UwvFIiIHwjRCusDR+t7i2zYex4AF5hIBSgWpNj+gYDnSXAwn3Dd1J3EVDfAYYIglezQMLPAGTO
4LRyiitNBHsr1XJTQDI39T+BtlqaPPZ+7ibMl8QBqDYV72dnJBuQfRlV1XgCbBoCqsU6a8qrx+Rb
cmBVL2uA7sTpOYqmW0DhmAJVL2Q1ygVIj3x/vo4eMGVRwp2YX5BiRL91DtWgCygBMmU6nEo9mWQQ
YW4P/x19C+QQyLqXX4+LwmrWMA1Wjq6yNBJ3kTbLTrQUsCwANQV5eNa/IJqqD6m6F/fob4DZJIAJ
ChLp4J9qvqn0QDQoei8C389z7raJJQhUEsnCO9wz4QErIgEcBA8cch/Y4reBLIA8UeCF0D3ioSc2
PT+BvRgF3bGaL17dVIAy1oiWSONZklSqZd6uU6ipUu14FssAYLocenmElo0Ir1B/kCjk7TzSZyye
pG82AdPLXcRZnpijt8RScpkBe1wK6liwHzwEF5sWav0Md+QgdCxXEYq4Xq6gDAllV9SoeuH4fMbv
whOc1kDVgqYNoUWe/21I/IkKw6KNBL4nWMTM1No1M6tbSGrvDqbZA2bD2WaNEIqZzzmDIhoDqpHS
BngPnInPv+P+tsRzpio48J7Q18Dk3U5bTLaQ365T1yFtQS4MgFtNcCjeIMqse5av+eCYJ9YAXEmy
zRVYbH781+3K6QVwCTKTZOTUDb99ASnLYeQatZLjbnxoqr1zL+K2/IFO78LpdB/mzR40G9Hc53nQ
aEbO8UEv42Te6FGwr5RkgzKkASNAw9WZw4Rq5IGVybY86sPwnont8NQs7JVfBc6b6G72KrPaSJO4
bCPUneSU0Ec8hJ9A17o6F8udL8M/daE5do/qvXkaTszbERazqumGBFPcquB+KmAt73AO6lA5BsXU
gOGACQwmUEP1GRQfYIeQ2IBl+nydoceEp8y/GVq1FFhcOKWYuSAQV+MYr4BK3PdUwAGuNCbfXRGJ
MheTRpEXIGVHTa3EI9iZA2iqjXep6AiKnKLJUJUOaCo8sBKzgKIz1DdbHoDMMLB4yHL50J0JiN4c
OWpfd/3aJWoVJQ6Q6INLHaRy6Ya7IoNydkiFJhgVNs/1B08Q4A4KJCcKeDWBnih0vlr3M6tL1Uup
bSnWZhOmlxGun2R7oSHsFrGoBw7lgWpYA8HEOoCJQFq4poiqXsVACD6BThuZ6gmby0kTanRSKRXE
JcUeLRx/y1StFqD6U2aQ+QxizY2hoECh2SdRoM6DmU4KqsinThQFH4yYbj2avjQ0Sq0Bt0s5TmHD
+r2XSitJwTKnJyJDEUQHQhzUmsnXNNNsxKKyXamAWj7YTIUEcWwky265TaEcKjCZTFRAKVVpYIPp
te8j9ysaaouL4PYkpailIlog8regxZEW8zupQUBUp+AmNArbH54vhmlL3y0FRkRhkJ7gudJMSabl
hL4s4W24p9oQEu2+wvgZXhWTDa3kbOFh97RNLH/mz9NmMWcdDyVX+qHkeGegOZH1Utvkg7a7b0B+
bWhqh9+QUd/D9SZ4S95Ap8p2md5/FN+QCjgIqzSV4dGjFNveCHbZsTdgEOf05/pdBN4fyg+r+kyv
q2OxzY6VnZzFt36X6CjR15t4cQs9GjaoDf9qLEpA1N3uY97zJKHlC8lhN+R7YdNf5U94SDX6QC90
iR9dblBz+b8HCbMDowK2ox6TVHLSdXjkj7Q6LhxJ93kA5oQHyHSKWEARnUeKvdQUWUDWPPJE9ru2
wnVzrs5ouBKX6Ay3lmqTHOgzQ4IUJ6crkFb7Hw4qrm/JJ8AEOxqlFBpmLckx/i438en54nx0TkGU
gwZubnL1nsvAjCWkMsK4Fx3XmIL5eoW4Qp/MmZ8/5r7w9zsE/zxnNpsu3K4GpvSlPQu/VJ//pprS
CaIYUi+seKZb7zqAMtxHzXfs14eELLdhxkEAnl9CUd3XiW9f5BfG+SeU4eGwm8XcIDr1urD5d96O
1VJjVRg0H6NPbmnm7/BjeBoAQrjzUd6AntRsbQlUStVJKwgOpIwVZuXuiEOuh8DDEBrqjG/wy0Bl
qjKoS6Vj4FeZ7iOnqY3aiHT4aRxoiCaR4OND0ttckiy4z4Vn7zarmPNJmQSEUEJZDYShUSWUYN/K
F1rOtkvElfuOxexRU0T/Z9CTloWTehKKDsT6rhFAihBq0nERAz8kaazMaDX0qmxUQBcy8EerG8BQ
GronQOWy80yBEQsqT8HjRV0J+AXL20tGCPyp8Lqwuh8+h0EtGVkBwuM5D4zgUrGriVDY036+6iVw
5cXSIpnQBtQKtgN8+QYu+ovf+quoSDSaRr+4Zt5F9M6ma6vOmFLNhDKzUZi1SUY8jW6xUHz5LevN
byHxzyvOpkBoKAKVIJHfu7WodjzU9iJ3fIkgl12MMVQCK7uAApw8XacQ+FJGiN7LUkO+kIFr154L
f134TPmUaIS9uzBL92CJaXn8eTfmdnmkgdSnnesKDkQebWjgayCkaASKkJcLnIZM1pT+p9EQkEfz
OI5RNJs9EWaDlFB0nehcU4BNfT3au5Z08Db8eoQwOxTZ4aBZy8zrUrnuvno9feqfB88SEJ4qBtqL
K3wqwEjtylckrVA+fBUnAlwUEEvpkAiTD4Bf2IBhbLpNrk8DkQA4R+qHGCwe+NvIO1Cc5VAL97jP
URVpQfiBCoCcGwEQzYRyGQCGg/uTFW8gtw1QnKv4VqEB4EzoS1tMnI6w2cLCFhMnyDs/lUdnxwgZ
hDRMotGVV1W47W22+nabqvoWzO7JJvkDPUfdsg7oLDr4Rd4ddt/GQdOUVw21Ufw6wXbNvWkqx1BW
3mvlHca88FH+8fTJTTlUzPPCXn1wJN+872wjICeipL7PeCdX89cAniM7sVGZC7Medt5rYw1WjaDo
6B2fP/ZXAOJumKDFMqlkQm6NmSV+QiN0eU7jsStA7nR4OW8dIPW2+pu+AcRsoo9edYweA2MLXrG2
ExMTA2doF0AjAdh7VUBo0Ox30ALMI0bLtDXNMGSYT0/1NLBbgYnc71cLafmjnQl1zH/eepZF+mOX
EiQUG5CXozNmSavhRF3A5w4cwg5R6UY2gKwxqBZOhOmPfTJY82uTDUo+yYWa30cSb+Xit8R1dsN9
QBz6FJcZ+Iu1vDA9Dx6Img0yc5wGHDt/IDic1ABZcVgdbmB+qBMHD40tdiEIepAIoEcNJhr0bCF4
N0cjArUpujTVSI60rbfhkf2ivpslWbhHI4f5gg8GCJxTqfD2KI25uI5TMhP2hBmWJhdoWW+LVuC9
eIX2fMgehM3iFNdQqEWS0JufhTZkIjFiWUTkHkoPBtfkmwoiMDGqYGK1ZFn54HrFo3iSo6CPjKr2
7IgRuSCg4NgEU7PhpSyQNVEVOKoFpNNY1MuyQh/JYA2PnYVF8SBuB3wP3Dh0LGA5gwD5djB7VgAI
yu+DAzhVTgG9KVyDLKeLP9y6v4SCDKRzYIol1LEzUasvJPgtTuCjYZa+wJg+2CSfBCoNSENzhT94
20aUl8h795MAMgVeYypmTZMwO8y4VOA9SNIQ+w6N/vLiNoZYKVz/3+di8AmFQDX6XiC8owN2OxBt
5jJ+PAjlgUi2Uvg+JLY42CwH+9BShbJ3hEapvwBave8WYcahT42ojQeUAQzt22f2sI3lCYJvnRGK
D+DWoR4BUydEKDGAzqideWb0Hq2qa7YZgc07TpaD5/FMrhvLJeUQLN0P+sBu4u/nq/5+f+Gtpl4O
VLVghDMnleah1OVln9UHSG/orCusuG4C6O2SBlSq3oKAzkKo8vCBEvqNOJQmFabZMEQZkxJ+UNSH
kfeOHrzTiCE2w2TcFNTu1c2ShWT4QZyID0SqguUEKAs118jnoW0SjBVTH1rYh8LITY7KSTvkI6tz
C46Lg+dpQVVuWhRx3BI2FrHRA0xF+SDXFVC+7MXgFU4RzwcdkliY7NsLAXV+1NnxQvASlX7Dqj8J
RB1EWcOyQ3pgYqjgS3Ai7kEmQY2KGOpEHfN0xXfngTzGxTVq3W3I+goFd7IazQCU4RS3mZQwRF3w
/FUIOfuwk3Ra7M80DL0hFqTFBYTPiciDtR4oEAA3RgWs88TOaIZNK06WcZU5YsNXsD4Y3XHl0wN8
SPBMBpi26s3NBwWwCVgTvvvSJQGSPIMXCj8ibmPiLVFAt4+y3UzalB6tFUxkIsnVBzIz4iIy0w71
SGitROBjjvBoQOhPxJxSQieKlc4uAJllBoPIFvh1iVfgznQOy84gWPgttVDfqSFG0uYXtqyVCtei
2wL9RKTAThK2KL2L5Dqtsq8ajD6qGjR/3JOuqIkB8JNpaSQMtfYzWOSxk6SlL2Wvg198ZIL3kbvt
vmJGjYihMFAQJkdvOcZmKViScazWgPnnuow2cM2pIKEBOto8/0H2X8+n/fGkQ09PQMQEwM7s1KGz
PgH0kk8OadzKQXPIcgPmgxhpQWWFTZ4tbbUHaeoUm2N/g00EMMYcmR8QXF21sEY+DLUA/JhSA37U
k5UV9PCF9uCJAl11tlPyEcS52KYFe4ig9tvBUhKQr/zSC5XBZ+kCNORBDIa3gvsZohNEKOSc91Ux
pTtkfoG1P3m5cOuAdJFXtsCyspqUuVZHY43lZyBTbaLKrKhEdbEmICqUaKO7VMz/TZnnO/Hv28xu
nIL0ghYa3WDEgcOXvCQmllIg03YPIERnVCDVJ6Al0lAeUgSgoxizWFN70vqMdoztOgkQEghLtJqT
hx15HV7Dl8CC1Ps6cKAOuko1flVuyJW0Gz7yk7cdjAIwNXYjrekXiE2CmfiyhHh6POkozvLoKEIe
cH6FVmJODxAj7p148NW8gGxlyNui16i070FE9hq6xzYeLC74iml+MoCUef9H8s90cYD0i5x0mQkK
lv586T+ol0GUBIbBuHRFnHnzLgZE6ZlQ4r3gAAgMlb3lPmw/BzSMIlXMEpmCv2Zj+MM+FVCOBV65
qhfugQdtFBGMEdQrceVjNwhTGvXnxOXShAyqIi0PJKt7lG/6CW77nudx6lSySI6h3EI9LR9wBJU9
Ch1saNMudinsYbZsUqthXhlci+bomAMvV3VKyxG7kh8gT7dtW2uso8PzIbuPrlG95BC+w/IJhoVz
VdKiywWuJCtuD4B+DC9SuE17hl+egDh9/qAH/SwYu1CQ1CLRAUZJfzq3/gxNBI9L1KthaNv1Ws0e
EHolIoSxoE0bgWzubkgPgndobj1/7H3eevNUZgoF/zxVbMq47Wl8n9/s8XGSsOuYhZjrN3q53dx4
BgftBRyBCHzn2Lohc0OXCEXGOV8hHgTaNIIu5VCbE70vkA8HAg4bExjk2/hcG/Tx9d3+2Qf6zw/k
jaYfwGWBdMepnLoE3Hk0uX9fbDbkUte4XZpL/F4sJzg/3ZtDYcXVp7iUo93fOTcjMA+3xrTr0zCN
2WkVeZkhJScKW8DXuN5hg4UM6h72BnWSP181L51wLR2ENR2yzvkMHMX17TfrR94fyB8R1JZgF/kN
uuVhByXS08RMT/TcmHSUmoWl9Vt8eDLv8zOQJoeG4Fq8SKd0EIOCHNQbGmWYcgix4wfWwLdhXCCN
OtXGXl/sE7hxmPWfr69GXrL3+sVg3b0Msi4OAhfINuZcLRckGLjJ4mUmIatGA1sQer9vqCX9YpIS
rEACg+O8vb112sb5/IT4gPwNPZ7phzlxS3szPIYT7XHipE6s1AlqlShQ+cPfa2P98gIBiSP449Mn
/OATzl9fHtRoyNUgQwFc7S5dLRO79JtAGUo9/tindzj4/cC9b2lZP14Bf751dsqSdO23QoYNh/nH
+Sqfz+davWLqPfnzO5aN3e6Aj8MaMI7HH+ATtB9zIch6EF5gEf55hdm5QmbVEEP7j0UKCZWt+Bgj
Ww3aTyoZ9iUYNS7y2yD2LFRk5MA/1G2sTAJ+dDTseTZYuHUe7j6eBzYV8Q5Ym7PqBT3QbsN0BL8P
6bU3bJLskGZf2Hdok4btwu57cKQAB4fzG/k9OfVnbs/TMAh6gU0H1im/pBXg2DHiD3Hhe+7TcxHF
Eai04BcW19JsbLu8GQpsLdZh7cB09Wot7Z5fCksPmIXIwdB7AlUUAqZK41pl8Myc2gTN//MzZqcv
ZE+axu0DzhkleYRBpxXC73thOh5M/c1QTTWgP9ebW3kCUY8Yqs6GPfmJvn6G9rCQSz9oed3Mx7z5
52ZQVuxJPATssAjaM+FZMthtsSbUylxCW/42fWbnGCj23JRHM7SEyP32i0bXTwFzqFgH+GoN8LxJ
4mI6TbG1YQYHn8RXwpgU7n5+lo6V+3oZPhNmxYiDsPYkdraN4JRJSSiZsU6jwcUThx6jdSotH5+v
vQdgqtvHzA6voRwbogZExdkgXEhQlZluDlxfuCygVv368g4858/CM6dS3/2g/vNpsx1FCgWHHSWw
znQpwDVQ/rAOBwNnOm4lSLYcf87PH/joeLwZy9kO49KhaOMODwSCd7J3dXArRwoAyqT8s3QUPzqS
/s7bbJ+hJhM3+fRxCS7greMcDij+v59+9l8LdX16aYXMdht0WSM6TTF1/XTpfCH8EGT4en+gJQHz
C+gypPKaUtaDCkX2HKO6fz6q08p4MovzfRi7RBOHJI9z8S3SSjNcSAWWJo2bFYy7kenYDOcxWtuT
jlHxGwV87y6vL4hbFsZyYdLmfCKPC/oiJEjW4e3kJdsIRmeR5vPhepRx/F2E3OyugrpRVRORxDrQ
1LbSbX35BIRqnalLUJh7ZC9SKAmK7BTSTiiqzOEgQtahaz1g4K7YWeAK9lgVUxR6sU9HxD+r6/v7
IJtL8eeDHPz2sbPlGEeJ3zZIRZ3VFZvsDSREbGl4J//sl47GexWK2y+cLz0RptG1ix6NA0EI+LOr
B3zjty0ZR5ATn8/aw7v5n7GcL0JhgD9YD06Jw2xddGt3XaOI1+eP+A3M7zYSi0CJh4gd8A2z0ynr
0ZqBnD3rpLvuLBqQkMHhBF00LZfTwxLH8vEH/fOw2fEU93nrjrUo7LtM88hVA35Oq8WE8fybHt+b
f75pthhC6KaUSVJPp+B18/EByup04tby5/o3CUIc/nVeOHkfHof/PHKe9cVcnrpFiGEMdyOgBzUs
jLu1Ly/dJdON/2S25vneGIlpCeFv1mmv8A9851bFN3vlP8VVujCGjw/APx9E38YefiyQNRHjg9DL
xo/tBrZ5O+SRNtgVC2P3AGk8bd7/LIvfUtafyC0YoqbhAszXdNgKMk6OAnkjCuW/py7SFzxXxC2S
y5i/n0nLp1sa2Ycrk4OiGviAkMaa10bGOsmh4YutVv2EO/ATB7ldGFHm4dz9ecRspyEKIDM4JE65
uoArZYJvwP4OmZqBcGeHrHKdy9o78uJJnWwpJ57+8LuF8+fhs53H+6LQ9gxylVGvvyoFRjJfSziO
RzUAnhR5DCJgywDGzKI53s0lIhEBEEoqoJGgZdVAl8IFiBYi94xM5rzqSZUtjKs6h0sMmDWMFKlt
bY0gBYoEI+deCOchiNMzFbgM+ZtLb+PyNQkLLY3AjZX8D8gHAPQ7Kj2EKlgx30ikYI+TqQIjvRDU
vs97tetXABuk6KA0wxKF71HQc/OF0yr6s1Brvg2j0mV+k204v2xRTzgkSm2iKIC75vX9/bjfnzF3
qxVKAs8PtWmCZhN48+jZ6mlFikE7JUeyuQ40FCQQ/Yf24jX6IKxC7gxrRtzf6BawszCh5oaW5Ftk
HJMJ5L/DcTh2qjQ0otAPkx0Wxs6vzz/sUUp188xZroGuJNTup91PI6V6oz/LY7+iPrhND0oM6FlL
d9DSJ85WKSr4UQyRDFyqVwryJjD1ff49D26Cm8+ZrZEIQGGWQPPXCd5HK1UTpbgyaDjvltCXS98x
WxBjTkd9RUzJ4Xt6yd+FhUN56Y+fHRh54HLMIOGPp398XUSm9N9XBG6GaXZHZwls2/sBfz5xTTYQ
tXlxlwT2Hhzpf58wj9OaPK/oESbr+4yx8/HQNTYQLOn/UAS6ecosUYAlSMaHLqY7daDXs8qcGMJU
/yLszJbjZJpufUVEQAEFnDLTc0ut1nBCSLLEVMxjcfV7ld5/x2e3FVYoLFuy7G6ghsyslev594j6
Ch5u5j7MxxQcSQBsq8C48c9lZ4afzDTNXXwucWY7SJt1vsKq17QG0Ho2LfjGPx1QfLPYGDBCVBWB
0oWv8c0YNpp+AOgho+dGSrbaAnVOsgQDzjNlffJ4Y3l1mf6wvn0zbXAeAuUr6mh4xduXXBRtKsqF
GeeR+kC/DVuunlTq68+J9QzWxb/v6JeZys0dhVALpQ3IbRXoAm7WuakZUp1DM3G28mK0FZjjxC2O
vqXcoVJ8aLFngQDioGMa7vhgTMeWZ8w7cXw2xZU/mksU9/xZXTh6PiZPh2KHg4w2oZGmQINJAu/7
rGV3VfwwGxzHqAeSF64CfxyccdmAoUR1QkEgBdwNEtGMSYeVLF5RCFDitNXi3FlUA/0dpgNbfjgL
HRGL4az2s5NhvYq/JdkbKdCsl+JsBbSOdNgtFRQIeGUKbx6jMDdSZQV0KB05vStWRFLLJLtcyi4r
Lc7414rWWQ5O9M/NAFPOsY14LXnzwj+7pnVKI8radNvMhlM1iTtYqNSZcB6SecSnAn073fos6bDm
l6Zz0psHiYD8ngx7aXoukvdWGzxYcP/kjfLNXBYNdxYkVOhdxaninzMAKjWcE3bcOpdwga4gH7ir
lH0x/rAmfbPmod8KbDkVEmwUdm+GPZXHaqaVJVoyI4QpvfaeWT/ULb67ECiykWwhN8Y+ezOVzZUV
vIAW9pzNr2Q5IwmShjez+alNEQe8f8cL4vgVXSlQPuBc+jZ+10nNe2bKiKlLfKDHFsdxm/srd54Q
YeOroyB4LC4s7Q9ol4S9dIuS0QVwSJHPvr1Z+Dvh9/MmymTC9IfZu0c4WZwekVrfIWwVvdqnx+D5
cfYH75na8tMzjDgfDodHCqPdA5rQz3CbR7T+8PyIsskZxEKRO4Tnz50evIJADs0qQAct/vvtdQtu
+suT4Z7V6PrrfnNAW/sOnp6Hz/vrD8WWb9YZU6j5CY4shLnezbYJMtOCsmOCencfDZCEzQWkBodZ
Ai72XJIcgG7ph8Xmm4YqGGThIQj5BYF/gXhUv0WNAMq1c05j+QLKisilcKMvl8S7vOCS8SSiuxPs
iU9B9PZ2DHDV3i62d8+L4x0ePp/wvK7gPhwOZ7SsM+cnz/Hvihl/vLebIc953xgyEKpntgBLJsG1
Q7cC1udoYquDGEc6S/6o0+0ooW8QMp824fe5te2S/Ieb9O1joagYof1BNGXfzItuggCTpyw+V9kd
yT4xwfsxrCFeSD8xzYfsh1HwVTr/YwNAxzX2VFheoMpNsKj8+UzytgJWbW3lhyyDqyQc4Y3RKUbV
q3JU8jWhF5wc9F0603BZ+m1aqpcFrkyzjqNCpvvacmU88cp0cWRAS1L98Yf9SYzC27dnyuj2wRtE
h7p8Ex3pVlNpamtwuJHPzt6yhf948nLpHRCGMWGOb8UGDwTmfnbUn9VH0H8hrraLAj1BkJTmLjtC
MlY7mOPHvYrK+ijsu44KVPWY39ovsACh8gc0fPFgoPeO3vEByMAo2wUHp4MSPETDaTn5WhvALk9G
l/ODBZgqWjtzJzmeAcL7sskFG7HGrO5q/9e/L1/5G62CXjc47KEnADU72EzcXH8pLyOf0kE56Q3c
XAbTSTl9Ja3h6I0eqHkP+3+67FVbq8sTSj12DD1ZH+t+3b9lMtqDyjOnhd9qFdhucH3kbPZl5Itm
gQaHtHRrkLeqC02Zo4+PIA8CQn/X8fsMpCmjC6vhcZ1IMKvasSJ3YgPsWYeuFRC669ajeuJCWO4w
pXA665zS3ofRkBNnJ0nbtTFzq7pyJ/2KMr1TiGPgUfOHei/JhWvw1enWyq67z1UB3zKD0/897gOc
tQUDu/UNbScrhj9ReFJoWbSoCBMSXHCLeclnV1PXEO5K7pzDDgOUHuAHHT6NbtsZ3moyp9YVt5VR
ry4xTPOHvDXtmRehFCunFBhkUFyohLbfLe2lHcnH7VrOp6oBdLOQDvk8fpRsTuxBg0Z5NqVTOsO+
W+m1qM14mC6rRyHcrIBuu5tkiDpz4q/Z7CizUC1CyRzzl3wCJ6gnaMuGnrZp7qGH3HbSKWZAf7RX
tibIg2bJLlTFoX23LfI8mGId6L3VlfpPlS+OueSuPpe7tYzodFS1LUStbsezME2R81YU764/d9Tw
TPQS9fl8XeJpRwl6CHrJNmkZ6fqhhpKctvJjxrSHuLI2REaLXDf9GpX42EGduUqyXaawv4rx//VL
A+xkLjuZofWuhMmcpMSbaHoPm09wHk+g052NRfP5XL0ky/sPA/1LU3Qz0fGAoQZG4AHB/a0nx2Rq
49wyunwZ66J9FN5Q1r1+FHbsBCarKrbuEfxh/Tj42h5jcgMsaB7Be+DI8Fl4s/MN3yzvHP7s4utq
B27HjC9IIKzc5Y1+RD3m2u2WGqRl62gdgeuubWHorsHanXxZu+dRebWORemyiOF/aHb4HJkBLFCC
5CBvGnxn9S28oniDLKLgBYAZIDR7LBpq/NYAywGO4dbCUYzuTRth3i6cARY4odWB+B660nwdXI00
lF3ZbV7HnY6S+X/eZXXEDiq+ggVlESkbNWDkQnx18+UNu8EzDZRNEZWREQi7eHgr4LPyf9+fn/DV
ToGdfAMglD36y2YNFPjRN54cJfCeYp+jX+zm9xoedXDRReyRwV/eVjbKxjwKD1rxb6090Fc7ZcNh
YAejYfenVuS/S2Nf69n/HvPNelbRysgUXYPHEggLKu6LEvZBsQEDI4CvGPxyQV3YgBMFVzdBS7KC
BT5tQqozhxV+Sc8wDQvhsRNy2IeNP3Zy6n9tv3h/MPNBB51CDEO/5QlL69pL9VCIYdg9CaaEsPcX
Q1AO4gfJBwr7SdAm6k8xpMwX+CFi3InRogVJWMOXTjwT7vP3xhM3HeRcePtWuPWjK+4vuW/gXIdR
8NJBxNB44ica2Prn8Fb/qS7yjT+fuBi46uC0E5hoXNOfe3uBBn6Ah6X5ArM9wKpKr4W1HpSYIQRZ
+LxsRctsHCHujtCUjlos7ntcOcW+eYOxRTjA0ALUXPyMMNqD/fwGOiC4WBtgGIA9vu9CLdI9EiUw
wGjC9LHxiC9M9ipQMapAiqo98KKJrUr2GBp4WOIzVKd7Nbdh6vL1gW+dWCAAGvjY/veMeSh+xw9B
GCn5bSgHAnUAR+Rti2bqnw2t/zagublNN6Hf0Ch5x/QUslU8x+SLGlLBtwn5LSy9qaN5IIl8kdkR
73gJ5h7320jYcctuHxlgsWOIDk7pw/oVQ1UMzJ9MML7UOrerI9CEaN+gyJn0LxTKb5FzG3drJiPd
PpEBoc27saT+1AXznfyRtfYKp6BYdYbWgfXV6ozo7Ridrgeg184A0zMd1sJrVnDKl7t3SY3aPGCL
q7DAxFnCYlPgOPRgya//XtL/BkkC6YDADdUamHbpgCP8OfqaFTbGtTwuF2pApp/HjgK73XI6Gz3z
YzijImzQ2gcOtx1C4s2qGAC3Qq+UxRerPNXzbFcs3yjr8pYBfqaX7txgjRWhZ/Hx73eq/N0TcfNW
b4LgfgUstmZ9Bt5b505+vNfOvQc/ZuANfl2hnfOxN/sjwHYiERTHMdAVQjc34SQocwKkiXeXSw8O
+tNT40p+A9UmpABILy18iKLxG6QcolG9DEog7C0nc06g3QFG7a4OQhP3GWbA6OEUbLgVvatwCsN/
jR/CcZ3a4YxHkFkKF2AqsBoeoAUZXYEcQFM//M1M5yfy1N9lNnE7cAKKzPCrZetmQky0pHpr9Hhy
2QfvCy/v19DQMptluP2DO6zch9XS6zjMP1jtGN+E+3+88m1S2rXaIist3GXhk0k9YbEOmBJ28Won
tl8NpBWB3VPhrwBT0Efhpw8AFLrfYTsAG1DlxcAE1Vyo4mG3nn3QqAuFSU8SVKHmNl9GoTNcNoUx
kZjEK5z1YQPqIvKDNYD1f0tSj0WG55DgijWJevUWH1idIZn3fkL5fLPd/HG9N+UcUhbLkiiYI2ne
V46ur68ycNk9WmZMjWNGj0cdWCs6fP404v86g7t5xDf7cN+Qtat7SPU7n2NvMx9SrH3si3TDNxP2
vGqnBfFeBEbJgX9qG8Wn+BUHspeEcRBvdPTWirVSON7LHmyBQELIQs2jDh6Oi+4NQE8rMEvEjqgD
W7BeBTBJwn4uMAagQ2/Yq444Q9nAAt88Yq1K78AcBgxHrK8iKhGRzrIRuybikhdA2KExwD+uXbHS
ii0DjwYEHrE1wFTW+/cd+qvw+3V/IEiHlShS8dveraXurRkOi4hTsmzDyIHnMHOBvzhvoA40mZf8
KEo3xXp4s8ZjLBhoTKPQjCDX/XO9XJpRLc0SL4neLzHwa4y8NjR2uMSQPYnvzAiA4fNRfrIdegbx
YKqIbghuvtiuBD+iwe8o2TK/2HzFVfiWGlY+8wWCogV9k17Eli0fk92ICE+AJP6LQ2ET5BNf2qTo
wIRpDQBwUfIswkwRhCH/QiyqYtbUURqWrtjd+/CnqfCNpeLXPf/fDbg5QaikpmriqhOTH8pFXOB/
obn4kyB7CRKTiOwHROBmIFyGGUYn3yAV2NRevqMPbVh7VijGLNbwgMBLWHkT7sJrOG0FeEMEKjiE
Cspdj1AY5K9Ieoi//IObsPr6fdk0nrVfNoL4JZYSAXRqn0QMJ25A7wvf4QFcsAXhUA+3YviNhAXG
/AgGSwEE1PDlR4yFJqijJhC8vArLi8BzFIhZCwzcxkF2gQBJfK/0Cb7XBaknQgYRA+W4saaXycB6
qpEeUe9rbIccI/zf4/vLQ/tfo+2mLNqRaiiTDDe79mbcPrYTFs2ttxUELNz3jXxFfO5WWFZhsQ2n
WHos4HeKvCKJqk+kCB7HKvnv9/T3AejNALiJGDJ0fMN6BKt/06cubdswKUGS1LDSI7GVEkAFrEcF
zaIzIkutfP7h1b9fEv83/G6CAKIkqlRbNXa9cfZXPj4sRrPvCsnv694fyvpaxR8KetYS0/zhYfxt
/IALx3wAPhnbLoBuN4G62QzZaqp4aTHORe66vItxzhH5iiHAkYXIAX2psSGKJU9kJf/xR0T+IbZI
kcIKbp0C120RxU/INwVwBi3/j+Kr/6AzCwL/Allo78Oaw+fHxpsVkKPzV7EfihRULAkiGTW+5joW
bSzZsFbzSh83/ccZ/90a+/tV34QZUgZ7TamW+KWBe0vOKltZPnjc+iR/mbpfCqCp/37Cfzeh39zm
m+hiRqgqTxJbLll/ndrxEK9Q5ecpRpM4zQkrDRVDTdoW2SnGQW8y5MDLb5fxAhhJm0p+IoNim1Gv
NGdbVz9i9jTr28bogirGfZUaT4Lzot0Vw87Kmm0yl7/yFNgMZDJy9cNU+VK83U5fBb2cOEJRNTQY
39y7WDJb3ssV9u8BDbPVo8qryEClsmf6hpSntcxdg15ndI+lsL/W5evKEldKuU30Ty2nW2VCnjZP
TsEt0KHJeJdlxDHSxCmXyW9AntAtJaAqfO7BM8ORlz3mj0nOwfKm2wp9sgNFM4lRuCpIyPHk9h0J
jMRyzBIRgTDlVbMgV7PtROhOGft7ps9u27sDxf4iVcFqwCB76UMide6/n/HfQC/xjNHojggW52R/
9SAqljwyOgk+AQzmC3QiYPbImC+T76J8E3Gvi7ooDgZ8TkIAnHwYAU4XEbNUbuUvYfKRBSIrR9cl
EisdGToqI5sWlQjN17Bfyi6AogwZnyA/ziAuoYiKsEbMHcHyUwPUVqLaRWzyc0L/7YT57dpu1kec
zmpEB6/i0qXcS5DkWZ3kLqx2x0kO8npfo2CJRMyT4CpYoLEgJS+DyQJtfSLTDlRzmyuojQKi8u97
/l3QDmIg8LuWsIP5yq5+S05XfYE+U6L8Ai8gHJcC3zeO7pAsnjxTTIflh5dT/lYfiWf82wveBK81
nKeXGgTMixYIzEACfx/xSxC4O2AiKjxMIgJRBAHiQ/ErhLYylkoEEGJJxWFC/IBlFsW7BmMhCRHI
AjBQRdmh2YlxI2O/7bEZ53uc3qGEkQepKAEh4JARVAiTMQElaAOBOFAe/8M7vaPkgyAV1EYxCsSH
CFx73/gaQoLyKCBPOj5Eac0KulcJ6+viEYBqZ8jDm1cOJOnkgWeBv7WC+iIKDAKVPTjVS4naghhx
IiVJ8DvqKz9sQobY3/5aUv53V7+ywt8eY5wlZp+2KIOILcV8ERjMjNui2sV2T70nNpjBz3F/tBdR
iRVb0n9BaQsPatxYOUhRCcV9ana4j74JgsFynjYxSqBKMCGCFPdFFMSsF1H4EkWxHl8h4HpgENuK
0pj1gDOEe+tB/CTysx3s6F0BxPox1vxSX//rYm9iTagT1tGQsH6KOLt6SqPkwCIBDBf5zVfugngZ
yFjpUCOAzBBOi3GFWPsKADz6s8VyISBf3VFBTWxCSPjf1bURcQkKWHIowiYVNVYkLw8iI4VCH5+/
LGPx86jBIV1SXBnrkfwJFgRKzaIWnRxIYIX8Lg10hIQtgtkKY86A4WwWtoIrAyEV4kxRQxQxJl7O
n4mdvwqE2P8fc0qw4ugD2ZMVtPgJMYzEIJPxi2CxEgsW8/qjsu8bZL5VUCBjQG11xNu2sKSJRHgM
+69qWx4Uj6IGRz329O9F49t057dJfNsoWSgMvmEqNuPBVxUkPCiq+6JsLsJu8JwcXKHhkYsYFEmw
3nXiJn8kHxOqrBX+HEcL/iQAGmv4RRrZlN4QFQeKvEDF5DQjMexEDimuWvVMXyT6InVkC5iMosjI
AvVZFBQN3Ol+K4JvoNfeUGRE0o9LRrlXv4g4fHSu/7727w5dLYWq8HCEHQH8zm8CkYH1hTqrlJ/S
eENgMzMoqd2Z1xLJHZJLbEkPdecIi9osAx7emk8xTHmqX5mlBdmw4eqnYbRuniCT639Qfoi44a95
gXIxVnOIeizjZl5MqjGP8qjMF5LpmzbGdqbnXiVNm6U7/XATvqt9KKixGyi0g2PwVT/8fb2JlWFe
63xBeAWxc7Zsi1LrfQQvo1H4FCEh1/KnGDEKSTLcks5LzeEOjqB2Yi12n8rOOKMoT8dAk5uwXVB0
SOND2Wp3EqN7rXntjKe53jcI2hqKZvqBy6jq/GQp8e2W/NtF3CQNrVquSzKr82Wuyl2Kcz1Uce3c
HOAivnqz1QQmpBU/3LjvEpXfb9xNtoBju44XS7meNLhnaClmSFtd6hVLBjRHQBuDRAeejrZeuszy
SnikVLHHstZdwD/vaoSAyQnRXmCs56Klj6pV/tT7/t0bBNlD6Mrg1YoukT8rGUqn036Y6+ThCfD2
K/Wus8ODOtRt1/cjy/v4iN4gpEnsYLA7rGko3sENwnWGAEKZPtw2rvv5Q7wMW/u/AY6IGoT7kQK1
A4zDb62vikztJVWRlssav8waeSAVc6jGLsmI44tYqmyWV0fJSo9GNbiyAgeqgT6VXXGdCVhwXbeE
YCFf80YKk+briPmcAFWs0szPDWwQTWOzFTibOnX7CVwhHK7y5D3uuqjXYXml9vshXg7K2h1SclWa
2u3G13JI7pqpCZe1eVrNEv5fxsPYo0gQGxNCbeswW/nGarPTumZhp/egRQymp02ozrQpc8ncuLlF
Xtf2pU3grVID0Nfk2wZCttgAdFoZnpiZnTvSvmsqjikXRbEXHIlzul7yqQasguwtSM8NZu2NJt4q
PDkh1QbE5LHj81HTl0gtSNA3KLnMJTytDafTsu2gMHsgPXaZ6tKn5aXJZjAZqbMyeadU5X6diqiw
pMjM1FMtQeBfcNmuhJW1udiDATWfiUVWaoMqlew6pkgbqGTDk/+zovUlzvJd32M/i39JCva6rMtt
S2lfDYmdpQxkFr3hik3z8hfUa5UDGdOLVlhvlo4ER5em61i0G62QdMcw5tVnYyqdaGlNv2gJY2w6
DDgGNz5nPbvvDOKTpXhAi+ed1mO3TNstH0AzU0m5rROUZDrJt/TulybVZxXoM60aNwPeSSyxo5mP
Hl2SJ7RQAPE6tGyflDUOupThYo10cuSFvTRyC2gT1JX22A4XM64d3rUOj7MgQxXA6TtjkyzzI0Tf
wThMs52uamPL8nC/qGSbokOg4dnbomMkKmzeNXozuVWuRKkKGXVupDj4WZMNTOp6gBI1V1t74uk5
k7Z9N27mFMUKOLm6SZvc0dw0w7nMF5fnJgCMa4NzLZ6Ckbjom1ivqTvN45vGh/uOaxO8SjuQTPVh
CE2IoWzS0QKClxjldQM6dDid505qKX5dDrKjtiW806sU3uDjhOMdfQbYUePoz4KTSS7B/NOsV7jw
whvZAQfjQ5st7FpYPA4qk/d1bt4PDUg5zEjzNz1rvEGBTnyNL1VJBk9Ky7eO89c5Ie9w7Nnm+eRA
J4DzbSviy/gwTKavUKO3WUF7u2uGSGMZBKJSWErJhuaiVkvahz5DkVORgGKuBvCQOs+arJdMalBm
mnu77WGhgg0vjpPrPOnwqSn9dYa6yFjLncrZA8H4tRs0rdgEu0q1smezzt8HPX1c2XyYVtqgRsX9
iiw7nN49QEnc+qzUwYaEYszqOkctlcsgpVf4U7g4sP1IV6AcY6OExGI2wtJk8KMpvQabFssdo8ba
kr+PA4o5PeAJBN6x4HoqABA29WUejEOiZG4+/ZrXPcvh3wiTqllBx3p6L8VI04npmiUwa4oUNto9
K7nb1xYeWL84Q6o96VbupZO8adsa/uym+jwrshtDGZRlM+Ru5s5MFKfs6RNVpW2VyCcCkcLwtmr3
pgwiuCyfzGGnraBMt++t6lMUoxRYaaWnMlsA6qAbuX+ra+Wpseqwl4RljaAjJcHQIGOeOsdqdBsF
gTCT212rP+EAEZ48w1Mbx9TGAGT2NCKPIONnrcNbV8LZoJk4RnGk8FvXpHVP1Iex6p2kXsMxw0lC
unhVTFyWnNUJB8lF6Zm83sBq0EtzLRiQkWCBAeQThymTGqZFvU8ZqLUZRFOsOvIU22C8BEzKLwTZ
vTr4zax5nMEz3NBe5nwN1Dh7nfn4aijMwyIKqLx0NgHfbM3KLUh5rPEyCSn8OscRu9n7TKjDegty
JCxrQE1BpKw+F4b22iU1zmXhAQYTNaWhXpzsrYoF5bp6ZR+7FHg1iAk7BhdafjfAOzirGCbg5zBY
zqQljq4lm7k4LmbhtGXxWsvQhBHYoQ0r2KjTRkg4Yc/8ONfrlsTWL1qDK6tiD2okuGytLl+RuFL5
Hg4ZO6ZXfq4uG1kpDjWY3nbMdHccsfjoJf6Tcbfi3ysVBEg6oLJzoLWrIyEuHYfGnoQWycBJjlpu
ejK5o663sK3qHxLAEepkRTxbeRYoaJq22BD+Ris7JhiAQ2w5JeRcfBqg/OYbqdYPpNScmX0W5bUv
7gFT2rUluiBF6WpInVwx79R+cBk2M+KVsJlj7b2SoOdHBn3ZVN94WyAElF6RRyz2at4tZe8q+XrU
cxXDDI7gLXblsg+mLL6TVeDpIG1gcuctDAqpdgD6wbAN0Ooa7muq2MGQz2EyENK5bO1gwzQcstGA
N6OJZ7Y6WolcvAtkK7XVWv6QcxLpAz3WOj/NrWRbkHotdNibWWNjyWpnK+wRodsxfAZ5Izt8Drk+
bXRRQ5RhVp3DgN4ytlmegpg3ezP2jBwDGnu7DSvQA8MQihVAB8zWRvXvUW+WqCHdqZpxUcBdWD3s
nGu2j1PhHPUMJLdDl8GNW3mLlgRPRtla6zrbWBB4AXLDIN43cyyHBaoz2IRwXh8pDKt0gXoweies
2XpQEw5RHqRDaLHVoJgbzcaJ9SmkIhyaXri0HhYdfPXxSHTsRMtVh8i+JCy1aYva4oJiH5pmR9lN
c5xrx9vJGGBxdz8kZsQGDQlOEjuwgApogyUq3RlWeW/k8UGfCyeLRx1sYOWQpTkkVm3BvawzcHwo
9bOtZfrRqrTD2vNzLZM7mIvCPrtYP1q4RJZDjfKbuRK3wjU7ROonm5YiLADmImpkYpeo4hb2MsuZ
PSlrHBQTh6C/R5dKIb13Wom8fQSjzUoOCJ2drMz2dCxeU52M3qrCRU1GXJ2guhEDdMyW9S3JULOA
jacdWwjKgP+4YzrM6EFFNoiyM+cmxVQyHzVVg2ATmg3UQkdEACS9460egtVc+lphBGkpP5MMmavU
vluMc0ePBzQ3qP0JyzQ06JTtmxhaG5peK724Y+gkbOiyBb3oMFr6cSqLgCSofik6cxItiQaVfKTQ
cUz1yh0JmVFmxJB/lmFmTbqbDinIhMgykwkpPpU+1bS8n3QGnxYTRItWg035MLpgip4NVngaT35l
FT+3iBbqfNoQlW/bMUUSOMU2miAq/D/KMati6A9XbB7rWF3yOlucIhanNun6BLbIpzrEr1BnbtGA
gobF7q7WwXFijD+MfNznpSQpqPqPSEigUi/A985Lne3LFkpHf0XnSeaaEyhKl2VKldTtaFPHT2qb
5IY7yQ3K11YMAcKmyWVdixpWFq1bm3Wme4CQc8VJx6TpPH1kaRUNqWoeAPqNf3VjZxq2OdemP9BV
tnzKy84MBpVBUpuQWR7dBfbSqNLpYwbUb5vdSatU3Bt0pPcG3n/IO6b6Y0WmI3pTqgOnFaRQulpE
jaKcJy3eZBqBUKMdJBh4Jruij/dzOoK/hHUxquGYjHlOO/1tImNzgl8eGOfiiRWp1dzDQrQFyLxs
q8ZOxmFAa8ui1L1NaRd7CV2iaTZ/wfj4mSvotKHzsJzogAOJkVdYIZUmdqxsAfxuWt6TZkSsYUFi
qxlXUsuQoMp4e4srm+YxI8gEyVSXrmkUOMvNUfdfKxWA1hKphEGNbks67V4ZjMllg37RU3RYGX2a
ojuVbLMSxwE52jfcGdZ2rtnkb6zOTHdJpSaMZ/M+Z1AWqhkI4vlFH1UX0TskMQpFJWNx1gyibLae
YzZCS2q0yP6VT6uvdmYxy1HPO5hHjeXdaCSQsPYu0F+CBzcv92OdpEGOfkLbIiRs1uVQ1oXpmEZ9
leX2qJs5DwqqDOiy7SYjKKpBd60CaKqh4hgN4LMY9fJGxXvAsg5OngLzY+u6tODEl/q2suZfedI7
MUXQkpP7uqP5hlEQwQnsSeWyfZWbxCvq2GVEIn4DaLxkDYdhJjCNR7hBzRURvDLCKb6UZy9RR+g5
Cj7a1WTQXaHHRmCSKd7KSZkHKig2Xk4H2VeSZNziUfRns4ZRohpPxYlphL+yAfrVYobPEUvfMCab
0GxQNO46OOpPyr4pUR9sFMjdZUif9ewj6yD9GmTSO4vZw1mOqZeZc+Sc+AelxLBnz/dy3kdsUY4y
xkJfN/slo79KxDq8b70C1pcmNMapOed2m8qpCCVXu5SVBuzx7qNTKwserLqEDi/AlxqdGnvdyhK/
aOSPdE6vOTrkmg6pKc2QCi7xlqDLcMoaCsk0DoyKAmVGwFskVyugnie5Eru6Nbd+upqSY/Zk0xoG
EM8ZWpdHkvhNZ73qctFt1MSAEV4Gk1AreUhmU7UnOMI2tI06JQPZlxEfbLjZ6YjkFz1f3aSrH8nU
n+Dm8zjkll8rqdNI2Z1G5zum5oe4srgP69kYQnnrjinJWVIzHIIlqCzNusdy89TJFRj3yqnXELLH
Kb1qoBwtw/K69FDSTxbku4NyQWYH/HYB/XVf7NfVOlQAsMy09qR4fexishlLLNRtioxk9lqibHnR
EDc2qnBOtNOksPuClo+lgW2zBnapNogHTw0/7RZvpMpONmNIBEixa2m3XYwBkBc5itEujuhVD9q6
2GZpdl+YEPWOFtiSVoM6PIV1t4Rt064kJYQHySErCgQf7fQMNfvHQBlE/Y0/szUojAwYyBknclKe
hyQDcK82tL3UxUBrr5LqpaOiuGRJKzsuOXPnukYuUY6Xcp5fCmV5GLXKk4ruRFK0Hsh9YJTmnmV8
UyiZkwzSB5n0e42vh7UYfxl9fiCoeZi0ObEpe0j5isIP5+GEXaqnbEvk+MGacndU29orJW65qkyo
m+vlfmobDGrIBOs8+YS3BLeNKr9MVlGhkGF81l3ykrdyZ1PJeJxocd8A8Dc2+kGrk1PZQUpVpxUi
F9NvV5W6Q2mgj0CyiohA+xP1y1Qh1l8krxJdjazU3tQOvGOjuNcSLcYyTLjD1RW+zHJuuYVF6qic
5dgF/JOEVm3e9TEc1aDKtKTxPV1R7uASyOg5wvAqT55LBkS8NK/mRmknbldGdZb5EIz9+CRlg0+z
+pWZ1jZTcHKmrNfFKotw0LJHbWXbJZ+3VZvcwze+3E0WDpnloT/UK7F1LfUNGUruoj4qS71L1eqy
VnSbDZOrWMURlZpopfX/4+g8liPHlSj6RYygN1uS5a282TDUkobegKAB+fXv6C0nRj2argKQmdfl
3tLtw2gspB+zO6xkt5Ra79MkIpaQ5GG3cqjzobwmQ3I21XLxXYSuubftZXPLWWcq5/pIjpgLpzhe
0nI9Ft1Am8L+blyacqSuqHTX+/rHnPWRU01OSEP/QBomgMTkyNALFvBcJ99rKt9ZbRCrebgYQu7d
uY/mgE08jWCPaY7Ywt2uMr2ohdzxsj/P/vyYtNZ1qixQDlIk701fnteq/S/zumGDv4WT0QYbfXR3
wva2WsOwxaqueJ5QASb2zg6yrZPVW1kW38xbcbP4j5oGl483A5/BmXzwm4vtM+jGs02EajWouMms
u7k4vFR+6m6ACvi4REegc8PboksVc44/nCL7Go0UD5BQJ61oj/0woxAak6/SE3podPJXadZ5CNJt
5jHKTTLYJglR14M5sHFcgVI3bUoMYNG24Z/ywPZYnOjZuybwN82a7sfZex0KQZnQ9XDGRjKTFheW
A4iB1q4/cztdrXGKbCu9FUp+OtVcRVZr0tEWs7azzYYV9Nqfe89t9EvdK3r/tIfi112KoNAOeJgT
DEzeLrFkpI1E4mqN/8WS+3NqUt+Dub8X/sp315kHHLMvQ1XBh9vDtBMZ7Hlr3JLCfWlV9V9i5L+j
4qOo1+CWkCu9HTzrvyKwL60PUzV5gFlFnkRuaZzStnxzppoum965zpnFhLiLfniwR/WqMnT+nXjg
r/HUUUkNXz0kGHb1BHFKL49VVl/LitT2omIfqdYHL4mL63vW5juI9sladNKDm+cAh8tqTntrMQ76
klxzVezywj17o9j2+soyWWvvl1aLp8Xdstlyn2fjLjWWF1U5B2dVn44GgGMpb9coS7sXokDo680n
7E1T6Amtj1ihdtElcJzmsC675AMaFH4s8Y5JC+bKmRCA91q9G6bxIyv6RzUByATFivpacYvYnmeG
oqInU7r51Vl4pGcyLPLmX7NoZKgT69yvz+zuTjABlaz3EpVxMfVx02njxdLFtsStpZfNRuRBaPTr
O6/+cZ5Y6WNOh67Vjoa3nBT479CVJIPU7TMI43OPsTEMVm3fFyJ2cnmpEvOr99PTUlNF12ljTdM2
LxCl1cuZxX3YtlKLcVPDdF5f/MU+TAxNosK7YhlxWgCMGWUdOQbXryzQJ+sLw+gU9gaKyCyb4oEB
ImoNa+sYbOYKcCrN/gvpx7H4m89KfDOTIHdUsMS7Tzdek71ZSv/IZvsggShKoc74eKM6MO6VoM9p
A5gx+14l+V7YzqYnLSVQ3WbBJJZU9XnW9AeHnbSVnn+mfX3I8vraGPqrTMZjPmuffWZf5tLnVfI/
+1Fn+fFkRWmWfAL00yXwJq3+KwKveG6wu4N0IpnX3yeZvSXD+EbDvFmdfifMfqO3sPFu/cp/9UOV
jcTspR4qof6cdUsZupP13Akrf+QoodiFmZHt+tjY4xJarHny1JhHeWVWcWZVmMQG4yC7Dih9TOKy
9Vm1DDaDeAW9EHu2oiydMZMb3gYs9Lw67dEz800+WWdk6ttcaBucqVWkqeCY2VJQ4bAlZeyRNEx0
85bEiiJBuublM9dhWETrPRPo3NFY6bAE+O+VJJUmMSl4jbkXcr4amss3tWp+XAvti6NnhtzFvTSC
e5OPD4byz7Jfz1PpHF2i27W+ddlVQ9M2D2+S6xYGIplDTw+ea02PxQpF13rNx5qA2w2t/Fr0eY6q
xt/0KXyU115de2LjZVEQtFmdFuVspzT5mxLkP48QgnUE9R9s9WaaBKTm68c4Dr8JaiajyV5YxQ72
zqpRujSDM2I26pZn5c6rnNei0rf1Wlph6y7fRcsSYDerO0aROSpr59hpxZPs6bGUudc1pPeV/m2u
NXH8zinpsLV0sN+Wd/F9AYDiV29TKq4W+9ZCD3VEaOrIgOz2IgJv76XcqczZV45BjnLDwVf50Zmn
t1RnVQyLkJIy32oasgnhxBp3qaNqEsj6QwLUvlOjFaZrkIf62ryYrJ5ugpTn13BZZegmt2GST4nt
PMwNCLqhoy1aoeHZdCmW/KrPGZymU7lRlhsXYwFb6YgrrUcvNsv2KqbgPvQmJH7qNc9Zbg8gp8u+
GgmA92h0vbo9u9X0nzdqiAMYTDZj5W+ypiNXdQTqxon4YnnuSTTQNubqnbwB75DPLGaut6S0ruM4
Hisn3Y5dvzPnZkvnHZu98TtXyaZzSlI4dBFDxBGcplsvFSQvPdHYxUaSvI4o49pOPZptvqtzZqSu
nr+E2Zhhk8ssnBVptQb10p50ZMedm5ySLOdXGMuvUkYasmTmT69mv9jr/GRP7plNQyQuasaPp487
KnKEvu+LB5r/E/2aWMXB6HBd5gF70TtRJaHbZ1aswAXCoB/P6WDiqzAAlIABmq3WyX5X1Txc04xm
SPOn0GlREq9uvPjNdXK1h7QXbjQ77gD3nrS4ImuLqiWPzqjhyzDtPqz86py48t5ZDWMOLdxa7TRn
+Gd1UAhVoG+wvPzxxBLYPz3U6xzZnXXmsn6Yhjh36CHrdr0tSmtDR0db47jIbZJcOzqyuVh5Lk6O
1Pb+ovNnwGLr5WBamJzrGXTVDMq7nqBCbD1WBQTdo+ZWu6mC/bH+aKSiAjC2sakt5c1LHFwtomev
r9nv+kByxhP7Omjqw+ncr85mr7HhZvt0yZ5c6e+HBSC9HPuL1RYfmtVd/aFnMBbNf1bunlyadGzg
AIF9gWoISAMIho85LPqWR5dhK5cBk4vZgG2Z5r/Z9m+VXr/ljVXGSjl7O0+uRcke2QyzucqrOdbd
ADNnUiNECgCjZ8/9tYS/H228MFNzKNL2mmn9W1DxwS8eiPPUWPfKsuG/1wDWpMcAbFbzLg+aOkrU
XO5VVj6A1dyEHMqQXeRxNZr/2XQsQZtbkdnrKQLG7M2TCG61WkeCzLRntdOh9ifoK29MwlaxKaJw
N3PPBXESyB1jTHmNxSUd58dOk33UOf7VSu1HUQCN+nKBb9YPVm4+F6N3W0fVMkoAzvdB/2t0y9NS
NdGkgNQAqDY0HG8ri1iirmqP9coairx6mnIntoi2xmJMYFnXbku92ulWHzVTvmvLxI1US7NXeds6
BXW2akCHwQr/BgJ77R4RXfLVVvqj40DfrZ3zzNP1IavkJ0uyaOGCJyvzo5Y6+Kfbc+nNN8vFObx4
X0bq7D0Mm2EAvBEVWvE9FfQ8Zqaz5jvwlnPSdCi13Pwj04xrlfV7pdaXIfOzfVV7aD1ZZhdaqfwc
5+Yk/GA7j6UZFf7sblSd5ZvMbB5bS56TeeDCBiButT1wPDVNw5eeVPe1J2QhG+f+0Fjml1vXxVPv
L9Yx141k06TO55RPT6Kl4ho+i5hJVSQ9TQb/LcPAt8LsrJe8lbWxEFNs73phAkOP2sZTFQLKpgfu
kcV3lQbPk/x74xdadrXgp9eCJ2vhXKm2TcOE1zwc8vEMergRBdiZIVkdCHTu98G98q1Xd5RHPsOb
3jcQ//mHcNU/Zo3YJiSnH/4W5Ri/etXxjTXzP9dOd+6UPeauue2L6q4KB4v2iAgrAPNs/HFfWg0y
71mgGuhIoSzEzVL1dcoRk00TsRPADmvHrhphwqfUxVfhctJWtR5k3W4Aal5k7cNduDtdDN8oA+60
z1cz1Z4dmW1BzR6nJbgZLENhdbbzDJxbxSLvc3AM/deyhrthDlevaU6KTy/0hvEs1HAv1t4J+7rf
CwqJmo2nriApyADLC1M2o6XVqOgzIdym0ehC01IQenJIQrNkdF9LeOU+AMmpFdb6NVPva6498qQD
143ZKSl9Cmk2bf6ajmlR346GCRSLf6gb07awjast2y+3MjdSuQ9+Mt34wcPqe5/U+Wenbd+Tgvwn
iahgXs1uI1ud39wYCjIlY2G3oGpMwvO30sr5F7R4Ta5u0rVEWBr+0a/Hv1eDT31V/bccASfUsIg4
I7OYzsx4B4Hc4MA8NXoDdV4nZjjOM0n45fC5LInPh5SezcXj3qUbwSkMZVshmGe/RZiChrZ59p89
UNKFhJNp83O2Sqw9ROMAG7vurvBG7Bd2V0duR2qmLTde6f6Ivjt7Hn1I0B/bdPhnT9W9dYNHlGU5
fJLFFGCUb4IigVW2iM3aPfhWs2uN5NFf+cR8dAWJYrXQtJvs4WF1hmkz66gTq+k3LdPQNzajDEmg
HzqPmcZ49mWwmxVOm9rkS0iGqIBai3USU0PdNzACGOO+ToewTHxcSFCVMdM8t9iqXxpLVvHa1MFu
8lZrB8qLQzLQNrlnMPQgO4BbHCmiLoKA3P7Vp1GEY7e8KQmnyjbvrWGx46a2XgcHosCuzk5SXC2z
+ukNwMPc+guiassmQoe/HDrLflnq/GnJ5vcZ/GCmBurzsq285ujmGrunmmIHXIWLruUbmFuw/b5/
ssvmpnuNE3ZJfjUHgGU09Hu3zvdp075q/PyWMf0/xwYTI1J/CIehMEOZ9jIszaQK4XmcrQ7gH2l2
TgU3xHcKnbkp9KmMCst9WNFuzHI45v500ZqCOBWXHArD3ptyUmGR6uJUuOoXROaYethxK97yaa32
/YqGQYdNKt321U36uyCIpF+ahFPIK9obhbURQ3CRLvKXJDH2TkNaSePoj2kBtGiX41agoQtoHhMe
GY2VbklQb4P8llhpbIMqFOvGSsQ1kXk82iwzMtE0t3Di9k2zeOC0Phyrp7UZTvbwz2yJRCGJInWe
hWtRm9INsoqjzv4O4HRnRVhUQJV27rMxfEmYq4a+XIO57YwHA02Z+eOtMIYqfawgspeGYUFe1gC+
UiK/ZCfXYNsfBO1Ha/AxiiLSR+QKSXWo0+qgUbMB6KJBmdHcM4syEOUuCD34XtPjiAMPTOtsTzOw
5aDtrd6Ik5nbsCaPRWb+yxmnEtuMZ+w6+gxHBPg1Nh5JZdp2LbPYmC2YDgdYE/G3/eMk5If47H7N
l0Pr/luqIew6NkNpyWWUC3W6urrGf6mH6ReZVGD946m8mq7NJFNuknyOe8j5YGmOcIFgnl1UwXAF
zWshvEuvskeLoSdNqo0JnJ6bRtT0JgIWbsb4Lzd9nuyGNnVBgsL+bPnIkE3RBtxxOmgbY1Oy0Lgc
vXPT04ayM2L1kNODq1WdFudk0E2mcVU2qlnwgKktWL8GV2yasUARVJlNZJTFflqDSKHzHdvulJFd
ZFFPFxcL3HSe6WmEFoRDGbBtp93O7ZduvJq+t8sZzgfXPassPYxy/ftmYjKESMbxjqOl/RdU635l
CVwIfXzK0LDko4GCs3uwLfdm+Ou14P8iITQl0/UPC76zwrDZvgtZ/Piqu5Z2dWJKdMPZnLdJ9vF/
mYKxr6aaZmuNqUCbXp8xzTTRSNuRadqBeXUzgMh1C00LQRq0olWQhGI1eOpBaav6CK7+0rZYntL0
GedWNNRlZEL06AWsOoFxRl1eNf4yxlodyFeLl8TYDfUNTliEPdXC/iu11M/ALU9tg5PSXkhG4aOH
HdsnNsJkIDTdZ+3W+mEk5c0ie0Y4aPL18gQi84TairQkSKisJL2CUcVYAkRtJL10ZkXLNEVthpo4
FSzpnty4HMqdi0a0HLHneNNrkw5xMJG0ovu3BdhJ871tI6qoZFoHF9j4tYoHYIh5lUeZtft8yR/Z
2xblBh/B5Mek+QMbTVtWKGwMezqwcus8DcvRtU2ym5A3DMXZAO4Bz44nI9nrcj0Z3S0XjNhazEC7
84MsorG+57b3b/EYnsS4RWYX07KGWapvh/WvlzPOvcmokNJgmsWyH+nauwJOCAP2+ogYLa6NNG7x
6/W0T3V6sQcDCQyfUM5QP5xrCx/DMn/ptYx0F9iYdIh8okq29SHXBMO3ce04y21KfoGbn0ZEG3qG
zI0EoCb5GB25KbNjmaLezosNqojYcTErFTrurYobAjpVDD18Eo+2yJUdprqV7LoszSPGTZ4629n2
drANPKJ6Up6f0ElRy8M4aYdsavfs6m6JsipeVs+nOXbARGvTj9Z0NmBN0uQcKK/Y5KlgYyXCSSxP
pWbHaclva9COjOKr8LovEWRHY2i/R1RYQ+3EvbYcRWltdH+8G6LhSfz7WrvM/VfxdqZmc5o67T2t
qJIYoSffj7Xu268/HQQ2eh78jOvnrClUKx6V3tt2svqeCXUwRywqGvBik2zbto0aMTFr5QPAZdkg
7h1uuij4byHMI2ycOT09mhrwvV9H9XRd9f9YHRCO0gqTlUS1wdhbaUochBZa+fdabFlobmmXof4S
7Ap1kndh+PugXv/65d3fuz/M5X+rGxxUo8W9gQbV+nWK/0TFxR/h/xGcaP9aX8JFFfwaI4MD6881
XQM5VscMkKr2h303ZffKsTZ9ZWzqoENgWoV+8250O0uhRXGy2LKdOyj4cZaCy5QuKkz85LG3jF3G
FV6qu6s6ANpLMbA+keXK1RaIk2gJsVmb/ntZA7hZhSoAmoSUDCtB12ZVe4cDYnU/Q5UyPJJ61L9U
rX9s1d0j7zJPhpOZiysiv51U74t0XhlHoml6XTSkYQ1KEPSuRlVHnY3iifudQKMyhf2FQUaK4JJV
vQ1ZGdrJdUVTJfX/4H23ufcWOFk0leXBM6Zzn31p6r8SzZFfkPiTfMw9zjkoHE2/633FxrVD1Vt7
LeDTS9Se9fFx7oE4I7jTe9aa68vGb9qtG7C5Nyfkx1lvluGHgddtlxSYoYfpVnjo0ymCzN4G6rzq
094exM9ie1+6w9wJF9ilQah3NX/kXXLpsiljkBOxrQZUD1i99XO+Gsw/CUYpe9oPJtFgNXEn9X5i
ZWMRrFthgW29jWO1dRhQ5fpZezN3y49FAvXIaWeLZghVFuYzsH03YVULTkFeXTt4i65Itvn43oMJ
p+lXapK2wRurlUCKLWBVvnYxpoS9VGZcFFa89HfWgF0yoyUR2Zw+AmsMZdUc5gRQtek35vCGV2IV
1ZYRL5wmFQfAirCGiFfb3V+ogouWy6D56mgpJwVfYM9hoveRYdz8erq1YowzeznU3l7l1jWxLSyQ
37o1/0vl3yhOqJfQt9K4jY0WSUSllp7sqMKoW6gdfDjYD0O5Ds/eYBOU2pxrdjk7y6MxIasbMTXw
EiEXCYm7i/iR7aiSs+WM9yzTbzVS4Xm1H4mFCIvpT3vhgaNhvcpeS1IIrbWhKfpv5TPqAlAzzdvU
CzZMuz0mtTxSuP7ePJcHPT/ikQwt74HRUaxoBz1/lzv+QfjqmuCW6K0gMoDz6+HFn7K978k48/qz
Buq36ua9yZDwVfVDVVVXvognAgKPeg+qDfAWyakMA9Zohi3ycKV1ceCVoe9cvYymD0HipMM2oeJg
+AFL7rZWchpTQoY4Hl6BJ79ZH728jcp8QTbrbmxC3yCupzrfaJMZycbcGfr0KIT95IlPJcldQU+Q
GMsp157Qy4SZj0DA6iLaO4QhzbccwJzqk1rysFHObtAJDLEQmdr6iXWr+F2bUBgeyjA9zOY67jK2
Tmu8n+j0EJI8pii3dRmulN6kDOK6f87qL61xNkGmDvjRgeITsKc2bhArToS2rfIHivMgJ3FJpvmA
ABplG7kx6xyXnhGNtEJD5R2Seoqk/9jM+j5D81esnFOHvs1bj5yYaLERx4HRSdtnTuoiI2APX5Bv
iaTaSK+9JDPU6oriykJolrUvRfFZKJ8lurR7IwLy2tjZrXrIwbQrqBCnOyvffA7s4DYLyhUXdh3z
bUrThnSFHjffyno9Vr6/aQ3yPhsi3pyrO/l7K+MXqJ+85VNtfnX+yZ+arUHuYb4Ym8ooeNrRFuKs
hOO2AwLmvJHlt18miTxd9dP51a22btY4HxrwgZyi6SGUKzk5pOa9U4dAbvKoT56Vb5xFEXDwh09t
crfVgDWXQRvhCsdnZvJn7GA+yfhktIFMJSQRNTIvX14Mt9vrHVgH7bRbvFdrELvzGHqjjg4t3zSU
RisvYRLKwyTNrXDrKCfEje27m67oY6RcMF2IIAdclIW787hSqcLDmz2UI+aAn9lItrNhnkblRZbL
Ut/MOlgB1J+EoUc8GMjrXNdR5f+JQL779jhoVy+3Y3RV17pCv1sDddnGts/1fYdIpeXBLgFLMDNA
/4g5iZfyvlR9XDvOLe3ErUWhOC6/9uJfZFCzgJsExClLDmJ+LsqDA6Agq4ErQjDEwISyjtusBaVr
EK19LyP1hN20UBt2b74U0jpVrXwMlNouQl7BrF+HVj2lOhciMS3UI90vgvvpWDEn/smFfzSBlrYY
3oxefuP3hBZ0lt9E2k9CELjkqLtRCboP67IIF0/nAo1amKitwEkqdpQIvbqAjcEGC/EypfoNDntH
7/bqWuq5NAeaQ4vwUEYjc59pAMc9QjOncYp48t0Py2EeMgrE/LZ1l1NzblfiO9byJ8+MZ7IUH1Ik
4cXfDDqt5WNpZr+5J/YgDtuxXjC0a9taA5ws3eFUKZqoScNX0Y2q2rXJjJm/xL6ue3EwJiNTTfkw
97r/J9v6FgvVP7EbO/SD5HEK8nfDFhe0VENYoZYPq9Q6gV3/Ds4aZwLniG8Rir10sVjIYEqoKq1m
/w4G+LI+tE+6kKdZK18THW0Ic8ZL4qMVKnJmsKSfFYqlYjzLBN1NIQ4lzQdGjmentmMEmscU7cg6
dyezrp/KpX91al7XKQC17mfekNrXboiEX5bp7+4KjDJSXsoB6dsAUyyb9U3r3RtB3Qfu6au05h9C
WF/ZPnibfEm8F+nTjbrgoHhasB91Oly37/9A1eTxMoKS+uObUY87kRKdqYn+Xhbz4wDCFWjGvyKn
sKP55BlIs2hcsb8EycZS5RNQL6zycGkyFecEYpseM69gH9u8orw0oachVoI+zvmI+wzuuPRRJKTL
trWSX9kE1wy0u/Tde9PCZ/vdmaMVJ/x0jMGIIMxBu3X+H27tZEZYB/NjX+D/GQz3TREZjnicgXP+
I3MCfAVJimp4csgGy64p2pVusP9lnRPP1EgXZsCXhPRmlhijyUn/kegRJ2PxubZEhZeW++2ZB8UL
4Y0YY812X7GoFCQ122uZ3Pom3176JP05qoX3UwcDgZ+4UjVFyhpvqzZvNY5knrAhkA6o0f6yP+lw
nIUg0uJ3RjQ5yhmrTbkZfCCcyTg35vxD6xDPvFpMgZGU7m0u5wjiK57dnwIKFyfsKaOnHe3nwCL2
cDhiVmnX9mB68rHt7cjNKPe8kS5XA6NGNMqXBdSvMbGRpUBm5tZeHJDVLnY1selbRS1d73Y+A9L2
JsQF+ZSZ/iXL/NYGv7KkHV6n0+oJrjeJ7/I7bbzQyHB7Lo8ulF1RG3szKcJO7x4NmQKNTZFrESzH
0uTSWSPH15HEtA+YRTnH5QnaDLQhJYViCXk0Iw8ArSx6BvynYnQ+euLeqvk9Z306ECv8IukS3qnK
/ChopwjI+GCRVJfNf+5XTOAIzsykBOkt0RFQ/8f6UHpqk5QMWRPm/p7VN8IQqCvTgysIAxpsyjz9
dxrEbX9p2+wrI52jrViz2sO8u0AkK0YHo/3paSK6ftghr3tDgAomlMUTRKk03pCWH4WVIQ3RIwWl
Oxr2NkvLOJ3bg50TCGH+K7yPRiDNgb91JBlUFa5cb2M0RiiSIF4ctU96iJQJT5yp+PH2Rc4Z8TEz
vjOfQ95dJ5tOwf4oOXK+8VY2337RbkrK696YumfZ2r82XpE4W7QT6oGNXNTTglS6I7rYGwsYJda9
NGhpcCTx3r10gblpBl6lgABchT8CHWFkVVBZix371S+CEhwlddxA9Cj3zSBdv7LeC1LXG1bgVBke
AAZaH6GOn0Nr5ZGqVFTUXuR1djR2ASSOc0ZgECVFvZmAlSSIw4x3Iu0J6cXxgswN3jyPdQ2bkocZ
qLkWjURvY0fc5MjW512p7J0Yhk1ifDS2HVloJpGuPaQ09X8UvTDzuOqRROrigbZ6N3TZ1oUNU7Qy
Ei+ZTEVsrkQE5Ejg8I84tj6EQZDEhaEfDGAioSE9L7TfRRhRB7+hGjIZCMdlMV/Y098HttrP/mcz
1RFCBIhJ/1av+0SlW32EsUhKED2lb0ZsdPC5N6sd90siH0ocEmuwWFDmKG+k/FkHOx4509OqdpOc
YmW2YTagpWTRazYm+8QClzKJAC20XbcQeTy44ATObhYlGi7i59GZzSnBjWJ6Gg3sKkQhav5A4qyJ
RLUIF9xZBd/5gMxWWuPBwelRkS2dj2IDKXOcOog/qQ64vUhY9iG98igZfjGL7dEERIOW8NcP9pqF
kKarL22tR83yvhrvaA6JhoYoXPRPlThRsjSPQ48nxCmwPKA+gvyvRLNJ6+44kgs9BRfXuSyp4s5O
VzPRoj5Ptm6riLbBQEjqM9sSjvqfnqaYtoHbxKuqN63k5OOVXdRvVsgNrMcmQbk+inHXdaiLfqrE
36ydtvU0OrLZiwkHOY05o1tjuU+tMx/S1nxg8bgZWn+ITWHnn7rd4fY0/mI2K3gFd9xPkrSCAYWT
TUwAvVaki4Vrk75bEm+O0GYnVgsx3foss6inH2j9gHD/Orj7Q6GHdpHvzQWZuFDo5FpLZPAZKA6m
htw1t2WABosqaHXnez01V9eyP9i2NLAHw3qZTBQBa92sodnOa9iU6qnJchQaSr1PCc221xG0OZrG
zjR5l+blVLfyw7GbfMvxOS9/ykGn0jMsgeV7ACkkRQp546IJw0T7LrpGDz2v6MK8xnmRN5zgsrsi
WPnnrhYxee2yMxzvjvHhO+NKuY376+fVabCHe5YP936pvkpVviW9ZIiQxxF8RNfVzWn5qJX5vnbV
felT+LC+P6d+fXQX9axTx7RCPDRZd7R9FwRO8LZycc2/aqP15E+k02VMaR6NdB4iVM+/dt5fUF4x
Q/j/sdGTL50CPhn2b9mOsW80egTn8trX84ebZteszPZrLT6xoX3LBIlG10xfY5d0oCR/dXcYon5Y
futJ3Ca9x17VB7s6gCRN6tdJDs+0caD/wfDrOqRVa1b2FAwMLrm/KwO4L7S8HwWVU0KaGLiyfM1g
gk22+MEiWf8ggI6sonh253lfN+oqXe9rVgYA//iGiPos7PKBkdqMyhapRGc+pzkRk9I6BnJJY5Sl
26DBc9PoTwW2Ai0HYS5nXKv542hxRsu1+hcUf7yy53PhZX5MFh3LQ32vOu8Jj5WKmrVmArLGS0Cg
I+cI65Ycs8+8W/9NHJFh9q6uq7Zz5n1MtQXgGEigTPSYEWr4gtLMpOusCUXTIj6kysZI15Ft1SVo
X6kS94hXGKU2iorJ1siZnuT/ODqPJcdxJYp+ESNoAXAr76VyKrNhlOmhJ0Fvvv4dvYhZjOupHokE
Mm/ee/K3n+sTCsLeqGmJdAlFziXF1Q7DlnwnQkt4x2y9jAfSZg5W51R5h8Getr7uL0ninoVwLm1p
vceDT9szxd81de+CXuotsOpjjO8FF9s9TPU51Mi9wuYMCuW5zQriQ8UWvuHGSufb7LLGc6qIYrne
Rzcm19IGLN2E/yY9XPJEUsIl6qdoXB54hgJ0jyyPccthJUc+UFIZCO5R9m5MiJmGEeLDxrUms/JG
TbaK/KCmtCywSAwfZg3PPTLRh7yACEMiF03gEIzSVYXWakKOM80MvlULWa+nqAmL7DfGWRK63XMi
SG60Yf/Sz/qku+zM+qG10xHgNTHvDPYqynw+7PEWjv7SDFg3gFRZqvkgMbrTtVwCpQ4PG7M2ucbI
veNpWeZjVC4MHNUU2IGxiBK1cdr0N276Zeujjbb+9Cad6DQTp80V6TxhTf+Fo/lc5OPdjVFuI4uL
amq2pdHuhTtefYWRlHcLU4sQJFiH8Cl1wxXm4adUzmwXL5GPx35kYo/ML6bqVETZC3ZVc0nWkqxq
xwqc4GNu0SIbFk6aLo8VBe27w5hIWJg8MMg9N4roZdHwbScztLA0ttZWB8Gsik38XURM8sn9GKcm
2Gamc6ln/53x3arz4RUkzUNnDtxjU4Q/KOHYloXLSKzAf1eW/VuoqNc6j/Bh6/xlnkF+zbjLwPwy
jfzIKiR8+CbWwmIGTqdzRu36zCDkN0nDXWoll2L2kT3Uvs6EtVC6O2ARe4775HvGTDOyhAJ092/a
e799hzzrIa+M/e+QIk7RXX7F/Uynxe9J28SV2specQUwfZvQcLuAirAc0vP0mFkJU8fcYMF/Oiyf
qHHDCcNCUQ3Y7xhONnI4s5781pLGagSDP6kvY5Y9mbGxs4r+5gzU2WNZHDSsrEXazOUBMsGTdtO9
4bhrxzIvXd3jNTRfcpoSLver5z1+PCH8ae7OZToR7YBMFnnobdl8dnxoZOHwbxxki+9szJGf+Uc+
a3MYEf1kdGmLtnGPZun+ptL7Tt3ibcjtAl2FzwEz+uuUqw8n885mCOW5ZLEIyjZdS7VzXfE2xtW2
LgMcAmayC8Rw9iuZM5mA7+nPX8LO1/bky0XU9KeOV8HS8b0yqVIz+yCHkaLUvPvWyNoMc0BH649G
XprLJsUQO5gpCfPIPEw25NjQ2uUkdQxtP2EVf40TD1d5dwmz4NLpatdG+LfmpkFLcx9eZJG9VV35
I8Nyj0Cyyfz8WAfdpq69X8Kn0zJpxhOK6bAKR/rWMgFFNeQbrTCHWlN3bB0SMIgszFEDNz7783TK
QnViurxjBO5tM+HVCz+fqMiQfFRBGRaVuC5s3wKq1tiHEtV/CI2fVgLnKa18ZVnZu93yRaUWr+RQ
YmqwiKDb6edoo/jpgYxK1bfkkVL/Cs4REBuTnZiGwSlSuWwrSSfFlAnpND4ZvodDuBHL2vf+9ERu
D99SuGjy9Ny603ZSekdu/k233s0fhhiXaraaJlYy2Gn0LNxu2/vyIBtxTN2ZhRiu/8wiDJyDLoFN
7NPtfA/8FC0h6/ATyfo82fOXYhxdP8JK1K4fU8AUJdP2TsXxu4raTyAbSNOO8FmxodYOPkeQCuts
aL6TsiZW2NTnsIwpKlBIrWJnheM1q4L/LMlIWYTc97WZX9xInOyy/mk7J+fxc77jjkl+SewlJvq6
qksa624a9prDsGOFlTHSsThWA5d+jD4wWP03GwZvl/+I6/ImFhw428owulWHPSA2OmqM0tw1ETYi
vx5NVGGg4mUBYYSkA4W5AFfYz/1ysOnITPNN+vKpj2tCdnJv8+T3ffE5ZdZXMXTHIbGPQWt946G7
l159USNDizaUXPnsp1hGjjh5IWorBuavbpaYy8VV6XCTme68H9EqPM3yj2gsDtOUlnRpGBzEVJRL
gUGcPWD1XqDIVY3c98pw2U9Gq+8UuKAyOzoHlmev8S4QH6vG7E0P/r7NZuYETEiTEoOZgYJUVuKi
iXuXec4IrQOJGjTZrbeDWyMmdwMTvj57lfsU+eSLw8R5TSY7ZL41cB7bKfawIZt2uc6hHAzTciTF
VifYmaJK/Rm9+s7ShG5qHLaJZwIb0MZr1wKGb03ANDR5qiP3x3VcK4CJZXvDwEt0wKeF6GBTdS3E
Wyu/GkNH3lQ35j6nORzXFt/iwnisXam7Nj/qwPk3jPLfOGOC6kdVAwjx4GT24V8/1migDjPzaXJY
+qIhtsRspKLHdvZzbnHU/Hh5f+hHA5hKvYk8uUlrb1/YzV/LPlWG6POzrZ11Y9KbPczkE9PJsNmQ
1ye00+ASLYt523jNvc3So0RXtcNgJkesXvOG+c7shmtSYRdhgL1Ow3PSZVsZ5eWyTdTRr61fM1Q7
AuMvYWk9uXl0YK56dXT50jjJT5+wGslKMDml1bCrMD4RAsX7O+RevMCCtBvM8TJH9rm29UPezl+H
wJkWKghuilZ/YZjuToXDZ1VknzglC+gChdoObnPts/nFT/S5q/1P7ctXepZrnvh3sw82sKrZJ5OD
0KhaALxd9t339bk2cUAzFl2PRbPVipt4djpKzIKf3KNiLIewshZ4o1LAHhwzKoqx8AS8jAnDYWIf
AWLldMRGjj6S9tbSasQ/EQwvQKK+DWRh1Q//urJ57yP/z5i9azp4Jzk5wO/s0F3gaREM0LJ+l0d1
taAU1jvMcfjttbMZvPmgh+CY4nQILeYg3ohtPWGamyhz53fTfw5G5l3g4bopp/aaSMY1kco32Hg3
oTeQvvX5YR5QL4nfw54TjROlgBNj0qXw9PbM39hwI+unSkw7J523YWeYaBoQ8pT5x9IasMtj+Om6
mBXnHPUlz6PLaBVc9EEcYfXxX7x4+HHa+NuqyFkCZesKnMW989Zaw87Q3kfjtludUd1HQ9zQ3cUb
4fIoh7FLiZhAKBzHkyF60tzROnZRxEDcsOiMOJjvPtu9Jk1lWOvEAZ0f5UW0nLsHEQH7qwpyzb+k
f/yw2rcVIbmMX5UHiElmmGEvwWuwqPRDE63jT1HihHbypaTjWrccgow11euQp9eoaomUyeRnom1a
FLp5Ez6LX7JpK7L4LiWZZdX+MVLbAEnZERoYVvlAos0Owftq3um5bcp1bIUvlsPAkDk/ESX5ETT9
e9MYJ1d6F6u3wqXZcmP69vDpqep3co0A61u481PIJmU0Phle0i2n0b1YluKbzocnTsWHXtQe6zE+
9YJpfEQ23gPOMOn6L4rUm4lVYlHVwSUV2UcQOC+D4XxEIxoiCXOyNoOFkcS79WhSQnDpDS75a2/n
wKUoi3ZXWtm+CsQtq4tbL7Aa+CZW5iyYnxRu44ZxVT7CA3TSS+i1NzF3R81CK+Ei+nix+yu7dtWE
/c/QT7e49H+UMt9SL7sPfrV7fNnLwhu/SAkjsoD8wm6zS7HXMsDXFGe8YCvx8CT6HpKoE0eHzhv/
s+0pWo5976xDLRbsn4wWja58XEQ0EXm3qu3uKZjaizHKPzk9ZI22/EiCnGihf2Nv+rkvBp9spn6Z
FVaN2OQGmj/zPvhQZvbaMjtcZF1wcEWDbt47f9FALsX0WtxUM1SvoP6O8uY5aqJ1O1oDqkaEj3Z+
5C1ZUOQlJV46q3/J6ybljA+3o5T7rGS/QuUSQB43Xqm3Y4eSkVWiYzc1xRg9xRF7IXArp4YIktCc
ssjqy2nz3STcoyIz7Q1q71lpgEsAXLBOwisdJBtalTQ3VRUxcfOhkunPBMMYQWtvq7rpz+mmi4G4
Wphkif7vHJ679M1285uJ1k52c04P4C44UcqnWRfR3sf9x7JXO9vpUjoM35H4WcBdrFTah6Qns+00
tds6bDGgVXm1ihF5rcHdWsLcFq7eG8RAl5ZEKpUD9Y8ykIWSaHie6TQKKt6+DX+cXKEIeMMyyKtx
yR6wba+Ss626vSYesEgjxBk4hT+DpBKHJvbpFCMTFZZWoIIxrYn9tt5Bp/lnG3ODaEbmwYOFLFp7
75vqhOz+rG0svIF8tXyjWvGQIT2V1n3KR8YMTHNrI9i1KGBdlb5nDv4zKqhfF8LDbirLtZXJ39JC
gY2ILRQ0LWiGWCyBDxD1T1/T0fqno+pDU0MuEq3qgw2LB7Kd8+k6+NT6EZjsSN1M3mPVBuE6l+1n
aGM9IN/IbIhGRpARscB9EXzlQ5j3wp72gfI2vl/fob6BXcwRsHKAJgvB/ywtZJF+u2YU/+VWTVU5
GtbGwQ+98/sxfortcEzp+vyMyz77aKZybwwmE8vHrzT9J6Z/OVaE/DlISH3FBYgL/yX2Qu6k1uXq
cmGCycZO31M9yX+17TQ70zGfAqUPHsn6HDWjnMp7GA63OMdN5MyfMT7UsqmeG9sbFpaY+CDs9KNB
OjeD7EVplyTj8NIRcwcbc9dGva5TTksCuDIo1wo1Xybtzg2iq2eHO7t87BXW2bMoxUlX06rUw39N
YrzF03yscn1KivHYhGKfdPM+s+21NGfoHaIhJDh+JRwmhk6eUi9XeFcoOfwMzmxHVKdEPxt1sDLT
OV/6kgsJat29dxnbTr3z7PPONkOzzbLonNYsJkNsodXYWgVjjIeJRrIMzhD2v0KNBNNqUiR+ad8Q
4cinjuN/WUMpa3XmmVn/OY4Y+JMuaml45avr0YAmzcox8BxiP6+pC2K5DMJcMQoFwuEPas1t8eX2
/tGzwncQVGcXq2fpTy9j4CKEEZMOYDLw2kKkbQWmqQiXRJihDdvWP6eiEB3w3GjPeI5Hn41P9Z9S
+VXrbpv1xi7GvL4tkmzfQ5GqCwevik8DZQU24NPkuRqBiwSjwEAY1c91ah91LEhG2ha3yRwWVMNl
yrI+ZJ4Wq+FOGu52xA3lx10KBo7GagJWss5SBR9UEHQc7B0BTEz9fYA/orz7k3VLp+QYdxlr8Zzs
xMR6r4dwZWrnHgVsjlQNww+3JyEFBNDQ7HhQ2d80M+KsmQOWnr5nCot9CTRCPV4uxVlbKKaApJsh
lfUdovxIui7ay5SRl+X7B9NOsKAH3ByB+Z1adOd+aa6x4/wQHTkl0jqrRh29stjXsrqFwPYe6Yqa
/cjWRx1av6FBSRDqkKypwPBdNOaxqmIc6WQmfat8yan/HwYM4DyYAqjCi1NdlyuLOITls6GK6z/o
ypfKdZjl61/qyI2dOfd+YGFUZxO3c0LvlJr6r2xgtNi2avDB8TRG0fSeKoYFkSE+rSp+qbiZcSwA
VKnV2cUVrSbL2uO7/Et8i3NDIOUA6boGQbPtMIYSpkxWQ1bOLHpCELKi9KUJwn2SIF2YbvQ81x35
g0S8B7YgMu8ExbbPTSSuVFPLPtLowVweIxaj0ryEgkG5+2mGPjm6+hADeWQ03OAKY9dJTYCCVGdZ
uacsgbWGRbzbxlqn+zb5bRLFXQy2TZbdZZrwWsocwEmGAXtOh++mJ+HgiwSkk4U/OSGSKE0MBulg
HQUhwDRSNKOP9KGnL7oLjn7k3b0u/S8L5MmpvccEKH2tq5mVjDD5OqCJvlvs8YWceww/TV9vEdcO
3EFHYRKc7hXZfHKp35WHyGD5/d2ZfYNJqPmZBwmFt6BnHW611z6lPoE0aeE/EhMsY7O9Dv38aYfU
UewrQF1UzW9uMMK0o+boAsXJFLmNwm1f6zELt7K2jWUWTSjMSYirzmGQKwPsjz2IGebrlyCojn5S
LBPbWONgvkrhHrohuclaInyaZ7P18Js8wDieiUkgfmtjFIzZIb9PFeNqE306Ev/13XzsPeZ1nGYs
z2qEv/JnSrBmRDcE2SRWcfKo19JyiBh9W/pQ4kYP+rpdVZH3EWjs9yFgsqgpskVjMeJ1JuBgfJPB
ghALVnye+yTmb1E49YuRuf8aLN//LXSNpx7pRFWtGy8AxMLbK6dD6bGoyC7Wtpu1G6kd4/LQJvZ5
ZNxRoSSpFnrtUJgciyXLREHGlxMeU8VqF9Nh8wMAEGZaVzdtL65DLJHubimsdtc1Phy5xjUPMDp4
slITt06A0TEG5TQlYCEnbLD4umOyKCMUKJ3JlYgg68RO8DW3MHmQCrbzBAZdoxVlk3UGQvISOcDm
HOYPVlqgP9XO0a26AlcFkyriyoxpcU7QTGZyeO5z+2kU1THt3GMQFHjOx56SXZKLNkS1HjgoF0kV
Hiur3KZsA3hkaIeVDhjLGnH0MBBRAbhkzdO6wPqkzdtk+3AyQSflxquDVGYJj90n8S+L2Lv1GIY2
1tMK8oY5WTAczaMXxTAGGXY5LGjTBaaqadq0Vr1JSvXUyeAcTeHPg39MNmYpTYYBVkcUwRh5NWwq
gg3j2bUZ4frrx+YKJfPPnWAEAOJj63IRdst2Qnua7IA9eyVkAVF6jAdmTtBi8nNE52TYd48sJBbW
F9HOX3Yehhu3yD+FLlZN17G0DPOvLlIceTlbVsX8X24+JgsFbtOZ3PcigUySpNWfl2YegqGRrZqU
LbixN3S3uMnpGVE/1dugUWzWwnAG0hRVmePKrsr6MCrE9TF0nqjV9oHhbVqCQCQSv2TP2QyDRerw
jxnwDgA2c73pRpD1M+38wwTaEWAH6oETrlFdn0cf2YB0PLvAlojGBJdSddSC5zDkSFSFd3Cs4OxD
8Kt0SneWuYCtMkwNWqRfnU7vEf63EEt/BrOHLbSAc4bPJARnmc2nabaXfoqE0uMzD4sdLsFoYWv6
FX7aLJk7262FC6R/0I/Zqvx4e6ciuWeQZPq2vVheehAdNHIqrYHhAIO7EE4Y8XW1oo44RzafKbkD
jOXIrtIp70oW/YKQhLsJ9ciw1mT0UJN7st6HeVpzW1RrN5jfEmEHNEVcA1mWX3gzt6OVH6PKeW3g
cbh+8hWPhVrmLrMfs7NpiENWk6pi3OQmz3PNydQBKhBVclN2dm/NXDCYnQGoYJhT49b26FcjKzv7
AUYAYXgvtUXy1xxcUE+m2ActylzVs+cgBGmWBeFTNLRcRfWQIzWUr2ZUfGc1Xh4M5cHKlWSW/Mjf
d1n2ks0xx+yDtDL2zBa7WixK7f1XPpLKjQ6fNbChBX7Ql5g8FFQQzHqlIVYi6fmCCedwrjhvzhh/
FZp6u4K8vPAVe9Zwn21ylzWsbJ6JK2emeWT2DMK9fvgyOj5450NgUbRgxBcWB2aR2Fcj0CdeYPLK
oCsf7PTXWH1Ij00CefyBBk1ozPCeJ5H8yLq4EmfdYyiASaPHf3WB286gZsByAsKWx8qoseAU+SWL
g/1UzAB7yF4hy3yl9Yg61wx7N09wts9AfzId/4QtCMreBcRCes80O4bHU5tCo6xfqrp6H9kWHRi0
gH53S2KSaVE1XBvHece/siJJ+dRB9mSnM2aD6EUleuujr1RGx1JqcXNNnjpLduMmrAcSYYqexPEL
htw+xSjCcpCKW9e3H3Yvvltlv8mEEjtHClm1RfRn+cMGANQK/uiJSNYpsPyvqg+ejMQelqiR75NN
2U39qTgg6oQYhzlxvHFiuY/1zJZpPDRwKAHovh0H9bobq44O2N62JSP2wB6+LUVMTCFuBeZfZE5b
u8KgNkt5SyTARsqG4IGyLjuKiQT41IOg2ljGn2FMsIB97yurHMkb7+NTSyhnk7m8OQb7e5OAUTE6
/A4yMsZlPLKhRSVbdCOpFJhqVuWLlcGcdFVGZvtcsOb12oFrfjUdTW9Sx/0pG8VlIhkkXHkYZ7Td
Ppa/8aDJeDiu29zNSvT/pjkGsZQ3cEyW8wRlDpsD9B6vcqb/aAVt/lpcurQe9vEYbTUIEOE4vw45
4nSQxjoy7L8mHLD0xCQcVcPCnSkgohdP0JYFKenU868yjZ+aRwjKFBBh0jJdZY010GmVF6m6B09k
gzb0F9PD6VH08EPt98ogdWN43aGN3XtiRWifksCL5e8Rmfb1BN83rnCd8HqiqA8vU0pBI72AkqqM
2OftzKuHkWFjciYQ/yrrfeo4xXUICKIDqgRD5Mp9lLDcDsReKXB4guHGWs30jggwQm6oOc0L42gT
y3Rl+VwyMwgiClK/TY+50+JEjqS1LSR+Bq4MHvjEdHY8wAY44JAshdHore167X5OiNm3HTHkvis3
LG26KyvdhWXT4Enkdc1j6Aga8uOb6GW2ZfHSi4UovWh6Xiwx8/rnVXLNpFUv7UxEX07Wm2+NJZS/
JETATNrWD190ifdJphzHmL+9J5Dr0YEX9lJa8XW2ArLc8UcG0Y+sVH9l+uezADZ2UMBb6zAMLllT
UGW5hznUXyVG/pZ3BYu4zFsFM21iOMwWhz022y9rwrLUmAvTyT9p0e6EDR5CQCYARAhv3bQ+45up
zlmSkhLGT3S8lwQNywABST1GNe5fkWW3SlcvSWmcgB3sK9xtmSDJEIs4vM2NB9xiPrd2tZJuUC28
FK8d+DC1Y2NEitieAVMKu7aolrIZyn/JiLsqKpJzRcwAMCsZKdwqy9YMv6PC/hdO6d1MLDyUMwfR
8GZ0WAStaX6VFO4wyiBN6HbI6OlE/BO0NZF1Y/L0q5/TiAYxdL9o2EKYfeXreA28An3rwfO1xxiN
PVSvTkDsB/rRCyyNVw2fkvKHMYvmldGyxTIrGfOETcuuKEvb77Hh/+Z1srVHbiK/nfliu21a9p8i
rbEV5l22dDO//TFmso78Z7njJ9zNt7IjoG/HeGUcWDxILXsoxG/gkHYShslCdfgSdfNeMFyDzj4d
a9jzhLIReAl5LQdLZeiUSq9MVdcHRX7j5EKsunZwX2BcqFoc/NC7l06Lv5jgt0skeNIGi2h1/GXV
/UYNoE2t7qdyhlM6uU+9w5I8mPykAAljBmO5D2rCAoCRCKuq6SgwgCx6r8WoJ5nqNzlbAy0QLWE4
fotS+sumfbDWTHt+MVF36bPCzCElZtxIiZ0tzEcbC4Ap0dwOYb04QXI+Zr7+61Q84bRoojey6e7W
98uWamkSYA+hYRR6+JeH6UGW/bWGiHmlYmYBD6luR2bOUiU2Jpl4ZEsmJIVVxIZhcDdpxG8GGRiV
vWt/Es/1/rPacD4Ndk7INuvAJIeY1COgmMgLxLPHSZIyJo2mRPANwART3+w/F6HVvJRVxGIni6lL
5OW/ETU8BBnjX5VpfGWh5iOp/Qr/r3w1gACbufvs2BiDy5RyeBbetPKFc68d98SldCpttdGxfQNx
hrfLQJNi8VPSfQ00x1rk2zKWDHjRF499gQTtEiHYAOU64f7+ZFlbvIb9UH5ilPowAuO9LLNLgJlk
qhhnNPmORM9NV223Jhv8T3nTDwzcZ9+l5fOYJar5qkgM9UYONQI7cKXKcTFq9y3JAA+YRfuUdNWl
idJDCfFrmbZqWUf2h+GitaAJMKYo8x0YMe5XWK0gFx7Ik7R7GXz3VlYsjpLpU6yJ/M4Gn/8sCU47
PePA5UT85zUOSHygyf5U0Dppq8pbGwD1gpduqGkPFvVoZs3RKevP1o7ehyn0T3ad+ys1mPOS25TW
mZ+negurYxRnp84P4+9xwJTrxR1pKWQP6eJXtLZBLsYti2eMZdx0BMMngp5cY7d0nN6alnXpjot4
39e7NLQ2uQwvmvdHd0AqJT8h0yK61fAHz0yN9RNpjWpfiOrJEOU1fxBx5hFeLax73N9rR3tPQWH+
Z/G1E8f3aRWtSj6VHRP9yXjQOQyApRluFxwnjBhKuiRtYZcxcB97VbiM6iE8DnXA8AIqHQ7g5MsV
ciP98EWVFXSJ+MWyJvQ/2b/OrsCImfoh+fh+WI+2c1BIEHWh3lQ7PAU8331tvLBvdd9YjMUDN7xV
hQgoXqL1VMJPoJiwm/a9N+mjfOLuYYCk6/0XE4qvggbqNsIUyLSICs1yt2XrnaHxn90HUAUHdGHW
BLk4Qiu4O1504CLjIsbC5MT185yTi+/Ep1HSS+DIuHaucY3Jy9g+ol+WAQrAO8YBE+fhOrJktNNG
FD7POsUHMhn5d06h9BQVhoKwRVBHqlp/ZT4rHB/T714gu1QmckPqfZtwXbnA5sM89Zjy+2BlwdmN
uyvk7mWY71V79iAFAphYqplxZlJVxyyxf4MMQAE2exxxM7poQ2wBQlqOJXNSatm2dBAtYcJH0qzl
gEjCj04Pq8KBbdjjKObbenz/NcaV4uH6Q6vCjCrmkMhm8pgQuPN7n9hyNZimAadz8p+FzitkfzVS
C2rpfyZoZ+gzleT7tgD5nGOjdhg1wGyIWZTggtdNa38lE/MlJqsWANqwi4QfchLhR8VspJOSQpYN
DeOlxhpvQBHtEv7oL1o3X7Pb7IU48XJgZ9n7tjyhp6679iP0vC2YWwzM1ZoCZW3P0dKKWWTHZr/K
YlXTIyXMtgyuSf8zRe2ci+wg2puPQtzq4S9GRtDqPsoDtFcsK9eyg7cb/ozyNpfVihbhl/hXb+Gi
3pBDdJo1T50W9RN08UsW/Nfg7mBtRUKLJ+fq4iWXmKuSse6hw9E+JETs3H/ehKM8BybS/o5szi5w
p5IXfqA0N3P54bstxhB3wSdG2kctEotbUwLy2XQAkmklMG747KuxeYHjVY30hq0v4xf5Hv+fCeN0
Mu9DeUjrcBMG9jlEoxDtX2FS4+KLcSainjjjNCd/wwzDfquzFwfNtPsujL9Y76Pxi6HFwu5WeXc2
1T4vnkT1OcVkcD/K/lUHb83MspCn3mCUwCJOZi8K68Vbkh5DZJmxZl1V/6qKM2jHpUD3lKSYNVsU
ysxd9/UlpF0cEMPdmfGH9xz4m1qexgb7T0OAjajRu+88W5BRxUiTZSYh9eew7qNVZK/jQuAuw6Ke
XE30DpZrnU1304MAj62v2nP/U+l/lTw205uJIyZpj2JiFxlR/N7Fi/eZ9R/ZQMOUoYQWjLmmh90b
XbU8GPbd5RvBcrqIIbsjtw8Ypf0g28UCGxmlkgourXk07BODLOzQHbAp9/jwoY5E0HlU+vDVhTWn
e/eietY9Ey1ZNrIat/hduIlF3G9QBY0txRSaThfEL6Otzt7j+DQRU2b5gCY394kjqBni/WjFX06V
EJ8yCbfqWE1vkm1ABrokwUOc2DMeCEN012biNwHk+sWYXEqDKp+ee4flOlzWg30SwVy/G62B9zox
fseETT1cIEyoPZXTjtRWe3KMKjtxALo2jZ5TkYOK7GbRpxFvierC974ZD4BUnwYDC0Dnm2jIA5VZ
Y657QC42pATf/GmRHnrB0p0HxqPlOTlnk3sKuOPx5Ur2EkZdgmkcBY7gFnQW/BdyE8Tx6rGVJ3bH
45BaIFeyu9JexNfQQHZOBZ7RB9LEH1gqbdqgJ8HYHjtAeDQGrMDgIc2yj4lJHtNk7P5Cgs4Y249h
FOuEP40zbK/VsrQSugF5oHW1hNP8MECz1Y/9WA6liMbGl0zfmbeRcZ0fxnUFZqVjdG8qe1mHHBkF
JKOsOsk6vduPtTyRi+VzAGofvUofZjJg6i9nAsYkDUDzH7n+bqgjm2RYklo7tD54qT1X5B6I5S53
BxaUsO+nIRFiJhcGGWwb+o+tcHfLeqwSqW+x/a9tX3JGYU1u7wfmvI2ljjWi/Syewi7haRzuBR+b
k5+xuG7clkejnT5GyfrkfjjIpFlKw0TD8g4G6WQ5BaAVGYrbHpkn95i5AIu432i/izh4ccg84Dzf
dmAe8MyUnVgyAQL+h88NP0ubV099JK8NGeRlywBDxve2rVkTM25i03iRLcEm8lpd6QI7ALZqRNea
tS6Z3b1r01iHc/xu1sO7W/EOy/FapsOfrNgr0NWfc3Fxeb0ds3gZH6tH+txFqn6rTNKPTg89i5zh
OU6bM7P7a5Tnhzyla/fGO+mJV2zwJ5nwrrJBYbT3E9yuwtH7rKtXFrswDCzTg8cFJ8DTuMFqLJPn
GMvxWOY3Zljb1sAB2WKJLJJVM+dPYwNIQ+eLjqI3LRvY2uxa/R9H57HcvLEG0SdC1QCDuBXBnCmS
ChuU0o+cM57eB15el68lkcDMF7pPY7jT4U1kcfYG9IpdULGd+jeGXnyIOtuvZevAZxmDbY/+LU4g
5ysEP5rZ3fOLm+kUu3rAOBGmzFWbhVWsFXYkBQ3z7BxINSgAMRQhqFvY0t06i7aB+j5p4UsiqRDt
tW/+dN4zrZm8KxLMfFpvEcJ/jGa2ga67zED4jFRXgqWFgT2mCR9SualBuGnwSXplidAUlVhDyoH3
A6LO5y/DMbQY85+QSQGavxdf309VjPogncVvh1ar+C2pQSxnN4Nzew/QFVq3C1XMAWUpeGrtZVKR
SFEiq/XV4OfAGV3Ho7F2COWDS+96nbOMABtpJPJ0HtykmbY1VpuxIFdMpbjg1veN9rPV30iRGUL7
A8snlIJtW6VkW2IYhYpfRKe8TF/L0K9YWSN5yHXE1jzlDJp7WOoqhj+1cIdoJSzENrbAjAa2rFRc
Aj2uhtGvxwQzRyQGnrlvxXmrUmCIfN07G4PJeOlaJQDs4y117OimBnqcG6jBKQ75oq/Vna7pFDwV
pZNifU8xxN52ZPTKUOAtaOJp6xcU8pIDij5N6z7t3Ha18JpYfIOCNAXo4LbdFYuyiu6qN64Rfn1N
zbkGHx/MjNSxXJROs4lChbAT8+Foyi4XtOXCkUuTMUYd41KH9JCgdUqov/hQNuz11jDcBmYBebDS
KBvyDtYJS4W44yywamOljcOhVtt/Hml/rR+dqox1axJ+xqbyGKvCbbTPiBd4EOaNknM55fmpBmEn
gBgyBElP9dQfWIxvB0+JqYtsty4RMRhyMwBc4h7ZRiI4ZHqA16G2PypshjrLF7WKD5T6GxufUGyJ
TWkl51JnouyHbhN+a/Y1xzAjTOgjOgsT+w3v9F8d5teSqEyEfua7PVf0DHH5uDPqQIejNA2jF5js
MfLm+F8LTxljCG7LPOITnszJtfglEjGxH6FXLWC7T2+x5jyzdrrravvukCAUpOqqAa/QmFC57HRr
1dVWYZNCM78ckBf0Wc/vyUpXeNp7q/TEQtBFJ0w1I2cRGuUxjuQmmop/Nt+IjUUjcmDW5Z0bQg1R
pnFdcAcxwnerCiXsDDa16uXEOzbW9S4y1GhhKz2IWDZf3lg/ikQ5pGhmRnlVMv+iTDlXBG0Grdci
KkAcKcUtkulGK7mRm/7Q2KbrFOWCnCU3NPK9DbMWi8X8xVgAhMWJwS1urcK5qj0rZ5Uk3IGHtlQx
p+TjY6RYtu3qs/O4uDLrLxtnolJ5Q34FGOInV0H+lf6XZ/fvRj7+mhrDhLRS76CL3LjzNklsvXkZ
Bvwg2YxhuIzr7LUIeGYR0wQ6c+Q0fa85TeBChPvIYwc+YUMP6nE1gD7Q2R/asEEsy/pLI+QiyHgi
YEnpdIXU0vC8NQQMmQkxwqSKoSJLjxpY/VqH2BqFu1Yfr6OuHTKUAJFSrRKoJOnIss9wiIGcQDcI
hjzTs0s6ZiiSr5HcwMFgpTGwCEnZhUENlsMLe589oj12OPWyU4pLECHWUlNBh57c6ERhfbSccA6b
sjZKwFvoYADNED7Dma3NvZdUdjCbPFWOizzr7hUOIKf5mZNLVd9bxW2/t5vstY+DB3lTB2J3mCd4
xDshq5TBEXMgy1u8C4r0AM2nByMoxiMdmNvgv1xHiHaEF9cvRsvqusb94YpkKFaKaiP9yHQQQBar
QLVHRJwBdDxnAbf4NMb6Mk7RXkIQxVXnzBsYVpsrL85BV7QCbq824y10biAvEKsqDXtOEzjwIKBg
VPmB/dKFPXb8gMKgs+WwwM1GhT54DTkLoYK9p+82hoWGJxlCIj2xFsZz1lhGZGJeJFcweMhbMdDT
p306HRsWaHfREjSi6Qpdu40T0pNAlD95F74qGTKvNFTuna09GyfcCK3PF77CxF3VxFHLbeMlmzqW
U4kkCzQ7q5X3poTTqq/bLXz5BdK1fZ7ql0ZcIz9+FY33q2nKQ/Ti06AsbNXM3qO12HjzPAVrGl9w
GGwFtrFqGrd9xk58YIYPNjF5CdDR+5MKv4dM5hwBdBAnH1Ub7RnebP1Ap7oohre8N086hmCE8ISu
tN1nk3g/RcP35pgA0KAOkwzI4wpY8HsybKKuxGEk2oR0zALkQZ9jeDD5RZAcsozwkcQk1tOydRal
BFU2PhzcqPQWiqnjJTXfua3vZTM8IANcMc/RbockfzEt+RJ9VKJgqRBWSOohOKvagpsLkFYUFtk2
laY4TF3Fmt7qV6SGVtexNOFIoBplwnyVlvNPSB31PFQGvUBfkxZUKFK5NwZTlKJjWlTF5gAWL2lZ
NnjRpa5LFuVRSPS0RBHJ0mULRHxYOekApiTvpFuyQ5OWRDpd54CVCuOsooZgDFP+INVgO8Jkd1PT
lLCBAmViONoPamEOek1ex2b4S1RgLf87Rpx+fGQlUj5T5htfI61iSLAVV40cv1NfWYtkLpkxQDbW
5C3DFq/1aODAUov2VqigqvQ2iBYTalOGrVa0m8goWI2854Cx6Vrh9ixMYnJXnVXELsyZftnq1dO3
4oJhozbgeKGVJnZ2l2Xw0+P8cwr0J+EiRHdGxAAGSvGZTTE5gKXD0K5qCGBswkUu23s8NgmUP4kg
tmqRe+NlWigN9bmOX8fzh5wKB/fsgIjSHhrqxhbLcO0zOCukdbEHGP0Gb1fZaNCWKqDvU2o4iwzN
at0lzChHf0V8FS4dkzSCuuRRsz10T8Kn1cq6b4vyhU1Rb/G/RLKSftSikWZ3o7f2Whn9cxzz8Mq4
pYpS+4sziZLpg9wKW26VlHOyxA/aFijB8+DRML530w6PvZL0T5HjQ8W6+BulI8GqwroGmo+Nu22d
h5lw7I69oI8Nk0UFmpydJNeJn3WCdpR6M9CrceGBQXz5f26f2U1xSLr4BzgpP9QIOCjm56viCT7k
QrcxyTactoP3FgbyIPCEriIVTUOR/jkNlFyPDbVlAYQMndiDcsYQE9Gguk5ibXgiQg9cEebFPe3R
bBVt/1Uo2vtc4ebYv+Zn99IAjGChotwTRyt2CvQBt7VN+hjW4pzY0FTKYGdNA5t3zfIY8YbU5Q2j
DCVx1kXnQKsm5sFr4pIzEqVjY6FviusPaLqo/iTMCU0Z1lJB6JuoyTuWGx4k1XL9zrnFkdhppgVT
0BhUbJi5hbKHOUsgIftw/jITkNEANiE9GgSqg3HEal/zY+3oDLlFWQ4j3Cga1pIAZXLEU4/yvSEn
CC4b63sv4/rKTQ9/+cABjwl6ReNx8zp9F3mkC/VFULDZwWNv2OEHEDsWuDHhgaGffdqS3Xucg81U
AdhXHYVVbx1hpfI6VdavUuqPgtxmDI3pAV21yowDDJuvltwNOpR10/iF2Tu9lGnYLVAePIIIXUvF
evdF0cd3qsJjxjnhRk76ykACrXFarkmKI7xlIlNAM/2vHMErFkuatIZ30W0ioqvzhmkinKk9+5Nn
bcOmGnSUiQL/LanWx6Es6TJgLWV87qZa/sPltRsj+dQGFrbFPBipOFbTCL4WFDttT/wLEc1olU5Z
StKMNpcS6FvrJSGahHeo817cJic0ftfteM5kCVzyVgmCYG3BH1pzTzvNMRGwTiZTBm5cqajQrZbx
LrmuuQrJejDGdmOnKSTSoVbMhy29ZJExIJgXB6e+d8DhQZTCPSjPmvBvigOcT9T+muHn1+Djo+/6
4tCNhr+xAakxOdIYnbXjeKjCqXI7UD6FwvIraQ1QUJ6F0VBEE088RAu2aCgi9uRkBaCwHczZFvQz
gpwyr/klau0zC8UpSjOy/nAaqV5drli7dvu08/t3Worp0sqAMYTV8Fi5usjGOWcG999Or+pSdw3W
3m8wv4Ht/9rlrjOjZTsHYsAX8IKDahKPVIitga8gy7OF5X8GBU1uOrtsI7h/mE9Ryk1B8jDNVLpm
xkAjUrRqdjVuezUJAAdC82UuRmViowAGOYjWI9BDVzrquEqaMUefQfBT20tGac5snfZUfz802njW
nW41ojcbo5pYnR5dKu4RJOv5KwSTjUU+uKyfEaESOn1+pyFKGBCApCMqGq36gPzz2YVYAXGZVL7C
Djlez8eTNOONaYl0oUSsrxvaTSw4e4hrLz5sMCG6s1U468D3D+wV8mzGr1xz4xsv8Fth+FsHnk83
qdfZK9b5jInDyp0APfgJkrmAzxJR8xBfupyRoYbvtCrfOc9xXWI4bUnubVVa9VlqnZ6E1M4YI5Af
dkvm66Rld0fEPJtg+gGOgNKwXA3CeQevjpVNcy3eEx/9klR52HBZjMzGctxsAdwrirRZCzxa+Cia
YBun6pdC6aONJ6zaXBMJ2s9Z4QEZJ7eheffHFiUEEQERD5ZSnCtHP2U9IctzElT/L3UyImYDt9B+
kvQd0smmHj3CvYYdms4X4YRX1FGb0OgoOq1DxMS5IGXBugdptBq999REbWYOJD7cUz5ovUouQcNI
YOJ8GkkXSLPXTrHXllYARL+V+Uko9RolFdwHLf9q0nqps7TJzGtZPWKlAaRxJaZ9aSL8aVIPeFMb
rQr0My8Fgx2bf5CypgvM7qKmh7B8Wro71hxMx0m8s8ssArjvyq0bSIp4LWDRqGQavw8VsDcQ5McW
SBtBqxlDA+1V89FTMX2EBZ+vI7kqCTGoxNJmXtnYc8QaWxNwvB5UBmqeJKas/YiRt0cAvO0taBio
v+naDzaafukb8OPGa8KASsZvgFZ8AjOi6eR7d9Eeih+oQWV0k9YGQohT37LsE8tBoW41ECvmunFO
vvMvGi5QW6yAuX+ILeug12/MHLz6CFx10gnYwSbfHCW+DrySkRIu6oTUSKSCWoix3/sq4pyh6muq
2gd2Vlsxw7iVr9L7GpLOndQNF71Fh973KwnIgf6oa0Drsq2f3sm0tpMLGg5LYzBI2E367VQsMZpq
rzo7L+B1rQ/S+5VoJnDVMNbZGvFWZ6qewj1ut7lYRfGaD9j2sBOGm6y9IUYmLO2kMZVXv+QQMczF
+nSFP6WRAz1w1XdvtneuTLcgCzsGy4d5yRtuDSL9GrAwUzz+HnROL63zTMu7b7Cse1qzWK27jNTl
anc3m1fKgBnwMaIE+gZaicQ80R8IGXgUC2IRAAL9H/+bdFucvWxIfNLwfhT5z0dLPsWHALciMJBM
+xhwlfJ+dNqXCHcJPWm4NPj7tPiZWqc84K9Y6eXGhq9Sl4QMZM9k/KvUXxK53bhYxP4VqQ/E7RnI
epzTL7P82+jvVJO6wVRhrXkrGxKrQIxLv5CDAfJZxphnzInccNzDUUXdfKCrYI/PA07qbm+EJ7g3
ff4+Diy2meFE8jhxNJIJX7FLIqzN5wbv8RQTjQuQ81jz6Abme8VbUpjnwliHyoRjrSZ4oj2qNVWF
chzpL+viteRB9rBa5X5+trJlB4wo5vnH5SWDn77tIYdSkqClqw+wBBuMqMUF6cyLVt8tM1nUnr0B
PWSJo4qMuYfST3WSJE8thPTebVrrt8svrXXzBXm8gLbFO6Cy1hy4P5Ywo1vnvXFWIfOyrjm2EWr4
3tWD3ZR88q9Z0QYlFYFcR7t8H0PoeV8K2l7TZv6HSHpWgbgy4kwPltL5MmsGeQIjxUpS7FnVu817
onDzNNN3kL1n1S3iVANDgOQl3xdMYFBFLVJMyMm4ndqLla11Brpmvm7Ve9DACdppCDUBiQAd1sQ6
nj4D86GjVLRzGOHnqLqQqZejt2gTAkrRw6VttVXHC/cO6wveoCNzXWfcZg6/jrhK+8Oh4q3I6PKL
e8kBVPWMy66N/hcAJZ1wsRmCOPpKx1kMPnLUUdVquyjtSeRBoEhf+SFjzg1GFDgCbMhJJyjLnTg6
yfCCxooDh8lifA/MlUMsm6lBfOCBpS9eV+ZnXxHk5CyK8TPoVqgBB50ELqblOZlvPHj/eCixEu4C
vAVBzLw7gHp/BBZAJpuuPKEfzrRvnNgZexSPHhGtpVjNZoFy+AKNS+ZpI05KyNTNRPLLvZq/mtRR
kf+bFdeM48KY/11qjn5nSjoa/VqSHwaOtGVSV2mXKrxZDjOEa+WT+kzWzMRaM6qabVG2qGvfFf9J
JOsxNc0t7go2pJzs1Xfg3XXvVsIbHnHHieg7SJTv2IO1BCaccWjVo+8YePObQzmiCEMpZ3cbx3ul
il1K5dCzmA+jr7Y30XnclKRdm9FBqCdSh53+X6SF9HkYDW42pOzqhAuBrm0bdusWoXF57zipouIH
dEyXHjR2JwPWPlbx2d8QPHrQ/OICdiydbhzSjOWvCt+xnhXbzDtWwa/XPjKW3ckz7+8E7uIcRIFw
7Pvm7lFmBuNGNQ4ELm5Riixr/PLitRA+NFCmPBRbMFJcndM9DTE2wSfBT2OlRBZqzYKWhHHnpS2f
um8yroOl4UA3fpet6abKXlG3MmLGM4nnaFKEGKcKdLbkWCT85iUGl4Iun/U8oytxHA2m9jFEq+LS
GzuLX6ycYPo5w0sjbpV4VVPCpoGYYtwS/j+GDsAsGQeiItEAuIzFmqydhVm0ax3DnaqgvsK7/a+2
VjrGOvlVmX+6fMXWfUEru1QDhDbeYy5PMmsPyO5FauwllPY0TeVRaj8kaVIhRCcR1q9t6v2Q67PO
6+Q8sNZBchKjiByB0ecNs3/E2TNstmYg7g3DGlgghjkKA79/VZBgptkjHTGYQKVgbGhxFXEdmY3F
n0PHo39XY7/Xaf9k9z1UbJwsYytV+YYT/aA02UrwpBvTjx1QCdcdby7MrUoj/I8xhvar+Osm3inx
R0hnrkFkiCguYpbJSd5vTUa7sG/Qem+l/HbyI+qEIF7F1I06N4Me7cp6hDeJ5SO6l4g/CjVjp0HX
Xm6S6sMxd/Ncet4/HjPnmmZ/I4PYoHj4tMQ0EvTpBBHts/TgBKes/vQofx11X8JP0o6JogCptNYK
Fu6O/3TTEUhY9JtZOKwIiyOMHb8dHEoQ8v0YPbHBf46i2nNZLJ3YABWgXFJfctuTfmAZO4AM+w49
M4regwkKg+UoAHpZT5C6OaVgZ2ITn1sYpiGUTe22Rj5ZN7T8nInwujuG4j0oNXWgqflzOFWM5JTD
X03oXxw4u9GUQOPsYFu+dc0HwcuzVRAs0EIiNskSzVX8a2HyxMFGnrC/5MHTr0c3FjtKxf3cP7Y2
JS2FSx78wEg7MiVzcRixLYhPOFuZttoD9sCcvWWLFopG0CLzMQAFmKZuEzR7Xnjh4E+FZl/OZ1C9
HrN4GxcWxCo+sZng4qsH9i6MDAzXzlu+TGulmQIjSwDLruBcsv4J6wsi9sJx0P3ZnBoMtFNhbTU8
s6L8VYoWqmXixnb0lL6y7/KrXhiIisDkaWQbETGCsY2fy3zwI4raFxvBiNAQoOBHXoZskn00DoUs
t4z3z6GVc+kxdcMkKNLwrDnoTUpqE2qFLHno6HckOh+l5EHT8SmQkxMTKDWAfcmsgKJkUt2Zxs/c
apmV5U62B06ymEc7rs4ZmBO+OMWip1a1Te7H17r50RjK6z45kIx3h3+1PIcJ5jISQKb4y5qaRekj
xBtMTG6EK0DE7bJL2zyt+l8TP8LkaXJVRzREXa6/6OHvzPfKCooM2A7LSg7YKK1t4/jLvIAYicg5
TjDD92eyGZeJY0eLxGem2Y80X5TgRiuW0vDnxEnzHfTrIRLdky6I19o3WQY0eG7R4REgPDF0LHKm
JCZPErK0odjJyv5iTPZT1xrqX+AY3WidI6XXN6qaHSY8esp81Qpyp8EWsoUmJ5bVBTpl7arF1Uaz
cnwCeELqdhd7YiOhL5R6SFQ79NgRXku8ZmCNZPqtdu5wlihZIASRkDGqzX1IfUZinN7W8DTjDrhM
PFOvuKHexv4bHOA3+UdbfxhvRgxBLJe3PlWPnoM1wLPkRfoDacmAC7QObQoSV6izCaOel3pg8V75
c6gVzhAV5ISBsKKkYycDtMKCVymgJnv/7GTTLrbFn2JOOwcObpmMKy+H7FNRy+rKr0PcE4D6tMhP
fjTQhbVfdpFQT+WbVP4rkkcq85Wk1xLRV+F81lq24X1w7HzBOwziMV52vvI5DlfButKx4zXi33c5
Q8kmTG12nGOyCIr+gM792EU9zzm7R6gBlOPj6zSQyYJ0JyZaXW8+BotHfrB4zvtYQxvFYjFi8jGZ
G6W5tAU7pOEY1dbTpIlVgVz0abMOVOVaDvp3gRclNFAOx1+eXviL0oMsqqg9biV++TKJ+CSGXefM
YBqOcMYise3GSvgdin6VmdNdEEfaO8m+jE2E9e0yx6TwIkqiSojrjEJ1jwF/heqAt8LAyNrZxUdA
nKVmtlcLVzztTP/aWcGto8WfUhqWr7oz7o4T/kCNYmLiTD9mK/eF0c0aeiNin5QAJgwSMtk656WL
gBfy1HEgdyUUndg75omKTrQuiqUWBdeO3iWsHKgpXDi1mly1Ib8SG7LBzBuxUZLHsOL7n/BIWtZt
0qJZMgA5cbTjVZ40V7ruux5OT11jRTqWHVCVlLzhkAu1pVwuGGbAlEQBZlKLpQHIBNQl/sRULjNf
AJTDXbN57mazLoP6su9grocHFfgPdRC6BI9LVowQ51SFNWmBkDXgyA017MdTKGPWIkgh2Z5nU7+P
0e4EBUMpadwYV85CIFRh0IXipnG9IGH8WfA2VNWToSeKutJ16FdgjCwS/acGYteDgvU5rwzYhZXh
HzJ/dM1ELuG4u4lAmj3ST9BOr+J5xiUwUzbqPqdArFLv1UkF7dacHvWL4XV2da0reI/Yfz6kU4Nz
UVetjU3ZqPQlEMB/qaSlywpCTx2VYVFEepJKSB3bK63HOW7QFoReGuxD3eJvNWuOatQZaxLBzgqJ
cS9ei4/ASOtTWlPWt3ZKio3E5aV+1AYJYKXMrT20XMYbrckjIfKMbGlgYzI8x8TFoYNWvpmEDXfC
J/nGDJXOxz+PjuLvJtSFUkYfg+g3o4owKEEEh1whT+E6KS2Bs62pVIfANsx7wxPNyJtRPrutH8Lm
7lHEwT5H+nUpJjJw2KcsgBfN3M76f4HTgCfTHyWz97SI1oQ0vXpJygpwNr0W6gpL6nO0jT/LRp8t
UPfHhvmJd4wVBdMsNkmuOsfhObF99vF/snQcoXqZQK8SHWEScvVFyx6BnB97iTOCWX8SFcamFjiV
vEwhw6uU3/il7sK2Xi01plZkeiKdYO2UE8ojJKhMSjLzyEIwRfkZKChYtrIiXgtEbX+vhmKB4tPG
xwiUwy95cpbpAODpFjd441/q1o2jh+wvzfhZR3tNrkZWTfbQIRBEpaIri/9D7IZXz2Dpjtj4J6FD
zeaJgI2F+cwYZWGBZyoUftwA6egL31xuwsr61du77KmpmnNJwh0tStVd6+mcmdtx7mSZR9iECIak
BpKhOdUbvYxRaO109chfZqNlLwFUmZK5nH3PJbqJOqYeUXdh/WeQH1mUb/7UgehEm7Aa0iMpzpuu
+p38gSYiWEWet8hzQiWzbVd2yHC2DMZG/kEu3Nb4NIp93e6tkSdewfyzJlaZEedetxjCDq7k5M3J
E9csmtuLwdJH1x5qc5Ghy7HuYo+GTzEnb1O4N4AKVZSjdng3/aPR/RtAVTCyQMHfx39pwLTJeVTh
w0OFIEvS7cx17rxZ5KWZlun6Ja8mhFtue/yWbOWI/0SlZMbJknplZQV8rcnHAAG+jLx1HnxIoLFK
53qmfaFoW7Uk10ubyC6KTXSAivXDyNlVYN+lZMtYAdYQfHrWS6tMu1b8Wv6/MXlDkegqJBUPtues
CbJzvbn1BP/fLvyKcB6BPRohTTeugjk5LTCrdTPd8qB1DVoHP0r3zfAPfshmsrdKaX5XCbkFXViX
S2UKaRBqW7mGlvwu7eItA+vGMEpbNmwjl3EXmK6mEr8xgSxONe5vxcJyiRJ/XZj5q21a/3rAF1bF
xqIw5Mozm78xjsUy0mui7SOh7Wo42kel9r8cOCgLXc3gHhN025geD6ZkcpY0xY4J2hVnyKxYg4ms
E8dNjuQCZcgiHpQ3rmZ36HMJAy4RsOOEv26tIOPIk1/tmDwqczxGQGpSzzgWejBCw8lzN0zq+lQy
CM7K7DVM47k/xIuOt2CXesO/Mq24JCW2k4lJADG730QltkwveffiuXBtpmFnlv1GH0cWqWhNh2cJ
H6jALAum5UW1e8b+belJJusFC3/E6f+0UQmPiOHL1ViEPJnplEMbjyD7YR6DHqg56VdL7kBDZLZb
eUShBITW6WHAaiUJLHyIjRn8VpKl60vRqViBLHoXlBqeeqtGPX/P80y5OLX4mZzpqIWS5ilrUMIQ
4OXCwb35bcZPNRKfvCe93WWDqW9yZZCuAXY7G5sLPKZPT3Rg3ZJba0ae62AaBhuh/JlYthmFjmul
bpdAA0EzzCBLUup55vplBJbXKenLVS859LAt+X8TPUbCGnFAhg6Cx9RRC9c7xwSGqagY+1LZIbNW
gKzrcfHIWZjnGoqj+qMhA6OpyBUOWBFR3Q+ZC0Hz5MQNL43R/OkVNu908EkPkBolNDAwIhsC70Nl
44wROVTcOK6+sjr9hJf8BPk9ccDAy2v1+NxH2RkgT7PQexJPB6i/XjAASqxap9y2HoB6uDqw17Ow
RN8CedgjQqlQd36Yzpf/ROhsXi6Am3WEL4VvkiuJ2X+u4PniLDV6/w07Fk7ySHyiw98URrWrZi4n
YxtrEKu+H3g62ZIz9kTl9oAPWS/6LKXdDTGb6HW4rdhsvnQWJgBScPA6MmgwwnsW+Ix02sFAQ19D
vQi1TZ1wRU0GaTQ1wxYj6AmWZpFSh8TQ16SGg+TjHB9bFw//j0ZnjZ8SwCsRBWiDa+0vZW/yZjTK
F9/PvQlLA/QB59qkGIhEzeZQO9GwxGa7hInxZ8yrQHJ/Jb6LIl3UQn1jJ8L3nTB+0UJ6MyhOx2AK
/7I2OpJGwHXgxCvSMuY/6hJQsML61P+qsduElUJ0iK8gGUWkRhuDxpQGnt3R3dHI3i1shMRVocyf
Ai1/iV52gL4lEzabHadhE+GvKpxhnWjN+6hpO5NqSYQoznMLm3AYVL+ikkciK3BOSoJfRu091eNv
y86PUSqMleGrF81IDPQe9tnLWJGTEEUzmFIu5rJ6bQMpZtrKoQuMXZey5ugHAZQ21X0+Ojy5tviB
iXCIwYK5Sl19ZEb5ZkbRVcuce2urd1UwTWtp+dYxnGCW8HJm3DhultCDMzcnbFhl4WT79TMbh3+j
hx8J1q6VkjWelz3jbmmGUJVK+8XE1MgOdyhXDoLeNaOC7JILObhBJU+TBPihjQUTXCU944nNEXb4
/ZnODMFsRSbBZIyrOJNrPDaoRqeaLgTWS6ljTQocgpayFM5WwvMrLG/TcoRyV7JtbKifolpDY2AK
BuF8gFkdbL3QMBl46hKpK51PBKh7aRbROawZ+GsGjyMaC+iXEcEdZokofYweg1XHZA8XV9XBSJKY
sduN4yfwve1QYm9FavbjEWu31Emh8zUCa5rsp40s/po8ZrIaokiwfEk4aaQ226BCxpqyeWuHPt1O
TgyllEMGWseckG4uukQTi7g1oLeRTYG+76xLdIkBjCW02d9BOzJv1N4lVlzyYf9Gr73gEtqGqvJo
WtyuqsChJ/U75KTlOBonInJ2kMGRWBfHGiGxmXUwbLujGahHf2RrRAbdzh+ifSLU38yDBMqKBHjJ
pipHvPnRTXQhRBHHgdLXbcskfW1V4s8tQMy5x5ZuhkaVjuLm1nhvHdbNmU3t0vsqXdrgr5Mg3edV
QLeXX4Bf3tCzraIKfMZI3Vw2szuVI7cmdFE4M/uOfAyExWySahwKnWItGGkV2F5s+BT+wy7YyEXh
7JLRji21UNVFa0uvjjKBBJWgb/QAg1mhzR0bgNtSkPCkZPDkvl6iuazYBiI9e6GUmEkObHM6s/9r
sklfjXqj/REbYT3ElAxffcFCIIIWvosFe87I0mBKF9I8IqUWBDQLVnm5scxNFlMWeOvcYiZMBTj4
v6Qr7bvYX8NuuJkwBdQZ5Kj3A/p+r2AQDUo1obv3QrJLiZFdpoVxbCJvAt2QhC7elWMzyBpBZnlK
TU/7ZGhIvVM5P41F14eQrCXKDVyxHS+Crj0YBcV2S9U45UzkKHO4c0720qHCAOfaGhdN/fS8PwWx
Vk8tHIapW4Yofd/VjEyO5tOXH2bPX4m3PphBo4ugnwAOocOMCxbnwYDT0aa438IrXNXdrWazq8OI
GjxACzmAb5ol8QGuQl8EjfYwtXfCuv3iVIbBESwU/wW83FFlrKP0miZ/SjWeSHInWQT3RXwPh2/M
OqlErBJgN2sin5p9nsmO1sZz2leZ8gvB/lUaGuDERgBeu3oB5pH4IqKTAXfIMzaXIi4vWkxbq43i
Bc0c4sCjlfK1H+fEOrJ9RpK1+otogQwly8DaaNOyFIuCIPmJxN6WSW98Nx3wfOvK2OvdxSG7fTo3
2neuPU3+MjbAlMU4P6ycUK9g7YEzz0g5hLXqxJ8jZg+1C1Zev0+tyR0s3CIjHH5CtK7zxebpwNdA
h/mgCoOcW9V7EcPaYEBoHXEoSgOCzlZQffroUZqlKlF+38riK4wAzdYN4WzfnnbNrZXfX4E4vAhm
4XCvuH5RACDvZK5HldCb34q2I+Uxzj8sARYf4CHS/v84Oo/lWJk0iD4REXiqtu2tuuXNhtCV9OM9
FAVPP4fZzUxM6ErdUPWZzJND+xWiWk8gUfw3q1PDuh5UTxNxMHYnLV8U2vPhv756rNGwL7IUlFzB
/NTLc4P/HGkpgIajpNPgwsm2UXLxeHA6FOqRg2SeUczedoZnU21U8a+JYmTyFyc42eQURscW8ZIR
PefOcx/+80k1rkFG/md0n1OKLTzc5gyXkKevEDL9v+eYos8GH0lEqumF58dJMDb7b6ClSQdlN5qd
pHgsbPAIwTsEaiNg/ORuenJ8nAkvPkAh3msIKasRp4o3iW1PIDiJ3+mtNOR+wp5iGr/NPJME6v2H
L4k8kpCu1IcpBJ93dA6F4SHZbqllf1o21t1EHq8VHwzVvDcYMbz2p3TBS1M+ZeN5jh9n77v3nmp+
YMlUXuTvTh99F7BDmXLtOni7RX50XVbOLDOH+G1ufmfnCC9vVRSvYfpTRiflXQz7L8s+7JwV1hEz
2gK6XZWk+9b4tUcP6TTugKSc9tPSVM0zkGmQz1B3hPynwBHaIRXMwR6uNNHuUn8afxTmrY3u/1/L
gULB5FJoIrBcl/JWJsFHrbNPVVk4GMaPnmWpQVxaC93BJ7puKStTxC8pA2lPXGaudnj7h3Ho0HTN
wxvsyPNI85DhtyRLkO9OqTceO8980tz3bcWPw4o0MZuKWp8gxSv7xiZGlVPoadWls4MVkQY9JZ+l
r1sCO5n50Q8hS+12hcR0X0RYkFwfTx9Tq3NlciuYIT6sunUAoQw9Az/4b0GVyHUjiANpMbgwGuUw
BDsRlr9dJ79CZ8TqOftkSrYMuDW/VW0ws/V7jBJj4jzqPPgP2z8XSeadM685GsI61aXz6cTjCaTz
I+raR4OYlJ1ZhZdGMYMys/7iL+1Rkwxvkhy6JmELGBXTORrsc1sFLB+z4qmo9W3up4tTgGmUTbuW
BQ6r0SjeAZ51Z7sKLVhZSq91mNwWd09rOc0GTdR7g14U7CMpVNq8IQQ6MpKD65IBhB+tiUUwdhaE
j9m1Szv22nGX2A0muP7SDuN7Hml1EzGuH9/P/F1IgtnB6Gjfq5CJdDjgVZ4VMIrOALWM4bKiZekH
cDVa1dgYyGEBo0GZVmPmzCVo3KwkeAViGZvBKX5t/PGtGHoSaormjdCrPZwAgGnMx8aEOB17QGVR
6GpxnjQvtclGn6UCrJnaPzuDPk90bAgToo96ICDF711IwE7vHoK2i461l1ETyntYJfDcqA/6tDtl
zJQ2ZYMyauqMzYggdGjsT9PlzvYT/68Li294OCQwFWwbXUbBaNOZW3SCFNXRiZjIW0eyo9OrjgmS
YetZ8lbmbnUcmhhpscCBlj90VfZHw97vhEjSdedF97ZgVsQroifuBNfhlxvkVjOhIm0GKnudXhMm
uKvEd6h8TEl6ahLtvb7EbNIFTwMqjAK474pAE3uFO7B+YExcDOvK7jBtTFK5vHQLH7IpxEumkocl
NcDVxIPbCwq2Q1BGyMiAIUBuTJ+QN+1eE1/8c4m4vHvzYpCnGC2fJT7znQ8WFDURC1eft2qhBacS
FXjQTl95HuznzOemyZDOEk3SmMv5pUkLlUN59vGrrPN+/g8N66okiq70v4weVEiTJpDLkRE37TeS
TdCerc2km8NIBcyyYsGGTpaXOvd/vaK5qVJzDcbkyvr+vlH846olwWoyzWxr54zSzFR9FKk6BYqz
sGpouwv5JYYS4TqLRdjDjP5UiMdVJBTjYSMzdnbWFnwlr5s6atjnjDt/UTrsbTFdh4AMWWLZ2EYR
PjX0wPySn7qsgPovb7KNdML+VCmJNyL4wie8jfB6BcJChOXyADRY26aXroSegC0djB0dggRSiKwj
2BT5cJJO+hr3wzvrCb6IOv6XuKiEQSijmrPNO2OlJ1G5/4+SjsaJBPDugwzJA4a7/ZSNN1UnHdIq
4xb01hF1/Kchpyd2LxAxx1xuvEWQGMTzAZzNa2MXaCrgY0WT/EJshFGh6SGadoxYzDOFHyJMHgRz
mg8M+p/T0DmOtdw1ClnADESew+AmaZY2fdMdDHOEsB1/4op6t83pe0FU9HOqEPzLx74lgSugu6n6
4dFfvMsVoJJlL3TEVgljnBAocLzjWxpUnzV1CWXozlpEkxPRRVqqBw7dP9PgDSdI/JNEThxR0Xma
EdAHGQmpovHvNg6v9SDLW5BSLQ+KNTXEZDOw0532oAq2yPGlnu92Mj5yfiPuivIvqy6ZHQnnvY4C
jmu/JGInkieRhNcMnkdgYwLxRzZeETVoMOrrAMWhZGNgTeiAFu6i7RJBLAgXtYmlZ3PHKF7pL2FH
Z2/U2RWFR4/7l1PEXe6CWHlLevP07RUe5W/8GvWEnIa9eVOV8cUA7FQz02h48OG2qBMS8aeoGgo6
WftJjpAYzGV90rasmKbGXgF+vloifbKJAkUpM907kxmU73LPkS3NqKFp741W7pJHS/EFsUEa2cZg
vbQyZ+tzEI37oA3xZxG8t1OIGSJPPGsr5i4caaQXVpfd9wv+CHNa1HwODkLawSt2ngX9TKQKuW+6
uEwgQ/SO9oBp6Mdu7DVdfv0DEJAVCjScyPyqB4AWTTWeI+bxcKUf58h/DtBRebwzKdF9XZ08pjF2
G+K6qJPGGz6BS4OOG4JssM6rBC2I4Z0FigMHCilRIn+pIjNnGp5ETKURTlzisQ42MFHaB4JJTk0/
/oVJ/cBX9Ry30HJt2E9hFWyXpxnpU741/fpSJeIcaf8DEfwlNOZHJMPNys8qpsCcFaliiRM+hjHZ
u6IW0Ubl2Ws3EQzYjHDKkI2jWODeex5cO8UsAEu0Boe35vPZjh5t6ZxcjNLetSMhGl0YvJt++74E
sLtTd4VJ+zcRDsyE+TInzSV1W/ZOiuMJwZhLEnONMiFu2oPLhL2I2jMcf0IbE4ELHNb1pVSo9lSU
PRYBT74OWKARzpngw37J3ORJx/V25Byg9XGhB9XEwMb/9Q5eyDQmncnRaFX5pqeKUtmXXBYFPjDZ
+XcnWISj87j1TevipWxoHfVVzHKh2nF82OSNDEC3Ox0/GRREsisQVAU3uHuvxNF+1bLee1n4GKDh
xhNRfg8Zr4Zl6GOb9bsZYc1mGFWzGWKUXHB9ypXR44Ob2Bep1nvFA9EcOKQRNmKJhAX8UmO0Zls4
7ykDGSUTQjMijykaPnVGm9yoWyjL+8JySCrip/lCoxMfvF02e8ArQ/ORZE5udQuRIvD9gEYVaYEi
/Eve+pRJWG1b/xTIcHrh+FFYUHnLwb9qI/rtlQHEkOU83/2taRXEN8872Ig72N4jaPam2D30TqxP
0hivXpelZx3VACgCrNg9kSuEJT3beX1x3OE2OewAm0AxB0OtX9njtgv8z8zKPkI3ZKuicTVVkgGV
PSBnbx5IL73IEXb/YIS3yLEusR6QMZl/pitf8Ib8BCXYzrSU3WI/hYHHRsbLph/Ad/suGA98SKck
B7uvA3LRou4YT6VmQ42SvPEqZNzuuyzTUxmJj9nNXoQikQaFjhmnLwEvJBMaznt9aOgagn58l3X1
0/iY/ZU5PnFgrMO6/PC9/myUFVLSFPGGk3VrW5GhI+Z9UILfK9zwefAy1NoBd5Xlg6zS+lSmXb0T
JFg5pLY0bf1NVCjDLTQSwzytnaAmYNGEEgECWHj9d4CZyqtqAPfZT75s1SyybQmq9htWChM8LSBD
TI0wMTDnQjcP7qvJoFvFiGh3hku3lLngkbskyzbB1MM+krQ346wOrk+yUjx7R6Mm7X5KPlSOzIU8
K7BvgmCMbdUE/6YwUBd+3sInJoqBXKW7CUhmTT/orVIjxUZv8AsKinxPub99LX9VqHduPR9b3n4k
Hw82ywwIyOVHGoS7siiu7kTX6UfWWx2Lo0n6C5R3jLkxun17PjZBfavn8eowTWVO81r30cmO0iMs
sf9E1S5X8sit3SLojpyyh37J2j+MAzb7dbufc66YYLIwtEN+wjQg2CUk6NcBlz4gBhhod/3HOC7u
mgHrKtHgCkjzWPuNt59UwcPreg8DzPpV4Rc2ehOEr72TvKJZaM5d7B1to3jLY1w9dnObunIL2Ic4
AOdq6vgP6vXe6mEI1Noi/9iiVYKAgY/tUKc4F6XEitKQGqa/sOLxgrJyTQQIV8Bgq9gz/suHWexi
CzSu4yPnM02SG82zxTNlMYvZFXQhewOWzi7VfJsarcG65zTbeWXI4hVhtibdsJ1gvXdpwTi0kQ99
3YdbVkVqnXbGH/IIsE4BMd/dNYjxPNmZepA2BAw7easLGp1p+DRiiycwSk6Q4n6w8f+1HVCdMXv2
wWZajPQWgYTeBS0A+6J1qEg9HkvIgTRjtkths6Sn+JGL9B4J6TyaPwg6EQZUEcwt6W4Hx9xVnvNt
zwVw/8Lr6aFgoOJ74UgZmvaaifZHpgXCzIZ6uy2t7yEY3oN44S7VxCYZ7WPn9xx1zoQuMiLVPUeX
1Xvy3Zcpax2khXTXtGpMoQUWyA0opC/wRTgenFs40x4Ec/fRRuFV9Pon79lVcA/vnV7j+7GRz0Tt
1kzcDZmS21r1J2L9HkayJYe5ZpqW9oRHtZiWNbmwdgxixJ2DZ2VTOcOV33ppVKxnTdUunHuZyUtE
CDS7LU9vLFaJ69CfH3DGheceBINfWW+Ec0LDidHKlq218rwEu//ALlHb82c3SL1xDYRBZNjFa+x3
S9Ifo1BX+2vRYVIvsxdwBxQ040KfmOdqa3vzbTQqcPotHj3aH+JX7WhTBN1wUdFkn3Ho91vbxQmg
cuuAUBePAw5Ww/M+4346Mqd4I7r7TQ/Dr1EuOWmG9deG1qYU2QbpPvtN/RsgPuciVd9VWd9yZvcr
JhFIJGe0PH6wsUJmotH8XrsFR4WWzA5RDB50j5ErML3mRL/XvmUmF4xdOXzquHXPQ4yLV454NeYs
jK+R0TbbeK7etGLmiJfww28ZemlvzlbO0D91lZHveCtpwSkjwJJEL9INztK2/+DCLoxlo1tqG+J6
VH/viphDJ/PC9ppLPpkVqTPqAcdtfoyjGpNhaekdEa2aOSHmATT/9sWyoaAjtgWN4lLAxH0UbRgu
N2sEkU+VI9mzDIx8/db/7JZU5Qat7tUtYXG70mbnE13FwJSidhFlTCBpOBaYlBDnsSqq/hvBFbid
Gu2VgX1yE5XxzvFIYs/7m8fIJqIKYW95qGEevvjZfCoq5ommP32HHX5gs4FPkgqQEQ4DVpVG5i+U
hQywGCLg2hjxDpmWtTJm/hOxB0+phhaRMnmwLeBI/O4Bmkm3ObsRTg6bIFS+tuboYGC+20E9fGoD
r2U4CnWGt/k4ihhxg1j8CEXnIw9I2dy3jM0DBCGZp8VrFtmwpoHgXXgY1A4J+Ze0ZmgxIJLXoQdq
RuTKRbGPzdyHbC8KXAVeyyBWQjVYC58m3cbJSqolY313dr+kQEiZB3qhDgYEYk9EK8e2e0R3R5uS
Z/UxqDjBo8ATG2Hr4N1tq0e/Lzji247vXzpAG0Jh4/Sumh37hK9Y4GRJo9oG3RXf/MjHpONzPCRJ
5sB4UKQS2ORQkIZgPZRDCc7Zl6+j2SMTQaRghm8CDADfidxHRYcc1+QrNWYy1DM01ZHZEwqAJ2ZO
S/u7ARCGpIWhZ8Pm4Dg3VX+yBd7MKnN2VsSZbOQIIAuO+KyqXu1pZsaCQfo89ipB4UuENEHn6FfQ
Vtv842iQ9p6XEyIxzh+VGTcHX8rzEn7Q9t6+zYwXE2tbP4blE1WH2Bc1WAm30NS1InK2GPgf8WoB
6RczY8S4+2otgsphiT00ef9SWblc+50J+KKhB5EBayG7H3dAXaZtigf3maqMiBNJWsnUThcdgC3G
dP8Ty+wpmZpPj+Rxzxh2pR4uSaCeoxim6BzF8CfcsNsoJ2AdKeuHuZX8otEEKSs8ll6LUEvY5ynp
3pui/B0BLNZt9wDQHfUh7XxlXXgbcVxYrHnx9OK8xExpfWRx225LgqE5V2nCDEJ78F3fzZoKRXpL
gKT34DXq1qYmi70SqYpiaWNQ4pXQ4wvXYWIg/khpvIsimmhRZuJ9xh8RYcJH0KuhEntKIHLt7gPr
6lU6wjeyhHtyyK8jCx2FkO281WyMe11+NL53YfvK81czG2aq+F1ZjnUAElUevDJj7pf7JLHCOl4E
uOy3g2eAF7vR9rtjGQfGKRmym5lzWqQU34Y5HXQ8RNs6XmILSi76ogz/n93WbBrL+p3JLhAZWec+
AZ30YApN48RyqU6Y9Yeiq3ETwA7CPUniaGec6XLRoWZQjVR4DyAjNFCuZofpeuTDz2b7y92JJngD
VIlhaMsQyTKDYUsaHTPKWoNf6kSOqnC+6US+BUnQ3grJUeQ4bE5o/JANwKECNnJOK3nOZqLiugSb
XuSyeTHzUqwKPlgvt94SiOVJYm57yuDCqo8htsrAFq9T3f91vfhTfvTWsE9pEnl0vHEjvfmT2d5N
YMgsDCaEfFN3ThTmp9SWIFA52wgSa8Gn05/iXA5F5oI+UW/I8UaUc9lvry1nPc88bQi1VspwzmTd
fMct08U66+mdJta+jCN/qf0a0rM792jl5nfJkcCmimDoSadoENsRxFCI2W9W87wZnerWuou+OtKH
tIOBa+n8FSgWceLzDDYonqbjEIj3UaaI88YgOjQtvdnsWefEcj9mnNJ2bR2UDdWRSya+SAii7CPT
bZ5gBKitMzCDcUXSxzVJo88MGfpqqmBtmfNeu8bOr7E1TQgKzp473ilHPmBERHQTIS7UCAxmRPN3
cBOo6xm46Hx0L+QRnGP+h1SnTHBbeF0MtdFQR/dauCDDSJo025AJ9qKslix/PRt1myWf3AZjJTM0
5IzzE8SKX4JVcoosEv8mEZ5mI82WLNBsA5WByKeuPauATHuzOleu9dnOhJPPGU4HQVppJdpnx7Iu
Uk79NjHJZmXwdHdLp3ph/r/4N1m1J+1kr4ox2sdw1RLDfrfMetdpdhbVBGEBX8FXZ7D4HuYE7+44
ABEb3yNbNQ+tjYW4KNFXGstqclLUxG0Z/nhokw5cFOBOyf9Cdi4/I9Ou72Ky211Y8yNKLziAeExW
0KEmOP8ZlEByvmFMWx+gN5/mktcs9DH5JFLnK9+T2xmWykUMNgTJbMaSYqNBTOzsQrztP+3ClE8j
hpiuyYWiHCaglTrnPGiMe9HqTkb/n2f6SHKS/6oBsYHVNMGhycyLMo0SEKe17Ru5K2ILULKG75BD
K9UzZqklVs/NPf7qpBF3YzCjTZZLQt1sZGLZBJMuV1tpD4hyTaDbHfYicNdzsKo8zQBa+AS0ltZ6
KHkwc3mRbfnKbPJr7oEnQITaBoQcrHsLgpdrBpS/c7CzYhau0nTW6Ujqn7Q9bHr43mzPZheDie8h
qKAUaod8I7ztN6rkB88RwZOtev3suM2HRfG6Mnt7P+ONjAbFP1LvgREcp7HeQnZ47usp3FUk88I7
rZFmu6YPeC9mYhfgTRtrJ9iGiT4SWeusKz1tllBXL8QuGArVX+3Ire7JIHd5QgQNaqXXKIDqaFY1
i4JcEztaEsyRSv9Vx/4pt2K9dZqQpGTgkEkdUC/k04VkOtbBE7jLtsrBHE4oOBFFIext3wn/Ow4R
9NuyCTZBPvuo8uJ7bY8FZXX/jjicmJgRcDdvEt+SeteLRqfs20fTR6w8Vd5XodIPZ2ZU4Ovpz7Cw
CdGudvvYMSA2phl1cEEPY9ruX9OkL33DSKg1+38lH1hsZg9ZXfDxZxwrjk+D6+vhw7biS58J7iQX
77AcLjk0b0Monz+cI92K+0+VkGYHOIvdKG5uaaCjb7V7zNsR6U/ovHqWc/dL09hRqZGKrvQHzMwl
3tf9lg0Zhb0tr2464DaIP2HHfcPmEwSdAu5EoJUcc1+pta4Q6mcC7jzwijfXU6ACxhr6kfhXxGV2
Eo3NaohiQwBOtCo1HiAmRHtTpOiSylycp8x5q7R1qlwGp61CDY0cYFO2CHAK3ibV8fgivzVrzmGN
LowMruX+raYtBGvC7AYs0q3DKRLUM+ZjXG5FfvANNtcWOiaSG6A45AvrAKaoAq2FkoiF05BA9C8G
53dmiLMOkLetvJIRro5jQt9L8Kv9VpFes3zo866B6k+yffw1K5Mk4Xp4EyIWBIuhtBEZYookJ5LI
4kMU5nyJ0AftE5lwkAYmiZnc1amaj3FAQpMIXoksu9t4jwGsx8hdUdAyU1wHbZUAVwueDV2MD25n
3kXSb4uJxTVocSZmafSqUHFWwj/5xSiAP/b8ztUU75LeOJlkK6x1zLxLzlpsHQMBYuYnz0EYIa5u
U2DNdlY/OUX3UmifitIBhlVjPWb8/+qxI/kaOm9chRYI7yjQXG09QwkapR8OlEs/Tyc/aZ9rj0Ak
dA32OqAKQtjnP9B8fboeJIuEC71SGMkZGM6EZHJfY9CbsQK30jhh2j1G/PHVYPxTbnhaBoAjm9e1
JE0iEfYn9QFJ3cU4bjojaFYOzB9vqYAtwiTikVaAfdYrcUovM7Wq17Tv8HMQWxZbwHosQvVBKfkb
+Qi6e5iVBtZLs+63boUWcKEQLfAHiWoVWbPehM68x8D3lSUodBLlHSf4ofA9DrEHbcrXV8tstoXx
p1MMDdqxgGugIzOSxYCUNu/Iau+VYV/VPLKzDQuWh8SesXe1vOAjMKdrSN4HndqxG/NT1Ee3wQQX
XEzZP0Uklu0ypgujE9E4r0buHXqF1Z88OaCa3OkmOkCTypNYK3lyfez9ev4tSGtmJbxktYqrsr0z
Ne2lSvsNbeplCJpHVQZ7O1Yn5mV7YfRAzNuTJPKtgsmTsJ7n+yPlvLouHYZKIM0ODUXLhPEwcpPn
2R3OZTIfpJlcwhQpv2MgFsYgt4T95djQyGIubVQfQ4ddbmrzI9GTm2x2H9Iq3ABiISHb7s+1ra9G
756ymZfJKSXREsWjaIOjCSgsItqUfEieqGJrVO1DmCWH0O5eRkyNI6BnX99ZipIxkp1bB6gJ7xTz
91UvjaPleU8YdrDxsJWs+hrzuckuvPzC+rEe4/EQOijpAzIWOUsjzFe2BNSTT5vW4ndWI+9htGS8
DBYJTazwqGsP7AaLoTpblXmTEEAiUb0OJSNYTkNIgG11Dk3vR7mEDYbGa9cOR5fJ6FQPO4yHO4Ee
DzGug+NmZH+msl+3KRn4KeAS9SLbQdmnkDmR1oAHAkCTw7LMiZ5ickoXRB9JDPU6QJ/n9jQXUe18
Kg1srs1fzWj8o767CNmSoik2JrErw4DW32QXwor2DuX/KQrDc90B/Ims6ct0xW83Ztc56cPNLNT3
NLEIbGUWPAV4vFOA1D5eIk6qAQqWty9gw6X4TuIEBlfsG7eC7I9l7MZpLb9zL76m1fA6i/F5NtPP
AqFHiQKMRfoNf80ZJj+74eGKUPnBmVFQOcFOUxYx/eEREuF9aj3wfciLyN5lVzLi1g0OEr46TZ+z
KaT/gBAzv3tdgeB9aF6nhYxsjc1T3wFu5whiwmDUAVkhzOInB3WkZ44/wMV/RIdrNpsw80opH5Oo
e0zKEJvfBLnWHvQbh8WJd2UvR0b99H5iBPCKBg5pJYAeEfV0hAt/qf1p+45hsvw02Y24c/FCBMXe
M91TR6bNqkYtgCySrjKX/nuRQ74p2/KBdMd7bTYET6Cas7p/rhl9zuQvY7e1OFM6RM5OSxTvEtaQ
ZB7ztRmYZWlhZw2GpNnYmWc/+GH1XA/IQ/Mo/xV9+9QzqdRR91l3trlTBcyiOROLz2OT+tbRy9Fg
Gf3OMsyvsZzOVoGgTlrDJphrjPDDT9FXp0HLpyBprtIcH42Q0rT1EkDnEcJ87xT6yTeLhWdLVo8Z
wRscUtE9MzBmRib/zc0d/joMA512PvNYvhkGq8ECp47lMRwosHR6YBOdWhsE17BxHjhRSfWC4VRU
X3Zr6TXoML42d1kuo45ct4N/IjgEQoWBwKVs29dkiF9MCZ2tTqa/BHQrRbz5ZmjF3RWos4mJiuhS
qofCmVAt2TH7nSTd4oAE6iWHbdsiy3awhxVm+oo6UZ5T/Gx4/5PsyWH1vkpS30B5T6wozzlSARTs
fvyDLZuEG5doRI2uociZvnky2jHouI9YHy0Z3mpn2EMyl9smJ3zeQ8IrW8s9mHFP7r1yHkwxc49y
FzOrf/ZcaOjob+kzY9jHLv7OzTxoYptL5TJlg9KQGbh0LX1rvOF5qkD1gu7/TwLdkT10KRpXkwJs
m1XYMeZcsbco3Z8S2mkamN9eX9QQ0lyY0WPzPJXIUFSlActObzJSzjqS5i62JRNkOg0WlQTaoQ3L
WZFFxNZDnDXfR8s4teDQV7U9fRQNuz+vdK4uRoy6H24I0BhgUtWuAePxI7rwvYoJrcgYSii7Ied5
cC/gsulkXUa+dshdNHcYHbkmeY5R4ouKgi8ez/DwnMeUSBUqo+C1Nut/KeuAldOCFEyNgl3YhNDe
yBJnA0/8tzci/jlSkuELARci/RwRt/iui2ofw3fdWwa//zAUek0I6gtFFblCZQcGiDZoM00BOwUn
sDdIcBmxJfFzbTeYAEgL2BiZBH2apf9yqctdGYY413KyEms1UJWi3cPfuFQuBuLVsPgisJZ3caSF
T2Im3u4U/MpsyE4WA1KbiEbymuCKVDopXkZSKHQ9fnO6PQbC/OcM5I/jmP5b2jLHztqNk8NddoOk
OrjEwqxnU/2H7YWVMQh7WtckOWSdS0K3xUS/KlNsmwmxgGIcUOJmaEOI6Qq2RFFcjLjbkV0JhtYW
7BtcDBkkdMV1Pu6DIQt3uefCTF/EMwVoG9Ngx6QYac1VQDx2/5QjPPUlOow69X6V00FgHQmNXmTp
RD+JFNWwFMNbg5MQ8kWDysEW4drNSsq0aUncjOuUZDDbb65pqCFEpuAqa161vR3BRWcRMrNGAR7S
Cb/fMOUDmuG0l8ApzmGXMWlZNHdz3uwG39XHIeX/iW7Fwnk4mvi3svqLIy7cdWVZkZNnxY+taoaX
JsxR2Yj2kw1SuTKjIFpPzF2qtDxkoToZDmI7UwF5n8RDOroFfl8Qrsrt3b0Rj88suUYMwf5bPTf/
4F2SV1nb11pln3YZ/MYLaBdWGC1GMXygen+oATEziy3u6UyAnEp7rqgGLZMqvXusGLK5jGnp2JPV
aLrHgH5kNUzxnw3wXRZLLIVTHyy7uImSJpUHSBAb6pWbxnbOnSg/8rb9r0xxGdYOccDuyAZ12dk2
vdnvU1XmRy3nh74pcP13uKvsHg2DusNefWrc+jqYTrgbUkFDZNQbVGlYVC3qX1+wJkg62mBSs+if
GQwKVkgxst1aQLEQURMdLZDJ2yQKava501OHWH3jKT0tOKB4Q3p7jvFa4yGrZtncgyrsjrYNBt6K
xuKClQR7poh+2mK6+1EuNtUSx4ooDEsZuiKwuri5Rmy1kOOKGHKHK92zX7jVhj+t3dBzDzw5DIK5
5chgavu/YTIcdgbtsLOsRdNgjnn+5Xd4mqjiUekFM3mBM4VUIbl98lBN+zFmnQDEPLmmY/VvYgqW
Svc41Mp4RIeXII8GCwlSccuIz3vpEmZ7q7Ev8/+ySSHasES0I+yRYRDLweaPa3uL4vOCmkvv0wUw
mSCw+JsKJLpqGBCj1qivjIRBCCbx6I+7gbDOlOF1TgQU+qWQhEOd0AHmqtjRIcrnrqrQYJOjuDVs
1P8Ig+rnkO3DV2kWpyqCM+J5A7xLDPgVR2yb1eG21OWzZpNrt3DiLERGWJtK9sFQoDmJQl6wfK3Q
6GyshbEwhB6bEztQWyddZpVB8y5zuvgooh9jzhtgSmfSnNT5syrZ+MKAeBrT9ne0wS54MPgFO8ut
lZo4YtFAgBAEHtCEXN6G/VzXM9zdpvy1fbEwBZiIDF0wW+vU8ooj85mvYGx+c5+rouxc9zZ40QOT
HsI5+xdXklVCUPv/xz/5AJNHmX9DFH+xKlKMWtVe8GCexm7cT0O709Tsa9JQH5TJLqyqFMm00Q3c
CBkljjxOAkExTsCDFM3TaPUF5j0MaGFtLBB5VtEzaKQhMU7oSfdQiZH9JT48EXQhPjzvrDD3bmKT
PUo3HTi0B4Vy/LPfUjY2Mv/skcaXFWI4OAiot/3wAr11x3Uib7q31M4V1S2JvVdSM2piKSk/eaD4
3qP+x/TUhVkNxA6XoNEgmYDXV/j9hhKCpQBoyPKyRTCds2ZlB8oZ64zRNbWmjVdK90IPB1iVcLx1
W3qbxE2nyzSM0ZG9Dx+detLY0nDMMl0jVz2ybbjZMyfryGZvuHYJ8LW+iNeGgxV1Ejj1pIgfJFXY
I4iI5xoDGmBEpnkJRdljoFnpc+AGazcGL4MB7L3JtFpaXbZGpvXfHBX/iWmkCsjDDxaCpCf7L1Hi
3CVMxowkOSfLfjM72hdc500cvLcOS1YxF686IyfKYai/QCoJu8Q1SO+BiAkvEm/J4LDzE6FO4KMH
xqPTBBZBVUCF+5aCdtTwP8oAJjpfZbpj95KzwKyeSBejUYzKn9is64sdGDjM6ZiZIajK3k3/4+jM
lltFtiD6RUQwD6+aLcmyLA+y/ULYPm3moqCAAr7+Lu5rR7SPLTHsyp25slYHkl340DPvrseg3Q6u
qE9+YsozSVt8vyY5aifFYhf2BeaBMOGDSkX7WSryiYBSd6WPnymtIO+T3vij27Y6oMGFAAutR2Mm
BKoNEbx7ud8hoQXhbxmV/5mJfZpnwgkgSCImH1MaNeoFOS1CGpoeioUkKKKITnHAERsFRnZVTlzu
PEyTt6bvsb9lQPLGQVg7M6T8zpySV7L+7S1BwFiFtEOM4HdqxbEHQTKoxrP2B4OzYYpK5o3xzu7D
HIdcZKK/VvVRTqm18doxO6k8G09D70FTiJzPacLRFtFGyu3t/xaajpo4HebtEDUnVls5NSnZizeV
L4LihbjvmQST9D65cb0u6bKxJmD/sVXtGpf1rRMSsCzpOaJwcxEaUOyjBEsizg5kXCg5gyPuAZ33
m6JROd3TxatTYanonaNLxzTavfXmjZhz6nrpobKxgrk9GkMR9NfZNp6V23krd8z+oRHVX6pJvtCe
41OfuQD9o/QwIxgsWRP7EfmT97BPx0FfVf2Nfvf+xqweH+IiGm8cWiTLYo3Bu6j6J7BTNyXmH/w7
+JmLFMvVMLmPo8i8rdSBe6knST1wPV9sG6CH17EvHiCJOOB8RGM/pjSqlU4wrU1reC9l8wa4uV0n
ufeRAm19jM1UcTADiuu4SfoJJSfeGcB6tZ4+UtNVyz2eEr+HuqvqxDn52n9XlXvsmbYw1Nu3SbsL
iTxcqpcZW9hwnopqETXY8r7jLvV2mcIcQhxdYRjoF0aY6aeEMEcLJ3FZMcGDI4gzftzo0vflGofU
pYkv5avY5V79XxdaLKBE+5u0nOxRHBXbdZZ0s8RQhpaviCrMw7/MpRYWl9pw5LK6c3VMu6o01Cbg
9kWf1b9BzfRGZP3VmxIbDgaKU5axdq5a71yFZHBAxAAZjodXcy4ec5i0GAsBSxVD/zpHmFqi0XzL
iV2FIW8zjF0L7stpoQGTvTJgV6K9/leOmKaafnxmWBi2rIax4fBOXLEPYYCSXC6B75UPam6TM+W6
GI+E6Z8FvhVaRRD3+0BSK2b4A+be7CPT4O3QhiWb7vpa+7g+Ex4R2LoI8vJQFd+x9P8UmdstVGEw
a5aGyFldxoTaxlaHRLDJOVeDV+7hbOiNqUbNVqohTKZRpGtDAxJNcjha3No71r3De5fi7w0ov7qM
rlsArXGgYJOqRFCC/2qLdjxCr7ae2ky/R0HxCXd9b9UR83ZKQs1dCzxHHienlfT7fD/GUfFXdNHP
bGJKz1imUSZ9KAkynjJNJl3WbIdsdmSEa6SNW3PYm/g+VzoSj1j7DzQm7PmODNCItYKZeBNeWm9F
51zokf7pLetS6oomMgl3ulb+0Q2hh2eLwojYbK6UU5/tNJvWbY2fVjssZYEuvOAH5A1c3AqK0Eev
AQMy2bwkJsQWJ7j0umctD6SWs20JdaaxPvI6ABzXuNaa7p5TlYlHC0zwmnQrxlsK0kSvCYVL492t
61PV1hxPXTPHHDX91VP/RbfNF9f3hMeEv00CS34a0rrcjzk0VUEPbdcGL8ng35ys+Wwpu8N2NG7A
OmHiGY3TLAmUWwifs9CrjOpP5u9OQkKFjL1mAvm0yvlRz3o9NSXJ9/FSOWS+C24vv+fSqYCqkKOZ
r47knUezp3nIjLDl68b8Hw44d+OZvB+SbU9iAhgXptNNZ4XyxI7jPqFrcAXxyRnUA7z0rVdfyF7j
yHLCsHsSceOuG6l+KcUet10ASo6wnGODpPJzUE2Uem8XopSn0mnvjdLZ5XJ4c3qXDHVpBkfSCO5x
4J5YO0rQXKaQ6SwCm6RE4E76yCy1K/5c1+TMEqTocYhguSDtQtl7Sw7M35ceTaN2dvLpNtqTswHW
Z+FpFC7HoBpacNW6cDly1kdFl+sdnkC8ZQ3n8KtufY4gFZ5pMS+bSISHmfoKjgpZkpl7cBOkcLtX
QAuwmpvhLUhtf2eTl18aZ976FgMSH+GT4y/DajUeW8GrPM3ZH6dxeU9LMCzmMuvwKP9IAxqGCTpw
XxRF9sEecMII5tR8JkSXM3tsD7ibb2iD/6wWKDEqYQaKB4mbhlK0AQto95ROdDwvb2Oua4Lhxrgr
E8Qf4jso42NjPbdl8zna8GqiUT+2tD/aA9JwoqW64on4sTyON1bXcFTL8vNAt3hWTQDmWoxATtFh
I/Jd9Ul43H5nbA34V4ErDSy9cJviQR/11Kxai4swSUhDUmlSkL+dUzYxdnpc6iVXzUCTd5CXapOJ
eiCxO4fAccufyrfZzgx1dJDCBY8YeK+eYXzEsbpURhoDXMvatZWL21jxYeejwpVf8pS26RMxRfaS
GNFz3LmfsTZewx6ZqK0CqgAGpO081PeqTa5j6xOrQhmt4jOrxJNSxruK6FXXwTLI+epew4hrbfaR
TsxjPWRxR9aJDHTgQ8Sm5ZHScCVfe3CilW69HQwq91xO9UvRdB8ZYVCh8+xx9NPn1DOvTTftoaBh
cvJmkp7E7EoFbjWlNxthz7y63IwgcJBeu1g9lb61m7oct7yd3Dycw8FEPUPhZQnb7VjfmtmRT7zx
g/e2jT8rCwSNyJ1+a/XufCzjiHr0UoPozKlcNB0PaSF+dlJLP3gxHmWzm7rPEhvahhPC1UsBteOm
u1cMWtzuiBrw91IWgOXohoeQUMTWcMBxYcIDEJN6VBpI0unDRGOargtzkwtK31g/GNljIk3UzF6J
8VC4UMVNnBjbqvSZIpDN/SAK0Tqs+RDzJZbCNa5FM48/RQZut3DsGNJRwcAJhUZuzT5OfgQ1nytV
yfBsusGr09r1JlAjMAWDQhz+2AXaG/0Ek4O1tvLvPrOdbZivsm94j2Xkq3llx9vUG+YzV2i0wd1x
TUTi/BVYBhkoPzqDnaVn0c7BieeMNwViN32DsnFhBOWGSTp0OXQ2S6tRktNMDs0M3TB4LD2ezaUT
f0zQFKSNR1dBdlqnRbsUnL4PHbVv1J77uF0zKCdD95KANqF/ycT/4Pn04QYam6PtrYNSfydqeG6n
4mXiBcj00febOH4aRwh5+INeE+woNdOoNUpQuwRYWMv2t6gxCLE4dA2lpaIts4+vcdi9Am28dVgV
SVzRHWE0w7+k8S5hRArQcbEgCdUHD5WqX2mDhzqOZrFU4uanNpu8Xe54eCuggjwQ/oLxM+gX/Bm/
Ml0wRspxCUdV89ZMxgdOT8E+dI2EhhoDgwYlPy1ZqNLGHMqm9YNhkX7algS84bNFcZdontxHjgZe
iyHLMH7qgu43nMrQCCki30SsfzaKiqgRhv1sPtvwYHgRp28GrQwQWHR6Mlygte4QcPgBiVYE/i9S
1RFYHjC31qmX8mCso5hWz6GDzSTku1xuq0CBVfR89Qg95i0umjuEMFxwA/pYFWYZl24iLs3Ehtzs
7ZlXiWdQ6CKmbSOEs6VdjpJyDAxgQPGjhrN6J4eL8dJdrGPBOO6coSxvqDX7waVrVLjlMR5YjVQh
JUsu9I+JU9IOZwJ/7eiSBUlYgTQJPfDwWNKNTuNmqUBBfPFQJon+VhvXcqdzL9RbN04TUT6B87r8
MGlg5rGXqg8Lt0iVQMGMUuOL4ggsM14fr1wBtrUhbPd/oaSwqd9zhCH3gyIHxZ1YbxvAPHQeTZSG
sCJbBRFXvyM7+lCGot2ymb+YVvM46flQ9LF5SRGLNnbQzN7KjAqyBGJoqbfBVEPTjDjz4MZITOv2
2iqpZ47y0N7C+9cbbj9zb/u0QBag+geP6O3MgR8/xhcdotNrxxEkExaVmNLL2ZCO4wZ3k7dt8xGX
ZlZynCq7/wJQcK6evjKr6V/6avqQdqv4ptkBx9aHdvg2aIR/8yfjw+5nvAS0PJBasg42OKaBO3IM
uZzYtuhXjX7DukUghluD2z4SUzTWTuSsh0hCorDFDqPnxSqbv4jU1INrpdEXElH2MNUxO5g2EfJe
+5x73WqetqlTA9XN88F4wueJE94yw5WT4u7oO6rTaUrqvrQTsf2gDTq1sHKkYEA9N3jPwMl1xLwo
lRvZKGetQnePVUY6yEqaSw+A4uTnLU3DGCxtGM+jQ/VA4byq3gc06yKDJxZH+4qXPP/DHpBUvrVa
63WA5bIBdn1OgljuMslOLE478xyqCNoHNMhVU1fNqRnLZu+VbfaM7Qkx3zHY6Vm5vHd67g7YNiBR
jHRM+AUcISdh25txbs2U5NfgILgGCjE99F0gn0d2JlCm3HbvYRwHIK4yHNJhtAdCSUrFQrpXdQBC
wI3Fe4upLdbkPXv/6jvW/NGruT9WImHbmuftNUJ/QKxRHAtAP2QGH2LMGXndlILIk8L5khvTuw8z
B19fwMIfjePuDtA8Q+AHE0kavkigKBbsOLfHS9tKaT0FGLAfYFknD7YUeBGgT8zvTeqwPc9qKj0x
khl4nxtv7Y60YgYVtuRMJcW1LoYt6BzAAip7q+nvsShfowy4QZ+NCvIQacnKPDKqU99yEm7yWj7I
gMnW6RPo+X7xIQ2i6hzZNSCE1kc9pBVKxNBNU4x+F1iO5QHmk7VvpxR4gV9jikIr8dg4v86Ed72s
hTLce98NR0CcFUBLCt8Yzik5Z8y5sIUyehlPdtQVO9CmKN8Zlk7eF3f25/VJc1lcWASL7exBIGdS
teegosiA053G8+85GtqBITGs4KZczw6qpeeJ3xjfEk/P9yJJDv7SJ9SMkG80i98t2G4q6G3WNWMi
numV8e5psyzWHCNLnvzQEhcwl6BKLFQVjygy/oq8+dRp9xaY8k6tSraO6uzGxIdjycItlONLTyk0
nLv/V9j3xklMi7/H3dGn2a4QR8ZWXxIBNzPNodA7tf8zRwZ2q6aweArgKtaGxRc/UpDn1G1A44Kb
nce6AiOSz/RoD9jgTQYS0nwe2XywGju/jXoOqXBuY6XvgzU8tCZaBwg6a5FW32doepuU+F0a5x9h
BcAgbPCg1v5HYyMgZhKUWSugFs6tBwrSCN9a0YNOyG5tmrzgQf/WRe4/4CoGSOBhF7ZiSQ3LOItD
rJd8d1G66zZ3nJ05+KCu4nEjZUAUIjFvMvefQ0V9x5Sp6yCguBqJKXD1eMG6hZq1EnH0LHzru9Pp
tcQsubG9qN3ohlJehpyo8/cKCG5WLzTfcYbVHoRqn9sgz/m/xT72jJEcsMtWv6fRICC76RpkHmZ3
eI08wuRo/6dqGpB+iuKvCc2nKe4+UyloA+A570/CXlu0yayUR4cj7P5/tmUe2LDe3VA/8cNZ6xDJ
z5k/TNmwY2HFu/YKw7mrjtpcp8Sg0YAZCVJkA89J/5ub/BAWffWXmdNbK8MQb3CU79lBsCS16zMu
s2gPsS1gJZx/ADQ4h8mCb10a9ewUw2ots0ssuz3nMAK3gCFWXm79+COGQznhUMGy6tKkBpymfSF3
yNs++TG9dFiNEmmQFUZPPKidoQh5m0TO+VPqTwFuJ4xNiQcGs2oqlvgFxebhVSYu3VdG/h7HE+10
Krv7GfJ5VFtfbYffXATRyTOptuLtPixUCWs/Nr66hXK4Os10n0eEeKr1/JtvivjqjQboHhzkhAyX
g5CRHumduqUeI1/PhbPhN7m6TfM6O2XIikt9yAZNiTMV7vCFHSD3TdEcwe855zkMP6VdPRS+fPbJ
fq+SYrk5XOySpmMQFqLcJq79YoeN+7OzBGf5xOYCiAGq42mwTm0rf4kGLpwyovUUJdIvNwHGtqRk
GWnXcIstXm5Ba4JSjO+6c95dYbof3A5P6Ci7FEloeZr+FDa8ZmVJHJmj+2n32RNLzXFNy3q8r9p/
tKjKTY4LGjMnsTjLdNrt5NKIRNdTeO2NMQU+w3M3aekMDNmVr9wma/e9KdpHI8zFuS9oA9V9h4cn
1T6mQybJPP5qUkJGDY/pzYzHm+2/TfCuYZKVGmmmK7zHtmorlrlG8TpZ3n4QeCA9Pb8aafBfHdIm
51UGDweDapJG4JUNLe82CKJzXXGwk0EcVcpN1TOirMFw2DszAXPDPl7/mV77KPLq3usGodB/0hpX
lqiBxZAYEFt++B87zD9dVtkOAS9gUGPNNo+sMTJem7lqfhtP/MWB9g8NZcVFAkNAlxjLiBG5dfgo
yuYNvgpXtO+xSLc6kp24P9sFqMNgfOkL+V2mkvVxj1t2AEGDSKPO2olPbleD6w9nRJzkzi9LYKvP
uHNx1AbuTI52AVSQOUkXI2eiUwhWUj9GLflGGOf+MaGg0LPrX+wqfEITmKXcJvtnE3ibx+qagHHh
6VNn+6GCX75AA2wf65YOLOoCU/8yeKTOHP3uzHh9YTMRV6ziT2dKyEbVCZhblTawfJ3hXvZsYTuw
mTZoUCjoKe1zCtNgkDsbu0LpKyvqNG02LfgRra8cLqffIixAUSh4SkYv/PLroIZ8m4Q0WE8+BPzY
OA8ZmnbZbSI3f+BuveUKYFFFpUbCqlo6d7N31J7UH+r7tJ4bl2Kz/tvE6bkaOuPdFvNboOFu1Q4P
6IY4hEkg9lcn4t1moe/MxofLV74NEffWDMdfVRHwoRujvTPMkIAJBH/Wf9ZDXaXOxhiqi04rfPKj
+5pFkbdRbANY7VLKFxQvQesxB2g6PeIO03ssYSYpaBxz0/1Baxm3ZlF+kyO7F2FwsaCHOU2mHnLf
Ps5O8ZDNAY7KEUpb5w2vnW+IVUMq2RD8l2mGFWUV4U/L1gsvAyQVhK1fq+urzZCbbw7+5EsLr4HZ
xPkKYRKClWQ0DwUOlUYlH7oq76GdU5gamE8yi86O4qyRqojJIaZDDkcKuiIVimj4yENDW3OSqKKP
gI9kjPvfzGfGcEz7iWpUCh1N992VPmePRr0QRp23Stbka8L/qgbHprTJxoZW9kfRbXWM8dZEQ4w4
SU9Xb+8JVl99a/itKlFuWcYf0wSQtm1xwMhJ4l8yGNSbJqjSjT9P3yTv06PsrauG/7tCQ6cSvGl+
HQfsQGRrdcXCAmBRG3gHS57DLGX6LA85e6h4DRlv3LL2oFlAub8ltJ51Xocg0xRfOS4ttQorGrpJ
HRDtA65hsV3Drlrv24H3XNvq77KfHpLc1rsmrA7zaOqNtHiVy6mNN+kcEwrqcdO2jFlzrh4NAuWi
IWM7hE2ywY//xyVRH6zW1keevg727MzLYY34/m4icCXM6EPEI52FXMAbm3sDeApmy9ZiGwi3gjCN
PyPFdgNiP9i/izFMM7be4GmezRc8kXIfEJ5nArS/opHK10yz7GZpb/+aEdDWkGUUeB09rqfCfsjq
oKV0itocezlVsik5z37A4Y+ZhtkW1xX+zbHpwmiF/gaYYsr6eR/PREj8thoOQRHiS3GmGFeV21zm
mFsKoxbpPyc7adfFjImym/Oc5j2mU2eh9Nn+sJGFUX81lTlcJcIt44P6lnUhNwkH8ucCWx1XjJAS
FAG3dRmXsLA6ikmNPnY+pDCGa5FY1X/mkJXTwVR42TXM/U2dGj5JDDBWmPu+ih7pd8yy/LcDwviI
T6h90Oy3t3Ej1G9M89I2QS1FwgPqVfREQVfKBJ5U2Dab/BSXCPVT3VG7vHC8oWz3kWiaczThGrV1
k+3j1uzerDrsL6po/K1uRuMDRiMVNNlhBlF1qPEVfszhHF/AOz87NvEiVuYEnKeI3L+EjFBQ97lB
eycMTkZxi5hzxGa+QXS/BGKcwUZDRatFe+zBh3CgjqzpyG9KcA6pkTIuTDZzWJ+GOA62Ue+n4b/K
9qc/Qo94X80Ry0TnYt3Ogi5iIhP2k67+n0QelhXqYKOvrcpmSvudPfbttWyQOzUrNoK0afVaDe6w
Y3jFJAIihfM10FDsv+GKOvuWdTCuwkY7TOHkBXemtqy1B++U0BDlCpPZPeUq/CS2emzKLNnKINO4
RovkYZQKfInS6r2aCUh5yP9r28FzTFFIRPii+yTRAzjBJ9rC4XgVlQhycyctQACF2rsSskYC15hT
HIJZXEZMjqb1rCEWqdl64BS6i2Mx7KpqZuLwOuDfSI64FFXPmEW/nK0FIdLGfMZmsgSI5wmfBW9n
QuWvFsxl6qlQocj8mrvIztJtuMCbVbm4Z638ANWJuF/jfsCReyFMN5HOg6EG5Poce9pY2xF8UcFF
PFr/1bb95kiYF4lwvorFE5yo8AlyasTBgAznIG3v3Ymb8KHj5NBIb9d7g3GxyVQ/KEnDMjdGyO4e
j8mOO9/6avyZaqfJFFegASNgOfKuYR8xfwabpp/7RwBkPE1ZqzMmmoCGaliEjc/PsAyKY4PYFWuN
JXtt2OaZhyfr4WH+SbIAuxNKNboL3ncwQ0Ryc9/cC7AkeJ4TTSepoi5CsfAuwvxUlAl8967bSUA2
LMtCtGKs0nvPhi4FmNJ7i8ekf+zIyzxFXlQdsamGZG6wijuVhYtu9LCfVsQ6jKnmLQ6GSVTMdpy6
F+nI+IdwY7JxC2/c6gnvmGVDhANzRcyjeDFwbh54tM1/KSQvtasTatdtz2SpAWnc+KfsEif+ory9
FErCrbDD1Fw7SSK4TMGWgtWMIRvQGMGOFUGf9K2dCvPT5z0Jqia0q3euOWI/RupXL2GZJizDxED7
grYcqtHnMEfoI2OXXUxluN+dNTHWy6KHPznHzzME650bwz2rSoog8V//MksZV85zNLkl8aBp580B
WWB7r82z6mqPIzzLbawFeUjHXtpZs4vK4wIQxvKVjhuyJcmLMQdvuZ6tG8L/Peoi9SiCzLm5mTtQ
KanHCRUwlP9YgrvPOYTybdfhU3JRSz8dA7t47RZXpTz3NymnfAfWLjiyzxwfQkS3pVjI28MGE+xR
MqpC8detao6LpJWVecKbRzjM7JB+yrnb6tT3j1PVJQ9s/JIHQ5NJX6UGpeFGXmJjX0aCOXrIG0HQ
MKUOaOI1i/QexejlQ77o5Basc9SPF2Rz/kpRpwIDqjwP9EzJvEFtzZuQNk1qbvP12I/xW+zEDy1M
gHUJ6O6nHmKOUnW/rItqQxKhmNl7VrMJ4lWGLrRBt+udXT+0JXEwggnGEBWH0lvMFCoDX2kMctlh
8YbNzTAl2TtOLyMXFvZliys4Li7YU4K3JhyDt1H4h85iXrJw1yiGVlu2cDwL3E5OtTFzc1cl3O+c
7B+l20ESspnPCtTPhqwG03OH5aDJf+tCWFsbXuAh0HV6cfOgxYlkvpKH4WPOQiRe3DJQHAKXiKeD
gwQfSH30De+hFOmrnuJnelGJrJA1aT2e1EJZ9dtYiepgUaqw1cmkMAsG3Z8u/JesJRImbA/uCI9P
QdSELCxhq4pb0rEn3u5DWxwxsvdrPqmWdqEGG00KJrQyGa4G+22sZ3GcC9s/GGxITe736uwMLdb6
yfdsztqFwv5GOMtC3el8zI4+h6fZ4oVMeTKAdJ5oVvTE/EauTInsaLqVuPezQfJ+lgnLuLYNMcWl
xrTkKb6i0juVdoTpOvJeplxf69Z2r1GH4Ws19IS3yi7c9z0M3lniCAQZnR9jWF94yab/Jlvk68zj
63a9vHnC3vNjRFX562nWU81IhnpQot/aMgIM0vQXK3Aa3vFmyFbNaM7cKie8rvuoo50ktqN9wGnE
jOM/O+8ZItvkqCuOnEbugAAM/2sZ5dYNtTCQjY+5dkNSmeVnXY9/YDY4iNlm92l1BKrD1r5Uud8+
O0L2+TqVwbknU/tutcalZXxcdYbZ7UYGlQ/ScQmTODzYPC1GtsnkTO0icR9yHtFb3iwss5XDQNr2
wcmI1EhNWcWHIgiIeFab7cdQiLd5PnBSiP+LsFKRyCm/UbQVxkBPAAY0BXUBRcK00/b4edkeByss
lViiHPPRD82b34XDVjqZVNQEGcZ31fbqH2RbruOEo/HWJeW+5gp4VbGDS0/B8HJsk+iOJm9dD2a+
g0xBfRlQvMQoOVxxO6wxsTRrrCxEMANC9GmGMxQqaLMzjdk7SwalL47mGKA5j1W/utDWcfQEmlGF
dw8b/pTczBlX0DCHH76jftqJ3ibVsbrl2T6x08AxDNY/1i/9aPB2x7Q+o+9V6DNFgTE6mdm4d+UX
nTByV6ZOfjJsKCYGa3cyi/1Cjm8/bdy27NgCo7lNAn++NahLHJbHjtF7L/OwOXWJ+yqzjEXOMLwC
oL9oqlMaGB/bkEXZmkH6aWJzRcZenhCu1XoSYbnuAXKstI+KB8GVtfvPyBV1rB1WelbsUCdaf7ke
Ye4qlyVeFM8mqdR8lGVYbsuCPZdWRryFWWhuRD/jUFBA7wAA0hfYBgQjK46/eI6rLP4EpWi8x/DO
NK2oblmUJ83hIOaPfvZTEPBtHF8EamgYWsHG6EuJdSLw2BOShYhpcFpjbfrXc6LeGDQD8gAuPfkQ
GSFh2V4sK4zUjZkGHdr48sc4S5zbYC3GYs+Zz0abYRr0/HT8TwaTeuJ42uxEm207MyVPVe/olNqP
Gp/XYPvdSvhmtnXD8CFruZGh3Xxg2rpZMYz05REMmnGDVXcTYqrK2F6lSEpuOrxk+cJarJIdqgQa
Qa5Aii00L50kP3QifHpEpK18wOAThGLrTi2LfyPqD01U/wYDZcEGfZMJ4BoScHi6kim/2EE/j9Qy
kR6egxsvW+cEgYewnBJ3ujIw46buGxbP8I0Fn71Ldejus6omBVIqbs8ESKBp52xaVabbO12dYp0k
1PRm3pBs4gYjdBB5zktup39DTx2fo7PoAmUP0Jz5mvjirSMfiJmdCqyYzTLiBnJ/NurkWtYuD14T
fjoP2E3fdSaJVpohP9s+O80BqnEXtfV6KJD4oRUDCGRNUVqYVxdnWXxNkso5zlH0JQr4lnH1V+bj
9Jt1MPiYae11NrqPaC+PrtNWD2FhGtcxTnHsTsNA4XMenMIS+qSbgqStwr1uORx1ZXCxRffqNcm2
HOILu/5nlbV3NefysUrLXRroqx0E40olyzKt6kG/BdLdyBIfZml95/xyntuEp6bV5WXi3Ab+faIK
RPY4ggMkAIpJmbuhhDrXyUv/mY2JShM8edL9DH1BkGN+9Nx+43oG2a7hyArww/Wzq9cGxH39kH6Y
qv+0syC/WR5NKJupHPQFKwJZNmsq3/x0/k5HPEedNjlXs3WjuFTL8mPuKOSGowTKQdtUFBI4gMOV
ObtOsEYe+uK3sfEWOkQMyHR5abBhjerx6M/mT9uI741JPFl6ML3zjMWuYDP96+Gvx8Vca84DNk3J
HEK7Z8Exk/0HO7kknxNeLRlwBdCW3n+q9jEFwi+C9yhAW/tg3rVOX3IDI0BJsTT0PJrwWACk1EwZ
dLTWhnm0AvxZLseiiRqlA3vE16Ye7stnNCfxc1QUaiPBPB2GWOGdJrmNTx8r/S2StEMs7qsOQxBl
xM65LYtrE7TxioQykJouv3Q2vb6GG76zyss/hPZdLi2FIaYyfitSwq8BC2cM0lM/g1GgB6yYdzWm
YP4SuTLKbKB2uqpPmdPRF9e4ztZSQfUqbGbB2OofUhUeU9c6NLGG386ACn4PfIe9Ym/53gW+cWI/
feMZF51GBUOqrDBmE5fGs+1W3xOWQOrVumHL1pKpFfMTZt4WBE2b+fWBDgFg07HjPQHIbzamUSn2
XRqHII0GAljFqpxL8IMKi2AQ+QJiss63KglxOw9eDQ42+T9ZzWxOPE/rL3Ci4xuof31wwu5Zet5T
EbkAXmol/S1+GnmIDWhMhBaQooabLVmMhtQXLSUdF6svbz6qlwTEumYteq/s6cSuGePHkN0YSi8I
HFfACxxVHHW2SdwsgyY0A3NpHHYCGDest1ppXWtFAoadN8RVv2AgKRq85fONI/hJhz4GP62s4aRz
dGO8nPJSdWiV0BISLvVNzr9ke9a992XLZdDhqy3Gj9irLi56JuRPMa6zYP6auGhXTjMuMeCWwLTb
/jjCobJoTrp13XLGjzOLrvakIik10K7V8Sqkuvi5iQMXgpDdPwQB3vw0iRS8G6x6bTw+qKkKd7B1
NmLwnuOMUHMFjXmL9fPEh0SMPRmPssP8N5iWhhiQjY9W4/JNeT1mA69ubHKz2PtJ1FiM/tzyDZsl
2bC0s6Xz4hjICrEZv6WkZXeBYjQPJMBBM3qRbQKlmShN3dVLQ5h/HqvZpoE0hEOV8JiLufEhad+9
2TjX1tzwvoq/KcVklHe9dJ/5pP3LaXqJZ/mNHeDdQfrfGhJel2GlJNTS8ikMqbkxkubEKHYXmgxO
0b8iJty9RTonMMlRQJe3WNjRLhj0zFVmYOevvV+XTYhnNYwlRP9X6TxjfXWo3pEBV7RCft14FHoe
AsJ3xOeA15j9d1Wj+fUQEknnTm9xmT+7KH0aPhGmNudtIMgCuMB/14N9I9T6XVjhkypQm6OofgOH
Q9FATzsBDS9AXhZxHMijWoOo+JdnzZsYCK3OS8itbfIFNkQkzE3C5GDVkF+5vUB1GASCk7D6QX3N
MMoMj0qqmwkbG71dK2j09X3QBauXeetXDIcVsFwDY+SGkrJz4aftdk6Xx1LyP47OY7lxHQqiX8Qq
kgAYtsqy5GzLYcNyGDPnAJBf/47edhYeWyKBG7pP37OzYuVRj+qTJxhEA4kXCBeoO0GzsBxJ58cE
9JGKJBIpV0ASJRcFyErwGmq+P1V67SZV7UU7owD8g19GIHo7BIZjM3Dhw3Qp+jffMg8o6BEy6+kk
RaypSHHdqHTZjgrcTbBM9BVVhYEenYk1IKdictU5iVwDUU2BpnS/Hcv2TbDwPaxQIEQnUnzpitxW
sNl1/P6mDhd9M9clXO05Hi7tKBDYlf1XR4AkLGH710lm+9sPybgeNc76JPsRqNGGpIPPTzFqY2bf
I/W+xSSCj39p1mOhkdrBPdmotiYdo53JDO4AvVfDUm0AEn15tZ2dUcN4v7kbTEQWovi1NaOqJq2Q
Azhb5VqvQ+r+czvC+oIpzoCACAfZEl10PFDop2VD3iSy0R9KiEMsgLIqVPCXUGvmDdE8sKongGwl
BJMIkmyUwtAey9dsGvvt4BbDFlzNbij73VJZrN9zLIEqmH7rBk8JZShpvYQXWsFTWxK3OjtPknyV
M8sUvUnE/Db4TP6sOjekSEj3rFKpT02VJLsrcHwountpa7ERmZV8akKDJIUQE6mFPBK/0+MuYzke
dzhA4KvZSP2Scit6yDarXrrbnkCdh4oSeJ078mMRkhzvVu6IBf5O8HfA5JragxDc4R47cgT9Sqtt
4bcYigZN7UbVtdOVJowOeaZMzjqiV+q76LfjEIedF4ld1djFp+9nAE2jbg188nmacwjzBTG5fnXt
5kUp932B5L2o3WRP4HKOi8IS5BF5+EoigZgwI5cziRIkzD2fHWCasvcvFtvwVZmQR2PwR77j8sXR
4Fy5GtJnxDy+ulF+CZFTU8zU974/YCrW7IDytGGw6b/bxJptjFWdZxujdnplsoVAkxFXxijXJo2o
lAI/LpunKUu/+liwZ3ZTucvdwT0NDiO1OB2IVGkn7y7p+odG6g8UYY+W3Tx3V9t0X0NykR/TUttH
2PhoWucZbSkl90pMqJfGjgUnYK9T7mCeLyxePs7qP+kVd74IL+hl0cBLUd4AhzmoMr2MCeIYqrPv
YU7OqR1cgUfpxLw7G4i8gzEyZoiIIEw+NZ735lXUwromoyESh8Xxum1re+YgJ3OcLN95MNLpb3C1
inXZNjaRWlZovbRpHe5Fcoqm8mkei9NQBh7RrHRWxEDBs/G656jyzY0MkfVz9tuPtWoMW5/R3ilp
gNz6O3+0/kGTRTqDInGjwYidakG8UlgmkJYR2T51yOROxUADjMDlrEPssj135UpKGkXWH6iqfIUY
SLHSn+trWNoY/qrYlGdJkf4WD/Xd0run/CoGhzTEbCYZ1kObihuqQj7YIfsVE/LpNsmn9TRMzU2g
c4Lox/6fVcHl6Svy5TBrQCsZvOGvTrDapzOfQZXClgmoSwDhQMdiI3rWLfwyVBvupxlKZ+PSdcLu
YXuXVDEImQbuOFv+hTF5ucF/SRZS1BEZ7PyZtvJ+cOQBSsVSvrXwwexYrUO3KdS/EMrX2vf7eNc1
/qmaGOjlo/Y3dtK5IIcAc6t25bcQOzuX3bnh5V0hpM9oIeRF+cF9EEbu2Qvj+RpFxhpRl/eek2IX
rdqLW17tEs30lYriA9FOs7dm+Ewlbsulm24nWTPkblRMoFj7WpeqO8T4oVnkUiZmy1bq0dmUomfu
Mk/uWrn+k4UkspGYQdLip2vL8ty4DHfqJlB70cQMzHDw7lrbvsGGKNkgcpSCIy04nyxzXy40sZXt
/loh8kriEMM7f+a2m8z0mrNLWmXI6jZoJxi+qOjooGx7yFkfwv/GbZ94GZZmpwrJbJmyUyDNjzbm
GeUvYAjPTjbZyLKFg+ItbRu8k4Mat7YKz/gxT1Prsj5JH+dg/mnUcNdUdMB8lDxpyfJrEG+Q1nep
QnNwonFPqgicuyu6cnKTN9wFD5ZveAWVt/WCVB1J1Nav/HLwlfvkZUz816CzH4fA/ZqC4hIq9e0M
9Kk6g64/hmhy+oatU62dehdxxa1BJdx3PoOapI5fAp+eBFWAfSwcixgCr6Xtt8GB1CXq4wJLFwdF
sZ29cdgmUffjEjKwYwp8lppiows5g+0OxIeb6QwERMHyvwLdVDs9qm4vh3tCtpaIgL45Lv6gLLZA
hHEd9w7tUeQst11MGN+4hIS8xPnMGJvskcKPvvl53pr4hENWzBTRwE3YePUfDlzro/Rbi/7SI+Au
LvzbkpndOirgcaJ3mR0I3rOw8jNCUrnWs3fua/FRTl1zFD1/58jOjjDFd4rBT/DhV+k9MdfejH+I
ovdkRdq9iRb0mo2oXpDc4+v10nIvGEaRMdNSriMl7DJoKZ7bt3dQwPB8xN57jeAm67BMOw3BKVLi
H3EyhvUFoavbSlT7KmOo4znlhsMhPgxt+eVHJF9jQ/zHdhkxWV2yqPGpqcXs/BsJoWT6rd5cPzZ7
V7Gr88biC3KGd8QD9YEvg2LMo8YgBJ0hL+iGtS5FxbtRil3dLD9xZe4r07GWTSdEnA7qqZS6TvYA
LNQQ75dJv1S2CLeMs+WGhEG59oLmy0m8d7viYY8l7CEEyN0rN7W/LoAsUmOxduq1812TfUEI6ckR
80fTgMwI0RziGZwiVlPkh0d+YqGIkXLbDiaGLc3RTSbfsppCP97Uru1upwz9dhXqH1JQ7DsvaUhA
Ve1TFDAlqYFvbLwhZ1wAbfcAst9saO2eYx82QUkqDl1/wneZj7+hM33IEon7FUHXCMhTy4xHv/RR
ONfOO159XgN7+ed00G+6gTDTmpBArxjfZq85diCSoxCad9ral8qJz/WgBqxjJDoWlf2NhUStCUYx
uz5zWtJ20wviaEagFfjJ2kFkzvKPXM8ov8fs+9mneG+CK3WlVEG/K4bhUBRmP6fWNsdIjzW2cTZa
w/xqQoiktMLPNtgu4bA8D2nVVv2Q/zht/iNl2a1Q4WhCR7tvRWgNxhekBqRVYJpXx9aR+9gWd87E
sr0MaIOZvHP/lWI4aAyaRAYAxsjryT0upn1avMFd4V7PEYe4KLJdc6+kTziYZLAeTKlZZ6rvv2Td
gbum191OFX1QmSGQGgwavcYqQO+jgVwFklBzy1Vf7Oc82BPmPouhRiVDgyXdglU7tgjbPI0Ba8m3
xiAk9XRPaLQLDS9W2Qu9yzXai8WcxQX77HZVvyef9jGOY0abxnktOxhpHcssK6xv506DkjTZc6fd
ZmN5XM4KGsdNgRcCDRMKGIY5F0ny9Gryl4/WISnNYy/BJi560SVhNQhL8SbH6W8XYh1ym+bTBRuz
TdMIjGoHWUj69b1rG/YbQfCYtxYikOAx8g1PcwC5u009bpP6DNIJGmE+la/FbFAnBxFuYHSnIP5s
1qZ2DSS7H8Fi9L7B04QCA3/hQ62INmQGv0pDMn47/Th3wUXJ8ClHLcdt0R/hU2/xA25jG9tjYYMU
FNX0WSvnLxijrRRsDYoOrU07zwdfzawVGuItGQbFW9O7hiTN+CUrMbwN+baE1tYyZd2gXyPOLl2C
m4kV1k4LLVc5mDNu4/pBuuJ9bFMyKcRvP/sAwJFBez35tznCsCqt8+9kAUCBo4R0Au6DdKlAq/Cx
/7GgD44OP3cVlhN3B5aPKQuvllsWkiVH1nVleIf/VVItE8rW1/rRJml1VV/L9Frb7IrKmzJgEETL
xnRAyVfwbsfIeNvSR+Ngl6t0gu88R2jA9f2SjE+zqJ8LrtW+sJ7SpT8n130AIumPYVHW3lac1AED
XjrDdllzJ9yhpAJhTNW4qpGxbFvf7falR+A8g5R7apnuOI76QH5WDJRg/GjyDDCkf0oMz6Ss543V
2vta9libr2lL/HloKftvIZn6VdUDrzq3nVbfTdc8pl4z7DJNUnRCKcjQc7GZdo2W+kq84l6h+QrH
/GGu+5fY6o4o2G+DucMvoXDKw80Cq71GPJOxGdM7JjtyjXLlVmfBWyyak+qv8cEVZrt+QQ/bf+cR
IEu6rO44g7lAbzkxYsoRQkmz3Cy+/kZ1elqojdZzPMYrnYzAAhbMCkNZ/C1e5a2tqT7FNR+yWOzP
JURLUfJorCO2AJxq2XrMxge/xethEZWQDdeoWl1cYifFjL7ARbCnrdfplyRZXuVC6iwBGQELxOsz
0lBaQjMrA6psTxxMFDwME3NkFuzXuOnmCpSFEsXEpdqCiDoyJ7ppG+64hZEr1DCEDBFiOWsWf3Uz
PBPXEm8rPHfO4t11IbCTNAMpV5DIi2SLJ6CQYXFc3OATbVnJjtp9Kjx5E1uZ2eSN+bE0w4w2RCkx
XwWyBX5sxlzILbKu/pYj4nYGwL/0biAMsGTPS2/hA4N+Ofni0/fKD7NESLf7T4TkV1S1x0ZY3ARR
9lCakW4xzR+yMfgKNBeFsZedAA7DjGNa9gv20p1EwksgTvvogPon0EQrhGApFkCfBB++YICKkQPt
UO69ALcEQIiXNmuntYp4GvyeOcvcQRkde6CezaLWKGPRltZFzmUd3aUN0D+TGYDvjkU4GFmbQR/6
G4b83OEtI3I/t5+SlAVJ2zowHxTaIMf337yk/DFX9zGMfvjZpFG4FUWXlWf7vkIT04NR4dzo98to
aUIEq2QLaBuSziTlBtcKmo44dtchVnXWGmCQclM+0uq8LXb+60tsAfDaq62olvqudEf3yagoPgSa
4FfJ1YZZ30vXrdManL7Tlzv3L0PAb9QQy6JSHgGOy1NcMTmAafSsRPopLOumcglCWJhtb8FbkuUx
zf12cWI43rY9jR/2ZAcU/jK4M91o0QfjvFMLVIwZSorj/4xo1wHm8i7JCWWxZYY9bzgq6RjSudUS
540bcNzAdPy1fO9f7JJUkbktAJ56+c0Hke2Gpvkaiiv5JmH4QmQeR3vbrUYBqqZawC+7VvZH7hQE
cokVXnhrZ5Ynyu+1t7jerdPwwrV2SCouJSD3qzr2Dmt7Lcy2n2YG+d3/4pwu2cpBvNRZx1iTY59m
/s4N0AuDv30L/P6UswGhZk5vk7BpsPbP0203GJzk051a/Berqm7gNR9CS3zLHMIqiGkaqay4VkWs
McpHTf5xmJc/rUO5j8nba6wnzLkPaTvTo0BIA/gHpdYbSXBN5ldtc/3PCqUeTCS2+hWbtAJmlG7d
mqVwF95OfnnXLzk9UcXzTpyuWeehC8iBU3Yr8/QvtJ1uq13xp20aTVGX6WMVJ5BUXWLKymX5ixC4
8tTnGxZAF2HjK5/jYrknFrZ/TS3nqVQ8rLaGq9pHHJJdYbxb7ZvouSusGHxhl54Zcj227I6lP27Q
MDFcJnluE3vJC7lsBQZyHoaWKnSdJOggQkLaVtgUn/HrsdPsqKTr5jO3FnvVke5DPtpNCvlnN0NW
bmPGXWBKGa32ISDAEA9qALg4yC15N5Zo/NlQPOmhffifupM2BNdJPC0PWdmfljZYtlFknrGBWxRs
9UAqqCj30I+n9dL1aiVUhszV0ucIwprV6Ff0OfeunH8Hl6E7eUqkoyL3WFeol/U4X8qGbZe5SjWF
3ddb+yo5zefw0kZMqNuEB8zBg7GFNApzqzInm33HhqifS9WIhn2nFXAItdeTIIWtKaMQWLk+0Hqi
02sTDi1Z5WBbk3nD/09sitW3t3Vcv3nUObcolQHXVLG/8+aaUkzhww/Ltt6KQmNDls6ZcoTeIE++
O1ViARSkiKS2txwhaP0iiLgxM/XBxC+h0wpBGnJr/qXh7cPF5UXvoTtd+rE13GbNnUrFWxwu56HP
X7DTkHJkvC+eo2FDZXND3/u88KN35Mt+olMOd0iY1GZyunNLr5NVhhuBCRKzmOI379PbUnhvy4Ti
B1f2OzCGS5qOt5z2eqOa6FvJ9B6v3rF0UW1IRzh7n+w31sLl/wDbbTFCk3DxvKAoPVrXG94LHepJ
T7MMzs12cspxWxtF+rzlv9g+Tqye7CrH9dZGhc+FyPaB0xy81gJsEVKFWW2U4XJBhBB73rG21FPi
SO/FUPC/CEIztlHA7hUr4k75cfCAQMEQJ4jaIZgJfJr89I3VcbvKgHPBHYr3btgSbWvPLwAK8K/X
wdmINMQ06d3UcJ9XeZQZrJ3I+wWYy1cdWh9FWXw7YF5+ZwVQbyJkeE5YHSvVP7pDfWSJ8xUCCdsm
c3aE34RuKzqyjzjFRB/xj+Lbz4JjU8Q3MCKqVajVrey8h94N/6HKJnvRqZ6RLnMuZb9A62GgeVwO
alhOHZYRJcpvMV6FZw1cJwPk2gzZaUEXe0Ng1vcVn0Ub/mDXNEElhA7SF/eN7cKPrJ46/N1WRrpM
qD/mxX0BvgPElgsssD0ifKJnlM1MThB+bEoAEozseHbj+QiyhRkc8oPVEqb5oZpZJoxWjrU0xD2g
Ld8lpRNytodBCJZc9phJVDd+RHdnkVO38XJgwH4Kpbq46lqQb05bZQqqDTlBphoxwCy4AWEFw1Iz
3ZGxBe1oqF/h762DovuaDBIUTuCDv2gXaPPwDU4GL1fhBHu/Ce4G0d2Dxoo3NNFvS5R9wz2DWz/F
8crD86kciFyZ9P0V51zLWVQgvx0PHprelQp4vQTJb7Tmwb4KccCUVffd03NtMXwfJ1Z9cAQdoKeW
fFAz6848r7g/k3LYMzQ4JGZ4o+5mNIz0fG2MvCT4CiCDbcPM/qlDCL+xixpVz+jb7WiDBfQmctjT
yeiB/dNTNs42ISaAN2eyAoa5/oYBtUsC7y5o3GcLtj53n13u8xY07whewcYNaSHCY/Z4hUm4/hVR
sW6yBYpKukM5+LiE0BeChQSvsZx+/bB+I2HhdjQ9BuyakswV1OHE51I0AKQSmb8PaxqNaca3kYYt
yuZBvVSVdba9aV+U9lvfQkoQbvYdtMy3OIAn7hToQF6QX5d4QI+20tiXEMTRGvUqjfDAiCokr3fv
iPrRulIseHSI1YgVCbqs2VZ9ZV/mEuUiIeMda/KV29onKu4PniQG2cJHI7pYJzwSuIsb+BN5w7DE
XFzyEPMaiT1X2iEGLHaV+pfsQGCIvSk3goTsnhvy8NaeryCiIL/fkNAUrD2ShCKH73IMnsSA7KUa
AgpYK6AATzzAeQXOH9vgeKmj7rumOFnpwb/zfNwb3mIARXjh2khR7KKK7MuZSRx7CGxNwVhUuyFx
SubMurnFe3FWCx8TaU+YXE0H9bdItyYyCEPS8Ju9RQFmMn/CKOyj2KNaGplPb6hLmAI65C0C+7pT
1fjCZPE7xDC3tocreLfNy0c+3HQ/zgNmTLRViCwQpCcN0RqDyn7rzKOR4F4IGSGhZ97QXFAcaHD0
ZPrdpmkT7yDJNKgZWGPm10dWNF90QvNGVu5bJSRxxOorrwhfYDK3Nq7iRJw1Mcg0K1tU/YZVOPmB
upzOfdO5ZH2gwZ8n7wOBDdAPlCL7pm4nGFwJjd7Uc00VDsB8i24rZNeFD/fdxXFhIKTo7Kp561/K
mMe99+Z0n+Mm3bGwMTe6yO/6wabpqoJLCuzmYFdjuVrK8FGVCUoBrdpHZEYTAzMMi56gD8L8CRK9
NszRJ3tjbA4fzewLkR7wq4ClVYslierWZRQVWHqXlR0lqAjeMhXkN0VWwjNPbaLlTbkPYbGz47lb
/Pg+ZOkIfwYTL756tVf1AMPOQs5qSw2JanwaFb0XyYxm37kTGWuu/5EGwZVplOywHcB6sLDsTNcl
ocu2W9EIZ6CZ45EuDTfcOxkpX7EO77VX74op/cOB8uaxI+TezrgvMkolXgkq5dwnXzfEfVyn1TNM
8gek8Xj3oP8WNtFk4xKh1edJn6w0WFeUuHy/3ozaIX3ROv7Bswfqtp3jtS8SBjhD+VqZQKwMfUsc
wADma3pIXf+r76w/i1Hdqa8h3Ay5uK6SxLasWOKWvmWvzSCvdEzxnjKkPHd93q2HxCMJoCAJIAHb
olL8WTn0o31uFJjOGK6ibYkKdSQ2rjALn4AULZQYdrMZ8WozVava4+D4V5bk+KIKnLQsT18tmUFH
4DnoPetFMd9z0zbaVMOAY9Zxj07h3eILf5ib8NIk3BlaLx2pW8tC3HRA00LYMgBOhyfB1/l2DuF/
p3BumumWhfbM54DqjuVNso7LaM9ZSO6DmWDW29FvkyOOF2b5apbgr00MhlhJW2Bf4BqSdDUE9wyv
3hUePtRb6B+j1oPUH92C+D5lc0vacf3k9SExaWZXu9lT7PAANLW4zQULjEo5j6LEyRKbe+ILHhyn
+W519umVcEPyMlEAQML3hUTA9STAoA6W81dbzq09RED5cafDp1fYCBgxcGbM60DYORP/ihMxvUXZ
xpIg1S9Rhik3a0FK4bLHFUIkqrG/rEWgpRfmvg+4DEkggGODYL3vmIKrxH6LfefCS3qvlWCe574m
NcvagLGx3RGn4IiUqfh1bjX6hHYZcPDZiLc/A37cVnLjae+ZRSukB2+8YZGmUe9CywLF8NC2kbyu
9lMyXywGkizSXRAdym1+klmiL1PFhvgrbEOALP/BLaoendya0YJWdw1ZvPzNbfbUj9ZL5i7pqaor
0o6G0WcFghRvchETgqPxX3vbAaDYM7cr/eKeXtHdBwMyfNlxJ+N4qnNWdlOLo7lHmIfpkolKljIH
WCoaLhMCO1vG+qnNpdo0S3Fvcy9CRg5/LGkfsHJ92J5HfzqgFbNS5xSkRcoficdMMTS5hlQ55zHO
fls7vbOc8ttSRPPMRb3pOIh7e75nfr5zh/yL/egXwgskHAXnFM6tDgoyZRvQHrITMo9TEfCDtMVP
NHfITRr5M8/psuom84+TDVrl5PxBCqWGcxDF9FfMT55VOIqj4WDNcE+yIvVeF6d6m4vl7Jftjafz
4A2+C3TWMPh0Gw/moSsJoGhS5zFSxDMTUUAYntUyp3QDezzM4Bj2vqXNKsGptJFLL2nPPFRBY0O+
aCxh9OdxcV+MAyn3Y43SU/cOY5u2feyzWjwg3ngxov3E9G9hq3TLL8JDHuy2ubeF/RcZ3Ax8aR5z
PDTzzDyuiu69lyKDt4DqdW4PpR2uAYWnt/cK5G0R65O41O1Hz6QIHkIdfIENJAa09IpNlsjhZgyv
40jhOXtlBePKb1JSzAtowEa33L/x1xKYyxxIva/1ciFj/dZPFc66mBhjp+vHXdrBIg9a0Kqlz4Yx
6SiVSLKPVyYUwbFgO4znXdxAM2KMY9HShYqtfRzXfwCVMbPa6Z8o9WcE7GHDJKu/yWsnYrfCuSVr
HBZ5zrPT+wR99ZSukK9oYFTJXxp58mhJ4hSGXtlfeYkUqbdIZ1/6Ud/6bXfHEnwVG/sJ9F20dqa5
Pdi5W68zEFt7go+qlRhS8JYwkRkr2nCmRAS7FrapQ+dXkhqG8gEOYHma6uqanQiOCrs0CDnkR6LI
zr2ILn4z3XfSxj6RVUzOZMECsusvVsLEzUQu8ruUyMLOvrfD6m92y5G8ceHSJfjUgpkt4It1b5FL
zTIrM21Usnyg4MXsmEzjSSAVYzAJ5jQcO3GYOd6w7jkXr+uPHLnccJJlmsaMbLzylKYICXTG7E7h
YKQOFx8gYa+JZJhik845egQVM5E1dOBp/wYvDs+NLdJf5kvkv+QTDpqIaPM9kYGfbdOM7wZC+Ar7
8AsH9CO5eUB/cCMiokjQFwdSHj3bcx4Qtd0V0LfWNERkGDd6PtckJq+k7pYX1oHTQ5mly1rRwcH9
BtRcsOPENIWk36Mo3iwFLKCRJfouSQKSzuFOb+QUxushBFLg5/I2Ra26IjqHoZwhE4Y531sSz5/k
/CK8TofvdAq6LRQeZuToLrj3bpGtf6ST/GsQyh549kFCdPGMyan/ZlTiYSv0o/ABfQqTgjIiwnyU
ODBic504GMX4DopD8ukMkzl23BSOcP/miGtMxl+ovshIgJd7ypIhIY0ZWk63ZNE9kSzo+2exDVJS
ocbyYWoHdEJtbI5EUKN/tpzwM8gGMtvchM2ZI4czBVr3HBvJ5tW1vkP6wTWMoIz0wmbeCTtLD9Rr
CNgt4k8UB/BYJ89ovUhYKv2z4f48ZA0rmDSilw4zgDfGb4NroJF1jEaip5kmDkB1xY2aeFuWcuqf
kcVlr9Kp053jm/bGZSi5hu5l9qGp4WJA/e9UT49UFPdcK9CP4uuNzSKIYxBjGomq51RyCgwWTXPA
65e14WmBGxiI2d5J3FYkl03M2mPWCxVilrFvz3bqP4JJxTRcoOFdIsc+T9dkc21DFhniArtY2X/G
VXBbjt5vOFt3rYdcRmI9pgj0z3mc/iUpxjwTJsk6b1yXm71vDrXfvNstt5c19RY+JBZp3iLMrlMB
Nh/bf4EqzLgqF5x2LWIFMrz1qqtmxm0w9re9i/AySuCIglt/LwdeFAzwTyHNwAbE0XXTbXHFpj6G
37zZLRCEqnFCsD1mPxrKYS8Li5CERXy6pjr5o3bBXLgsczQmCuQr4MQzgUT2KvUIQlJby44eUZyH
Ynk1RTwC9ERTilxmk1GG4ghCrJod5piKLrO2kfGfe8P6NuxPUd7Q5vsMw6iZUQnBYCjacVtxRXNP
EZY6Neboe83rUsYoZiu0xPzI6aXM/HyNUHqLpvmzIQ58vbB4QWrjdK+9M5tt4C6aiyHJNnaeDKSV
QJF1Y33LhBOZifQea5JiD43s8yN5DKSLVv1BhxHAsbD+YqwdrPOiW/c6e/U9c8G0/DZZhFLZPoKy
rPdvF89t925jo65zJ81grMd336IYhfgGBi7GiL2Ug3OSi8JPpGyf+wHzSRJP1BHckGHdNI+LzVCk
ngBpJZ41bqY2IKjYjhr6lg5DAessi6SLqrgLfaZERTUxhuqJ/cYUunIXaJqkF8J9ctjzO3wG1x6A
K6gOGbNN1oSED+CXxhO1auaaYXP4FvnlxeqQmhTXVOXWBahaLpFaTzP+uIWByhbCxovV9oxp7FY8
kUTxV1km3ydFec8W5McTFUjuIvvHOOCaLocJwLYDqlDfYpWbqHir+ybZohpqaKnl3VxNfwwgr6NV
mAsC6M1eh8w47LB5wh15wTofrdBnfWRL02yWZiGfaPgJlYWhwDoWPlDrmKUMGk0SypRsztdZu1cy
c+tmkucmH5MVp5n3yCwrWI1AvVeDdv5o3uguGcTf+Dr7aDN4IhH5XIlPm7JE7n3g4rexXfIABQa9
m4pzg2N+8LekkB/0QhJaVA3fRHckm95z7/rYPWbBwn3dLgml/fhN8An6lMbpN+Ws7pgg+7uhdnHb
cOWQCAgBmakX0Cuie4m04cKcA9pn+hyKiCkkRCtIggNL6GnT5kuycSQBMVXB62/j5EEJiZ4ldvHb
CNOII1Z8zcan+9BhQ95KXM2f1B6vTjo+VHLBazwjpK3m+YKJicmtDxtH1xb7u2Y0yKgF03yRqS3f
EyY//P4PVS3ULcAHG9Hh9M8t7fQh7xOx9mkI9cqyOcHsrP0C9hhu6O+YkunmQO34OGfFV5ku+RMo
5ey7ImB2ySkwmAa1JLfB9dNk9eQDUgQw2ehGCKBZgVwJcGShKVZ55990UiC4byKb0PlwegJiCFV1
4YonzvAL73O/jkoxHk1sWwT1KvZzLINUZJ4yY/1Gbl6+WE34AqDfQmBPsm1eh6S0DjTSth2+tLN4
BpV8q1ppVrkkvEkCuIC2ue86cV9SSmw9fN6QC4kpbiJLbDKRQbPTS7kNGvBm0tOgMOpqwyP0y9jE
x2BHcEmlGsoP3pnYQ8w3jt1pZkC9kxaKAha46NNRgSZ29ZXWAf/xRIraYqgMq149thnxt71sv6c8
JGmOhZcDj/g9LRiGyhYUTJo4p8kKf0j9uHeK5hL4zjHRMGssYz8YJyxuTD7dhsoZqa0y5wyP8IA3
J9kiWqDuzK0nN07yG0wO0Q4ZYLXj+HqyNXi0VFyTcuGjoZQjsXCYcK2B8h5zAgkCmzQFsW7Yqq1b
smxfU9FBuZqTHvBWT2Fo4vCYTqXzOcxX7KCIyhWL++rH9izoQCHg18LhEEyH4d/14+ts93PBqM5H
pJY1oHcOGCf76Dudsvwd8n2ZOtjZU72OZftcls5TaPDjT0Qyr/hu38eMFVfQo4AqWggk0hm/Bis+
e3n7EoT056Ml/6H2UZjHkJI4wv666oUdUxBWT949irGCGYYsCWXiba34mmwWGcdmbr+LIP9nA+5m
D/fpFv1HqpLj0lQb/rBDxiJuX/UxQFuA1+xUgh3WTGePKbzYTDEM+jRLieZFILDm2WWaEd/GHVMC
Od/2Ic9PBtRngmW1CRHXbdO2PhWZe90FXo8sEzxKFand3KqnfsZnZHrrcVLFxcyDxHsil00RNg+0
cvYBakmxh5IF8YGLeCWuilE5TmROTUID1x7QIaWvhCr6277V827M9A0gGZ69oX/pehf5BtPWgy/1
v6BLnXVDywWgPn/JeUMqHqUEXS4CsujdCl2YsjhLpnrKDrqC+xCRQ77ykuEgFu9SDykesqLZD3l3
Tw31TJAbXMBu3k/9Vd7vHGO2wvvJdi94DZ64Rv7KLNt1OZkkDHtDHrH6P47OY0lSHIqiX0QEIOw2
SZ9Z3teGKNd4I2HF189hFrOanumqTJCeuffcB2GSRFDKvMVd4SIr4jtwWd5uFjHe+9p99MHIbYC9
pUDZ9HdcsQXQcJagn7MyMNpnYFYHMqt+sDI9YL1Hr2MxvoW3J8A9UIe3SOS3DTZSDpPwoaswJNvW
8uPF46OEmRg5ifk+6QGclCZLKuxnxNX1wyzaceMvBFij4O83ojOepDdhqEverU4gBcIvv+ScEGiA
GAwl5RyR7d7tvVx7R7KhWWnFYn1gvC8/T71zpb15rfy/nI4WH1WsBtSDuG3J0ecgrxQgkM07WwP6
EsQksv4/E1hi8TQjVATP2PEmMzaLM1m+xeZzFyzcr4HXnTOcxAyEA3Z9tlrR+8wAhQTEo9jBTCiD
Nmu2zE7Og7EBto1LyMQsKnNbQQ6vLh1Sre3AM3zuepRRK7glHKtlP8yoTZcGcsBoyp8cr3w0KWB3
YKVXuHpzbX39ZS2kqS7a+ZLG8OOEhsHsBhVmMubjNrcaFKwsfV5tnvpIdUyGvOROhClzVt4eXpJm
3NGb3o3kOzl2iv+pag/QeZ8bsPJr6lBPuROf/ayGVlEE90lHQ4uU8xVIlh0VqUNYxExIq7Uig21L
XFSVo35KvCqyM/HlBKGBFM75dMPleeyLq5FX34ksP42Re3Z2uydVEM0Fp+EPUhuzQDtutvYUXpcS
wQkN2Ea2M3BanPa9gy9SiQURufrSCgwtn85wq4GAbJKUJ4sVjLutOm6xscWxh/Lqn1Ph5V8CMW4s
MvmABIInxA/303lca8UII6Vza8AjTvumlv5eI9+jKPfAMFlttvN1coYaAOiZBXEZRFhdP7xh7NGJ
CM4DhIUB1jckxNMPGtyn2RWPvZzuuJ2TKHaniU8mwaPVTP6BI590tyZVfHYsFwzp/pO2RWqJqx5p
flp+ji47MCj6dDJARWgqGHT5yH1n66fwzSvd9L2q0f2kqKPFNPUHmuajrqp3VUJkB+OLm8eh0fb8
9s9gVbTFYfE2je4nlE8cKmYRR6PPN6NGRsnxmF6EXongRYkqKwieEm+4ECt9aLlVFjs/5VV5Y47O
H9fiatsZDp4hPk3fxgpf1rsuA82pk3GXT1p/Ja36hweuPbRTfLDs+lyPpnv2xokVa8412HcL3OZE
A4P3lx8kjQXtsfc7Wtk3uKOc9afNS9F9ZcxwlsQ6O8v0k3LTbANzvI4ecwDXQz8kOlzIFQP53GcZ
JMAfMLJBi1u2z3LmPMwJUd8FSeBujYW5FxbR1g6o9Hyn3Zb8pZgE5WdT5EgMoHa0vKEWYcSRbdpf
pAS9qUbeVwnax5CaLqAqgVH3ZlspZQNJoxMlL7nlbHvhg/+yH0oilDzIJKz4mtnOC5X2i9vXN2IO
YZEWD2mV3Fo6fXG09aOH4ak3J55Ij/0ApOqP0UxvpB8QmqrLJ7cY1LlIMSahX3qggYlw5x56mAVg
jFuq8+zH1OW58V0UTjlbXqszw6hK48u6O7a1fKWVvXMHdIazlXGA+wHbLbfYl0rwyOf5uuSU3+Bx
FOotdXDwuaJjL4nYEQw4wt59kiJ/6PxVHeQVn7QIMJV16YFRtlw+tSrK+gkcYuDG66T9c7Gcu0JV
btRVUGPwBz0SGv1S57QzbSjLbQnEhqG+eTDwem3dhPtV1US8Moyf97qYh5Msym+T6KCd6SBgskS4
EJRHq02UjLqhhsi3fexQ2vHY8vOBpMxDg6WW9A+4xEj5A2odkbqwj0efDa9PJguIfUM8MLrhdDYF
nUpl7rzZYHxn8d7bFoghBwAANokJVGaKzseXdX82GBLhdcN6mJORGyZKIiuWrJ9WLKF02XIiBw1X
Ofhvm5DTJXl85oCyyXLJ0VjkGrjsY1imaAP7P403COrTgyqkcwjH8dyVzuMy1h/CIgZqNPGKd7qn
Ma9eDIqVnQ5M4vMs+Y8eUvLlYRpVDakncUKD0fXErlA5/HU2yHwAg7csCt+TmdlVChQx8kbredQc
kE0MQFfa9r1nyOIZguh1kNNlwZDluXxHqescuUZ5cEdknkVBBI+IYbJXPYeFEj3aNntP3/uH44hG
1V6Ysa4W1KDoLo4h5b0Kk2zrktoDfy1FtRcE70Y1XdtZZmgicVWrwjrJHP2tl5mvkyjrKCVKbNM1
lb61uUp29aKB0rcj1jzpJMgwnRPEHSwXaR1cXd0TXVv7f+Th/KZaYfvFR4ekp9tCkw5JzUkerRLs
telJpAtsD5JA/3o6nE8T+3tjWBi5mvk2CHtn5zp0UkvJtpkLgXAPjuTIZTr2h6pZo78vn0pCH7h2
wz39JnRTlxtvEFNx1/QhngGBJFkm6j3x2ovAKUn3FFKShOH95HYfdi7RHg/BdJnJQY2ID9mXjnlw
l9a5DYAIHcWk+j2lOOovkn9k4V2moSgfMN2Ee4aQ8jikGWSEJLQINHL0nuDzqz+6R1Jg9iMrpT3r
lUc6qv5MKzpcgJRgQxyw64Ytvau05U3bdmSzMUyNvCR9NVdhB9fbN9cP9I1l/Kx4wHalDSifBXO2
z6rirkjHe89e2l3sdE+9MNNNodr3oOcktUZ688olynKaplPKlJ1s12G4kEoiWcZYKD4oN4CgpgQ3
WwDX900+hRws1CD0rA1GG2G/x6GA0mOKZ1YbBgdSUEC/cjQZPWX3amZjh9hqtKETd4n3UoKH2xYe
bYSzNP4xC+P0n0XnucOK0XCMZjtvgB1mpMZ5HPKPcmmBdquL39uPzGUgaEzu22LUw7alQoMRwELE
Dwm11EVA9CYLdZqVsMGgFEK47CY+FbdYUHaxmkjC6TvLHH3K+iw85z2byQLk397HD/U7UrXemAL+
HaMb1z1NrhMfXX8ZjGgcy+6QjSN1nT9+c5WgRkKNLRJn4kBN9mlVFBfPc0MMpyyfWcNY6WGIC5te
G+/EstXdQo3npkistDPXeClWP2tqFI+JDZjCtYP8KEg4u59Akj06BLISv8fav9dLdabb7bcm+61t
NbNBbFmObGc3+XQq+9lV7R+5Te9Vy6rTxcWQo0yg6s6xUivrs3PUS+OwBeiy2P11BvHbr4NDOXDU
6kH99mFyD6UbZJ5Oxw5NsS2fiiAk4AAsq4FPE2Fm7bX/AuYDF/oljVeXECTU4eU/kZXtHUK/8nsi
f/LWIWFgazYFiRn5+DtjedsXAyMR03ZI4uap3Rq9G+zzOMGao0fVP7HZBD4DA5n5P7NubB8O4rL0
seb8v8WuymTXauNyi1/lxFETruecxvDrbK2KmzqjA5m75mgb1cq8mplXUvaReplCJaAlWcdCfk2f
MihkRmRcOI/9Ihs6fTPOr2wAT4qBd2yNOB58nb+isDNJaIvn5W0VQ4HM5+chzFpuPXbxB/aizy6/
QDaHHEV4zw+qMr0dHEOxTYFBYCTllRiyAphDfzJdZ9lZPt1ao7mqgwl1D7/5plgQAPUsQdhlbXsx
0oxqx+9voFHdzaO4xqp+KQ1Fn6pR0VA2TdfBHOZo6qAxwzOaIleN3oXdj/0gWHzuAhWam7wZEAVO
dBrsEhD1oQfD0GmHO9QNUSJKQVxLeM+jBr+tXOCJ6pHoQZxhzkgUlhPIx6b3L8jgfxZVQttjk7Tq
S81Nb1ePJqngSx/kWMm8D1BAybaYHAZYbv9KfMVNlfjDOg3O90Rn83zgu914bYzEM5TpHsBS92iQ
M3jIPeuoB1ZNXci7u7geEUwiNyNTGhS3CZNAfPY+N+Jw760havAZkHjr+sFl6cpg3UNrXriY/wZr
n7D3fWhQV+8nOFn0fgX3sdFxPy0NHYLERZP0SDykYEHJNMI94KgFE0QAAFfrkgP3aj8KZjZnNAOg
ozSFjyyyU5vF3t4gMAb4BrMoX7/DxCQijbSJDcp8VOhVSu9VFm+ViQ6PrV/5OyuErewIy5IlCNNR
ZQc7BNPWwbEy/ABtcaNTxhMNyphiOecWr0Q3kfBnm/mt2WJPF5rRr9EcQJccReLdOEXso4+xPUTx
5Tq5iUEgBAk+JrP8GJaAGx0cN5XSeBFpdalK+1Qa+sughLJ0CAzL7LdOjAWXmK4bSv8HxVYktBjq
8sPfOV6lWDmvy1sc0ZDQnmdydnYciGfwVOk2QZi/oVU7DfZIErpmgqkIz9wwKOVuojpqRiCJjrql
ekMrsgo0KY5JRXYY99dnLU0c4LRXXPpt5+2TYkI9ptwHci/Id27CS9BrpHjEQbNR+VGFBifDqhJU
QXkqgrm9Qc+3LSDNmG3CYiXJ7grHU3sjDpw9YgUGW53rXz277Q6c6AynSuicC7AgOw+OOeUz3dV5
osz0Q6AnK19mU+Zeu7OWdYLeepEfiGNci3udscAgawWJXkZgZmGfkc3hJWEzyS4TsUJmZeZuyIle
7qBNkFXwKxWzpGbaDQLka5/vCtTqlaHueBy3c+xeK4Xsde2CVT9sdVserKXcBcK4rWihRGU/iQQE
iGJKO7DwQWL3pmIIJciLIuHqUyl9WtUBLW2h/9CuoMmpX/mVvhDc4x6lt0fe9U848r715W1A4rkn
IdfFxo+Szlu7ZO7BzBNUX626JL3xyWwaU2A+3ioDjY3i7jOT+TwD8SS5eR/78HTSnD8+0pjC9iPJ
1wmfRcHaSkP8MCgBS8/b2sMsGHh3kjXMyHSNDnswQo2DrTYvQ9VD7vH9B1bKnF/1yRaEL6TOBRzn
KTbwdsPaIawxZ5lA27PNHbYbiZBvZrdMyDNnBopVQUjObGyFn94bar4zBss7gZF5mFRHI5+ACshr
LrZkKQ4DKVoW9kIE6ARvYcXPqwJ6Nm79Cov4NkvDa18Pd77Vq8gzu1dq30+c4YSXzO5fXAfvbm08
mSavX9mgyDH/3ywqdKydGhhrMyhbWNSH7cC9rZ44dPAqV8OX3VK0j8lqoRoUE01FnsFkTzzymdoL
S144Y0hOqmkWwAt6cf7udOyax7Gm+lhL+ZmUujipPCDuPDPIWk88IgdQNiu7PTmVnXfBBpTfSls9
p4p3iXXJQ+1AhwhQKVjOghK/HBB3rnmVXnWqGhBr5TChahqHmzzooNDDLQI4si/B0kSsSI9xWb0z
w7ybmf/y7eOM7eHTEr3aHDkN58c2nt/tqWetW5dfTeieE3wAUhNZPabBTwOaERjE8oVG90CNf4df
1yBB3jmYayZ34JXdPtCDseV7uYV9N0QIBo7CH1FxagwuQ2I9wnt6hgebRIaq221hivksBs2juCq9
Vil5ZjqXdbFfGoXYFxald9wx/WEQ/ARoe50JoE/oUQohLlk9GsTjFGjOKIAJXt8EPj1x6j1hYGAG
3J/iIAXtrwl4Shbjqlp5qGf2TUPvTNtkiFlcmQFQHkXrGBIiE1nVizsLjySHGoWw2111PG5T0HIb
+qgVwYO6x8v9Zq+H+SgDF3AHY1zy4q1DwT2z47PC3jMj1Koc96PTxQHs2X3e6WfXLF/ouArYvcD2
ejl+iM4XV9eq7juXWsJrYUsNdfBk+AGVakyyfdxTeSV06uSfVbsiwDemUC0zObOhuKrlpYWxnA8u
Ib/NjecROcHdzdQf7MfiyeRggDdeaQrblCqauglnCdlgm6A1WBd29RlDJQ1ZXZMxB+szgrx5zSxn
VyTEP2nhvhkyGI+9qT9U5X7S8J06VtBcg5SZauD0InTSWOSxs/aS/tKj4UFrbqKRLd0IoSxGoMY1
I7fj4Js4eKd+OaXYaHetbbb7eQruhTLuSIUnNcsMmHYg63VS72buSUn1lffgCX1PgjpPSF+253zE
+0ctpHfovW4o/5EH5v4S4Q2M6M7ana7C9eLgb2lqouiLvPLP2MEUtEbm+G2ibluNT4ygtd/BZoGZ
TzUbJ00gny+NN+ySerdUCCg94IdbP530FinG3hdsgMMyISYxIwbKsPezADkqXcoov/MgKTfvsSdf
Uyk+EHjfdp5Wn5ROgFLaUu99PwyOg17CfeUzahGOrjB+xt9DIcTBwmCKL8BMQMLx4dW94x46o/7m
BF0XPxXw+9SAvoD9lfkbEvE5p3m3agF5rXfvkpSZTFEIjBpJ+W719jvKg31ft3SLSxUNYY2dmtSV
ZgxvxTARxMRAGX3ixFS7/QIDdTMMGShX7uW5C18JvqKoMr1zkC53SCsAi5H/CymDGXFHRAi9mTUS
Rxx8FEN5ZwFLjEjK+HVzlw5wSP/FZNphJYbRhlbzVOTI37pO3gO2qw69jTt4rsqS2kW4VNQNUrk0
eOs0O2XwiETGsqGRqYnqOvYAm4LIiIQ9AUYYEdUXnvyEjvlDxsJHbQdffYMXbhqap7mxnL1TdTDp
ckk4FerdpLE2Yc2Wdmg1q8uZUIBkpjQ3BDKuAhPZaGHiHCgeIt6fD4sJ/gaeD3WyRJw8lyzhTSQ5
G88LQ0SceLjNmGmPD3l6zwrikxYXJ3hoHcupzrbJOlacVQNZt6Z4AvnCYgCw5mYo/X9lXB+Q+cC0
V/kvm5nbhMwMTJFM4GDqzgcGPE+jtUy3blCiA6pMIjIdXJTay+8TaXxZyL93vs1RBITxQOOWRNkS
nt2AOnaKeRftiukQWHF/Rcs50RI4r5Zf/TE8ty9hbv82ChV+Vi6PZtldGjfxLrYsX6bGfGXXEtEi
KzLQWDqTEbDFWnfD5ODoNHPODAh9QrksJy+sPn00Akhyhm1Qs3w16niI2FgaDEvyAL4a4Iekep1N
y95yGLK9L1Nnz+7Q2XP23OseNgxr0fgmr3IZNUCko7joOxKogqs07MsMZXWbzEBerIzYhkH2lylt
D13T/PDPNg+wUvu9uQpqu4fW4nkxphG7fh5CFyEDTdlZfqxtAwWnzg+mXZK8kE0vagzPwnN/rZnZ
BvLEz9oSq0oV5UBMK+ObJpEFrhyi1p1Re2CB2xqoroe4I7UUE+NiEU/d5PpYQ/jeoKQnd2VO3gUg
502FfhEgM3FS3vjtjGLcdS5aOsP4GJPmHFNlRAE/EZNIg7yi1QYujYnEHCv4nqHc/j8fTkSA1Lo2
WSr5qOukz9y9RwSQsCsovYXWuGWoB7IEtxhhK1mI5SIk/3QOnCvFRrG1utDcF+0aAaynJ47naeM7
8XecpARb1AhMZW2ftFbNbmyG6zCbrHed6jq44UUgAaurAKmDhy+zLCFk9cON67FF44q92Pgyt7KH
6itr8WjY+U8tKPMqTTCKbhVJXvntEFbHME1MRmrJkYkaFYlmmc6UOJLFVEaJXcRbbyiQPtX0TsU0
fqoq6Ne9X/1oV/yMCtEvUB2YslHvWcWhHwmkNsouwXHjH4sC7CJKutBLOZbddtiZFnKEsQcnigH1
wZ2Xb6SmVz6qawxyMexGoKfkSfLuZ7gSE9bqlD7DrmXzeo6NGqUPjBSSJB+sobIhOa3aSuntycue
waeDdC8Q/FiK7rv2EWwPLNcYNtGTFG7THjwN1YET8nbsg2DjUoZuTVvhnCT+ZJygSRc5DwZZg2Gk
Vi+WIfyZaaxsX8YlpBpoAZfP0gTFEnYhm1RcL3PhPipfTn7kVpjWOP3fVNmx9KlRnOgGz6Vn++ZN
yHTuGLR1fjRd3p1mWZb9YjG19Wv9WJhBBL1lC8YNpE3N+H0s2LN6xWLcsn0lFCHAaiwQwqECCbud
kAVpTHBxiVw0fo12+bURWh6Gyctuk4nZcjbFeD3TNUoT6cYeih3ICOadD05veOesaKbvdNb4Gmd2
T15s7aFIDIfZnN1zBlWZroBvOzR7Z1tnzpcBkTkiKwxXUiiy225mf2p4PnegY7GSlKFITozpoekv
NcYN132alOuS8M76lcvVkUdknXw2FO+vpoEG35kJVEGX4bIhtgd1Y6GnAeyLmT1cGBmY4QfB6jNu
3MpEnQ3me4ck4ccWeDjCIn5eA20/Lc/8CiRtWZh+hct8Z2XOa0ZQ1ArQQZEmqr3i3XqABIAlaW2c
nDph/YI/AKprmd7w+/wTjfFGihLnf2+i0m9XF/9K9HBNyh6TRFARYyz2Adrl5c/YSh73hf2NzP0n
pyRzDq5RwsLNNU9+Oz+SfgRCiXJv1znTE9GYSCGLH2HaCPRQeO8KyHBM/d3kkDjqo0rHms+//Qxc
9UKU5bp0zBn4uBMuLnuY/qpsRPqKMgLbHAqCPVl3qGWrOcSMkgD482Ny5NAnY4mXY40PMy+4ndim
qYn1fMZaFfekr84M+Jpv7nH11CrslXMWpvtiaUlFa62WxaqCIpT9AY14cpnAYIG02x3mMQAd0iLN
yVskGQJgRfrYtreodajVWh2fHdl++mmHJbWcN3Dg2oPLUGZDq/GP1ck9cnP8XuW27bCQBukKdxBl
wVISD0Gu4rtldKYb5QTYmwYGAMhd3UNq41RqfYtmSlZvDJ3OcdCgCO2c9IRzqiTEwxXsJi0SZyxs
dkwdWWAKlh6UkA8snKEpDBg0kDP1l7K1jn3ICNLMvNvSRz1pIjlrGdzqQp1lr3mxAya60nBelTkb
p2mixkNO5TybmCT2WmU0fUHGGERNN5Yev7HcsPhuUgTGjgDdsaKrYw1qTqv2NjfyAd42mdowaiD5
Wc0X+OhjTd+W9uJRmxXbB3BmdimPcsJvs6zuoHwyH+ppeJNi+oflGVp0b8ktdB5qOQL/NlKBue0w
dzTaxO66ygPIo10ddD2heFueOqzkHBgbw23hn7WOjyPbNreOIV4pbHZxmJWbIvVPbWWcmU+jQw3h
fS1EnSSavw23j1HGf7VLqnGovqe+WSI9w6QqdRLlwLJVVMBhOq4LqVzDgpltjvfQqTC+WJ13Tu0q
wBaIDWpFgFgYrcZG/vmQ1wD0rOtzdkugMpxzOiTLZtAxnYoFuZEtBfhuq7zG3biHG3g0hYuUlLM3
9uObqkGZWzcgI839iKONR6+k4rXoc2anIdTWGR/yOYMHk5EkO6UJia0pEeizKQUHnmnuDA/jWjDB
dg15/vADraoe4bEilj8L5BGkWPkHeNKPsWkFZi7cKjjKWeD76xkkmQdSVFF2+01x4SmzDomwdx4i
azA68rZCeDEFdbkZvLC9ZIlZbhnRgEFJbqDSjTiBGCYX9nHUFk9d+G3MKZOsPnzoYUQ2gj6Z+wJ9
bQvkKjEEFq7MOZNO0jBgmMQNe7DLYOGQYBI5Qn0cM7SsQwZbuiRBtYaULTBuiaa9aJPFSLDMzk0q
LZ5NdslXeJ7tgyW5qIoRklWuGUuYLZUwo7/7vjM/RKgZMTkZ1/ySnxjfW7uudZ49I/xsk+WNgIz0
MpWiu4nDEvRSQstQsXl/mTCGEo4eMCqBvs4aYTIuKnMehcC4bcijVerTHOPLbJNQ7EuQ4EaeYLE2
6elnI9jVRLF7kDcH+ssco43LuhhsFSJrejz1AkONJq8Q2j4Vev70RtJwlE9z4Pr5ec5DuG4l4qK0
jDzXoquPBSRZZlpk3nPAIupXD60zEdNqNlgS6saIUJp2d02rissEbuHFC0ITEkL4abJ1YcGXpPsh
bh/gcBaXBJLAUQoaN9YKKHg8MnAVhSw8wwS9h47bg/AHf7f0SbpbsFts4rn/bEa6y46t2wrACo4k
OPkndwjqG7dI0KUNhbkbO0RY0M6JNOloRBLUOlZQTzsQ/AAIFwOglBlgJ/IXdZC2e89V+2+1yhdE
/qX+cLC5nTZ+yai3XOfX7ZfdlU/Mzl/Hpf+uQnxYodHdOSC9+jrHk2GY+UlK/HWM7eRJS8q3FI+B
wf25Sxyr32sWqJhmCdT0cHdxWgiHflneKg4w3D4AlmXXELiHZUHkc/vIOsR+TMJmOImWQUmQId+2
BOVd087WpY6zHwRfb76X7N2RzWUKlZR3dzF3OfuuvbQQhNPUAEPoOvezK4r8mDtIUhZSMYN4imkF
VHeDGCQ/paGNtjWrHkIecXp8Fj/5d7z0040TqEPA6Al7PLr5gdJtNwUuRCUryX88n4mrPVcvdr98
DibOa73gQg8Nieg/oCLHmsJQymwNLlfZsA1OmhKFAbaZsc/leXGb4jit5Usxqa+qmz4CeAPv9tIb
DBcRbyZI9yy66bp9VoWCIcPa7MGfGHAqWmE2Oe5bCl43cqX9MTPn4Mhx2r8Wx/fBnZhyoVRAbhbk
9qFFkI25+zjkAAIWpPVq6/mL/44+H+ykqJEg9/Xel611Mhou8nUesvFNOR7zhbyaXtVoI7MSxVMT
V9bt7AKsTcBG4QO4JgVpakAh8w0SBsVwBms5IWnFvjbZhc4jKv2Uec+TlcwLRdhsPTWsyyOzbc4E
x8U7yqn6kkFMPKH3tuh0+vGxZ5hy5nQOIJQhqAgnNhzU94z051HvCbVnHp9RAYX+6vaxab6zoZ4i
u1uaCAL+fdY5WKVbyi7bDoDa8UJM5wRlwMlm1j6myV9g99VrFcDvIS8O0ldnGydwmvO7THv37Iqu
Ygvl2dhBeUBY2OERIax8L6BR7xpl2w9sz1syUmdkaY793alu4saYTATU1ZoezAE2laUd9ZnqSShg
BDKqtNiO8/Bg9QPx5hbk3qIvEPsYdFKLWIp9NQrvPvCr1QPDlHiQw0+echfPdrjsBNdO5EuW5+QK
5Jsevg1Ik4lxrSnQMRW+cZj72XhAnpFdnda6odm+TRoDghyTpSlg0NyUKLvi1MRGLyhXgWGR3qky
eTZUb97q3NriawMVqFCQTcIlSBcDTW+Ney2IP7Eh+VzgVqEu7alNw8W9MOB8yY3Q5EUrUvbkTFpk
wD6FnE0WjRDII1NX9q1XxA58u6nfo+fC2Jxe08F8wJtC8FWaXJK0rjfpND8vdQjLm5VlJKRlQQD3
t8y/9zUZTCc8alQOy0S0EVONg50nvwAk8XeM/LqJZkSM7x20eTreUjwmf7aDlZMB2reaa9jXVQuD
dCnOAeIYtv2CvIS1ILNbRnV9gWmzrPU7nLR6g+dj2QIGaw7Z4p5n1m8nG2/AZplUzs7ZTw9x278B
iLnKgAWb6RF8YYKaptmoNjWCn03Q9/2Hsn13V4WxPsG0KzDStR1ymlqfE0r/ax+v4xOMdcQV+eyB
zRITUqlR+LHcLD8LNb30aYuxJKy+CpvMLYHk9FSOg3csC/1Fk0Nnz5mIIeVaAvHfIzc++2H5qrEw
gwXPxrcsiQlFM7yMk1O8+xYJGk1tvDCo0GcoPHI/edOd148pAkQEVYX7y7zc7M69+5czt1yL3bfV
yUyUbjSS0+lQZermLg5JRl+AMfLnzW4/IDLMYavxHnvpX2+laOu9W29Jr5apz8jETwmKQlsjA07w
dFJrJnzE2BFgZcE49yDKqS1323VQ3RGGB14LxTH8C1dla+rPEYHd5Fss/BmGVDhCAjPqlr8iQKUY
PuCAhF9NzqdHVo1pdN9UkmzmsL6ycrXaYhsOLAbQlbcTbrvcPRBhgC0ix6zUXziqXxDPPK7g/aj3
fXkN0B1E0pG3oyO/2C/yktX9tqlfkvbDHd9xgUeqoCacKntnl4COx+G9HLqtOdUXNcHDy14UXMya
9KRmwR6bl8YO7dnGbnyc5cMJRc8Jy+exL2BJlGixhvmGwnyd6W46G6MTRFEX/RS1BP8RUV1Eym5Z
hUcBsQWKf9G1J7/Ijtx2l0GKI8OFx8WfT7zkLHdTDNwq+9NOBxv03WCB7kPaTQdysu4x+fpS/INK
advHJobsAezJ432A8mxevUTAWjkmZL9GxgzXofuxU8DN0791tGB8oM6HKj6fXZvY8/QPUPpRZPoF
sNiNg1CgHC/L+DKkv6XxYE8/cz1SuaOt7sy92f7x94J6G7ez95wxrC5bBqDk2nguluM6HXeNm36n
7l7B2FId/rtFmqfZR0vZiLzY54oSpemZW+qcvRAeG2s1mgtujxi6nz70VC9BY98YYY3RjY7IXsx/
zkzEg7dkbMdZy1hEyLOtxsiBK2NC+li7p9Ccj6J0rtzvpzydTv0EGVnoCwM0rDfZfN9a0DJS8zrb
xgzwrnyMx1WOYR3dFj7m2AUvZsW0m1Zp59bBGeXOgq8wYaYLglQnvmQQGJqXqUDRuUD6yNIA80N/
Vzo55Ju1oKvEGrAkjPmRG2bf+v4ngV//NHKEqaryTY20eGOXemQFRT1leTzBpvVe9lm2WeLyPq2J
3ShJfbCRRJauQgokGL+IUbi47Yivq0M32GDsJcHTVva7nQt18JrSPLs9zoIYqxw0Nou5zlpGeHk4
kK8twnMLcUaYS7NLlJZ3mdDB16h19x7GzpNtBOSfFqSitBeZk8jSgMfrspEE7hl3q4BNKzso0IxQ
U2CUdbzNUYENG+kI9APgnzWByTVTkSJDl2o443vrkgST92n2wJQA6Fsnvqs2OzmgmKNhqtof1Xny
4jddfZkZg+2MxJhBuIrpK2yQ/tfzND8OI7shlqkce7hiWAkSiWPE1nwFGNreWjOGgrAbvtLBH5iG
4LZYcMm3fvxu9178AlF+J2sNNtFDKo2yHnbBIP/CkZm4QV395o6swbCosAEtcwMCQQ6b19CUAZ1i
amJWRnoauuIpVEZ6aEHXv+hWiOuUqOcmzu09sxfItca4R20KYrP0AmIaxvIH092IdoeF4JZxFBSo
sQoiVNrBpuYxf4i9fHjJ4beAzKg8svuyrvyuAoI/IGst/M/c5MPizIu8JgdTQb7HFWruQzgADvKB
acn/ODqP5dhtKIh+EauYAWwn56BR3rCUHnPO/Hofemn72ZZmSOCG7tPZ9K+a3M1EOPVlaD2kGxBF
dqJKybBO8rHaiFEaV12gdmTV1j8SHZul084hrLmpPSnba77HlIgpgruD7djK4S3GciWX1Kfmqy31
/Mno2+op8YoJzEAufxUhQtKLmW81L7JPb5U+4QIYeu+VDpoRBRT/ldEV1hJatNjYk3qzAkaEIVO2
pd3YlxoUHCrC6dUPLbkqRjGiASJXcapFvIgohdHToKkVUxLuYOduRpkSc1oHw77Vy0+J7HAH4wyH
djVsrV5V+7CSYo2ZN9/bHh4aYo3ktuxgI8YeKV9lwqIn9pHptM1oL3UsmZ8g8vo1Wiv16li+SRVP
ruVpYCh3qjVRX7XMqHZ8JQmmE6jBoWH060Grf4wRQB6MF+aoGjydrqf9rU15KeZ0EWD5M2Ad63Mp
7HxTNljFkM/ZV7cmSxora/MVpcNtcHVzr6PEOJsYsC4mNLprOxVo0Se2OxsNPgg/LflnSzd0XHJf
WcwFKvMRNQ3e0XTSt9HQX23dfENht2U76mxTWqmAdBmUkskzgzecwmGVr/zcTtZhPSUnq6AKQtQ3
ztiChjuWX0SsiPrCGJHVKLvIvmbooQnWhFUnjiWCCNZuCEbmtA6fnFLcR/6XV8DF6snuO3jm7KPN
MwcDS/MvVJULvqb4V7v5D8N7dwGI4Zma5odF4EevpQdE/s4SbN0pU3hhGi1tDlEY4coaCFhKSnQj
gszLFQBCuKgNg4bUddhka7hnYwtdKUgxd121MaJtz6SgCNJvW1qPAIDKnCOkM5FEccbZfcvaYHZg
9p9xjyd5IuJ2KYtU7AoXn3Pa50xzPNykSVbCEKoQStkmneRoPBuV9c+c4N4zye4Y4VusYXEIUyyZ
Y4DBkinPyWUJeBqlBL1r1yjgp4zZ02Bk7GCqs9DEl0G6GHLzyDlPHM5c0ANKwV5aJ8zZWMwsVBys
+IDraKxjmj4Vz96A7SI3m5Pv6TcCEb9SzXu4nEiLqMsIKJuSR9Z4R9QIy7YSr4IxIyBMyucMPmpl
u+RMQMZf+u3AOBU47A0bYLmklcQf42dnUxkPJwy3WVg/mwFaUHyuxASVUKmb6CW2kLeghzoATYD5
7qlim1vACrwMlXNxGKbuDcvAnxEPv30FhyxnKcw01UCp5P9lNLwbSy+fFHFLy8xiYNnlKCrCsma1
M/YoIfCiEJqbX/TOLF6NId+2BWdh3TNy5EOlSpgRHqz98cquGH6f6L+eRD58enX+STw1fqXB2LJA
RmtO5Bf2Dh8ZUFRq82APk0AP4hs7486tES4moYWJagS9iI/up47Tk6bz40PBIvCee07T+vdCx2Hr
MjZz6y1+TrHmmHwFueVwU7WbhHJXuYSda+W2cXBddP7Z5iIiTwC7FQStgLDeql0ifoIJxSdMagvO
EVuRYgrs0ZotFojnn7DJurAena9s6qInGB/vXdMfBgJmzWF88zREZ3WNCVua3PHyf5xSPjdgbvml
V2rfWJDR9QhrTeB4eKij7ubZ8gMr0ScCsxaW4XS0k56hUY3hzpgy4gLhhyyxRu4wwZUr3LkP5ZVv
aRTfetUQS9SkO5kQIIhXD3YAsfEddTe7/Ao6Xjj9a9EJ8KNhhBrjq9bJP6oY9G928RBg65gZuBsh
8t18zFST9lX10EdMWvJVowHnqZrzQDroVuEY3VQB/iaLJIUuaT87ncSHPrS9e6tFmLwM+5WgD0jU
qYfkGjuyPZk79q9Hs822qWkDMtOpf2yICKOrCLPte3K8JFdjYOLJcQI8jn74gogE07ZpfocdH4Br
am99qH05es88I0BzktXe3tJhCKSu/S+0OZr1wWbfOTcdzMRqNbzZaXgU1YAfoQv24K0O3IWvQ2wq
RhizxyBSXxE+epinN6j194ShmqYsNiLh3IhL+w0NSsnP0JyKEk5hNKoPrTR2dWAwDpRLvpStnSLZ
HevuiD6dxKaSaoKI6X8+d2Wg4TcMQ2Ofhvk68mZWRwn8aCzOnq0I0Bx+wrS5GXA8hW3cUQVSsuXI
I/2bNeG9kOZLlPrXqM8PvoODokSyzdrJWTQF1WFN6cBYggZpKO/dVG2GAppP2Pv2XWgGQ8bsbTJg
yBCy2sP2i+5VI86UEvdSzSTN9j1qo31WJq8kXzHXLqxvFOzPQgXvHUoUzK2HhNF/Rl3VAPHFNgla
1YcDkRb+QbrlFtk3AlXCqPPEv2dhcg5GBs2OIOlBdc4fy6EDpEPISOFHJ+RBz4oBcZm5jbBkOIzL
FjZ1EJtFziNs2UwqtQXUaLEJPNZiCs2rV7x2ncA9i8rW7FoyCYq11Bu1HvKeFDZdy1iqD+cgtK6k
JEo2bwWhowbrhjExRyr36C9kvIiXrfspEvmi4o5JUbHtTQdud3gVTfxWaenX4DivmMifO8LaVpUb
/bDLgalBrJ1VK1I85HEo9Cev9u/elP6mOcONcBTXmoQlpzD9TQvlVLicHMTroYiC2cxrmm0wdnLO
0aW3jUbJTNVI6DHRGnq7co3KZ53VntwyvwIt1Bd5077D56SOtbOVq1fHtOovpWj+dMF/ryyImOAY
A2tpmUffQByrOg1SZMjgyVUhXG2qT65bg5xEXqoOT81K6gQohoKQJUs1PxZlKp9IsSTRB+g0393S
gkC2o4QC6xwGv6joCe+K75qw/V1giA+7Q9CEv2svUOGtTF3N4Qn1TWuDjLCoUOejxifaa7TVU9yd
xqb57AyXDWkR7yPQUVt/ssN11GmfJohAzA4MJWFVEAmAgSiP2Cgx+1v7Giom08t4F42wWRTVcKto
cSYkIL0klSPkN8mx9lLs5X/6wHQ6rxSb84xusJq6gxmlQP6C38jQgk2Ve/9am7Fx0wDrx3ElIZ+l
57DA9hlJwEhDpuYRD57LZmDhl6X+O1XyI4jYugmc3FC6K66ErNtWGIetAq6tCBMHiXx78V0WiCTs
Mb4jtYBvTF4nPdyhwGLZ41RnGB/Qly3JO0wQejPKf2bNvNKxRjBAEfS5rnlvpHNBTTPSWtoPh7cU
A4+1SrRArn0HtLzHiJbAwXQbsROg2MKglFanohEHLtq9oTdf8YhdZ46hpEkuVtmY3SYZvOJqeokS
YsShWqg1bEy6N72GhYJ/i9lvrwMZgAGDBxwFJQ7AwixznMQV88uKb6N1qQPYdbPY4ZIF6ODmI1HI
4wvUyasbxK+REBIXN5sEtwt+wVZczMR90EsT0WJjcaPaJ4LO834YnZBJiwKuccxHItq76KrXKdSP
saBJcxtgLFUi9l1pR0vTKd4je1zFHbDovLqRHf0q4tyjsUGqm0IIt/ny+3SE7WXtS9XdggT6JdX0
uouLS1arfQ8BzHQgN3KDAjpMjbdE5XgxfN9h51wzEksp02IiVCV13cIudHivyHvQ4Tq/KffAUiuL
G6K3Z5WrmzlWd4DWjLDy7yH3JY5WeYnd6ZxkJHVPfG62g2NtsrRfrNFnMhEDtJMVnR/7gQYfdSDN
bjVNxingHilA+7JrmNj+WJRsrr0RA/skG98/wDnWCEhlGw/jtGvSE5h5d/E9+4iwea+Z3XtNGjZ4
4lvu66w3++x96BN3pfHfIt2KEpiU2wzgNYX0U2bEn8VgPjOz+0RO9mWxh4+a5t0MjWrDyH/ROkSL
M/Zf1ZqfsFwIPyc4RQrlfdECPzN92l4WBK8BUXwawQ6LLMYrPiIyJOeluGP1KpCeSgoOH7ZmWmVb
9GanUh+LJaJ1FplRQIYkdypEgSta0WrXdE59mEr/gLB55RfyqTWBgRoO4SV5uHQm4+biZkAFx9eT
lP6ITat8jliP8t6UX6Mc7CVOmJtbOIeY0T0NXX5L/PiHsukdZAFCGOWfgWmaR91GZCfL4I8D9i3L
KBmVAyakKFi5lEp8WTH4VbujoMnZnRg6EgcNQmET4diLJvdGhM1eCWPH0hkzSravBWCoqP0KHROU
WdVnB1/3jnrOrrLWp4+wlvrC8e2voaQwtYU50shmP3Hv9Ec90okUqQuxtoQNEY1BA8pcIGzK5akR
HsVwluV7BKyYhYotqELy70K6Ao6tT1sDO2SReU/7+WtzvLIjZhZk++RWm99DEfULadUXI8dSnZU5
MpvAOtjsp+Bs5TthxVc/s3UoIcZbaQzM7l3jlEtiWLI51D7rnvQB5t4ibKJdrZUmq14UxJGfvA11
eCiG7i0tmeaxgPsYsgEeuj0Mi8FlywdIhi+jpR7lMW+2LisKrEzM3CWu4AZyosj6swqqa+2SJMiC
VUIGhPQjTyGoZRtcD5nQ70bM6KJLJvYa05/rYLLMrH0MdIY1x7FL2XRbRrJ2uhB2efgbS/mM3HaJ
aOArTPp0RbnHQjdubyQBv+qlAxXOOyut/UaNMVvxwZhLKNMsvDjkG/Av+MAtmCfomWivnJ0/Jas2
wNwOyVFfmo3er4F27RrNOVTs3MGBELBGehdKvgK/9Wj131Ojl1u3se5IUxGHYlhKGM+GLO8WkY1x
vm7q7zDW7RPbZVC4YbcDllkiRaxfK724cQHie0zluevS96lvMEzp8nnisB1ksGuC+KtImaRy+2B2
ISVrCtepHY/ngj0Z6wbG3JWGnLAFG+eGMY9iA92nmp8YM3wPbPYqdVwkbNP4svyseqqp/6EXsGKg
9A3XlpN+km2ssX0ZtrCYowVqV4gZpbqbHhP7MbYebkQBB14X0hX5r1Uff/ERxlRk2UeCo3jZmSAo
M5tQvU5zJQ5TNiMVG8BJUWcJMb0Ii1iG0ruHmbLQ6wu1SM0I/aQMmKFnCsqiLSiv4wfpOH/xYKDk
CT4Iu//2Un5OjJX1Gur1tQYOt3WcgiKyddCBdVSr6s5Ii4ou3QUA0Vnn7yn2H0TJXXmpp30xkdle
FmQG9QOU49zBpdP2W8ABdIX9vM4PuZVpPb8r6fwrDGxFYcVAYihQ6yfS5O5TGDNixO+OXfdrFMuv
xPqwiyjY3bUMXGjV9bNQxjVT4ghwPdiqZhSrxhcjrKzg5hvUD31mPAeYSSHNYRrSUfWz1JDjef69
PYStawvwMpgSbFXz9eUUYYXMijPUU/Ezs85nDWoJuFocn0j/1dYQRJ3Qw+BinPIOn6hLBFM0PI+B
ILFEDKxc473bkhFGHPxWg5a50EX8WUX1mdMEVznh8x2Im6ZHgNJJLEPC9O+Ja1+GOCU0CsTtUtPh
AuuxfQkFWtTKY1wYZP2TEkg8TerpWVXyHZT8yQbh9LKSJS4e8xqV3qNpYd3SFPF/5Y5zdfetK+S5
CkMEvKY6V0AdgJClmN1raa3xj/GZlFjvC4+sEG8rnBSeUb71kuLoMz/ufK7ceHh1uW5Q3SCRIAPg
E8SOvdNDXKOSoYuegFPEyHyO0/wnaE11YNjdX7uur9eFoYJri7YOBQdna0nsJhASAxeek1hrPfZZ
B+EJclBkoDPo5DHDDv400WYbfRUAkC60xWSXr3pAG9LZmzFl//sxE6yvYYOcoqrD58zsrgMprId+
KB9a2cAajyjClP+d0nguXGo+IifdZ4UMK8wd0uZbShzGQasoaeKr2RjDzSQlBOOqMzGkHx+8mVhO
aV/T0jjrfvJTjk2F6YFOrS+t7wyRj9AJUChJ2K3VLYy9f/jfdaxRhAVLWf+mGmCYEQwYbkbtEFne
O2brJbcA9mxiH9pYXos6mSu+4WoFbAITA9BcJ1DUBa3FIVESyDeoLNomNhyTFgywHKkvsvZXGmTO
Ogi9gSV5dBK4RRphRYQeZp9dETxj8b+jDturQX2EbHsXZjlAFsSJa/TRxhVgCho+M9ztbu0cbPzh
3CGwsSZSFZMiXWl9s5tbp6g3Ln1N9gAz6AnG6yIK6GEMXzICDu6JzXFV9C1dTZLL1TTSj4Mt+7Uk
/uAWs+RiQH7vpf0OKj+JSLoIl2AI9sJIWAKP9cbpuw+f4now83PG0m7rhdSDVqI7i1yw+RUASn2E
aovJtPaUK0866GajT46956UIPSZ8yu6hqYuboyjxwFBUqzzpN2meYNeNPztRP4/KfplDuFez1dhS
uM1zg5wCgyIN78y4b8Vwnt8SoGhbE/SYiQVm8tofctQvaTtuCxP/VpH/1kZ9bQaXSRH91rIS6Hlq
rhFnLvG7Sl1FjRJ/FBa4VXs3Ca06MHXfo/W/VrmDianxbrEF4bny2xtUKvM2EJmxqNDopQNnJFuh
b2sQ1qtjEmidTSc9RkVYD7NV/BeA4lXO8u4JqRUmsY/RQgUk9NlUHHKqOVm+8zupsdAxiEcytkUE
wbqCxqCP7mc5pI9QNcy0mbBrbbksNR59wSyMPtF+6Hl0aF1KoCQNrll6jyl7kqii5Q3Ftgf1wBZO
/MO5t5+HiXMzTCQLZmIjP42D8doJTNqWzgEd5rwndtIus4QhZhNyRSRAvey02qToEiWnSZYjQmIi
eFZ+/K7mVNGpfSQBl1rl3TtikOrUfUTjsMNSf9BqY7jAruTuc/AXlnr5kCX5AdkMINC1ddjzNFhd
f8UfAIJMDFRxuH2XUti/4QztmmboTgTOQ/XMYpnMbimmPsdOq9ZJOieiEnNoD85ZI1l8NHIGF7wQ
rWrfRmcOMM9YOxEmlJQvQ3Ud6/bNZO4T023ERLrhQaL+7sm6xnHRnlsZeMQUVPY7iiJ2xMhRNNQw
kPG+ObnKJRfVsdKcj46dHUXUuRrG7jYpd5rBrozZ24ZcMz26ctd+OcybVtgHeK0m5sqop336iZR7
lNjdaIjPdR/xKWYs6umQYQMXDQKcNmww9GEpQR43VG1xGDPqcaIQ/4A3vaWtvEei2VhVeFSCiw2Q
9WxiZy1Db6lr0d3BpctGk7AEHJlVoP2CnAm2YTvUqGtsYFFh+4Ht8BwHLoOoCXj8iG9yatxj6uWv
Rm98WGWUHvMq/jKDJiRMi+eCMd1OZUayqwBb2WnPeEVi1/R7P8RPKep1XrNNr6O9YQ3uVietfbYq
Dds2s47zejNpIGb0vvVQnUvaaJ38klU8Yzwy/eKU8sMZB0bGVvvwfbFWLXNcXwvociWbUTf5gAe0
rpiAyVR70qT5Kdrqh4DJtZ17a+rbOcIWxJw2DS5j4sjYQBvCPaSjhfLAIzw5JkM7mehPvlXdy4Y2
fv5RkJd8KKesGVSQE6v3g1wpHiewuOGfbRCqCONCbBtkZ0QZandcrJ/cMI/AyVhyMwpMteEHBtFW
izgWZJkq5ID9R1FwKTbJ8NoL6W8wV1l3EpIBUuDcX1Rach8URo5ijs2e365Ba54jyd/x82HttxTA
2DoWmOPWbL6wk4zGCXrtHw73bpOEcNRFgZeF5dfOq6aDhr/ErPnVs8lBam5wsI/W8KY6HXZjep1U
Dkuih6QSxBepKX+NDiBbUm1FS5Kh7m3l3pIue7ixdsfSdukr02J3Uj9aoy9ujY0ipUnf2TLNAjnc
1brNEa4n+n6a+hNWVPLF0EVO2P7ZfeEqHgf1D7glESC8d8Fks+ZojvSeLwLRgK71eNnpFgp0wLyR
+euYQP/RG3OjxeG3pjBO5eN3jv+E/Upyz4uYqPmpAo2CVTdK+ycYD9hYMnLptIjxjeb+AC07N7XI
VnS5ezOV72Io1J6L/6uIwb0NKS2+xJWfK+ygQzeA1/fWsH5xyIRIgJ0kAvAENcafvlKjQDuqgsfQ
Y3TE57rybBaOcPjuMdmJpGGzlYDXSEOVY0iXIjt7efuLeRGCz/zodPkj0lDjuNnz1LL40xVh3Kgp
6VDkdFBaZK8KMDNL/IM/Rjkq4q1LHlLTvZKQ+tyBf1uEXn60cAVsaAv4K3sm9XkIMPSEQ8NWwV+F
34snYHxGOPUjcdS4GUanEoLAzqyDk9TiGTBYPWHZAPvq7y1mzJQY0NfG7MU0qHozr5/5HeYhxnvo
2+lNoAStc++lTaODm6o3ctXAjeetv54UbmZXj/chQveePIcN1wTff6GlmzZPfswO216LDTjG+5rh
D1lAKsWc6oNibZz6B7kxUdcZFAuHCBgnI0LF8vKvDvDL3HteLF7+FUYmDr5m9kLjDmIYy/+94+dY
Stdr1ggo0kMLhRj1lnhM0JFXguJjo+OFPysLlQ2bPtY2sP8EmydE9KE6Ju54ibMkYMNfN+/CtAbw
t+F3PLu50aOkBlRlWRBuz/VJNLjf/OYUq3zSPHh1kzyNGcJ0kv3WZEr8cWxmULerTZHjmO4stqiT
Np61dMJjbThQsOPjXHWEznDQB4h4uBqhGoAJ6IZaX4Qxfuqqr8mZY4K/0sbor7dqgr6Cj8YVR13K
swzACE61/2LG7qvt+fswUSOnrkhOAoQL7gCYjKNUf2aXb2zLvCi7PyaDc5wwbq1caBhYLyjGR+M1
Zw+9/N9fUlgs5XPpbgMDtlrDFEGr56A4VF/V4P6xYqU1rcIPpzEqTjfkSbaOVTOaJwmkcjG2IAPF
cDBQJBiMMqfad6F9wbVI1I2sPgy8xYu21n7l3Gk5LRjxQGwSim1zgvIeqxcaAmbOKfqAefo4Tfod
zaEJR7nEsp80t37EeyS1dYqXDnEASzKGAp3ul/cwAqHAJngeXkLDrOkLdNd9k+74QPh/RrENGRPt
xhKV6BYDPYJ8V53BhG/ydLopZZ1rYCqMBeZVrtdufBUd7Th4QTrPxm+4CLYpJXu8ZuCniM1Tg44g
lCQsM/S9Q2+mc3Q7fnf1r9BrcudlgAMl+rBHeZEx/7o1LBUfP2tIHQBhby66aTo3Qb5uGHqhBGCD
1rQ6npy8WVmcrljq+fEAZyY96rC6ZMKd5cmX7RWIvTF+dU4D5BqQrmEnW7x559qrTPZq4auBAXJh
1YxHyi56hlPwG6pxTzIHYSO4dM0Gm4c73Wxl84DYHewFAWYtw9VNKv2MUcz+KbNm61WlJAlYIOya
Ky5Cmg/j1KQ5U2hCObAkio9+0P8FXb7GiPkp/fyGfufdR5tomdaj6rLDJLjsWa/AXOEWi3U6iybG
pjO0d27eJUC3PcNvWDFRPNucoSy12bgyXAKxLYRcMjEek198W1pfrPBD3TAQXwrX+VZOPnEkoaPK
PT5r5HjMURFzTuZHOAY4V/KNQ9SkDfYFNe3K5XzN1WBuopqjxwYEFfNCYZH5qWt1dPWGAXl3T9iv
5wMBHEg7ngNlb5EVPRLfBHc70640BaigsfFfOSUUU8uhA0D/yesskksOiAfMJ4mAWdmurEmBBR0E
vlQm9+siNhmGs0Aaa0qRQP7LLV1dUFBKLvYyWAQl1btRE/ymkHLrOhIQy7GOIVIZfLtVszQrFPUy
6u5NPuhLjDEvXaL+6oqKQXQgS/u4/a4Z8HnusIkkyMDWy149GX5bOI13wqc8tAkZYmrJEeZYBN9Z
BrebL00CaSwDnOJohCg/0ktJihbXH1dW6gA2geFFygNq8FWZdH9tHZ2lGh8VK5kNckVyNkrrRPzH
C6scMh103PBYbtFhWs0+tHRAcQ7T2DgDtZxrpbYjKy17oGJ/K8vqDIvnX+YlH0lEuedXyUrj1A0r
1LhSCwJyHiMk5HH/TPLunvCgZ2C80XJU/S7APFkU5ofo7UdUqKNDOgIyEKCxJSdiMtNVLJ7JOBh7
8m2GVQHFbGHZ8YUra9/JiM5fvRYlS+hahPuhCLZTkNwiC22j06RPgR5O66K3v0NLW7c9v6XLysOl
2SZ+k0GERRMgWJEuZEdOcWWzokorhem2G1cM4jCjAjFVeVHvEwU2wJx3tlZr3wYoxbtSHwDoluNH
5CTYgjC+u3AfyyYRD6ZGa+a99zpTbz5+U5QTykUlapIEESc0Opp/nUDPLtyWffgYwoxspGd8xFxX
L8yxlgkmAmwB+ht2T38125oz2UKM4aYXSflhB+LkKPbDo2N8kMJULsGhojIN9McUuncR9a8T9BZ2
UmN/qAf1jt6Ss2UuWIkf9UfzJssQJbtXXVKCpFoBgho52Y1KYkZinVT0xjUHTik6wyV9K7UAhQ/6
D6/ftcaYb6pQbGYGSlZaN6IEToh01xVP1GA5a78ESwhP1CpQds6HS49rOK60A54HRkJ5+pILwJ0u
fnDXLZ8rMzggDD93SbKN6FbhqO2QTxyVlKuwCBFfuz3bGjIszIAWubVYybsNYcdmZjQrLWEfTRj3
YZ6S43FA89/3XDPFoVLsYL1peqEsPgdGvJaCQJa8PnIqwUfunj0r+op4zRcl6UGJXXzaZfHFe/xD
Yv0a6MAM+N0FubttJ/K8vSJ566jItTymJUEbwhozmXXG4drRu+/cZT6HS/W1Bx8uevxnnpwewMVO
seOQ5zhQjXBsI/fwmeAzn3H2nhPcPLNjlsSYVUggvOwwKIUo+IfqVcNItEAF95XlOcG/EeITxToa
dASbzuI6Tc7VTMedbTlUhfwA7hj3O7vEj1Bn0ZcaOXCH/C2jKU7mYlk54xtJX6AAFQs1vMI3s8iC
he2jKsfoOVoxGXgIqzvd3KIpP5UJXwUh62CyDGqqKBhhqFfOCS7oo24Y9ZoYPAFrXetQXYBS67R6
TD9tBjHouvd5Qnyg2360WMg1bNuGO12UWV1Zfv4IUgt5DEKyw+17Eag1i6xD6Lv/3IT2Cb/OI2Io
q8zkwphlmZH2viBibWAilb9UWfKeYbmBLo9TsE/IB03D505DRifB123zfoTlKXFINNq2zgK5StFb
8MMGG1z/H6Mc//Gmb4TE6BBErCWDIEdez74ndyEKtjAxmHARd5Xy/MOnzUA81xMbcj23i4UX2J9N
C6hENSYBXVq/MlR1Ds36oTvFngSTWd74ifn+6JTBs9XKq6r4tGWnnghy2yJnAkER6OCxZzpn5vwJ
gRgwZqeo+5dMd5ZNxT2PeOadHvcP6A6hxEIC9I3KVQFQGjXfeoRGpdsMQQPcgKNfHSLkL6ERH8EU
fJsJmRJd8CwZ+Q6c/a5Pghw2Xr36jfljfQ7fJtW3xI/P4rBRUbWJU2AoBFEV9iCch2wth6+Q+BR2
DtoT0qSLbQWHeb5SZ/AoejDYJA8ZVzObPkUvr2Nv3c2ixUybaVDN8AsSIbxSs6/edxiY5+mWpNhy
MZqxtS11hbN9KocNarxfoZoNOpRNkg6vAX5klOY7I/M++6l/DhyM9Z2DajWaEr7f4iqwHA+lb3L4
+5tJxfdOMNbv6+jFs/2/NlSfVj1cI0gojKRtCYEo2/z/e7ojlB6DyhQV3FaxTVwA+j3Bv/nnyPEt
ttJ1XXcfndYWW+lagq6cgGVDVi9hbP2oYjqmRcCICbE44xjnO47lxlBIBUYSAV07v+t+dNWGPlgU
cPCWpiWh36bdX63DZI08ZAQZOgAjHdBPNgEWMlIWNlbTfNuFuPdWmK0qUX7GsfnPngXlflvMi+Dx
aT5yK5l+ycg6cw+fOjsDt0xqEwA7f1ml4SrSDFRG8lCqfFloyY3gUNqmTh5Mw7/oWr4fUduENZuz
dsqeEah8zt5J100eXmk8c9Msw4pxkBfciqbcGpK3tCA4838/0ogIhwFuGz65nXWnODvogu7ZsAiQ
SOROlvCm2Ej6hv2PdcjaBBq5FL3YcWG8WYZ/wkIxX7B3LfK2HTOeIUswNLJhiAkVwMIPgyF+gX/G
90BjU4RAZbOppcnsfm3XOpAX/Qi5HUtSSRn/wKSrgmVCqY/vHwMYQvVBl+HS7uqnubcsU4MZwhg8
fCTTWd+swrRuNnowPGesxlZWZR7wxHJ4NuJmt8VHOeLNJBZvlVCzbFlU4K5pAKaJY25wg7Q6YnsB
QUR28l3N86iQN31M9ngnn8pM3+lMoxzgTOU8AWImMG3pJ45JP14i093FrvGJKPzPc8Ql46ZLHfUz
1P45yNxuYZeQyj3udm2s72yN/gzUAmWS7aaMOQhhx89l3r4KBOxbqYfWLEwisiN6NQoyMsuW4wGB
IxPdbMezBYQ71MmtE3c61X3lSYho/ksyJi/ATg48H1tPqrPgW3ai6P7/42Dy7xgJR5G7aeIRN1yz
gwP4NJrDkRILxI73AZT0z7Aq0u+c/gFLYmawDOu6K9aTBQwYOQHX8lYLmPMhaO5MsQmL+mnOc2E/
gu6PgyARk4UOtdobXHhei0lKOhQZzr7U2E/qEnyoFXffAsbpIsxwFSUNUEY/PnjE+gotoVIWfLt4
xPAQrSaL7VIoi78qA5tpJlemgd+z/K6qeDsd+5olpIGYKXEDGuC8shgp+y2GZwCC4FuAcAIrjcj4
oCUSrh6VIJ/syYu1Y280p5pAAaFnl16arwZj+s4rtwI4Gz53FG4+mybbGllR+fbRrNuLi+0Isar4
HjpMxLGPwzfjdOyTnuE+MoecfjyhxFswM9jODAV8apfEVl+NkvkMh5YLW4MfAhT4bgbg6Wbum5mf
shJOouwfJlPmVakwNKZ8ya1dHk0jAiJevBCABjCaMsjE+sFX8EOb+QtMvkOkRflYqIdfZ58o2P8Z
/YTcHa0M9wFj3gQGs5z55PPjY/bJqQg1Bq0lwmHoZHU6kPJLGSS6/qtz5ca1bZp9deJ3P5ggf0NX
zvFk7HurO5mk+6IbXxJQDDqOkQXl92li8c/DGKxL0LX8k23AOCkeOPGKujnXU7VDtHnJdX+nNeJk
ucmFYecJRT1ql3DgM9ERcKGZAYAfmxV+k3TDpYYShuwTmNY+C3eM6Ifacm6mZh58LTxF1ex8idCC
ojt/gUD7IXgT5H8cndlSrMoWRb+ICNoEXq2+scqy1xdC3Urfk2TC15/Bebxx47i1CjJXM+eYrvMR
GTnW9sSBVKmicxiIx4CxtRqoa83cOWpVk0UlW3ebtQXxotUhzIMjcVMgynpKWm4Hu0KnCV6Sj7tg
IWWSCz111n1kUewMSIkEypA58E9LO+J2lEM0bUPY3dQwnV0PPnlU9claORllMWcfsIXxq17qgDDK
f7HMce5q8W2mScQG1TyFxXjupLxVxixXls2sIBkT2C2GSZxWcwsVN7Q2Pp2QaGWCNJgFiSlYD67/
DHCU7oiKq0RIEFO1Y4I8ECd2nwnqISvjDVAGstsQIKyq1wBP2JslA9ibAruwgzwqHn32LQMcTtbK
d3bJjMITF7xRhBtV973pb70iuZmoPkQCjoEBhEgmmIbjuWWRaaJCjcEOFXQQoxqP7JJ3EU2k21of
mU+iZtfq4q6ya5K4GEwCX3tHTbWHsnfvGtXNteNfMuSQ07bNJaDBhJXyHAwKS3C7cysaRSO5um53
LNq3wcvvnYYTv/cBaAcn8J6beRk9Fk58Zkn+U+VdDU2gJB1dePtgLI4LWcDlJ9VDtasaj/UkaLqk
u8CZuPcobitBH68nFPjtfd3Xp9Tu1ixWNohktx1ul3Xvzvddbz+PgmgkhetttKofLpZXeM05u1qa
AmlW7/bYfPUJPum+HNkhcVdw2wdPPk+v67IshemLLPwplPYXpRG63YGlU13BI9DiM1oc0cjnP8PY
/mFgTIgr50fvuJ/5DPjDQFqQGN6dcjlCsWFMqnjqpLgRNOZulVs9oIvcG2XP29bephAJU+l/W563
Jq3jWE/lAyfzfvmPe1R5zWDcSnwoYUxLnCFlcSfmZvOMFWY2fQygHkMzc0dm8Z0JPL22y2fZsxP2
LXuHcAvMKVGOSd6cDB5+YTV7Er8PjDzXxpg9Mec41NhUGFbeesv48ovpvY31PxcTg8HSpem7BykB
3cfh+GTEtB6G750N4W3LRVHVOJvl1yxRSroUHrXlfhecG3ZqX/sWUW0AHbj3OSsoxZgYP7LHK+7Y
aREANfY3hLC/CgvhYHvXybU2XawfYqAxgqM+7KbXKQ8guSMKnbvTuGyHWfPcEfSyShccNeIa4Gf0
N7DIXgdAu8xwnPewSX8Ll0DL1OTEgEDW3HnIAHAhbHPbOiyK8Rl6CWwCBnUpdx7r5RvRd+sSZcbe
EcmICq068aotUi2cdbV+8SaT1TwnUc0QR1q85VYlnnKLnCKQyo+tMj7HHJ1Ood1tDPWio7Lg52/Z
x9NfgQYbk+QBVBJqXpkfExMPZGmwyAJmjsAzSY2V9hHvAu69NLQwcPoz9mlwdpLRf3Q76xIJ8xIO
IA2AWX1F5fgY0tUyNIH1FfU26T/pU5pNW1SgG7obrtJpYiTeA91AcRoSX+sPB6ZKV0v7z60ZHa0K
xspgO8cody4mxSlZ5g+jmbzQ6/1l8wiNLxcvgT/t8eFCFKnOkSPvScT47Kbm2TGY73ZT9w18BC6q
gvbIHvaOao7G3at7PvXwaUAqyjRqAtEOcGUiB6eSD3XabgQyOyeIknXqOdkGrBMcgKg9jY67IyWU
J94/+0XzYI7z49BYT6MS9/VoAwst7lsyjJPUX2VxTMr8+JM24Zox5rez2E+C1D+BNP7ncT9YCOc5
2faydp4cUx1SyYCbhvwOOO3nwrTJuVuinP4dsxbK53TFoHm/QHlMQLsxwqtVTRJqVDU0Y1lNk1ld
xzl7yyaHIEVgJT6yq9IGFCeNV1fgJzEg1qv2MMMByCHccFPQdInmq3I9VukTpr+we84IZBRVuwd3
uCmJhaxb92KF9W9V1moVjqhNlstsxktQd5ZPwhLSs9FPTpbFzFcHG/bGm77RN728FyFpQUW38K7x
qMtFlJfezFYiJ4hZWrfexA6eKO8WfPQqtvS7RJXvqgrIIEhuGv6O+R03+TDkZKVX4T+feOekR8Se
ukQ5Qbq9c1T5L+JM6HIuwXnEKqsdaM4dNVaVRy+TyaRJd9HK1xEdqTvcM1f4V1P1ksBSIjYmg9Hv
F6Nrd8MBgtytYmFd16TVoGyAFwvimeigbCMoaVj41i1DmvChDTi7CC8hjTaLFP65mdVGRqpfDYmB
HNGtq3S57suS4yDz18A8r2z89lELbs7FTRHYFg2h5T0ES9xCNy6PRvVmF3BGHM0uMPfQtDDXeMhq
frw75wVrzPGWjPnDKOk8GtZgZK2w5MdvHJkWCJzitdV4qv5XY3niiKCYMjHt3nVLlSeiNwuNdRRM
l8LOLyqtT7Y7gkkdmYkvyVg5k8++Gm+6U/cmMvG7tmXChdIVEHlFIIMb0ETVzVtOVvDifrjRpp7B
ZWNbZ/rVo6G8Kwv9JQJkJ/YM8yv0AJEYEWxLGGs2jQXMPRAhWxYBF+XnfynM004zIvc6kjLz5KM0
3A+vMr/AUO1YXL/zvS8O+/TNq8P2rCUHmmHHr17YwxQg+sHRJ7PND7LxLmNi/YO1cY+6qaL0pMkF
7vMSODkMrC59a0L69gZM/KlN4PVa8sUUS0ILqcll/21K5yx7upi0/G4hN98ZKX4Nz4ynPUinx6pk
nGGAQMsVMcvYD5a2CKPFrHsGTx6Lwrq6L4FnrZtW30jaPJmM36AOoViop0+bsnld1v5Tbrg2HvBR
HUyp4QoQIMjcp3nvgvFd9xGrraLZwrW7Zym6awpmMUyjV+kIvavLcdWxAGEa9S2b1j10MnqfOu3w
gVDgF4PNzhSrhAYSLQ1HrnprPLkat56EPHRnm+5vOqM+CVnj3RE7Zd4pBWYgbiyabXwkoQRPpY3p
X1yl354TEUau7D9/WtQP2Q35/6+FIAWBYfwwIDLlGffuC2eO1oHTnhqBQMN3Ajxw4cBevugOZZXs
TT4oX9T3DoxcxaMLb1HuhRseE2XdqEU0kl7jG8zhi0dCZQbnAAhEvh1r/7eqbVTQqEoa+VFa2cPA
VMgkBp3llV2FJ0XpbOn0ZhkYSNru27FShtxl9d0CjyCpZD0M9b7BuzXE5LZEKJ1w2ydMqFWXnp0s
2stieDaakh4NtU2G9K0vvMMoPZiQvXs2Gg9Yf8j4r/xhfndzog6LvpuYmyoG81IkzN9N714E4w14
5yKFKnd6dA/QbLyTm3k/LMwA6IXMFWo5XUaVsbV26QrDeW+5LetOs2WaEtckwjQ3M6MHKP0DT5G1
vG3W2rFb+2jmnOlRktdblWF996rnTCB3m02XPGOL5W2Ha2Jf1OknDNCHYXAPSa4OTjn/5azsRxcK
SmWpn9GIfxGGMdKuJE3hnFI4Kg+QMAL10Yv/laLcYvwISb8tmOOlpEyaeq87UpjqMXlsZPwES2cj
ad75COhT22GZjiTxS1pjs6VExnepzwxQnkn3pLEkUZ4+e8a+wQwFdHCWGTnndfuQczB3hnP0BBor
LZwNYc4MeaKr641XFHndrmIFjDwTDVmt6c8cQMdO5168hOlN3UYHv9QvyVj884r51zB8wpimxNqo
1GlWgxm/tehkVtMCiUFq8m3F3W3g/R7qAfm+WzFNhPVoR28JSYHsdomNjgHfrvycV0DEir25T9Jy
V8SfOjVpraXo9mIozkGJMsSaoi8xy3MSSnkwwqLFbc0Kh7bm5jKlBDh+zUt7X/YTkJuKd8BIUYJS
CFVj8Qs8500WyVVnjIaLmTQP1n0Izxv3KW1JM8NqsyMp5qOK4m89KcJmq4caORuuWXdj9t1PZkw8
3xFOhy4kOaKQR1rjW1Wn93ZebUOuNqewjw5KH1ejPPXGm6X6dGUbBQNjazHQgATPql/wSo8u7PGD
svOEtNTaWdsM8O5sN9uq2bpkaR7cNWI4h7J95pVgfm/pE93ItSnHNa543K9IcbAYzAOGBe12284h
fNZst5LBSpfRPaaQzNflgJosTEus7wnXgoj1CXffyrHmdRkAxjVcwR6+em3s6L0X4TojGiXtzGcP
xgqWY/PBqx2crj6OONUKdMnzS0TvtDM6uBhkCCDRBnztR+aeX/kSeCLFP1aTxV0uwNd925Fdo4sC
Ei8a3UIQVOY3HYL5lC95vuCDT7atBnQXp/dBQ6tODpAdsM530qurET+w3GX9vokTCXmNrroO5rPn
JCfTmk+sZGBxlfFDqxF+NOpod8F5GIXYZC6bX07UeguvmaM9RpFVIslZlVO2LRSrNVROKG3LY81c
BEbBk8FYDIk/iHqiwvDdJJNFLT2Rzo1u2DHNRyOP/83ltJmi7h7RB4hXl2UVzPmdBezpDlyBWlWZ
Sx3GVjibDqYi9jFjlJcPxgUB6i1J0rfQd6/g4v50/JfJmBNTsS4Odi68/1Wr+gP0nnwzpfGeW2TT
UByRFsKz5Cj+c4tugrINBqm/nazqGrlkXFgCpwnRVmTHExEXNJTj+plNkfH/N+xNGGLhvMs6AHoA
z6qMmbywxd36HUyLqT10dnlhbPVkxynmmcw5Vj5fp+CojUuwXUV88P0ciox8cW0E8QXlG09PwtMD
Rs7D5TCxtMs+qRuWnOrPIq9JBbVufY1h3bJ538nMxkkRBx/2VP72Mnqre+/qA47hhd7CL6xWLWiA
A+36mxuS82b72DfjyGG+rfBnQOfN1mAyaH8a7zGllutnTFFTs1dV/hr6+jiY8jRFwwteig/8neu2
apf//zHpY6LuEoJWO/++UUvTxwVZMKbny6NsZpO2LqjAyg4f3DjiwxEJRVFqqju7o6ZIQ85TXZ90
nkC3AvKw3Btu7X0YFHjYRh5tIsBFUv1FZR9uUfnsvHSiBwlfpklsK4RyaWLuk9IU2zJD+B4086+f
j2unl4cqS25hSL2ftZZAS9x8d4zD7qrE+nV8rD9Izj6tyEkOsCdJmBNmtAYXwkZ1mk4pEQkj2aA5
Z/VEihdlB14bh7Q5H5nflKpmxUYeFWlyL03SLULqacFfnofexSChwrep/F0r+4yz/J1B+/2INR7o
FW7Bcu2j/5O1voBAYVHeQBLz+JJFd4bEM2KISf+wYBPBKpzDDBRpUUFltYsfOGeIrO2AYTftHG+v
iXDGfGWesmkiZGV9fdXszfSg/og40HAgubFETFm9AAWa1icLDCmmTt1/gZ3B5VAHa/Bf+06QvxOX
H30YHTIcha2G9e6INydYylEV7pPeR9MBaA8GFDmXBLLdT1Dwu9H/C2st9qaVvzmGfCUghu2Ou+3C
CFMB1PlcUI7iIhkWnN8UVihicdZyz3ZZtwWTxeZ6fGzssFy5IIzv4s7ejEF8tlyFL0+hE4udDaTh
ZaNv7xafDvk1PxDGHmJTyAOTDX6JpZjWU4FSU4Y8tEb6rTUKZH8E6k+0CEI/Jrn8FYe69R+JWzop
hz23XyHeILMbf8ToH3FdoYFyJcOkot1IXuCtD9YLAPaDMzrVKp+QFjZxFt5VwttBihvozA0afMk9
kekCRUfkvgUluQoJex+8GpulvqYPWY908IvX0ya+K+qDj0E7rNoiaAj1wbSDhyQu983UbIQXblD4
PrdVQkvFLGCB8i7haMFCD+tkcTSj+tGt5x1pvo8QuyHcRH95Yx56J/lZ9tNL3Tkn1lPUMfxJ5idn
FKvcJ4CHcwkE9F4zd2nZH2Zu/2QFE+I5cycK5qt97/6bAOgjDwZKJJj0dyLbWSEGnjDgmx/d8d+g
W6IPXLDO5cKAPqWO+ALSw5OOwTyxmiej1+xdCP8pJMscGbzNTnFo8uCQtsleG+FrrRP+Lorz3E0l
QUQa6Dr7ZDJhEPpO3YnzAq+1+ekVJPI44HFXqECuiY/5izrBE/YzT9S6TtGPWmLi0Gn2Xm1ZK8fj
o9HZJxymdwuLguYxIa76X9t05PWwxNvVU3GaIe1ZUbj2AvGQRO6ncLiVw+zcJPJntNNdh2JkrLlG
SXrw1mo0gUjO04kOlj109MK0Y5uW+pha825KMd37zq5hspjZEmM5Uw2CstDMcUH3A1BgggM/K6LA
K5ggBsxnzugd7PpDQTfYZOMWgepa8iMLXJS0aUyOx2k+VICb56E+5HX8wYziSKTpqWFNAv0ISTpS
vkxCYGbrjRMPlFooVlWeHXrPuwZoQaFX/i1XkTEwRqjjZpPM6Q3W+WvVMIzMvPMEomK25c4tscdT
LDiaiCwr3SmgpuTUPnmIbccoeu6QKFdBu2qS6GpZ/payjr1ReortBn9HHK7dHNjBZNP5WZtZVasG
ZwboiGQLSQpoabkuyZ9mStESbcTOuq4HxBr4+oKJyjPMUIUXL02qT0aePYVm+MAM4NliqRxa+X5w
vb9ZmAf+jXOVt2+61xc7cna+Pb4Z4T4QQPME06xp5bPNXbO2AIFoMzgasuMQ9dvOK0iTxS8w2c4V
8uxDGrsvLe8X+ocHQgoetU2CjhORUtacUbDiMK+MZ8i727hOb3FhPC9nZWsBu2BtM9oF/n7/WNIu
BcL0UMxG/wTKzLroiRIp7HVCtEGpWvxY5c7JK7DsamtZ1VGJ9iNVEppEeELIAZ+Vw3sVGy3yhSxm
tBb7HicW3amohXEOUjJRpY4IZerXYp66tWEwckIthRLU9CWeg3hHGjcCURvWnEiTPz3629ipugW5
Rl3WwAUxNrRA10ZTY9OOlczr+lWv671nChKlgZa447wxounHy5xDTdy9UzOi6PI+OkXVsBE1PIDO
Wmn2FrNWa78WAOQhYxdFTr/0k/G/Tcd6T9oBFEpytMf2NmTmZyn/BiyfCXsPEpKZN+IzaoeNnbYP
iNrGO3KDtmjawu5FuaQ5VFV+L13vPbXxv4D3PipvXDXVYx6796b1AwQDVwNPu+NTcrDKbC5sXDdl
Yt/iiGQ8wKCbyQ4/ioCUskZemQGe2h5uBY5u4IH+/fLSaZx0mJY3ISsXYnvwDrQxPtp4l6nscdTT
KvSHu9jNiE264EvFGjZ9jR7ZB4QQUKgzP7S2knLWcqKtMFK+xoD7ZzxLFNd3baB2kQDsljnsagEb
B7Ty/YTbrXeQ9lXvTjOHT+UYbLsyPrSz3A4dyWTFoh70XIdKXfwxOT4by+KCX270+e+TwDukjSBK
TqgPOeKtUKVme7YsdELp7JWB5A9LKpdDsfBv8nnvEc1bCjRGBuPvUnBS+vmTKWyXjVeXrPkTb0Ng
nkOe8D0cdnCSiCCosuKLiOyftjPXY2b8uHA/Ws96dUtugEL+VQ1XA6OxfHE9OYhDLdd4FJzy09iy
BVUUTPAnWzqhZQjSb0RKkivHREC1Rtv8nVjq5ELCoFwBNxYN4XZeDrl5PnHYEWAmX22PXx2zJYhg
oe2dAcTBVS999reEqGmPyF/s/D1tRaD0D9zRfc5nQ5Iqw7Me4W9/Z9kv1pBsncnd4b66m7lDyVue
aaMvLhNM0y7BrjOOcKtpx+2Idyj+0+YNSc3GsvVOwWG2onIzQrqoSuNbJcOjSSlWpTC8FHuzrD5o
DheXqbV07HNc+xy/4aPN4V0pDHBSs+whDeROEuh6VwKEa53iTGxyL/nTWOV67IPbmZ/ClESF8skX
DIt6W1yAl322vCmnqZTfWLFOzoTDP7CqX0RYUOYC+9cHYHmnfcK6yRNH4v//ThvpEyuKxwwP0ZTy
CblaPgUxWPL+o2UfPkX6LbCTb0cwv59LfMJmJI6WLbZ1Wm+HBaQDHQ9hSBkRK0z/XDj8HXE7p6yr
Q8gCUJaDgWcDgOScoKqu6IWVkASMpi3tAkd5KgVet6K9NB1CujolDiHOs4ex169Ay94YDn2oFqRJ
L+HAdDyhcc5gvJp/a8HSckYJ47SgOcocDZLNxJms6eY5pnAYlfOH2PAzVtlzv8ycEnzfbXC0Es4o
smm1bragTgCAROPNkdZOLb8cytH9yGoq88RAxIS5jLXmFW/WPyp1UJdV9ewOKL0rdqms0RHJN9kl
4Ehvs/TasCImue8dx8jF8oFHuhT2OrhKz1gUlyg6JHsPi9lpuc4k90cC0VzOvn/IO2treLQTsQx3
mKTI4CKDNpaBu+nJZSYCi3ogDRD2279ZiNKffevvVEHqztA+39Wyvho+XXypTmVfAGUQWxn3OMGK
vy51DpFpsJLrL25fn8ehPs3YZnPhkCMSHKsFeGzQ/DTuVVu8iu4wPHlzX6/sxH5jsxndFYFz0IZe
IMLFGUIOm2T+u05fCkRfs09CokDlCA2Iih8SHje4g51C0vavKg6LmkvedtjJaucTaKa6kxVaGrr+
KJ8+y7w5StaZXSienax7y3Lqa1XyVvqDdYt781BwUhPah1Mo3NROcVWl96plfBWdOirociwnd6Xs
T1kLGwjQJzj3gGS7VP0sTR9wIpi6PCFCWt9zZC6Jtcyeox1C36caZccqNDGBRNMtNMrfMrPRSvPv
mdFLHMnv0CXPUMoPQiUIlCt35mBdqd4x0yWEUuXIP7Y0RG6IDzcrl5FDd5znZAb43D8VTLVQYS1+
ctKU1+NYPIYeo6xSiie7pOViFCpY9ENWmxr7OUzbYpVRsd75iv6Dmf3Rr8y3Lh2G1ZDNTy3HCKGr
7bMv5W9AlV+a7q1oq2/BU84JTaeCJT2+GyuK5Xhhg5VRdKgG82ynzrdOorNtmX94U1a6ATc6UyXd
2WH/O+KSImr9KzeHk2vre6bWh86s083cUkW0KWsSx3jxzDxdw5J6zguijLkv74QyUV+pgD6xqVc6
ax986ISoUvSLFWFwq2tGlwHE8FPXqo9cBoCUh/FiMwp0I47mfq7+VCYuVRoWFBHTFoPn0UHCoGl+
59bKzlTh+bGU9qPl5cdsdlGMpu5+aWhCqznYqTxiMCcEgckYiUJrv+/QKISoPKRpcgRYSw8WPPRo
Y7E+9htvGRbWPesbSIXQwB4sOc7cTNDaPHWOQOw+FggxNoRJURbbLYUpQseCyxKO9Zvl8GsC31rJ
iVuyXoQEXWnPL0i+8StUJ/6Zsyv5fJz2Cd816nkiSLRMgSYxgiO7CLe+LeH4dwdXg9poNLIwqtIe
2gF6xAkUf+2xnLSN6kWn80coh4fQJoLLqdlKQ3rk6tINxKipDUEIUS4MFjpKnk1nkOceDhlc+T8U
WP8Yn1t3Kqjf2rkg1W05N9GWJOs8ce8D6b0jnEXS1y/aXLAldd5xkUUTMeBF+sDA7cyL/WgEtLFD
MefEy7uwkbX+jlsF6oKrcKgo9pS+qrqK9o0hXv241Q8+W8RWOp+Vj3EhKDT0zhLxdTZIG7ASPCOU
JrfcggW+AATzRperJlBvmqId9WnnrKTvMFj1TQLGrHOb6j8vKxPIzSVCnZTDOIRss0TIQpqJ9Gr0
5qVaLil9At4y20cebPTbPgycO3KZvjMKC2hAC5uFb7sk0Y+F2Fs4MSjrxnbnZTQtfPWPqSIXcRLs
tckMAo7iBifo8w9QLrvV0PuHQfqvFJ4Hw8NLLyDEoy6wPqweNq8dP9m9WvRP2YXx3NVTyWNv5s+N
JbgF6h267QfmKNYqJ3BsE0wFiHv4KNR+wSkhwq+bknMvh6PX+D+sRbdZ0z0bybRVSBlZuKp3x27e
eeGzVYnUybJ0xlAOhX44nsngIKeWjjUZ4+epTo/CWKTZ+SVJhifpZN+uYYpVN0RfSOlqaEisW5RB
CizdT9p756FO2OUQwpOQMl9aV0cMe8Y7q0p+l8+zgS6dAS3z0FPEDI33eLFWGg9W074SovHkgr+q
A/dBGNy5FgD2lUmMTxM711pRvXIt7sH7I0YPlnfIu/c6dUl5+KaKfkCYG0vLNyX03tHuTwF1znQ1
8vQWtrkp3yMuB9Zr0G/niaBElRUXozYei9j9RpHzz5vJkMiDD3KGt4GP2IXhCaUiZ4tZvhWLNk9V
FwrXNXkYSJsZoWEWE4kNXcrZN1aNFcgH2ogum89iUzn2O1LwkLrcX1tZSjmJEEwY/trDaVv67Q9u
yAc58HJIBJdBc8Jeei1jTmK2BUjB2h12gWdmkts27k6UQoTV9REAALkmEI3BRCPQerJbLsNPq/V/
M7QC5dDhBo8PVY63IZKfSaD4SYi8/TCilbPMnZl2KOj5zkQeHwlTvHi0HElFQCBBsq1A4ZwP3tYg
CoV0FPrEnAla0864OLQrNpXv1RtroJZEpW1smqa71p7/V5nVMR3iH+rxrSt9Yt3UPk39bjVJ7iIw
9jRHTPn5214TpsU2p0oxeFzz7QOi85r6fr5ajbp0aPbukqFX/Gu8lnFMIBXJc0SIO/N2Sopgg0l+
N8hF+h6VLhInSEhT4Z/8zr2BioHg25XWBiWpTzoekhbcn7fll4oKkwRcyzwTysptCIURSYPboOHK
iN5amG8EE7rsZnX250N59hUjM/hjKwKJ8bb6/nM/Tv96yh2m1PvSCK8xrwSUDIJK3MGgsjauZZ++
DDPNsgP0Am8cuHJB8U9Ow0Un7VtNRhl9Jqc2NpE16bUnZLMnZqw0bTw2o8UGHpNug4xZyOLG2P63
aKffkoVXmko6bWVc2VIehgS3EPGTl16ZTF496kNEUBl+tHBNlA6R1wVo9RL4QZaaP7TBSDYWKSUk
V/NVReWvlTn1feIVBMAmR2jTjBwr5z3ovIpWgRmL6ybvg+XNJ3q952JcCtJ2/LJk+gGSDJgvuku+
IwaMUnypAMnfLN6Q3y32b/RyGHkm85QN5dEa3C3b9LWy/UUeSG9nfEQyfOwd/VXmCNaj3Du1Rc7v
EWxgaW8lI0bMcp+RJXNkvIz7bLu5byM+xCS0nnCBVJu+gLpR9hHLehAndYClrQONM1bqJKYG+0+K
nihdAFHZ9D0Y4QEK2WFW7i4YgrMW83OV2scqRBtbj/0Ji/6BYfYuZ0rkNf3FjO0zNGgKLgz07OkN
7tXqTAjMWxmOFFU1V8gQDC86AWbBKRXPwaGvraWkvY7Qgu8sciDLtn1l2HWZID9MzXxzjOmiIl7a
rKEaiB/T0nnqBesaVDdxT0LHMHafqDXrrWMOj4luXrTffxsuse9l4aN5T/q/gAjtZMlzHXwXYjSd
thNyBHR5XG0z9ACb1h3fRumwkRn9N48gMllnn6ouq1Xl9r+yHQ6ySK9KdI81TcEdBgQoErhJCn0Z
YS4SakOD1KQtXsjh2PlsnpVJidZnE2l4Lp6VOMXpO84xknSHtVTyxtyyZjA4MAfPZp7f6fw/sGoR
fkxaEIcQ8NCBvsMg1WC44L3cekl19rolZAgCfDDF6yLynmSBp8S0AVsVQTRgMGJ0bDPcZgTDZiEw
LMIQl3hqtDTb0qYJKEwm1mK89MLY5xH5xG3X/UTxeNTDJPdDmGbrISRRdJQtgqEWvxYxsWvDZptT
Boxxu5DgMy/1P7s0/Ddm8zMBvUstnywsZGr+fuzfeqm3Ns0Mhn4+hKjpkDtohT2A54L6+z0gXmw1
siHk7/6uWtvHwVEOZ8KenhQAUuWYWz24v6bnBlBVW1QzkHKwBX+ZTnklofpn9NBLWWa34ScC9ktb
NJZolqfkqB6h0N8bYjimdFxDFX9IYT8IpG6rSoivdqBdDAKGyY79UhjmlRzp4K7U2ZdUwTFuETMG
M+t/33K+cscdsUy0FMXB65wgYZIK0JqU0Dw4qJ4VCkL6IuBF3pH9MLvIx8SWwFHy77J3/oXa44Nm
DVJ6Mt63UGWtoHmLQ+r5It7psH4NXAFotf5ox+knR9kXxDFB6UTNaP9a1Mwku+qNj4s4I7yBVtId
o4I5YgcloU2ybWLkfxYvg89MwSvkZu6NQ4PU0QX7ZpjElIXkU8fD0eimL9NmmZK6H8sqmPGSuwns
jm2R2+8HJ/9GBQ2QRzUvalpe/56nXOdoPYtwpzBEE7odMtMdY5OjTBFSKSw2hDMBSRDiMGNxPUfV
aqhDY2V2qMPmluEs4/ieRf9cuI/VzFBjUhldGV69LkrfCm58K17iHXCCdQ6a/9EUl8A27gFRstbp
ildbZI+00++9Z6yVKvelW37IPjkIz9i2lfpoZXIkIGkrWygDuaEBcdrEwwUhMMTwPenC8wCgd8zb
19HsiBPq3fsQnMvK9HikKoSIs8z/OVi/S0e8VxFLN7K3IBNk7YuksHHKlPnpBEzMqvWXiemGKFBo
zH5T5BvPw93CiQg7IEGw67H9s+ae97sfWPYqNHaMgwsPBGeoWDr2pCCxjHbiPiVsZgkD8pt9k6sX
SabB0GFozcYUk6InNy2mY24nQyNKLL6Y82hCyYjJ620+lpi0wsL6U7aB2LXrd4azaHD7jAQtYe1z
E0xonB6oz8GcIfu5oE5dmyBGdaZ+olk0tMilf7bdfKOsblfb7IrT7FpLzdsHhZEjpBqDl8YCakZS
2am0i4Nwm4PQ4VUh1uVmXJJhgvOcuOqIsgbHhHII8kp3OY44voOnsi//5W3y0GLasExxUHiWXKEZ
auBbirJLNge3IQp5Vdr7ruRUCdLnIGAT2wDsB6xLeUEmDQ1Kovx7Gfu7NADiPLsLZI896hLj7e1a
tzgQ67ReNipOStgQ//gMsymL+5sZNMtYcNcHisVrxz2X89jNTnWSfvu0wIEyoMteH9w7QUB3AeIE
OpOdsFYZNxJnRjvi8ugXEDBbzzKOkfi1zesUhWfUj+xaEaH9x9GZLTeqZFH0i4hIZnjVLFmyJA/y
8ELYVXVJ5jEh4et70a+3K6ptlSDz7LP32nkOvS5JeX6Ar9wjH53P8f0tNUsns8FqHyXYvzqYw06O
wjp9FWihtLO8ZxODLpc/+DIuMoCAsij7iJCJdUyL4TRw74BP+GzZ+7hyn6EUluEfYsmQAZ70QHNY
nROgF6Ju1i1lKjyFA/gUvmQerEc8SzEwjeSWOGgoIVk2bgCVXPXAMYJJPGaVXGJUFV3gUW5CjoxE
2LBYS/9rMiJU5Dr5tQz118K5a86aWxKfre1duiZ/Cmpr0UzpRYKQW+dcsBWR3nXlss91gKzYpcW/
Adlv1eXmhsztK7S4VRsYKRWUXCIpdPtvWDhAMoI7M7oW8bB6vlogJinEXJeWfukDeUPffB4SNSIQ
Bw4ubHHvdHOKSlCPovZHbt8Ax+OMUYS2hjRQXzownioEJqcpcGOk5rdLFLuzWDe2cXtYwkC0xt+i
ggGjXvAQcHtxqwZNePHK8WNWNhsjLnTkaOPjjCl/7bUAIKBkn6UgxBhJcHe5qP6whOUSPnFfb1oH
KF0cjms3kr+EWtkyjPgaVNL9m7V1KoTvg89bBuUk9SAaQkigfm3ekRgadlVnHX3kCDD/9NQ29ZaA
7Ul13a3t6veGDR1PwN6ducBpDF7j1J5ZzX3KbPobJBzTmKrXQTjv+pHjB/glbIEwPVmssdqO1ONc
jrwj9cYnKV+41VOZT4fWd6/5ctHmoFnXJC3XvZW+Vo2sKWukTNJx4ZOJd7+Zok1eW/YN85rGm9WR
RfPDD1+79k71QPvi3KGBI4QOXaj5pNp054bupodT5VvRd5KyNmmCiP1m9TUV4TZ3vBvr6wvtcig0
6BoTCuvEFSfC6kStfXwYKBgD2mjuMhJasho8bHCtsbJq/W+2/QP17siEgawOqCjNxvc9ILJtcWEC
gtym7gWAHJxE3XNFD+XazPPP0Sr/2TVfOUo9N2mJ0kShEkEnL36N2whRNvLvQZi+9JZlrYHWMCEP
dzdg/+HLAcqY2Mqa8w2W7MODxNG7hFWiOX4xiVbtcNL99arkq25TlDqEvGq2N5oONzTZv6pGWJzi
C1coC88IC3fZ8m0bcYi2sKdRM7KtGIGCpykBKawgKnlfSpLGJtiBpDlnMz0/muakoQFjR12SO8Xn
2Le/cuT/7Rin/ntne92pbZBmuRCBjDbqR+bW2Om51fstVtt4l/gwcickOrT1Q1EGjxHEINwLLF9V
F3T7IKzeYMAxE8ju7upqG4T2fzl7/3lKIAt4ajneaM/z5l9BHaJyuvNY8mbKPWkcwmShCYXxLcmJ
5oyjxTKcSqeJHtS9yGdqMS1oGgzrf0a/2APm2Jnd+GnO3j/LL9/CYLoOUBVzG5JMa4hbieDQW3DF
nekat5pI+bYK94pw25JnjlzaNW2n3gWU0Ps9NC1JwLQf7E0f14RIa/Wn5E3PJpJ7kRy+cH0fw1E+
K42fe4mpDIH1xdP9Rc/A1nett8nDPOJHoDkDenvolk38dHqufMoUeQBce8IM1sqPPJLmsckpFrRB
Yeisu5SGecMrdg9b8Vs38ZKo2wwLdKvX4z2t+3+wWHZRAjOqyE6WgeezKkYm53QE4um1GMkkv2P1
UdQ0IldLqbzvRWfZTrTYZhmos4hfNE7YinZHcHpvuvAdmvGKd5NMw9IW8uBBvtl2xEQBLw3T75wH
R9ew+f5HFzedTr47fOFDpR6OwoY109AbBvSIkG6wd42Cryjz6Iit1K6Rwm3sLqskJA6EpL4KrbI7
OG7/PqbhU8cNdN246EIGGMem+ukVHl4L2gd3xJEynggPrRmhYmUwUEFClvI4Ycq5SAbxHe2NzPFg
rB6BZ7hbgKFEE3w7eu1wlT+nrN/XgYjjranClL81wJxa1fAXjYWsbg2kDvua4jnRpbS9ZRw2YY6t
btC/UsliTxiNShWaiVduY/0UrdLPUBMBiLf8w9VV+cBrxYfusiQcJH4j+n+zvTFhb1Nt/aCZZg8c
5xxVBezswUIT7NM3gS9tJQo6LkaTZwKcFmU2yikPaGH1KktY8Y1z8MJkZqGT++pGO9hwV6YVHV0C
L51b4x/uzLVpRD7+NvTkohiDQzza4S2XvfM2iujB5GhdMmpSVoL14haTi6Z5xKnQxvsK2GYcT0dn
6azJRIMhWm9FXrI/k7jcokH+iJgpD6x+esg6/eY23IP51N4BANZ4shr6GmhViGvv4BTYwxuHmsPs
o8RoFWj9x0srufOn8qO08YQnbg8MEHughz++1eKiRvK9rj18EKa9AA+6URm+N6mgpGk56XiLTdDt
uuEfuiulujGtdDOPgWCYoz9zW0MG4u4zPxA0boEv//E12wvDoEez6fbJFLzUYfsYg2akFZWKRE2+
tnTkvSkNRi2mNiB9qT74WXpVOcv3AgPv1AmaKVN+PCf8WN4g2AnK9fKiyqz+c/kOB1DF07iWyGnk
3WGWTty3FV652flwk6bZBqVFrVBftwc3gK6Rh1150qY/898sDwY3Okdg+vYO1++emi12Z7baV9rw
uCrRp+pjgNlUmqiWjMfPnDWmmhdyHzJJrg+DNJ6oXf2YjPwnF3hdS6J0AUTOlVfQI5YFKL5Omn+V
tbHmTXRzovEqQ3AavqDHrw2QesOCP1O1BBB85z10JMw2RL2wq5/lFGNK7+xzo2du2APZ8nIpmdwx
CBB/SBPkdEG5oiXWMu4fxUJuaWdy7MF0GyMbeTmUKwFwb00ZHAYBIIIrFFkblZE7Ir4TXtpTg6e9
9wuWgONvkHC8wY7LDspKHzSRUr/ikzzWWYkjEf9pFSc7+u5uRhC/TuOAe0AWO1rQ43vIK3cZa3id
hGBzsB37FZVbSfDKlvLJmMr96M7gE8HgSaO/ZMo9WeDLNnkIIoig+IzXk7AIXr13HEb3prUuQ9w8
ktpiZT7uREdpj9U437o2/3bAWMAcyA+P5kSoaL+phXfNETgNGh3wPdViw90L6oZzNUHTUo2HZkkG
BXVk5vJWpDujHG5+zX2UmwAtllAtqFPzwYsF3caI2F9lmus2c1QnGoQEo152lDXuMt9aokcQMWf1
nDTRobNGe00A5rf3W1pbcFy4JspallUXr6qJhw/4noaUHITLjXbNyg5pNS5/VT2c3cC9Lel2Oc8/
SUEZZYKgPw4uHbB40jQRDtzE5BOruj0mEJ2aITkT5/ldnu4mci6M17s6aP4EDik2UbzQ/nxyZyyv
IDqLcngNq6W61j2XXY0imr4afCdUgfXUD9m7JXhdic6BuM3Zt3kuGvUYe0eXJUli4EDR/juT3dOQ
uvic7F9VOJj7RUlWoiBTopLsJHA4JXHBEF51eytXu3qEQuITihgd957xU6UxsbgweJ9Uv+duxwIF
cxf3xM/aHChYHuvvUTbfoSYBlHuneGI2xBN66GZ1yqGrWIM+eg21xQ1yoV8eZUdEoEz+Y39zneK0
Wc8mrmLhBJxm6RctoTtfDUe3ZxkLunLT0UOPToqVPlaEmjSDrWe8h2p+yuv8vRs88OPzZhRs0BmA
qK80TIJ7k/Hk1Q2FePFAoIgCv36M+DjDTZC5W6G9Wx0QoRWKJ7G+O154Asl55J6+NdLptS8cNlqk
FgnQo6H24CsWb5Z3WyId9TQ9+mT8MZC22V/tFJpaFTv3eVrGGx+fVUBGuzZsKJfx2e0rmJLRe+eE
z5YxAARtvtzGwMGX+WCrkn1dtPspXfz60OMs0sLszX9LLuFkjdmTWx/OKM/hmDyjx27nynkdlLHF
UvJQVfw7odIVfv9EVQaPjs4OVLxdvUrUT5g91XG06+xgxNPdoI04ivXX3IbHONB7B2QC1+x/c0TQ
0AoJfsBsNbBTrz3CzDaaqc9RkIriUxTtN37ejq+XosqHdvAmqj5xFuw0j+qKCeGjC8s3rzb9LS7R
i8enX8bqSfXjwUyoEe+du9M4n00fUmbI8BTMICKXD7nlHhNPkqBbi19sboHRuiZVSlH+UcdMrT3V
luu8ysQWo9IMetrfRyKat23j7semvYo6JWUPHWSRDbpZ/4kVZc95/YGNKlurYvosB/1NhffGd0Sx
yZppi3v9qzfEueuNqxda32Ka+UOUrrr5Fg/hm4E9e8vm8znNa/ooyIo4Zb8uO/cY4gxbvhGYao52
2T/mzn6dPfPFTKnvHCr8y+OlzvHsxQCtSu+nQ9QyuMf0LZA6ECao0QaGX3Si2qXMkzi3dKo9SCjN
L91/GH18azr5g/+ci95IPTDbs9pUX+WQcc6qahvRlJXZC6smUndQoNnB79nabrxmktc08JIzbQIA
gSOKpAS302kxzaTu0RcY5rMK05lO24GSWDqLspKKvkTmwP6xT22CJcGiHZxGhSa+ELJGRGDBaekz
qZoJYpKHY5tdULDrvbgmSMndDBLfS5jHLEyxhawm/j082wMZOBOVkOxdoFJEKWFcG5xLsTQ0OGGy
54AAgtQPziZzSJenFhMB3HixrgDybiCR3Loa7gF3Mlz9No27nsEcmt/HBK0nLQssaEn96ur81XBp
vG2n5Bmr0GO2xG9e96+1TjmsQL47LbUzPQeFgG8FyXgrLf54X0/hm7ajdE8wP1+bAm6xib7ISzYE
hkM9mzlcyAO82rXYNhbFgiVnmZeNr2mJAJJ7fFZjpXezV30J/MwQ2Fv8Nc5TOw5LLPO315irOys/
R8P4nOdqP7Jyhq7ve+vGGT8hhgLeJlOYVa8d4Hbo8Aa2bF4vPS4KFIANpOf/+t4P8SfwDhAA5q2a
Eh6bGGMx92gzcTb9Q/+BDkoZzSZYKB4z5e6rvrZP1BT2x7hzbq4I2m2fDDu3Ke8cDde2sD9tl94v
K2YIXCCMmbaOZB62fZN/eoZiF+lkiK3Ww3YnYE3eC+9qMBYOHt+C708cdR/W0D7yuToMosaFwDhv
StIKmP6I9EBswn20t5RxYj3zWTTsBd24PTlyOHI0n62I68FQeR8B+6B4ptXX7w58mcGiGJMJY8zZ
h0O7JR19cCPat4ag/ksXOAyY4cgSgm4qPrUQEO5UqlMT53/1bJMwmM5TMlxxrrKbyr4KrTkS2fGJ
wOZcHH2wNR3bz97+z6GqrmYkNoPs15VMKDYaxGrU8pylA7mj8mT74I+mcvhUYXWpI4LqYg79DZIM
6SxevG5skS4sjmbO2BlP0KGSF50u9ajTQIRDnmnGOxi13mnl4UvtGFdKd0+u+tpk062NJSszbY/A
D9hvkexDpd/5eGZI7lR7T+fc4SK2dBnwUMc4UDFxRPJBPVfluO8cGsGTEIKZQKFiHVLDCvV3M797
xeHhMUJ2bEGwgj8TgnBY1BAmYa1HDDgyicD1Cv9h2SfrEcUnRctb3lBIApqrH1+j77YXhyo3WJwu
F0oxRP7Kquy/bUoDSUnk1ejpd9GsrsCjQWYErGwClnqyUuNr+boZGX70QnYOO4rpLdYkCNEr4biZ
vKzCnjOCs3Cb65rT5rMnAh051i3l0iRqg1UGzREM2TEj3roLkothoG75jGC5LvczhbhZgldUFDer
pU51ueZWHSUiI8SxFm9hrrgtq+WmwC4gC9l4RNZhbucXZFxMVPZ8VBAkGkVu0DOZwbgdUwBP8v+L
O8zDbD1o3zkhXB2/tqH+WxbBKZtHqtvE2QdVv87zai9d/6zTuiH7HVxKbmPOwGanNMFpNC+qKO9s
D79DF2GpbvuPUA1PNINi+cAJRh7ukBkm0G9I7Qstwsbm7tIZm/Q/zgCZ1vEOvXQ/6o4KC1Ag58yD
ST3a77GrPvlI6MYqKBFqffvoTmqXSufkRtUxUtmeCzzCpWhvriPgkffLPc801nXdedueZpQw9iwG
5+DL5EPEKEEpDwHbVYxfkmYnh6AZcSSya+S8vZNlhfsOZ0ddu8d6jmlU1MN55jDAc4kBVb/39KuQ
x2zOdoxHtzSo6K35v+ccibuZOSdl91ioBtaDIIRvq994xhlukpXrhLPIs6dRN+GhXGrCK24UXky6
z02Qw/BXEXz9GcuJbxELbrSsQ5pR4VwzS89zdYqkuJBKYg8akTVAkd1rv4RnkQEETv9TGL2LASUk
yhiJDEf+8bJ273Acuw7ILzlSVc0urAe2o50z1noKis3PcglPhiXL7+ptdIwL9/P3FLaKomCEvChb
78Y3u/vyuYNynfEppGy6s4vRRgQV+N03oVHfIhbQtXTuwcybiNu6EZqPvEnfLQ+HhOdZ+0wqiFDV
64xDKc6ifV6Fl7h3XrpWX013kgwp2TPF3uFOi+KaZ/0RL9gDj9gPxKuXapzfW2BbeOxomaqarz4R
H1E+tS9jaW9Tq9p67eIxs2brZ+Y51nahnuj/Q/mOCrYSjvlXgmBZ262CP5quk8XkBfLxCFOdAYUX
1zC0L6rTN9rp8iOBQsYe4b+0FcC6NP/ux4BiKuHjyZ1Jms3blJelH9r7Tg7vfe1n55RG+WGuWnJA
8ZKOCk4tzc98LWrnkBXR23Iboh3hTEo62oZxqdYDBcIkNKo/JcuJNIR50wSs7iCjtCGYs+UlGAN0
fpEJtT/4uzzHO8ZRdY5g0ORW86Z46UtPgbUqFUneyc+3LIFQBqLF1K+zDy2R2JuJV1hNzmuoDbDN
gbXCtAwhIkzAzyyKVc5R3FbeIWiDSz8ZxAG9nOYS6wq08Em43rUNqvdCxl9FJpN9H4vufag1vmzf
OrhyxmyEJ7Ut29/JknRJUJvpgVZxLB+6LxzCpvS5KrXHNsC+yn6UUzj5nAjhcm5Dn1pGttYEbxX4
Hv7KmSUHIyN1ADCAhfk822a3NtjP8fftMd/9ZSq/jhYnTzFAx+vq6kUG5JnE1Fvbqc8w1dCOAZSn
vA/EDzZtRvOXPVsvcUV4sm+SXchj3ljVSWfmk6RpGGLza4627Ae2h2GntOh5ToFZQqhzkpoOJjfd
VliwBxuLcsk5nsafraClNiXjm3NbimWXbryi0LsiYPSMHePvGMUHZRsv1uKN7hIQMEPJ9hS1gl3Z
nGEGCN6o0SGCITTO/zRSp6hRZ3fkOqJSWgDJts/bsjcooOm6alO6+IlM2DbZYGxl0fxHDDrYR9AQ
XgBHw1xxmnyHNwW7Lc7YdrBeJlW8ZhOsIp1eUw2U1cqar1JG6N0kfFv3pCv9ojHSfOTD+AbAfZvn
SN+qKx5ho5fuN5rhssL/jHM+wEn3P5WrmSfhK0MExnCM71PbRrMh6/871xXCFHcwK0XfCjKwNSyK
cdoB45nCbNcx2qCd4gvJY2xPacs9ruR2P4nwaGbBn2zoaYgrmNlTc/hvnBAl62X6jNvFGlVdeI6+
8pLqktrBMuCTcVKYHGYF9D6GJ8GA6kLmNCm08kDY4jNNiTJWyHzjnt3cxV6GAYUjKs8QgEV5DYvk
e4i9aNUIXOx1xMYZX8mXmNJ0U7v5H9eDzpQGXK7pWzBqn9C6KSZgfzH4tAD/TFCfCuAC/0XKrl/R
KfROlfaL64x3AQlqNiv7T6pRhScq7ZzJf1bVfHUoVNvgFrxmQ/tZGOTO3YXQaTqe8zRPFEOp5DxK
KI65QSGtDLIvj/f6xgIBvRoKegOxfJP4YGKDHfE0d9Yrq4ODjourcsINUMvPQBjhVtnqKWjplWGS
WSdp+S3MdqAvIz7nuT1sjDB4wqLkoXuIl2lQ8xoqrQbpOzJsV8NvbNOXA/Ky4mYSPiz+dzces0Oh
sWwb2FqDoTQ2eTVTI+UW7rrrlb03OcBi0wZyKwh2ROzLuTMl77b0cCtFV3rr2QgS3wJQ/iTTyTpM
Ie/lhmzYPmphNRAFJMvvkpmcR3bSRp6epRXerX4Sa2viTmzMXoFpeWTf59AAkHZEMVg05Tu3qwAi
cqk2s/bOF29cTWrY99phO0DBD/Aq8jLd75QjUcmQAHfpV+uhDc52B/YmdiT7MltWVzerwa4SNWv6
wjsVCIpgwbCMRYH/16B1lbYQ8qI8ie2zxzGWcZWuhA9V3vIufj3S2iF9Smwq4e64Sr2yCMQ74jjn
0GwPy9u7LwRGFv2UcgzXLkjsLOnQ8XwQl/3r7EYHhpG7VxmK/qnqjS3DpveBdlIDAfwNuw9VzIfS
oEQklfoMXa1aV4V+C830mMTTvM8aEPJml5HfH2Og8dP8GHiBrfhLQOjirV2LkuaaZt5arffatwB1
kij7hab1UmTtG8zrAxU2VwnugU9ooEtq/Nul4oKx40VgZEnAvLIi2wxOdvZ58uLSXKescWo8/YRJ
v1vXuE+SkFtbnq2gQ33WI1N+Hl0i2rDgXADRUCEZsoU/mCQkQg32UaXpHfkJ6R+RfFVH3f+hN4z8
QMmyIrGdl2kuT1IPJc4n8WvbpctV3fjNKp+CgrBPMT0iZhadlHsvsPGK9T5DUiFIsEvw6dILMARl
0UtgCQ9xavZwPqJY5VSPLDebo84TZgfpydMcsdE1McjRT/41z0kFRhYBgLJMugJ7Dcpp5n1fO8YH
Kg9Mdne44UoK1rr1msPkFOZTSZ54QTUY3DYoeYbVDmI+L9NNRL3Iiqa8AgWlvpIVvPtB9NTJpKXe
mhI3IRp8Ea38r2fKK03u0ZY0zQ0B9MPQWwzhudrUaXanpfgjGA0feTz111oavN1UXfKz1OGa6CJZ
d/FHZDS90dT6r6E+oGoNwjOj8FnBNbwOoqlf40ok15id3KHdk7LpHpPZoetgxK7WjM7st5Mm3IK7
/jOkobd3evkVOZm3RvtK0ZtmZxeUEXqwlQ6LKzN2qJOpRgqBoWV1aTiuJFLmFRNsRB2uBvmNMw90
l0wuhYHVnwmsWGFXJiWpKgMqKWoURZEgX68hlcimF/4nRsRuxnx9tdTQ7ObeTo9Z0Ddby8fZirn+
OfCN/5KOtdkQAZ7qSLW1ZpMS1S225BwxOXaz/zakJr4sdVGWfY7NQG0tFyiWW+DUp69xx7nG/Ofx
8BCJCSuTd0czVQc77M6Kq1jlxd4ev+mzSBeYSyX0H9cWn4EJnt7ADbPG6u2u/L5V254rzFiwYcFS
KtcZCY8XJ1vqxIz2lrgGpnRLIgRNNa8u4sqIul62S5PGvzcFGfxA5ruRplfD93wGh6ho1lNHrhVf
FBXyHRFX0Jx2Z/2diAJiB6dvk6jXDZbXFYN9896yaL7jmMnvWGPuTb8UDhSuc7Z0bf2DF4p+bXMf
y5oeilVIir7AOlXk6mjRQicD7qjAAgW7N4tzYCQl0GTh2RbqdyA2tUhXkjYIWT9buI+3but3J0sP
CUEZeDY6r4tdmfZ/yxlzIeUkeEMJyYLOytdxNSDrj89D68bboHf9gxmRZwtwh2DU45KE6aBgYCPK
bFqcBYgrDzaHqEIWthT6P40UK0JwJKGBBi7+0mdGYogbXtHALqZaA7fJbJ6qPMnWUQ4em01SUxan
sNN0eVoEQUYURpN6tdpyblNLr4rHBoyAOgvjHdX0/Xbsy6X5pj5DjHqhx/LIEU/XJKyEIrPfPY6Z
slQ4OAqWmss+Owtupoi3gBu3SQhHXJmcLVxDB6A9pEw3cWg+9bJlF8/anaTbIuizwYVk4QqslQar
bgXG/WPAEETLFuu/EYHDNMTJtJfp3GsuFO7dVPgfVYYPQy/nFAAxY3xzmDAltghoNxfDNbI1taZY
gsqnWc9fOcSRwvXelMxP9YB9zCCKOs/8E3SA7WcTTT/CNyokqiXeuRZeiBO941IbNnS2vTaTzc2s
6ilAq8V/thwItRX/eQ77cwzybI8C4zFa49nMAcR6FXZRSmPjTdyFWLZhk4FECkZIo2H5nhWms2fn
AiYoTkCA2VFwwYpr3zwrmHa10hoSTYbnqjqlbV/DOIXQMmsEgBAQ+BMMUIybZAi3yJoaM7fzqrVi
+9p1b45jECLil3He6mj+0kXM0qSTNok8hQZG/zZzVDV6X95UfPWlcSvrXp8GLL9bviH2Sg36pY9w
BuURalhfwTp0BJD3Mg6qs+2aAgE4vIvKZYo1v5Kat7frAo6f/YcvuH8kIvyJUSfCXAG+7rs1FWAO
9/Cls6vAOR1p8Sbbuj4HNoOCYnJfhZn9qALMpmaA9wF3GK2A3vCGNxEKdg/rssNzu2L0vw0QxNk8
x89VUpzNGhJazDm7XS4C9H4uGipxMGcMR+gbYXEgwEFR7qy4MA+AEcClns02fita9wEqziNTNvib
aErmS2qXZ8DkFvOrU6xpmsyfwyT67SoBPgalnFT1cLNhj6hewf6YnGrHD3tPec3hp7dA5uZybxTB
30zkL/SqUhxbzPCQNaq2kuW1c6tfJ8aErQ36wsjSECTOJcOC2QZwjAy9cWM3AFs/fIXW9OEZPO3a
lEeKmkPC+sEXOxaUtyS7WmH0orvJBTodra0kCelT5snOugmCenlg134tBa8J9ifM8xTg4jWyL1bp
Is+SlZhpVvGi7uizGKwqh6UlzZgbysT8VRVa7+XUH0prPvhNgg3c7fCNGmoBVRMPDLDWFOWI3b55
H6hTjbA+jeIZ6f+ldeByi8Aq13LGNKFGLlxt9Z2aaIk09V7sgPoMtlsnm5xrI0v9lPWaw76Ip90c
qDvPD8QwZHiSXY614wvxqwwIAn6Sf9ai/2YM+O6FdytJHFKP+ENvAV87Fd/asvjFXY33amyusy3b
VWGz6fGaGURZfZCYFKmWzdd+rIFnDSHa09ymTzSE/atdnFlp0aLPKvO5Q57m+RlPfWHT+peCfQwb
xn+qJeHU8DI04/ZHzeEvffdUlsmBH1W2P8saNlafAw8UUml5ITgMOjh4xrR3Sfvp2BZ5SmxUfIre
O+fzcAZxsfdGeij6CiA/o4Fq7Z82gYe39mh1r1rxQcf8x9J6JTznMfYwtWLMKJZGjRxqYK76n11M
67KwvwdqPBntrctk+TfUKCLzuG/rniZaZWZQHcMhIcmN2D46UbIbQvXXG8pfPS4R9zwcDrYHeol8
v++v6dN4n+QMcqSGz+SNOBbV/G9ue9LNA/zschpZhHRLEKfM5GGcPfscDmmxhS7742TzcxcWp6xs
Pj1uQ4dw6G6uVfCJB+5Z9dmRU/ijcRUipJ+vF2gWRzIvxMK9ClRot2jwhwuyNlmPhsg/6DV2OEhi
IeeDVMF8AfTSbr24pyypNt7+b8HrmhBQtk7Jx40fk5d9FFzetviU8bnHzKJ20kWkDqGMUPq3Dive
YQFPB17OqPMPyqfzfDKgKJj9TDMTpHHiltQvyvwJiFp9KGIJ4EnD8N+rhGN6KnS/SVnSHOh3oeS6
80jtENVej7FzDInkqcBkWsSi1Ot//Zy9j6zx8RgHi+vB/iys6CSRCTpNhKmuRi4SOZgK3jsb0Ktn
e3T63WTmwWrE647gZJwTR74GmA6q0PxMWYhaaXNfEDJBAFhkAaE41gcnwtFv/Q/897yrU35hEhfb
Eg93prnRmyawAR/cDg66fhWpakeA9mQY9mLrwnDkeQRsJs6P8E83KKDtwWcq/Mfoyj3P8SUfx31m
JvdZ97uBJ8dllxlA7sXvn1/KmsfInt+8fKG3ZcfKmO5O1rz7PPcZWbHV6PMnbfBZtZF9a67zmzYt
Pxe0y9zTDtmaVCTzLTiaFSqlTfNiu6xfpphESZLbDzguYGUH53mWIwZBgbPVCcy3dsl0zT3ynV/h
FWR3cbTHiJes1bHxA5qc9vKk0Z1W0oa1Nkz7UCZyU6YjP4zASr8cOi1XuISnLSlmG3+3i2E6/Ojq
8YEZ+qtK+/Ng4GTwjJYtoKO+WHRdIEGDydPzrwrGK9P8T5XR/2ToR4TvYIP35imAabKdqvEShbzd
DTGkt4poxzM0weYLaAcvCAWGXAk2UCLRFytSWHGHeteHVXuiNQRKSJ6qnUVt0Mru+HlZE+xCjw+F
NVqNfVelyAoJo2rgJwBvcI8Y5p80YqrBdvYeGwVTCHtBr3mdU/SjLBAXD3TkOSiIag7KQrmE12RM
70p6fyqBLBhLGH1O8t00gvZGpKQkrbecyy+DSB7GHEJ8lLvJYS0UiOh5IB8QxgzkpsPSsBg3WUQU
XnvqNjKejz2olgJttKlGCQeXfokCaOebl2CU5pxfEv5BtBItOtmUkMFB1SymhOxX7L4W3Hm3eOT+
KDRU22YeNwcZYOyfeUCNEAm2QUeukfPXA9nkVW9yAMRF2m3HhAJtKn8bzPrBRy5KtJkuw5Ip8QVE
k/6bt9Eni0U6FHAKMyL6uvueVXMe9Cz3XHtrcnDLTSdoP8mwG+fSC98Hv3oULQVYvK7YziDj7ksx
D6c4sE+pWyOdtOGlCBD4rWQyjqHKH6yccODxKmralGAXJ9WSacrg9SBjJPrVzNxz0Hpy3wEgXlc0
Fa04Hk+lk0JmDTVeZK7PIPD0PXayae/Bj6NF/CRmZiirLS5hIvwnVkPRqra8J3+w3+bOfMcsu+fO
GbJS9p86TrbQwf8pkjdjsMmFT1cnCxjow/l7YlMLwLy5pGI+GJSXKbf5jl1I1E6CCcr0MSC18pO+
MtZpjKe6xujuuJgBsYFYLq/QhbplQvHl/ey/6FEchwaDmebpXvglCAygKgW/p+Q/SuNCMaP8H0fn
sdy4kgXRL0IEvNnSe1KkKKm1Qcg9eO+q6uvnYHbzprujWxKIqnsz8+Si6AvICGlwAax/MoOc6/3I
igWHAkkzYhSxLNz1MHDh00Zs34xaO9trs70WORprEHc+bxCBZ8Np/V7jlFmJZtKvCVbHdzvX820w
DXLpZEF+AP6cvYf4J09TgUA4tSztQs3XN20N7M9LemPrgvduPZpuOLo7mLipsW1im+s72j5TBel1
UMIHe4pu87cjrUodRLP4HgsyocjB1PtEzyKRb22j3m05L/GIPy0QDI+t4I1TaiOJ0qB7h+2wTQPt
meMzqJTR7ywDVKo9c/AQtUKPegWNZDOdftaCHcfFMAk2pjU+wIo2MtP/JDHEEZ1yX2PCdRc9fWki
CV67gXW9HMUVC8YzIgpJqmu80ry0HaNgN7Bx51Iy7vphOJlWRqNxxoqpwjbiBJexar4cWqyX7PCe
dV4Ausmg/SVkAueW2H0dq02UR8ka+wwrNQcRUiQlb185bWN95AS1clp3xnccfg8zLfiHxGUAUJCU
QTwSPggqlFg8rVxkAEhzG6LG0m0GefLopr2WXOPoV43AeEcUbNKvxZ8CfufgbQyZL5YQwrYuAN3J
4bySgQk6Yjh6EltrgYtjaVe8KdLRpXPLUWsewxPKA99tkyqwqm4OlUmBRa967VW1dcquAaSC7pCW
526UvDlCo+thpgkZidJpQSfeSTKSnkI8vtc+m+8xTpT/hJWL+4GePdLiprNyvPiDZ+vXsqz4bBbg
FYeyKVnEJlMHd44zYoxsQAei2QW29hbbYbtCpbR25TA1+AkQKq+O4RPbMv1s3Wt1fBN4bIelOWru
Hn4P1dbz79ymDQ9IPYl2A7GQvpuC9/LoOM9E0WrT1yJeOXbAXOGiPoh2LZL8oYzgQrJmLljEH04Y
2T7pvm7vmkk+SV3c66JbdyauPo/xzlHavomcg9dRzDnCFb1h87rLKhsO3GbsT3ZyGA9ckxa1mTrI
IgsTXk+krkLTD7zgQiZ4ie8Lc6XPMw7kHPZe4jkPM/DrvZ/NVNueIkFmRDrCLUp9XUDhgBtsku+5
/0lDLQ1erf7se4BtegSqtvADczmU43T2dC+jJizERFgI0BVp29xcZWCn0dzhFd5xwCBOnQ04nWUl
igwlbtYhRc9g4ikbZdL5MDtewYZiSxh6FpYJdMSYGSAM6oNrBCUsIflnZ5jkrMb6sHWQ8pYghOsX
IRHKFm+BkIZ454y59mH7pcO2gsOlP8zMe3iKfhgnDIZjV0gTQF9ExzoSgn+tVAXyUANp4udseslA
8TttNVEpkmfWuu7Jtbak6Tkf6nDLNh+M1sCOU4G6Dt0WYygOMH4+hV0vB0ddBwGu1iMFmPac2PwD
TPwVxjhCrmjDUxE32Qq6dc8ARaW83+nYp0jFEzMTrY/zur4x3lxliwXamQHpdkF9Q1hl/0GSBMBH
w0IWBKfK6b6FSWGJab8mk5wrTJkqx5z6YLKkbIUFOcIhaKiFcIKNIcSfyZOPKyMCQZN2vJ5daJBG
8OppiGlBM5DmbyiUbkL2OyopqNPVvGLDcTVuiaCcU7BGKxOeJAixKDkkU8oC0KA/WlUodl7tAnnK
KU3StE0d6Fv+3KUW/aOzc1aiOG0pXQUFP8FgTzXrETgUnIRWjYkwdtfNiOWcHTkHG7w4Mhc/Hise
i+KTVd1PyVlZPVQiTfA3cks59YNoF7pnHADOnbx4uog0Pera7D10T6l0fzNTmC9ubx9LDRRO7PvJ
NsJky4+Ut13i2pdgYt6zLD545kvaAoHJSCiYXf/ZZvKlrdJH2DHWhLgC1lZajixPo3s9Zg8e/8cU
W7+mP9KFEypeHtAd7STYjOzEln1Jg06DN98tA3Y6IVZVVc9yRIJibJmsdLWxNBZG1JnbIJQnvBr8
jLnTPku6ODeWbzwt0SK39tOXwTavVt6fw3JqNVkZPufmSVASlJFJysRYe1b/kmbOuR8jjlBXkBbA
n5+OI+btMnjWfv7amOWZTiLUEa2i9y3nbh0QPvfb9K3pnNdSFBh33R9whOkVP4NBjCymYql2meIc
88PR00vg5SxF3eJtiLMT6FniehrHk1PzGEZWZcBXQyq0XPu9LNV3pUukdZkC+7D1tSDle6hF7u0y
zB8C23moHSzH/JenE9YB8z0CvFJzLziLArDPwo7ZolwBLGLWEIACwvs4pED3vEyP97bvk38LWdLA
UYuIaa0kH29702churJo0i8paAEMCFyewiFEpxQYGRf+3EziIYJwOSDl2xnQtv1E2wQ2KsrGGKZg
nah2bdV8AykdXFZug++syWPHpfqHLIC2AFkT7JU+wTyxrdZsVmHcRIdeyh9DQzlZKa6NrzGuoZHv
rGZ7u9gYodMQHp4rcTKv28Bpwn4xJnP4dBAHafDk4LaPYcGpBbIAcQYQ5zT21sabJYwat4ee45iz
dI+Gonxqf8kZ6kT0Ag4+QFjNnHsvu2esNxS1guMprZ2bEjNqUv1qph0vSymSGyEGsLkdFKSKZzYx
cddzz+T4qUiKjm/SZ6uTVJhrHK6zbkVlgsn6Jwqq62T7gIP19zRyj5Cct9hBHxHkD7xY7bqryrOV
gk2xK33navm320JEkFKHGEb/W+Oh87gNK/rmq+i0x6iPr9Ir7HUTOAcyEZdRRKd5+Zzi6ZmvfD+g
0hvMSYzCll7NaN4n9uZXtwo5M9HSWVCTgRKZtjQR+g1H7HXaq+bqi7kNyRraVdrbxMdYZY8sxo+a
FUL4s+69AkYbxkdZ6T1PJbKnYfX31NfxxOJFLqzXMtdRMoaNFsbWbGg9NFp3MOqEpi9ewxgWGUlA
sGH+Mk5CxzIsEbuLlkq+HveH07MzTAZ411lNADDKY7ZyyOqFqA+yd5eCDOqSPUy+SdLJWJW9CsCT
ee2HkdrdPvFC9VGE/meUuxfYde+aEnA3fPik7QyvMKdXLcM4hoXxXkqNASM7CK14dNrgbvAxX4xe
HosCuqjphMVLicSwLkgrYx9X4TICy9TmAzitLCr2Jcv3pVaF37o1PqtOwAMW06Uxqv9oiQXYFT0d
rBjLlnDFopZw06TbHoLWukgXNmkc+d2htIzdlLe3sDTpz6WRqBr2mDa4LCf6Wcw2oIkOHR1FRgus
A1yvn6bCtWiL+MtL3PgDola3McfqmsKatthKjpQ/MR4AbRW+j2Cn0iXqyVGFjb7zbLs66lb0o7wR
gscA9ZcXWTZ9DZr2mCLnnOU2C774VzjefdLTAACgZiE9JKw3ebQxcsJJK8Jk63vATDAc+9uce96y
ZHJblaQcx877Z2UkM5oRGoob+PM6rGc7DADBNu1+mY0EUzX5SNvM3uJa/gq4q8iRdS7nslqH5fRd
WGOxGhPkDvwRyWIaXMJceh4w6NYrXizjqm+an5Gp5VTAooUwRo/CNpkPw2oe8nVKvhC3+YURSA/j
MLa89GFPLcISlElzIklRffoUfGgZFTYhfq4HdCz34KNMgZt2Xh24+LgY/oVh89vGPoQqBdpEX7Km
XaFvIT7opU4vhxNROwdQHmAfvRxJyJWOwgj9ljlGcA3wINIjTzSh7lPKVKgvOkwYu/AXxWq88WzL
NT9XQJDYjdfFRPSDx/Y/dIGlbbIOjqf011UxUTptopUvx2dBMXgzQwyZSVvtT4uwlnZWRA1jD8PT
zZhX5pPSyEbmNO0msSivfDew9nyGiDqHzmevwIVVg3iITH2IEse8PZGHa/GfdQl5fjqG7CUv/k8m
OiaWiUEy7g9BCvxWM4YPU+ddMrFBw/aNIzKzH0ZsfNklN5AxEBq02f+H11hum/w9pNTOZZO9FSI4
YYkl6T7HY+W8uUf+AwjQsUf2LwIcRqS6ozWm29Svy5VVVD+aDpc5KvGe0OHLl4Xzd2V3KHPACIu/
1MXhaKLwb7F01qd6llF97K20zIae862P5knjOk91Z/zOYLDvPJAaXHpkXuDJYVr2DeAZjgHsqa6p
VCcChiFmX9P8jdPArtc10CweaZtBilR6jUvAZ+RakZ2fucI9B3bNgqbclx07f2K+5lnxM9vq5my1
qzC8d2GwTgsYcYZLmXROK6j657rOv8zuo63TOje8NuuC+shVM03fSMzL0ZCbvFGXBJvwPnGzbS2q
dwIerIYHmJlRvGcp8AHh74k7clzTFbDI+3TXyohVIg0UZj0c6qpb5yM6iJnlMyP9I8/iQwg4fAPi
4tUQckth/IvS/UtU+twFmk5teO5euo44HzdnhsdWfPhZc63scCMT696xYaKXgJ+KpHWLdUW3CRpr
ZybxLomiFyeEsGCOBcklCS7bg3fiBn9D7+9SK322sbuJTLQ6KHEz/9yaB5Xpa/IaYiTwYyw9fRsS
688Gnaep/jHZxrMszR+94ugRbLdK/Vak3IxrxcV07MVlRCJxsAiBPwh+BpEcZIArDvIjebC62ViG
fSU7uTFd5tXYfs2MaTV0PrqquaEDhuWnN0CWrEva+8iOm1miVtVUnHSDyz0saaRk6wu2O/BmSaNw
v44tPE85QewgXrsULbg8pIvKDG5ar+4DjAGEsF/8MO7GcusRcAcKpIi4t+OdF0vSwAl4hJYS6jDe
i5lfQf3tUg+1zdiZ/2mWd2iL9jpG8tqa0GHnQGE0Nreqyh9a0iMrxWed5b5rotsEavhCXvwxElRe
YXwMEwJyLk6DFr2Eov2wPa6sXXiPC9S4wSvzpymNGyVP75XgBjOKjR4MB1ik65r81oLB+WgjvCoJ
8k7ZyXqMvJMKu3BR2maznmstUpy0C8sf6fGt7zJOn1kKT7bkaV9kXrQMExOub6M/cTY+ajnKDfgT
InmdccfOsNUyTumJLk6ndNiIB5SzDs0X17wdMNlX08jXSYnlYzIAs+Ur6A/+oh5521UhtUy6AycE
3OCL7prHJEtx2XRPq/DObTxP7BkU0Y43Jx1fu8Bjc2oZ7j8O/2uXK3NhMzFiGZ6MxVAHR6NU/vyW
+2Na3jtttktKwmJJAcqOjL6V45MKjIIS4BA4gpZw1yY476YC60n4bg78Ph2v1hJajb7otZgzJhtt
wPr8wiglGfFipihw+pHLFaP/HsXlfkBW60XInaZhIQ9AGLH13JXum0o5cPxcPZKEr6NTNAgrEgwB
+Ex0ITCxlD2vInpuIO9k3Us4mn+qJ9udyRZnuN/tbYLUa2xROh/K8J2OHVBL+JXH2KFXtT66bFrK
xD2yZjqZs4vW5fLQNumLMEd6WLAmiRni18DC7mOYS6b2CjkJBBjcUN2ICK4WF3fSGGV8tgRd5uoH
ah6voSIXLsbwTyXuU7jEyzhysTSPh6yQv6nJj6Iq9LfB679lVV1Ai1UbSEARTzDVqVHqUuJocjvA
IGCxbyjOqV39EkN9MOhuSzm3hvTNC0XTnym5ut4xH2aRwo2YvnIci8uJaTtJx3ODvLOeQkQ4T39z
oxxIq9C+CYigj+abdMIMpSU/McoZUjMXuKx1tv6AdkPfzkKvXCRRvB8LvwGNGDGLETQcSSpr5yDP
D5VGjRjX+yutALdaVToV1kRS+PdUcecse/7EkhfcS5K1z6Iz/lPU6Q5Tu0sFe0k7J+3ieG+amRxt
wn5Qxf+cTuIcs+1+TZUCL8Yk+GdbQbhyDFUuA7/B84yROxnZ8sTKixd5qJV/IV3am8GvUlphxSFK
JnzvBByQ9Ne1gvHe6XIGvQ/5BtRS8UfDDIaaNEi3UBCAJKAS/PhC695lRy/VwMxUNM4RfPCemNsF
sftRzHi+pvzJhP3nVfXXRBXlInAQqajnPBV5tCTkuG1Sa1lRu6hS/0jDJHj5go+e4sI4aVzxk3Bj
BPWJKiF7L+pyXPd98yMjSiGHQfxLBgMied+C9ofr0/OyMev2ywejz6szPbgDeD09pIIC9OcATkdr
8HWO9DNgiYTVwMoiq9wXdsh8XxWRNtHDTp580KFD+6INyT6Ytf54NB5svg+a4HPTNLmGPVt+F/PD
VPryQjXAG+2UDzsQX9zQP6O+/wJ5dJjy8JWXSkpMtB5W9jD+R1DiFSr5raihLDWmsxBUOwR84QN2
1CTW1n2QUP+W5LdkIDVjiPMANrQ09ZVpTetJ6TujRP+qZih8XG5U2N65nW1IcpFPHa6aATevMXWM
G8F4hl/3Ai2ogOfAHrpS7uxbhnWWamSMQWsx3r/aY1YvBFfNRroXY17u667xp/kKyU2CqhQRPW0R
qwmC/vJo4xioK++cpCkt6oFL9UvbP2DR2eg/gLartvxzRoAEBeEI/kT944TJiDVMhNsKlB8Xu5DL
sEd0vLqlbfRW+4TmCEOAoEN8wVMRnTzHegkTIMJqHD5EEt9yKAjLorIo2rPeYgZYAx9IzVnjQ3Zd
wQyQO9epHiH/z0hbmm6URx3niVPLa9BCs9CxzVJxshZeskOl8KjlybhH624NpLft+4ujDX+pCVzZ
hOJHgv91KrhAmprNkyDVk0KVr5CXHdKx96zTiVooveL1HIZbEFP+yrcM5JGZBRuqk9EwSgSueNoD
rnTCPO1sMFynyRgv/JADHTIMU5XfHUeJwEYYZGH4JMCHWaDRM4AKlRavGdd/6WoT55xO7EnibFYe
CtoUsgbiZmqjO9DjmRjXyOnuVVgCanAvo0nsv6qvQ1mN6xTWQ0gpcCWsa5ChhsGjpgW8Dd4haRY3
v6cfaBw3CIdrbwLw6qjhRj7dZgKS9L0yJ2kt0C5b0vhiTMgefmgf7ZZVbDYwFhtAFjaa0+5nmZdl
cM1hT7lDiXcYqzyUlzar3qeg511mzmN5p+5+jNZkWhqPWuUQbQAdBeyWhpy2Ie89dq63zArSoUPP
+G9Ofnz0/GQDRAkFKxtOtI0hXvFRZt3CoNV4w1nLG4OUIXhsUjq+S1y1TmnnoO3bt6Nf/E7DwvHQ
O9Fw9xE7YKeifjNJPbrEBgU8Nj5G/fQtUwqiyvESM3Dt9J6UcJgfGj/4VzPUbzO9RAnuP3TTeGiq
esCvhrfNIbEAuHp3iGE+OPgfruNJZtICzjqMiuNgNadI0ZpIkzmlsVxNpYQG30lzL8jLbCZ/wGDv
ai+jSfmfTTK/rua2Cpv5z+Hsw4Yu+ce73i7Q7ANTOeJQTt8YW/5/dovAIoxzZdkH5Uav/1dkmgHp
VMvZUs11S46hXarQPANG+Ogt/Z1yqns2wsCQZk+dXM1teHQ/hRv913QG7WsdDjOd4ATIDlZh/Exm
eb/P1iKV8bryVL1AdfUXflkblJppjwFyt953V51Cw8ggrVujO/WifQ5Cnqe0PbDxgbamxR++IEoB
4/i7Zpvv2DZ9mMPJ70Yc8CC6mR30VZ1PJ2uEa9oZ29Yrr1M0XDGlE7lwuQh3ivoWSnJ/AOkdEFZm
yLuG09bpBDWTebIiCfiVTLBYUwP83pBddSBF1jS++nwIW10dPMviAsdKaIZvg2uKAr/cmHpyUj73
hckzqhWUpj386EM15ketnuaXevHaBPPm3M/ODv9h8Utz3k/jctncJfnIZUH5NBfQ8kJhm4t3LqMY
2AHWKwzrxczENXJnA1ZrL1Idn5OLW4N3/uTT9WqMi36sf2IYoqBJiJ2H85Hf88Ab5mufsZhwiMp7
bfqnddmml87PmGhrooKLsKl/oZGYjLsOyTKx6J343PgJa0nu0hpUYVVB1xXIUQ0HeB1rf27t77uG
NuUhgubRbKUe36KievqFfLYzF9Udfn09XlHh/UgTbxdpOBmJV6kFkdkHoKFTZYkj96v0VSZVuMAO
8A9m6PyNyGE3qHsa2isr834EdQAoLNkKuPihYkd2ZHVKZ3FqgambETLcGLVojWSx7Otqb9r50XGp
yuvnnyfQS5KjtVy7HHmdbV9CIz2no7b3HCp3iY2VOhY5GskcX3zEHXwaEcSvE+9qva6vpfC4sjCc
0GihY6kSAApAeeG1v/tARGb+s2H0W5Flf23SXcI+RjtjwmqRBigz/47angAZDhDQnHoFN0mZSIc1
Yhag/Cg+j7zobDfk6GNoNeQDrYD7TvGR8vVEUZeQYiXMwoHDQrKiMxgB25nGXzfHEd9o6R9WrbMR
N9swVRijjC2dFB/STrwFl/l1zslT8VWOTbvSa+/dav1dzGYJ88CPpRc7IdwveMZv/ST2AWd+4Prf
WRaBF6PQZyzOcsyeODF5XpyvHH+8H1nmutbx8DUOt9DKt38KZX8PDLKN1Lcz/iVxBmRdt7kM+m/i
DncC9JuqoiZJmis01Z0UtFePmF6w4nwIKTaSBhw3kK844LYNMzlziYPhJltWZv9WULbkjlO2jnmZ
7E00RUkhx7JyGIoiOjUW0WTepF59tI0E0AUtMVIly/p8I6b+A+gojAOFkiRFvWszwk0G5IDebkg4
wsaT8mySsEhBUbAcAfE/+uoza/VT23sbm+5iTriVxU49rgmxKwsP23j8v4nHA3slrZXqFIGz/GJH
ebj05wJ4w5AHYvEHsFkrbQoeEHxuiS+3jscXZbnZ0pmcdmHPoVbLsRHhHFZrOLAx8GkddwgSlpK2
DK9ISUG1VBU5drJrUKpPQaHeYWFtK0lCFv8uH/8fWpq3cxaw6MsjtTLOgjtav3J4dS/FXOLtJEcn
ioEYhLte4Szu23KVNEBPtepgdf6+x61Ixsz+M4V1BPmx9QAxrQbiF/UI567lstc5MHgU3ABHfatJ
P5odAlUgtV1nUT6oEwRxevXuCDffDFZ486lv3DiOOtu12lAssAcreRA+f3fGuqVhnPB0+I1O818S
cN9tFRFATG/TWpBYthNh0qVF/L4YxK4V1feUDiwe5MnymNW6ZlvC9ef5D39YnsQLqwaNhKJEVRZS
uDVTZ/cNgbV1XvGDn8j8CpsXs5I7/PS7CCAvYHxicBgcPDKDKAN7Pym/KjJAubA5R6mZVfYOPuRZ
Q2VZiBafbZCArouMVTd1ETm7/KWL+JQN4cEW6dpzh6NGjzwo4ZEVZXOLJv+akLDe4KK4i7Z5FSb9
TwXLY25n7UsbIAzBAQuybGvV3gnEMcj2iFmotap15Jdb5pmNCS4fv2X56znlE/hsz2QPlbXVtPcu
JqDSERkJbOVB7nO2TmHchUHpVpgB6Jwyk118rXFM4rzoFD2/tuF/m0b2HIWBehxNxiaWjWAkgslp
DQN9jWZ/H7k1Qvzci9A+DAPOnkJo3AzqgF1PMBs2axHQ0kSvi98u6FdmqRqLu2nUKw4DYOgDSYe0
X+uzSyRT7GMrDthBZSc63td48HnmbO83wDkHXu1VzRdYV6tOcRSfWsfeRFiwcnCZSYadAz2r4XHh
VqucZNd2/p/Rm/YaVl6G3OwRjA5ubeF/Vj0B6ZQLWFPW8SqpEsECiM2NLtnNEJHWMzi9sU/+B+zu
lx/Wu7Bg4KLHA8pGtAe5f0gq+RP4Xks6zZK3ITciaMPiBSDJXMTuPgZBNo72kl8yka9slV76kQPb
qI1VhYCCZgFVqekvfRVieFQHDLQsLQs8mrilnKVJ4oO82ivf5SNT5y0S/VmwOl+6fXPoIRdxWixm
pyrwEZgQAuIEZqmtz8Y+VUZ4jq34NoaA33R4KFNy7b3on3IYZ+evkucRq4r2gH960QqTvHu76Tlk
ZAsx2pxJVATsMPZCBg/1Ly9zdspx1/iCXw0D0Nqkc26SYplGbSdSWhnoPwhoXbO51Dq4E8u2XUkj
fQnr7t1hbzBa0XqQKel7epaCcK1sd5vgqudHiiTIBrso5V3F+h48HIYYwGCclENIiY9BC1FClVtp
7jME1IHoH5+ne6u3947vmccQCC12jbMKVax9c83yjSDZphXahEugpKGTEjx2PzuyCODJup8yTGDI
xdPdrlu5Qd8nl+mOdyNgjLG43LOps96sOjh7NjsBmxxumRvVPkVoPNRzzwgD6rQSFbYeZXlHGo3e
Sz8kyJAfKJAAMqR1dys0Hv2kf5Rezmohu6RFsQcu92Zr9RPHP7Z/kNtez/WiRPxZ1TPgHmg2b5iK
eoeOQnWW2YQSTMM6hqwRmtzxcEM1TxcFURjF0eI33kNG/UUi22s/xj/1OL20IRvTIUZimCEskYkf
QVWY6MP06fc9sJWKM6yI7EuvJ2dazX6mqXwDiHTCbiMRQzGclFJ2u7Llaktw9rNMnGttAppLev8y
s5BQX9+8At+f5brlinGKWTu/RUG3j6b8x60RJbL/iBmdIVu9lO5cyMKcO5nhbar0S1fzutC6q+rB
ohnTU6u8bVnAvibd8tqNbb4sK/crGAiemVRQEUAR7xnD4aAPd2WJf1gDEEcnbZdo1gaG94Y1MZy6
AcCr0+sGTBTzxKrk12n6j9EhT2vV6J5cNz2R/0mQaY1DcHwIKAXryZhYss8pLBP4dFLkJq/BVauz
Km+agxsEdyq7P9j2P1U9e1aCATMAh5avxqcssg5eLyZLZ6S4rYo/4PY+w4pO+aTTgOn49sqg1Hwc
3dfJqF4Nh7RF3DxBnpKidfjf9LrGQExBMHwwu+BZiT6FzetAViR9dUUQMog4NCmToPinSqdvOlSf
AzTZ0CfFVgUuSpVjstohj4yGYwPNOhP5Ifev4Q3wgQUuqXt70ayOHs6ivODZhoHlc0uu21giU2m7
ScNj0oM9A69ZEFlu2qVt023Nsv/g+gXVCHYNj4+4bVgmjLv0r3hl8FWH05O95Ql8e71JNPsL1/tb
2JMyhWlL4/bUXxtfPFzdvoa1QRxJupwBYRtDdslv9QwXbXNQCsm2IAvqc8Y7ZvhjSerqm4nQyzB5
I24BPgY19ex2U7+NRHSmaloB1XjYAyYHEExg1jhJmgY2lNOgaMRt+SCQQiKGAjmpfQ+GvcFWzF5K
7rIBD6o+fkwZrj9jSHehpvY+yIhFTLNx7qv7vBmzC4ysKpmpHxNIjHIre+vDDfW7AZWWXt0XRFYc
GsI5RwAZGUCpqo+L4qJYWFK9TbNFLXNMKMbwB/BmIOMYgeZSdE8NaE2uf7M9Pz6R7TKWrrJPKlHG
gqimOqg+/shNb48TTwG40+09JTkS5oH+6tnZmR0sS2n+zjdtPhn0wZBbM5Z8f1o7ZQ00jClNrcAq
kqZ912P3qLFYbE33N7DST0nTaVAPf24W/6ewXWHZk5+GRalzNAX4UmmkbbXmbkFdWY5Fum9a4DeF
J3CFNdp11oaNorm5JTs3Opdug92Q5I7XhmKQzcoXwowUuza/wDg3rSHubmOE4EeLs8e9QOj6+1j4
7Qrz3sMhd7nivWxA249ZgGbOsIqhIuOxgAKEa5ybqGmgwxauhNeaUb7AM7Np+2huiWEN65oV4pSf
Axhw8T+2lbUnR/SfQZUXoaKMNq30lw4htUjHfK+16Y3SsnPd9YdGOOExLoknaTgSMHHb3+3Q9ovU
Jh5qepAHs4wMLrEyP6torycLtLIYqciua3IV2sVXHLGkascOyYLPHmZPAqaEALoKuMIQgLbs+/Cn
hBgAECG/ADMiKzO2X1NcyiPyPtK96W3ijtRPod8SWbxkQcvKNT3jTKVLXTbvTZ38syUUs9x0NpFC
PWWMuKKWvaUxbyfPl1BWTAu+YCeIIXU4URrK3lMERGkwMRreREdgXYzLMYydBUW+NzEnlMVcI9I3
zIukP86R1mCkMVM2aF1NXm1qrdWYVwOe2jLdMI21a1/hyWjyC84njAoU9GVLe3T0dcVieqlibvZ9
XmIg7Vs0LQS40Dr5Ge0DSbaHErQLqKztQrXFwXoZWYjV1vSaCPc0ROKmDdnZ7wmzh2IfWVG09JiB
23jgto4vQ8BA3UToqCs9dceVXSGWcTMk4ktrceZxmpUSxlZovUwEjEY8QxgEX0ayWz6X/liyK3M3
WhHuB0ToMMAYRwtSXYCxmW28OnCM3vFXcS1ZYOnyQ9UIe3pl/zMc71Cx8aUW6Cm4viVyXKJJbVTW
CEoYKD9qsx/bKa9j5m30bDg2Izt5WmraeZ9tdbTVo4H7UbOt4uSrStmsV/3GqZwv1wYn7kyrIK6z
jV5T/RWN+V+dki/TcMF5prsuLP45lt8eXGXu9IAqBwvRpKXX2nO8zxxsWli2lKo0O8EHr8QQTg2e
3GPTvxF3xnYs9qhwFM1p5VfaojPmyidxIekEU4AUY0I1IJH3oeHvTYO9/JjaP4Zef0kwLutJlFdt
6M5u6q/p4Dz6I4B2l5mmpa6QiONHLMyTWTkadWPaSxKm7z7fjrwIj37eHI3su0MtxUlzNKAmZRVu
YI5Mmk9JwFkm3LWg2UcCZEmh4qujF68YSvESqCshbejVuB0Xk6zPsMvXyUTrZJxJCK+4Tpiiqyfw
GKI/QIYqBwSfyq+9G26BTbCkC7mGA92grgfbV8sLtUCPUphCIdc0ki1otxQs2FZ5mZ1Qy6AZSBC5
/iO0jHjtO+E/jem7LN0T4bybj/26GOWKDeTL2A7bNHEE9OnqJzCouwrNd2ewPy1V/zPChA5RBSSD
LCg7SrGfWH6AUsBmmlgrIhUIgX2AQYFPWJfjWvD+E8xxQ1qdJ8oXE8lZNocaB/XmxSB1aIjYdI25
+x9J57XcuI5F0S9iFQEGkK/Kspxkt+MLy263CeYMhq+fxTsvUzWpb0sigRP2Xnsg15fSZb8Uw3Vs
muPk4zAdhxvtN7ckTzy7fn9ZkvSa8sO7lnkRC9rGHjebErhu+oOSzj8s1zxQZnH3hFc/DoZgv5b2
wKqt16QldmRtpnNkNpNb7LtwuG1hEPYNv4eT248m9ffGLW86JkF1UtzDKOGGDYO31m3ExiuG04Qt
yLPMqS69fRBbjxh4joXS31PtXTVax1phThvVU4i+lyUh0kHaTxU94YLZekAnkhV9kpXxbTqSZ1GM
f1O3x0oXn3IU10uPCdoPj3UMjTOeYUalhUsFnNyIUp9EYfbExxxNNdVbAt2uJh6e0OM/eAMtsc02
d66nn3QNoR5j1M5tIB7CztzFunlsh/yi7fhzVMmPLdh2IFIlCbxKXzzsl2Q4FWe1MAZoPOu7XAVI
vhO6+9KgSsfmf8gHcapwCXm8EqAJBaklTtvfDtV8wBwAJme2kd+p4gnNe8FoXDxGNTy1kuGdp6EX
1TNtLwRZzAe9e8PeYl+Bla+C4eI37CoGy8R/XFZHSpSv0exbfLyJN0Qi2UTttJvm9NvO2LOHFTsR
In065dOfaPxCxTz/YPSGFdifXEx40McQJzVoxLMx+gV4MJElDEmto1cpooLCnvWSp5muaKJBC6Bc
GymZ9Nqmnz8EPe1+CRvce4C2UxKlykydyMj+W9dsw1OFjJsotJ3x558s0m9dy14mGpEi5PJYhtND
44UTCDAgJJGB69k8J5W56Yvw2Azjt8/OvYvcdxNM50Gzk4N/mopoG6YWrmRkC9JjsaNr/VYq9ytl
tXBj26bGiDH8GefizU+HW4SfGSiNgZhdj9Is8qJ7O6JwGTGls4Is9u5iveu6euXYfxJdePVFc9K6
uBvd6uzWUiAEp5PPSGZiGmxmTr4WZHrJCjxu088YdehBw80QSbXyIuor8jP+CYO6cWer2tktpS3h
hW9+x3MYumwA4QwNFoQJF4B1W/Pc8kBTOzKf22lJismUsFXvg4kYn8m8N974Bhj8rWats6kDVK+1
82/iCN6kPQbwseHljIlISjP3L5+yxlxqfZNC+MP8n7o8ia7OQpY6QXpqbv4YMlvh9zwT/nJtBF1t
L//iDTt14XwygeFe4q4LYpbxaF02OcNQlnTfC/8PKPyvM7JqKtAHv3PynUaO6QuNKj5kINDazjl3
h1fq6hdUR8uFoL3fOQZkit3mvWdD5i8onGPeaJ5o2IKdnz2DtXxUtoz2JrWCrQPWaJOK+sEDP0D5
gIfJ5kCROBCWabqXMUvpaW1Swo5IEtFWGUOj+i3PDQbEdNxikFmVhGiZQdxDj8gasrNHQhEkYVkI
FAMO28m6upboqF4yqOeleATgfyd43o+967/OrngjIoFJDrisY4fKY9sBHdqE1nKs3WIB2Cav9jid
4gRNxMzcJ82GxyiUwabsSSkRTHbg/fJvESsikE2OyTh8jA4W5WaoLkndn9NSXwo7uwbR9OOkvNZx
COZnziDDtEjD7KEB4qtoOXX46BtGzs7gXJIqfIZEQ2wZv22WRy+KKAQeorjY0ZGy983G7sSu+keX
7U+4BIcpYdrChg5QHEsm+h3eVQSKsrwfiulqdAUXO8OX5FjBsy/6x6zFlmVT6XKvbEhDwbpOGGXe
vzINOxfO8O6xKgbOPm2kMzBd/c/fbLgnNCkT6ST3AverEuxIg9F+6GI+sEVxhkjSb49Zqn+QuE/7
RFOiSwoFmkTOQdMMn4vRHduhHHBrLbpd6gj7Xla4Czl6J+RlGH0oCE4yj9+SKn8xq7R5WELvFMBe
woCiq42bjjwtQfzhGWqYAaX3tphA2jblWRYdnhOFSJEJAyrQ/ZJO/Kzj55Q6GF9TC0Oie/BbXHV9
a/cv5B2X94U9ndGGUAUhaUDTw9nn/qi2/SoD19mbgSzxFg7hkYrjla/kvRTdTcVlRQ8x1gcIx/d2
zlB+ZDA3TS9zjcdOD+Typg7HsRWH16SLnyxEbg8D4UGce8W1cT3SfNz/9Glsl3X8LmhIfb38wdh9
6xbuZ5/68amGE4A0NkuJPMqoQqQ3fE/E1iA94cBztPidLbG29yLGwU+4fdhDeBI5OJue73+jCpVt
a0S2Oq3viyX9iWzvLkjJ/NYLEWx6R54da/DUPAVL9OIY/OQeo4he0wFUKeb5sZ83pAtx6jj+x6Sa
d0Oj/ECs8zdAyF2YWcdeyZupwW1sI0Lr+upPT4Jw2XAEyw4Oq9uMJCWL9ilIDJEMCEwYDLGKKuI3
q7X+zJl8aZFgbMQYP2AdQFxLLXs/jfG7F8iLaa2/VkkkEHZxKnLw+ZsmMPo4pRj44RItbBCafyZ3
+h280+7oEiL3TXOI9w9xe2Ap+ZB2jnfm3M5RZAn3tMCC3FgzozvUSajFRxtrko9PcYypkNmTropI
hW2fO8z+CLFBrFurZCu8fNrnsHvI6XEeyojhDivI9lAXHptq1whWczOcU+daleY77btjA2Jh0vx5
SSX/EW4pVjlACOtaH2QGZ6OKhqNP6vB2KSEMlyPWP500Z+bPhGsYk7DStHMwC8h/LJOGBwQtHWx/
WXPQEqkp5gCvvyFlM3ai6RAMTHU6W/7FDJKBM8/CU5ZGBL5FDhIWPSDvAzpFy7jP9EQSEDtgB+AF
TIicESmnA+nbq2es+yiHmVVfyHvokZNW8JYSp9G0e4y43sEO1hxbxazdt85BLO87VF+5HZ9daCB4
E8hozYKRjKWG847nR5bTq3TNfs4KEn+zJwGs/jBZNvrROHmr2oQXqr8LeRIWfyC3Y9D/xszctW7O
O9fCZuyCAd0WK1zqPvcYj9FHP5QfXmG/VUnCeq7Qr01LIP2YEgUIYArR7ICbd54GWvdhfgAUxujG
fCmYA2mVK1zJcE9FnOCVYpG66ULxN+kQumBLEju7Wajx5q8w7z4F4+wqyjkACnxqhbN+IQ3e3EBk
RCour6CQicINoDpOCzUboc4kMF1ZaV96YoVR7QsHNCLJOx5Z5pvK1M/az6+2qN4nu35xXJngEqf5
qDBp7LIGFvqo+OYD2NUOf/Fhie47XLAkwjm3bCNThpVEB8qhPfmmAxNDF0Wq2xsTd4Kmg48uYr6l
SvfWX3qzy2zz5gXBGwPWjFUI25ywTXZT5IGxIWsxropLETHQAWFLoGKkP4OK5w9wCHVqX/7973Mj
DTmLgPdpmuzNgAGI/BvLwSybE5PjRuGftCX51Es/LQmXWdu3eqQsiCV/5zpNb9f1NK3ZL4DDbjdH
yYlK+Be/Eka6UaY7Fdpo9Zpr6k17AnBRBJUS2R9yNpPll7lZEfBddJen4U9CWnw7jAcvIxbZD1M0
0X3CENyJfsLE4G0t45U6i5yNyA2+A6xyVVPkpH20CyCk8R6o4k+2UFUEDN82tSy4hPX8blfNPRwr
dJyuReuscoEcmfGLgaHJpGc1BicolLPpJW/Z1+dYEmafMUs7v1t2IG/a2Lmr8Ez0JYrKruM7Hqx/
GXShLb/wI3aA3xi24o7yAagnZm++xOk5NLDDI+jKUeWyMqlACXekGiIpIVfLIDEfmhn/Wc1kVhPy
m3Ttm7VepUvMZQLyrdkrjDw3MKiuoFagn/nQg0oX6CFc14NfyEf0XRDVCnQXdo8ydKBooavAB+RC
sNH9e0J0YkIynN3U8RGL1hoqk3KrB1l4mLl6m4LHKxSk03UW/VUEk32jM2566rK7YsjIFKBRmwfn
axTJn7TufqNumLn/EAlF2fRdTnpNA19u4e+/LTlHAjgh+ptlvvAqMCoR0LjicHiJ6vqntX33BiHH
vcXImISfP13VPHu6eu0mF0cfmPBd6ltHp3J4x3Prp/D1F65j4heWhlrHNWd/DN80toUN1RQLveWD
DdFLQb76fx9/9hfSh/svS2OXi0i8Qd7Wk2Dc8IoqdkEb6bIglw6faHDCT3ABd4g4nrE8kYnFotau
mB90cEUcO3slUhqQW9y5yOLSjuezm5B7ppyN6Sr2jaFw2eJRmQT6fnoyaX4gqNPGn8cEXCQfpWf0
LozFJ4O+lsG/d1/CIZnZ5bNE4SbNJRzaaLjAlLwp510ox38VXhLHJtsugq1Kioeo+qNMvX24NKcl
0rcR5rE0/kd8OVsgeR8KypSSEMKt8btbbY/lPnKH92F2UfQF0EwcMgntankm6/QpaaYrLB2coNAo
QUyon2JmxL/MrsWnoj6pR/fRceaPvg7/gAB7muWApm/R3Xa2SnXjd8q7ddlHUcjS80YCBE/WEk7j
+o7auzEaSW9KdrpswNXyHx0dz5dMUqLvpequQYdoaiYPp2q6V2wV9clM64Y41s4W+ujfenL0Q8n5
eWbvYR0VXPqd18cV8voFC0jT/Wvh5Fl5EWyGGSNKECGJzTQRPoHX3LtOf5xD9cwCi7hVdHegRFFg
oruLI9gmBbq00IpfkMDhhrV7Jts5d2BskRfPIvoHHs8XrV93qN12NfDN3ZkbNT1aFNT7lmp1t+i4
3rFcuyaD7+3IXMu2zUSJHszjzyzsDyR+53ie/pBMxH4IrxBurAcHdHGRTbsmgScbZdFtxwhJmjWQ
KsMy2VEOMJOcxR4EN6n2dHGij37j3m6OeRonuxFoLoN45IWyjA7xYIJrZ7VkhDJRQC9kseQv8z+m
s//5ytu7VnnNe+mvOPNz5o1/ert7x/aU7mMLtcEMLYqdHNvTwuKm6f6aAO0Xf3ZVz0DGh+KoBkAM
elg7uTa/VknsvYmkGbdFOJ2DEUmqMCzhvJ4ZgYvXLAZIzkTbss+uWZmARL1vRDixqOqMj06xxt7p
LKm7VcvgnuYGdAIJkM0+If95ryvnfeyLGRln230YxdiuiCQCY/UolxifZvnRknIuhuGDzoSFVD2N
pG6qEiN2HzJyKEFB7/o+C4+E3U8PxnZZ6gcdPHgDMQ8x+EuQBvlt7kHATlmr74uKeUwZcPwBNEyI
AE3tN49z42BkhB09W+RrXuibiiXxfqxleC5bL3wehxl8wcgDByf1TaDOJhenj0/ezIury+WHnyi+
KQv7S7ghjFXbg3S8fLmsfpiNOCwgC0E0eWhjrGcOiCtv2o5m3FPH3w/+3J+bLt23Y/2SBmRWZtTu
d74rLZCsiu4qVu3bvLTVJvWd7GKXWf6twFx+gSujrAqzJ+gF23YhtiwkZfPStMhPknnxED8U932S
XFowepy9mbyUvf1Z+vi9QzQ/IAs53+eADaPOHSKQ+25+xBOCcjpaDM2RGHYA85adhQ4MlSskD0bz
3f//W2TePuHI4kcqv2Pu1Zp3D7/Uh68RfvYVGyVhpW9t0vTHukNsLaQ1H0ItQbwWGuVGJV6C1e5X
yRKe9mQjCufvvEeOFGwmE4CpRmh6yBii78tYPUWlgz1KyfDgNgmxTw0pL6JP5dkPkuYSWmTJLgnO
P6sEOMCiPEVv3/p7kgesezaDLGSHCfuGni3emTUKBUUlczEOuXt3autzWQY+qQTO+IqaeTVRdMRK
ECXA+jEwXyQQqiOJSCA8yf5k/Wt1kL/VNWuWR1OH9XU2dbNLYxzAIhy5ZJJ0YjUSBi1heCQ4gofR
8l9X4j4EjE9xgaWtbMnGjftxMwYxVtl6znYL8s9j4ZYW2kz3znOL+OTO5WfK3OC5qcmOWfkiAYci
HUyv2NO38sRelXgpnMyU0Y17LMYeS7QeKK8ipu5pRvRGIekSarTInmKQ6c59uWOGYvA4K+c0akF1
a0vaN/3fKuyN/Rc+mcquzmOiYto957W2PQJfVk3c4v5hNvNsMq/ZSR2zB4iiYd/myw+HE4Kw0fX3
QNgC6Gjp9C3imi1Vh5KErTTdvOfHHXHdeUKWe2uhFpzeGiv+WnSAQ6Qxa9tck8OFkRnbTwCxnWHt
aDsQb7uZzfFIG1F77F8IYUUBZBZMVqn5O3YjLxbhbwfVMOwgBQ14syRgggyladuyp3yLJ16RyU4s
kJeGlSxO9rPqxXwnNQk1PtAMHKj2mqRnfbpZ8zfosksWJJ8jQ/RzU7X8mB0jzJ0tAskVXSR8vWiA
Y+ZRD27QXxJDzGQkwYl0pq544jHMDWkY37Urdn1YXQuR6zxldeYQoGeSag8KOt80ws2f4iiqrgwg
06OPb/KRukWfgiRd/s2W1d55UhOKgKN/Q3zdePZxIW3iICJsiwTkbRtP1BRedAX0Afsgti9Bwzuh
1bJrnFC8DPC1XxyuI8aQQPttgXUm6LzoDzvdEvf3EOzdVbbmz039NIRJfkxinFM472pkpnSt+/VC
RCMVutZbivL8gY4+PzFO762jdBbzQWFgrTQRgHRtGJwhcgA1Q+jSeOUXUXXTLkxLks59TNDJJe2C
m7r2RzwC9DzGd4iMNI8iC0DSanbVeQ1KpCnvNfgd7YMeYYZOeSHxTCwM7I9JNulHW2KwVnb+qEsd
3hewFk9D7dVbNyNfOySjbMf4tNmmnnnyAZ5t29xpd3XpttvesNFwiyOK/js+F4aIdSHTyWZtyblo
QcT3sc/9NYceoJo2Os/kp2CqZUc5eu/tBAQ4hv9JlN1H15vXYijeSOKlVxpuoct+a5lgJEuOTqBe
LcSZLCVEd69aZBjlOFk3KFunLaKt4alJc/+zbBr1nLUmZvebFvLc5ppFajvgGlVJ9dUJpsfuEINt
GzFadazb1ZC/xQlmM9n4307dJycxeTeA58B5+PrC6PMsnfIwdkyxHPRmonyIx2l67MuJniEi5ipx
mb324urSyhx8H/4b777/vuCnXqJ1lESPg/eih3NlHOQvaXMWuKN2OCHmG1e2+AMCRg1+rk9TMT4K
w+VW+avhmU4os4PbooD704bhs21Ph7AmV6jhaWDaWhyUoSO1KvlR4jPaJIZBETlYgKkbiEdCX8le
4SdxGaT1c4ubw/T2jgahex7d5iL9diSjVrXbqlOAVyp6pVDBbdOpeO5Vbz8TZfYHb9Yh9id25nH9
lOuFtIAOzj1jznLvN9bCs7SMoBE1uEiWVIeUciSqoj9UyF85DLueuTSbE5TdVo02xpOHHC3RnOYc
7Dz8U1FALgNHkfmJt3UitZOsADZFPfIYoeC7Sry7TzI3zMarpzYNkovfrro6xdLcXdoroyKk6Mmj
8MlUCFR+rsRIYZHMn+kcrSroEc4xhiZRlx91wh9tLLT5i4eiPWCq5bSJYa0o9nlGsARMjWYbQM5L
gVEx8AMub9Cq/Ekdqz7561sWM97UxRSfFhxCPPD3je+dGCSdHUMii+2Ku5jjBVtOgKYCmNAWBM7V
MCLY+Sbewbk+dk18Ajxujl49Hvsh+VS8EBaz2j3TfdacscN80x+Xg99hTCU264bClVlbyowZOjds
Kv58pphQhou3qIi2lHzeA+FZYOSiC0EEe4QgzGdGB2qwxHtTVF9+igI48P/huh5vY787dMH4voTl
a07zcowyKkp3FrdCMmgcJRUWScVwY59xZOxTFZkj9fO8JQlkG5KCyw+DkDQYsRX4VUUB3TrhHXNW
ygzP+rR6V23JxQJrXXIN6xgHZWMhziJOxvGY8Ed6sPlNkD4EukGVlBKSpTxGDxFEX06mbBsX6ZOW
jL2azL1xBkhFg0lec+qAwyzRIU2ueHCyMTxpxWcL3Dtqf4LsEniujlPd68n/bRzwKMAOvKPrRvh/
J/uRM++2K6vdgttjX0+zfceCHtsbWS1h2D1JXjVvUHJdf6dbiv58U0bZ3sUInsZsywPmL8TWBqeM
3dneKv1/3VT+s4by0yrwSETyGih8lp7pvjIHFFSvrWeOLoCo+aHNxMGE6mlQzW/WwE9YAkJXsPMJ
/qGNPzSIZxP4uKwtOJFIdUYmORwDYeV73WsSftL8h5jHt1QlZ8ASD4xXB7bKjoNTcq5WE9g7j9a7
VDOCOPIlECX8FXUM8XnpL4Pdrw87JvdesUiCn/mrrBwmGe3FRs5ddWfa+tVHjHIcodFtwTDFG6bD
YNHaHnBgQAxDGdrV6jVEaqnIwoPuKE6GPvsyDmN0m8n0MUJeCdODZLlxXtW6dYaIHJpGmi03fGMP
2m6peu0Xkmk4nKP5pmJauslkf0Hq0G4VHvujjRZ0U/tr9tHYxHuCupC5e+NznSlzG+Zeesx7T506
LZ13fI4RmRSyuvVSJ763eAVdsK0XOrWQCWBdMxW06AdoKx+yzqe5Uka9G61W7/yBcPnbvpi+Y9f7
58TlDj27fUFpRwCB8ucrOqUTAZNcciA5NvkygutcoiyEBGBh+8CyTiOCgIK0b6LZy7+RbfG9TV1w
geW17T3vnrH349yFP1ADo22RVSMaGiLNeoVxUfYEdgREjMOzQGkhfZ8pbo7ssB1AaQGtPSqrrm+C
Ou9JFyiw5FVo6NtBnwbiTfKKxzAB049ZUWPwEkhh+M337li+W8vw3Sy4/uUK9J/VNIO+mb7KVhRb
bN3wfikQwdvO2EGY4O+qeboPK34HBlfHekzqvQQzc1uS3dAsDJd4HshlU5BhqVR9C5lyjV/h3jQe
tJgokPd5XxFjWXVvtTtAScqLLRINBgBqRIQInxkZ9CeoOOusyRc+gUiJWJYv0Uc7scpBmyzJbm6J
RchEygGJCD2nbzsSh+Ju7dTlPUlC9IiqtA9y4N+6uVPtTGNDRYW6LrhoyXdxbhrQm32a/DaagZbb
TCyGE0ghFC/kaIDvmlaEj2MnuClU+hk2uK9MEKX3Thmjr8sD67uTFSpMGr/Kjr6WNDsOkia8Qbzm
hPYeSus218Nvha++TAtocAqFdOOn5jZq/WhbLx4JQbq/8/PhobfUJ+36Py8aUJlLiLLWCoHz/D8q
Zz3pdcqFQJT8tvRvnOPedI3xoN2SBejt69L6iOLOu43DPjxyE5RcQmSzxI2fXCYiHJCQe69Z3MLO
0Jd8SeHPVQFoCPDbCLk3QeArxsd6PCdkoIR29+AFGLisBh7vGM76s/Aa/8vosX4voUl/+DWAXW8C
ToQamtwLz/+NYBEDgsmRiI14n2vxgRLueyKzbmcPbbVf2jXAXeUvvAGoTmamVGjKIKT6u9wb9430
r+ygErrBHjMDYzW/RmgQ4/8Ad7fKTqR/28+kH5JQ625zm4l1jVHmPvLnbNvn6D913fR7ApBw0jiY
bj1F7Erm440xtHQHsCIYZ+r2g1EXY7uS7SE93skz47iNk7IlCg5fb+uKFRlWPxXSubKerS6yU8yF
wwVinSAlY9NMg3eyLfE9dJO+VEgFaQf8D76uixiLu6lk4DOGafYsLA1pCbUdI7dKXij+gB4Fl9qr
nlQYsTIdghs39ghzsiG1m5Z1Ba5PH98DSoMmQXgMLjtJBBlsLMGioLxWsTgpazkVIb1qYRl/h62V
hQnt+Vayhl9VHQXQkgGI3PrhEYg8Qi4INhgrfzudf4tBfGQjOu14/R+2AfzvtkS6rlwnP4RdzuzJ
xN8TEV4bE+PUEbC2N+nC/JkQE7KPVBycqIW+ycb8szgBfaBbG0B8qMoV++ijHbEEQpF/VmTrdkVy
rozF1H3xbzyb9LJkefFHPBJqCstLzY5pnX5X28RGSGnG6h5W4dNcI3pt53Fg/1nXp/8HZUgrJjrT
wTDTyi28hAnpMtlSm0xQUTpYn84zLAxKuoUnarbY2zqmBXC1SlXcFl+AQt3ii2cWqR7is+Zcucl7
Jsr7RFowt1qYVqV8Fr51qmTyFqnkppGY3hx2l0gW6GGtjh00lm7ooItpHrVw4q27zNfSRtBPBjLx
XjVHLUKHY2341TwWBpkzlC8hwqadncDKcFNZfkTa5RgPy2yXS/cmjHzBLpyfQlfyzmOBedZKBmdr
rPCaVVreuKodIdjWyj5hM+UMJK6JbNb1RvGr2d+NRQgKLeRF3DpOszx5kr8sqzIy0CoBgw0jxoGc
mVckT2Q6tq0k+J2ciGzpMOjY9XPcK+vKLkm/25EceH4wt3i2JUmp1s1VEr6nezXd9GmkHmQWhZRa
1i8GgfhMoAALY0+qfQC8eFereiLlvT0OAwsmwM5PsfRr5Fa8MWz3yPJyl9ss4LQmllHTYvaILpXq
jyHjy93kAfdYGmRdZPRtdE4SGtxDzUnpYcSd/T81GwszmE+dAXzAuqM2Cgr8JphAty5MZbfNXOCb
GWOMD2N8Z7c8RMz/ULUR496143szo8G1gqE/CY97cBIk29ljx8ICFhhCAADejGHfGKiskgh0xL4H
KdjjO5kD6vtWCKK8S+u1z4u/7FVxLsX9awKmfNOEjoHZONF2Jn8cGtdNaMpk2zgVfh/ArhToD6Kn
qPSclON8cP75nf+Nmb/fdZb7yjf+WKX6hhMFHlIxOzTB2qf6VRqmJiMbW0IoLJErxd78N02wdpiu
+O4IRdnEa8SS6/X1HhUF3Bmx8JCC+NqnSAtRDOjHGTshwjZZ4lNBOOItkXws0wbGQDfS/SBFzYI5
PWTM29fExDddFc+hzZKRvSU2Jc2KDI+Ax5Iro9QS9U8kyp8K60JRxz2KOnMfTPwhbk+M85L4L6Rf
Qyyhb+Z2zEgTLjjeMLN8NlBVtn0SUEOQprAvSr5OJN64bvtoVzKe4axiZB3aMQNv333Hgs7iwjXj
YaCpRJxgfiY3fLRb1gUFtX0dVkd7YqkVcNpqAn2byL/XvlylwXdiFO+9qj8iWX36TXhXQ+x4LBwH
iBvLIiD0zVpr1i3omvhFxaGz78xED6bl1wDJAUnf8CdurRlFB2Wl6UWy7bLxvWKpuB2ga5/hkVCb
DRmFcYlhImE6v6/ALvFY55fepkVMc0lwWgYQnNP8vXFXIz0MgW071n9x+oQ3AF5LvLsNecme0xyD
YGa267ms2aPkk20YOMj5jrydNxviJOQACoC10e8HhltWVL7O9uLvYTJ/sd6TFGzwy3DCIBsv8OmC
8UE4lQRvVdD/TfjGKXba7LhYaMNIXIl3rT8tbJ0TCOQ54mHCRkpE1MmblkgN+4StXLWUDEib5YtJ
y8ks6avliwec3PbB9eaRZJPBouJF+ghr4jgW7nfUY8ys+vBXlV2HOoEYxhQgqVx6AzTd/vRkfY4c
QiC8JbS3YTGSA5jIi4dPrfWbv3ncEemJoSPxYrBIpPWpMf8QaXibLKBfvaX/pXVZYTOoFLiQviMW
v7Ttwtquz3lmCvIrPWBgvb6tenO25MqTDerw1A4GkyUrPKcBBBJ23q8nnZ3oDelR87Ufra/YDz6V
i1DKi7CQMs76AUOltlhC21M+4IqschxJSP/X/LoOhnap3sOk/chBi4CI6G9hHtWffTIMO2G3yOBQ
d2wxoczoQqt0V5ZZcWNZ8gHBL0bBMfwQvfVoFD+NHK7zwiOvKI43I+ZLlJWx2mH2GTZpi5gwd4Aw
Qc2qN8zMaaRDjzMtYCEUdYRuEmWEHaoEk2uBqSUW8CMMVinxRNC6W0DuqPvyrizIN7HAgs21uHWT
eNwj32Iu1JEH0lmIzxAsy52LY5K12bfw0i+0oOQrFe4pUfpk1/ojxRy88yz16BWwdz1JjHC3fNpR
/OyVgDFUi3GK3RU7S7Aj+e0omJtZckU8YbkAd168F07RMSOiYV9v3i6twUdnK6lJTgS6J9lvV1FR
+3yZm6mZ6DW1NRx0ktzZCtW+zIZPl6p+NxhJpKYBQ4MosT1wCOE5tJr7PEklHlvEYEbNyLNddt5h
Hp7BPuY77JslkrbkfSoquMnUHnt2h7/2WmaNNWtWt8+Z6fsgR2v1NFVcuDCUk3NH1AZOEFTXOrGv
juxYrlkQdXE4IR0jHvugtR73Q0g5Dr+Gf5lq0NEhKwramRlvB6YIPoqljizjT+Ar9VmnbKz1nHDK
SXMjKTj8weNyJNIiY6NA2hgTcRVU2D+w4fOcBIxUBOl4SwJ2a7L8Y2zj9JPU+meJJgsoU7ITnreT
AeC7uhv0rhrK6TBmC+IXv/lVYzEyLmnt3RI0kN/i4E6InChdl1WyB+pmyuNg4/GPXWoHvEkNCm8e
0IfNQ7mJ0OUqEznk87aM8HPsuOt+NyzZaQxpgKKqaEV8sV3sPgPBaUMR8zcZ44M9zicy0potajjM
msa7eiUjKrpNva7a9aGbB8oin4/iRkh2ceRPd5Qn6d7xiGqL2KJdvCkvENzPKSpuvqJK+G+F7VyQ
cI07onR7gsVHdcOKC+pa4VwD/BM2xSjSpurQ2umPw+ckerBfWJzRIJj6GuuIHrDNdymuZVpT+cia
CjSrU4SHbmnOXqDwzMbpvrTgbcgmOGEY8g+pPVNyuYG9c3ORnwZBol1AOjBHxzPnARTQOQbxpO2d
cke0i2PwyMiHFERJLbX+LIyNqgesVNXDYFBK9Un3QULxbmwNWzL6x+CSJgEgDgBm4hL0vdjGDdOb
TRkn8jFIG8h/jvevDpNL2UUFiT7xe6KYyrg9Mt4uIDeEEgn9WEy8cYP5sGtfx8AmfzDOBjr0oSbW
OvJWZKvM3zC9V9OGm6A4DMSzk7GprAdd2e3H7A7ZW5+n5lnCvyHjKm0R5fQVFMjcZaA1NC3RnMA7
qNglDmLZY1xcau75LSP1iOdm7c5SM6foVuf5tx47+0zgp//b5//j6LyWGzeiIPpFqEIaDPAq5iRS
pPILSmGFHAaD/PU+9IvLXttarYhwp2/3ad2uDG0/k64evvAwIbAnk3Eoq+TH5xC2ysoaVzyCyPSh
JkXutfKraKeBlAO1ygN8Jj22cT4tu910WVxbaz6imXIso9D+1q0s6him0AdSQCLpuTTC3sNor9wf
ldiQG0bOjQ9Ug3AQguiz61Jn/gY6Xj5NNMecw4ljbJlhBCR4MOHy4ImEc4D+k+kvn8k2jbFL20st
OEOOAeD16tgoJ1ulGfSfxFHvPSIH3Lt+z6FjrUgqrfCtWiQP21tdi6UOzFMdaWOZuXc/S2icvAAn
YAqfCZ/oSymy6Rhk9dOchb+jZX2q0i5w5JJDwPNZ4kS+J91o7nPuIH7XbJOFEY8XOxixjzGFN+T0
8xGODMIw8ti8qMj1b1JY7Qcv6RWTItyGRBlXxEVKhbBysEGFdSSMcJXDttTLyM/iWwv+hd+CF/Ts
O7wK/OgS9lb8F/mWCcCuMh5xS+PgJUSxoVIb3ULiXhI5vBm6QKK9a3Bpe3Rrcbh3g48kw+ExTFZ1
83uDatjWddDOmpg9RNMdCYdgDuC5NiQzgzEcBrt1usVATFuFRnHKa/DrmE2IodjVCNjAcZPureKn
xA7/HtluvLuXypB7Xfo4OCr/q5bjsh/brdGju4QMiis9xTFNNcXbMDhMsEE6fbWCVjZ4V6fEtbmI
wWTFlrhqt93pjuN3nfX2CoOFSSqADybSt7aX9KyZrE5IXMrHcM6Cf7M/vqiBSTbDCoQdpUOgopKu
mZ+Snj6UyFpQXCqzf6piqsJUue+N4ujlEOpM1/0JpujmueQBIxwaRGKSObrJHEZH6dXrGJIp8c7X
0e3WleE9cRXwgOxfXQf524/1dzmHPcO+9x4oMvHO2DGuRQapc3Wszb5bJIC2yJEL66sh8LMq3Emu
G3xMBDGjq/B4LSaJ2A4Nz71tjxu7OY6okneHZ9V92JTFLax6jp4KsynWI4k5ugOrvHj2fWuDqmme
MSjZD7Ue3tvIQktqyvI7GIzDaBf3ThCbU04Te+eZiwaFH2+B7yY/I/I5Afwft69ABwLEl/NB2jx/
6il2jx14N4xgRrqJm4E6A8cEn2cAyd6C1UjoEI2P2uFpA5rzf94jSWTWA5LyjCl/hEYZbGVttFsp
CELTbZJ/FnErHgFqURDVWATXZM/61K2do+ibjGZZKESDcM33efSR9lGGPhyBnT0px187Z4QbfEaC
ODJzfJLWHQyLIlB3bIgjO512ZmXrv2xMn8ki0tRSdncfzZnFP8GEQI2PGWIMXwKDDPh3slETnfOj
a/xLZf/OSfK3zWe8MnkEtED0t4LOHvgv7lbUkhEqQQgwsqvTGSCAg/lcRB7djcUmMhLwPOwvAocO
FVUDfJRDCB6a2wqLr6NeSaA6u6D2sPBA0ulLk04el4cSZbcQ5jFa6EjzPeAu7VS3h+V06kdvI5N+
74sIcGPjXNJq+CsGvrRp6X9FysY3c0DeGzTw8BQ8KSwcGvbEgyVHihzo1SQhvJaWrbGYMIWPmTts
mRPlqxrjj9wLr7rUa/rp62Vjt/Rbo4ksxgq/Symq4SnjsbcMLUSlUKY5T5SOWyys1AHXgrmjiQ6T
TuckRPQ58BZ8DtDhMabNlKdgELMIvBb5o0k0Hl9ye4uz9p87NNSBscZatENYrRyNdN0wOa7oq8P5
q7ABDSyrDWQqRabEiojdZB6mxFYNxkPSsIe0CXWXGVHjPhz+qsqZl1lKq4TdVQ1FsZ1a9a332OLZ
OpZOlZwtTYWqjTizihX1Kzb2/YKIb5xtDMuYT4aDa6+ymFCtpKRyvSJrkyRjvRortnqRi8lzGKfq
TNHl3bYmf+J8AmE2mMMtt5XzoIaMQ4uNiaa1G2MhvYoCRcXGlxAXmwo3/MOtjRNpwCA+ZYL5m4Q3
CUHiSTpsxXm0urPbU7MQeLH9F+Z9j9gXkBYfO3tdG/EPfpHmAORaXj0jawkmKX1tRkk/sGiIFMae
tu5rFN7WtCuMz0mMjXlBxKpcdxOv58SIKAY2ZUxNbRG2y1JwT+c0J+0yY7iDkTW+gA6S4+Cln0OL
6uhbhAvCChNyH17stDykuOmXUWQFT2OpjYVHQHHbD92IqcYr/8moJeHYdpAtAz9d9WoO2Yc7X0Yd
rrVQhG8p3h3bhi0gJjiids3SnliT1BjYEM9W7fhSs4zjxmEt2z6L0LgYnkYCmznRB5MDoiH+KUdm
E9a/6Jqp3GM3mJcg8hez8WbYf7bxMaV0jf/Q41yqAkpgfJrzr8bDxe16v7oM39LKoSHGQmnUcf0e
OvecTgBEYe4hjdjuqTbthTI7NOL8uca9PgX8VsZlbg6jdVXupYyTpZeKY5iOO0KpSHac1gO810UA
ieE5bt1/zQyzkpY6uhl3w2ztejs4ztWXXTBbCLYkIP5Jk9ipdZS8EWEdnKUEHYWsQ8GtHWBPxPRb
N/WerD4Es3Le+w5BHHqqC2AeqfWm7gw0jrzvuYOP3WpeSz94AqR5iGr28Xa+yxqqNljIC3axnbvj
UEYHrsYyGlbdfkjuKGTe+7WhN72j76ZDJoXcqvNjPQTNoplq+RDL7lqVHjkF0iTCM0/sUeDMZcMZ
6wMFGxGuhCrvXlXZnVXQA4BuAtopum0BwLRtrFdeRy+kRVls9Sdt9W91lP3JWVWHKLqfJXJ7n7js
+SKS+/Z0s+kPbID6BJO1i+MTXbEHnmn7RGQrIyh3LIBe0rnCjUARyx3GpR3rbFkF17fsP5M4/yMa
sQbSsPLVj8q9+gI+bX/vtKXDhVRBzRdN/liQvgiuVtn+KdNaFult0E8moUErc7eW/eUpfcj95miF
yNQibUCvp095b+ICjE697594Y9IqAdfPjvAgOI8JVerkqJ3sX5mFPyHHnqCY9o3r72abg5fXGPsk
DBcVstTA9+qlDAF50h6GlkQaOJWmq/Z+ZV95wfwqx3RWTe+uhwm7coMhzCCi3+WYaKS39GzxzfaH
wjTOHRXroqInMWSmzlHO5oGT5dGZmLM6n3h3OC6RgxBb2UXb4qh52wNe+s34MXo/ogKBJLU6mnW7
5ouy8OV2RbJD6tXI4UVQPGfsSBDhCKI5T4nlrWHIP5gGCKDgeqeDBKZciICISRPqp94weHZgGEjY
8U3shRHgGoQ7ONkTodjEIJ4Ij8LH5rdgHP+2oB9hRSAVNgJEKvyfoWd1HueY88k4UPKqJKf18VCm
PrDu3X3WfQip75sIiQI+TNgx+H27CB35FdU2FfDaeWunfmf68oap6skqpouy+sWYDAem/k032bey
Tc512QG7dJqV5XCRICmDKnuEhHUPb0MsNodriR2dG+FKcd6V+sTHuUHe6/hSXVfc0oQzB4Wg+AMp
kjaJ9DkPTnUoVHfspvmK++4wi7sFvjCxQHrpwcfOhcdaHgGCHHXg42GOV21VbQCu780SmGUXJezG
eLP0Cs/gzWoGZEgYUfLLSqcVHc2rcaA83EwOFIR/VyJ/0Y345aR3M3uMlDMPp6oeHuEC8lIx+jVl
B0+Z0b36rU8wKtjknbxk7ImGgn2QByY5nHm8xWKfGS4gsJIbSy07YjRODE4qp1PEVat2mA7D6P8G
hEKjcEaF6E+JQbcdFjz8LpxTAkZ+LK04nZM62rHV+OV4tneYJmg6eZ9b1pZB/ZkkzXJwi88mNbfJ
ZC4a6qWilEiClV3Se71GmK25vp85SPJg1BtTlHfsC7vneRWULqf94nmsmavcxLhR7HcMQmsvycwU
Fgt/eoYtXS35kx5SUkg9/sXWqOmt9nhG5cn0ZGXd8OBM3drhjmvj+qdFClsOyfAS5h2LFchzMeHa
OtwZ0nwqS/iCBK8o4EID43r0DIwyXe37W56FX4F37AeAfghNDYazJgHHU+C8MWW5Nia1Mg0aGeZu
PSQF8UlzU2iHMYzws6nWqSMJ8w4c9Mdt6WEexoqhwDf4Ij0XiHkN57mwMk6ZsO4q76XuZkoPaJci
z+UD0HEYiTV0rlBbS0gJBqcQbGovUxuiOme/OuSbxbuq4ILYrvtMSeCjl4DPrBz2SgY3q08qMEc1
Mb1w58/uh207pzBqb1FO1SVFY9zZHo8mvM48A0xko8i0fiXiKe6wO9tPL+87bOVDpe/uHbo5S3eD
6JPHyDB7/9AXLhzq4SPP53xm6TZzssgI0zXZ9JcMb01JI1E6NofGwxAJrr+bmVHrahXTvgenE0DG
zms+inTEWWrsysLbVH60cQOG7JAwLKQAAhdlnHHoCDl7yvv6sw2jJ5XFH1k8LQ1a6RnuuIP+Rfo+
a6HD2OmLDxSMHy4D9JhagN2IL4J4SXxFqbg2AiClsF9dvgCPK+Olbesf7UIahbtKwpXKsUwtGxWf
aV15ssJDgUc/7PR1bItr1tfnLM1p4TsjvC5IILFNAtiLOgmseSW88pTTP+NEakUC8Uy31K6SNlhK
WXK/Rh+8xX+r3n3uc3oVcCYzYcgHWkV6KGwCtYhUittD1bl3tAYzJx3FXmIRBC0FIWBgwGoOA1Gu
Ebszstk6yTDI4m3LXxQEgVPZzS3hOOG9G66Ny8rK5Y1fq55I0urlTBVfb6Fb4nDlCWKgbbrqo8tD
pjGgZ4s5T+g3jf4JVrGr0bFAIXCabSXDj0EKvpvHhd/fN/yu7IDss3Hu65IvidqQldk5be/WLy0u
OpqfDLvaYTk5+PFwZ27MLHrr1850QLNGVH2E9ms9MjthtNn2vbGf5XRGBz77VdevyLnF2177j5ll
vcWKdFnJEUn0wUa4hv86mPNZcnIxCBnEnHXXeCmbTYQUv/UKGjRZgJXYKH0+Iowv2MOEe8nvVi14
AkQYsEGv0pTG63rYphXoVUVjCmYZ82kIk3IJTfONI/gV7f3cIZMwrZrQfsaPwh0sOp3ZXnowGtY1
eboVLSqa4gEORzn5gC428otv4Opt6K6riBIGXrm3bPhHgpkt6V0SqNlNUHPHGEtSa44A1CH+3ZmK
8KYmrNrDnX5QsPiPelxKVcxTxzPAuhmd/En4m8UkJjhGhEAecPIDRxsJDOccgBeAP1ksB8c8Ms4V
Re1u2lLpXZFfEZkzLR2JFXPI249w9B4HDLDRmLwbyVCttclufrL6d45BW1mJnaQWqB+OhGo/G1Vv
hijdGXNCa854isqZh1xAZD5Y59ql2XUMHjj0rWivw4raAJPkhkX0+VPqMZ5ToF1XXBMLzRorr3jj
CX3Q4RttMHvtFHsIC5uEnw/PwH1JoVuciiUO54fJTBe2vEvFiuRmR6yfAocAVTJw9vZY7yR5I+xq
bHSZQrb1vNX+VZPYcTns2A28HFHtrN44WjHFmZ7VbwKkgQDqe1Z+sZ1b2NaXCi84nl+LYCd67C7k
sO44BKB8Dw0MzqZ51umPRQJxkeh3LFlaMuxb4Z8M0n9cnocSP1wl0H9s+Rwo60kPLvqNeMSIgQ3R
MViJZ7cIqP7MhMZegiW6MwebXugPNBxYzGy6jdh69znZI6W693I6D0m8uggoKiwuyDkEt4Bg0bKz
8ZGDOihPeHsg/3og+cMGZBh5A3+j+ZiXesbxm0Y27V6oNPmfpe3hN7Epa4CvghHz3i1rAsjRrAA7
ev8Qz4YizlYWQZ+N3ZQavK2YQOE2OYXMToFPlmPeFh8CgJSYxkk5rTVxm0UubcYLx9wCSuGbEtU2
dbqDKbx90pETVqBp8jG88uIg1lUupGsQsmv2IiW8YccQ5QMn3lSFGBZNEh/tKXi0MdMC2iVmk/U0
jHeh7w1LoX2yEz6XACHiFvhiy8ZhxtqxBURvrSMwzPpmFi0nsNrNq99ed80jj71kl8SDdzLTvNiP
0u+5Scp7W6stuKZq/pEyGG8RWCx1V5XhplvfLYK3TnBTOx3A5Ug8FjkalWtvtFG/G17xPRhtebEN
/61uhq1tu4deA111yB6vW0B4nlsFDyZGhapl+A6t4NUyQ+J1Pa01saQPyxHyI7cTwPktrr4YSbzO
NfYynPuWEX7FLkfcUjjfaTO6C7AlS7yOxN9MeS1g0/8mDfHkln3bVfUdeDAebvYUnc0BcoqKX3RA
aYXr4zxTqX3nUvYmLxIHkTs6zBWPadOkTy1w+XcRm3HkR2bRQhRPpJO6BRmTNa0Xa+nNZHgGmAF2
XJS3TnDBabdkhkIPZUggSijyc9QMZyMTrNdVFj3Kaf5pBOfI3oVYR4IJZyQb6E1qVWAGgAs9gD1+
K4383RnMX1rAielbg71Lc2rihzkjXSysgRNOfL/Ka4qUqmrnsc+BXa4xodnhzqGMnIPdpu2Gpba6
banTv8yjaiYThO91O1AlGRqHmrpBNqzzK0G0tYNBdS06MA2oBDBS5xqHQxmkDyzvy2XbgJGmbOPN
jeOG2IkLd1oCiUuiiuNU2d0KcpeuO6yjibh1xGZikdSzv0GXBinkyA/W0xav5DuGKqy7CCjcaG0c
jbcA5VUCbePQls4Sn4el79aY6a25k85DUp1Lt0HOsfuak2GXo0jr1tdHL1H2DTtEujRN0B1alS+q
sbZJBf+1tQ681c95Oz9KU9DiCJa7TR/NsV969ozsEgw4tNS2Tv0rwYG/sHV3U15flFmeTd0uVapP
snX3DZD+1WQaDfla8TgMZMQINTn7wYn+0aWEHzyh6asx8ZiZfgQXt9uNoEUrGtiUpg7aBAGuKOMj
OcLV/iWk2FudIpvChTpi16f99lKb0NstmNEpscog4PPpJEE1qaD2WVSdDUX1DYqZvHL613ue85DW
KOFxmDz5pUMoV6yrNt2WLM9XbTadCltuVYhNGoDJyQriUxaK18nrLoFB2n2qN6lKXz2ip20m/8K4
blfAg7e1CH7q3nsNs/ioShxVRpg+DZaBACsRNZzQ1q8dq/xjBFATEmaZXqHLI1mavdN+FKXkWdy6
kd1R8tLMvMKH8prRa73X0m9O1O/1L4UxsbUoIjSQOtsxLHI5dNOhzwA0jd6458TEGCLIDkVqCqg5
HzjrOaPN476ppGZhYZJb3fGal+G684DYPkmT+mi7cczVzFSAPyUhgCgcdHmwQ9F8jiFyqD4Pnie8
1E9tleJh65182ybikiXercl1vUALZtKxu9+5HVZEZGtIpi0NI3l294khSHK4UczqWcsoixWwqhht
yPOFK97gw6Ppe+HPpHxAgDoDfAIGmqOKmCKApHd4JxbwLpJ/feD/1gVH0lzStZeuu6ylfFjnzAOY
pf3CAIABAsUW1fQKFGJpkqkRFZLVVIZbn0EdLpR3bKiSYszHml73QO3FW+pCfF1EVEassQWcCg8M
CGXw2CrKMTO3Kus4pxSUkt8NMpLIekfYoIzj7yDkwwhD/8GTNnR3I/rW9biAn/jsoyg2NAUsoFZh
HRoljil4OsdhTj79kbc6nNI41mez8w7aNeoHNqtLc8L6bdFHEDfVV1d2z2Jg7x7l3Vsu3M8Z4BYf
ev/LQYkUo5n/Mxr9ikdpVxko7RVxML5LRdod9seDXYtvx4dxU7CArqU6dY21m4z5ZnP7wlLLIZp4
W0mVDDg93hdqZRXdicxBusSn5y8Kq69Xjg1mprGApPBpobLjS5Q99L9OrAZvXjkqv2Psl0pZ+3HS
qDfRyRqjJ0oawoVl0BPpAOtascjKtxTg6s1YGPmNaCOKctTfUsM+dUS0dBV/OK17gt7MG0DxZjGH
ozGLv+pe/2fPzRHqFVt8hBwcbzX+04r7vLI3FryXB0q33yrXeYkN76fvo1uQUPTT04AMoAKg6Zvr
g16Yx8P/zh66rPuONcCQqYtvsWcQ2UbYmi05/qmWth4jvLY2WeTCtM7SFa9pa9+k4ZySkImoKT4K
yQdnzcAfZsDO0aScpTHKAda/ardTb9TreyLvwZqrt6yB7Epu9UjCK1wMivRQKOpnEqYVkJ5h70+Z
5pfD91l0AEbahWqCjyanGKMnkP5/RYejrnlhr6va+I0tMlaOg+xtdq9UkW1oLAPUaqqHZhbptrW7
d/wf5yo3b6JRpAe8edNmlJlgGWSmHJl9phQPhqWCFSmA51rKTeenT47QZ0eRwsMvWp+0ATcn9Zvy
koMPehjRzB/8wH+2bbG6nxQ1AQbc1Jj2iWR+GkPzonNcd3l78sX8OHg5tmI5keYYDC42dvakSVnd
sp8ZaNJyhP8MHu4mAc8Spd2Yd8IpbQO/FQEHs4CYGFcrqzZuBGG2WeC+lyzAmMAMdwFQ/a2c5qep
mvbeaO1oQIVBIqa3uM0OVooIJYLs0e7U39jg6LTjEw3L3oOs8hsBJJayM4M+2iM2iwtchE+N+QKf
f++tZj/+Vziasaxgv6EQBgwODLOdHfELfdp+/WZNcGexObqAQKjfsSJQXZMIaXcU3SoOYaENlhRL
r9LmWub+gc3a1c4cDCDmwR1JBuAObEhicHgCHMxWGDsvyOKQvYQT7yan+0ij8tEteXLhjdkWab0R
QOqn2f9KqWXHBl8VZDICgYLQxwuGyXQZkGrYkuDFFSCwB8hsNzsTXTr+aF4LVN+bcq0fZXsgorNg
0QbU7+ATRiSIDEBgsUf3D8LbtijUGTzNxejHb+2HxYktbcDhl4wdfjh0Ekbk4AE+1IWxki5BgIbZ
OK+07V4DL+d8k+/BnrwkTnstiUBTrbSxO+ftzim4Yx741Ac2NvXzSIqE3ZO+4nwhTMSJoHIpI6wV
nwKXXPZcGwzQtbeh8qFb9iUrb6OVh7gIH0XkYGbK7R/y5isUJ1g9QUZPCXGqgYtLUGJbUO3Es/AK
q5jGcZJjQ60h9M34m+aqOKFcvzlFc3RCh2LbzP4bJl7olrs3dW6SEUSRACTwbvQhJ6WSB0ztOfup
JjE4ee2mKJIPMapvu/ex7UN07WK32IYDblPuE3b2sv9nCu2ssth5xsW0IVZ2QC9E+abz4AEbjHuR
JaaQdaZrl8aIahNDv8LCTwmiqBrxoMHpQS2kpHQ0rn1fH6idzlb54DFZl99Ty2M3Tt2rAUIJQ1px
itkrUg4HHAMI+Uqn0ymuEH9jbX1WHds9jPMG4VYZ1Wetg++YFod1SqWW17rvbVv5D6Vmdzw590iv
Ovk21w2rhtep0jvTQ/TMa++1i+JjDsNW5cS0O06lveQVZk7+YfbR9cCPFPu+tl+Enmm41GerRIVq
fP4C/rCGupWdg5b1cOQTilFxIpduScCnUdvCtT7S0l2PqbEunMbfZD5uuDGT38THF4WGs1yZYuQj
n7ZmhxLIffsN5/HqtOXe79N3YWbXvPcveeiWwLCa+DGiGZ7MOX9MF5VukbJIwFz1BCH95DmmJljK
j8cm3WOO/sj0S0zB4n9EJSOo5psGvKe5PZodXvfGtm6pC6S68grUM1jKpSzeUhzoa7NhkxHCNZnd
+CdCRMEe0h+8WZEC7L6jTroLfFIssFj4QGryu1PM8mMt4ubXTVk4wF8mK3APjr6Qs+dg68ICkZGd
b4SI6cKqOcL4jbXJR0FKvfRu5lTSUCvlojRgBzejiaE+N7/d9A8T5hbPX7oo6LYAj1Wj8CVDzauo
G1YGNRkrQznHiYoom9xo7dMRYMXLxsQ3UY/qkXGQljl+VjvDM9pVldjvrZd+4/bhjgM/4Xi9saQa
hv5UFWxrMzqVcb8uWBvB6nypZcSHmJwoKf/EiHXobOcxIjkXYiB0VO880LgMaNMnLOMee0aBTTQ7
xXHobU3PT4YrqMshMceseI3MvbpE9ggn+vHKxMJJOIiAbee6LyoVNtoelGRVpd91TJHNhAbB6mXp
T+0yFvz0glqB+bLFa6XJHtb1JcXj9SASnCGBfjT8lLyErXhgUCjTR7tMp/IhTedPkQa8UibvZ56j
g6snjFnMj9UsngFaEHVuaAKG4gpv27RJn4vAXU7F9EqgBUKEEeCorNZlArEj9ijL9f6xF3xMZ04g
TjKCLVIXc7YXOZqzytMvVksH4rknAkywQ6d5Xs9um+xZ5RIPilBEar/79BJjPwouN1EiW6e2s6lM
h6hDVgA3ij66sf1Ik/GRlMJdc/2YTG7ELsjWoxTw+3O0qDDadVa0V162UlW1ymccXhO7ZQx+KxF5
W7gVPI2y+qChGI1O/2KmLSA6nkk86cWFqPSWgr7PYoarlQXFUjLCRNhKutG9+B4BmEK+dq1HM2xK
NVHred+lU7wOdXNmOtQPMrgXJ9fVS2jKW1jcHaLWW656ZM8YiaJIWAPVKt+mdPW4nvXRW8GHb0mm
5Agu4Eh+4lh3sF/7Vn4n/Yx+COHlYnaWeJnz3nouVFs85TS9rmVY36oMukmh4fxigTmwgX0iRvES
u+FHMtivjHgHiX/ZtNN/nH+brUFz+4NU+o1x7KLD7GVwcjbkOWeWdvTo+4xJIzrerQ2YMcnEVVf4
w+STWyLxxSjmcxl05rZK1DEMk3WIh4IXBT7hyqF9qw1uE0RDlIlf4VsfyjFwLnJYcDl/5bI8AAzc
RNV4KftK3DdRKFLqVAKL7qcx5xcG9ia5t6IimncWzQuTNPAjm/2LCwAO5LYLvTxYxXLis0SBoq42
ZE03P9PNp9dplVYEMpx+NdWT+VjPsrv4tYKsYva71B43stJfKBG7ujVW5PQPtVHli3aOvyDDXioz
aLfILeJXJlKfkWO/XQe6c9SCaXLyPyPkmO2Yz7YrXjJcHAte2MfYFffSp1KuR8I0VzNkZHSHCsah
K5NjVFsexeECtEDX3ckQfHOrbAocCCfWu+dLMFIT4QcVBm/ZGP3l1fDbMXk8pL155m3jL1oDalYS
Wv9U0h9zNe44DcVH2aiT9NXJzCE/KA4KKWUSjj36vPya8uB59JHLJihPotXyGQ8pzyqE+NI69Di8
EugvPNvhabf5zjIrorCKCpQ5e0J6Ws51+dlY3OS4vFaBVf7FbXlFzHzHI2Atasf5RET/tiDUC6K/
URi9hyGGqrHTMI0xNzQNxGfIGnsrFwdhwhKlXO/fJIx9Tal50jmnifhmZOIQ98LpICvry0jZ4fNy
qg4NmtcTPmZ1UIn210k3/Itqhtti8ImYE4c7gflbFla8Dh3IoGKIF3qSCLuTc4raijhNnTz2MxMd
u4tbYQmYIMN+jLF8z3eRD4HEjEmgNDZqdQKRhw/tEUvzKUo84tItu+1kmXk2rgf6PdwCRwZS9/y/
vL8Qnudu7ql0J3wBGLVFXTs2wX3pEFfES7BMyKL8VySY+lr5HJLBXagZ41RfG/Ve3HXBzMJk4kWf
OftC7Dbxytaw0qvO5xiScIfMmndRM5h/fDpc9hrgDOgpHp6wGgJv15r9JYjmWwUWd0wINTg5/iur
D7EvsFvgdGjjK+ie8HcsJRZyHhXAqRJ0zwliPGHl/zue0Pmc1lu2dXcIeQhnDX0Fd71S29kEbGbb
8v2jelg+28NyvBQByyMbsJMx7Ca3WbPy57/lZe+WUIlHwInLsRyus6qp5gk3bul+oa7eHYDRc2LG
zYodwRa0Dl60EmsqkPiMuh3SVxGuYISQ/QRg2x8McgzzbWqqdJEH9A/owTKfKt8e3+qhheha8uEm
usXFgxvBLHKmJJ/Oy1LqyzyU58lVt9xs/9oGokVjUocwf41u+USd2NaCVsauciGcuwbtF7iYrV2l
LLLNrkteZyy3WWwaQBIY1vyQ2wT7beZ+UKYxsroFutwtopaJv8u8F+nGL/iqAHFEHm4zoQb0mZz9
Cj0hi5yGq3uKrluPRVkeqlbkh8YsT6nln+2k+2bW37HpNnBU01cClD1UKGba3ofcsgtZ4rijkGEl
nO421mRpUP9JLNofQSFvXVg3pGKCqyS/b8bpSkU+rUxN8wIUj2NEiIYS3OtJVIotufpm/faZ5/b6
zq5C/2AFywsBRWyppwO9kAL2WL0xzPazj4AMeZi7o6n5TBtOEDyARjDwMraDVWbUFI877nmQPUeY
IdqiH3FiqVN0xNB9w/ykH8a6LNchZuV6wKs7MNktk4bDMduMl9ZG08O29siZ769h4LeAw6074toU
uDbXPrG4vaN2HwX2Ma+DVV9yP0OAwH7vGOMqLLsvyZt3SkLBi9PVyzYco+NgcE0UwdPc0D9QCnqy
sD/s7j4rCBScBvo5a482gdjH3MFSAzvr1Prsoas+47/Pj0wWbPOJH2yGIXwPbVFiMTMxZHqsJcm1
0xqTlLW9rSIPNH4XQPM2BGt60bkvnVexB6eV8i/3jO5PtwpmSZmXGuGbt5U9c8vyBibA1ph7NhR/
aA2QLRN/Uff2dH9Wv8QtK+Di3uUFnFwtzLD3/+mUoHRYAhHv4+dy5Omu4JuW+jYyLW+gWDV7bfnG
SZSBv7ZMRx10w3cIGtNkwOHF3tyrbvHFx18AtxvQBtHwH0fn1dwoEkbRX0QV0EDDq3KyLdmWZfuF
chpybJr06/do36Z2pzxWoPsL9557DNzhiflO9jBEBpj5wr1VtbUfRfYxkhWhubSAqA3fRVE9Qg19
AuFBFsUcEkggN43V/dqWeuv84cZzNdBW+s0qJoeUnMCTnYenvGA5k5aRf6T/aNaDn78RpLCbUuc1
K6ttmHTE5ng2O3LZYptSxbI2E3Nh+iA9XU0PDzOfpK5gPEe++WlkuNOhrz1Z5IovshEJZeqyyky8
+q2R87pGmZ7aBj++O8wF/XsxlZLJN/0MtP9vOvrHZGz3edT+1IZOD12AQAX8AKnvZSxXhdP8eRgb
F1RE7hJVCPsWbGCLNJy/EwXYX2fOZczsx9phAakKSgxMF6fChRVPyzGLjphtc281OHEGo/9X8+1G
sGPgexAZGUhODVK/oWJGM2TdB9B7iYaD3M5tUXMdSAaXAfVoxo3BUZNQNpBGwbIRoT0Ty8Dn0pNR
dSMoKHwWfrIH1pkvpI0cwkz3BJKH6wbsBqpdpx3v2O2XQIn3kogWMTfH1gg2ZWjveq8TF4+4gixr
36NoRgBLz8nMgjDUNsDg6Kns2jR6y9ATtnf8PmTMMCdyiFM7O4AA2VtC3chkYyDGIJF3J5gw3DdV
MrPDCtXK8ee1AXIhn6q/3LYeyRiaCQOuurXT4ssta1ZciZXBAYS0O2e7YkTNgr8kWzVRz2IrnkIk
UGpWuwnSzaYJQkKhWibTfvtIRpx19+EMlzbzeU6J3myT5FCDV/Wn5MVC/tE5qsU+QCY3dxdqfI+g
ohl9HIwuTGVuvu+VYn6celsj4oPPFRyxCHwpFqhARt+OQ1tUDk+qNAJe1Phuedld076LnZTckuRH
xbSAHOgbXhEtBOhiwK4uoxvzXwWfiVDAxFm5TuduKZGj/RDa4xFQzvToBu5VNCOo625nkyYvhvJu
rbTRmGOtKDyr/OiUSeKRgo6UiBpnpUYpUQYFBnfcRHeSRJxT/plkTqRZ/hyUw6dEDLcazJKgApEt
xy4+F9Z4isNg3zGwmLr4uc3RuJTqGshpN0dw/NBnOZ33VMfTD6N1tbINVAu9PQ/73sHdJYwHWXPe
zxU3fsirXdQuDh+n818d5a/0OH7EKvkXWhH7+SoaWNjjZp5c4KW2xNFdu6eunJuNkXktYi/c8mZn
AHfP9rUVXkBhrOJheEqG/Pmuvmk7pghzk/4k4fAyYdskmA95gHXMWHIFLjsb7sBWuW+zVz+WpvOs
CkSlUdRBpuY0gE9fbC2LA3hw9sICW1PVjFM0MQ1d/cCo7g5rP4ZTN1Fzx5h0BS7WJkKRC1p5xfjy
mCPVs0rnM0vnExLEXedkDFULEDuzGOWeLNLsAkedchKk1j2R6gGk2OPdqcWZET2PuFOpxYe3PsrX
lhzcDSuwZDd0Vn4KmMk5jDbcH4mRquqHF5FV05MfJReN7DKyQorQGkZSO9DqMOBCYVYTE4D5/y8v
3BbIgb/tzHts5PjEk0KrThTYKppz4zBFiN7Ctj14PvlsfPhAe/TGGoDv3xdzLYYNf+ASqn3SSe2M
pHofcendvzLY+s+xEdrgmNpNusUEmQYHk146k+KnHwlFt+rl6BE3oqxjWIeneUre87R7M9zm5CAj
Xfhef6Gl9DHUekAK4+yYxuInbaZd1voUSEb80RPBjjETJE+RzlAM4nwtseBuRKsYSDjjZ0RgK9bP
dRqRTFHHGOfb/rUJQ9JT7Kk50m8cKoMjkA3Clx5ZgVkDZ7/vORefcE1V5Z+l7zPGgiG0aUz5YXTk
MDlRkT814GH3jeH+hJ2xE2X5601Ovk4HiUgPrF5IV76wRJ6gu2QRzJ4eOgfiMG7v9iyG+mWCo7fI
qJCvJpMT7nuLg9QkyQmoDZJn/Z7Pbgkrwj5lo77140B8xrzNGhbTc5lg3LetO7SIGWDIUU9q5h3E
bzxJD8dibeNzNUEdNVmFS2Vqy0M3q+BOorNfOyv73+Y+1u950pMilJj4G+Z2i0v/IcgNdie9eUpn
qhXl+lT/AOdK2Vnbxm44Rcz5jVX/T9VrpAJyOk5O8ZsCn14gb37SVr7jbab2cMYGq4vmyO2rgyY6
HQbQQRR0CL0C59IRTcE49k0T09QohKbYaAJyv/I/N1N30KZA1OEMy7wmdIC69xow/ABYThpq5K36
JrgCaOBmakjY4xf1zJEsUHXLOSzjmG0fEcPNLgy6N4vpc0T459qz8Bc4mdxiat3NXoK6zN7Fk7Md
iv44qxYbqvMKp+lQzMGFFuDXAuwxF+m5TGDFlibfHxQ5JBjF1ZMgWG4ZW/otqVHCl9Pw13jxewzi
aOGN1U+deI9c60jjbQbsRpA+2RSMZK+APXPcpLxQCgtmmTrYYr0XR9KCmYQoSZEodPdnF1x0OXa9
VUO3yrdpelKDfE4mvjAYap6TOIlRIDCobdLvPonSQ6WhAKrOWbJQf8hN64aWxV662gf1Dh8hTDXu
9QCvQet4H1Ze/I5pu48VH25YKXSvaQcwi0lRbI07c4r2ldJ7Be17gX2+eA/rkp31zLJ6FHb3aPa2
2Hl0iIucp5M83D4/G3lHYkqRokv1AoSfZNapZHofDP/Lp6VbNyZKu94hEw1u302i5F40rtRvpQfJ
mXbZPeddRiE1GyiogpbIZsiFY3ocRN8/ZBACk8Y9xvjy00a94IblGRD+BsXtkiXZzof9xbHiTMty
JIsXUwCG+6ahogymvymdjwjA35vW8I4DRpI1IgyH/kaeTelz+cJYfoihG1FR5P4OShCe/akfZLTA
rNgfGtYe6APZb6Mbhsbc5NnEzctYoFiTu64r+LiFf0NPBdWFurYFpM6LXKL6sXH0thkjbd4eo93m
2CUw/YCcok7kCMYQ1gFuI8uOKNVJIooVIdCZRRRE9boF9X6obB38OX7NLRBBCTwPqqDnRegZnaYB
Gk/CuXtzRUcx1uW12tJ2wJZgJ+I+icAAaevxUQ2tmg4wWbKvrhi8fZQhz7H6sjw7huaqMUxEzpy3
D6T/mBuLV0FsEymre8ATCJ5GOD4EfdrFk+EzCE4h6y/JS512mlm+F1X8PiDNjE+/q+eVqXS3ZrPH
kT17kIqMdg8SMuT9b4JX1lHdMjal3AGs+c5dC3osS4ad1Nm011NkvSYOH1EzxWrrZQaluBfRtmSD
9Tgrx3+eRqHWbuWmZ8rm9Cu0ati8dacQD3eOhjlsQEwPQr6StskaCLGR/1wPGFhIzVarllDLT8/V
7EiHKAdyzcUXVQV2IYPfzUwYCyPcp9dA/sBEAG505yevnkU7PLDrpNPP5IqZPEimUHT8Pd+MD9pz
582Y5RK8Qg/R3jSKTxSU8zrrhd62+Th+9ojSFqXD62wCd36JWFhuxZynkOFLAFpe04J+8HweOBvF
5caEzV8wPNLzvwi/9ANexX5Vc4jte0ab49JzJ8nM2vgUQpp702SWFFfWfaYxxtyxbpM5W6XoJrWj
h33rFipYufUUbIHflq9UPogplFVucpIGoJAiAGYIQ6HNNLhelQPSpCKvsFdjA38o6fm23CkROFnl
EhszDnG4TVkZnNui++eCD98OdUh06Jx9Irsju0Sm463X7oeZdLjPzBKBEDOEiU/E0M+DIAH4nhaq
6tlDvxG5C2kV9itz7J6frYfDVCbpR9U3T3HokscoymQXZOwQ6UZRVQ6AHA8AIIbfeEYeGJjefSBA
LLJHVb8IXV2wGQjE2RXcIKEzGj+BkakbSgA9gm4JjC0XAvtez6zzT/BMEf2DGP4JTagC+Wvlx5zV
6jjIimGLHej5tWoG8dumlIRGYc3rMGNVPYO4rqoSRB25JWTYxMRGqdF75vXHPyME+mWdh/FvkjJE
TAASH0NMwZRXrvkw0vkuAzqYXat1vyozq1s3HUHTrT02LKpJOEnSZiZ2TX6XKPmhfNxHjhl78HWg
HFwlg/00+cawtUlnXAUe2L3Rmfz30jGvUgZMovrMftJB+ob6oLgk3gzPobLrU2402d6lLFyTj8Df
I/nW3KD2l9swl8UauapYRaiAzqhem1Vgxnrrk9nHNrlX+8As7ds0+PY2jEdxgjNm7gGDmEsvCZjE
RGxRUf264SeXS7Ek7J58XKGhltZxZezT0WfNXoyg0XsSeA5ZMkG7ausBaQWQ+Jz4u8ZgoKS4+5n9
pxkT+cDY1KOBos80jWPblnDiFfzqvO6iTzbEXySgvvdDxCC2+QHJg9lRmk78kfAo/+KKTt95rqOX
0EW9thp0l6J40gbvglu3p5QkNg44qYD1pF7TH3ImCouJqNqVzsqZ4UNdfru0a7egd1EVhtpBtWjP
JTEOE4Z0oKcLYjDnN1+UyCHq9FgJy9gmnQ8rqh368QIIo9nrTEUnK7Lq51Dl1bG2sC00AD/r9WwK
mni4j+0X0LV218hJXMJsnm4+GWr+yiuK4F6zxbwBGkmPb9U9LUnYfRCv5r80pCUT45oF0b8653tn
RV37jqTwkXpQg7/B1nAHtFAfI3QiI3nqaHj4LOFuztWbN4ia3PHiMXUxwjAzhtUymeo7FUqcG0cK
+cg1GulFGAbxBtt0sPTH/sGpWTP3bnCyJLcmsIuiIYR9Eu4PdSdsnT5kekINHP7lCNFeejBZ9dGI
8kwcslJN7q4YWDNkYh7eWJXTfRM16pBYjbsKg0Kzl7iwwbz1CfpLw439F0mVFTPptZIecGRZHZzE
G69DfYcPu+beKzQdvoif03LaahKtiMmz1sgED2NtbmKRnExVHmI9oXjUH31OxFYV2NZyntW1a8Cw
hIZ1cdkKz4M8c+y7x8EIGUy66hldIE4y34TFStPaCO8hKLtXo8CLUiJw4vdgVdLmX6Mh+1VoU8+S
dwGGpXfWLT96USNBAABVPhQpVyMDyGqBJgMCmiXe4i75q7TANNaSBjyox8kdDqWTOGRNVevGmA5u
hpxlohorCUay0LW7QJGZ46JV7PUlCItrH6TDqhWMqgtZHzwzOoWGerkTjlJ/foqi5Gim+qd3sMG1
DV8hY45gKRT2J2tWBrOl+9TRJC9mH1+XP4VMwNvngEUSueBvWpOKp8Z5yx32hKvw39B1zOgYJi/g
XzcEyJQvPM5AyyUG9QZJBw/PsBW4ZzDttO4Z40NNwaRrTHFNbu+yIpI/gYeyY2FihMHhV25KxH7L
aC5Ovj+4GI7bHYSls+1XCNTEMkDS3QbzmbP93XXKLdUyZ4PnoFMpzUsTy6uZ+I8dDKuqdl60g1u6
Cs0z+I96JSLvSoFPy0koOQqSmBMlwTgdMKfJjTMeF/Sn/vivn/Dnx8alkw3tVg2ay23H1350l37Q
7MweZFQ79SWjbFyAQ4Pn0LA3JsaHVWYoMr9aIAcEI2b7IsR/fy+GayCBIvhWDeuKiqjKRdJFj22t
vtxWU9TW83kig8b3GY1w461rJb+GrDsoP9+aQK4OCRiZXTeFzmNaZ6RNA/zBT2cKI9+2AdNHMTHA
M3FdKKYqeLqWeZbbC9WER+hPGWZ0lH1yaN+EKF/LCsc/iBRYy9x41lhfSPmFkhIZsDXsautxp+xT
L4cF1w8EhzLIWXOGxyunaeo9i0YGw6FYpXnGFlZSiaHjNkCwsjVCUrLBPvDaM2FmI7a2SLib8N+F
mP4Q821A2yy9LAe1CEpOinRDBt6mFw2flXUMBpseEHqUbYPCGguFcK5mV07c577kiDR8dJlqzHc5
SlthDc900NeeFWoP84xZJh3lNnLiQ1MROZfL7mWaCrJt2PhlCtYrJrh7gmtetYeq1BtZ2V+qgqzQ
adi0MF0Yut0hjOUOVRcZU5wSFWN8JJWOwYYzFPtk0jCNKnFi841PAzDw1VcqP9JbsYkiza32gYhF
BHoL2ITF1oc6UQ0h7kkfMrRArIUOOZouuMZ3DujnGgWZI2Pm4MXFc9FEjfImtb7amOUGfJ1tr79s
y75xCqL6wX/vDZem77eDYPkXBzs0yOt6QLiQEss0Fx1n7/xi+PVPqMM3FIZvYSr5sgaQj9sT9NwM
UvV8sPFnajHuGnyE95Cy0XwxcTMhUEkCCC0GeIjg0iblhhKeqi45NRhqGIR9zKwJqu41YPycjDat
iCj3kWwvklQrloOYjpyVYbg3HEyYpN2DgdgF0f7G76ZtVfvblreh97sXSSTJJAOQIg0pZOHa9Gm7
S4fUcR2KhZ/5myZI93kBL8GMxAcG8xc/6XZwzfHEI2JV5cY2iyMdfoSXwdt4voksVa+jqETzEWHu
G3Ce3t8YY2JMx5CfigJdWtt/EIByaFRwy630VlQ1GQ3ZvvWnx5kMtxa/KYyYnbTCcxUAUm40Ccgw
egv10LjFzsysB1+AFm7KJ/SgD4YRAD7VjzUKc99vXuFdrDp9zxXVRyieD9XUr5WFZYY57ELGqEwz
9ypN9ehnGFGHDPWqhdXFKCugF8ZTY5K1EXfxnsd+709619bppe7iZeoAMlfZPhg8lBM1lR1vdxas
h2z8SNrxvhhYpp3Gwxac3Tpf87m+ebCXi3J+K3T49f+whUV9u9DKuFlm8NCTCzfDg8RlykFtLJTy
HyR9bN7VF+gkBMw429h1qmUzAQGkZ/9yfLXLmU0nBlqHiDnBihzKlqiKycYVjvyuzs2n4F6QKVHv
RnPkg2G9VVaEgLrdVdagXxNTfJu288JKXSwBP79HbnK0po6zTlwcEE6cLCRERBIlWwcpeYHcCwKy
S+Vv9KgdRPNFrPMfpqNvJVKwhLw30kVXWbrhdUoGHHjAtf3c+ZE4MUh1t98bH56lA2thSZzszzwY
f8KxJ5biJXjswWBmM6pzaQD/rsPeYSgLkrlXTGXmyiEPWgki9pzkGwEf3n1//BtVCj5kLBhdVAQ1
hzOzG22bR6G613niUAX1ld3iUSeniRTKhetm17BTHuVzmqy6DHdtgDqDFKEZIzlxh11a7DPZ7YHU
kAqJRGItiuwPHRazspKEURHDdVcPvkODk7Y16osmf7ZD1j2TTH5iSo1FgePbMuFGJJn72Tt3GJFX
72TTR1vkOB+VGIHO1wzfYAK+GR2v1cvFMZyLVzvgE/SoRYjd40CWxXREIuJsSAC5NXVCzg5AJOse
e98790orP7XU0PxtBuMYzpq/mt9x5+ekvkuqk5Vs4BXXvjxKt/kZwvlHYPxuXkzQZYwMeGXTiNTE
IfodWjPL7fgGfgbtUe8dSphcS47BZ+aQtxZq1NRxRfqef3KG8KWDfdE3cY8MDwFz3VOppnN5CJT+
dRjwLARi7pFUAeqqHEyNfkAGdx189sARw8/KtU9pJFnQi00cYncT4Ncjq1wH+H/7lJEEciMcLNit
/OwDDt/hbhLH8c7wDMCGLX7V1P1Ks9+OdnxwxbBhEcgJ2KEqLsgh4jExiHIK1UNWNCztQbKtIxYh
C0PnzxANkPm3ls2x4G3zVCCUK2F6dtHdQu3L55K97L2zDd4MU+MBisNT4YD/iYfwj0StgA6nPYyt
RzBFg8V88rlQnaw/Q9pj1l0/IJG8CuR1zkT+IGSkf0jpuXpxFtFDoxqX0UfmIlAmAAvW01Te5oEg
PkcQV4qz83dojfsfNLsR8jwPpq8g0MYAq0a7BRkxA9AKE4oS4FbIzEpegyPv8ydP/XoJLkWAeTWg
jLJkiQ551W0sbpuE0QjJfCBSgFCvHJ0aoIhR02blxEOTi6sU5rno1TVu5HPERBH/G89xK/HTmpn5
6decNn28M4zs089ChmC5FawiDkjKnGml7rPtgZjVHrkC0+gjX9ZVixrEIMXNhUmoMvujtiEwU5SQ
xLuK83CTsqSrxHSbSOroYIWmXfcemxg3y2If20CF2fSIkJVx2/P99UuspP05xgyQTN01apFBJZYb
vEV+ckqbWtxSZVlPzuC3ewBieEB9aRzpKY2jkjl9Qi6DiHEYEvmyLfERTdAKFtLQO40qITCzreMD
2GtNI19FtoWDJPc+7AmidjBdIgJo7DuTfmiwIjWTfYY+Ti63EZ8Np/5Kjfg5I5riRbutXM9osjY2
xRBOZN72xCkBMaDhChTHqGcPtyDrHrN0pFSLcugR0pS4H8A55eZA0BlEI0JMFYMd32D5TsiuMURH
XhIazZiui9w3Lyl2bK8vooLRORd3b711dgb1M3hoNtOM8wVxBEgIwq2nYC/gYK1arFVbo2m+A5sZ
69yRm8zI+tIjwYQQaXP7ESdlTPBWu3xEV+Ucrb7bz8zkbNLauiGSV1SXapkVNk9VXp5qmy5D0xbW
cRtsETeBo50Rso+ms2dDFKx4E0f2PYSiOh5Q7nC8OW02sHACadISXZmZRCBq69vHLSlFfQDMuS3z
9pOorqd+THYwAU9eGT0md5IF00ncVOs6I761dT74DbZalZ8OQj3HcklzThgjFj4DFoPpJ9QtW58M
qxqQ72TpSXsWtJnYfiyHiR3rvVkU7V1aV2OSAfowD/ovn6NTX9c32Ozvd8mXpV38hmH+kbbFqR3z
axGI9ngHw+VqfO0gPS39ynzqZX/IfEY5zsA/i3BkJaNxVdy/YWkIOYTZ+KNMOjySPVl/cCaNaPqG
X4qdgTbIS5tX7auL8MO17ZJgnd3lt5MOxx2LX/AE87+68MlpIPNWMpKx7Hnjx/4nHpdxIQq3WrTS
2kCYpSMV/5JwnpexC/p2HOMXF78ykfaRc+Cibm6ho4pNcmfAMb0ql3iA8x2QLHXBUoiKAmVE5Ln5
MtVsBkkfQOiAibGn0mjQINTC37sgo7IoPak0ehys+dXGoGLyy4WR86ADGip2zgB1rZMOJngDE6uv
fcA1jG/1ewwruZgqcw9ee1O4XBbvmJ5q06bPHr+ZmP9lMbIMK3m3JklGV4SArZj5MoqYDKIi9w9V
hVd3Es65BOrMd9z+8APkzfF9lm14+YH8gGvv1lhk/PSpacxtm4jvwVKfJoEj1RAstd9fXf9+oLZr
swiOcUyYC+78NO8/ER+FCztXr2lnJJvUwlBTW/I1qiGI5zlW+fp9jhvc/DC+V3mRfnY59Oym27Mc
SbCK4nJCC/Y9QdT0hLM3QsGPq/QbeNCJ/YuJngIxWdZsQDeBBTPwDNDCYun18u4YOGJcpfF0prD6
sJr6HolnvgLxx9zS6o2ucB51c7DRaY4gMXe2dP7hWorowm44WUUI1TbsnYkLZ57gDsypRF9gOcYj
oMliCwNAqRVVM2SKnBK6uxJrxdHjkRE4UkwyvXwe2+4fqTynwE3Mx5GQ+HXHVgNkGHPaWcmXPm62
PEgZ6ihxlnK68n9eTDxrWIX8exY1zFoQ02hqLP7UaeQiORZ2jrUQfyJLb5TlZHkYzbviX6T3EYg6
+OVa/+bWBPgOxs9s+7eyfrHr7p8e5E9lEAmL2PZfxa4McWFFJsaErMSTXYSUfbYIkSEJQ+mAtKhK
2cSz+iEZAB6yDQdMKU5XENfhrZflc6BRxbE8/0Ihgas5wlI6Wba5MsvyxY5iFonUI8qyj4aEPoov
e9qHLDyUZRx7II0oK2p/1RF5bhglGlMjpetWj54ePy1P7eBXbEpzWBPJ9pIMDmFwFg0MYKQad5sb
HIg13eYTl6mDbsZLfb1AkcNKof6tbXlG9UJGELee1csv1BaHSNSbBhefX8BgnU11BYy/TYN8b5Ik
1YLtgzAcMt/DS+1yBgwJiU2onqjeElBoWZ5fpymgwvZvo+c/U1A+wqLFBjmT+alr7zJWKDKMSl+s
CkBZwFjHiYicLDvcY/bFmAYLpxea5SynCHBJ2wu5UTFlAu0zy/CRsfmXaU4o9FC+cVu6rK/Mm1Ho
C2gwpEJtzH2OlrUrULMMObLKnilFC6Z5KWj7zJG+OO4n43mqyw9L6QdM/VzDRJMfVOWfC4nmJUZ+
uU+Uwx6q4yGx2/GfM6fxi1c2CGDpD2OBsnqYgdpDfmZzz7jp7A7k2qRoaeGU1Ug1phk517gs6+lX
G+qY5NGHNxABiCTft/U1NdOT0ME+Clq59AwmgqXVnUFTn5w7VqVrsl2OhNS+2/nI1f4DXf6Ys7yG
/LgzzfC5iAjCq1EKZzrcWZ3zAZmV6CfmxMtocj/cwX0JhLo4FYJ9+PVX25xulltmn2aTIBmO4kOf
CxoQs/kQPuMp1d5tbyZyYAtkz/uguD+MLNxNiXf0Ausxz4Ed5mBWQAkQa6J2g1ue+rx7BWpAcpXl
MFWpdrili1XcdH9hlGFct5sy2lqm1nANgjtRbCQy+WiaunmdFYp3ptbdCgDNBjQ09ZODXCiMi7cw
HCKkSmO0qsry0TPv390xZavV/ygQrFlk/TJkYUHvIoLynFWQpasY8w3JV7QI+LB2xtgTwhTijwpn
Dxetnk92kyQMDoOHHLB6GldfueP/4GcblsKkR0B2+SAItOIiCsC/8QcpQvj4IYbZcg+6nsT2QpOE
C4xBECO0j2ZmmKU6m1XxWiVdsQOTekwBqVKfFTyklGqeyJe5VVa3Rgc3E4NlRVD33XAN4yxlPNqT
JMvmjrkCYe1u77F6nRMsJZKOi/hUYCyjA8gEd88lHadmFVXy04eVvBy0NrAu9ZJNTuVAnc0+zMDe
ybJl/GD/ERzrre3S1uvBHjOKD31PuLeWw4Bq3owMeWOIaZwmIEVb+thDGA1fg90+QWZ47gM0Dgbj
myz3fqOQt0c6ttqMbI93YT4UJyeuoa15A+QuCuo7tn5v5Wxvaqxla+n0MdI172nqqSfNSJ4DciAY
7/8YfQ7Krjj4s1ktO0c8UUfee1e0T34Z7YvB/s4mWPNJf+z98cuISa7UqIYm6VrspnO1nZ3AOJVG
4QAjj3Ty7PC1WsELZv51nKlMVHn3mAFDW5HWEWVIS/vxGHvlG03PAwLEQ17C8A7kJ1Yw65AbDBUn
CJagN/W6K6Yr6t2ja21jAJypCacItPxC99PF84ytRxY5mb/snmur3SY8GGs5Z2/sa1bY0e9Z10uz
pbVzmeDUjrFhq7LpW/PNtv23qZ/PhuXjWsvDl35qCWgAXXZPaQ+0/LDDDicaCSLrQbegH0bxa+IL
ZP0xMtsv0p0hSfKWHekuueFsjWTaUvtIMhn1sAzd5DXq/euccJ4lgFtjvtRo5jPv0OVYkgKUfYzA
9niZocFSB2xqUWwT01EH0ge26BcOXlO/zJoRYNcfE6c/kvN9qCfnoMpux1D/qOzgm+0Xy/8CAS8n
1toMKNTrLvttAu81M+Nnu+M/WJVN9AwrUxuMCab37tS2BFsWYcSSMoAyEToEnFjybZ5ifyH9+re3
QHSmNWiyph4OWjU/FrkA3UCtnibWwVcUCG1LhTaRUVdNzj8rE3vH7KBuDDIm9QYhq/YyAmGC8rFv
saUb5UuhsCayhz5rw2dJHZdbVO+c74WVPmTas/+lDi2Tz+B1xIHp6dTB00QKq0nwy+imOBH67McN
6mBVIFxYuxJ0a1OhngK7EmHfb72Hvi5e/Dz9zvgWY1SDHm6W6i2ykgsysWsnHMA97YHr4zHUTIu0
SXHmQX8wIus5NrNXw2Mzy+QSX3/p7QK8orFE5GhE9ryFVPBlxtaDVZIqmd5p4DraBgVf1UjKs5Dk
ZhGqCWtWZOZWuXQ0rCcXNiE9SzNoP2wv+muM4JEwW2M9zpjOzKy6DUW7mf3uBqgakgITSUcwxbXH
U5Zgl+BwMRUeq+i+RSsl6EN4KDWiusH6nothN4/NmlElYrf4Hg7hOE+IkzfodIhqN5GJGP8yNZ8K
kzSRaWQpNfmjZCDmE23sjgMKcIovo4NjyY6VrO37+kwX/+yYoGzL7JiIhBdKG/SZnfeakBDeMGUv
zfGJQyhfs4zmHx5dkz0hv2fWfCGFB3YRmU9l129sm+xtwFd1ZP8kGXkAHcCfrhKrwGZuL9KJDPI8
k0fEMjj/UTXH/YNt8XzRHdCE0q1i085YHiNHYwMv5wd0jt2TF1Ge40/Ilw44cdqo5iYk37YKu+rK
xfa0rACxVuG0Y51UAeKRaqVyZn2SbJ2BoRTS572ZlBFbCP2kE/99gFOx6snVXCFCOekoex/7/r2q
8lXp2EBX6x3zEgLtpTi6uRU+uLPxqmS29VHT2qNA91yOZCpRYFpJfAl0/SptMmkijDjcqM7K67IC
VCevN/TzSzyItWUzcjAb4zbn9puX+TtfV9Oi8uMrcmUc3c34OTfjzq2abU/qRJZV2MUxrNWoNaHD
beaBQWZkJs9G6u4L4f+LCw0sWXZfRofmy4nFI+oVZDxx9dEnBNsL5EhlRbQkAT5UhNb40nbylkcd
zy2RBqnfv1V0JCKuiBiDntnATuTJcb8sY8I33YN0HO0AR12SMwdDr+cigwpOKbjlVLvPfi0uNcqx
XYqg5663POc90i8XNMSqGGfEbnS7a0e6w9HKPQela5qiViYYJ1bjqXSa98KL/uPoPJbjRrIo+kWI
ABIJty3vq2hFcoMgJTZsAglvvn4OZjUd3RpKqgIyn7n33Ns8LHJu1b2gznnUkz/RzKJK8qOxW9Na
pdcOWSPpLUFnZNvYt+JbDghxJbpFdzyx7Dc71rt0D32Vnia//8SOik7BF1iEShAVnHjN7CR/siVg
jfN6wIaBepat/NrW5kM6QAKkLZ8ZQ72wm9qYLKCrVO2kkDwxLesFVcpPCG574bePaPIPTIhfeBI2
iiI5tsKN9Nio9sEHgLDDULp3t8Eeb3n1Z20OX5nMYkTOOXvWmbIe9G0cZ59dgGGOecsf0kfefXqr
Gt2T48WvA5Gxnh8+Gz3MKqP90iN+TijZnjX8xzDxWgTiyi79BaMdnKVpCbdOXmpISinzKNLe5FOD
C4GE36PTZh+d7UKjDNzD3PQ3gQybdAIypWrYu2x0qsA/jyiDjDL4KBrv3nj6SYUhDWHi/JFquhdZ
/5wkOCuqnJBSqeoPwmrYLsBmIB98Xife+CnbYUkEv+vQf/cq9ell5WVOGEqNY08L6wX/jSB7ocMO
4klYyPusGh8YOs/K2Dsd2Zt8DMhqI2Xv7Dm5+KjnF9RjZ7pLcUXEObcil4UGixfRdawhPg7EF+I7
mLrg1BvdZazl7zBaLLQjseUfupOFl3CLIvjo6/ZkJ8vQ26ApsdEVovjoiHJhx1UNndz0XfGX658p
cAQduFfAm1qPKZuHA8HVHzUWCnzL7GwRtXzpkHC4DAbBJg+E5FqMyk3kBXASC1Iysmh84ZdGa8eY
4SKK85A0+c7CPUn5wZWYRR4z2KCkJFLNKQIol9r+a7DIE2cEr7YxH8HY7VEuoVLkxF3VrfgXpNVx
cnpC6EMHI0NquExmw7/MIIsj6a/Wk8j7YRuMtnyy8vShRfgucfweXIGy1MyIgfZdDCnM4NnCGPVf
RxmH2tbvsalenYj4xg4kfuUzchzmNjtMcbyP2p59CgmGHMMWHNQiM9dlWN973CTSLoBlDdE6q7mE
MwPA5WDg1mqd5g19GZzoEBGAfjaD8svj1xE3hCE1Kan8jbQ7kpf7HijyQadFF4qenRJ5OKHse7F8
h8qBJQw9JuKMKO2NNZcvtk9p/abZ9N2bVHxqeLP08IXpYR9GnGhNQ2c/yuzJqvz+WGskvPVYPSsf
8BMiCYIpXKbSponjHaXHkaRfvZ8LcEpzrVlIWVjYBspBpiBO9sFHxpZjSknUwzFAANpTaCKcbXy6
X5t+bGvL6EDYtrx5rUKnP6CRW7uWHyI8HTP0WNFmLBf+ccpdFlDiYd2BCiPDtlrHgb2sHPpdL9Pf
ZEy558rypnv8qICawe/vYyHu0RIc4YiDNXhHXxX7sLZfgUifkY5vAr88eU2C/xFGTcBzvWLqvDfo
9zESCso4I942fnuunPI/wXBiY7VCvIeJhVnRCoJ/QC3tQzWzfPRk8l111EnCyt947Md1FZSPqat+
w7x6zMvuhV4PCdQ4vxeDnta9rt6EIr+nAb4yxxELl+aUNuwUMZr9cppdGtyLfMHJh0hN89DaAape
hkrbGhXj3nOt+a0mu3brj+0FX8BbJ93X0LfQiAgnuTmxYJ5sSOs8iBDXuEvySeT8OGX5RawRDkj4
c60V3IIMw6Uws//ikq7ViYikYRXiGMk+KBVTtYJUJWbMBFuZt4yyOjSl2MWq/jN7/SeRKy3pOrMH
LwIUgZOD5ykZVxwAKZzTTqLpUsOxm+diE/pZc6D8+pWVijZzFvGOzn/CisqYrRIl1IDXPO2u/vIg
R2WFC0SFwBdLjkyfyFM2Eiurgi6aCUKR3Zs/FOhLiisq9O+x93BResDgw5hCEEbzqs24sXoeNNTl
t36qTk3tfzpW9g+f9TmjG6JQRresu1ZwTgzfLgGeezXCEiLLdCprlnAaOlluEfBRZcZv6JNGrJlp
DYsmDLT6nxHoFGe8upLbu49JB7ZKuE9J2Y1H2nUAVZE0Lh79MEyQpMIZg1mvLWp3345GaTKOngAt
lcp+J/GFekIwgS/5N26OmQxD61NmQ+PWHrYbBa6BurANvN1csUxT+fzTe92tokdtu+KJb/CcjPlr
KbNrNeZn1Ew8sP3HXNkPgYpqBLrTE3YS+PPGL/oD7RNfMrrKzHbOcwTWSnYHwwEN2slohJLeIMwi
Xt00/HNAs7kyfHdLS3Er+E3NTH2VVnAxKpAbTYuEKJDNb15gj4vGAJGu91+Uz3vVZ6+emZ091734
OvmZPHZuoilvBg68vAUw16B7MZr4fUSFclKdMPaM35G4wJ8iHZ19D04Iw03/QQEsDl5KnTlYhXXA
31H/TEZMIrVmbWpGmT6kLVz4qkJSN8pjk7Dshjfm1CyR2hAcXwe0c9VpZq4pMpOZwLhtBW3kKDsL
9bcGKJLLDpl9MusNA8Ng6ylEC1WsnH2F0WE1+XRFgDFRtRt+flRaRlsIa8N66iYO5nGsjnYtjnkz
/efPec1UIIZsAfvCrhTa7pQpjZcynJrdmiFT6q/s0UXopxPnCacz6LKSqRiEdHiVsG+Tb0aG+R/o
av6pbsZpLyzsBcouf9FkAXiT0PSXjKheRCilnTTbJaYyucBoeGkVQ2Mf5wKzC+Hz4mLmAUhlFIkr
t0O8Qe7L5yCtQ6FHCHPIpXVUANipxSY1/R2tO59TT82MP1XuwCjsZsQMXsHrHwfhfTLt/lL4LKDH
Qu5Rtm0jx9wEVfoE++Gn5L17lpb8CdjgrCOXSnhMELZBpd1QIojHPAUtEX+oeEmU5fSNWUDbbvqn
S4ePeMzuTmK7qLSc11K7W+x6azvpHlZrQXpxN0A3uh3HKiJXv0e7Yf0NjfYtxH3R4ttlKDWB44YG
ZXRfsvAfQYvhDaH2I3CZ+EunH+khUR8yq1lInsmPjlFL+JjfUNyhH9gYrgnxqvRP8G6vhS7pUuJz
sBDj6uZKMJNexXa5s8t4NymfHpX0vzQpj43Zvhuh+Q1h+UklfE3p8DXBbmHxve8xgmbkxvcNFBpI
ZH02H6vc3FdhtLX1cGyVvNsw50U77FwCWtO62g2RPIJERdqDmi5PrX1SuqsRC4rRyOdRpme48gvq
f+6P7sjkH+sRkOtuF6RshtFABe5XabdfbTY8d1Z9tGbD3bCr4Fd1gkoOKmpsufVWuqRkDzl0h0Gj
jWjGu6O4VGdp30rSB62EDaieZqKL1YZeGianMX7JTDzFjeBbkLvA4G4c4NgqbBseT7CRbrME0ZYx
HJoUqHEY/fikK6xqg6QCUJcgbAUG2mG+dNZIIOT8T9TDxTOZzQWLxBn9WK6PLnNUopJH5BJkEPoj
/vu6/HBwYpJjAAx09uqLnoafppwuaHfWIMChkod/y5y/Ru77h5RQ0LIkvN2Qai9D+aTH8btFpOLR
Lk+AW3GxXyRZUfj1QF/VrxlzT8Q5/aqS7pb1yXsyUHBP424M+GNOKLnVeBSQldIgOc4ey2ATkI6p
LlQ+13L5MxsxM2XGYqzIGfNNhDmvpoEcRe7sTwPtXO7h9PCNo8BJhDuKOJKu+hOVJuNi1sQz0+aV
lSG9UZCi/tOynp6tWh9w1X1hcbp0LUbKtpNofMzL/22cRcbmWjXMoCwze1REaK16a57wdKM7phQp
XgflQK7UNI+5EWNTIbWvSMxDlA1YF313XKNTW4fgNjQoAm+IBdMQgEpx2Pq7ZiqL92gYvC/RCEIO
A/ORxDEazQx49CB/8ZeiyhiMfzAYj8DAL6PnPsrEe8U/U+2mxgNf0wGZKppv26e6nfNTmk6PTCrn
KFr/STgUkESj/be0wRRb8hea6RtFMJrzKPuJLXCtcak+gdg80I/VSOMA4lEKHLF5nZDJgzQyUZWh
xY98AuiKyPZXI7RAqiYMoa5d6n3UgJQBpLC1/k+fsVI6bcIQPWA8pN4xvEA4fB118CqE+RtCWaYw
pnCd8XJtnLl6aCNvdnHgXZiXMnRQ8jTyaTLZWrZuMYLlykwHXoGm+pQSBoXZMC7iPHOfO8WOxPFU
R9IUc+sqTVhpAPDhaNxKYADkNtaQPxtv7cM1ouxly+Bp39zHM3qsyXGeO8YyrNTZJg+IM0FDfLrE
oJ7sMINvTaOPy53Xca59uXNy+xoKQ10LLxtWFW9ktqg81RwdPE9xy6D5AWQSvyE7/JfN6srg87hA
OPu6OkUzfaOZXvOshEYUKKo8W/zS+53ZSR6aFgnq4PewappBbaoRjclgklNttQEzSzGQhWV0N7aP
m1DNpz6KILcKawMdg51Tw/LJjg9VCxAZ0BiJUMo+oQiz1+jrjpzbB8ck3nhQ9rZnaEDgE2AAGkzI
A0n/AY/imYJ6Czvr1ABJgN7TmIwJISvM3tXj1UNL8NmX+g3jwc5LjI8xQ21Te3HOkjN5MeLkStrq
OxLDl3ye57vTAVpAI4gEQJPZQyTwies+3ib2CGlrCUetEgSbOfCtTYcBIa7To3arFyMDYRfOHlpP
137LZYFRiO8kLsytqJsLEylkD+51kGwPsehtxkYdvTbYklG+Lsf4ag0xvOeJA0Kw8SVLykymVbVk
53oS4ByL0tpjWmhw0393DqmMvWEz6DbnRcvtMqTp9WfTEksIZg40VrzMSAq/D36AGJBOPNoz23h1
wLOaQw1SGp9lRGZFwVvuIiujRGHWNs6nqOScCcI0e0qSttobWY/lC9jD1p9J9qvGcdtP7qFR4Sl3
2qewYMZAVB40s26X5N1DChJHfYMgQyxRR8sr/0vAko8mqyL6SofFRxwFcO11fxoSg/xzBTzEbNZz
A6mvG/a05ahR9IuZCHYCDExrngjJ0IyB2TpP3Wei6Vgkz79piDCxYKxm9fZxIjdwTerRNkLalOtq
3XsTwZvpQvNbohx+EXn9TRyCgHEPzUr8WG1KPIR+MUr/QmLkgsk6j/F8ii3+LlEc382F6eck0XkS
5bOjg5M9k+Yc++2x7v4bMfiUaM4sl/4cVxOntflCF3gstb0bTOM2T/iLS+dmJqo7xI73ioiMaqW0
dgPiXmlbYDYQAw/t3vbKRcHnvixM39mfGMvV6jcQiN/GXpysoFmnNYxP9t99b68J41okW6dKmog0
SG4q9Y7X8SDj7Al1xA/3zz4kMISo+Ze+qextAAIiS81nY7buXgl9pZraXdwbB072wwgvqOitA0kd
NzWiREgpyAAGExnvVz+pVfRsioe/i1t7mX6Xln0yc2YOsYvsMEI57LOEtYOQyGeoo8Sr+jlxMjBc
VtKpzw7PCqj4H9McjgKfV9ZT33l2tqucea0T+Uc4rE8Hrn2joQcjcqJYFQxLPUgkIe4KlE0Pti7w
D6a7mxLgoO59MDwCHxdXb93bEXmk7pCHTlGLNbTM2WV2EobvQH4CwRsqe9HSvIuaPUMa/rS2OpsB
T7QRXuj3OEcYsBtg/smxALT72i5JvGH2VLFVEU3q76GNs7zPvGffR9EVgjqBWrJ8CHh2mJ4Qg5pW
CqXyXwPJpwiqPz5rVd+Xf6KJJ4KspihDSCHTl8oTu9r1nhkp7Dyoj6Yp2fQEAvlVvpmZO0zxa4W5
BwrCZiLMarlfVwghN5XpnjUiS7wvG7xk33NabxpggXni4vrUsBOyvcia99kvNwIftsrhbSX6GSsC
sqMa3Mi4SgVKWe0N7q5x4XM7nEnLBlV2/q3EfAoA+jVqykOREUIhjB2gUjSTwSY2u9dG2mszTe+5
m58zFuPuEG8CIBUAjVAqkIbQ4E+3QIy7Zor+yv8Zc2MpAN8idj7pOF874qeJrF/RKpw93zY2o2nh
Ca7KN9O3AEIRj3co27DdKozzUCKbHdNVeAEz51cp3xke3GY7h58VO3BjxNbzHATH1sSPDEl4JQCQ
2j8yWTwyO0ty+WqC9E5VumfY/6fifxnPsCckfgKun9NYe7OJrLNlZW+w3CKwAAzHRpbCq1Sx8iet
8IXUypeFettai4rQTz/rKCP1XkVvQZP+YcX88HOF2wQ6LtryN2/UJ8MOL65Q74Ab33XTD+vYwKkM
W//CY0LyFxQyLWWNKqlbeAY3I4rqw9iR0Gb0mBdG6Fcr1j/0jK37lvisF8suci49/Ld1Y0Y79E4L
onxnFjF/2nggmSNLBWdT8ynncWmb3+C8s2OU4j4EKMPxoy7Zcxgw7mVQveqeFzvuBJuI7D6CAn/u
+Ii25lBxH1Z4cQlV+rSF27KUkT99HN7ZGrwytJMvgqv21ncGV5gK9UYqMppw16OJldDoWy6spd0J
hl2IKt4SLvsCtOiDitZxmm3l7Jl7gyt+YrhfIvTe+VGfoqAt/Re/46JyWuW/9kvKmsdjuFW2yK5J
AB/C99Ie3dAo/2vr3r013RB/cwC1clVwiK/M2o7uBcye3hpnEmfMjnlQT+KMzNJ91xELZFpEdNb6
LYnydcWCf4TExBqIYMGgNt6EhvRZBiaoSbVEKqBS2w0N+1YqFO4of3otJiXWDZpmBi/G07wklLr6
1SWhilzHteV7x55xObUPXjs0dKSgdmO2ifGjMwK6Z5iMB/wnMdTFqo0YJtGets1U371ET3tvptXu
e0xYOmFx4TXyX9SkG2YhRNeBs96ktQ0Zw2K0N5MQimIIDfry85mEmiTpYJusi3yTBI55wminD02J
V5YxJab13SCbu2UYC4Ymrv4vfyIhLX4tIyJF0eX4qyYgqMafSRNpfcjUgVLYOngH12Kgqyw8AJrk
h2Y4loLkYFXDgKrSg3fq6W+lq10ndfFA78WzaAbQBNG1lGskr8/YauGrBd3Jc5la1yUeYkTsJ4B7
ULMYQ1wwMOqLj71h5Voxs5fyM5nnZ1WhDpraUmzduvt05z59QDN9mPC9L9iEvTWGJqBSUMWMQKxb
+zH16p6U+tMksZXd2bddSn3NpkXdoOlsRfu3YGH5NuKEXJG5Dd87ia2tZzm/ZS3fmNm/YQxrNtqT
v6MnPzhmr7NhvToJdvrSkf3OAjb2qmjM9nVV+Rc2auPdC13rDIaW6c7MPgksReA/4qmw4MKgO0qB
pHzqWj8lPvER+fgvG4P+ewR2fc5S6SICTJN7bQG2rGrPvCpjnt/MUdYH7s7kQKQ1iMGCnp+QPkI0
lFcwEV9gAon7ZMKGDNE+3+O5p3ALTEbNE4hAoEHuGd/4dJhMt0ckTIHYcjCAQqgQCJs5bNPJgOLu
m0+8a2j2prkrNb6WNnijl28ejsyHLRs02jaGwzuXD5Y5e3lKDPy2cXdMxmoX1IML65nMQM8BBpOG
7gb1zzO2G/ROM6+2b0c3xhz7OCq2WZrAiAA/LTx1G5MIY3EPPbv+CuYExmPgICfhYyM9+x+kSp9C
wc92sTn7vAeI4itD/GN2Rq1enKTh/MiSsIxqwLlS8gPXQFyXvdCUXWzGNczqkOBRYpcAd6L0jykI
BA7H/jkyo2KTjRAp03BaexaaGAxH2FgsGAkGANv0N84ZDvnmjMc2yfirNocZF57RD3s1ZXe3ds2d
QRjJRvjmcylZJoCefRPR8Ox60XWYhyNF4imN3X9IHzAoLkJEuJ6XuEwv0BVe+rT7dnyma04pDeI8
Cc1DHYEuL3fJXnYFRPD0WOho4+n8Fi2Yb8t99438nwppyjTegdbFujWxufq0UmJOwsE5th20xryB
JFA+BVWwXk7AzksfHckRm0Gg7bBV8VfE/R5//8Hzp6/Y6bfIIq+hGr5kQMOmUWKZ6jZXzTd0YxcM
XFaDIu8vsQKHVTf+vfJd1rXjiwI1G5GKDsD/Mxw48EwAK1xU0a10kAdHzkT4KgIlVFiUbRNMaIgM
EX52mUIJauPdAE3+2AyifKqxfi9QDMQNQRGcsOxXl94WNyP3TmlNoejG4PBtP4LV7SIY1j4NOQ54
o+gf5sDYSnVscvkPTutfDcc4tLkFTiAeFuA2Radlq2tA4MpYuq91PRznGBJ8aKS/Wvd/y0VQ0sD7
eQnYKx9MB8iLabJvGnkubgQkTUflZdPDRGC3Jp2mf3ImSM5tn9zYL3IgsUcfGIWUjvHIXHZjM5lG
qxDNCgytejyA5OU3qpOWv4aPXjipGLliMuAkdohUXQmiaXdhbf0aXGgsSAoKIM/HSZ0rHp42Ipy2
p0+tFPOXofIuHjJsx2ip2Wx4+7OCnR5POF6TjmgjMs/s3ewuK9P5W4vqE0w8ToJqYkGPsmTrYRPj
bWq9hwZDQUo4fhgnauo9Oum97ryDn4nxQAjaJ8MDubP4rTe6dputaKfiOKXGPQdi6Ibjs9P0z1XO
jM2uwk9OP6BzRDivJ+FEb2YT8u+ZeqRZnJCl0hk3TVnL213i6S3EadYpRoVZ/WDbJ4nHpFRzLVte
kp5IuLKMXykbTsJAFJ1qIqABxXzHmNo3fmfxgxukjabVpwdlQE8pFzIPrLURR0EznabEf0r4fCDl
dbepYDLE+Ppf7yXesW2a6GTH/gX5ICK8uv3E9fc3TAgKiVGIvRQupCyRSUbUpX1SMo/24JA1vM7J
JiHb4Ioy6/7BOqbe0f3dUEzZO8OcsxOFSYXsCumOn2cDTLsYKxc6Ym88FdyiG80Ffyhd601YOGCn
AoetJsYZpzfzblCphXb+i5vOxE4fIgFJcXz5y/AFxCtyJV8SBZmaNp5O3MCkOkowmMRT2vZPm2BU
8oKPrmN9o92fWJfuU4ObnXaYUODOL0YcC7W5TiyR3jn5dyop23MKvPMQVo7YuaHxVhXmBJylFwe3
5D5MLSa1SeR7fFfIswaMApiDCNFA4kEchItHohwY3rRe/VSAVRuY+rFQQSWcsXzPiMseMnAUrn/z
CY7PyQtCaYPwI+8IR50Av5Ff3lwbixxeJt6EbawrEJfEoGwC/Tei2hjZuEI+iE5kq527oHpyQueo
y+477tLzPIUszVDskCsvEnQh2b4I+xN1DvttyXPc/ZsKlmYezcxataSGpvJ5woIA/5csSacmkgTN
ABdojiejSeKbTkrjOSZgbcdQiJKRlMxbqeb0I5RRfhB0fPsIBfitJ1v4wjiXQLw+cDei4Qcwh6m/
mfm47+4cmE+wwfTd7o27rv1dPcCDwF6iCc246Sh/Q00G4zOr+x1f69nWxGM1zdGb9cfYqRdCqM5W
TajYIJB10BNNeXr0O+7chpQ6tmk9oocVnGrFiY2Sh/t+QeJ9zmH5qDUBUCLjzQ2Td1JVvgqzfLWG
MNrrTIeQSfwX1zCOncGCqgfjG/bdxZoILHDBve8LlLA26p0q6F+RNrPub5jC+GEEr673uN3mNzni
YLFHIzy7c52+ij4d95aP3c/uifM0LQdNbmA5J2gb+dqw+7PhZs+OQmyduPYmhvKEnqx7b2p6T3CI
uJeJrfUH0pqiC30uZlATxmSdjHfA/V8DFNtpRlEn0Qnc/GXmEAD/jtuak1NJonZJjA5GyRE47MtI
hru4Hl7k5ZpgsKa9zfCUVz91Fp2DAF6FiG5GUZxEIu8yc5984T0oUCuyc1GLAN9fjyIPCPTSO5nY
6wYlLlIK/WhGgesu7fWmHfMOKXpxBAbx6jBZWHci7M5l8yCidxlOGhaxLMSDSFLBttTOCHXRTm27
tuEjjLJ/0ahu7pi9eNikt7oecL8HVrbEqDlUdo4BXjhzMiapsy/WKaX0VTsGmWlkymHBArJcCe1x
ks39l0rmL4Oa4oRLRF3KxNlJiBKYHu9Vb8llXT4ehzr5LyW7ZaMznxFvbXzNKvvxG5IUOrJrqAto
KRnBQ7+U3r9kLq5ePhK15rj1vrGnR4JnVKsq3oB1CxB+SgYQnhUccj/Xh8FmbCWpFq8TgrsjawkA
ybjY8X2JmybBHkGlSJExZeCT+4wdUoj7ywtMEwX8smmapB4erSN5xBC7IDF08q9GscQOPeuvbTIl
VqJhKFTnGEId75EyfB3HMXmGxAvkLiAKnCtgV5rWrffBEXic8c44E1tjs5P1rBjvmUitU1bO0RaI
m70rxnLfp+xXLO60hALtkNrlvwFzIUjzmee3bq/50sIzSw/xWmCMyQaf7biqweLXLFKckQgIW7mv
VRLs0nb+GA3jb9FAD+BkXMVsTFfeoBvmPupUujjDupAY9kjygLm0vDDyWZfWcfAhzPav8OuNNdpf
pUHVVBvdqfTLK9EVGxcqJElelQFvf9Lb3DZpNFXzJpx6IbJnFeIrSidyNWL2MCi9NpYfYd7it9Lk
OyMlu4WB/VmPwnjtkqlATTrrNeNFZD+2KVdQ/hVrZZrqIcd/GSejs8+4A/mTtegKUXpnMCcE53XK
AqNVxRsM3IGFTUyac2W/uFH1ioxgm1VMIJFRovv34+xuptWpxzQGlM3+4NsE4DOJjLSbvNi3simP
+ZSMW74niLYRwtvSBZLq7ESePyMZwCHidAjzkr2IvaPLJczOMDF2siubp5gUCvqWEcg4K8uBLpFW
sXufXIT/B7vuIr2f0GqjfYppcu8d6B3CYyhCWLyBT1Rni7vWvzhqSMtrk9eZg16CR3Yt05IPBCpX
CuYZ6SpLMytzH6MWdXROTLDAh0qoWR5LxRByG5FDM8M1EsxjpZWZq8hW/hdtUfjQfQnSNM/9rTPm
3PJhlO6taYqZnZJvOrmlcw3TpsWS0A7fBJ3iJc7B+oV9LphUFt490Wz23JSmgnu/bJL85EZegYTc
Kl84belqcBh3h8wjbdIPZbeBQZRsnCFH0kCsHq0Yb4PMm6vTeCfCc9pTR3jxo4J39aiLKtowcSQq
12Gl63gsGuYoLRY1Hv74OvsbqRJ/U/UtQhZcRgIwxbv0mOcAI+BwrTwQbQMmYzcW87OsMufqamOb
quDDxjFQQ2ea8VXXvfjD3uLNtcHlVsYoznhbD1C41RblxQPfHZDScbtI+F1w8sSQiD0aS6zQwmKn
zlJbRcMvEDLWD415Ybx3hxfPG2erFyvu2aRaRLL2zistMzpho3meqo7CJzuD2IcorGJseSx/t6oN
p32qO/OU9iy2WDfSlPUNCPjAlGDUoteqwTHCso13xyP2LG7tV4PF0uyOL2zk/3r2gsYlg2RjTyH1
Zr3zWP2LXEcHyI8Hcwgeepk+moNxgSB2DNGpwajgDuXCV/J59ot3i7Oqi8YdTrWzj6y28dhgZh2R
PPKctJ3NlId+sY+JbckyffMc0ImGJXkrC52cnKqttsLOm2/YufPVhF/wOfRV9FpaXKXCVvO6ngA+
wOR4abPCXMXVfM75/wwu6PY5G9ktxeSNAXfyAv/DjyukK9VLbwdb9rMv42IcshH1j5ZEhtQzdEqL
bt10GSrjjve6zpdDr2GLYzTdhl4MPUoctJrm0S7tfT1Z4GRTrQ8GtD9u8zpFgm9wPOI4wIiqbYb9
dfTH7vXdqtOLZyNv0DE5aO6x1/UROKp7Vm1HSSSr6ZinQbfNS+ymcVWaG4/6DR30spjs247WO3qP
0BLbTfpsu95uwtkpo+CVCKZ9VevvJJTpHm0vWms3+2unyZv0SAliM/tbCoEMZZwxTsbmH65USFRU
oiNRrITFlX+4qIhiTs1+q0TQ3huE7Bsl427dUu8exnhCOWDwRxB5B4MB/9zaj+jh1dRCVLHUzRuB
p4zBe71EDzPjQ2SFNw3KrbcbDKR+Sa+vgCSCsv7plTduSQ97CWu5U24dXoZlsByiFVQ5hpqAtQ3x
cujnCvKOVB5fI3OecEpYlBA1QruRqnUT1vSktB71iuwmXo0ypZxCXWyCeAkENs42xPvBFnTXONKH
4cHgxam4MlosI8fIzOu731Fwj0kJkKiH6qKRTRyCVM2QNSEEEoXUwbiv+MKGyRUYHZM4yMmTNuoT
rfFLLflrkDPEeiIEnEfd72O+KeKGOzMA1+/vxcSXtPL8hJeUVGP3dRKAQNMG0n0qYQ1waldMf1kJ
sOcMlntbiUpvkDbNh2IOyRvXOLxMG9dtkiq9yWVNqmP4ZfaIfFs3+h4RCmuRXlO8xdfId537nCXO
XmiNynLUHRsSMlB2QTyC8HNRHgX43oMwP7a1/7eKvG8TTzeIe/cT7+23YQnSobJdmwGNCqzrkBps
ccY3xc9JYUoj0rJMVB/MHue213gwcouDn2EngaIEnzoGM8eGEVwhJIbGmtWKg4fGbn95nj+tDP1l
E8VveY8wk23EvhznP3Nq9+tu5IBqeFF68CHIwyT8vyb6E+YRN2rGNB+Ge79WSe3tZKSfGxoWMsmB
8kMr8H7yppVHPw7/1QWekLHpP+eK/2Z1Xf6BXmZjpJlH2djokIXgVO186TAJG0dj/EZGCWuCXpne
GSUgAZur2UJ+uiieO0H2kxT4g/g8Dl3mybMh4WRGmXL+2rGbfcD2GZCoiyWK4x+mK+KxVKyR7BeH
DkNxaSI/b+PZXgO0+i92MV9xfjKsaXZmpTwEIZPBB4F5uh6ZcaluPbScWJXFnNzK7ovr2OxyysfG
Iekqhn6XpdObSINPUTgnuEn4l9Fp2UN+lw1Y3jHQpw74Ew7Ifotaf8dWDCFdvLfG9p/j6mvKxbjC
dFKCBi2jHfaVck/e3A8V4JcJu8leGkg4dQxqCEzZ2Nn/CDuvHbmxbcv+ysF5vkTTm0bffqBn+MiM
SPcSUMrQB739+h5x+uFWqQSpCgKyJFUmg2Zz7bXmHDPrcUpidNGw20Ff44Dk3BzgFxVZ2CdiR0Gv
9E9Ym7FYZB2vpdRMqx0Objojxla5T6Sz9zL+fzLk2U5HHdiqGwMjRrbrs64vXquivpUrrgFtA9OZ
ROUWogtNfQU8Cwr8VkcsNyTrO3/sd2WthUoi+2NunvrklvvTJL62hWI4oHHys9lo4rOaoOClsUw0
0BQV7Ux5N2+QaB/VBQXkbDq0FwOxXt/vPVk9wnDkw0cIN6+GImwQ77BR7uuIYf1XlGsjOupRCRjN
KoS5Jt80CV19CTpHtMZARMHlzZl5hlT5sHTPkW5k4J4HdyIdm+084ngkgCjTQtATH9DCgtK6fWad
5pKzuy1mfKXxHY4e4XQrg3Wyg3dszU7A8g48P98xCwmALZlzGXOF23Iwn1V9gd/RQaAQG7dJJWxi
XHJuQH2uz8tAZUrTnmZZJJv3DxSmZEg9mIbyDZvqXWDZthrqDK3wG2XazLH4VMsaBicZ6FbrEF7o
4QvwgDtuMf9euwUoHfjjqpZ537Dea8MCageTFSoWLstSTFfVlFvm2jSvmJRon/UkbdqVafZCShwh
hg+zvL5plnYzdajicHoaiDXx9wQdLXhz5gOaJuZ2GdtKc39N1WpL6jnaokdk4Xi1VoQ+ffUmxSP8
onI/5aXfjcsl1ph9JeYnLMQIFeUmq5hdKVTpE2N+BqJsO2VgTbqxEalXRG5B5qsNKXHoqlIq0Ibc
Ijg6AIRuUFgSNKtVTxqN+XW4y9jjzE+iPfJDt45jGMvJ69Q234kVyYgxUVDfif2G0B/MRu24gZf8
gi/uTGzBsS5RUtWovQWIbIGJRM00saRX8wyaB/tZNArjU3mbz+TEfmj5CiuCNDxEjM+pML+vgwp5
8TYyRc8s057UaWtmxb5t47dW116blixVUfukqwLJY3jOLQU78zq8JIWEFFLPik9JX3Cb3GoBMk33
lPVMrQpNCQthFl1dWFkxlQxMpvxwRhFHKqXSHsLxF7O6EZEhBcINS3BmWcFcz/usuXOdKmb72lJC
AsIskeqNidgrfUVKScLfkkoBc0mGl6p0Mig0UF0B0B5vGOxFHY+SpYZaMn6rad9Xj91pLWDRy7hy
XQp3qmb4fY2X/qlObptBql9MUCD21JEXeM89a20Ik7gLe7XNGuYSNXoSeJz4IukgPndiEoxWfjSW
G3PsRMCCxayOd8XgZup41vv+ZTLkH4Ik4m+gjz/OtJl0tb+qnRlDKqArV0DLshlMsQ3Axq0n9cu9
qyZvEmmjrWbC3kqm9G5GxdyTnVyF/AoGQwa7ZPZfqjQe3HxNaW9Uo7GHy6M5XUwSCJEZz2KpbbCP
fI1ncTcg2ISXDIQrvo92rk5U/W1ZuKZe1hHoX3EjjVW1S8Xl0fyxSMEbDFhJGqwplOR1rF8Uvfg6
EF3jzuSk7OKhX7+KGba/+P7QuCUP+j2NB3sw8tZvU4Y5RMeSB1l0+iuTox96I5HMipqLti0ZVul4
qBEfPMgZkHtA5ezrSpI/YoskKrJCOSMP2ZCmYiYZ0zxx9QxhthobGHBlFID3mUmwYDA26KGCzTlY
BLg7Iw6dibQwgz31rXvWconvk2qHnB2hXeE5dkqjgZaYS3yJfvGwzshJRBR3nBYSh5tb9tKYwGag
uKCn05ePEdQGebgNTaBalItgiaHJws/zUmNF13iTX9e7flgteP4NznGPtJ/ZY1mkhS3W5jZduBUc
dI1f2zW90H5nHkB55zL+kOlFTTcfS2TiJHdKwcVM6VHANWb9Nr4g3XozAXjba5rFzr27nxDTI5Fd
20iBEmuQ72AXRfXMTO3VTJtzgn8PhfI4ueJSONJiggv9T57VAkSsK4bPjtrZTm/zAsUWYk0WBx0I
52V+opsR9IUeCTMd4bzhTGp4QCjdNmuq7AeBdWPuZVzUGfbRCQmIrCTipukkEeUvqgX4ITBkm9mW
YAZHcYbvCI8sKVjV0L03MEUAxaZFMInqBwGo7BuSNEO9Scse6ysKb27B4nlB0n8izp5nuyDzoRug
bSoVNOV5jA0y+cSGEkXD2z5CZF2h4LDt4d3A3LPwy4zU2l6CQyupY+ZKK7U7NJpPVk8a5vjbXUMV
nwtemjyTrWqn9W3yuyynqCAj6tYAFBwlEYkLdt4VqyXpK3q0Fpg0LBO3WBNLflU2Xo39ylUMumJC
vpR+qaga7kl2Dn3Hmi4iobqrF00nKWQes6dEqwBUzjsCfPZlm3/eRHF/a9IPaehRw+TQHlerR+Fx
i+bGDKU7BBxDNwAEGG6jkMJpNHTpWOErzddaunGEGWYF8vYiQ5hJ1oeWX0UBzmMxoChUVjxTElV1
ftU7UaRKrLdoMLkYWjgJCq9XBRDsA9+Rnoxe9NS8DCa2MkwGgZhreTDAxO7hIHBPPi8C+mBrZVxF
Vxc3i6GPe8ECwJV2cUCamCLxrtGB0aMjNeFM6b3imSqGYZqbdINlSlgReYl0pIg4qxrQBICto/qw
A9YET6FLqM6GSPFn9Uii0oCkkahfv61xETzYTVTQHzHcHFOxYlsXR5LUaLg7zfwOopLenwUXmjnF
pgePaA+9CsCgdVcpf5OxESC8uqFhHe/SNZcrj009wQGMDAamwDhr8SkQ9Cg/yYV2avRx3arDCgu7
bfSANs59I1btGKrN+qkkWsQO/+EimZEDNeniIDGR3clE+bsaqK5YrVrG2p0ZzGP/JqbpzF8b39sG
KzLvKbspUX/EAzVcWYkOsEhu+bg9d2Xhz0QsjY/IMyVH/NRqyw9c64kLQJmEZ52RObpg0a46dsRj
QVYIBa5IbilkGaRxWip949aD8J1ZEI+TYwLBrMhorBCiZZbiYdVy0R+Y8LjsJ1xJtexG02ATQfiC
DPejtxbJ1lpWj6zAgJ4L8pelSy6WgTNfz19KqSNr2rJQ8iYEF9Ndl7bA0u1qQY6nNdNBh59mT8yH
8nJ0IB9gj2AMSdUN1KqN8Wii8Ysprc25u6RNTJ+WCb8N7OCHMs0lxeA3UUG8nSvtUV0JL+RVLQfs
MXdNOl/Y7jozvrGo0aWB2WScOKXVENHZLHRA25K5FkJzH53KArNCvYE96l3GkXRneOAPw13Tvkl0
b5HDsPvtVsh5MxE50T2lskMrY2HOmXpIe3ynCX+mWw1Tjzdb2BZFHvWZdlaGh+HT4AVSN23OnLfn
hqhAhveM2oCxrjvN6BxCdZ8Q4QTLmJ1nob70AEOZhoAAFLsPa0FeojZgKQS5p0IyiY+89eq1iZky
w0yp3wmP8uaJs893BxeFr4QzucQen3x555zhU8cBi2satnUJFSF9CGGpiNsW2NxiDqi/VQEoQaqV
dAZuyqFF/bbPVCOsspFAEdbOm8a5S1A4KOg3XVkefihrthmlnrZS2p0FWaze7tadjVcpwomY1e/j
2HkTzSFkJIhV+2Injn3DmjbDHCNAMbe0LSjK51GsHsAN5ElJwgwq7TSIyY0rskgKueF0yGe1rkQC
zoTHK1fBHxMN8UbG6EVQQqYvvtBIV+lmJruF+XlXsCsxaVvEdxPiK/HAX0hkb2O7zfoqaIZ7ElpN
U/nkG7wYVfpt7m7Boy0smuxD6/YOz+ymfjHpoDOQqQPxvrq1fD8Q4UNxB3LVxhWzjetH8y01d/kw
ov+R55OupmyHgQrYzbySIFcaslvVt5ABVzhU3Uc+IQYo70YkjN1Lf8cM0Fg0dwSiXtsHsYpiFiWZ
SIU03UDK1iQleXeZ/1/mRT6ZiCj6+BU8Dw6j7Iz5/vtkIl9L6xb7MBBdOek2STrwEJuxuVE6Np4Z
OX1BLoGwqgVE69VQ+2jIATCNfbKtszn1LfLp7Kk3SPwpBc68mnUhxk6iTJVEwvJkHdlSXAdF8yUx
fVOllVH6dBoE5UlgwBuL2Wsllx96wVWr9ZkI4wrCGe+8KMu5jcZGPsCtIYASOtItj58ZobahptNf
wT3+rkErLeRGpcZ7yF9T4e4hiXqs83Czpwcs1YCvRJrcxkJ8jpYAfbAyfyVb/aWO8Y6Cjoe5yA4p
+ex7a5tzrRvGH41l4ehjqoSV0Ms7SjqihONnCGVRm4+hVUqvMfFWRi4dm4lFTxqLba3QzDElsnXV
GTC8VDxXSRGmGAfWSngTYAdjpYiphwXFkcap3LdkbGx421A5MoxT74WfZMmLstBUJc/peJsKsDVa
UBb1RakrH+PPjgiTTcK7Lc+m78mKt5Msl8xAGotui9XNkWKCHYzH7F2sn8Dnts5oUSJaVfPAPAn7
OWEaJNDNGpVli8Xk0JEy6EwPZYNIamer6iymwNZ002PsQStbJWW8En7oa/b+cECvGrJ4k06BgFXV
XKRzX2UXOBruZIh0obLLDU4M5rZEBLst8lSAy08K81Os5QvrLfPrDmEQQRbptBuMOt4qmsgpMW6t
f8dV6VKU09tIw5QuaJbpIFpExhC9VHW+2teaV93HT6lud2uyPscT/MgOPVGfP0iISEAGAlviaEzK
S1aAbUEISGWJIRajr2GXsVb6PV+FrQoRpbvfvzdVDPTvrkSYFmT6vj2t3iF+p1IcvDG+k3W/QOcc
cuovQ+YFq9e55o8wz/yWAjNcNfn+zPsSj46mMU0RYovmgGltdclamIdLPKEzCgOtGHxcqxfFZAEe
KayDVS9vASjHBcUxmze10XvWbiaAicaNJwnkOpiWiOVN0WGM9MZn9Wj8ISM6qWvnYzWiNTqQGcH8
zC3MQdzFBQRFAnGKjdTc3rKiCuKpknn+0f91JTuLOl3PTXt7uqEe3dwRUcum5ClDtXpFL22NTntE
KV4ENntN/4jpo+CdBw1sdHWKSR3BWpRh21Yiws8Y26Erv1meZclfzXu3n8VHhltfB7NFQF5bya4C
nAICfX2rtyvpad9HXRGwB6TPDOkMeq6zFmopkZqIFFl3DVn25GbGnktRFSPhtBv9Dus22xIaZAQm
OaFS3rFT7M4T2wwdeilTQdiRhtQmNi7/N7SzW6tl24CMQgrTTjSectJJvNgarmMqx5/5Oo0H2pXD
h9LpOC+RKeuwy4xF5W1T03y6F0wxp1uz0TN9w7zsYBlICmQ67qOpfGnMpormUZRtZjlXZP6bseR+
KPP0ZMnMj5lEu1jQd1CEg34xnquSsmOCu4IvmwW5HZp9eUOVkd3obUrZeF6k21dDA8KSalSTcACH
k8YmxI4L8+4l4/QyjNpeuCFUyMU3VRDlb3Exih/kucXh1PQsm3o/Uz1WxStBSvJuymqjoPnX4gXh
0U+e2NWyXrLfa1/miYLWKKa3vEGmYZR4lNjiBFKc7kmV+y4rxLDUxiZGgqqlEybe3lmbhofmh07J
Zlu5Col7sB6FF6aUsioPAGpnF5FkDe9gQDKMvW7WQF6UV2scXo0HEIUFFUX5/aoBDJvz1GEpNZ7b
xq2QzUP6D7FLQCN+EqbXjopontmctYkUiTy2SLJdrerPwPn8O/nL6JcOWUreN3AA0K1fgS1Qsnav
MZj9mTpFJ4gZH6fTxiKmpdjHj+Kp4917vLMsOqS98mVasJTnrN0CIlEjRpM1jSoIMFNwER2/iuvN
S2rxvY6X56GY/FWihDcGPYzHipGyGmm62SBi+loUnxOPB/mLtpYQ/dZVTlbmeDtER5XTF0zoVEgd
4xKS25s7nUC2yBqzJSD1njyY+G0Al2ckhnRQmiuBHXiThPekD/RW/WiQSzP0vIgrkD2RPoXFPVl1
KOTJt0ssEF5ilXpdn1xxMO3+c6aIrR4t66mlLSOtEo2NO385AbZdv+p8LFKeZ6ySvJY3A4l2llbu
9W7wJ+tSzWb4XwPENwmaVodyaYwMxL7oawtXuU3vTdFd14xQ5gH4939JcT8acEG6A4+WUw7sawrd
/fe//tf//T9f5/8df69OVUEA7/1f96HEg3nvu//+t2L++1/1///t6Nt//1vXdA3jIf/gedRYTUWJ
P//65QlkE39b+i8F6WxHVsF8xZxGycdZ1BAhQsuSkHhdEmFD+Hc/OqhfIcjp1a5uZ2heT0u1M9WT
DBoz2+T0EIagWn3JQnfktHTBq52mnWhmjphN6WuvvgVxnA6fhPOLhdamnP/955Afx/nz57B09pGE
0km6Zeh//xz4GHWVPeJ41c9pSFTLHgns/dWCf7U3PJzmnhGINEZ35av8VH02n8pkl5+/Pwbl8TP+
cQyGJKNKki2FL/5+DJXKmmA20nhVno0jrheXEJLpfNu3b9ax8FMv/oB2Huqu7j7hybH1COrPrnhh
UBtgDdgk4RJipw7i4+KT+h39/uikX54hU9IsEf0ArqWfji5WYQkVXdydWIXm21WqPkD8IQ35MSuD
NxAnfVu+mzqMkc60f/+jf31i/vKjlb+fGJEKTNJTTox8ptWq7hnyRYlrPKV7w++3+b4N6xBT0eH7
V15vDijrSD4V2/U87Kaoi9RX61S9SpF2EU4aqQ9/ODrZ+NVl44ToMghdTVN/unVIpjdXdv/z5f7W
f+XloAb72c8PCro2W4IRY4OhkZx0zzgID5/gJeErL57avr7fveEELv73Z0v61SNpWZLJwRiywnP5
97NF6IBEGII4X2BEQzoEd3BCfRExNqULWVegiu0HgQzhm93TwHXUJgD5/PuDUK1/nBRNlGWOQaTP
JCHl+vtBqMNNs2Qw6acaFQzqame4K/tJ0C+1LocmDitRBoKL9/UFhyx0WhTkVvUpLetTvmaR1mjE
hZFsUsjFy7xQF1SinzVNKJQmrJjKXST5FZmwnxXiOU+mL2I/vdeKEhKNjaNOsmn9HDJi6KFzq2ns
dJBhhOSsygaiQ3ODvooH24gU/KSoBECaaiAV8NncJeIWjOVokMi+5iS3FHXw+xMjaY+b9e9PuSYq
CsumZmnIgiT172dGVqshGUV1uqx9dwS8GvBauNN1ForMb+f6vYLcVLY3Gq+XxlKouLwFMIBIRx1H
R67X7ir8MFtli0/cmTIalO2B+aRbI8q67+kt7BPSbVRlPUzgkIiMDjp2D2UzOlrPWwAmgjnTvYA/
CHz3AZx05KJxR3ah4h05Lwg/TDtFYOGjEknKWRuvqgEEMUZerLAxZ2bOtM309ZC3pPCt3nj7ENCz
LR3fuceAPBE2J4/Vt74aSKaQeDeloZypn6yuHp2vH231oQzwqkQF0iXaX0VyFGFyhDUJxAZPWsr3
QkBX1vuaPZnwQInfab5MkMQJYF3Qncxq54MfclOtgvf9rVjfsGxEIuEdjcGLTBTDuVCf5+Jhq8Fv
WiYkfs4uYgGIINTVwnrIpIPYpt4wSBCGAP9P5f3Q0BNW8IzhxXQMOoOJqbu1OThgTjZqsvhY6x5Q
cxdRj9tIS9B26MZT2gJcLm36DtjZrRYatWbFWLHA/l7q4SyN4SglzJby5w5mUIs0GwP5eBiACUsg
yLOVBCUm3hWdyoV5Pq1ke9Q6D5MZLArkMc1HC7dLnxykNxSuk2d2K2UIDcGckXxv7aZmdcek6z2D
3vkfblXxl7cqAi3l0ZlWJfOnh7iemrGUYnG60JsKhHDYZDuGjkHlyQE8q6D3mSEFPLrmfiFAPioi
eSNurCPqkA239aHegUM7YtWPmDL4qGyDKsiDzs+j8Uce5dHyNY20YN1oQbUro8lnmBNIm8d/a0Ea
Db4UzJtlsDUP1EHEvD9Yw/SD7fZRdcu32iO5DKJuoPAd0qjc8f9HykYIVq/0E6/Yk5+yZxobdqH1
TYlIlgkEX/eskB6p/4cTJf/qkdZk3dBMWUNw+NP7CdWHHBsjj3Sbol5vtOcZIVPdlocJzZKmvGGB
uMrC6tdFuout5Vh16p+WlV+tt8pfDuGnVQVOXDcgipovLP8+MXSES0G9WdsAQKajanqYWeVZhl2Z
C/QISMXQ8+iGA9ZmaufXfeoITCnoc4X5ANC3/NOt9Ms7SdMlSUIbDWH5cQb/UibGJP6N4PnmKxNg
vFfE297Nzdw9r4CRK4OtOB7EtBzZkh/k9mxYm0l2fn+R5F8fgqU9ZGGyRan690O4Zdq9hHGdXF/e
PubdFKR29PR9PQRUdt4X2X1+jv3zWd7//qf+p2b7x2qvy5apGKpu6P95G/zlgyNtUvSb2UwX4Z5i
wbzZVQ9FX6GbqtYOnbqgKL6X1lWKf6S81oAu/+Fjq/+sBnjd6I/CRLdU6tufzrzcmlY8xlJ8Xc5Z
tPr9rvlyj1zg2pJr7oeCGYRD+s+9svfHrTI4MIYcugjCgaYrs4mnqg/mxOk3cTS5h2XXvqwgd2K3
fzFtJ9mKl/77PXCsSPhGWfyHmvw/b8J/nrv/OfTHFf3LuWO4UY2jvM4nHJjvSzJ8MW458cdAVdZH
fgIp1TioQlpCwXLXFG+2ik3XSdFCvFGvdU+/v5K/2CH8/UT+9ISVFVhYWZ+mSzHKwSOIY8GblJbs
zRVGM/23dS03dza0t4Wo7vS1Kz4LExhrcRinJGhmomXyLyOvLyNN7BYSlUJj7veHKOmPi/mPM0bB
JRugjiS0Yn8/Y5Pcreq4qvMpT+SnWs2Q9dNajItsx+4Ogu6N2WtKTsnDrb4+l4OxZ9xiqwuTmUXZ
iEwNeRvZmtD5RNxjPev8hvlEZZ6lttpnRI9nTQHC81vb6gwbvyC8wZM1ooe7OTdEfLH5oKGPYaFa
1zLXvt5oKmnJcBKpejWrOufsVRf0cNaq7KQ2/zJhOr4ly1td9Ie7Tna00ZCZIZ0tqf7aijThspkX
d4f7b1bOYi9chFbca7IUmXRHm2rc6OgHSoudOYYUej40ThXxkiQy9Jf0kqiTq0nC0yMUERN4YFYZ
x94gzazA5BeAORTrSDaOkwsmoWXtUahexvgCQ+AymesVZHhpFyo5cCTsWOnodtN07OMl903jwxCI
5bsZT9aapZ6hpF6j0CtHs2CZZGzcz3fZxGIPl356qeIvqaw+GQs/MFlP8oDBZF4jUYEqJbd+UySu
QtyqtB6z7GSmxIWSLSmRKlRrxVYyxi+pYEBsgjCRwjhmUk8toEYZ3bxRFuihPOZ88BBdSX4xAe/b
paBj+LlH+Tq84sNGqYVykxWdQdbmJrMP10Y4XzSzLClEPU7cFb5ocz6Ss+NiCP/aytYTnXA9pj9r
rgFFAH4f9nQSHGBmXHHDlEIExBo3YT1VkV4XgG0pV40j9+shpSmj3c0/vN60P93Yj1XuL0sBko1E
wd45XZIoi5ofA+PfqN+hRQroyPq5B5WQAkILHkUAZePkY3HZsXGn3kDA5TH7oXgo/Hgzh22ImMyn
ax6Ubs3WeQnrAGZjGCc2+r8oCZiI/GElk3+5CP/luXy8vf9y+DkOwWLtV5DSPj0f/6P+hl7jrL3m
nh29emiidsNoH2T7Wvo47vzE/jHZ4fkPq8MvS4T/OYifX4CMOEQh0TiH8oYN9K6Omqf6eQzpLPlW
YARCYAUEfnukoIZ/XMrlx+r4m5XJ+qmUHKTeIK2lSK6lDTcit7ewxOzF2X/4kvuxuvF2D33OHncz
+2U/toPXYLRt7wvKN2dxD733fli9gJrfJm/E9m/uRbI/V7ff9ZFvR7udaT9dUlv2/AvvLi+a7e+j
fdq1HhETbpA7Nre9a38lAYt/N72Drybor+cfVlQE58EOydVwNqt3+HHOnMo7h57jLZyW1rv5tuec
AXG6TBTsP1yQx2f+xzkxRQkNPm0V+mh/vysQat0YL3NO4pgB8PjgsBvXRENUeycbRPeL4T223pJm
sIVa/cMPl6V/dpt4n5kKownNZEnRf7oiWT+iPFXN+Fq7LA5f8cbb7IZs0aO9xr889Tbbs23sJW70
HRGvy4vEnvm9zEc/xteX0iOSxpE90fuIYjvSbTuILlEUHf3GPvp+xMW1I/uJP/OPewoM33/iz47+
xX/b85uxfQy+Vs6THV2egifPczbUFM8bLvT7u83lPwWv9vfIvxyPUWTvgpPovx82z4kdOnZguiC/
7JO9OxAI/5+ram2+JPZ1I15iB26Ho/ubaxv8GMK7E37LnG/QNh1cMPbxeLwcJfujsd8ed+AL8pud
6WguzGG7cG7eDaNntNjPdyexN7xk/OsXIkbszeb5x7fHLYA10n75/X3weCn/fBuQOaWqBm9sE+v9
32+Dqi+HMr3dp8vEbEu575dc+XwoF+P1KNzup9//sF8WpExvJTID2NIRKvL3n2apQkXk2n0+WWvv
gCp3dMH8JiPTMIz5B16I8zx/WiqJ35m+1foRtlB+//z9MciPT/SPT2ySwy6DWQDB81Nhl5ZVLjDT
HU+FUngz0VsIGVSSpqdq25SL36T8WIHCQ+umDeS/AH3//iFsX7D2ThXULWvYwvntkdDidMHNxKwu
WmP17ffHaf5q2VZpoGmi8djWaT+VfDPxcRX5ddMJu6xTyjd/JK2MGc9RNcawHwEPWI3gdYwi8UH5
6ghlpE3PhNU8GqS4Nc5pUQH4lrxcqn0hw4ERoybXpqi1iuuNab1LoM52KPj8db7V0ywSFvxq4odG
kI8+PabemeXmDfJ+c0o/4c94U0nTQyt2xkMLNAgoHmeo+zIq9PxhNx/NfYHkk3F90Cnpk1GVXqoi
vloXu1UZM1pDcEOSB8/lYNbleSo/YgWJ81xNTtVm4BMKuhy96cQYjOOq23Xpl0IQfjA2yUh0ER9j
1APzJFA9CNUbnXhIWiWCknsdsekaX4MudzvCvYURFbTQPU9xzC5YwEF0luPrqDH0Ir3DSm/uaNTf
8yJ2HnOm31+3X97jdPlk1cRrqsg/b7qWdZLBKgjChfm0P4enAEulg8AxMJ0/dVtN9VdvNuYftKeB
ykuy8tMDRcoyJ2dIpmu2gxfmzsckso7jrvHUTbntWBzL67KRIvhiobjJP/VAeE6c9JBF+oEGxU7c
pIdq37vC+7BV9+VTHZUewavppjhBpz9UnnTSva0eIKbcNJtbQKb7vvgQ3oVd/KJulDfj2L6JIUiZ
J/nQ+0CWvRs7MXmbHqst2z0/P7a+dLIuGZOBcYc9JZhC6F672gek7HRbmq2h5C9bB7uFH7+gEQih
8gQQ+Y74/fep4UiPz7I1fex1WzE0Tved4pcci7Sd/UK120DcCjsGxXuwHy4MMlcIFb/d1tsRDMQL
Z2UXh0Tk2oO3bNAIeJbfeZrPbeyZrvWMqMUtPT77GVP41gyUEHxi1G8tnybTp3ZU3h5NJf9Nsz/4
VhEJbbvMx6bnmLsxVF5HPrhwmd+F7bTRjojEd0MgnpfNsQnSABP4cT2jaryorX0LsKpf+w1c1pO6
EY7pXj4Jz9j5VNc4ys6w4ds9ZYxZJDdzUw886ekeKof8CiEBrU7IAH7Hdvk9DWbfOkjuwsmzotmv
d8CQn8Hf7ZuAuFr75tZh8Tlvh40QyoujuzHn+h6RRe02Qb5ffXWfuX2ouOVe9PL9Z+rljrbvQ1aV
4M6ZTyLO/39OQevd7Sc9Sl6Xk/LRb29BGuqb+Dy+MvZ/RWXRbvWo3Gtf+TkUrVmUB6k3bjE6uu0O
+fyp3hWRP7t3P/ZW/+6WVwKgkbC9xt+NJ/ZOtnQ2Nqj+domvu4s/bu30DErKKaLjaicuOlevcr63
Hi/UHSNJTuDjVX87WU/EL9wuxVZ24kPnxSFkPC7W4DWbclM8Z8f2Vdpmz7fwdpGjW3gPJKd0Ka4O
U2RGt2+M/d5JWzjG9P6aXWrfeZWfup0SiL4eIkV18TuemBE4ZlDvG1/c1YF5JHOFr5uIOWdoHaZg
3TZRtrlv9Yu5Y3h/KI/TK/3lYHLyoxzS9tsOYeyq22lrnVT/vi3s19Y+tXbpDy46P0/5SLzKE1wC
zkI+4R4Y4b7Yij5lYciR2Nf5Kvr9HtTLs7i16Gx7wlMeZD6nZM/53KfRss32ktNvzQj7iENUVZju
0axEmNi9ngam7t4iyF/c1fGpD6CP7VW/oWRNnCkkj5dfhVcehy2c5gOZ8F55lra911BrvMuM76AM
HIfQ3ODucypXc40TnUXHWb2eiy4Fum+50ycRmo5xYNDtqTaNUOfmrmG7pdsftF56Yq8WZAdWiz0C
N9c7NS4j7q3h5H7r0GL1UHA6AlskZpve3RUOBrMz60k7AO7xUUUG30VnjKTQ2PdBcq5tFMkbPcLc
7ZU77jaHvcJV+zafCMUGZ3mYzuahdLsdT9Ph/qpzPVvv/Vrsk33mJXshVM9vw8badVvxTeS0C7ty
qz1nu2mbePPG8NRI5m7BOOtaZw48IrPcN3fI8Gxyi0/3IAmqbbInIS0AyO6e5Mjw2u3o8NcdeGfc
rOBD2dYxOIjs1oOY42Ix5Jd+pLvsyyF7gMLm2JewCe8eLo1tzE/ropWlreKwTb++zoGxYaR4MDb6
Ydqkx9Fnks+GMmeNSQ/NVnin+eHuZK6/dWh2y2vpGq54GH0WADd9Lq4JFWO9pxt0Ef4fae+53Cq2
huteEVXk8JegLNkKjn8o29MmIxAgwtXvB/epvWzZZVXts9Sz10zVDA1G+MIb5sahWqozfNEf0Sla
JTct69qak3pMrVsOra00z1yWTe6hRL8sptCE+A9b03DmP+ExtUCQbJZScDsyQnFZr9QFJ/KcStcK
rdV5uIinxoqMid5es+xX3bRd/n2H/tJz1cbQTJfU8RbVlTEj/5KyIi+ftxB8hjvEvW11Sy8RqEL3
iNAYCqsT4udufoDUDLTkvV4qkCA4JTQPRXkbrspmSKHpewvZhnyV2x/p+/bf3+P77Y6XRB3BEF1V
qLh/lsK+jC+M/ERpfL87FGU3VQmVEIBB8UTen1puewpcNZ4d5nndmsGNWG+RbryS1H8mSBdRLCNQ
KGaroqUalw1xaihp0pz64Q546kfrPMYH0EP3pD7c3t5IILGH2WGgiGoroo1WDEoCmktJyB3zI8md
2MF0upIWq/SDStcDmM3BeTIWKMXPXmAfg5uGjwkeFZccO3e2VARo7VNmIQmREey7EjPJY1f4x7cx
8FPQkYcwZfGiRKFirJsEWAcddIoqOB1SWEHwjr7N+P+SW00tr2EvmG/WlE3Ozqk3GHotrpZKfgmn
UI5RNWVspaiWcRFzhwjNKkigdgfuNEYxzFBn4N/nGZSWW650F00/Kjclxy8CpdwuyUSZl7P/l9X1
ZRTjbH1ZXUkeFEDgxOiudSo7vgkfo+mt2tgnMkuDw/lKUvYJEfgx+V8edwEhaDDatsyElj1qwAgx
B24fg+Q+7Y85odFIS2zYdycJZXiQ8qlETH/IochE/j7DWlXvADeI1iE/WsD/cMvE2vSkyrZMyx8n
hg1OdNKw1M3ckSnmdVEyLVP5oThrKDef5wA37bjhhjnn86PY7LQ4em7jCn1/5L+KUvJ8YI6t9QL1
CkY/+GPEkINuI1b6lZKEMR4pf83CRSRtwreXuyNbWuTFS65E5FJO80nzXk7pYvMhzZgSHbuKW0wy
j4jYa6b9nTRLFqDo+POUK4r4bVZR7sPqg79//LzPMUlw4dwnE+p9dyL1vtM0fkZ9Cl+nifoKeXVS
T2PahtlkvLt9znWsw//79aKfpdO/F9dn2vjX97yo+8DOTk5C3XN0RaIXQelye53XiN+dYZ4ORosi
5qCSD4OTBFva5+uk4H2ATr/JMgzD9XZTogOBtQOxa+gE3at09mfIliC9V9lVsorDYZLlo6HOCaE8
M38ZMN/IO/c8tgahbsOpJZU9PhZVBxUoOW+QHFqZYPIkWK6IEKVeG5jbFDg/kjeOPGJ9m0y8r62R
PZ52L10iM7izPle04QWhq3nbQFidncQM2fnbY9tcKZD81nqRgNmSyomirFIs+74bfQW7M1OTWRin
CD0mYVNZ90czeE5L4QZ5/SgIp31Wu8fwsdRu1XrZFE/yubBF6TW22q0c/huyf70/3Mij7UGrXBne
r+/z6/Audm8nH+EBJtJ4ZOEIv1AXx5d6LhIrIzzCWs28dDLMkCVanmeGB0COH6rbbeuZisyMjbuL
hzWMd5yHM8kTqUn3M2E+nmwFHyKfxViPPdK31r2Sbvb449qpq/1Skfk2wxdbLzELXevL8dRl0Dkb
bxxyB3CDS4pIa5a/1rPPYjrQbLaURLNlFrwXnsDOylzaubPw3fTGZvs4zLHJrhON6542J1TkmO6X
RL1zbIIIYa4Vl7VfyjQMXifVR+FWgsr/fXmIoqHQYa2iOyhaU9F5PNqg5yqnmjZT/m2/Hu1HxV6i
aUiJkzLk6818evtWucCPbA5I500dK8Mco9QRUW6yZXdztzFn2AnYd/uECJSisO71106BX8rxyK5Q
prAMS5G0z5bHlysmQjNuwONiXDXp3J8Kj+UumCGVRG7ckF6e5uG/YFbMx8v4tHo8uyJVe/zi/DX2
wkS/wt1YuG8mZGZbaYr5/ERZaAt0IBbjG6HT5UKemJbz8330T/IGT3bH3we3zVuIr3wX6TPWuTzS
vn6Zi4peLQKXP9UNR9qjSvwQzHqvmCcbnKcW2EBXLzJVDnmRAxCRF8iGgJFL59FGXOhARUbYCDk/
lZAAODCYkWKe/38fmb+Qz8ffS/kLxSrZ+Py3JTelrmN4BfumYFlmrMiIKVBIagqSmXHBApEB0/U8
/ub40aY0NybU6CaZi5cKibo8Pg0sC0sVkg7QyXFyZFflL3H+UulCxm5BKymbIzc4olWgEyRzZZqt
mklBCtROio/Cw3+RgGRVucNifB0S2BVpIU+O/Ldico1oIs7y95ZlD2OVlBTHr8nfl4n6W9ymSqpi
SdBOQY5elPEFJUc5+lSOywglWX6kdMjgwM3F6WkyIl7+a2iRzzB3GRfokQ9cmA17OGDSxkkcFsrU
2lZk0r1rMVvZ6qmfDB6WwP9PTQ9JY6yGaGmapYgXh6VUSaEwNG1/CDDqK0QNXQGgPGqOmRcNxyPS
WtWrL/tbU33ptcXfk/Wz5zFiP3SeLAPB0y3lIsi1kOPM/VT3d7Gu3EQkCoIGZ82kr1soH8kxwA63
nlVdtkXya1GH/V1fBDeaHBsORMdNlJw8XDmuxJrKjzbQ56BUxeSGM7QfMxLkQoINj8DNb59cVNX+
9S+oFS+a92jbvZ5ftYI6GTrDtzkHEuIG6w7ycuOG22SSPnNJOM1MO5CcXllY0o/ziWGRWCmSYSiS
onziab6cT1WfGFh/Z81BmNF/JqE+7AL7/f196tuhDVrGnX38/XaMH0v5+xPVi6UM+1cdMsjlB80G
yG9bHNZ8VXpRqYvHsxvYu2y6o/90gw4jRS7zyXzy6UplDtJU/CBinu2m3urp6WXzcrff9/ZHQF/P
ch2MHZf8CtdvO/ZwdZ3SYL2/z+z77Sz2Ztvlyb03qUgoVwJabVzL307Fzy8ELEwxRA2r+4u1ngVd
EcK5bA7WLF7JC21fjz01Omc3z9xRNhSAmb8y3dsVEjT2w3S6O9s7WpekhauHVWFvGOb23zb29rP9
jO/AZqQzVTh8lb9nntbPlZFe3P/crFGO/EJziHCEkZdWfy+Id3VuYb9GU0CnHeMv+nxlnalQ5g+V
+AKk0x2ixkYuDNw/aqW53IEvXuVU5iBFhHMUjvBTRAGQIhPZS3nc9WblZDjEylxYHE7pRIlO3vm8
kOOYpGYWgjyt89QzhNKLSqRbu7ey3aU1gv1IKKjieWpq9yGd85bTVT5O6oYMp7y1KPLBbYHPqSKF
Ua8BfqHkgESXjTyv7UPcPGW1bTVPQ0F5C0ujHoamET8PEbiVM0iWo1P4j0qt2X6M3QjcVEufqjqC
OYkXyEen7i1PKwwIVpptwW8/ofxbaMim1QW4uXv0KdGXRRIS5IXcqrbJcHZp7gTyU6oj36HPGnxj
jqejWwvClZPj9x36v+V1kUfkZOtInVjiDp8xXdm20DgNyykHxK8Ru7obzPu/l4k8roK/1vPF8akN
XR1E2AseSmFfhP/OTHKlLUofwV/5Li7X1nF+9lF7FmSnKzZhtvbzJ03Ej5KFgi0FuNlDKL7l6Ga2
6wYmjl5h84SUDkJyNioI0zPksr+H/BMMb4x8DnIGQizZMKQx8P1yip3bPoh7S6gPSJp4aNkvW69Z
p8Tg9PZtZNhm+pLbftY8aPMrT/5lsnAVlFSgs2CGKaJ9f3KswByW00jcnc8P6AgifhLaGCfO/K1/
f7zLsH1AtR3mj1R7dfGvEz2jwYKrfWz9p79H8hMVNs7Bl5FcrBM5HKq0BnZ0GHtQ6UEHz5DceO1W
pb4TbExC9dPk+JLskJo8NfawmluPyS5ZDHNlRTl0ifcRgN3qDaH9qbovNtkhXJ6mGC6SJas35o3+
2KxOVI0N2gjqI7j7ZbgLl4Zbr4cFyJrqFbjH39/o97dKxgfBgA629Yk2+fJWmy5HW0XlrWpROMtE
1MWmkYkE00GA0B1xrg7LKnsRq9dUwjMSSekcwYvcDFBtlyFqR8CmH/4e0k+IzzjJpqnrqqVTLr3M
UVM/rdtCipvD6YBKPIzF2hZ8B+591kLB403PLNQRH8/v/R61zeHJBNS+OL5Gb2TXxqN5X8R2Q0D0
zNFiDlfmS/vlZv02uIuLKCqOWX1CRehQokYZqpuTNdX5WQRvACsChNA/2vQNSyxbtExX7w8WuZSx
FfJHnd17pGUgMN5lX83y9HXk8Yq3sU8trqxtWLtHaSoH79LnYYDHJQYyqNhB3FVtpVvJ2SZU10f0
HIXB0eAln1UIi/I017cnuG6WMNMRCEFxBs47F4UP4NCaQo/Yc5BsdR3BJCbEh1ug59KVs0H9kfSO
r8yS2Z6WqqgEht93qCmIfq5UXHrJfbNhWMpj/DSKgSFLNmvvkwXsLwRpR9yd0z8OL6dNSDw8hW6+
pfy2E+46r9mft81BfTXmLUTLrXCDRU+2Pz/POAWHK9v4M5K/OH1NhN4JxcATU8+7OH37IcZStvfr
g7+WF703uNRniVmaZbDPQebrd/lK3gY79DHk7flRpyF3XiluM23ummn0zpfR3VvdDffdrH6I1jTw
Hk6zM6Io9OQkLszYrt4QlXXzTXN72pr7dHnyFK9eJ3vNsWhe3RkuEtCUJRQY/05Iu6ejwrTnqrlS
2v8JD+G9/O+L8nq+v5cWXnlgCnzRyju5NR0z3ZEoAyf0FwJ0CImVgFFPMC52LWJmefP3Tv51WZAk
UANXZVGmo//98ZIRCg2zXx/iOVf9XLCfod26hzVOC96jTBuejiUAat/tSM+zteChJwh+TnEUrhNx
hQmdjUbGBB0gwjUW78Zw/x7hz97HOEFfRnhRIx/6vEBMSaoPA0HHM37sGagPpxTs81JcdWuL6OTa
4uM7/1h7X554UYHTkqRP/MFsdyftH+7jk7p7Re/OTg3Ba/RrwLjPNOzn09SRSWGpIvf29zeAK4Eg
9lXQHIo36TOXVezgnmyW/Fl6Uin0QqJ707xbTs7MNlegmFfd4uxEAP4yZ4f0vzfQWhucO5SpJ3TK
3HB65Q2MI/hrhBdXqoW7ZJ4B+zi0PeIsjniXx07lzyjndeihrvJFchO8cOdwuGeuKnn5298D+C1p
ZAn8b4ouDgNL1jPViMPm0H8gE7YCr/8+zCgOL4NF6A4P0mZw0l26yCbGQp3Ea5DqbsOdfJcuKFHS
vUU/7ko0+rNK+7kq/++QlIttqxexbGUhb+3sSpMTBVCEh0cc5hvVtcaFt+uAmbfJsflcjQjGJf/H
C/mcry8RQZQLQZKqnBn4Sm2MDRDmBxq5626KcNdtuM6WwpUGqTzO8F9PvKg65kbpG7HKGzh+VJts
V+6qjXRo7mmLKK/VHUpf/abDxjJ19RthC9PzRlgo98MiXUCCec7R4rorcQe8xrQZF97lqKDZEBhR
WWT/XC5MBaG92BDrQ7cSHtFrQG58Odzp187I8Wr86zEXy4+b85T6sV8dSohfwN4DN+HlFk73GK4a
5zTpbsMVpAM+7Ud/L03E+2CZP5n34npYirgHR1MRZMjRPeYkWI4fuOigoXzRyyiY2zDqkkN1C9P4
Qbg1blHf3g376kot6NdjXof5pFoqUaSsXhzzgiYd9fCoVweNWsMr+CUS89KhPwaV2PKQ6ZhkU3N+
tt+tl9pDBI3CvPAUA/45uVt5xIbCTHMhS7CiI3d/vVL2uV9+zPH/BngJ0IU44fd9cK4OGD+Kmg1M
H/km4S0s7PipuMF+E63/g/GA9kJIXQNcTYufDIIHUH5RFXFkfCx0dGvs9uCDsqnsAAz/1fzq111v
cEvSA6cKqVwWbWK6PnLu59VBnI4f2h9UIXU+gMpGMNHkSPcWPd/j+rgOb7ql5eSvFrgT0xU8wUN3
fQVPzR3LIKDB+P0R11sw3e/nGT0G9Ul9iu6SKYHY9B0avnNLncd5WK02+09ALqVZG8yPPUJ4TQc9
E6dc+o6BMpbzWTH5+Njzv7vNYlPYq5wiP9SAEwASNKYdcCmLcAH4/2bWLtO1detvtCftqXw9PlgH
Za7MjwDlrpX9fw1u4IFZSEoBGaAOyc76clA1JXok6piQio7w0LnH5Xl1Xg0reLzbmujrRGSTufei
awI9SZ2/b41f86avD78IHNJzoUgNtriH0yraZXQaxGkxx0gbm905zagJDNSdvOo2OcfUlUf/dmJ8
ffRFsB3nWl3mckIK0hiOUj/UR90JCmrQR80bJcmL6r48byXU30rRQi71QROQbVklWevEbbT6ezQ/
yYCGAQQatLVEUQBg78UxKURS3KvQWg6ll22KW7W0032yCO50JoFQzpMcVAvnIrdWS7+gWubTcnbt
EP2sPVxs8G+DuDhEpeGUG0pLGJd8KG/CY/Ju3ZkrdV/e5MdrL368jP541Gf/78uq8yMV/V08WA5D
vJOr8zLWjo4wZn/tixHQ3o1WwvEFHx5H7G4R8Lvy+N8KR8BkABEhHmGiLH4x3dWQtb6AjuoBnXYw
kRaeoDCsn/x58Fy/yrfdVth1r4CIxDmqqbQj0pfzC5VCaS2+6q/Wv5Z2Y3EtJ/7l/qb9ALZJVlVR
5WffN2JlVedw0Jvq8Ph883ojUGiu56Wd3wr2a2RXNkwTfnT2TgBNhpUooNAY9A4/5zcFkJmbzcJb
iPbiJZ3dKVwQSJrb+9ALgZ31AHb++5AvwSfY/r16PzEwl2/z69AvFk4Y1FirDZy54/E3XkEkqq7o
yHwEho42pY0UwqQkbeJOGxlQNtJS9js1UT46CUpOp3Psdpr8qnFHNRG0AuiFBtMaxszbw3jCPlF/
ZvSuQLwG9+GfSdiozcfzFUmWpemMV95/n7+/3jjxP76dJFPcoa/Fork4KQzdGsxU6Ln3zjq68CSd
sb/plHWob8w8uGnr9P7vB/6ST5mqwdVlgRk3oWtePDGs/GOJdni9x+51i2Yqev/JaJWxkg2Eo8W1
HhlugTREKep7nHXd4Xqd8mcBfhyCQeFIQvmCusT31YhqHI5GUl3vJeGlEDtXa5HoDcoZKBwny86j
yZCXWSLC4TRDEunKZvhE832f8++PvwhmdbxjyjAX6335Ud2n/4ZD/649FLz/0MaqUwiobeODYocP
xvP5ZNNTfqr+BY8osSOaQIr7bFBeY7eASZ4eb/xXmRv0yjv6Waz5PsKLe1NSOu3kx1K9zwvuK4Kh
5AyAIrkNi72s65jc0P5BA681n648+Geq9/3BF3dmgLAuqxSTNUgX/cQ0nfCpwS7akd9GBSt2/Rsm
q0eEFp9ZrvHdtYBB+fX5hsYzTGnkro9//uXoRpM2NzEybTC8R97OO4PCrOC3YlzstgCFIH6o6Aw7
Kd1DDQXbadjbIsXt3MazjuZEjTFw4/i0Im6MKXpdPgL0HnLntzDdEKvVHKqOnWKnrROBg+3dv2fv
515m8v43eOtiZyllA/VRL5q9UWh2eA7nKi7djTBt9HdBI11tiitXzZXZsi5mC7XdTPPNot77CEi2
KMiWRMVHqXbSMHdUhHf//n4/2R8GX9AChyrrSIIB5fj+dqxMaLXeyOu9jBdO6uB8UjdIs7tnhHlD
hLAc/uFN6RllVRvEAcJJj5Ujz6O1+KT+w7dLQJKEbXOCz4wBDa4GNpppPkZ1gO9SW6amNDgSpGJk
4T6g+5S14z9AhSJx7GOcxa8cBD8599+/j3mRxCdFJsXWuecoRL4Nfy5JPnlmrzylTb4YhIeWnloa
r6FGT01WYl5TK5UyJ43bK3fcL+kZjRNgvaIqopsAGvT7xEZNYEVla8Z7EXRfvQ50GnNGhmI0SEgf
V7qhmEQgfvVmhux7dd6Y8dRM/iXhoovuCuA0VeaeUNSRcu5riNxhFs/M2vCy0EAi1IuQC6jeVOZc
78NJokYIU/RrGQCllR89XfRv0oq5/sjbepIieqf2nRf38ZXd8dts8yXRHaNDxOa+DMvOPv4tsqwk
+9J75Xpx36Fj228BhRJaom5zZbH+sjeQcVFQZMKlkVjsooiXYTHYBGJVHrIdDA75BlrCnXElslbG
4/DiJuEhuiYRXlt03i42hIjOJ2V8Od4fU8CHlqgdAhNwm/qQ1EglYBjXKtVdTneksW4UtZmkgoEQ
8iE6vZioUaR+h1J2OxXynVzc6wZ+uwnyw92DnGHTVWzjcqWDLZObSdSLKCd2a8l/8c3ajXTxTa2l
fRpfEw6Rxpvlj290+ZLaFAVkutvxXr07PpMmbJGFnHZee1AfAGHshWuwgd/Cka9TqF3EAoPfqedW
xj2DHuHbea7CDYmhsWlcPbN8m16RKPltpyF4Z9C7ok0p6ZdI+qQPiiMJEdXW1X3jfYIU6pCaYrY7
ohC7EdcqHgLIpXQ2krzI3q31VbkSJ9Gt9OI/Ch/DS+ed7CffjnfpRvkIl2y8ZxxZ0vW1oufPNwGE
gkNWBQiK8qB6ubbOrTocgSqK+1iRHOyF7iI1Wp4bxINldVaH6T4yhOegO3mCyfmYaxVX5JDNULr1
/j72x0X8bUl8H8hngP7lTi7UosiqiuV2/BjmR9pmMcQz/wZIcXiVqD1ekX8962LXWjU8h0ispD2x
qG6gB+xwtOWhh3JoqjrByQk0O88xF5icsPLpXS585TRBXD8cvMSchfVERW7V9LCfEjle4PJdu+R/
riBU3jQqVUi2KVSCjItUym90uQrDSNxX8aLuN8O+p5znR/NSQkfew+fZH/X8XcxLEbzQ1+35Lsrh
q3Wyi9ppuYYpyHpp4C8FOyyGinVSLyJkD0+vMfoYFNzQwPd05d8ZmwH+u5YNTGVShpO/3+l/faXv
My1RyQIcAwyEjXCpUSCb5/yclvg3DQG6gkrp9ohbm3ruRpQgN0oH3xf3MZSRWy8RVa4HxMmTFz1+
rQRjmUPuAIY6F3vTLlvVs2r0V7XTTRTeJfA7mpPpVAL6K+TYShIv+kpyGxxiswxpZR/xXCvPQJ6A
tIofo4FSGHVk9YQKXZY5CUC1BlmsaiMQLaQYrnR5gDy1ZqeY/pwMZBddOdi2EnbFmcE1F+5K7mmR
7mAkEwlCqOOOlCAM+20183P6rci6pSbugXCTByyKdAAYUlzPAsTK9ONWIKxN+o9TddNIq1zkGTUK
CVgVpQFsT4zAK5Oe0xF3BbjDYSzgbHqrIFZZCeG8bNErEFPrPU6wOBcBZtXsD0whWsznjo0+QZQK
3xTarAbooLy0T7K8wSJjeQSM3vn/rrzUcXf89U4vwggtlIwaVxZhryA5mHnZLOvGkEujWq3gxGQP
G5yYUJU1nylNdO2VcOrnOQF6zlDB+LIzsO6+iEZHCkllibK5bx2J4gE8O7JuAdbY39/yZ/pGsxJ1
FaRvRj0HQjhm4ct5FMWKqmdIQu4Jjtz4nwnSNl+dR5qRrSwlhE9omTm8Rg9aBx9ckyYgt6l0UXKH
VjQSI9LFtXBD+XFxfo4KmUODpvXYrfo+qvqY+fFZGcQ785nFYT5jKDVHTt6FRfiarSxUPYyNtvMn
tWgPi2QqYCxiW/CMqhVDuhXc4CYx7eY1eZD+ybsrM/YjMbkY28WpqqnFuTO5ae7IXJNklr3oC/Ee
JkkC5BD8rFc90w9YH9+O7hn098p6xr7caTUnn6nnpVq6aQoyGLE5iile+xpUOHhMKrrouds0k3sI
w3+P92fl9mK8F4mUVB2t4zH+XEnHexxAeLO5i9jJ28ML1Ga7ou0s2lc2z88OxMVDL5ZvKmu1Jp14
aD8tVqc5JFEWsOninITuRz0yoNGjrWdn4hLYlohy6JSSYCfBCwP//KwdtCsLXfpRJrkY0cVNE3KU
UpNhRI/C7JXX5eHSQ7SseNdK5T/r9CZNDaxfZOw5IP1fbilLxDVUyzVzj8kwmwohTiAIKGIv4k0P
kP7kxA5Fw7NLA+EaQegnF88k6BcJcaA0kBd8BohftnObFKNnGEmsZtlY/5b62Oqp7szbGFbgk/BS
vgkv/b/mkVJM+6iuygfEA15Vw8ZQj6Swe2qCK8vvZ7NzHBE3pqiBUbZM/WIlqB22nOr5WO9Jowpj
jnK8n7rNyeYuqhuvk+30ny9OlHWAxkpipx8FDqD0x9bW+jiPN/ojxdzkiZQKf+3TBjDu8crC+Fkl
uRjgxcLIULXCYYYpgyKB3ulaw90d1rmCibRTo0uNf90bGXi7lufSc/ghSnZMpn20U/r3+gyDSn6O
ORgGakhvKCPbjkQFwxw7X0euOKp0YlEzD1uHn/y9tX9KaF8M/SJjMsuyhvZm5AeM29S1uMmWMVQH
602+Dx+VV2XSbKOFOrd25TuVnnNto0xdPal7YxvvmE5k1304zuSz03KPFwHqcmpg+7vqFbcc5fD3
WC35x3X6bR0YF+WBGIUisPoldcLe7h6HNwqjQj1V0Dim5KF6feYFyayB/NE4pu9ZwiSFSKR6Juha
4LM3Qz+JzXnTur0xvptOcYaGuqKLp2FBkaQd1SlRaudPrdRBaB0Dn6yajH+H+GWWLsfl9VxD48cD
SEMVyaFugvAqvxO+hHgVn+FsFKWjp+M//IRGqJV5lFL4Q/6J71MbhcVABgsIpZEU1JbxOqFsAzf7
NEH3JJJdcGgjFC3ENdKrkK8/uTEONrjKIU+FtwNJ2Ej4VyfX8rCfad+4DmijUoI2ZPLn8Tr9susr
Wa5UAQgDpZd/OKtvGvPoVRlOHFb6ovqMWX7i/2ZDK91GTefKcXAN0vCjQPA5AvyCRIN4gnzw+whO
RjnEpXDM9u1iWDVodjyUd4Cik8Ap34Pn4L19Sl/FQz/HPJST5lX7l640l+hxctwr8+wVZ+6/l9tn
av09euPUQRmY4EFWJe2yGlU2TYTjZBUfqpeEIx78qg3szTG9sdVhwAGlMA6DRbIxNnBfd5h7TDEH
cyIEZTUHtxC3ZqvQ4ZiLo0wJ5JjG+aC2MhNc6is2HgfAy4T5NS619ss8fh32pbAXdi+p1fVpfKiR
BjDscFotRtLTeSW57bRHieqzS+MUEMaD2dnVt537X8Pp/ZYmzJwcaNI8lnAC36HiTgR0Ju44oyaC
W3vqyBRPbU5eBytZ56V/GPmCV+E0ovpzo4NhHUl1Y2JnXIJ5xEYUwzIWxq9QT3rnvnBxKqe7P6AS
AxwBlTQTmIfuVRC6RgUUdVF5ytx3UnbGFt1xMBH0jMzpAH9c/ui9ZNljG35nCtQPsrtoqzwMk1FS
THD0uT4PRtWFjTmnSwWlN1kYzhkd4GyF8MdqVKY7ztH2RQ1Yg7Ak31C5gi2ZIBpyBsStzxQPE+FP
Cq/1JMzpAcC0UnfM+ix1PiI3n+ITsTbR+/h7df6USACl+HWOLuo0YRyfkdJVY3DVintezgfepmE3
2wESn+wdkbcTFxiKzdGFmQTb3UgQw8Ngzj2JTpL9Qha/6Dp7j03R7VWA2s+qAWPTCWGoxI1trYv4
tuNG0U9ikhwQq7lRnmhzfxS3sSvPE/RuazRPEGiAXnP795T8LGiOU6KDp0EO3yD3ubjLGgG9aLnM
u31w9G0rZZ9Z5zElfpX0RW6BhbJooLY0LIVmFVanddS/BhEe7HnxcWUkvyQfCipPyOqBliWMu5iA
U6vUWRkq+QFP2JXqIcMyfZAcc+x9Oum6n115nPkz1UNnCkg6pVWa+sz797OzM6tSyYI4PiCBjsSj
hNKuxHEFg4bDKr0dXIMF4WHE6p2BjxIzAZILZiLyOWjqfNQkRvU8WKrkidJKd9BHdY1JNDMm+IID
pCu3iMJDzTUmz6+vlX3zOgr0JV7pvI/taBYe+QCoKXSWMg9eCoqYoXt7+4bszdNT776cvfGDlSRi
PnibAG5AAdHJF+hzgIkZpvmsWAqAa8eWdz6pGAQqXvzq/fbtdvW0uVu8YHwC3L92ZBfSxE5xULSg
xR24KeeowfE7fnrn3387PwdbkyK2grsTOJZ0Zk74cJVCQZU8Fe1NVFfQuNGc/2j2WMkiXU/bil3R
T7BTQWVGJEkddRoh5Dt3YKt5HAnhxKfr/Peb+0ldRWgC7p2uwHbTAM2NJ+GXa1crO0U6nc4RLy7a
aI996gGorbj83miyDfGqvLce213VOX6B5fkkvI8ftDVm0NBa7DNByFq+OX8UKMtYtNecgiW2R2VV
oegxQ3q+fQAhZ6woR5byLLom0f5bXD52BgFegWOhyDDGa18GX8VSkmgY22BoJU1FQVqeA2Ef4OGn
GKedgfdlbz7mnT+TqmR6kvCMU2KgdmXpFjLKD5gkVKV+P/r9+pSxAyvYF725x+XcExp5lzbBNvJl
5GUHdEkD/xaNgW2DlLEdaun+79fwW7EA7wzE2uj1mERBFxlGcTppRmBwZ473i8A1D/wDkt+olAKm
zfUnyPxMoBBAb2Y5TCN3hC4gQ+Dlzj99fQaJF4/qTldWx2+p2LdhXeQVrVTGJ3D38SFD/2qEWvRe
aYcO3Rp8ibxgqtrhpnHxkWInKPbTXcGeuJb1fp4dF2GQpmkG6ReCiYYuX7xlxBElo4oYRPEYzEak
iuwQ+FBQGvcrUgLe7QADkhjaRivLpiCQOtoNFkxXMpXfsu9v47iIUAs9rf1TwoV3hJCh1HPztGzT
Bwk19dPGbOB8hMVsKG+Lup78vTo+v+FfM3CxSQscO/VW6rp9PXCk4DOGWwGWdqkxCzWYRqk8LVUI
THHHmXI+zlqLaoTyVnT6Gic6LCRq+qadECyaxIdrmNykHebdGGyvjUh89o2n/5/Dvbh8zCQ5FnES
jNFTD9/sVV30zoeAkAytUljXCX5CT5xvnwoPoWe5fz/+1/cEWF/Dt8HCe+UyWy/UVI/OltrvSz/Y
qJpvny3cNQz6nToeWoYdh/+ydloWY786m155+C/BL74m//fhl1X0rjHFXOpETGBhjk7Cp3aNvT2+
GaRonY5w/LBO38P18E9HCTi+sl1/6RBxgIAvs8ZbX4cR//08HOBtq2lbJgcc1R1D3ZTnlVHdjMdX
KmJyAt3uBAGKlroftV5hYhWC1d7fE/DrbiViHiksFgwS9SISOOfW8Yw6ewgjH8WJxjFku9kd1uVd
32EFZFEkfMoEO5qfPac825rTzvWlhJKmBzSifTBPV3YtAQ9f+mLzgCvSMWVEHkM3Lxt8NWZ23HFm
upeFY+tmGCDbOsqm09NRPd50SQ2l2mg7RGWsYZ4ljXlbV34yVzOr2pn5ud60qJBTVUDdc8iOCAmd
atUNhQoq7D7y/UfqLutWf6os7fF0JDmDlJKnrWK3uTUNAmPu9yV66zVtB1/vdNw8mtYWesu8xXPQ
n8jHblhC4zMIYqq+XJ9j+eTQy7PhhhQOFqvmRj42ubiV/Uh/0BStxoTLL2iR4MgpLJsq3dR+vs+i
sZB7rpCgaeRoklfythCSiShYil2oVe0mHXY35ugw15i+vjkNGhp9ctHhoNbhJEKPrXsQelOg4obv
oTo5HfsC7XkdU/MBa3XaGEFJEkeWyj1Ds+OIME7SOFqXRwieYmDmd5J5W4jR8TUYBvFVCAY/8trW
KKct7MxpU5zSldkc5WkmKPjaA9O/zarhLGFInciV18emvsIOyNgPJ9VOcupYaqOlgqefm+Gms2pA
WFFkgeuJGrAOanIqvfzYsqRE2pAdanpGi6H7eV37WTs7ZzEaWUHFW0BPH+rY1M+bbXdWQltrENlM
lbtTbywMA40OXg9bonIVbfQZ+j+EnVdv21i4rn8RAfZyS1LNkmXLkusN4ZKw985fvx964+xxZB9r
MoAHSTBcXFzlK2+JKzhFDU6/gflXxNg7nwq8FzQeqNxYifxSJrhpykXZ4yVEVTIvp5c8t/YGBCF6
kD4kX68+1pQrJKzq5exhiKQlUcpC9tsrsVZQNNOzReYV6wL3ULkeUDmqYZHL1/gKHbRw2CWT/6TV
D317SCWShaILbQK3hZBYqykxdhYDsXFK2yU+h9kIVp+lVrUIpKp0cLqxTO1qTM1tqe0kKyXQNTDt
k6bQ1WppkZT9X2VWGhb029Ef3bLIbi3rKdeyO4R1TbCpe68c93He03gY3kW13PRq9mio9VrVscvG
opIGAfhYEYOmUFKdBEcgdh3du7sKh4D6ZRwyCkfUxU3kvLPJUSS8gsvjJBW4xz7PPEeKtko8uLMt
cyKabpHrvMLzhClh3UmIPzdLI4NIa9Fs1PaiL+8qASWb+M7z10298VLMDvSVNxY2juWUprxlWt34
8Y1eH7BmzjRAtMZO6a6Qe18E8XjX9Ry4evsnbjhwO5rAg1i4iQJerYXOCOpvrfva/UAfv8SfXKW2
1t9oODGgwJU/pwh89/KrJEWris8k5mi2tlgSNrFTJsLaGoWrpme7glRqRCKjAJlkPXTVXnuzgBVL
9NYCVE3Tl8Y7JKZ0mCK0kPEuJ4+ylTJadV7+3lTqa1FcWxgtlvVHmyHF2lTO2D/AJsLdFb8rb91F
s3lS5JTUAbUB8yN50dL5xhLZjqNlO27M8sryybykwcG42gZjyf9s2/bbwryKhdQJg79yg1Gn8Ncy
tmamuUBI1pGPg5BCtIk1umI86iPu9CaN0FRalTGMVQsmhX+0qDRNy65fRyDopG0gYm9EyGPKjZvh
TBVBWRHwH6roiRRLKSRGVFw1uO6QUQEPUNbFIiJQG449yYJVUl8UgkXUPA/acG3kI7ahqdtLSM9o
t2H6EIQv/HfbbLLoYDTLtr3FjGs9FZwP2d5qBdfL2S2yvhzwmQ2zeoPHKWXJN+TC3EF9r2ukPdU3
Jbr3WJ/UhbP3uriR88j15P40TC0OtHaGtK16402PfRi5sbruvasme9e4GJF9c3BNDnrCyWbCc5O9
1CeupFp2rSKmSH18KHdxchqUVyvAJKTeVcP0JPpPhnAywl3nLUq0F1Rxhud42yTeYl/Ry7fDoCxL
XKOLtqWQDqpejKgEZHZtFEusgZaqAmxUuM2CQ4mjRZ24xoAVTksShYJbVm71cXTiodlgLfjcBzu1
VGzLuuunhaS6SbbShjs52uW5U5bXfkNNmT1XdAgqjuWqiMo1JfuArrypxa4Sdn+tRN+lUfDat8cp
Whjla8MywbKjW8XhY9juTdwrYV+EsJrucoRVsV6U7Nh0vOaqzU+psE3j3SDdp2h8xdiKXdXaqwGV
g/3hZ/TDlSo+JaG3FREiC7ECkcZ0XNciYFERC9kw058TLfNcPdbCjSinyUHok3ahFCDylVKRj7HW
xq4cSOOyVtgTvwcn32tWFqVd0Cu6STUVoPFZzaqeLGhFGsgV0lL8wJEZpFuCTarh4S7tCJXL6pzN
bDFg5cjs0BZ0Yjy7fAcksELTK3f7yrXAxA+uHrgxa1V1RETirHVAEf6gHFURP2/Xg2skL1vvwvC/
x3fz8PExmlEmRJniWX1ponheIDQlHYtccfT8rjWf4io5mcYjFvdbTbpSOmkVDNpiyIbF1L1K0fvv
E/id7/TvCKTzCBPn1bLVBenYLeEwDNzkr82H/GdGqT3rt/KteIO98rv/XF0p99lhRLuxd4ILkK05
6fwnoPscA21JGpNMhniWKyuhIAI3yeVjwpk4TulRKpRbqZ4NxEs0wxRaW50XX5r7bxWus6eepcJy
1QUFq5a51wCN4CbEo23qIvmAn42LumQNh+AZo/tTibE7PWp+39pVmks89vtH+JZiMBJgOhAEVFmR
STX+jfJJrsJsiFrpKKQ15DcqUoRjA91PNUHkA0ru74/7abq/Pu4s+dTETOstz5e5xQMXwsK6F9U/
lr4NxmoTAMZGEOLu9ydyH/3wiSURUQKkd3CCPYe6ZV05gl4exCMmWJkj5eLNoJt3kfpHC7p1bTEU
WB6htA+lLUEt+uSweuBLedd4fuBT/WTEdL/qzDHiysmlyglakIpISiUfoRifpOlvV4RXGvL706z/
j9GWLRbeohDhPoCmHwMLogPhhEV3WcHkcVJejFkqyzOvjcF4iUVtVU8mJ722CLxnNcQ+QhFduaJg
BzTfwl4zGEW74RgIstYJTHEjNe+a9gSWbZUMwSo2JNvIH8p0eAitVx8ZeWNoNx6uA2qNCb1ZuhZb
pxGqbZOPdonjc9sUizCVN72ibFX8tfpMsvGVWgPuYRkQbY2sg6wa3UwGFS/Kr4r4wI9HuU9vzQaZ
idC/FtR+NxjVNSkSvgnrcdgryniaBj+0dQNx8UB+EMXKESl5JQ0dlwxKdaM/1Ip3DQr/UrL6PVH8
XMb/943PgaVdYsZt7RO+p3dMWAdeDDeVwc4axypcQV7o/QLDsyF2QuJglChUJ4Lw0ziCSg6A+zZW
EoTGdi/i1e0W5sK6xJH6xCedHzRfVuE3JKqvq35Eh+HYl8XSaxQimCg/eWawNkx/UVm+G3TWRqmU
pd4e80BeG5Hu4vq5kI30AcGjVSH7JAHe+sL2+JbRzjMH01zSJRHxRPOsvuJZDXp4EYdwgJGRtmup
aXMQHBuU3T3KzM1LdjBFOz5epOz9ePJ8efBZbi/FePbkMWDMckA55To0OQ9I1lz9tStcjGaTv1AO
JsshgvXgNRIThiisXjqJ59f79lkwcaHbgIEKWJB/z7+ySet2IJ85GjAl4Rfgwh47IzUWj3b3pqLC
8CSYOyzOMQwZIlfoLgzgxwPxy/PPzl+taUohMXTpqHgolCbl0h/EVSkjyR/QC4g9tykvYUy/F2I/
P/l/73x2CIeq5avYlUnHGmcAPNnRKuICqm39tfggkIEKI4KNBO+Wo7dgwyUPcSzJnQDX9maRAVoC
wNWh4oWbOHH7hQmR5zf+7YucLchMJyuVU+ISVMFvgqhb1s0fASN4Sf4j83nGJrjOgCTkeC8nWoF1
oHltdeGy0YplqVMwaQtY3JOy9Ev9Kk1L2ywfVO2qazJkf4dLg52n6rfBni3iqhhCSTAZrAhWBsgE
9SnytIZclQh01Wkr6gsDKnuQYmln4pAkrUzue9j9/SLomcyFrKxTZT2KjqRcql1+shB+G91ZcKPm
gqrFuiAeBVlYyrH00mWV7IiQZLwyWcnR+NbJPhaKtbiu+gDQhvQmK/qx6pBh8dLHzFQxEbYWAzml
2Oa7ZA6GTG3ZsWiE5jWACy/KO43swtNRAvVCig7jGzRctxT8l0DR34pYowgx7P2YMzhIleleAAd3
a9ZN/RBOqfzeJEZ2Jchye1DTTsHAFAKh4JhpYq79gdta18V+K9JC6lrKG1a+EyCg+DHIaxkMpnJr
ygTTalHu0uq90Bo7MpJrTYxuWlXat5p8UDXhKGRxAX642BfxRFKmG9m1JYGLMRoyU1+e4oVSYpxD
qRXVzyKgBJIW6bI0gdkYXjrZeo4puyZt4BzmzqihKFvRaDcpkZiBcWyNPnZkVOZTdPOSRxMKeF5r
qyqEfa3PdsseyjeCmdnsunedYmCCFmbXRxgI0vEyhjvBG91Jpa0vB0srKx5ayVwrYXtXRTeDZr3H
bbLokvwwRB2sDSZepbxk3vYyV1sLJJhMO8LpCjjwq5mPB0lI0Ekp2uvBQMKZdJoscbpqcmxHk/Kd
ONDllW4MPQk3CupxZVYtCh/La3DuUYq8cFwsfIBcHRm2Vw2OYbwGYkBZajw2Qh/gm4wCQvRYNTf4
JKEqadyP2bhP0mlLsevWE/CYxMVxSLx9mo635VCny66N103c3DVDcatX+U5vKzRAazxRrUORrYVi
fJaQlk5VobD1MHPjonyjgHed0l/IKgQmPZQ3jBjPDB8nimw3ja+iZ0BI6x58z5MdNYD2n+TP4mi5
Ymi5BQ7TOU3CxK8PEqoiC2NInsSuOvj9tDbIeGyINR9+OuzK/Nj0KHSbCBdclMSSfr5Y/ztlz2L8
Uje9yS+JrLOT+NDJ2GLi86A+W7EdPUy+jQHsVQu7czwap9+v9O8dnrPz/SyzK5tIDuqAQwmoHuC9
AIBpNiuo6XRdsSAlD8dGRrUjD218qCboWcCCAwZPVXcgxZhcqIzxdOE0+jlE+++m+0SJfumvVm2b
T1lajEefAQkyausZasPT31YsE7tIlW3q4x9KXS5JzN0UPpKzAhHrXV1LARp0eIynyA6XviOF4ybM
N5ruzQVY2/OoHFEhq0zV9tvkQYmNxe8T+r0J9O+EfiayX4bOGRk1sM6ILh+ij5KK5Enb90/prbjD
bPUSUkv6OSSxZhHbuVF5TgEZlUg2QsR9jyIFpM6IXc+HvxRiLRomBxEXi3aKkOfEfkgCqUxxuhAy
WyksAvG5lgl4/fXC+/98Jf83orMFJekTGzmqpCMVISWgloFYFGmp3bCMAU8j2iTbcuc0uhNeKlP8
f8KB/3v2OW6tiqJSnLSS2aAipi2DcIF3PWBGZPxLFOwxoPFsaXR1xfUaapNuQQ24dCpiGAqBKpEA
lVin0J00unD3/5TDU677f5/pnGY+JoXVV3ouHc0BbzSqkHmBeCLMkyh2I4JWS7oZogtiQd9RfJ8r
8b+HnoWrnRF2GmROovXWATOMZfL0ZD2x+seH7KRTDs9tSossUiT43OC9xJrhk3heztTmorHhAYHj
w9EFFeLAMQBfaAeQr81r/tHche+4PV9XeDnQLeju8+OE1syNzIH5Jr+Jb/5Rer6wsH5Mzb/M4bzw
vmwswagNs/QK6airbOQQTIwJfsUoafblUHJzhcJs5kpB6rZybtj0o9ZR2W1+H4X8cxD336TOf/5l
FF5YDFXWM6l5ZbfYk9LumRYJewt/Jkx34IQDxqsdem14OqBOph3KziGFDBXXgrKAHult9MeI3OJS
LPzzUaDJJpJAiFRA/fh3ZLIRW5GXMz81okWmUwAZop5MGeK+faKvZ0q29SJo7L2ZNV9fUnX8sUSI
1uv/Pf5sYvKiCNVhMCkO8eKQ0hYqpdfIgpbQUZLoTWFTJdmVqsTvEmaftfQYd4Otl4+/f5/vaN55
0X8ZxllG0IrTaIkBO216B92cgN6k7dHbML6z0c4/jD+ckcUlsuB3ItDnU3X0CGAUQ+U8O/Q8S/As
q6KkAAtdO0XIZqYLj/02t7PsTnDweZF25quBtyb6hSaAJnpvSzNyRdUdP4ZX8qNUdnrBGfBDAJvJ
v5RwwA0B6KSNdpEf9VO8ITNPKs1pg2r0WbCP27iUS10RnbxV8cE5BJrt1HUsXIaZLcdrhhhqrnob
zPZJ1EY4Ksj0imZT31m1O163f5p27xkLrPxgZcDYyf6C36+EBb2bFBLrCmfvg7eh/4FheXybAv/3
jhro2b3pr9gEM2ILOhod62sQ61StVi2GABbcFqKNpT65NIiLewV1TEd98UGQs4H2lvucXQdbHVnp
P+2xciq6LZDK7Y/kPnHCJ/mtxJv7PTnh4/Es3UeHDw19qt+Xl3lp4s4CtUgaJkmaWF414+8bZZey
rCKpOiR5Dt0O6P+Q0jMjzIyn4CmJgqPsnwozWufKNaBWV8zes7BbCQbhS1FvWu9JnomLUvYQdWB0
raOC1yhqbvV7Bfi2kK/SaOnBRZxM7qxscmtx0RYt7d9XvXu1+o8c4Wwvld4rFk6PAnW4xAcGcFKI
3wcUxzio1oVJBztZSt5T1DZXVBBoEVcc6SZ9VSl3tDBfiCOyS4HgAMmyM6m481MM+mjyZVA/PVW5
CTR69K9NGzq1heHYeCtT+lEkhL2w66lF0n6fHq26UC3UUqhL6Ep9DISbRnpUrN1QYoaj3WA+T/Vg
XEpdfvf7R/mOfmX3fV3NZ7sPwruuJiYnn4GQA/jXDqcdp0fnChnxaBZmM2UQBLZZO7gRKZdcOJRv
5Kj58XM1jNKYBW3prLej+zS7simfjiBvaoDkpiO+FqpjhTaasN5hjgFlm1SRfaTjQwYQ5qk66icd
nA7NoMJW/kh0sij2YmFP9GGLHnGqbc64Lvv3mfpumfM5VI5HIDryd7SsrHmRoAklSDKw4d518KEt
x/v4pRII5tdmedfTZtf3o+9ETwVsxT/SI4YfmMxrriXBh3IEbJodY/YxlJuF9YfByuBnFpLlUPhh
cS5litPYVQJ3yJ34CboCvyHpdnXQsWGrHzn55bWgzhTDhtcDtHLhDT9BNedlDFkxDVBAeK5j7/zv
LUhQT/muH8ajMMrdsQ9Z7kJT6CtfE6vrZkxTQA6sf1ub2uTQ1YFcOkpmUPJI8RMCgNr6m7BOItdM
SXKaOiJ39F5iH6ZNCyOxS9tkGWW9uNeHEFKWcO1b4zudKXpu/lLwpWuhMvaVHgYbfxLjxzwXsQ7F
+UuC1aQhwaUE4cofcfwSWv6uVQnrDnF3R+vFjVYJ4VooqaLVmdg76CWBSI4b/KMCvdkZ0gALRmjK
v1HbjYep0Ntt2VjVMc1l+a4SIn+Vy4P1aqSTvNa6KrlrDf1RqrMqhbY8DAt9bP4WBnLEkZpJbif5
lzDo2k9no4GtjkbnRDGBov879QJ3I/z/zjq2Tmr/768OGsZs/yM6ImS++df/imVZYDkR/HqbMdZv
+PbZp9PdycaGYbVb7RY73X7GlG8WyzJtY4VbI/jkHf6Gr/zZHlj0PaqCi9t3QNj4mZ9OiEjatOed
mxv8EV+i2/zTwwLvnmk5mybOhhYWf2X+pTsYBfJEXOtPJ5wtVn8eIXY8VujSPyqQWCjrL2ey8H4v
268cFsCgAUJjTDr7lEULGLtOCOgUdgMw7B6o5+wPMdMvIn4Nz9pF8ZDPxub5gv46q2cBjeInRVlM
sXSMTWshy9Fbn6RXWZ2vW013tBHghG9d6caLFHQXtAM5vPhi357N0WZpOuQoBOT+/aLJNDW6mgfa
0b12r5nHl8kdQdDPPNh5SpFRZEpfbpjSm9MG0Vn4FovTZiNwSGxWqz+rzd1mswycZWjjRL/Ew4q5
z5b8jRMVYpcfN+RaC+psfL7lWwbieHk6be4+PyvMARvttGD5x5ttRtfYzt892vZi9ef2j72zV4/P
iGGIy8WO1aJgP4J/ve+87qEd7TCtb2woPeFmdmqq3dt6ufvUWduo9m4WXXuON4+YB+1YU6hT7p8L
+5VVhbbo8XD0nCMcH/fvuJ5F5HrbcNFIsN3Zgj62D9v18XjvXB0P6/WHC88FT5DDaH8cDoftgzu7
p7iGfb111719+Fhvtw/bB5xEDpZ7sDaHjy0VvsXD0yyc+fCguR/jSrFBis1OzPbDvFGuscl6mtxr
bEqe+sXTk7t2sSC5X7MASXVQvYuX6/X64D78fi38uMaAJXCLASC1zHOdwGLoh1irqSIEGvDCGbHk
q8Yp6YnZzYOSR8VyDDBnHrqFGF/oqf+Ytpi4EtHd0bFR+qxLf0mopijWhlKMxWNbKw94dyzlqLhS
LWz1JEWNXcGCBScZrxZNnWbw9l6DjL88lndFpawgfJ0CxQgvXCLfTQW4Jr+OaT7pvoxJGf0Kjgs3
eu3DBQUYU8v6xsDbz26KaGkG5HdgR+Kkw4TjxrJQkEpf2va5FA7dhBf3pLtCaq0nVXZbCI2SlkK2
9OgUUW96ylSasrBjwzrd0kR1zaq/sG8/24Pn25YbXjFo0esaYcm/w08GEWmssZuO4ovyhKgd6elw
I0RItgNsye80e5Jtf2vmDilKLG2ejPfaHv+ifDGabtWvstLNrUWODd7NhLfLyW4eVN+ltRM/I2ni
0w7lOA5DFxxcGi4yaVNkbiJtJn8pmrbYOG26HI89renT78t0DuO+vRaW7xi/ciQhRvPva/VKpwdV
VAhHyls5gsFEFMQfM3DM1lIXeN3vj/sxrjO/PO8soR7SoRylQZiOrdjRqDGHpTD8EZtd1f3Rp35p
KCNZ0UywY1LjwqUhB2sWT2mtdsUycicQKEqGUCSTV6aBq1Qfqo9nuC+7obFlhS/Q/FqGeQIszVz2
XnkdpoKTKiqsc+sCxfTHqiSgdE2D44EA7qdTxZcVLXm1UvUDOxzZITcFSxSr6L5YCrIv+jozIQVN
GU13GMS9vo+CS2JOP+4oS4TbihgpLNtzfWzDk2VBbyPpKInKNtFju5Ah6XWzYQ+GbzJFe/WjJc+t
B8So4ApPFbUosEQS8oaiUtqAuVbWaDkB2PVKxi2l5kYX0AfNXb2BM5wBjgVOVcT+wRc7in8Xjin5
pw404sEzvtxQkfQ4yzGmoC09bRSnYzzwTSW9vBrUxlFHHAHbh67sl2N2nEqSfekjRF5XrA2npBUm
FCGc6GBrpnf6BK8Jdd1IXOnR6FY18U1+ErpynVOVRoRwHyaoewaXtPJ+jMvgxlGYkJA8A7jz777J
e9TeOlUYj7WeuEXiryYDWRjLeoNGCXg4DnUGUjxmJchAmg0KMmWN+j4RqUal4voaUNgYRl15lXcl
lO1g61NJzYfrXHjvM33txx9B2FPqITQSt5X5OIJdn7h7zYNUUIE1aGB667SmbWi9yV36jh7WUpUG
14iKjUzf2Jrp/bK4noxi3U/brjAWSeUtR6W2tXI/yDW4Y0CnGj5V3kjZ1lj2oe7k/rC8sOF/OmAs
2VI0yvPIXalniVwrQi31QOPT30fGH49Xq5zw2kgMCTAsnTl/rY98qWa47VV/ZXXxe09nzPSXDZ56
pgngDFFlPxxdIWOiU3WZ5eJCVlelxsUhp6cOxHefvVfimyjfWlDVmhDjL7AlsrEUSRCDxrpVVOCk
47BOIhFDWRONB2oxlhymF/oUPwTriohojYxovQJ8/mw902Q08lAhrJRnYoqBbnmGd8AQb6C9X3jU
d0s7CxTSf8/6FJH4cviEk6FruVZJxyo/jTpiw8NTGljuWBRL9tVTVZv3igmOQ2xXvW6sqBRsTAE+
pPZaBs11rlrbKk1tafCcupIv3PU/xR9EPSI3paWjePipAPNlcF4JEL7v9OloapQl1eLRbIpNJ0l/
pDjY4LC2TJpll2ZOitoPdIV4QShDwWRE5yBK7dzTi83vy/AnqCMjIkPnwFZVRT+7dyqDtFTvUhHl
MW0dT82qptlWi1MHwsW7KeruPZcEjRqatEA0ctmJjSvjtyYo0lWrojMtGWgSK1zAtV5uSw9KnwQJ
Rp4Wih9dihznO/fsTv461vPGhqrmowhJTDz62danx6IAQOwagPMc8Tn480pAHcK7qgWOcw2uoHJh
z34ym88GAN9Kxghe0Ux+nu1ZtWVLymohH8dC2an9dRQCzIbQgmhwqdhSwa6MvTa/SZN2vKpqK/nw
xx7FOrENb6ys2mcEUVQgMQ7SknLvmeJNAQqsVSJbRdUjmwQkwjRgYlW6z4L0Ss8KMulgM0KmnsTx
QTYRs6A0wFEVgWhW4/tKH5f6qBysvsfEPDEr18i0LceK65e0W4TAek+6t37uUyNtPFg5GnIaYDfC
rziZboL8GFKGpbm9bcAQ+ryOhWSr7QVw+KvcP3RGe/RG3E30ZpO23raoE6ftABvAJFXDdptgg2UN
pdPKi6SLF4VmrkIvphA1aytzPunqmK47XXixgPwb3kdl9ehuJ97RKquNmakXVvNnjnj+gWblQJx2
TfS+zbPbJ8CpL/MHieIcYTJcaZoTnSvTOi7t/t43HHlc6eZiIhJKFgMWhOOKDyJRJZ/cFHOBCFi0
M35Ay8hvkxld1s4wvWVcrKsAqMBK0tF3Iw9e0eXlg0W4s1erqlhq8rKWF9KwurA559j5/HUMFRg3
6sZcE+daHUOClkdpBbPmXrVSU2VHw2FNRXQo1mZ415gswBsxpHwuNBtF8BPqrMFJ7DYGAH0hzJyq
l55ioO7g0asyf62N8U5ABqUo431Wxne/j3auDfw7WCIVfLt1mPgmRZmzk0RLBbnUegabG/3BGEtU
34DjeP0l8qHyvVBA/mZRcNOgEM90WQby5RCN8i4TuGvCk3bTLkbsFDqbrmJMDDQ4OMVT98Pm0abZ
cau9SHdgm/R3EHoGsE93FBza4gGo9cf8jcTz8enw+yR8v9WxGRMl/iF2MxXtrNeRiuFQJpY8HEUZ
C/t2WMet/GyFxaIuBnpDproWq7gGUSleuFp+iBnnJ1OD5GzibjkvnwSTGPr0CMJTPNJ6LWRb/QuZ
6Dii+r5Qarw5nUpy/A0NAhjN8tO99w5sTtx1B3IAiNZUBILlpazmh5oOgzLx6zZROyfdn0/0L5/K
0L28DbImOkk39SLZTFC9kUmkU9IvjqH7EO6JQ1BsKfCT8Rb+0nSyDTT11bjidsS5AjbSYsQuGj/H
hYBIV4YsmYCYHE1OFGEqbAQACS1MnLJ1W8KlWVrXrvmULqi3caohoULdmNpP5FqLzmmX+Ua5ahbx
CqjTHR7QmD8YWOt+hG600pE58VGdQdaQIszva+IHwA1lYFwRDAkdafDsZ1W1ngzFz0d0Oppdu1IP
+aHGT9pazHbS4rK4Mlw0b27kt9+fqvywFMnASICgySI/fL4U5brEukgdq6N6Tf9dPqRbRPY2w5P8
t71Lr3x01QCL7czb4Ig48nV7H6A5g4AH92bpWJmr3QEMFA4cgCif01OlNffWdktxq6a2tUYtK+0u
XK8/tLuxi+YIoYyAviEWKf+uFt/wpHLoy+boPwiYibJOqGfARNmO98EN8ID2OT+Ft8Vb8wjGRL2N
9uXRexQ4Z14CLrhLfcufzhmgPNjdaHRZkQs9u+2lMe7gQeqoi2yQlDwMdAsd4sl9tdU3iRuvFbe8
1/b1kkW2wpvymN1bJ28x+4wakW3uhefk/pJKwA/RLfezbMAX4HQx0Zv8d4rGQiq9rhqy03ilPrQv
wQ1wxmO/0tbC3fjRLHomBMmZ65g2WeFGF/LSH/rdPF2XaOLO9TvMPv59elf1VW6OoMOzk7ItHkGW
HvVdsoDVtUKS7OLj5hvj7Eb553Fnh6lohZFQWPMHcEUUTyinr4KlhsSJ7OZLb59duG6/i7Rxc319
vbOLJc6Hshjm19O25T1KINwi6r18L6JPAUCFLvMpvmrs8AQ9dwMc8pTfFC/mmhqvmy2AmW6DK5k4
GBgLJ/2KXjawhD1qRadSnOXaLmzv77HBP4P9XL1fjtZC6IyBy4AvcRPfFctq5++T5/waJCGJwn1D
y1fl57TPtlSKrrrHcKVd6evxrbzpT8Jf9c3tgc/USAXY9baL7O75wvh+CAeYTISJUObRaUaffbxY
1eterIzmiGslorQ0wZ6so3yQnqB3Sp2NG5B8j6fy2Nvqh/SYvwSP8m1N4Tyw9Q+goz1BZG6rj/4T
1JVastMbL1/jik49BDNh7cJof95XX0Z79umz1jMaP/VZ2ZiZCe9IgTyUD/JrehUckQR1tasY5sbf
ZJ/e9idx/ftUSeIPEQ1zBSPFhEZEEHC2rwIo22UXjPFpQiAo2yA5vE7XvOi9uPWX9SK+o/myzW5y
J1ykV9FtthsXwt7c+bflif578pjcKGv5WdiXL8AglumL8kh8Me6bW/NVvB/vtbfcd8C1YmG3Thcx
+Ahlr9/qzyAp1saVBDzXFtnG5l499FfCut12GD0vFbArFBiz2VNMO0CIX1qb4KBuQTcCEbX1d3Mt
buutgQkgrkqYnyNvAON34y8NoBPhUX4bt/6lq/THmYIwNTu6KYBvzs4/fRILU54w6hC23nWxSW78
lb8L7iKUyH//KD9wEdhfaEspKF0h33+ucmUZiRmB2M9P+UI9+A/lX7+2s5N5P2JVipEDRey9/6Jh
P4ir1hN61fDBKdEamo3kVnVlLuMLt+OnXdW30/C/AZ3jDXMP3WrJR/0SUKWUz2X1AWJ85VLpm4Uw
J6d6riQbHnRTu7EFiJXAGKqIM3m2ilGm6gwwnrZNOhfXayihOK3dDS/FZAOPtK3UhQImYK+GexCq
UKWjVq6iLQWkphBCpa+9BdtJEBCbdqXa2qXL9oeuENONnAb3mq7NXcB/r5YpNatELCeIR6Pjb/P7
ZCtdFXtzPa4vSe9/QiS+TSTpO4KvEmHZedeekoUqgs1tjoSVe4AT1/M8vgeejbcHqIoRPwLkBPX5
G9OzGEPHV1bL6KN/xf24Qwv1BHa9PnAlEIXoIC0+2nfzqL57790dZjl/0qO6W6Qnc+ed+NPx1nqJ
XtUbfdc++yeUsbbe3fgGcFi674/C3/y2/fAehz8gFphZDrf2tjmk79Tu6sffF/RnQfH8tQmqUAlB
L438+CwKNaM+K9CBICU4ABwxUayybEQ9KXKRQLGa5AJYPBmkHbRHIGMt4lZwlO+7NZi+P0Srf8OP
8L2/aQ7jprgzt9J1dbD+YIujotJgK6+6tUKoASySvA2Pvw/9h4YCKeWXoZ+djyBiAg9VkfY4K4bC
eGpdyOUy8fpTf6RDF5mLXnR+f+Z8Pf02W2fXVzbGequFzJbYdtvO+CtLtauNqDLFvdvQDfr9aT8u
/69veHb/oI9Z5u2A9m5RcUYz90oI99kKPsRJd4LhraWzlkcox6LA8fujf6jYz5Ork55Y4Fi4h/7d
earZ19XQx92x8qfikJmpRDkaTGtbDO0CtJG4MoqiQeh3TLsP1Dmaa0OKoDCN4TT9maALn2LNDxzI
3DdmMS2NVncTXeW6JJLfABhZexqMlFYQ9vSLINYHJY3LGu8Iod4jjED7okDqVQtl1D+nQH1JMoxu
I1ldGL7aL3TYEqhdEIop/0PZee22rmRb9IsIMIdXUllWsCTHF8GRQcyZ/Po76Ma925bVFm4f4KBx
+vRmqVisWrXWXGMm9DGFqrHQclcayU2ajo5NDa5F5GJb+JU8Cj3D4m9pCT2qgA/jx92dVRTpqE5o
JEVO58/1WkB3oaTvYgQiRGPXsVu33eSxJ8w8Nw/HnYqo6+8Z/hJk/lpL0gCf4/KHWuhshluxLvXG
C06HiB5exHHFyFqfdhYGmDOfy7ctbqMpRc4p0PbHRrCbyDGm2Xv/ET8P3Gm6DNfxbYO1t3FlYF8x
4veBIeLXFElRkWWSUPlViu+xGsDR91SSBcSIYKhz0g4Cq6SUbREhG1d1nOEXySo8Tnprkt1md+6h
hjBIrxgEhmFvtGVOonTZAQ64QysZ35HL1A5/z9+w9s9GCbpPNsiDiWxe5wdfUFt9Vqmc+SnvdZLd
nSJ60e1u2VypW/5KoTAdPIiyFWkUcuLnboFGoWWNqeCLZMK9vu8PXNRPdoQgFb+8Z6u0tVei0/K1
oh1IAkADK8E2H5tDti+f4cqIpFfYPCE8gKUtrwU+8qVJMCx8bDkiSacMgdG3cF/SBeV0lKTk0CzU
MV6w9Wv6YN0FM9x9tgOt6MpcGEMg9WvSvz3v7PIrQxjKcqWO9uI0nAdb3ammyivPTfuRu9jQuDCv
Phtq0bb+iSQh23VrMEXKsp0JjrVOZ+5NToVu7iwgdzSO8JTf+fux4aiHPIE+geuuZk5wo5efbO4n
I28tOSL8R3/S2ei3vUV8ywmo3dU7jFI36V1FNLtMTk58hwfFk3paGe/ilQaGXzvw18v/9oOHF/Bt
ghu9SYuOJr59OaFfot4Oxld28d7fVfur0sivL/7X7CKbH27woP7OEWZSShdUEATRXvPz29R6Ebgf
it3CO+IoRgRmetm4TjaSDg3XPS4a3SUWw2aspq2uMgBmiePSlTd+LdICeZ9nwH6CuRBAwaYaTLYf
oJPpSOY195TzM/Frir6N+mxNJHlRyXGagaIwm4VOfbb26GI1K6fnlmAJ2ZUj+OvkOZ8lKslI+SiB
y6p+FhPKMW6ygsErSR9hQ69JedyKud3fqPf9Df6Fo27m3Vkb9V590W44R9S7VHY8aYhcsgqzKKd8
pQcz3NcnJ1/6d/VDsfImGU05LzTTr6utsRi8Mtp70MMH6aWcclnfHJ1yjQpvXe+y93Bmfaivbmzn
t82+/1AJ+DIb6NeVu+eXHOKPn3n+aSMjiLU2EKN9Pmon5pQazCTddJQaHHVRTuQVFTcHdPTi5JD7
eCsekc6AWG2h+5b2B6jfWTAql+kR42Rs9268GefKRF9r88GutJgnE3nm4pkczKk0zaxR/eStiodr
iSljOMP++hFna6PxEkN1j2W016f1DYFysIWn5I4hnBFVo+Ir7GZcjppFM5axP5OW0UzF6I7EReKY
I+GuTx2uLJltON59+pLM36IpfFXXNlz7NE2X6JQn+sS6T6CQ5yiD58YofNTmzSy9WwBud8SnlHTq
cVPag34PsKw6yybmLDlU82B5782tmTY3d9duEpcOpm/r0zjbMuJUCo5a6vKbK4Nyk2+7LsAE/Tah
mk8SjY7r4/jvo/CriPJ7mpFbkSXF5O38LAxlucrghfn7em+8YvADRkhPb0RMKYG5q3YZrVg4Wj8q
YVNXo+PTMXaO79G8fC6SOdQeCE9+dCtak5K7Tz4FKXaCPLHPyauYYxqukyvHyK+M4bBlWOpwoTOJ
MXCV+LmrBlVkJIA6oz33AtIE3oSz1Bgfl+oy2gSL7NrjzjOGPA6tFsUXdFuSTG3o5+O6OOo7M2YV
Uku38/Au1+JNU21E7dUUjJEUfUYULNNQ52KX2m1VTvxTdnflFQ270tkr+jGGYYzfDhLKM0noeXkE
t+I0rWcnPNGru6/0urHzF4TEi+PInRrjeunt2+VxWz+Ur/lS2cWL9C7+wJncs8lzqetkFpxshHTm
mms3GWUZyNz277FeOvQsicifVC4E+P8kpr6N1aeI2ntGFh/yx5wXJD2ky2bibtWlv7nypAtnB2kU
Q1cpZIoSfo8/Z+VUxKqgNZ2/J3DYxRuT+sNtDe6XpNF+i+aPGt5GLG23e296wP1/P/1XMmdYF/wW
GTEYmhZKUT+fjkEkcxCWnAVGO64I72hlGdc1PLWyttUmm/WK5bRYSYJ4W6T5q5oHkCs/CwRgnlDv
qi5ait5L7RnTyFOJ9LZaextovQ0/clwm+VST5cnfQ1YvLWV0WAyYarZlKWcX0GMYqXUNP29vftbF
iLyDdQB+IxzwGpU/zWgsYRaBz1SE+yWMnAEfo8sDtCuhAUddxIod7MmhylSplWlH2aRdo3Lz33tt
or57e2V3ku0MZTnt6BD77NPo9Jjss4e/f8SvytfXvH/7EWefP+V/SwnC6LT3GsgNfdHbZQdF0xhy
U/d+xTcaR09uQGdn1964Vo0VC3XT1m3IsJlQUpmgp1N+bZe4cFZZSI/ZHxApohI8O6usxPVitUyC
/bGmD87QRykGK30ijNO430oWzD4VTzfgQJ0ASx+YhAUKS1fjXXBCHdhYGiVu/0r8+VUEPN82uBui
BDNRSdHZ8HOJ0kDhp/RZ+Hsx5FU2XYsiIQAKD7UgkCJc1DCjat2tktWHIEWhpGdHSAUgodAgIGsU
pNNClmN8cM3gVunojOyryUmglyQ9Nus6kQ+nGE6wrt6UgrmKFOGFpu3XrBMmlfiio/A/Rdkka3VQ
dtVnVmS7U0jXgRuCe8XS85hNYj1fi1K57nL6TI/CSK0oMOit6SL+0PYqQ7yydoYf/NeEnK2dXE2C
sDvWwT6upTc/lZ6DVlkUFf3L7p2SfhQFED99VJvPsSSODH3VGbsW+VsZzUJgXkg3use/R/Sr8fJr
NX97RWfxaGykx0qM82BfV+kY25JJ6r+f4nfoUVo7rUpoFCdS9Hjb+HE66pC6edG7bMU2KKOdUR76
ozS1wBKfZNqhteeYhkJ1aJcDJ1Eb627Y4ptZ5GswjadCHTolkB0tSGe1X2lXNsRfpS5DZLNXJUII
bv4yFdefq81jny7QnHMBseWF+olUZtzPucihRsO3QKN13HZf5TVtF3a+FHZvxchANmDdmaOa4hcm
gqvQflLG/V2z6Uic3pOAvzLE4fX+fP2McIA/4U0iIuk7e/1uwRHd9xwYedthbS0/pMVJsiVYy5Fs
rJTEqcFuXrll/1IOf03Lv4d+nSPfzkPRZz9OXTE89DfF7aNBw8mBFzQOJoin6N/Z3tw8DC0hHyQe
N6cNXBAqZ1cW2XmF4z9DAPtHkRf9tDpczL8NoTgWSaqLvJl6BIZn5FMGmpRcuI+YMcGDxzNvoYyf
5uVGu2kP03hXr9u1N9M+kxEuVzv/9eqcDEvh94v4vwGd75ZtbAV5jsXqPr1RHgdzG4uYHSOJ22hK
GI/VBLCykfwwlnbi/E6gy3hWwse/CukfQrdfw0BUPPTaDTfms3mBZ2T2rtUOKzadHxd0Puz9Z3jJ
p+kD/jG39fiOKrwjvlojkdCpWB6vbNAXrmnIxQ1UWMQvBo0OZwsy0E6eogWDRfA0eTkaIzlc8E58
ZdGBmaA7wVhySGtk8wgspid3onD0bqKVxI38zaSHad7Ctc1tzrikXsFAmBQTbR1Nc6QMeAGhINuo
D/mduqw27Uv9ku/owVGSSS9uGrpMXczBx/5j+yzGtjyoL/5edb9PRBhrFB/Rf4qAqvWzya2zI7Lt
qAv2mgR5JfW8iZFWGyFSp1VzZRf95XI4LHDiGeyn6N8fpEE/F3jrKT0UoSDYe+5UckeuMVLKRV+g
/bZxe3o2unmBIToCRdUphuu5dqdg03glHv36jM6XE4Vp8nyEV2QXz+JREZRSpfYxo6BzuQyxZQuD
YtN2Ii/QqyZaaE30qLt3BW3se9JW0PV9r1Hml/LX3qeDuSdUOCXivAmyRS93tlxxWKse2KA4XuTw
mHqYDYEmH4xe29S5Pqp8YR5gr9p7NUev+pylPq5/EvQPA6pbkdKTG1sPUaLS3ArscdRbxqhQsSjp
/RsdOWbocuZTwtOpn//98n+VV/7zRv7NxVnokZuGlQ5OOkgJiCTwQbk1N6eDt1Q+/c21UPziZ/R9
4s9fv6rmMozxYG+9xtgzPB+31ap+VNfFgn6QSbmUFXAVkAycbIXoZy+sIbAq24S0AfSyDCFQvTSc
bhPuk1UGUXLnkzjQBqejiTfDamZwW0o2ZTetP/LVcRdt+g9XGMUI3yipvZbBiFLFlen7feEbFvS/
6TsLC5Q8ytzOkum+b8fJUm3H5i0oa8sbN8Uk32LdN9HacVrsumLsY2WVj0JQdkv3WnbuyjC+kv3f
Dg7Xq+k/xm6Ys3uTeXsLvn1cINiKAGhV3X1Q4DR3FK6sna9M5R/f0blIKoFPqque4JM2xfJPoj4H
tZKqIu4ye+VNoVt/0UNQ1cbBk/WWHzphbLxln/qifT1NjWjZPTYT6tFNtqJ4ntwoGEbry94YRQfh
tr1vP1NxTs1kdK27S/0dXA7vjHQ6d0I0F+dSM9mPAVb4rMJyiwPnQ7wRP7icEJi1GDMZrx4WtZy6
IJHhO1OORl8OA/dkq5S+MZm7K3bePp1J1EjgDn2cNv2dTmH4GSxNumvvI3zSl/0qCSZFOpMfjC3B
nL4CTZ88XFl6137GWRinh2FsuaeCj4lDKHXJFvQIevKsmFoRWK9IpBM6zMeV/hrWKJeO4uFY6g+R
rgI/qxdFaq5pzZp5cvDy98CGj/j3qvg3vWe7q3+sTzK4tOzQvzUvytp7pVQiPxyvPOWXHv8/G9e/
x5xtXLp1aitR5ee3Gx+RzlbaiPRUr1mIRungRaHfKsbcpUW838qrqnNCSM73VO/h8XELvZfvwpPT
7rtVg323Hc9wEoi2YTKG7nO6ae6spbREybURvbF0DzqhiFB69Q+IKUgeDRfycCIQMb8XdK2OzY3y
AnanK8fue3wvSpDa59qqpK4G+WnXroIpbj0kC+6DF+AdADzX3jJ/Dj76p79n/kJKR4I0LKJc5ISl
+22Io75tA4IfxjJdGv6+GjfNGN9ujh78vKSKFqiROb7ytAvB4Y+nDVmMb09z6SCTrLIJ9lh+Bi41
oFtLA3Nb03M1aeN5U4/deX7K6VqYCT1koNfUe7syhAv73o8hnMUuNL1WUtoSlwUefSrRrV7cZcGM
HgiQiBRGTujHZDlZxpK5Dt2QjCmcfZp/rPb04gKU8PtcGyeNNHfxTg+L0+Hv4f1qsGGN/hje2Sca
pvRUpWoUIGqlg9Ta+Lv60A51HCdbZzsEXWTDIXPItoZ0qBgfN9FT+Iya8lou5upAzr5JqTXa/sTt
fa8+ayxP5fPkrdx4ClQq7deIXkLBqZeFYKtPoTXClgF8U6e/Zd0yjR60+2s78K+i+Pm8nH27mnKs
lVDm23VP5SiJtFu6rxQN+rx5mhyNbpaLtF6jLCkRAVenYFFWkF2UhQftBQnsrgQ5naSERfrSTOOX
wWSeP8jGKGnlVjrJ7w+552oKV9oNxmJe74vmNPr71X71Rp3tcj9e7VkoYxSyFitpye5LjSifyavG
tXU8QHAcfs+R0uD8mTk4FMcVgn/nFI/d3cDvekeMgNcOtanjVnyKP2UIPNwJgIg5Pf5/9PrsUNZu
g8oJIuc4NTkNdwKarelx3u6kBSgX/k2qDbTSINKiZCg/9lO8ynG31aJp2M/cbtLndgE/VbDLJ+xk
W9Cf1wK5C1s8P55KhMxugwnS2ftT1UAq6FMN9rmPCZ7fLwt9G8FL0zqYmJBLg/hKp/l/2dn+PfFs
uivfSwVJGA47IVr6ijI2UwAjkISasp7A7Ky9ZRWG40K9loq4oJMYvuF/Tz6L8Cq3yr0qD/l0EFFS
96c3oZqaU3StBuI7xCuPpxcIhKk+Fmo73Tbr1BhRs03vXdLatD5zXe3ZmhwKE/hZ9A7SE8zVwuZa
JDokLn8vyP8b5xek79tuXOPvUYXQUnEHhCOhHsx04WVET/FzpJuOG7yftPukDtan01WK+HCs/PXo
s5yqFPcI+/DQ20Neij7DrfYg36VPx3k2qtFsqI55JYl7IT/OO+G2imyJdiBKSz9PnmOdaUZZFP7e
x6kndSq8I0sHEZ/Z2c1z8hHvsR3i9DPGZFCMZKTsWrDVS3nORXMbj9M70t9UIkctxBfvIZqq7y5+
XdRdRvHLcQntJNqgtyHuw/cHY6niyqu6cOH+PvrzOp7AvTixSiuA2CWuXalwlBrOwEDuNaT539vU
heLHj5kyzyKCUtHj5mRmPpS6igNHvevGUCxMDMkO4QTaSTjKbmiQCnaNZYuPxOGmjR3NHaoHucCG
mZ7hKwO6uEwVupVoSxlQomdBgykVTSI37mmPs5qtSKeNBHvWk3ZxjARSx7lZw2W8Kz+8PL6p1ccq
5KLcvw0UZgO7sYz3Eck7U8Vidy/59bI0wivZAelCXD0ke0jBWXQr/6I/HOlN9nwSX8QUu7TLRqFs
rUt6pES3e4jM5s706xtVBnZKsBOVUyHdAXrCuXzNK3zK4eHr7L5/z9rFMOfbkM4mDc0qpIbjkbcY
106heGu6aB5r4QkPnRuz1WmAU++tPLny1AtKlWHx/JuJs+iqMOteKC2y8E3ajxOhm6T9QOUVnJSf
j4P5OBITGiQxfLdWfjvTM+Ji1MEpjuGKAj4aSh8APWMdZi9k7HuO6CB6sEDHx2JCxVqfnPpr6+vy
ufxtzGchl+imfueXjBkaa16h6XUikkwbzZYGlW/41HyIKiKL4Ab4QG6zVUKs9ALnqNj+nQRFihjI
sH3UP5HdvFBAmaNr756LD7BkYII0Ykpn/lCNlPXJSZfr5J1GheNjDKPbtzP1BrJ0qU/gDmKGFI9P
e2NrpHZ44+5yfERX7uvfy+LiMfztt55FdWUvVFhchtnhtKS4bB/RPdDbOPv7Ib/61r+CtQFUgO+x
NiA1fm62ytGKKrep/T2GZfPT0r2loW5R0TWC1CJfNTPhUI60a2fK5WMXogydTl+it7MDHxyKLLgl
WUk8NllWb+HKWwg36qqfZx/Fqp0nllPs+oM6lg75XtBH5t669THfevEIXU272ANuvBWX1zLiF+pA
fBMaYA6LUp1onLeBN1Ql8tS0fCr8CKjde3Ghg4Rx4gnkSnlqvOkL793dhe/mh3ZzGqSS7rvymaHX
n7ogKsZU8qpHzAqc/qV4766cixd3rm9jk3++KU83W8swWA/ePNwqM5yKbrorq+Fy6K7R3arRzUgm
9+wZWRA01Gq5YtZv5tRzYPkSd9vuc1pg6Yae1lb3RLTiBHafRLNlvI7HPs0jR/6Za1vv+lgNHGle
AyO8ctn61cbztU6/jexsnQZhLcQa3J59/sa3L98PHRDuGE5qqrNrmTcE1/mrpMzIrfJaUvUgelNy
63STXUPUXvwuv43kbN9MvVKLTgL5ZbeHsB+QC+4XGdigkvYs4VQseyuZ/P2RXjwgvj3xbNdTYu90
shQiMG3W1xP/w3uhRb17AAx0TRx6KWHMB/BvAZxtOrLSxnXnUauuH1skwM7QYOsDeP7EnPjOuPn7
d8kXKmJoVICksP2YBjLqn0s6wcHoBCCL6DveNlqtQbicFcXWbI6j1M83EXl0Qd1mHu6J8wBmvOAe
Z732dsxXrTTRkQhagFEM8BX6lQvgpVLGj5GdbVAnKVIlr2MeFDhHn8amHr22s+CTjrGnJECM6RBJ
jY0RHbTt9niNPnl5U/42L2cR8Mlt48jruH6693SwBKmNAhdMR7zctZ1Nl1ZBGtj2Pvqr+/LwFf2K
9f89+Fy96hu1W2dIZPbxI9WbIp9kn8fb8h315WlBMrebtEt/qX+aH7V7IySjHKAczZDJRDk6DQ55
b9qncR+v8nCpNGPyUsAjOvSuMNr3f6+cX2yyr+3g20DPLiWCrvR5oRAIiNOKKeFync8BDyGApCOx
G5cEvU/CqzpU5rwZY8cka49Z6MZ/yOEy0mjSOorqQGPD/OdgvsOPeBRuK9TLyq23q+aa72RPAuhi
vrO5fHKsUT6xtt6SDjD5UGJRdyUY+wUJO/89ZxtvB/YoK1PWW4wsw27f/GhoudNC53in33ED0qcY
XfYoqgAdEdbQseyuLNfGPtSCy2FXtMLTDEoF/z0ZDSiQET1Hx93fk3751KaHC7N6BUb1V+Xt2yW0
M4DMyWBq6VOrZm5aAMT9kGMLHkg8Nvp2KievJnbVkabRWBU4fjA1yxtXT+Z5zVekzbxwFfegqNOV
UX9Ry8p+Aaw0pgBqVvNIgfrboHjN+xtPiG8L1Xf+/gGXRAB81f9+wNlGKtRxafYCGymdB5Om8aYt
dYGwfPfJRnWskcrYyN7B9XKbMNPJwL8cj2Mh8l7lup6VVTSOWV6C/tEFoJiSYz/VtZeg2sZhSY1z
oxEFCw9aA5HaSK/UqH9x0f+zQP4N/WxjThuxdT2ToTe3VPL0+wFzwiIATcxnmDu16yAtxN6HHv4r
k3Z5T/j35LNNGiBzG3TUUfdYuYmf+cHVJtWrPqafpHipD1wPHqXbjFvnLAoneM6422aU8Y0Y8yt7
8n85Lf4N5HxP7k9JYPrsiuJUHJsIh1fCK9KoD+PBf6Yrljy9g97MWoANxoubS65HfuCaikO+GIZ9
W0NnezMedUIZKHwECNZbPj50eG004dMkRyWOG3/WgNKuRlZ7z+4Y3GvmAOyHZShb08qaKlyrqrF6
vAULLLizOrMTgPrJlYV+QZxL+PpvkOfpIq+quDeqTJWi+OAcFFqpIpSND1pk2TTez0sk2rq3C6ON
mNWT3NOnfy+aixHLt+efbc+12zdHtyeFGAdQeHzrJvU9Pu7OEdnE0gGVRGdS413LI15eqgMd0KCP
GIzBz3jCT0pDP8mEr4WL5kAIcPMR79NQXKm1OTXk1HHdbpzwlRjBQuzi6ZE6nyV516Lo4Vv8dYoi
JKHlbgDZaGcLFXRHp2chEWJaLnSoGzfyIqEwfLLbmbSTiVphYs+LCSzn7IbNu342O6e9E25P7/U6
XngLc9dekQNfvNhwv6MuSrOlZH6VEL5t3YYXykKUAJvu7mkINR7N1W3yIDraxHyBSkWNoH1vb6iT
Ks1E2JkU1L0Rgb40zl9UhEDv8o2qT+mr4N+bpqtrbWCXVgu15AGVChgRl/ufry1MSuHU+AyurAJM
pDAHD41JEZwWZiHv85gBJlSgatj1f6/Si1EeqFggfTx3+Ovng2vLrdJK4rrXLMpR+VZ9iguttqNF
dWduqduYcyQIn8qYfVaxrzWHfAW356tEgmaEXgZNOzLtnw93S+sk+j13YP+FLn0kXp94+bYUjyhW
dRMZokzm8E9yjzyLrYqrUBvTCh6/Cwb8uln12D0KuS2xnxzJVTsWOZBkDfmRCJELaUHl6wDugk6+
g3plfQ+z8tfAz07R2jwiKynFYB9qxQTNERCil7i1nlBweUkHcFEd//2eLl5Lv0/V2eEnYcRMFxcZ
smTMrSRb9/bxkzTdcz6H1DKNZnGE/wDpH1pT5syno8WYTk9YwLhzd6N6XWzM0m64PF0Z2MXrElUS
nf+YoDC+eu2+fVYUKIXSHfJRJvXgtFlV/bPq0RsjKLQSh3bevZX1TeNDf6Q19O9J+cqlnr8G9J2I
7jXE0hgG/Fw/qSwdua6RuTGn4n0O8wiJl328M2+Rz90yhmk5z3blJnwvptJC1kDZCJ+0O66qKThN
muOxXtxjvHp813lztkjVAibdAcuGbts75QJSh/rozRYwyJzoGdXTlOAXr8h82uzF0kaxngjO8fUr
lUyJrrLllXoLix/Hcf4ePjYzqvSPx8dk5E+uNctcLBihpIanoQGEU89BYaiYW0U6ooipG1QcdNhp
C03xUETg1SFOcyldxWYyriPhyrl2+YXTS01zkAaL8is6+PbC9aIIhMojGOoC2ilkbRMZ8kjqbhp1
V6n1E010dt+VI7H/QAF7ZbX94kQMMeDQyP2/Dz/brpoQgXpRUSaj3v7kxQ6es9iUfFpv1dS9TfvZ
CRA5O4A7Fzf+lGr0/DivBNQP6iylF+sQBs5QS5yWa/W1e7XgGxB928cFru50/HOnqV4l+g5myLLi
A2ybSbYRrpxDF9PvoCD4ZFQoDcp5uvFYxWLVyISx1H6zF4FaG1/JxnxS9/3CW1eo71oH5eu9OklX
3rWXd+mc+f7wsx3XrFXw3xJRkbHR3uJ5fuOvu7E6oveOIOV5gPK3q3rVza5Ze1w8Z74/+GzHjBsz
5M2yf0kbBMjz8pDDCaMFaO2uird4Vt77CvFzf9feya/K+9/7xH9Zsv+m/GzzLNTczLWhli1Gy/xG
GpmjMrLBxBy8T3crXuUdDJP4a1tCxDugyUyZ5u6f25KgHausM9kSu+lJxEyTHccT7ePh+C7uqSAD
hbfUEQnWdHLld16KumQE5cbQSo59ytnXUaXQ58Uhp9xkPSckLetieJPWBpf4dB0L0iQxinHh9ctG
kG8FLXn1W2/CJY56wMLPLZrdxSv5rS9m16+50Kh1YeVEX9+5YqdPOk/oG4UwPFEcLOWWUfEiKmup
siY4vYxTuXYglE1FESJbOU7DJdtZW5oOct6R11mTkGtd3Kj3ZU+MIEsLMenHsRfQoaA/uNwglLhZ
HvXXNCPXiW96mBxpgTPMUZWiRlb0qUC3ArHHlZ91Mfkif/tZQxj+bRNMy86Lsngo0AJotoHnUJt9
KffVFLL9aXZai9POKV44fLb6QuaeRg7GH/cHv3XgQssbTmZgf+xE6uCCLY9S+3QDWVTfUGEyuUja
kunkaCvWJpwhhJ50hy+EEdv5iGZPwS6u3RouZSG//5yzbeGoiFbh5kSBIT6sYNeUnTjpn8UHQbCr
Kxezi7VtIMag08GYc3if3R47QfOVcMivypyRB7IPLsnsQWeux2MpcuTeOcZjIA0CEhF/pGZIiVCc
inePQMoil7ZsG2mtvG0/mSN9038iSSxGzcijzwpUy30Qj9x4oltzg+adLaF75WM2cs2+6uLx++1X
nF8vT4on4z7jkRL4bFKcaEdx4dA8dCRN6I30GdW1K9/2pVdE5ycJP7oVyE4P//u3FadaNE64BjeE
Ipd3vhgAwK7TeaNva01c+M1pEgXxCvO0N5JG18Dnv/cVFZ4z7QEUYgk4vjIz354d+8qxyDOauBMt
XQQaCX7l4FrPYnjNrnTYGX/uFvw2sM8iVWmghOfJ17aoy9ITkuxQb0ntoR6Lb+HwPv6/p1JTDAWT
MMz9jEEg+3Mq3VzzdakmbBSNZI5W1jn2g97KBQ7k3msnYx5W7tiDhCsXRId/P1z+fUH//nB26p8P
72KxsIKW5Y+Kk2WDA4NlTKVZ+JU+Ph5kYZ40TgjPk854ek0UyFbcPt19AqNag2g37RVbzK6dHMNP
/jnxoNrpZEa0oBLF62dHlojTb9F2mrqTQoTKeraSC3nUnIqFFw8SJGDxnTZTOB4EBZPmIJ8BwRn9
PTPKEAKcjUETdctQIVKK1EWHVfhtlZ2UMJLq1CsOypu3pRVxfYJUWC/pxKtnpJDWQFEDatT6jfj4
0o7RgM1v1dkndi53iGOBF+2O42oZTN1R+3T/99AuBBAEupJCOxklUcB/Zyum7OT8mLmiuUuLp9q1
RibpgvqUjMSTPym81yOQEsFHtwZSuRTiu7+ffqGf7cfTvyQB3yam1HJPTeu6OpzupQ3tGMdF9tzb
+HbMRKT4TirRsaSs5Y1KsepeoZWKgNJO190BzRBifMWub7RHFan5TNlGy2pRPODFfYOQ4cob/B1c
Dpg/TlPQjLS/fL3gb+MMgsI/muCYdgmtxYU3T1yORtIG5U6A843mXJj/PTMXWnB/PPFcp+dKftt6
vSXuNGMulPEyxUwN0g0NoxAmIuhx06iZedgCCjtFmQZWg8qmAj6frdXgmqzmt/CHsbCpKHxEKleU
swhXEir8uv1C2gV1gikI/GFBm2S5I/qYG7UuJr3VTd77k0i41TFu+3smLk09jCND0gdLF7hHP78d
0/PznNywuJOxcFbfdXfeia5jHueidRdGaxcR598PpJHo1+eKldW/R36d89/edlJ6TaFVUXWI7Mfn
Z4yW8HAhQCnn6dad9SNSVoKtzQrnhC0VViT8FYyCCcZWGMDY8KKTaeIM5lUQMGlFNOzH+3tzfP+u
7ypcoCL+EWZYsI4zR7KzabzJpsOSD0fGcvijEsqyw/85cj622+2b4ew2jGCl2I/56JFkGRZQ4PNH
li3Zh11qY0wW2m+1/TG4nM0pWD8B5Xl6AgpsV7iUYVw2WKQ9PT0NllfYYLXOzdP6qRut14unXYtF
Vmw/veDazV9Upez9coVb1+NyqY2Wlb1cPuKQ9hjSXfooAg16xKxquR4Pf97RfgKCzB/OoyiX3NyU
YwTQ+WrAAGmEJzR/rrw5E/iuLKAEjcZONzraL8no5Wn9cDN1qj1ui9Jp5C28cTx9xyZt+vn+fq/Z
gykcii0HNxH+2/L2PZi+3x4pxyZLeq5gDFzDgXyBA3/uzuQmubZyqwA9D7Dm5wpTqyb0hPRYHspJ
O6cMNCpsdxFMVKeev3YOdetJx2+vkYrIC1zI7siekke11jT/IqWx5S0c61Fzo076MfIiDSSSNeds
X73rt42tI4WmwTHbJpN66k+EubC9Bty9cPAO3lgGJ74xgI/PU9KW21pykmrlgU1U/VBwI1gSvU37
0k73MF2iVcnLe0vv9YfgOdkKjQM5wDrQi0trwd/fzoXg0cDh0lSB3nPc/eJd9Umb50ligao+Ip0W
k2kp0EK31T1aYE1hQgN6IzmNd7jy2N9frDEQ7IdDDGDd76S8JNIlya3lEKkpxb4j0AT36WiqiAxv
I/H4VOr5RLBIyaMuVa1qFJvyuBW8TYRVQxNdIyBdOFQZDsOgN1MdeC9nEW0QJYaXmQwnEZ87MVnq
FQjaWqWhIbNTwZ1ISv7p+9hgFHq0DDH4+ns6fudw2S3JHFLL5YcT+Pxc0F2P64Sl5AAw5GLsWTNF
826NUz/N9Xbeye69L7mTv5/4e5MmdrBQVtFQB5nuCyj/bccM06DJjChsd3m+EszXVruL9cVJudex
lw4yu73qKfL7zgBXTpIRltAPBtj6/FTIFfQBetPuqvLVMrDJCnOoQ3J52yjRrdKyNWnSIfakjXY0
ryBmL8zuj0efRUxxXhlZQ3J2J8dLsAZHURhrNHpmqJVgp0XilcddKPfxU2m6tTSRCEQ/L8z3YZ9l
lhSUiB4VdIxR8HaEuZgZ9U1nCKMwQ1/rteZDqNMomGdOaQozSamujeL3/YVRADXBElZFImCehdGy
VUqq7lss6RdlUyy+GL4L/UkFRrpKH6qJepOu9F3yYP0PaefZ0zjXru1fZMm9fLXjVBJICKF8sWAA
99796/eR2dL7DAER7efViNHcDHN7ZXmVq5xl+fvK+mkv6aTTFuRxujns76+LOZBCvZGlfDg0neym
+cGKEHjrEguxjcyZmgxxQVTdzeClykJnukZT+ttVvLgcCNu5FYj9kLq9jPx8XzYnJHzbg4TaJSoe
xHyoRE0UPnTzrigLN64+vPTTUiYoBspMgjOoTBF6FvsufNKrm6yDaza9Vv3WgwnsRWinmFdKNj8d
ugannkRyAcMeqOfXKWq6ThaDVGmOWh1QX0Dw1/IWfRLPE9RivHHErvEh8zHDFpUrJQ+cQvh/X84P
kOBz6q5iX3GZcaYRLTxdJoJPbcKUl7NvKmRdN3eobvyNdEr7jbiIcCbcCm7S2IIrEN2cvyE4d39D
HFw4H1GqaNzBQQofpYoPdMYXg50SRAl8rQ4fZxGHAwbk9vkrRdB/cXdXzu4ae9HZd+hu7vje4uPP
8/MDIUzk4EKAksH7vTD7fN8nzsZ0iGfwD+fbxmq/7DcZ6QNIH7xZ35fn7/b2Z2Cvd7vA/uvASdxx
WgIxsAtnQ9ST25sl8Ah7tPeafdp/8juS0Xw67GlL/vh0au3TiR97etlg25lg9drbPvavIw/wZ4nz
/m7M3vmZ37fGD6pihoEsqYYEFO45mPZ9fe/ITQYxnPzmgN5nBeHLuwXBkrvg7uON1m4gY1Pvmg7h
8DyZaB6t4sHp+/0f6wAa6s6T3fYunuNqMqBUNYuEU5C8p7QbvHmLe3p45U76K/F9uVDO1i+qYilA
0y/pDLU3Tjinhd1RHR0kSj0aOqkT3Mr0VPjjJ8aI3h/MIznFr2yP7+c1uxfIK2mudNZfu7wqsjzP
sP5uj5Ea4YMLdEoz3HpwRQWWY2mu/P7j9/fyt9/+9aOeo0gKS+hlSRzc6tf3gnv2GOZWjkzeBC4g
RreqMDy7LBHlVio7EBuo8tFKs4Idnm245f3RcAAsrHRVCuayKvE1yhfgE5+88h4zBVdoapz2/vw+
yO+HBnNxbk2fkRQadfWLGEVOELJR/A5Vr0rCWmews3AhyQ9VfReML0gDYxTlGt2VtPbbLcJD6Q3p
oK9lFqx5MTNVX9N1awTiBPNNTk5Vs2srhVbXyeuvJK0/P+mvmxSmG0jZfX0HVhuZRt0Yw8FvD159
EgN8c1ypfvCmw38xkbjlKEiLnNXyLk/ATq+yREr09uCLqEQstHYHsCHKyah0DuBTTQ87evr9mX/v
/C8rjHk0zpehhpw+ANvzmv8n3tKFVgDI5tVo61JQcpSNtCzX7aJdJDNzxQaeg+ueZYtgWeKXnLrT
0kNrUryrXGXdLXBZnDfzftneDGth2646EjV9r91Ot+JuXCKP4v4+2m8b8GKw5+Dxn8GqrdzraiRz
gwsgMBzIAfY4PNXCNlZfPUgYvz/tr7zoL3NzydGK6yjoR5NIhcOwD5zoPbqLFv1m3KPswdEYvEMA
H9cGgctsXKB5YDxZK+vZPEQLfNwiJJR1W30Nns0TZmT163SvvVs3yGE+pg/FBl+OR/WYP8noxKu3
w1498mEMN7LLGxFHDrQr4WFVh2gT4DqLxPKJj6eZjtji2YnKgo3UunzGbJ3zweXvn/vKLJsXx1zr
jX5bJuJwYCtVA9JH9GGoqDj+WWVSNGd6vfj9gd+BzOf3SmiKGDUpDv4XX9+rXNRNo8nTcKgRitML
N2vHG316MDPvY6g2tQeSPaxdKxZuElWbx5T3AiHe1MjE2WV4dRv+7S5fvneEeSl7G4qkftObztrK
CkJtqI/ivnmiP7nzd8YtjeAV6qwUDrhyFtTquJGDlexIc8Vu18Of/FTdpQeQQfNzoVFz4xtjq7nk
9dAOKUHi2YlhAAoSUNzCF/lZ28q3OkyaeCc9sW7m4brYqPfSnsrt83BDt30RLsqjuYQTvT5zzPb9
q/mZPRe3VQDRy1YF23um8K49TivlDWNVNu3JuBXmbMF9+WgV0CyMo7gGMH/Aejnc1uVMPpZPxra+
SXbVKTuYS3T/tvktLMCH7GF8REa/exi24W31gO/HA7WXO3Nn3WUfwc7C4qI4NLS8tVntmvySd908
B6Joy2/lCvjXWl7iaXCvPsa35W0Gvd5OcUOql9Ld7yvlO7hTOXuknBcLhxYCQhd3jRAKoyoJXX2U
089MDRcNFAehlPfhkM9DdNMH37zpxdGtx8SROg3UrjqjmT8bvHynBSvqHncVeihmP9xUoTfLvWsW
kd8RuGcJJXBixtkNG4HWiwMVISUvUoSmP/h+uZaSwFX7+oT8/GCLXo4l+3RvWcnNpOcHw8oWcZt8
JGjtG2G9vzJV3zLpi4FcHJatpcZm13T9IX2NEidoHUVxXuhdFpwZVKEmHHLv6BIK3hkeHKoz/1js
Hi1HfVZnndsNS7NaQJhA9DgbkM79fXA/7fh/Z+kyzQ9jeiyBFQwHpY62udlt6wbqq8ebAb8WBsqq
8cGYAMVMzeSPNFi3vY5kR0TA1xir0DCuZB/fvNKMv5PFdse2kPWlX7y1IhCIjTMRyMXNsBK37aF9
HV/Eh0nEFxpZfLtZgkZY1y+Q7JbhNhLtJkLL3HKS03iDvgSgIkjnHNH9ffURn/0TUPVz1EedyRXt
CRY+9bvsSiD8Q2DCHP5nzBcvOAQiA16WFxyEo+vV8VzExr4MsX7PetsK4iuXr3w+hS+OxX+fd1mL
ou5TaIJW94fQ3LSW007Iv8GEVHCLaex58jbedqhLf95Niw7o8kwz3bJxikW3zRYlZgzWlaTlh2uK
Kj7+LRgD0Ki83GiBmhax6jMcA95mXjMKYIwK7da8fh7JkMswuzID32FJrBIJazpy5LN60N8Z+if+
UIQs9vux6g96HiziYbrprPy2TE6W9VpAMUeZeeVldJlHeW7l9SrVt119kAESB3U275r8wwvz//Mi
MOg4nx3h6AZTKtS+Xp0tZZ6y9rPm0FeU7BW/n5nikxwNDoJuqOkqb79v3O+HCo9DWeZ89gJtu+w/
lpNoDbhGEHZ7wwwlzFmbm3NV2YlqDwNf2iry1hSvPPP7i/7yzMsGlq5V2RT10XhQ20MDMEhBTk87
VOihi2//RQEYpikCddz/3P2Y/F7sKjWZYinr5OkwFdVNPaCtW+xC9AVKYJPEC4vOx1YNPAU6fBIu
BdmwMGplbrRY9zCk//Nso05FuUiRKEnjSPH15UaSZ6i1ppB3qHglRAqWBG34ZLb6c4cPr1JuzHKa
1b165TSUvpVimAO828EjaUhwgkr6+lypjFXJTNL+0JfJtlXG52pK0H9NP/1unEU6jGrIJQ0WyNWk
uZPW3zRVscl1z40SdZYbejQbiIp/n4vvtCIGhfuFCZSVN6RcSnMmaoTIT5Bw3B1PHtIfDh7Jz+pH
IJATv3TY3fVbv18ScOneAbeYHsMYTkK7g3bZ37EhTGSlg49RX9PedXPXv5evVTblbwckI4QgzfDO
tu6XtGCv6iKviHldI1Gh+oo+CDUnGadABUOBTL0yIf9r2PT1QP76vPN4/jmOWtM32yyR28OgpTMv
nCcIzgz+UolejMR3/EDZ6v22ByRhZfnah3k31kwTKNRQtot2HQZrS1qEJfQ9sbXb9Mz18JdeRTdH
/hPFLwJBr44PFO3putqpNd1LMLRphOhZ0Li6VG1EvXO8IJwrkz6vFOPDstxIzmxdoL8W6ynZQvA4
NJ+1n67VIV4iq9hREZqmx7x58zvY28aQbivaGK0mU99KlJWWS/et0kLRyzCVLpCLz7OXRkf7jx+q
HmVh24dbT76fvAyrNcme6gXclS14qa3ZS5odTMsxPYyU1AVXLYWT0defraTCfIqiXRSjnAP9D6m+
dWKsvSK8GSyIiY1lR+JSwe60QK+nKw9eWc/xWptnOXiFqJxZHa3PoN1MqgoJoka7+jMpRluCDxaJ
L9JItb5d5ZJ5Y+WvlhUu+uxJnEangysW9IgkY3jfxCddf1Xle6D4uWDHvYtFuB1mW1nGcSxeGq1b
mrYpzWKpY4tRSClqUC8Qa8FoyUBcdNjTvU68pK7bPF5M0iLrl+aZ3BffhhieR/HNQGCOYQ2L0Blx
+CKRSsgVcbYe3QnTaxgDY7AppkdNm0VgvxQE+95T/XZosbM56COe7tgAlPNBi5E2i5yKk64j92wB
CpjSR6H6i4GmWFFkc1MBexZi6SjOGwK30pxs+LkI5NGhCUO7EUNH6s8OsR8qztpiqLtx8uCFOqEQ
6HEqGlZ0V6r7updnAvnyNNqRdmNJ91Xy3uFElxIxVf2yN5wQvsIwDyt6ypo2z0px3YsVflTzQH0M
mJ1Oc7rpmEUP7IOZJiZwTZelfhsE3E5layfxs9+Zc89EzkUj5NdL1yKozdU3nSkbehOa0yE1Qc0M
40xmw2Z7Lz7K+iu6pBob4vyhxmqTlYi/adZKw7UKeMJi6BdeFTiCDGohnqtG4Uq+scx6OA5Ne2uO
4VoaceIj5RIjSl+vouDZXvbiV8e+XjfFRsq8XRBVsyLBsUVNXZzW7VIcXBVTKFTAlOjTGp/U0h2t
dYUJLiBABbm5MMocMWIEUbsyaAQoSPzQBVCEk6ysfj9sv0vGAP6iBaCCmycSp0/z9WjJxjYefS2i
GF98TP2eYujKxyVSape1v9Q6RA9VhdecL9sRwd+z7KH8rLemPQogxXSOl4FQvsKAvGvsAb2DrGGl
UDVV9WbZ6E+yemXAf6F9F2chcjKSIlMZRqfi0mdC6Bu1muqUq3LPKTimdjNTsdBZxW7z6L8gtVUg
VCG7XAwqYquL4Ba/FPE92v2x9uKwuW9O5ew5Cp12VeG4FT+2CEhEKyjdxxBs7EfegiqIHHGvzTCp
fgwexjdzIzwL89+n/Tu86zztpoXsDOHl2ajg67QrZYV1wVBSh8f8WvozBLPzyIG4DciizTV1FbIl
DUASoWPehU6w61fegZBocpUUGvAsvlXeU3NvHLMH/xTfijickxKcy/Dkcb+P9bswDGNFoVtUwYzj
7H051lZvpW4Kq+5YzfRFdWMuzLW57k8mVqDEKTN0Pt1wVfJLcqxFvip27SqA7NFvrCsh8A/J23kk
Ou7zyAlBpzsnLv/cg8JgynESMJIgRKs7PrRbZg2NteAJIU+QMRxQg43AI/4o9QdRwr5/RqMC86zX
9Igc/n54YOWi11N95LceHJc3GKEEDD3aRJ0b3mqr9TXttO/NwL+T958hX4TtiYy0+ZA2tGJ5ncH0
IfvQX+L3oAKihUn6VMwUn72mPyv4DbW9g8bnLDvXkIT7IP4zkVxS7dgCPJghpOwG0+im5bXV+L1f
fDHIc5j4z7xmiuybWt41hwHRqGk/oJ5pKCtB/WwRMhyE9mEqJWAZmlPL1iZI335fYD+E/aTj4jmQ
UmXKPhdlSFGbjILLsDlEQjoz6YZaRr81gzvE3py0n5ZlWV3L786zfnmISJwgytmCgaPvYvsFvmK1
4VCBxdNXyIfo1s2gLqV8qejrCf6Fb0OlG7S9qLzm91E7k64BiH4oi7CS/xnAReDthVkomlnYHJPg
0EzwtHIk/qR2VUgU2Id0EZg1fhXUlKhAtM2T5SEaOKmul0qYBl57/+o5fvw2HRjgAlOk/8Qe//r+
5W4apLycmoM0B552BCqwrR4R8r3t1v4+e5YeOUp9LEILJCPDB+7Gbj24g+mETt06fbvQcZHxxlmK
+IX03BkLIXK1GZ7A2BAB619i49z98W+v8Xe+l0U4PukMmaIBeMi8vAmqgL9UYqM6oypSH4WgbqNZ
j824DRPlysnzQ0Hg32dZlwSzPDGKrC9KHDlWpatv251+wtI630LeffNuS+pBN/obp6/+WC+v7I6/
YLLLt/Ofzwli6evbCRNr0MU2bQ4hhptaheRE5c9qkJt9d9Mkqqv5d0Fl7Yb4zRL8rYebs9p9DjEa
sJSQa+9eNQjW6M6ZRC35c2ChtHZS2iW9XzksFtVkuZWIFVn9NHl/EtmYA9UC+XTommOa59veLJam
boJIODWaCzt8RNULGcZRdCptNZzDHhsATZa9qFHuQnS498tdaHLpYgqWIbuaAGaDj6B4a6yBEN77
GJvbPsEF4y2HfjZZy7Z7qEuEK2a+N1cxXkuxYUgQZn6VUBmLjmr5rA8UfdB8gjgpoq0uhWhPHwZc
NXCBcrxhw+zsmg59wEPE7S9lc5XtM0KHwyBZ8OYwE/h3/qIskf0orU2vrfkxK6RaOzPGReqDj+x0
28x0p2qfK+81L1BMRkVDfxrRhSbJTeeI/LbGvqoXpbT3jfuEu0/YpiCfse5oTFq2YnQz4SnMItTN
Pyl5RG2seusthN8CCTAuj2G+KFrokQQfY4nhsPHR58tI0WxN+TMamNnRPLJahmESpledXbW3gDfW
WUu303r24fKk3iGetpO3iFLdGYNH1XgaClKs2AZoNcsGwCMqvIulgVunhtBeUXVuZi6L7CYS1gP0
ldSY9yEdi4HYP0Hdsnvoolu5hLppPXlxPzeg2WCQPatHbzYKjpSgqyCj54EfyDQfh+qeGBL90twO
O9gI6k2l7g1ivqBIFxEzHhG9V75na2BaC1LDLODjZr7ddY9qdOzqpzBDbLbnig5GR29epyHbJOWT
kGPCWT3WDb0M3H0N7zOsd70586ZZaKDdYGyj5mPIsX6VA9u0eieKDO4IvOHz98K/kwEFDOID8BnN
2Gc0XIJl5G+F0K0jFXP5jHoBIXVxNPxm0Xd7ObhRUIZHakSNNqCQfcPEe86YTeVroYUzM77J1btO
3rTRThNXUmdS0qXI4Ce2nxx9zAfzcm0Fst2prNTohnwQAW7Ez08RNLoxKDA62hklQZq8nKynFjmH
AK42FmwRvrOeW4IDQqRx2cXA96vdoHzo0bul3XTCa+Otxm4p6/iV6a/mtCzKfBZAn63HbdKxJY5d
uerQls0qzVEo2o9N7yjxc8DHNPxVYrxb2bxBqKf9HEa06P10rgwg6j76cUtZ1he2mX5DFdkVixOk
UbuXnnTpWeqfax+R043l3ZUEmB0RSRw+WCF2ZP6uiXb1NFeFvZW8Wcmyh3QVHYdmH7efSfVIeTiz
QseQHgploRQr9BWkYdukbjs9JMFzKR8isKQ4SA7day3cluGz2d8LrHjfe5c8IrHupEDqj3uquZnT
VP0i8IkA1BdPfPaqYW5ZN007bxNW03Cc6ru6xS+JjmunHBNU37xiQGpjaYDt7rWdP229+BD2H6G0
9OLthPdoUI/rwjRXY+hzOVAmClI3HeZTSykAkG0XHOrE1YxTXwg30YQb6FnKunzxutzpkcGzMQV7
77NdFC4wE7Y7/9PTfUesopMaY8Ok/Qn9lVQ+B5Cw5GkZ0Tieprc4mdzUcgNyyeopHY6amCFMJtpy
OThG9xTpZKPd3IvWobVporusW7RUN8rIsls4CHGnzlQKf/3NuQKjSAFpJ49K7sNszd7xcUES0XdJ
X0fk3oSNl5I25vRIt0ZyFNCfDw9xvqrNTeC/Jv6Npj+EFRLZnBwKmlFG6iBHUpduo737kToP63hR
WxQ8htoVg4IuX7jxqS5UykEonsMqWw6JDvdQcpFYXKQhNoNWlkIxSYxor0OoF/2EAACETHSnIiCq
hzhr1jUKuKNd99FJB148tPJ+KLCmJ+kVNdy8jXBRCOa8tyiZZcqimIZZUFCLGadFWREDTUCxVJKg
NnbKeDhM2bFUtW0qeMvW1BaWhSfMiAtkGTtNqW8n1dvmVfMhDwU50F2SNRupHGZN/Z5mJPa9vk/V
NRogNj2EWWttFOoXKTU0jrK+gnlKY7U9C+j6H4qwrsgk4rqzOzighXhneJQ/VdOOIg4svMiB7Trw
oIjDVnF3Fyg3SrsTx9vJDGex9y5TWRuFetEK3Dzeh4RwvDrGbp+Js7aJ5xPnBxK2sxL9rthDmw5J
ZzQgZkHbuWYVz0Ofk2PUwlUnh4sOHxgDRZYqSJexnPZYkcuOUOP3iWJ2Vkb7+qzEpYerOE5nsM+J
FBVh5g3Ei7EflPdmr7ar0i8PktVvVUEX7CkZMX/vkcaLLdw3TU61pCtuSbFnZz/yWSaQPiG4LcO1
tAYuaXnXj4p/a8VR4agjwnZTYzi6WaHsxULuG0Va1hUOKpKQbCJ92gA3PQgxAsm+4Z+LZOKLL6NJ
NlbCg16od7SvCgpXCbbecUmf7Dwcq6yWYylRksmrbln3kL/0skGRk5Ur+LAcU7Fe6k200KOmxavF
IkVjSTk0EFPgEVnupCkHeWGCEByaSFsHqrLqxvFtVKO9BGbAkZQhwWo0LF0lKy13DJTeCafCwMPM
uzfburD9Ojn0SX4oAy35Y/rGxmqoviVjD+tMtJ4sxXoTJ3laF5O2ljOQKHHVSKgJSTi0eBlg7LR7
Rj+KRF0OX9WpoYATD4Pr66hmUlVSilOMDbIkWyVMSGiQZ1wWkMidJWH3apY3fUDBKEgCom61hv6m
oy4+rku5nOxKj16RRCavN147vZvrYXdL+tc5RqOuRb9cJeeiR8T1q2qss3LbDAhk+ZPKmdS62XDf
la+JJ3VYTBZ2CnvQa9dB/KQYmwqDTCGG7h9Yp7JGhDd5rYTHXCjmlCxep+wlkcKj3BWOVxHpU4fq
fAIu61VrlloRz2UQw6YlrDMRqcN4Z1iuphxbobWl7o3okYx3Fqn3Qk4DGqhtCNwgTI5JjWG2wtWn
caGLslNNBfJf+JYySxlFUEGBdI9Q8/QhycHGJywZA/9WLdVjV8izuBrIkIYZZfdZXPRUQjVYZ3+y
/ChG88T7G/Czqy0FbTevW0lTMZdiYVEh2BsVLTU/mE4lVTZFm4UDxBCcvscKKrW6Myl79nK/zD3V
LujaR1E4N8h5an/GluVTi0uGSvgQr0SKyU0k7o1hrncLMy5cYYxeE0HfSZ2+1MXhhShu7mkJuFG9
/HvDxEKxSuVy7U+rmgKnEYG+0EWq7+jmQITKzztT5pxPh5We+bc94WEyrQ0Pb20kOHzOI90QT2Jp
rKKhXqj69Dxln0GncHgZeG1jnSQ27fMkS6dsNMd5Gz9mNVK87VFUkmWSUjuqNnpnXREe/Y6vBruL
wolC7qXAkDQuaoZSIAt63+r1UUqGtTRJMz/qlxXvJDNRayCIymtuhADFrU6jwDY+/J4RfceF8nw4
dbRfsLMjh7/AhjQZHoFlKQPPDJADD9ey9JrKz0iibYMIi6BJWFjjq1CtO5H6+5jNI+XdKv8/B6Fd
TIKqx9VUdWCHFAT92zR2q6zd10I3l8fiNpPZuJI1B8PiToZBspRucYp1jEKlzTJcy07FH/p4pgGm
BVLyua542SJX/KIxOqGuj/06uSE41W57p173TjMzF9WqwUWtWQ032FDs4slGGsdbg25YxktU7xb9
Qlsm8/OvbE7m7zT3nHD8l/KYzAvKa7eSXS9Ce7KPoLT/oqk/Uueu+1+emPhkUPKz+hk2OgsZOtOE
TjApmEve5GhOOpNeTfyc4+fiIJ3E2cSXBPbtIeO3Cq5/xe+Ng0LerHLiWbMQl9F6XAI0xMZZmOfA
Dq+snR8qP8DOaPpKMoAvRDi+JtNGlpWK4mX5oa44oKL+ZCFWOMkply5WDD0UUXWYcWR+NKOwaFFX
PHMEGhaTMjVuUsRXdPx+qGGQ2qMBz2XPcr4sRNWiH6ZR2iJxUpgUuzjMQWblNIPGybbGK13mn9q9
9CtFCD6qfLZEuvjwUqCkyqT23HfVm2fCM1RfR2BBfXoS0MDU2o6Ty5zhlUKIvTVyqmPyXMSc1Td7
kB1X4LY/AKgQ2qKCj54C6gffCDldmbR15vnJoVaeVQPnGBMhS/owPlibdm9EMPc6z9Vwuojo1ulF
LPy1J72yIM6HxUV1BYYqAzGhIpyxXF8XhAeFpAuoeB7GaGllkVMAMoEwk1BZ1gGXGOM6hXSuXVMO
+osh/+W5l5b3einHpRYkw1G63YjYSyA4kjjiDiGmhLhp276SX/rk8EQax+IWqPA6XKireF3dD4/J
nbm35tpjdyeezA9aHWk0qz5NCVOj7qBhzWjXy/LGWJf3+gY3QqDMtv/ubeoVcVRwENFCtumOUq4i
tFVgRBd2+dmuyyt13Z+KZqwxaAayBoQbduzXqZ3C1qzyNC4OYkWNQgjDVVUUSytXYZfIpNULVSmc
rtmqNX5iRZvNOTJPaichyEriY0zAcamsBWlxbeWd+wTf5v4/A1Mv6p3BiG1VMCbFIS6pDXSKtis5
DUYdTEOqvDWTnMwyXFPtUJf3Y/DSID5sY4BEK7QTMTjC7/HKIlR+GhAeoGAeROhwl8j6fBKUgFpn
ekDE3pgUMryHoHTT2m0Ic0HdGPkj8UKZEBCQF9TTlTf10ymE/gMOjRxDKi2ery+q8YTJG7VmOPpk
L3XfLURJW+njH0luN2p2zUbvh8sKVpaJsgGC7/SVLpYF3fsuKps8pZ55qOmgRuA10reREsDvs3rt
ORdFfkGyWm+Qk/Qgn4X/G/jStRPUb3p+zYbguzuZAmvgrBgB1xy9jkv2d+xbRUOTLDtsgju85JwC
cPypWvmbZuUvRzfceKfkuT6znBblNtzX0LGtZTN7O1OEdSdb1TsKE2vfdl+P8bpchG4wU2feitvg
VnIa2EvTprGfU+dG2HenaDnhgTgjvFkQGb8PO2mrztv3YDnshgU5V7P1dhEuZPlSP1jL0m2vFaS/
rVVT1JFlBEnJmfntEgEZJE7wovODJt7p0bhoQv19UteCSlYrxE+1dc158IdmCU9ENel8T5wVpC4W
zJSESpipfnEIcujj1A9NEBx53bqeiVgpmyIKqmVfwEFRTmpgq213TKkYe1n6qVTjNfDPuR319fBg
NMS/8Kg0Dra/yvT/NMuKavLMWFIiOnqQBJCBMYij9I/IF25a3wKvpCA+CJDUugnJ439f0ucle/Fs
iSvz/HB4lbClv27UOFLqZFCIXqIe2RkMi6tX3epmKWsldq/fUT8+Dc4ITHfQTpfGzIUaURsQm/Kg
jegxTeomiNZCPC406xr15sfPdbZCRyEVMvrfUOGfOU2mIPMFoS4Pg5rMh1x2xcQN/W5p+GTs+kda
XomEvottKqQPJA9Ey38hcBcnXggKWJmScjgiYkxpBlPYknOVGq9uR6hOBQ7Ih+q2OoYfItXJyIk+
9aN2iD7RWBY+rAf1OD5LL1Vio4Xfr5JDs49ABdpnRBXwSNFOTHe8BgD9aY64Q9kH2jn3ukQux0iD
juFQxIfUT5YI166sMcYfrJwbKRjVfBu2VzD4Pz4QvoaJ+ZKqU+r6utiiAZHnQIzzg3nGJnRr+Nma
Ea2gLJdJPe/QCvx9cX/XEeOlgMPUwJ2e+3nWRSimVV4vVAYvxXzRbsV1uxbm0bZ1jblCGtM7HjQM
ZZ7NYuAQ6PC40lx0Y9dfWzvtAJdi7aH9qbntHMd2gO2At1wa5vjEgpNG9sV0FRchd2eck3EsjGsp
2Pe8wjzbByHihaTuuVf4dbLKUsoy/BjxmQn3+D3NrVB1LcHaZBEwtPI8d0gdHyoq7GEuz1uvXp2v
onoRX2Uz/U1/Lw+J/wwF7tzXoWh942lTpKSHHOhqFsNkmaJNHQZ7IMt3nkjBoQBs75aqvxupp0ZE
FImo7E05emyraJvA/Ml72oWidhPoxiNWb8VwMvlnqdguU03aKWC8sgCtYn06Jn1zK5njTY4fuB5r
+y4R7HPRLpaaJRnyIuf5SBs4RpZjL9gi5EYYS6Lx+9I5t0B/+8gXAd0QCTGU5ig7TOopG2QANHQj
Wu8QiIugl04xL0P0nn5/5g90SF45MdtZYhDA6mU21ZX+AHSKW59T2BTo1UvFMhWyteq9wsb05GJH
cDynI7r4/cE/fth/nnuxL8fIa9K2L9ODBDRhMD4aI5wlWA7LlHd70KdRfhj8eP77Q38ouqDeCDhZ
IdDRz/nj11VVTmE44V9dHHrvMWHlpAYuFLAm9ME+p00jxGvQpp4HpLAwOAZN2osv3Eq/D+OHM+mc
SMgm2gYy4MOLF53pBUmZpmYHj4eZ6r5MlUWo7KQJLn2GKZ/8+F88D4FusBoSAY9xcSQptdiZRaJn
SAkIy5GedxRD/0Pg0OpR2RvejKa98gl/QAyZIID/3yOtc67wz10oV0luWfRlzne8JoH/mVZ04855
UlDjOZvTMzeMpT5RTe5vizieaXLuiuZLCzsyEtywHOZaeQqsu3O6YEVU+b3kyhhxZPm+4UCNn9HP
TAskqIsSnCBqPoVBLTsYNrXreb7AEwig7hKA7TE5avPxtd1RZ5Lwy9pXYME+w5N2Ly/8N/1Qr7Hk
OfSbdpM+4omuH4xZ6dafeLJ6r/EbDV/jRnoHcePPEPfROfcRj7QJgDc09OYLSMaIE0H7JyoO+IvU
+WPaN+FKnVVL340XFtsQ6X+5nHE10zqpNuGDt1LdavWkY+RY21Da0RbwF/4NPG6CbRWbPA3/33yP
drTDxBKPy+sC0033LXbilbVHA26tzowHkJH/w9l19UQOndFfZMm9vLp3e/rAiwUsuPc6/vU55iGB
ATFSFEXZ7LLr6+tbvnKKwRmZHwWcBt8ZZfN+ZvXCHzSIKWsSjMSMQrbZV0QBcHVNdrW6aplPQjep
8jmD8LqP5gX+oIBRwCpS9lO18XLQR22ovLCvlZ2ruZ5A/oeRMdBnHqS6yqh25YF+JcLRqR98wi1m
vjsxkZZDvQ2AH9DN7yVC6LgUe7Sx073Y0SAYPNVtrjMtyuwASAvdo0X9C8JMBLYUlGdQ+SHCIt1h
vPKSW8dkHpJ9nqCNCSLVChRbBWo7YODw4MD/QIIINa91eB6qyYRy6aPz65ewfVMhoTfNGQoe7ncX
NFXluBiizTsovZTdx8S8gHE6oPWYxi9TB0AMOn0r1vKjottvE81A3nODV0F65nNmvmxnfkH3DC2i
aEeSRjSnChsHccLKjAREF/GoMv+zmIXKJg5GqFKCwfQjP+CRJfXgJSZ7qA0AJtpD+dyr5x2842A9
DOWpSkOLBNrnfx+Sv90NEBPB9YDXxEM/EUxf3nGZb3TV5YAJ5DA7jtA0Bm17IadjWsJ0ryhfKfhy
kSI0+rJGpqBCSjfMvpsqpejaB3fjj9mGqgWkCSiGlThAhO9TlpFsECV3RLSTYLCMlKh1BhQ0W21e
HuyfHwfg9iCEQBATwtUAIZvvpzTcVxaBLkt40Q4Z5DNIo44Iu4UuE0PGKj+DKNun1gxe3N9T/eix
d3d/MtRCtYwFsWuHVCXmUh2kVaXTHSrIUVadVnTd1u5RuezH1sG7IiSHkgsiHQolju/vesvZtQHz
JN6z8NwiGUNCxMhnvnB7NebRFnmvwMU4iru/X/XnmfH9sfTdHdM16ImPQhpDE8MnIByN9qsg7hh4
dBQQTCA8Kt11t12KZlraXR48+5d1xDESyvL475b53s2zWDZ138wFLq+GtpYq0Zg4NkphUiZE8ANK
YlwxwkDez6hGjfHL5nYiYR1fnQagOQaIhxPpg7oDd39gQ6zl64juP0IqxDzAINEOdc2PPqINBPla
Rbw9ePEtOfh2L3x/zD1fd8j5KYVkt3QcEpnaYCtyvYt3lNc5gk/mSvfMZDKNPun7g+dCner+ydAE
AM8bAl1bARTEy++rTOyouoJt+3zqtcZiFSqIwXNvrpHnecA8SgfRm9TKTSwuYELCWXXvyh3WfwWn
EPrNEKH8+ZYd8YP8jggoF4gP7Vq50uHamtRbvC/37UunNzZ3WN4mawCInd/lh9qBg0RvS8fK4vB/
YtWB7k0Ap21vveY+4+Qn0ib3/IlwxOfIg52F0UNRUEWxcp+eKbWz5h27J2GJRoT8hXDyF0EXggFc
ETPWYdOBf2ty2/dObV8xZN287fMzB8uxmzHbqS8akwuYH/fGeug87LoXUhZkcQd9Qy96bqzKLc8J
uOvyeJ50LlzDVW8hIbC6uTf7VQj8uJ4ZIHbZEJBA9LCcGAtK27vOZd6y8Ob1HggZ0RNvZx5x5P7d
djeID2avgk/byxVSXJbo0TaCMhlRkkwERCDu8G5WvOd3izrak1voqYkPr0MXyOFDREb6zZM0RsVP
Gg3y8d6pzcYldBQFtpgJnjalD8MrK/VriH5XBsRnO3fCp0iCIWj0xhKNyKZtKYj12UneoXDn0cYC
RfDFGUxEPLvBTfeofVqJfjEo1NuN9LSgVNq4qUnb7UuugRkJmXq3crae5mqBUPZKGZPZWJFHBLEG
oBXlEFrjMsF6Fe3lgn7CiQ5TD6rvV343WJI/Gsx1dRqt98ZTpdc+DpDX0qDkgHMWJ7fRyJYZc6vd
vabPjAP0YvS0ouC/60/oWeQ7RocBqVlqqdZdVpWzDqNCmJManxqzcxqswkhL3FXvdN5fwsKS9ouZ
uIILxJzJP8V7BvMO+2e9cwWfVXOj9lcn90CnwRSkNhvCVf3aOMkFqbede+KR8wX80o3wH8ofMEvE
S2RK+8aMrElnodwSnwqHDt63GvLgsmHkrqaIHlFs8SGnVefOQAL8jv3K+kDKGjZrQaYCQWbkpp7g
L1uFxIltyuHVCP5DOSRfYJCtU3pmZSrhpZCqYhxJ6cxWaUyU4nQsWLOUCyvHU1YTGsPeTYOWCacz
+CuzkR0Wqz2NRmQULu9DIEUdzdsusWYbejOY+iygzNicfVar9E4VwpvRuL2B2cRgYPags3bsJ2Hj
CgGlCzJEtPJzYcFn2RDPrNHpWLduo6c7MVydFU3rCVMxmAn02fHeRm5ER3SpoRfWe7xFqYwahd2F
2Of4Ezz2vXNmXbS6y+CI4eKgo4i/By1HQzDnE+U0wTaQyYRUgsoq75G6ykUgDPjkhL9AdxkQgiDR
YztyG1N4Jp7xzX3e4PREvYU9jLXzTWy1g2QGioCq7kArxHxd0EJf8GQGtSqItDq1W5g0MhioWkKi
jDJWLYdlemXG7i1IXWghWLQaabVJ6L35BH6S3piVCdsOizEUFkozgltcRxMgLDXSbzqeqsNVGdYU
iVcYrcnasHLQCRUyt/pNJSx71AdtVVprVH0bCl8XwVht3o/xiNV4od7hEiNLPh+ul9WcLpEqV46g
QfozXHZp2DuVoWZaZ65G5axoIKSXNZyRH802ucnimMWJRIdeCEUFbT0zVXtzB7kU4pidRvjdyfEh
2zVapIvBLUDHwxpMTJ1V48NI+NK8zEPBunEit7QEjbDroPIAB9BwUCP/oR3iCM1UP/JI8HczuwwZ
o3cTG3hN5gkdy1qvA9RrdT5kQxTAgWtKD4vGH8jDzcIB3W6GEoB54RdipkjgHxLIxOZXEQRODZqr
uSICOCPAOXQTe4jf6ZANViO8vYkB4dVH/gpXTZt87YzGSb04ZB3+OuDTxCEBsRTqQAHwLqMSVhlI
Bb3VhlUIRAwZbVCY4/SUnLgnQE3c7WF2aUEnFDMDYVfsR6hTh5VDPZNvw3nWS2+y+1SOj7k7ncm3
Vo1sXqUDlDXD1b4FxHkAY/Qo6mk4nYldrZe66JPP5H7GbhuUJeRC2pAOQMcq0OitryyWDFgWPlz3
Zh3tJhOi+wFcqmg4vSD3vgDf7WYnRoNwAbbB/ERasIqwEasotF7i0/JmrbKB4PFXyehVNJd0zogD
Gl2kNCBdGPnp0Pk1Kbxzpc16gQ4UgbNnNYSdFHbyduAU59YF4v1Kv41oO7Nv+THyhSMsW0z8vLZ9
s1rvzpFevJYWQE4Vlkehrmbqlm6Mayy3RJ0wea+xcCw41Q7+DpgIgKr0bJceGgfelntmz+3KMFer
82jdXFo9VR5p1nplpK/LU/zamvxh3dXX2gUbvL3UuuDHFnFebMFgwuQdfntmBF8J0Brs1mJ1Ar/X
q7EnuuiPG6ROO5IFAB4UeSOdhNDVEsw2ZPDNBj02zosOvUuqcNy2WuyxyqcAQfNJs3SXHRlKL5Mt
eZUPNLE+eHlQYNg32EupqMwcejtVo0DaZXanYHmE0Jw0Bk96Yp7wfrgaSegDzRfpmLoAPT7PLmR2
GayjCauAPuZY3G7qVntex2L0oiDZSwZANe5kFDvBQgl5J4QkPjKoNgZkJfFJ+H+kxTudhgq3K4XN
rth1Jn5/V10qv7AbO9klz9ie9mBOr2xIIlvYs0HkLl7yfHsFJQ4SgDrn03qGsVIh7o7+Am6h5MaU
Ul/QTgvaC/P0iCQHi6oHsd9dcp738VgzTTKfJr1RWaP3BixV3iZwQj3HfofbTvV4I/Uzl5Chfq/h
ALcmt/QYvzQWtVNVck8FjEoGmY5IREOrFR3Yxkp3kDKEiXgOKBRprEHzth6KVBaC7ppA/RHfzYcX
yx5kit0aUIcFdxDEnHHV5Fq+S4LCbU0iWNXZEHwBwk2goqFcRGzXcudIO3DW3QnHBOpIITZX2ON0
iSEFxT4hVTigDSuzYekKyuRCAIpUJ4XxEEUY2bk5E55k41QzCzNx0N21JmhOCXoJLiitNfr6mtpV
IFoLFj7gnEYc3lzJwBbZ4YyyGE2yJWPRaqNSKwBAyv3iDkcBEVaqYT1asKrTJGfFRXcLNgW3Zbf6
AyIvVkOPyMO/YWRmCi2nRpOwf6UwA2ILFaiwcURL8Dlcd9QrjkfofMDjFCPgPErjzc4YTXx5AwUM
i35ig9nNrdrFCW8KNg5hwIW87IXFfUg8M4qAOlmJG+RFVCenxAbjnfLAhQ3U0MHyOdBQuha9HPBR
azdjO9EmguUdjW0nheyecKkQBBs3PU9Xyhpx5eDr6OJuW5DDdYBVYY9/TX7KrQinC7DgOmGUbu7e
0PiJrdGFIYEXeYNOIu4hXHrPIAgHiO1CqWCOoImEO4v2E4/4J/qJOyGq0aHSrfRe6cFKQJMsbFRs
qwiHEe+V+mSAIzq+9pf6Ur9yYKsrE6wGoqfOFN3trJY8wgDQBjHtdu02CumsgRCwXnyOPBBlEKBb
IEgrHEp4rIz71OSMl0FJ9Q5W5JhLLdFxKyrGoCmVwsqQ39ZCwmtwqyd2iQnhwtYU97jH+P14wTMc
2JqYQKMsYfwg5f3JBL/Lv+7qznHdouecE9ER0jI3QBgEgBP6j8ZF/qWn0FC13t/gAbfYiyK760ce
cg96sp8sw2+p590A7vpWjUhNcdPnSABtWKIaLHI4j/UotT/x9nS97TOLCgScqMPTx/AWKb3Ge4xV
X2ZN8nGQIYpnlVcGMReF6JBG0DE5xBl3LvThsVcoFWpFNqMysNwEWcVAAAV/2FFlrVu4NQy1m14Y
lVIh4o10rOAQfhYBicP8BhjFqtFHNoT8D87d8kKSuO2TExP+nQLzW8no5/ujdoWqEkpYnzX3L1W0
WzzT0dBL0dG5nkElAkgEZCjkDC181xn92dvk9J+htb+ZC8T+qElXQX4mNe/YK9CUlaCkuwKemSsQ
9x/V3gWNSKstaO1z2260SL0M6+Ps+qcZ13+sYKnKs2zuHpQghW2Z/HgLYHKRyNNbweKucoIWLrL4
MptPpHGm0ceNz4WrI4uXgsS6eqnPmLHBOFheQexnKnTww/jE/0OI6LIqba1+e409qGRjYwta4RwJ
WdIqk8A1RiJ9iczIJbxJu4VxCL7iDvAwYtfsiH8lgvXXETHiEXcWcSTcNSAcKZFLFM65f7T/qNL6
+2L98pp35Zhogt1gtEIiljZIG/biEZoLpM0ip4Ex6guJkxxKFDAGoLXK4g3WKJByR8aWZG1JQQeV
sUgHb97A9WwIGl7fSN9zRFiI+NHErl5B+gfnVrDogDHot9JibOIms3qtlsjgKgNRpZkYNzNCB2ID
3CJah1UAkLPOdkwvT+ATsc+JNei8tjxtZQvB4h9UQKkfNTJ8XlR76c1sUmIhz/W9YLNUJD2gbRAd
r6R2PMKYR5Z5XQaFQb7YSqs9ihJ+ole353HAqYH2CLX6T0/bL/ujruY6i7h+ONUajbnV18vkdEiK
FwXYUT1CctNe6P3fm5L6rDLerWd4JMDkATJg9E+4D8TQpLFiq/EECAEqGPNz/TwijwsgyNKeyuf+
GbqMOgCcg/5R7cgLKJryokp6/dzvKDc2a9zk3aE1emVrMCHoRapfwaa0CiBSkASWiLv3AiKIumiS
qESwsNilsJmdlL2kDQ4LFZZeidwYfOxUeWJNsMHVU6wKMNEskM+EMVpOnVzCmJH3eZ94ak6EBeLa
KwsBwkG+mXCEBRA71SW4YORycYoTmXzNtMzsPHrTbtx+opBfMtx7iUEa8K88M3Kk9Y1aPD+0CftR
wtw+4P+m8r6gS855SQgRJR03TEdQ6KhjyIKyNdIgNO7FKmU9+Hg/CtfbAyFgxkPeCz1r8e5KA3mS
yNaSk6BcQUMLcT/Jb273KbD994M+l96PRQJVXRATWKC5pW2rfFmaJZHx1dIy24NuN6WwPPDs9tCo
lieFvYYoswA+D/rtS4xfFcjBeDk6MIgKECPm6k02RUGmHsq7Mr9E1QDRAOgOeRd0aT9p/19GRXQ8
C7ZlP546tbDAigs7XJHrlbl21jOrxdrmZ1xaYpBbYKNNLfD6UHxSmCBTAGYwN3D+x9/z9LOkjw/y
dUR3VzxdDsAEx1QdDgsHTt5+HTrY/jltJ6n0DNGLHDpKGaXDz1DueXYngTf1f41gEw3YKAAAb3z/
UpA76ru8lPqwmUCF6KEfQ5KjNqCp0Mc3J6MTY6FSh6mTnTgmejM+t9H8oBX5S6EbBhSQnQD7AFSN
+9ZRUbZpOqztcFql4AZSWAFngqmwueEfm5Pg2XcPOAaffkf3q/PrA+9WZ7eKdMuwXRe2EXltOOg0
EZFformixOntNACsRmci9KNmu+ZpX8xgTANKG59D7qoEaYUtUaQruAK8a6gbzfhUlGBmfHdgi8WB
qBAW9q2VyYQJS4JwoV3uNUUKGZsFJ2EvabDga+V6hQXD35/yt4bBt3m8izSIlpKypC7bsOOByluQ
TgCMEdfnEtCUFbelyGw8CkglZAxA5IPVo9EuQM454kFVbwVYzbIyrNc0kP8g69TLDUzvIn7Qugj5
W4n0Hvp3fE/oRM0Bg01cpTV+tBq3KOH7l0GgBGwJoN/wfqTvr7SFAtQ0F5Lh1LwBhUh2+kYi1uGu
nHpMpww3dW6gtQEtt6f5UHkxbvO/5/Bn5xb9f1ylEpA9OLygBPh9OxBU1g8j2+YhP6+wSqMNjl1A
xmtpKEZAdqgDo/A2vLTCuufzWY0XEHqqjZSYI9aBNODfo/nJicBoYBMLPRYGKAFIfn4fjVTkQkvz
eX8aG6jaKeDt0ig2UqrUaVWzm67lR/0hAe4ryUDoLzoh10pxIN9vXqaDkclpjZmhUgLqXIfKoCT3
T81NGSX5FlTyW1koALFmZ3owwJlMj1GvAZQB6YQjD1FznDfQP1Pxoc1YLZ1IUU9gyMu1U8wPXpL7
eSp/e8n7KWe5hB6hr9qfWo0LFhTPKTWCgCDK+e+dtk+1dzRX4VABo7DltXyXlNUfVUbpG9l/T7Ub
FEdyBVU+nQ0ITs47NbMrrzcJMz9wVq1BgYLdDaOMhhFoww8Okk8lnvvlCvV/MIcg2AOc4919SmQE
qMmFmIZclYFAVR1uYqzcRuI9beMTzg61ERm5pdmDgLZc1jVPHB8jJp8HFYq7hgDvCZmGMV2/MnbE
snrX3uDNzfwr6P4BHvAT4/jXSO8umhEvkAGrkIaIaSR5PleDObdnIvanVGdJXRThTatl6Ga7CwxX
5fo4wLYWRKe3PBBA9eeU8/nvtf0TcbytbVDOeGhtYrvx9Pe1DT8aapyWqT/Nimig9Czz6iL3aPQN
VhUKqPQ5QJ9Mh+LAOe9gUcpg2Qp2/pReaTUzc8j+OCM6dbkMRKuCbPc0y8Lx7yF+QmB+TJqAI4+G
TcAGcf8+xD5vxjIihO5EQ/4sQyOxcAt3ujYuaTduCynN1Ac2Cg0eCXKXHLxX0EnTc6XXZz2S3yTt
LcSfpEhi4OSptCqE4MxUWVAcp1HqiORKExG0Znajco8+989UBJP7ZeR3N1w69AzfiSxGbgOgbFEu
2k2H0pD0rpLR4EPbCxi1TRHdbIMC9nGFBuAVTOS2pOlRmPt5Sv01jXf3UtNW7Q0+WxgMGmQFOpOL
mXvDRQwHp3qd7PmKdhq28KAQVmGggoFuy0Z37O1aqx3GeiQgxD+anLtT9TbC3IqNh/4EZzqcmgOl
lmfpMH9UqYxuMcDVBVpbsLkIJ2Dr3nkgq2FZZ0DXyAUHUYPeK7qCubIX0Rl4a9G7aoGsnmD5+bFo
AMkrH4nHqbwxqGj8oKhF2FA0gPNNYpPIzXl9DOhLAUedXttFD65PZtvFP2dagHIYuUkU39caanFN
+Y6LuhMe/rEB+GW4pL5MYXdgnNWk0NSFCowy+q0N28La4naDDYFOP0HTwoX71F7UKVRkA0h27x85
O39SFv4a292si2IczWOJu4yMRa2kX8riXOWtIjFHmJlA0CST69kYxY8JrPM+fRqFp7938y/1vG1P
/Hdy7rMt6ZbNMVdjAGdISkKOYrAgEGpCTGX70I0GwbHRbcPCHJQCVwhpFu+4DO1ctrsHhb1P+tMf
U/F5rXzJQ6AiIhUMnfUn1tgISTdlBYqARr0AWYfbIzEiFTAtIXhWbxmT3MCCBO2pM6c83XSIKSi1
2rqMwaOxg0xRm7QERks3U9o6bRp/+nvafgbnQB3RHBImHkGZcD9r7JizAwG5j7ATadBPngmUcmcw
ZZNBjSE/05YPteh+iwfA6QFsDShyFBnuQrAsKtkVhuP9qYKUaA8iZpKqZfY8AdK8CmGRnprW6dLu
wd75pXoDohoF2B7ANuD93ctfp+s0ZsPEdSeuBCgVtj2z+DLQEKR5Lzsrr7xpfAEbk4+sjDQAbYTn
sVNOEKCkCDiePDQF+1kawGhQXgHHC1VDGAx9v3o4qkyqtO+2M6o6IvvDWq2V1RjV2zU/3iz0B2Dm
+feXBn7tl+Pj60PvwhlEmilD9+X20M5F2q4UkP7EDbIhi6lrcUS6I70BF3Ner3AS1+pzFiJbg9L9
LJ9zeHz5KOe8EmhGcXsCpVeUMS2AAOzyQuijgk40OithZQJmgSTfpp+SSEkHdBEhwOXBu8xswWdW
OhSeT0ALyZA2g3dYI9OBYEOL2Yl19pijOPKS2D6cY+RVobQSASoEklDxWbxcRy0HbUU09VA72Zqo
Mq+BmyVvpWDCvCKh4Y383KiSCqVTrdKmd0h8PwhmP6F/91v76xTexVndmNVSyXx+NwnbuHG3IIUB
jqbRJjmyBrjcMAroCVqFzsvf34/9Wd3ZqJY4+7ccWuS4u3Clazm6xe92JzKD+kI5AZYEex7WLI5d
ZOU3aD8UTr4Et6hXCH5Amv0OQVk5gbJVO0L/GBJ0GRjQyaFsdnRxLeiAEHS6snKSUersaSlW1CIq
ZaT8Arz46JJ1L3MWDMy5ad9hewwTrteZXx9N6K9r8stL3UUybbMwTBeL3YkKOr3XINImczKgX4oI
C9kIRk2Uz6IrUSBk+Hs6f0rSYia/Tuc2si+ndDsRySj1eDITzB/CWw2xiAFgLGovaPGxdFMNWnQW
CG7ehoFHHIcVeVO1SEYfoTVnDdgxwAYQ6QWZ8ffIPpltPxbZlzm5u0qbZKKSOMHIoDrmUsGGxWON
1L69xPsE+jZXIO9eEzd9Gc+DRWrocxqSjxRfLfFDIvo+DfQtJG21oVVtJNCrpa0N2N+qJXp9vSn6
cQCjYVTgI53btS6gCT5nQy3t3KLDGQWEgYjxWQgJtN0h6Wc+cmHitmPmj9fj7y4AooQkQ5EiMxgz
lHJ5fy7/jV2rxUKtD7XHSiG8UG/NeZ1niCDCCEt0SeqmdbgtZkDUUsZqm31FGCIfFq0nQmORJPWc
1Lu8xc96aXvs0G4sINiDgK8pNHFSSMnDpdJAaU6szCzn5Ua4CPjTGVNbd4pEoiNMv860ObUBJHdl
ivrXEH432FT6kQFNBla89Cj5+C2W2+qUFEg2cEYT7z4y1y8lQU5cf4JhOZjS9fvrgMY+lMmeKUhu
QjILkpP7DkizodcI6IKASOdzbyRsIwEBdNBBslsVGmZAZrjtrEDEij0m5+pcW4kTBYU/aTQifsF6
6S2IVsPhaDQHYC2sv5cq9WsJg0XnC1h/GBojJv2+i7iCrmYUoLoTMJGqoF+v0Je2Vz16guuozegp
kKgiQAaRHQF7VtucwzijlxulUXuCDCFgp0XrE9xGOIKXBgl7AagpaTMsxGnthvYSaxDoCkeeaHAq
kMcOEIk50H0ZMDa8Fu8jA/hFD9wX5RXRlQ2MnC8eOweIjpBVZxXgHCPWeiNDh3PG9lgd/ISxzUYk
T06ELQF9Ox0teZvZzpsAZHUbODoTIvlaC79W2ikDOEbtZqewKfAp0fh2V9xRtdLjZuoAGsqDzN66
FAAUmVvMDz1JDbg2FXw4lVfhKQHL8BSOmqk+GKMjoJHxD2Ec7jrUPNCWANZMePBJfk3Hvn6Ru9Ci
hcAbvxJ0ElbMvuFNaXKmzpzIMEVIAUAhQsjo3zyh6qcUkdMAV/lUQf+ttmFN3MAbL9mXkkVMVsVe
0spq0JQECOsfCQW85kEx7qe89XYCf1k7d/FIURWT0Iw4CM5AEOI2lWQ46jiRjQ6Tk+kdGkEQqYAc
l1lDFJzQovCSoneN+gWEc5JFFuDNGfmRn+sz1O7l1oHhksM9mM7f8howp0VQh3gU6uj7AjoM3JKi
76k0FE/jWbpE0GxBL55AsQ1tynCkQDlR5vFByfyn5BQHMxDI0TFQyADz/Z6CsETZjZuXoT1NFSLE
+WPGVKwN0N8HvrYT8UR3g0J1Jt08yF1+q9Z9ffB9dN6mM1TxqB6gGJd6zc0zGgYcUhWJAiAaEFn4
yhYHnMIJPGjBAINXLSTcYSIlKC+TH2Z6CONwE2jJzyTrfeKV6f32+q+y/qXQlwfYawuMdmBCAT/6
4CT6JaLGwHEMQWYDlID7+B5E6lsl3G7oUWYZxBlcOn5fuUmOYYYmVIcWuNLb0zB6N6Ds2bch2fHM
S0M9Mndnt1P77m77MgoUu78fhzlfcWORxmnIHEADpCG1faZASj70iT2fkmu/Z1ul2rxmM1pZgSOv
DXpRenCXoB88qLnHQZq9OEqvEzC5MOIClo5FXMkqQmrOEEubcTRKmYq6IujH9YHC8UXC0255jxqV
v3SnIjqP/AMixi/NPuQncKICJx7LH6yn7+/URC0tZRzSWYCHduMZoqOdwvXG7dSgp9l6cBV+uqAh
UsCwTnMphXRRveuP017E7BcKf1meqfdcF1D4+fuTC9tJdjfZqCvBjQ4ULNCf7n27kjwdmbbGwGBc
uMtoVIKFw3iOHVQVt76zlgNoLiCULI3XIwNvhMkBHkG+acHowXFUYYwZBXIf6l6EdjFE2AmsL9OZ
s/Mj8fHRm5FGHKO92QBz2qoL7glOod0cneVZWdRJxR2H6AXCQxU0QeXC3v39cr/VntEaEEDsAr8e
5dO7TKNO045L66U91f6i8uf5OVHSHUzAKB9mM9piLK1cA9hykzmrgEqtWniPAAi/DkHAyQerSG7z
wd0W+5cIueybMR4yoTmV3E6M3xPST6T3klzlESkDBXHquAsaHkJmUL3lhhAqy+lkNfMLjJXkSgin
DrYEsDNagFMtHizK345ltJH+O7b7rkKHmj2RkCIR1FshjLhyAMSwADjfoD0NrU10W6FSS2kj+SAL
+62DhF3A08wGAoHg+l3Ac4OCKazEOSKQyAqSKP8obtBEYpJvEI6mJZhsl+uhzkq5gXcJxHGtZHpP
Z04eIVz+9wr5LR/8NpK7i56fyGYYyL4+xU7nJi5pNAGksncsgDIV6pxd0C9KEcDRegCn41R7DdDk
3k0vA1GH9iKcjELCYOwNGiYYB6AnJOvmwJs123dedXokRPd5cdxtVgC9SOggSQyIk9zdYuKjZiAY
JqlP0OB7lxwCp8VbRaiJiBrm/FK+M3vAf9FSYc5lpnMvJeDVOAv//T1nv329r6O4zz3qFEYIIMXW
J1CCAPJTKXN95YD8e+WPsKRB6QkSn/Kj0uRvJyiWC5rvkE6A9+pnxfrLRmKyaaLyqK1OzRUo0MEl
vSpIkYu7g4v6dBiFpFa4GWDyuUd4ETABoEKsu7GRAaS3gdIHIv3mDEDE8g+S4F9K5d8GdpcDL2VF
CbFUVSfgcGKZttJD8vBm/tRNufvyaPhuCASW+hQz+H6MMDk0zPuOZo6qILO2V8qeruvQhtJY1gey
+DKYi/DpWL8MYKsDG2qjYKvJNmRMYLkXA+wPlTpUOs7moZOB4/uQVGQAAKv/vTbEnxkZR/Jb+IAC
C8nBcvD7OEt4d9ZzSmSn9sykcu+xCisq7DMHnWw5a1RqkGFiJYPvUZssxg3YdBMukLSCYSwKWtYi
mbUxODmYSQwq8V1AaJRPEnJs5ShsLRZjwnbTpBBNb0wYAIkRIznkppEFvb30CICyklJKGpQ4NtAu
aexYRfZLuPEhPeSvrN8YVNh4VC8nPSBwtba8wWeiWOTCbIBB22fPXNg/iAZ/RjPfZ+RueZTRIkGe
gSMDCSCKkYY2bJlYEwxl6taUhMQk8lxvskc1oV+2C7epwgEeAOtkLJu7xy5RJxL0OBPHUhaxXEjF
84JjoVu5YbytPjA8CiCEF7AxPE3zFfNfHSkjEML5g5Dyl/4gxgEGMNSAoAiENXy3IMop5qD0l5w6
t3hCB+kiKuAnQgeI/2grdT6zHlSofda+wY9JFj9uvBI/t8wB6npWCnumysLByzJyvonwMOhym0D+
WCCLNHJ9SJ7b1zFSRFQPbxs5BVIm/6D6O0GaGVwLGm4U6gh1eurBO0E7C4P+vhu3qrOAmgbKzqg8
3E1uCefFdo4akCQRvYzaNYjNZ0nOfZSYrsIbiORA3wItVaiv3uA+B4li7RdYGwjynoBlHIgA7/tY
tqArcYztI6C4gbXfs6qmoV+vRQ7oH4VhamhfAL/XmMD6UYq7AOnNeIaGGpqGlAGh17txwV+gNJt5
P3zE6jkRNMpivXP9KqkHQPbkwwdm5pDJhx1Iqv+WRwzvX0IbzAJMIBHPfvK87+5OIV+EqMva8phI
8Jhmh+iazLWOQ+wwdLCAFW5A5M/p00zhfSbOEkruCZ4xcJJeelYpoI1SJDVuTD5xeZ6c7LpPYnXq
Bshz0zDdICSmM5OSvU43/GNxu3JmjCqJwjd970FB3qBHQhHEf3Pfg79Asddbywblf0i7riVHkW37
RUTgzWviBPIqZEovhMohEF4YwdeflToPraJ0Rdx7p2N6ZqKnmyTJ3Llz72USPp6k5xi+M710FOWc
M7lQBpkuwPkeQc7/HFyPYa4BzCyfGwgpyYEVq1e0VLlsXUYAbhSan1m3M39MbrFzFW5Gy0OgDTYu
x7i8BAamAqLwBQ/16Uy2E1/OAQsKftQA9mXQDrPQwPOytJheuu8gvRmZFkxwQ7JTJoBOvaBatzzQ
qQtie5YsXynh9hcg4WM2VRGt/CTThVu1TPLQVvq10u/6Crosab8M++zQ171LLxZW56exzcQZv+KS
4Ie/xoHZlj2U4BsYxifsJ3J8u9HgjK6JvQ77a1jgXlbnW7DgIUjNaO1M8KH5J0A0FCjdFXNpduFN
XMccmFdUpAaYr7e4b1GQSRQ7F4tVGmuHcxfBlyf1933DfYq8gARR5H6AuXUvN/hq5eeK1bt4rAzz
92RFygzpIFGGepCERPV37CiL2w1a4xdlGdanutT9dt2AaMEeR/U26H4d7meqSgitEQlQ+qErUN23
Z7WDNv0SUppSBKJbMOfKVZyQH6yp1yfkXaN1+CzcsGl0FgGAHiL5VPaWs3kfhdsW7XBAOICVQ1lu
fz7Fm8ATv0JAqUQdwt2670aVo16cEMW+mDcv6FdsYGgumPJMWtTetTaSgvhW4tUOi07Fngdx0dS2
Da68MKSbRqANz8+sDkQd0CkFDn/ce4IJs4LODNQ2EE+/tDV4dS3s33ASb/I5pHRAky8NwOBTAv8W
aVV1oIm+fv8nmBboeAIMBKwW2nYQh/j9UdPr7dpJacF4wU95AAn2gAh5PBuQPNswiIrLxHUc59u3
bDJjrX1rmS43L97x3claMWq0Nl6P50k3io5HgbQfylNobg4KaNBeP3dJe+M8ZpIRHJIfN7IBwBiR
dlEidE5GRXSeHR4oAsB/SsBSE4fpM+orScicmwCaBSIAxpctrtV6YH50ujZDwxCgntYGUxxIshyy
1gqoQDCB05Nj7O0Yo5igBozET4ZuXWJ34Ija+85B4c74TgI9PN5IiT4Fin1w/XCRSpErIDWsx7mw
izD8PW/Fk0sNYyNwjkB9d1oUk9AR1Hn7i+K9x0zCnh4Rj+86uOg1FyWryuTCeLmRQBwpI9QrzHJu
E9hj6PYC4qOy5b75+m7koz6ZY1xRJAXdeBjEQYTk9yKTriGXdhUaeZebgV5Ezxthaog9mPhgE6dO
AM91MEbQcbyYIjCSjFFWxushyH87NKAmPQxhkAl3txD+dD7vI0eYFjvOgvPP5HjMyCGegcxPktQE
2FBG55VWVbzLljEdSwO4RiFQryiIRSBPBZE9eMaQ6IQiC+5yKIoT/wBtQACPz+a7bJlvE1T0p/68
tHYgd4ZLY6SC8qQWh7eAYhfV7OdkSG38nshAviS9oiY33IoBh4P+gX0Fr7748CNdMFOZskusGlIM
LIS339mtAPRhnMPfjJot6e3qvIv2MDkpE+JXRhjowP0qZndIPuPv6luEbHcyx8mVwyZ7mZUkd5oV
aPvfIU5X5/XnGH2RwUpk4ijO5AtW4nTOgUfwfjzOp9MpSIRuMz+Tydd0CvLNsvv2rgWpt2fDWc10
9M1BdUAbaMGZGF1AEIRSfWKMrFblb9n19yQPEqkmiss0STE2A8qgu86cow1SE8Ow4EHm1XM05XUY
VEDgez43wHGd4vY3V11EK0q0W1Y5WW7CC9lcdBRubMdEGW4REZfdb13TZDXyzqwXouXKhwXrudvI
7WX9JxfJejJSS3x256Cmn2iuQ5EaZteDXVddz2klCb7vXX6m0ELJCM18vezbSy3Hjqd7FCfQ+jH1
tw7BTVut3+L12xiX7C5CNjhffw1isO/8y/XMlf75PpkZttcSpQCLehAkrgf7l/mNgADTL0RoI6MP
bC4AOXuDvbQ1nR6SBTjEwQLLopt+oa+2j/SRKXpyGfw1uMHFQYOpcNBHKeIS50GyG7SCVVgDwpmX
el59cREEGtrryNLnn6RReKgAlgnyG0gxDZZXFUZoDSsRva0o6A6tem/pwdka3BaHhLrdGR1PTreF
y0/f1ugsKMZYVYB/Fgs5AKOgCivJKN4MLoG5CvOfVpWwMLBywa1eFrYDYg04rKbpBjqwK+f15Ovr
9Za/38L+rAQ8Flh1+FuwymCyk1y71Tctui2B5pU5W8ZlrSPMVwajLSM/sBsIoriSVQmm8IH25hfO
T23BXAliFPp6vFcfZNiKAtXzU52CdyAAA0vYSTseGnxopEbzbvN6vHdqzavx0sXzUOGqI+HMKS1m
6Tw7HFhddnFALAAsXmbuEqgYnJ2k9yD1b1nO52qmAv1zylYL4cfUbzYAKi4/6UhorCN9ZCKfkCag
Uf5vIoftO7bo1D5qVJBMIavkyOB0ADUJocaps7EbUEf319l7unETXDtNBkX0Ftt7LE+758UvZkcd
BHAf1JqgTGW6hhIi2sdjs/Iia/mxRIpL2a0a+bg5zkZACxQeo5w9M/ufnJgAAuIuPO3I9EfcIJzb
/VFf78aQm08axr+naLDHOOSYWcaBCD3t9PB0gHnp19IJ1iCrXSDbg3XuZuhjU95WN/mR9xcDaJzp
KDODnsZ/5wg3JlTWRaif04PmYQVxQVH0aV4gvEhwVoX6fxcEXq8Bm6eh4wm/yKvUw59MsoVSG1m9
T6BAdAb+PXsQ/KNbf1bC/sp4y8JUSOrAlAuimYfzCvZWLnjxELTxHaDUIbxi7E8xlIRw15xobnWk
OheMGwMYnOvjOehfhWjIckPbD/1nIBfRBBocCOBTCeezcLsHH9EtyPEyCUmHCgDxNmCA0KMB7a21
pyFFC/BLSxz+qOfbXgpJn803ec9RHmy/aEUFKoj5PDaTit5GUhug+tVuLFhiY/35irjqosKv4h9I
DO5s6YevCHpXfrnBY8XbURQXjA7ekTbGTgEJ1E4PThFYwT0cDkG1zwF8hdxRQebs/CMkl+PZAgJy
Hxkfsi6C/83uBAsi7FY+i3mQw1GPIKyJwrFDbMAk0TQ9QI4EG/hSA4yxr9xPmAdejdlqRSwLNhuy
VS7c1IQW0ORnfd7+6PoKwA6QjAkgXKlLSQZ+Qlkm4gwcUzpBvMG4YHGQiOD3TEZS6icB/ffEDI4R
PvTFmvOVZpvsst3lx7ehuCrOw590pq7lNfj/LjpKnwpwW58AZJHbOknBhNHWwAB76iz0mCOzjoDc
gq6GKx7OUyjKJuR1EH9y1P0e42ALtpKaSsDiNVtswoVk0fYpUBdQjRFsZcNBFzaecmveaKHcxC74
eQmX2UV8GBkE3Wu/48DvQQz24pUXfUlR6QqCDgt+hHCaJP5OND3nG9EagnfLhAeaEdI/CYqpYbWY
72RTGEk87jfZV8MY7DxN64prEtNhgCVopofabM1w05msftmUTulBDuxUrXCqOfmynfeEKqgAQGk4
DkHgXmjf/KxCJgtIG+AqfkhOrPUOOYWTulTRt13Us9P2bb1eGyNJ2h04/Grcg8QBtuJly1JVC0pR
CNFq+cAFHWHCEVerPWuhpWTxBuYPSfrYQSLTNfzn2ZLMy+ie8ChLDMoRN78QkkhDDl1Z0zm/Q/6q
EQr/gm/gotjwuxxi9skaRSLToxN2nW+YBYTWNsilVLIFa1ufuAs4mp1KtLVR+O0IN38X7HfOVKHr
VABqa0wmSP1r/WunbnZj4F46Na+GP9iiCbq2StpAlCeKjmf4MgSxqGfX1shFxTxrvs5Iq9dr/Ukt
nobJfxM22HBBIVRZ20ABo7RSJ7ySY4EYV7hgTUDyP0Dwvu1KnZ+8fur9MwzfU6G2IkDgcxCsGHwm
OUNROi+hY7A7LL8ta6rquJUdjsulZR1xPcOann1cyccS4FfHMqZzY7l0DOS+x/lZx2UoMFHe0k3X
nclkZi4EIH/M9w7az1u3RfBUieviS7rum36a7F4P/UnXHz4sD0MffCIhEgM4t2fZqof8e2LwkOpD
f+Vi1KjdI+GNjTA0857AKRWwhNfPFv5eBH4/e/CxuC5ozmcZ05aQnayzZoMTKSFwi/M4OlnY9jwx
32HCQHhss7ea4HZwJsbrUTxdMnAjhCY80jIq74xF/HDApsFFEotcvlP83fiLN9srKeyLzvtkARRj
fkpRFBuZ9icZIjRKAa7iaP8eCsCD7F5rfVUrsqzeAstU2MCGfbA1+rewoIfqHrxbddjUuM1WZJHD
G9JsqhnA3Yj6FMbC8CwuIH/0ehbuyeBgCT8MCPf237PAxi2btoCteKKtEIE3QANFPtE4ISKdB7Xz
rTzrDio571B8kiCfNymseN2iIMlMRz4I9LT/ho1fYxkk92x1C5LsfKY5WmX00Mis0Oe+4W8wnBUI
+ByXDiR1IeUJC1+X0YlofCPite8NRc+Zq9UnVTj8dJbIdjyHbOxP0M6g46iZ3wHhCK4pxKfXJTfF
u12JgJuU87kBFu87nXzuTUy/Xdg39M/3K99Y7e0NYis26MzecMgFe/3T9qCR56zsQifvZJPhz2RA
cPu0Z6qlv6/szXIpu0fPYfTPvYYL9btIPgNy5BCR5panGhVw758bkHNR9Qzs/ULSZ7EBjPyRSqku
HdlQvRCJlw1MEhBVIBGDUKygCdhOISoFyh/QfoyDiXcgmAilxUmCX7t+xDbVUpyjuLEE6nkd2VDH
xJ9iuj/5/XfDU3Q+3VnQN7MO2aQFu+4t1tetLpGdBCXS0rrsVahPNtYFRifKGRhFUDh3UH21BQJH
Gn2tg0euID0UUSbYL0ZC6BNdh8cNgQLF7/V3vsiQLoCSMpT/L6a64h3oWliTt9iWnJG9N7a6BhEv
CYuW6TM/X2U9msjgbwcx7ig1iMTCtivmvHAzbyIz8n730uir/TWIdZdaLWqgYTVPRe9bXKPXE/Rk
Wa8L3bnMtQRVKWHR/JQq7G5Jv2UMfuRG9oSq9HuCB2GuyOpMkQIMIHJq87pgr6Q+1oF+mX/a4TsP
tv5CKPCTnk21kXd/0lTBoyleBdUebGxp8O4Rp6VVzPCaF89oTRPw8X5Cwewi1VOBLbYReNdVCXEZ
VFJeh7VnRwwwZbD6QPKEJPf+6w/BnQlbfMuy4L2dAb6g5Xk5p4PA/R1sV/X7qv4MfHcvQDvtPV24
Oii04MqAGdgYpUBSxBeSjwzoSUES7a6HAQ1WH38OUiVpct4Lf2qJSIEBFa5l5LF66fD6stCRV14g
j6YGZjIrDnylfzImo6e9Ia/gWsSC3Mikhk1rzy4IUQnhIUcGYyMTbZyA7PiRY+H+aQbL9tdwB5+O
TzJfktsy3HY27pjpIQKabQvBCxP4OPBjIAAJhapmf0Wr4rasjA7/VeItQoj/+jZrRkY1jY3r3F9J
m6a2gshQDRknCynd/rv8Tu1iCpx5Ow10GLsjf7YgEmkUb+WWgYPDSLrxhK/4e+oHO0BQQ9h9Rz3n
GYc5jJ+cyNqgjoZymfuzHokxo+tucNlJm/6WZxL6mrtDuzuGUxTqDFChGH2zpHWpmMwaVZ9Bahc9
BJAB3yaxOZl89aOImyflXojPU9A7dLYAex1qoteNXDZFyLdL5TPYsYjn7VYyYCm4zSCdQ+oWGidU
R0BvIXBUGn5pQJTerD8qSwWIA3y42Fa813vySRvw95AG1bGcTzGe5BojFLLHs3f+an+Ck7TsTICv
ILGclzA4NjOoN8PQ1GWt1L1+hB+vx/CE940xyNBbAnlVQkdrsBYC3OikDC6EXhzrO3TaPj561DCT
Od+YaL3RlsBnDY0lUL5Nl9Z3JvkcBy8OTLEnX0jGXg/nSU3193DU36dfelb9JGX6FrKi9SaEAgHO
QQeRKH6XbUp3DlzJR1eSyI2Zf1xbt411AG0SV2V09N5UbD/YsmpEMkRlrIRBH/07AuBCg/iJ1cPC
r2eYHjc1g95l2iheq8+R+qGYeeQ8zNbZ2oiO6H2mBFX7/uhW8wnj/CjGeqzW+0R8CJ+JBm9YruAA
GeJcpZoRrtmZhVOYA7OZXWTA8RPK+Tcr28EdqEY3FUbUlLKHkwRWDoEDVh5R96l5dRQFssOXAztt
J8LIMn4STn4Na9i570XtGkVS36Mwh2YhCzSaXr55+4Q3glUFlWPgBYA3G9s9T+qBGrykZIin8Chg
4urwe6kUSlec21ZqPYFmiyEU9WfQrbuOrMhnb/f4mPswHg9Ov2J9KQw6rzBBmzNVfHvsD4pXW9TT
k0zSyXtLAuv1Phh7uTuJ5+GpJdtLMbrPLZpTB8FiULaj2m4pEtuRB9ErxGBV/3q9QQy68EGWsO25
8xQ0BZVJaIYgofVmqbeTMTWPJ+kPvhiaTjB5AadCHPpDR6JaiXWXSLTfhWvBBvImK6Lr7s8XdGFH
XuxZJPn1sMHB09RNIfhtLHlXFzWI5NQYFuoPHtIKm9lhXUKntIWg+3byM/H10asbzV7+TOvDqw7i
mAD/p6YTUsnbzQ9HWXcCE2fddBYDyYgC1NsEFJDd11iAeHJ3wAQjvcRlWmNl7U9HShAa2Ve4Ft71
sn2kW4JDSschbCvGWDJ7j3d/XvHhYYPLaanlTXxl8YpUqf+g4rbM6/BGQtegxxw3ZGWD/QsaAARS
XVQjR1cuzbhePX+wcqWEU26ln9w8fwvVYWBYVEBDbi7UOVzc9hjI2Y6xgp6vqYdXHtzNRDED16DP
JHT8KgMAv4OCjgBt5m82wdxeiWT2Hi8g0uPq6/XX6416Z528el264h4igtgwqhbVreT1bwI5MLGO
pjV0ugOy2WzKyarC6QPpQTPaYVnrOhZZS7CtXg/iSQn49wIbZMFNcpHONY8JoN1GMJWs45VYHrFX
JopzJuipo82Nv12f308c5CdNfY4ZtaFTjgcerycYs+iHafIzP1gfDsocKHRsZ4FP4oVubt/0tfH6
jZ+H/4dPPgwjIc9I56Kol7IEl0L+RoLi6nTK1dbSq5WXgVk3uV5HUCTvYCzI4fpybSYJsOylsryC
1wipGG0kp34eRx/GNAguiRLxPjgh9OSrf24Gbh7Wxl+BnwyFe9zgwJBCLp/b4KzuX8/G2CIcWhpd
gCaQ4lS9eYBDWqorwexGhv9OOksdyMS7gGOiqSMb3FqATLJPQqeKCTz/wG4O9AJM6RSySa+H9HQy
YBkKuhac6GTlTst53BdZ3TMtPVRQ3cEKQRW5Id+r1czc6uvJ2AZ4+jQBbWtULCGeCybY713oh1Li
+3lbL/s31lXtylH27Y2kFqzDfCiLG6lidOg4fjG9zk7AsQhgYNyO3N+eRt7HQQx24TXKOZjMnyXv
AKL7fJkate0BQDYDGO4dXUaeuIA8TNbjGegTLTgoKz68/mA33pRehp9teD/W5qhPO98eFMpsqFTp
izcdxbQ1gHevP/ATZOzvZw52oMyIHZdfb/Uyd+pTe7raxfcl1OMv9QYLeptWi2tDrQxIFWYMyfcx
aMOtI3slgA71GyhXXW5cNSu86NE386W8x4EOV0kRuMG3MzDAaMl2M3bzeszis6j1OE+DHSoFAliX
V0n0DBVN6tqkyMUrWXqAPmxQ0yb2jCvJu6nrE2WWTQxjop9Q45yZ7hiy6knj9WH2FNxcfi/YoE2D
RGj7almgqHrWfda+Lft0yQRGBenzTQBUbQAkqJ1DqRbKy9eVkK5qHlu2uRA/N88FuYwEkdfLF0Ma
JA5RzgZVLGL5TtH1CQncIIBCA/Jp9WkSALAnPy1uKQA+jWXyf+udv6dikDDwUlNKSRLfUGMqdI6A
OKkDGEytSMUv0UDYVBcqmP+SMyaefM+7hme3ALgtFTWGJtNQsLBHIn++MVgO00PkzUUfGMDSu0xK
7zhPZ3PQKXsHGkcxMvAPkJE2Z+p+YcsCCLn7EpdKd7JmZl/ryZs+mwnrPegL65wwNoDYxbtrLmaw
fklJZyx0/aebTtwt62XvAI+9hRba26bPoqc5sr5pmHv1QoNEiL+wkdpLGl4IpuLom7vz+dUEtpHV
8TKo6JrhTW/29LMmOguAjw40vfHZuzPI3EDY7k1GuASr1npjVkhTAHRmIM7xeozPqiuIVf8mfRCq
A14MINCLSZ8fZJtK+jsIVas9WEPvLoAbo9fz/2Gr/XvgICx3JVDtEu+L6OIZ82UCnlNqEDhSEBgH
0OKJCyu39Xr0ovM81vx77CAml+fo6nOJKiIbOKDHukQTZyMblDe13YLBth759qOvOYjHAcuzPuVI
e4dOn6MVB2gQklAHoPqZCeDo9i0wJuOZ59iKG0TUrK9gje5jcrUJblSwp8jW6EY5qHXYuPcvhNMC
zaGxdf6sOva4hoasjDhtrnV4paEKsGL496WWdYMWF5XnN1ZIeBcnLKXAolVL5Pw4/gCYfr2M6Wz+
2Wkok0MIGghi+X4leUhv/EtcJmUgVstrYiLLDHjWVFL7mha6n9uvH/WsRApi5L9nDSoqWldluZaz
OLUUQGKPx37WpOQ2Ae/jEzebRettt6ALU95cS6ZjidzTu8XD0++558Ob9mnIZHzNY7/OIWN4Ah2C
EHTYcExub/YWyLKfMVD02AsPCfdNJGVNyPQ0RMyXwVTWPcfCSWTb6GCSxYIn25xepCbr0SfT5fri
s94x4w8vK4MHwQIbKHqZObXmaMgIU++M3BXJFLAP7+YJcHC88lpdjD6axoNXjx7E7ssZ7jRihkcf
pqhlWRaH5m8GngWxP5GA4LL+Bl8uKPhFAIT+/xbYfbs9vrWSiblP33oHB5a5BWEg3F+9BIhrCIbZ
Zm+a+kQz1nlBRtkEz7OOf4v7DtR8eLafX3qlarG8WMj7AUc8Px4ZAgUPoCs+KavptAAfwBgD/z/P
mB8eO4jO0fkSa2KNPTWdLtm5hzb8d6jbqObpgHe+4USYTNdjt5SndYrHrTTYyJcuyZg+7rCRwerA
lSgwvevco4I65Dbd2IpuI896o/DfMCU/6zGE29NE698737Pjh6kG+0erLxFiFm93uoxUSzYEO4PP
xshyenryPTxnkEimN6Wr2Uikr2lZsQHjFIN8A0CEoxbCSWT0hH8CRUcG+fDAQQZ5KQVf7TgcfbUL
CCF1dUIG+5G4oRsSrz3iJ58apQEe2y9W2vymv9/MU6D3c7CN2Um+pUUZDeXiteSMkrueSF79Htxg
XyuqBkpSLEDqkqC5XMKXd94b83oHN0vjw4FjeIVSEfp8s0U3WwBfdXNnpmK/Qwc2RL3oC+RVGbCH
15/ontm+CDbiIAnLAejjuwq7DqrqhEeNEBuPM/Ka4lEaYm8sr1p5ZDWbkW2xOpmht0BWSy+SF/wA
0LcyDlNj+obU9/19H87Ak3lHmouA/Hqcz5Oahy87yN0K/oqmPZDSWEroibY2TM7AzaG8HB2oK/hy
XpaT0fU0tk/v4P6HjXLWkojnLoiHCQGHAKoQSGks+NggJBH42OB+6ML++Gsy/Xr9uk8gw7/XyiCH
U5Qq9bUEuXFmAp8HL6wjGlnQ9aZ+nvbGyewNiM1QQgCkmd7IdAbSp+0UIBQkWapCfiJ7ZESjH2CQ
34WhyKLOh5B1ns0NXJdxVyZk028QmV3adoS/1thpRDfEq7U5iJJZGCgV1+ObT4056pgOEENQ5kbu
bOOtgWOFhxmE4seK9M9zyn9L7S6T9vDRs3PW+JBo++814Z4/11sPFRwnOG6QROMsktzFKQJq9Uvx
puv4mNNYZoysgJHYeacHPIxC6ZNM0W4YRY3mh3WBHWMzue0zXdt8Q8oV4yDmabst55SboYEQC/tV
lR2rTtwX+ItPcJfJeBjFra/CG9vjdAQb1DhYsHfkDFnTwThIjYIAmgPjZEzRh4ecjIAJgV7C4j0+
LWYngMWaHpjQJtQF/QIFA8JPsDhHA8NIonZXHH0YodBd5bTOsS7RyAlkdBoL/EhRzAmgrIkFQ/q1
aSarkzijYwBRY+xLPQEk/tqr0iCEsrcqkMENp3dtsBpIMA2ny8gArdE232PojRKQMN03OCYaX6PK
SjQ7+fN9oJYCZCwqniCL4dcf3l4JKoAHaCJxAfTNsJbSxHNkBg6GQOmhWIPWXfdB04jAMMby1Ofn
2cOzBxHhdlX5q3bFswtzNz8qk2X+5hGHqvdkxoIAiAjcimN/Yq+qE0CWWoQIqGCOXL+ep40PoxgE
Cb6TSgFaE5j9wwHk2CU08G0amjD9M1O0ToLpvv1MoJkzsj9p7vJi5u8N4oeZDzv0nYucZunzozD7
gGiQTS0Jkb6t4HOGEJUi0XG34Aad1+ES8Rl7dDdWW3iGOOCFf28/bEO3SqIK2gXfQCKsjQIrMh5U
Uj6WNG+nbHXA1iRztYfz72LROu5batNizlgW8TyJfhjGIO+q8qaTo0qMvGBxLfUIzJpdBnvud9+T
gRCtrd5loByuKyedJdUc+C/AwKjoGKjU8piE0BP8IPajAAc7DfYj+GswmEvCZ43U8pHXWHJJhNny
Ay7qkNuByWUxq06uHq3zebHn8pFc6n4n/Lsk/j14kOCF2rkTmaKlh/YBvbcj+sr3K1S4Dtb+CoXl
iuzJ++KkQtO/pADxwPqJ9bHc4WmT+fH9B/Ho0rLF9XJr6qUC83G4UzE8wrTwk5z3t3Ns+sXFayOw
3IRscu38pcQ2Y2k/zcVezcMgV1PDXPFZraGLMuso1BdbBNYb93IQyoxIbNtDTFCL2k5G0sQnemO/
vz2Nlw+7Uk7PPidW+ATwSUbJkyBlCOFx71jzwxRoqK8vWswHkQzoKShJgXqy31+t2fu7vnVxJdHX
Gr1YXydjF+unF66HJTkI07f8HELrCkuycxnSkw/Avt8Sa0y24t5KezXxg4gMGaPQ73M8RtDgmgqm
6aelwtK7s86bAFIk2ux1DLxHlz/PgxQKSuagCEDv5vdsc7dLVRRM33kV/xWjjBxqPy23lIRwcZYU
nWehEsIDqiLj+nXWRhKkJ+e+IAEZA8IoLCzYu2npw5eGgQItz4TasjybENnJLiCFgP1Rgv1R4sY0
Ygf1BCYJ7B0E/KCCDQVIYYgMDkqFD5QgoEVcJOQovuUrHqLFR5oG9+S7IdS3oCpJdsD9bVHpYDQB
9WquVdDTuK///bz/Gsxg3rMGYtyxKPRLta82viAagt9DqUK1M5Gb13HttFUBuKTg3vx0IefNx//h
+TLtsYKiji+gDCJMnohpGgM/s1SFeJoqqZ7XsLQPSiO83JxzlDhRkE9FcNB97epo0WUkwNDXGyw7
AQBtERsKYER1SDTl2DTn+Auk6QII6nKN4Td60815KHC9fs8nu1aETwn4/4oEn5Qh9PIsckybKpBX
SqCKr8fnlcp8X2u9Ox+ZVm+7kd10/+MGrwW3eA4ODzx1KVEH5xbbi+VV5koGN6yigw48JOCM1pQo
RZw3b1/SFL6aC1Ayze9bbRURmYUhWank9oMyAfhPgKBRfMvCzIw3KJfNf74Ya/0GGixqWMi8hK+v
dbQVNyNr8Vn3V4K4o8ZB8BiDZwejPmc+o/lcCeFiHGrIvkF80YB6AAZbBEFXJk2tJ5vICua+1bi3
NReQ5qP6EBY3qPtDlH4DgTEYLIHcoH4Jiwjs4B2beMmy3YPl0RNkB7exC96fyAGtemgbclDgh7at
dC86P0SOcxTCsEpKYHmNsheI3Mk8gmh7wxK2mGdcP7KI/ra5Bo8bBGUFfIa0h4AcKiz/jRwfqbGk
bRFcJC+rxXYydmn7e4EdPHGQEoeAwacyyHI4fxlenx94eL5bH+gw615TEVQa0R/ZgCNj4m6SE+jV
utA/BdB9AqOA3eT1HpKezjYnU613Djrq7OD1q0Kq1F7Bqi5KXFFCBeBtOHu3myUc6AnnyToK6xvx
XWXsOjKaCdtCYd9fiZGx6u19kxhFiEx6D3OVEBNWks7RfxhaoYML9jqFZEPxUVx1FmoJMrxXwLnj
oSO2OX9Pg/3rF/mb3clQo5Q0YIx5VJrwr78Pu6LitS7lAS+GEo9hedAVtzGPkK61V7xng4sF6fP0
CID+QXQP06v7FVjdZGS3/b1rUn4tDBdEFdKUCMGD3cZqaSxJUCzw0BhAX2+OSjlwzvAwg5o4ZWkV
BmIAvinZtnsK2B95/t+6FH0+/DPB/xF4Gv1/TwLr16HWZj3rqS1v3OrUVs6BXvESGBdJsrr2ea6X
cQ+7raiMLFkTQJcoxbMuFHHtlmnolVkw6XPYU4a8yeRA4vAMtCK5i8lx9VIUK6Nhi8mtWnE9MElx
CYWZwPA1+F5k1b5g8886DSYaG7s3wd9pavfdxcFUy6JTcxEBD7j2nM1n4WHkyz9Zwr9eejDpmqBl
FKQhIalESzVcaJ+0ylCHOP+v7OSYGnQ/ibjqQrEXcKqQVGYPjBcJVjnR2y/3YgQ8LZGNGtD/Fa+g
nwNfAnQJakp+/1wPoazxwwtgpkWPy69qH6Ovo7jt4aYBnQRYh7XGu3t6Aw3vB1pB+nuDfjPK3GP9
T4iBD4/jwSAG4YaJ/PKsCGWPxg1vHxD46YklmkvYc1yMIoCABgBX048enBsflYjJsltENQk6XTw1
XsBNgKxI7dwnH9IMCqugDugC3ERAsViJP7fZsXC9nIrsLTZti8ssum8mOjP9dwT5Bv09c/YXJwVy
xoSdVIZwtoCkzEkLEdBqxwTuEBX0K1xU5ioc+sx2ttg29lv8DYJEaGjvgGPE8zd5MgFr+QyeZT1z
dX8aT5oNTgNSg0UKb0qg9UCZh5wrxcjvdq8X19/6xe/ZG/Zi1JyJrl2FT4hi+qEzj0sNtH2oPTm0
DWVGC8j56Q1A0CidjTz673Vh8OjBZu6VvK+5PutxTvSggtsUHAyahgV5bnSDunHI95+L4eCBg410
FftAFq70XXfQAENJ96PL0PKyGZ2WS4IVGrrihEomtrCHGcMK/EWK3p8OsUQBNunw0BpkreGt4oqM
84FTi6EuGDbGNZ6X3EWXQ0aXS0i9afDiU7hlF7fTDq0WNV30PgeJ01KvkZ9ojGJcpXw18v2fBRfk
e4jqoEhANmVwPooSnD6S+Eq38C0kwRXLHkpqH7lloe1KrUUBhM+R555MCJfQuQmX0MQeK2fdy1W/
kk9MzuMwBpu4Y5oyjLTLDeQZKttInXdT7CaELuP1C//l8f9+0rBwVsp+DAaYUC/r0odfdW/7dflW
CfAQqpAtyol+4wKLOcPkJSgCu6qVPcckRL6JI4nZ0/XAi6IC/VQoMcCk/PdZ1ouVJPIM33kaJW5b
SI+okRaFm7WWZis2BCjJl+CNvD5dZX8m+uGp9HLzELLjAhrxkoqnXl3eFk0J1fPNZabp3zK43s1o
C0t8tud46PHgrNZAjrr3dR6ed87QDk0bbHJ0kdJEn8P66s5sPR2XyWTZEy8DHrciK6g272V0tb5X
/QfZ0DbHIifCDqGWL0xA/iC9MaYtINKC2J+5eBjbYEcmAuMLUa60XhKTD/jYzWM0RkGEuuDSnJGP
Yi7BgrCGSAXA/CJcJ0jleXZwNuITb50nvR5g3nIwTaefAko5lxVFL0MGzqhQxBklx/xpyNB1i8iB
rSoqmNHBh8u7m6JcFECrM+Y64+KZGECqhMMpkat6UiZ6E6B21J/4aixCKH/uofTJsH9HRVOgJYhB
2Oy4TmH6q9x5MS8cuzqxrxfF7toONkmhndaNxfmgI/qdwbNlTPJKOclNtUm77puJOTcHGFfrzhNf
Crw6i1c8U4Mzz0WLIs1SHf/ntgCHWP0Pad/R3DqSNfuLGAFvtvCgJ0VJJDcISVeCt4T/9S+L/b65
JMRhTcx0Lzp6o2IV6pw6Jk/mWOCtJhn7cixeufqjgEJUrIzLQka5VhzjpS+PX6jIfHLeycdaXT9A
46bUZlWijwPqHxXr5EluQJhFq3qQQuSK3s5KQ1QEvb58AHGrld56hKp6k28FyGQrCSSpeyfHODVh
1+5HEbG7OE8l+aRymCKGaILGVZ+JqhrCBSr37DEUWH1of2YVgswBkvFioKm8I89cJXAU9SXuwKKP
LKMudkGQa6AZ08vRn4eIMqWu1ELPd4Lqoinc2+AVf4IQo5uSYnkM+ONV3qgrBaJYKvTirLICubGA
4XcBfLMtQusRrCzllhd3Ab/loVrcQhRmdiz7DylSMBm9adRWl2TFiAqozIm8GQgza4gzPRp4oxcu
B2ko5oGP+jePgBmV3zKXNbb9VgtMaagoXyk9q8+UFLBaRvmM5Fwve0y4eu9N/Z2CHf4CupMQJgJW
Ii0c0G+rGwtcxGAZl91oiMGzGUIPGAlSm7E/8UV0GK4YNIGNzyrj/yRjKupBIbNmjBFpvYtiyGkP
RfYVsKOZtOCdVzk9S1+brNuxfGpXQ2wwlaIlQGEnTeYgmwTNcZuK1xew7WtIK+eNBsJKh89hnjEo
m82keqlq0KcxILFj3jn+nVPwVTBoIFSaLK+hZ20ytbDIUoTGMWgTm86BbrQGVmXTy3AVQw6pwJCC
aBVqa2XsMj1Inmad2YfcEtkI1IR48MmmkZP0w9pjFBuj+poo4bVUd/0ARqHyrKDjMOKbCxdPT6Xa
nGEepONwwkMqoDKxvki1XonJOgp7oy5qoxzqhVguEw/RJijuRwalFbZxmBrCwR30v3mQ4TWZJueY
1gxHTcxm61GaLSrxKPJOn7z7GURw+FrvuEznwVXHZpkVdWXvcHzsSj1qgQrH2YFXmqIUOHwCjc6y
NIY2s5l2tGb4noIAqfA0WGTjHPUKZ+DDPQpnH37ZbIfR10Dv7SrJxwUhsZdARV7ltqqE6XYJkQvO
mIEQtPhWQmdqxEmOZWfwg7/Nk8LOGW/HS8GCjyprVFToVqTsK993lJf8UUZ855eIe795WtjaH3l/
6IfDm2QfreoPCMB5IwD4cF/uLBcdYfPkfX1IHDRcRd/KDSDWX4sVsCEGjUHwWmn+9ZLcuMjJS3KZ
NYUvJ91wCLPFpdLCt+JYgI8IEPmVugm241IwkSy+xsCUQ3+FdaIXbqYpIHwDDBij/1BVDHFJFs0p
+SE5AxgDuldT+WJ179ivFUUT3iNoM4MnMgLLr17T+ngPwy/CsIr4D6hskPzcH2WuRkmTR8xwmFWs
JkPTG6TP8Plu3LV2JbwUTGgAFqpHTEupOv4mGMbjcrvypDVRSHU8XlgWNfyvt+NoMTrJQACUGp1D
ameQ/dqik41hQX6lmUuMKvqIC0tQzAihwW0AoNKhjQiYnI6MytM7MIRgWAN+ihagPsyTbn/nJE4O
y0Lp8WARMAgimVITdODYrT1G25YnVNxRR/vZ0RAov8mwJ4cziYpBDQsNLAWfBfNkouYDU3aELqw2
AvsgO4QasjwfvC26zcqf71w/HBIjOFpnCLUSlDfJxA+aYnwzf2SdP3sOF6PVVL8VeE4xK6wcs9gF
uY+v6wB0AmUf2APnLoLIoBU8H8aAN2c3nQrr8yoduSFvNngxJbDpHsJRj74GyCzzunTOP9uv4DUS
NNYVC01GHj1vEz0D61qvZ5C5bVdjayFWzyO7y3QB0pWotr2xH+p3dU6gKV9AlQZpdnSxWFHrdfjo
1SUDUbmO2ZSAs57Hz4+Km7f3VZ0krQmbgK4zxX1dAJH1D9oD8/Zf4EgG9uBr2ZrLeKmdMDmso/T9
AjkrPVv9kQ1ay/uh87s904nHidSwGfIBVwM/w+r2hDbD19R1r0Uv+z0PnlkdMx9zzHhkWrqBpMn+
Z6Ee/iwG+/l5EPOcOr7bnzFJYkJfHXzkMPWG72O9Yvt51P3pWdXhPci0RV/PF3tYfhQUVEBBAARG
ZnbipgSPQdtHzsmETobhCR46SK1BRPbCVasrGjgfkMTI+gmEzHaAiVOAH8DHQvkR5AtPt3z7IyYe
K+Zi4ZLHGPiHZLReOgOkY1tXgBtHh99VTl8QCbUUC48/1GRBiEzpBF4Rkc+WnzgiSQE+rExFUg0U
X2QN80Ig29pn73tUATdHb4XaMEFeMCcV00AYYtcx7gfzeNcZw3lh3gNzF2L+guYfH2azKEojMSGV
dlQD718QJuLzoGbxaSC7bmPsGFLtxaJdSCAguxgZClkZKPs7TVrTqB9V8tF/H8jflScWqUSdLyUB
DiQ7Lo6faK5LW5jDYXXuflaidZbxBsvIOQky6szokDl+uxBtqz/SK9Lur9oCpVRgMIkBKCkYYVH4
2HJ/utK5gKb2rCCVQ6MLmmCyvuXROwLEBhxvYKJzQS29RfNoiTuHbqsBxpNZiEZX5zivur68GKfL
EgSFg4upiHmACa3nt/BhGeP2vCdJGcs0g8pU4XAY7BGsGr0bmyo6dFserE2Y7u00ynqPDF2AAAuD
b6uosMD779sPkdiHbTgeZnn3WeafGUQO09m3l7A6C9KlqKzMoAj0PhP0JGVRtiwdqJqtM0Z5CRKI
rwa9K7c5jTf2NwQAL6SA4RceZRS0LKeEkn4j9EmWy/0BLfGDuPC1LaoY9oC8nbJ/4k9/3bKbhSb+
Vk4ibox5pN9vHES3QIWHsglaRZgWGw6R9uf5ao8d3c1qE7daX0RoYJA5+gXQxhzmtw/gQrIx7AL2
S3xdgmZz6G/KQ0u6WXXiXmdZDZ2ltBABMjgaR24AGHv2pWLWphnR48E0FTAr+yjQMYfpfRFX2xxQ
MlWsl6rXEJsiBKONRyi0Y594O6VSFZ9v8H3Pgz3MO7PRZ0vME+oiKpSh07/kcxm8zSveBfceilk1
QIBEdh6kWhisW9b6ZcOW2gfauhg1ZIlk8LCN7RUDGAxRFBaMcc7O7cQAOQ+jVfpJ1jOnNFAPZoBZ
kWBNzve7p3FaaLW7qjNRFwBuDOAxXbEXsZXZ8SeGh02WUnKRaB9iYmxS6gl+zlTDga1Lq/FYMKD5
YGAMLm6XzgdmjM2iTnhdlcZEq5nA8OLSZEDP30jdkq0XTSvrrLCqBqsrP6CpbHIxb/uRrylQxrgI
u06utFmJGYBoNyR/EjiMTNr5Oeali9zgGtXJuFzvq2WKmhiqS92oamURLwoeYZWyrIqt0r71+J9K
ZKECWGt8z+h+UGziLrAg66iNg48iRmSgUNXGX8U4vLEse04uqgN1uHOXyKuLWhl1FOmx55s1m7iN
4m0YNp4Hw2s3k4zn1vQbPHPvJKZvkxhVdRlDvuugosMARgZ8cBQj3U8i9wM9eF3QZivGirejviV8
pgVaV6Bui74bvcOUkyMf2C0NOXvFqEz9iSiA6Qa0WgKE4CZRRJrVkcBXhClhyW96I3ZSM3ZaTZNb
HVgPl7dat/sA06sFwJbbrEbnO3VbvXa268FZg2/USbST5CwVY3Qi42uwyiWiDsgW9aBM+xjnHgiL
SzfCJe2RNCkoKIPAWDRYEzjQhQdNywRyeaJRWdFK3eYmalE0YOyjeuXtBieWm4mXqszCrAfvQuLO
sEUEqGb1qbiy3uqdUSEk6EDdOjNEzPlS3fWj0q4okreBuco4Thxo08dCMjRX8idQwBN5KGRCgsG5
0NPUClv+b67Y7XoT19k2jVdXA4KQI8KIHDqrOXonGuF+2feoJGmFUzh2ZUIt803RWB3odH2+mxl/
Ug/BGDVEfVR0Rz8HLyIkugBGnZw9yKQZpaylCDw/ictanF6D6r0Ai70O3kHLN307dDurOcZu8hat
VXDw1PpVJtt8bnkP37HbHzJxZHk4yonC4ocQHkQodiNlPbeIuFIQSfVOB/W9LbdRNqUrgg5Ddod9
//WnzDSP8nqTZX4Z29/zmDY5E2U25GXt1ZtWjA0+qhdj8lOIENzNBs3DNOPF37czSoT2KGASIenK
QNYHt/CaSN5Up8oeg4xBxOJFulwBgt2u6WwETW2S0GKzB6YmAY0BkhMWnTz5mn/fLCXmXCV7BUyt
MghLVw8/ErvrQlcon/PBMd6tM7nkDSthNrQM+gORVziopj2zSeD7/M48yiTuVpl4xg5je2XMhkjy
MA4GiTuINaAbmNpIsLahLoHO004vSLwoyz7wGHfLTmxmaCSghBToUAIWZBwJfZKqRZZnfFUfFdVf
XHsmkxt5t9rEMEIghRkvmXVIIolnjPHsNGh8g7bBaBwa1cGjKPl2telI0VAiqAM7PmGLw8CMswnN
71GHhDzmAp6f4pWi7cm+pmNDLD+KzawBh0bbYDZP1YIXyDQhUpUN1HCW8hIFPZsDJYAC7WGogrzL
5qijjo0XKtPY3WAJVmmMa5LMo0nkdj7FVH7TieMcbkxlCs5X+7qpUwFXmJxEhjmFMwR8F7xbISJA
K2Lh97pnoJmHTre5fhdQW+Ms0Jqb2XcCjs/nh/Wopnj3Y8iVvLHbLh4HNPSKEfH2qjW4uaq1y+rA
vX1u8p0FbcIl4rRTtU+3BHcGtS1qEvmglHH3A4T7HyB7l+wixPhaRHsGkF1DNovFKYZN00Z+H1WY
sRTUWSCIBH1BdfIgJ35Xg4UJF17WNq0T28tK+7ks3p6f6KOs+G6ViYfyi4uP3qlPNqTYF9Aw1gsw
xC9QikEIH6yoiHfy935f97+7mviqC4O6h1pezTg6EPxKaH9JS+EFXgoKt7ZvlAvarXkUzd7tceKo
UijfSH4Uk1vj7aJDDf7XdeUKr7Hp73zi/RND+hihEuYv2/mI/4FXATEkIIyfndNidA4NUruEpcnA
ZVG99+O36O+JTBxbc+lnQ9xfvzOP936GkKczUsA4aFXl31xjOIW/N+oXEX/QyFIeKNGIcRdh1x8x
azMGRtq/gp9on1j9gqsNwfWs6C1j7YQgWIIQ+YYmp0Z0gR7kC7oowUolU83FUT78TxcRsOp7y/K9
QKx64t9bY4NbqOU6iEHA7uhbHeAzlMWImf77Wwhx6fvFJGbmX0QOLyZ66KgDB1blgE/HzRbv4EeP
GU2mNW0e+Q3glxFbElUGdopFlYRyyLIxG4HWSQnqOlkiH0TNAD4UfVQIqR5icw9QIrfd53Z49gwI
BmyXkDvr3Hj70R2qj/Xr65wuufbwWb39YRP7v0g+5xcZ3HuEsPdCdMN9LV72JnIN+rGTY50e++1i
E+PnMu4CdnzAR9D+5uabesHuBW2wBuA/Oo2WMD50oLerTcwecrHIjEusJmLkFbZubjuDI8O3lFfp
UZB3u87EgC+MMowyp/aHhodgQy3aYTloOYFKSUbVvtbozXBjPn9+hSmLTjP0JhjZApetO6Cirql7
sG29ym5gP1+EdjumvRsvakZ1JuAIaysEGXIA0HKIopq0YZYFuofPV7sGVU+uhzqxyiZS1C4TuAaa
UcOgtWNk5GJscQKMtBD1sDmz+bmRPZRLMzPiRI1VAPuIhG0ehTpTQbhoVM2iVF5R3kQfFjFwHR0S
FXM9rWIk3bfkSVYfKUAIKEBgJx/Q6NZSedCKBP9le/w5wZAACOFmaAT6ObTkEzuP5GPVWGF3rBge
2BJ2IfoIOn1mW11Q/+KEzGCKNRN+C2UNcAwT6qHw+vxYHsaiRNdPwD+qAD3ne2dF6JqHcea3G4Hl
jEzqNSWFPw5QQ05jDxwQ4WBW1WzB+t0OATIowkqqVBwxlV9f5uYnTGKRHhPLSc3iihOWSsihWd8A
tyzbRYlGRQ2w7R/IgoBSnHIhfrMJ4bliZQ4pIQcJbzRv73c+hF3UATwugs0BPFypZq0+OfMgOmCB
1PboHeofc/UNk8ovC0oqegXZ/dqwrGJSlxPgsIWJp/Ij7pLkYvMPjwQR87topMk+gkEB7Y3TGmrS
IPcHQPz5t/7NX3Hd8d91Jz7Ll2eD2pVYd0H0ylVNmVsFYTJyEWp+LU/Reg055G4zh36qQVUMf2Du
KCsSRUAGglMYECShyk14Hfoi6CiTtsOz2BqfCWA/lrr+UpBtAAJ0eX++12vmcH/GZDVwr2MeECD1
q/++XY2vQybuOx5hGb4uxm9r95yaG1DrQDnw2FtoFp8BK4eM1d4GecKS19fvp9B9X57MtfkCHilM
5SINAr8SwAy0Ytzvp+r+x/0KR5JejGr8OFy7HJkP2LW3X7YN9ASjvfz8F5wE0v16k6seZqUUCCLW
g4IEwStgThEdDCgImxhAxhTA/Ec1fmib/B163i86SafamlNitsKiYIYhk/gahIW2S4w5mRwoY6h4
bvLnnn3wiSObxUAR1vLIH4BqiJbxOjkx38KmcTMA3TTvJXJoNJG/yWUnpzrxW6WSVv3oYYNH4wzF
SR39GHeLmBK1RMIT5Ty/0Q+s9/48J8GUH3SC14zpcKjCJTxzwRoDOu0/s8FqN/5uRHNImnedrqDp
CWyhbNU5Sepl62LUb4M7KyxlNGYGUy8KAdSZKcXgHsT/9z9v4tTivI+qLh7I5wb3BHq8m89hbWEe
FkyhYN8zl0vGMl9La/7i7KDoRDmc3xHL/epT15YUlTC2/9zw80pcbsDjysKjb6BAb5vsnKCX9Q9v
8fKyowRoD15QLI3KrsIxkJyRmcl3CVSpbtnqwoNlqjMHs3ZB0bqTdyEaVY5EgRs8qODeLzY5ZXUG
sEGVl/zhDRSH5F8wsFgoIMXosR3ApqWZ6wv05l4o5/v4695scnq+l1Lx6rHlD90uWC6ADAPB4uYT
sL7t7A148caCAutVUQMkaYCG014uYry/jPtm+UkULAdcLSlehTMGm/gZvDOf6CxayCdsZNOjCUl4
eOsX441yqx76lL/LTh8RKcw7OeyxLFgLZE2Yk1EmC54sBJ8JuJZOIkYl1w7VXz/2LDfrTt6Hwu+G
JLlg3VSrLRmat0d0nFO924I9Zs6Bbe/P840+tJ6b9SbvQ9TzIzMbUHhqfljnO1kMlmQhPDWfr/Ig
4rq7vNdy0c2bfBkGNWl5bGvcEEL642rVgwHcutgk3kInCD20TCN8YQ11Nu43Jwlx1jdbnDwPDRv5
l9rHBQZ1kYdH8HhGwnHQPOergmsCaaXuoP9DMRvu4UN/s+rkiZCkjJeAxSXmijYURpz27vcXRPKs
rwwwlZ3s/tnRClISMcUntjJFZUl9w7JphFN+E1aoAiw62eitHskiEtVN624OIOZp33stb81WE/6g
LAFwMqjazDUXmmvWXKP3FICmB8Nz5iui0B9j8VYZi1jbeaazeENPA0Syi4WDAMmh+NIH9eD7rzRx
b/ksaniBgXvDcB2Ldbg5xEgxv5j9LHFqmbXVMO83QDDB2f15C2qDdnjXidVnhzfxc81QhaIiwplL
CM1IEYsID29iZ4AWSahdOU6l5dIsW8AtBMvsbVA6Q5KEBrSgXteJw2MCaRgASecJ4iRcn9VQS1rd
wlEQHinzBIwAphAAJaOOAXLEtzw5AW4Sps/EUE5HpcH1WRmITF3g2Nx9DaQLorYXOrPZ47Dmr4lc
f8+NU2A9puKaCjsd7OOCBWsTZn6AGgN3FGhdl8omPIw62IL1BQ3Oe93Js51OvJ6MHrFfdnAJxhF8
sisQ0mCrSw2hwhps3LSsj3a1rlnhzUYrLh9iTJ7gYIHTgBcaC5A0kYodaCkt9zvVcyAHhANmp0Hh
0JqglHNe/tB5e4kJPdv1xBEOVZ8jI4V76PQFqhoz01o1u40LtWrGBUdWJGlrD015Ua+QdFPvNcUh
XuObm0Pg2h4RDItDWIBHF49aYNj2FsuaDrlbC1pV+kGqfedQrj2fm/WAZRf4riO3WdRWhkKIxZH8
EAWUTBOOy7lJx23RnNiUUSIcu0guCtzot9XwQ4hzORPAgxAEdISKGtsFoKWSNBjUK6DeP8CB0J4d
StxytbmbXbc+VxSiim+Me71x99/76xmjljFohtNQVakeoJ/vT3niraLY7xKuxCkv4gEUBGALhuKa
1n8dcbURLn1qKPx/vQeysVwmxLw+UNugPR2UZ+8awd7sOcgwE9WTm0UAH+f+AuCt635vRXQ0vc1S
nq9fM0wmzMC7hov2RottRMqRX63/dvk0F+pcIa/u6ti8kdrKTPuU3w+H+Juw772/L/FmmK8Y2DVe
TLTNT6C8Mk8v+CI7TDSuFrPNamHo5YaQqf4Hd5Jid9cvePPzEnFWKUKGL9TpgMS0JHNYXUjxo9ag
Mvx+Kj5AFEPFC/4mX7uPuqaoi0hJSBkMz6nxT70lXlhorS9NvTwhYKfWVShxLD8Jt7LKC2KGIfe+
900RpLokS/HeNvHcbTV3i68AYKFVgJVWyRF/6dRAmvZuXxvyN+ccM4nSjOTdJo59CABbqMmELR60
rQ0mqs56XxLSXPh23aBZAOXl5ifB0zACEVVx2D1iBnBlA1iU6to7USl5IfoyVIuj3alJrMSU3AXy
29c7tfCgFw+7IxEKdOLc0AXtCCIjh5JB0D7wxNHUfiPFdY0titBswODyR3CyLEiXLUUb+Mcf84Ta
EkguwcQOnm4atP36WDx5OoVJaNT68YUtGmx42B0XQaoflRVC4UC3tO/R/gLRqbxLlyeF3Cxa9ec6
fv5s7UlKmBZBxbQtLCl9izxtXDZ7SY/nwjYa9WSdmTwwtbZ6UmkHTqKBZ8tOYqQLl1ccJhxQqUSZ
AZNyxSbvtQMeFFtfo7PxCkfObun0wsRQny1LvO2NGVVBXntdh90y9hFNAYj3gl9thQl1olth2pjh
hbri+gPQfpoU4APIzN1bJkziIxYU5XknwIKlFVIdVQAUQ34Z9Bykppy5gXacDCJxDdQjJ+nYYNBZ
O4GwSrZZnXDxQ/zXob7mFDub4snkuOOZy4BvgLI9Cj4g14ULfcc4E1ajRQ4UHyJMillyUYcx2xAP
eswOLXoExKIxumnXb4QylJ7oPFiQF4GSEzk0Q4jczv2XVpWKSDUnJFSBk9xjahn08yiuQCoaLyEI
nUBETsOJPMpx7had7DJPfD+68FgUw7CEvg/xt2ujW1wayHvhtWix/6NU427BiasUqxlEwNSi3igM
Y4RRZlXDTxTzhoch6GiwGN9fRjOMbSiZJeWzBZ8cRz97Kdh0ngYBOrzlXFbnvBfanCcv5SbfU/zq
gyt29/smfrXMvXCYSTgQxpbOi9XGgsQDgDPGxbJBW0vkd2gTc49eytslp/FaH/uen6UZ+QacXaMx
gUoQNKXAtoEMCHM8Oj4DrZ5HvuvErdytOXGiXFx2SgTuJuSaC6gMYVRvpqETsvevZE2Ewj3CtXNK
6sKUWz4Nv5TRTztBwPk2Ol6uzcGGWDohrDdPpJTxPy83cZ9pMlw6NcU+IW1kHVAmHVON4UHisdTX
DsxqV2H8XKNxotHMahrtjRdvZNsCy15ZMUlWu4cYzRaTWcsTfJVCTTyu3uHZB514D7HI5K4gG4V3
xqe08tV+P/uu5+ilKRrSKzxPb0FkPreWR+XZu2s0cR9CUESghM+vCZ4JWDkZPrMh0bCemz87gzYN
fo1an21yEtexl3FI+b7g0TjFNtGhRxnq4EItAiPPyHEwjb2FvawhIQbkPuwGI/dIKmi2Q3ERUxC7
yKcBz5NNFwaM1bK+kVzZoO9Fwd9pNBqP2KNa8d0ZTzwSywZ9r6jXK4zJSoTQx83nJzae6rGu6pA4
el9eXLQund0PqHxpYc+D3uXt6tNIL/FmZdpAnQPAxaOxISpS+2yBRIkURPXFGw0C8ahOzGPuBCqD
BJEgqpNPrHYF+DkuMUleLcEECY9rZ44NyjZS7p9DprXRkuPzW/wAuMjerTl5k+CSQknoG4Y4CdLY
wDzCh2ohWwdVvoVpOrgnUqk4fVRrxcLlKnQQiULbgkr8Q9395FtXYQN6yhq7T7U348waB2u/l9wv
hAAJRGKhzfvn+dYfBfI3W8dMwH3Q0Sqhd4lVfF7SX0EIf4bSD2ihISzIrm3tFOyRMxkYNCqMfvs/
Lj15gthL3bMDi72+oThy9uabDBFWau9J7KGdMIqC2Y92RfI1WvryqAB5t2ti4TdBdcAWnJrXIZZG
xEPEtT0DxHK5jtincvA2mB9zkBPqO5CtIeiiLf/4dfjXHQcp6f3yYxixEU92vkLTJzFA5YqUHHoA
c0wAQfuVrvB3TXh/Oc6bFSehvCewmV9KEazK+Gz2YLdKoT4KweuyJ9OTGudqSw2KP+Fx7rz4gfYD
kNEOXaCdM25jzUlsSnB99RrPfs/ktYpaduDUEL8HNSIGpQH09TrMQp0ZPCIbfIj9N4cSLE8gEogK
iI6IjuTupDOELJLmzx+GJDeHM3nEurIrh0gNiD9fHDm0NvGQEXktz7GXJeR4EfX9dzHfzZoTN1dn
Y57wF9xAuDnoXKHijjtA4DfaXL+qLUG4xKAYHPnIzw594uZ8nhFSgcU+V2eoQYAB3t+hCUcIGdDr
ArrLWyf6H0WnHe+DeuCdsU18mgiiIIbNiUdfWanjWns80yNRqsHXRIaBMQdNpO6VfLMne532q9Mk
C8YiwwXjkdcgs+lMolJEChSuLa4EDVqkpknSVDp95OMH+++3vcIkbrxLowZJxvzzhEH45Pw5g+AH
rM2F0rGNLJko5JA3BLUZenOXcpev0LObtSW+59PLAH8eqACfoLcCkTrMkW63yhLFTSDqcOI72iNC
uVjTbnabYWYUkSAPiUvECJuDBVEHexyg9aFBAtbxX3Yho9HCsEdAjNt7xZJfdbNVwCgbzmdwnRei
1s1J7kpu9b5YeAbGwTWIezCWDk17hGUgH6ZmzsRCn92wiQtTxV7ih4a4MBkXbAVM8grIRQvPNZEE
DF37lB5Q4Cd3/K3RpFeKMT8MQm8u2cRpgXI5DaQYDmSFkIVFRWqPsTc0VIjqFzj2EZ7snq/4YISF
REkAToJpQQLj3sR99NwYduC+bxEqYECR0HAGFnTDNQYzFMErrV/1qGB+t9zEbXBFG3Ct53eYjR4k
TXoTPvxFCcKlTGuWAYQft5VeQZ6u3A4azWM9dh7/2uk05o3Vpgq40CdlJrRtwDOHUtP+G4BsxiWh
ASawnJ+fNxqK7t8Ef3+XnQRECqTCx0qacWRUd4Xwc7MPjD3RCSo08G1p851BvcWPIFu3p3wVDrwx
IhW9WK6SKiDPDbRAySgyMvGPQaONgvybmOfv5iYxTzALLvyMxeZA50rEBwlgSoNY6QkgQarM8+Mq
09+7Oi1dBmydNFWHL4gs0XUB672CBSB5BH9P1eem7m3iCobakwqpIJ4INNgoppw/gUDbvp/AtvRB
WivPDfERTuDum01Mv4p9RmxHHCXBFwKcgc4mSqFwPN9If3Xz4wMpyhzxwx9a1PKou3m38iRqqSo+
hx6AhI+4QCV6075AKXoD6UgiDbq139FgNOevmAfsFk6MTotvRDat1/K45HDzaSduyCuZrA+8vkO0
lh2lcwD+MR4AJvAzLgQI+GisHa2/OCO2RJdGdfpvwta/l3jik/gunYU11DcwDTJr4O+vhEbenx6z
baDJA13sArGNpulE+PzyvnPmuHHva4JTw4l4urCnGvADqtg7rzydoJVzKYsUCT+pMJAzJksgcCH3
Um0tBPmQutK+2RSXvzkhlBasdYuoq9A5B7+IaCK+pgbe5x+k1NSojxzF7+fxX0c1nbcFj3F5iWKP
u/Y7S63eSir8iwv9WAgUV2uYhm725zmwDi8vgHo7b5QUg/Z+TAdquWDw0zrFcyVqZ8Ec3YuOAzEx
fqZJIGPztH4VAgR8WVA93cOKyd8Leu2P37jUyOc7EFzii8CJfwJNYkOOElmEvvsPghDaWpMYKI2F
us+vnodImpNWp4u2Ab41DzVkev/lUXRJ+JIx0Q81L2HaVeaUesYyHcNB6ZpgBkmSBGZkEnKgIALB
Lso35B49xLfrTTxdmIuqHwYjjhLbQ/x+0aCWtdkD2lsBmPOxVoAceEHznOZhH13e23Unfi4KGkVJ
2lkPpenzGUODhx4oQX7/DfAXoIBQ6d1hSiC2wJPhGwsQrVEc/KOverv8xMXldRHEIjlmSMT8U58A
chzax8iG4dl3P2+U9R7FkrfrTdyaWI3MIFQsjhlOfQPVZTAQoSKAzgNeL4iI/zd9vCvv9v+/R9MA
K0jb2r8UcQdsgDQXreGsYPRlHhixzuqJkziFloIBsoZ6q4AAWnyraHodD5/smy0Lk1irnXHeBSI4
HAoQpKS6Idn313apoSsAu/nz/IAfpiq3q03qTXKv1Gkij6DI1mZfs01rRTkGM9EDO8U2rxog5w1A
5BRazDZzTsH8dXCS1xfB0/veFiMt2DGan6AGItLuOeXDXx+XG1fVKnkcKRfy4WHQF/3gmwRqiAL6
oL3swLxJWe9h/f72HIT7lG2WVSHT9ANZrwTo+Y30tC0o4KEWUb2H9nefwp9c+45EgkIrUP0DfIHm
VSjmNe0ic0kRtAMEmxA/rbhXYFnzV9ClYl0YdvUKrmzjh7JxmiMTJo7MEzuxjDhsfLGyfAdkCu7G
QmnZ3QqYBzG9o15aLxBM/g+aixSXPZ2w86RYissEn3iRLK89MMQqKEegv/g+WLo+O9E+8sMA7fYj
T7yXXHljGuZw2hAeJV3zvS1ABmg+xwXeGbR+AdW0Jr6rFSNQ5wzYH+YhVudD0GgNekIECYNyR/ax
BpxyeH9JUENEOZOq9fowZ7vZ7DT8YkfVh8gPsSAyv4ZBEFwnF5hK89quoIIEaIc7DasaMei5pMbd
BbsqSqWfLmBrSPpFHc0Bip2oxBqnIdzt3iZeq6+g8e15+JCpds5CA1l4b4wXh6hmlRphdt2EO6iz
L773eyTGGjokc5EU9QLM7r3O19DZdSEPnW3AmIwn24T6rQ8R9IuxPM3hYEjlr3z/8zI3l7a9V+D7
K+cbzgecxXoGSQ9u+VrpymcXaIz2U356a+orRPED00DNj4RwNsOM5mFxnXs9A/q7R04KAhAExRQP
wD+qgt4e5sT1xaxcJQlD7JAgVz5jM3Uu2nlAvRuKQIik9i5JoUiQ/tGDuxC0pOfCxkDN85foIdbg
9mdMUtWZ4o9JD+FKRHCQfyXF/28Nhw5c+QsK7Whf0uLwR7jj27d+Kg8RFr0IBD9WPK5AAoEOIsIL
rGniM4OaGnUqyg5pX3USuyVZWpVtgvVmzvEo6ZCmx9O+XZrV28n5L5sHtwc68XYz6V9PKPg0TJJz
fcP3kAGwF1ThVLQrKRukPaLixOOxfBuXTIMNvhni1yJw0UA5ouWP6pgGnu3Dfq8JBwDDLIzLa+j9
KxZBcswMZ0cr0dF8r0Q+xU340FRloMosCc+R6lipeRgZ7bBFlRtgjleUfUn7HQHrD4kgabUISmog
TQI4VfUhH9hc6o3ArdiINQnrK1K8jtWf36crVOOJF5QmXrBVWMKvCsM9osR8RkYH4g6dZPxgTtnb
/Q7FXpJQElXrNUlnLwtQ+CadRjttWsh65WS/OW0+hVwi0i+YrrFh4XtNYC1wzXQkXwVsl2q4lOBQ
mnisTOzHkY2wnrGwiAgQ2qP7a4EZmeXPDx0GRVtv4prawRu4JMB6AO32CAutg4LyJxompOT6s0h0
ikumHugkKFNA+1txI1kQiTpyPOB1r2VC88P5QSfsf422pYlnmvFsoXI5blLg1rAYJFpAccQ2ARWC
kBlE/VTFa+J8nt3diXNiazmMQYTMHaxV76IWYX8jMMkNjD9ggO25ndAiIWniluByW69pcZqYkDtu
AvTaUHb9Rlh9Or2SgSkqhwPlRZ2yKIAJPa6SFpuLgYBetW6pfZJKL9ADAFwTHkvSwKbdGcollSdu
p/bGqpLJN4TaAmtd9Trd/ZdtzmxoG/e2o1NXpG1z4n96RRIiqK+RnAlTk5K+QUE71b/sd8DZ59hi
bcfGDy1MoG2T/KgbXzNIM5kB9Q1ZFJYYaqEWGJqbwN9gVkcHtItu/uTkntzVKf1Kmdb1KPDXFAlz
SeCigFkgViQI8h29xEJ5PuSJsxmU/0uLjBVrVS6IIDCYhMmvwjHBlGRi8OsVfjWzAami2An5y8/2
OfE6bc+HmcCSo0W+gOkEoE8AS9wCRm6u4ehedgSV+EZZlBjfs0UnridpQHU+hDDOI3tkfkCw7BII
O4RMAOEOjK+QuKA1b+as9loG2u7lz+6NZjm0fU98Ud3/33OyAIMwEhf4PvdbNgm+9YMFhBvZL1UE
ghZ8XhXEbu7xpchEfuB77BsIduucGJar+fb/I+1Me1TF1jb8i0xAQeErk/NslVV+ITWCCoiKCv76
91qe95xi03Stkz7pdNI72ekla3jG+7lv+M7utmW/8Vrnc1lGKsv1jUpUFObHImoqj/x3PM1mjJ19
Cay+qN6d+0+gTgNYhaUnLDH1RsUwqW1/v1WPXKuT9zJ+Bzm2iqiq+M6CKEEDzM2UtYtIojIsrO/L
UGqlZMtXrFQUd9rIwLH8xX7Wpy/Eg237nfaI4L33ZqNJ4fjIiA6WOFZpHidbu2Ks9vExLbSEy/2A
720oZIEGFaWsYExTagSwGLG+ZaM/vwD1lSksya6Yof1pKpVrHrfvKXYLvycGHKdiOnoxY8SNYuKl
D3joU2ad6z9Yb5m040GPVZ3Q/pYZWnTOmrQ2AD4It7DaOdGyvyAWFcN0TK4r3oA61qfpDKVj9bVQ
4zag0H8vXzlrHeqs7eXAFxOIviNmS84Tou1C5Y5pLoRhu8vb8LtHY0WS+fxNiGEYLUZV0Xp4FEdK
rzlqdtI8yy/ikomCJWiL1Zd4WaJQjdWiVCgxm/W55H8WfLSZSwuq+22Y68mtyTDA88ujmWPBVukA
Hv8vuiv1NvpnscoLBhC2211Oab5qLUPkv3fO0VG8+/f379/0NxWkn2UqpwcJl767N6/0MCm+UopA
MeQrGXJ2sSMqdLLCRy3CoN36Wa/yOncot2XGkc9KndCGt3gGxqD/Gs1vPXX2+6fVtqfLS1We4rYJ
73947KiA6nKQ2SCWGaV4JxC9ozuTW93U/Wgz4fk6eIo2grUWbOfvv6CGIlql2PHzsZWw4sQPOF0O
bC7X01uFnvHafqWpIIqPN8tfHNe/r1eLcyivVwkmzHvTKDoBF9QZg3DjQfQXGoA+ECNEL/NnWQ76
N1Wsn++rxBFpiIb5qYXlwdZtPDFNStb/iF8+yPonrpivDLzlzv0Gc0Vc/j9+rjCMpfdI26hzDIXh
c8CQrCigW/7IFRmiLQqKn+ZIFjfVB6U/31tJaorkcrjkqVjQG8cu8WHy3hV8N6J0RbFMfZXtsOx5
PmoupU/s6FnHv2ecKJgySnQClGxZI0AEQF+lKfAD3vPXuPA/31ed1dYvWevSjlkNoirqkpt01UZx
tm13hgzpT4MNEcTrQghud1vCs7QGE2X01txab/+fXsHhyr1mOBDStE/JYdcnPj+/rWKogoLfRXtK
xc343c3R6kMNAc861e4BFVoxE4dD/x/XrBirVpYZ0T7Cggg0hYCljwUDB4/K+RDR22MEQerWhFn6
7RAqZkvVm1oUntvqSgwLXVxoPw42VmtRzGbsuQqmhiIa3HvzjjR0ktzvakN/r+2ySI+E/RCNZs87
gOnjlkMtM7F7ZD+yBaUXrmKw9tRbdmbMg4JzQ7T9UAL0ph2+ml4cs8QCCz4Vc0TW4vxazFLdmrkF
BXl7TnTVS8bz45rKzP946BWjpqR60b4UhBX0VEQpPrC0myXCGYKKZQPx5EBUcaV3Tbb3FWN2VS5Z
kZzZ+yHgBqh1EgTjmDCdAY1xB4iifMsaOn9T8Pp5URVrtovgXyqObP4LfCe0jyBbpCZEoPr2dmKA
2ZHsq+QDq13+xlU5tLVMGE+uFj1HIWlPWm9PlqEr6DdkiOB6b6g1m+2Ohu4WHFd/uod74Bu5cucg
Id4QVQtRRRAVy6fvhuP0fv+6+uJ3abHKZuqn0/5itDg+kh3d67/vB4kzvY+4uqZo5ISLyeDJTr9i
Z4mlkiEK6pPMn9WrvMSpnjeapwN7K2zGzT45jR6FmsXX3p5dbd2dzXjCBDi9Z9ljqQ2JSwuLQy/5
J83cxQ1//zjUu4dVJtkhIl7r3YGgVpDT1ggr/xfjWFqv4gXye6q1diYRVQtwUzFehdMvGGlpIdJo
/C56PRCGsqhfvPfflqw4gauZJ2dF3NtGbwi1AvDKxOkTzPWV14/bK71dZpPSASn80ZfC5oT9+23t
ii+4m7mimBeusKCFEyEWt1iM+jGF9gG5w6uYh4nGdBmkuY5soyuha552Tvv4wlcPN+OC8X4ayzMO
VuRW398IUcisQ209qHSwFU+wax7ajd2O0oyAOq/6aA4DOuq2cbSErt9kkPPP1kzaNnrgHX7b4Iqx
1/POvnUJ+MzUaXbh6NE2aFzE32w2AfTU2o4XqHtDmLMQBcjc3j3DyKTbboQgubWekFpTSYGY71M6
lFZvnUsbUrFeWnbL9atwjS0LUl4MmLVYzGhc5tQvlrLuTm2yCYZfoderNttV+6Ea+13LP5OVHdxg
Qqzh9/b9k1TeqBaqLLQ1/r1MxVr4TePazlVeLwWh1WHOyNEAuuPAhTTSEXN29jI9Wt+p/d2Y3SzD
/ZQ85VbtcyqtX7EekRFGyu7I+oKIFST/9DEwjNaa1b++B67IIGbUaXZWe/20XH7T85l/bz1pq0Ic
3V8uXelnVCwKrup0D5pEeM8CaWDMN0FvM015Y/inGWMqkFn6L08Uf/+LaSRhMX5bu2JRUkO7+Xed
tRvAHB5zUIzJLPDEpv01gl0ckhYxIyPb+vpEpvTNFXsC03sYNbdsfWwNeVuq5xHCWx/uhZER1J2l
wqP1ZanSghWDctg3gsP5Jrw/7UoPiuX+A2H1r74szfjhXEovpso2t2JNlNDfpfc9z8j/ak0P1qUb
f5mu4fheYx656RgU/u9Rh3RXK0YiPLW2oS78/vCFjgXpPthiPP0OWOhNPmJVG8EhpqE1TcCQaHhx
t0rOPuwc80zdaepqKJhBQvs0PS15w9RSyIigCod/8mm5G2Rde/mN1Pm3vOb3qFv/9fr+/ITK9Q32
p6tx01GICkdb0POdvsBZRU5reJ6rKBMFb0oXAc5enFjzl+toG1iFqyGItMeGHibRLLS38/sa1ZXQ
8o/W3v0anZtWutjO4pX6fHq7vUSxq/SzXr4OBsHehZZuHDqRFzp82/W70fUP1pPpqDNz5LtbD32+
fjNAMyoEzKQ4rYGuc5cTpD+vDQuZ8sXvp11f8Cztf+UNqWl4v1xud/Yf/8SsMDRughaG+A44VU8B
8P8/Llh9Q+n2ZGwTXeXRPmtdymeAoqzHvL+QE5482cN/oH1Byaz0jZUntFd2Wz5RD5EEDGfbnmYn
M3UOA/+xb3iNvuT7aoOO0mLV5xNeM2Q2xIYOad4CJV99IVANqJtU7/sbxOvnp2weQK2NmEtrVhKF
QlEOfuIjQM2tnAS9acdexyjz9iSfVm+K/vNQHj+j9FaPysFUD0VLlC4AUFDLIXSkw6a7gkLobk/c
wfe84Ukc7N8YwJ9VKw4+CtWG2TCEPgrMNVt6AUZ/T6Vo8uE/lMp89/evrK8f/Gxmdb71bCrt8/WE
fJE5DVfKtzLoXKxg8swwQOEtGSSe3ihALu5O3hdCU51Nxw2hrJj5HwpkOlmvY1+cln3q+ji+AgVS
fdAaKA6O4fefWZtBlH5lxW7eYqPFDHA7XG0nU3WdvB08WZdRdqseB1M67riRb83tVQsBk2iDfJQj
aH4ead7OLWQXqzYxKH1MxQgpzUYrgAtXjAjurphX0AADdL2HcXekurO8Z9rqwACkuV8ePWUYODJC
yfpQ9eeKVWySsldu6iXAx5q9/RtC3pi/kfaiSDxrbR+vo3YMnfqIobaqvR79YjaviSFMwzNp7bRP
iEhwuKZrS/i9ZKBNtmDdJSkvWHk6xyAyIelU6FZc3JfpfnG0rlNPtRbdI6GxecKxqO4TxD3fkMi3
ZJa+RgRIlEh+Pleceun+qJqfNaJzU8jepX1EfnvHSfsZGXTQ6aBP6T5l66B7fNGmhRfMcnb9vtaA
gJ1QoWYyo9scNmaN2UAIWEXjeHqyDlTp9uAdT54yCCY3O7LT7mWZLVL+6/fHVduEKP/0yuvKDhc9
9QM2TpnrVrIVddpGxHzQpdsnwmz2u+u1P02e141xgsTb5I2upM0s1P98gJXQ5Jpti+x64neE/b31
kvbHHrCnvtdgs/pdpT8bMQ4JKugEi7ucsrnO3Jc3ofIq9UvgXw6P2/OiDTab5HW6cyiawlKmeBP9
+Ylw7PO/iAjrHmN52cpj3J6zTuNY8M1w0fWeuTsj6OM1t7/dC1ZwT3GV5ylYwQU2N+iutX+hO7Y2
8kFsQzGEouj3y1BLtlD+QZXwwTiqDZ+aCc8WTmMeLuwm5zFNE0anZ7M1rSFt9JSP6faBL5GBLuqE
fP54RJVwon3NTe18b4Wr3SgdZaP2IOjlvVbXnzbmaFxLpMhqY//yp1YCiUMz6+yu4sjH0AqDNOhD
DLTtu9RLBNuiIe1LSM76L62o9NC5qIZYTwxy5M60YWlP04ixFarj3dGEmz3Iz3CLQYonCUTrSD7L
O1ttTJmXqGjfYsxT5in2ezA4dHdIYEHRWzjRPHtCInxnycZ7a/vHpQ2uctPpmRG2E0D6q2HmDOk5
CZpN0Qlb0RZxqMAR2HChXwf3TdF/lDsdaUAlcQoP21cyy7esE0dw44SraKS4pCR91ZUFwbVkQOXP
rNgtwoYsyQIVxwP2LYpt09Jp5T6w6zDvxGIOgwwjHwBiv4LknmQTQXe/GzPu2HgVcgP/4Akbbb2t
6B0VIPUDgV365sxX1aTFVVvtsOLDMVoq7HV8sxoHt7tGTwVKdHuu96Hb2tlbaXheZ0jLq1cMqXKP
rm1jp91WL0HvYqIDvvpAfRwpFd/KNrtBITFYtSWp8noVCxqqnbCVmjneqztESuVBxbOfU5cKp4CB
r1Y+DCyIPz8+HhkX/uPgLJc908murrTfqcs+vmI9r5f7Oc723PiX8Qtt3/uOrsmdG+/3F/AyQlm4
bnXXJGOvjQEMZD3MzBwyZzsZFfbwCGN8z46diZChgFK8Z28FvCvsSktJdRlUecsqZjY7dI7GtUA8
FzVZNDxDZ3ZYHZjwlzXf6/jqW+WFKha2aEWpcmmm5FAfw7E2GE/bNn1wb2WmLtXpL98DXAVfRTbO
cjHxDNEB9IKS1yA+plrwKP0GTWxG+TWcOy1kN7gfxBTigY5XqrU6PuHSjFEXOon9lNF9pp4pFcqW
luxzdSg2iHMjuQaZ6LhvWk4/HsPRT9+76YCec+aookpefi2lTPlbK0FonBzjfZo8glDV0dEH3nkf
uZ1a4nAbM2nHVfzvftvaSuDYvCfqvqGcVdgx7RVTp30BT3cnT8ASvx2p/6wd1Cl/XcXOJmFYxIfb
jaovBykoTwTkNhFSDzS+IWQSo7buE9koKjM0ROnwd/pDObBadqEqBs6MzfSut04ibPC2w9C+h9Y0
Y8LaXVEEpv2bWvtP1T1ZR+8p2yxRIEy6zvz3S63XFRLLW1Exeqd2OzZ3p4cQsOodEyf3Lf/mpDqc
b4Vhdzz1/WxfJs27Hfdu487W27rx2FgZo4wrodpbMsz70/HoJkfyzINzvMIPOO9083HyhI5aKwLt
tAvsa/cNhdLTIBkcGvbOfY4069L7/UNqI77yh1QMpnK859t9E28B9NLVKYkG7t6+MrXXxBrIfFNb
HM1vF7Zi+C57vWGcLw9bgKsYqwAed07fewctcLCc5+sr/YQN6gUrqE/bqfW1ABOVTqnP9gjA855n
aVDdbm3LNbt36ncU+vc4k3nrZovp6ly4dR42ZS9pcqSKE/3tp1dMqWZEZpN6FG61w2RYGvJzMrib
npRh0n26OXtn60mhuBJv9pdh3CA55rEpUvgxSA6RhkBo1O3YkOrBewbzDyZM6jMkZ1TlGbkb8T3c
H468ch45DmMqnlXbsdZXGObIxaATgPdFtmxtIax0EavDq5GRKmq+5Wo8j4cghsTKq/6hu1iEdHdI
QKfF2OqbHL17WL3ZVOgFKw/eeRzZ39H40/mUCUbVjpaWf1HF3F1at6QT6sLcoazhbMSthEn0SvOa
KzhCxueJKbWObNy8NpotL1s1b/sijxOoRPGXJ4cjQCYrt0gWFqsbD4bD6EOMROJAuwLxpMIqMmt5
/VrOo+5NVlSpRWWUf0vFzEWny9ZsoTrGb1Gnw5tdCP4OcDZA18ge7lRixaigitYOJJ8S710LSCkv
XjFNYdE4GCYyP9wIB04FBgQPTztEZS0GQvv0iEBR8eoDx+T1M6RtCepDyW+QBVB6xWCpxyIIWjt+
w7+0CmB1zZ33uOcR3i7IKZiTmr9Sf2UoFfzesCefsat3dqaioXjbNoEBYZZK0dMpiFrFXSWEOTnj
986wT6dIsbpoK+15Cq8QrKKJwQWIPcYgpDogf+MdflavPIG7Fja0AK1d2ieFqzyFTsfV8K+M4A5M
R2ru6k3sz2qVm386IgvRaOGLgmvqbIOGZxb5y1198/Wzk6Tfid4/+9NTC0zhfurnKGoDt2t+hfvn
UH3Vd59Z+HJOx2b4eVG+L41VG2G3S0ed7fcD45BIanZ/8zJ+fmvlZWiR1vRvCRdDcL9N9Xd9SFK9
EHYS9ScHgONhmXYDj6KVlM2n3kJ0dFNAs2EurPYMrkB5rm0zwi2AC3uhirFaHcegEQRVA3k99Exo
TQsquskkm/NTBBHHcf1fsDXVHljph1QuZwxJnB8rCZvAhOsWeM+0D9RkwRTUbLRDDQrhQUqVy0tv
KG0X1Ia+paUrNzNudNJL+wyb4h5+6zMwDGOWAZx+UgiRDJk0a60fLi1WuZi5r2YtXz08uoi7Pip2
fKoA0X5+XG2hfQvSwreHMkbO2paIUVq2csfiW5GeDg3jurp6gqJy1XZOJPFLWVRWCyEqr1MxtEly
b+etiGMcnl0Qq+mVjjTS9tYlsKAzFtI/OJ1iB3wH/nBSmhvAh35faMoJQZzQyp4Gt/7AjX1MQwMc
RENihetjg9JGVK1wu30MgjPUZxdCVLUXvSbedsAwdeply5gSwxXZzW2/M795vlWA3b7YqRPQovo+
zZu9UTr8AOecdn0wuVeIt0xHofwgK7bVVjPLu1gJEPXo0om3BbuYcVrjMfhQCwY9hA5hB5Hy4sru
RrW7c/bh8zzmD/JSEbUfbOTWW+7SdCT5QW0K/bP1D5BXyf9ohlIY906WTWPyG6oW9jH81DqJeza3
gzjaOVow2RvH9fGWjn9fua5YW9rOB5SgtHCiK8GeWRsasTZQm3b/4ryl0oSk3owbbVTkdSBDrQcG
p7RK6LeQ4wWQsbpEVntvHb6VQpDCrG7dxIt8e9EaJj1/2QycPLT1bmYnY2NdWJ1ZQR+oeP9nd6j0
cyovPmi0DmpamDnZ2HBMwVYoQHcfSX3rGTXi33e4/saWVqu8+60R5GEQs5porx8h3GAyw4X1Jid5
7tmyqlctHtAoLVd5xSe15SOPoAvcwPPLZowBFaToa4qxQsHs+fePqy9LllarPMeb2UrRoGnn9FHG
2WizeeBOQ2//9AVHjD+jUDAjgJpkZyS1IYrZr6H2GNMUlf0OsYl/yRt/fke16XBhmPNm7vnqZ5z1
2Nu8r7ZuskSXBuWli/Nodoj58wOq8oO2h3acLLOqbQSX9r3aeugEjfjm3zR2gmOm/iaIeBFEgPqP
grgNGzxcKv/j1ap2HgK9qXbOO76azLVwN3tKsFwuw+oM3rBSjlTwVUQav+1yJRLxo2vUaOVc5SEM
5eP3xEuwvqPzaPQYlxWDFrILxoimZE0RNZRsx3F/1OIccLUYfBfd7vE4c3IRHARna4erSrdW0HHG
L8HW9mMKQ9PLm/Z9RAK3fx6fpn2v+zV7vUIqZZkuSY3gLiLFzDPqs4ztu/SjQBXSi7oNl8gqUvoJ
BEqKogeRvmPbo9vHGg2Rtmejzy7+bmBPYEBbDyjovrnFAV+8nSH32qPp3ut90nAf+5uOdTjam/PE
Gzvz1uvcfooS5w3N4X1vrU1dBhmA9ofd+bPkEdRCGctXsBJAxTsYRHe7hkK0PGaqgPla0X5Ke4JY
jAjRBqkk4LLQiruSm1gLOSsvXTGpV3Vn5q2zwdLOlYNCkoP4+AsI0UhM9yFpf5a0NTs1oammGmpH
1Vtwi5taZcV7oUWXW9hhRSEnf2SKsa+MqdAex3dL0UQGv9c4cArg2KBXcEzGcOB2uQVfXFmIQAeM
8wNgVeh4mzviGTEp1Rg532b/s72YL22oUOFhgyRet+ZymThxFJWX9MevrziF834fnJWM/WL4mznT
wF3t5xZcXsBO32iQCm6OG5OCPVn2V5fV/LFwxT1Ehm8YevRYeDMGN3K3tnN2iGN6ct3Cs7o8G+S1
Jk9vOUQhA4EiCRuWxGvUpNt//IiK1wBH30bZlB+hjTMv7KMHyI3d9xpgSjbvexxk9xRYa6ErP5oE
Nj9L8V7t3VAAMuCYkAmr1CFDyj+nWgCMqZcyUKUoNDAK1/NOqfWu9xihzIdGfxFOUR4FzaPbg4wy
6GWK5OxwTk9N9nrFhf3lSjyK4SVDFzdiM9FS8YQeoJANhUghVLhm9PjiDMhIbEquzrPs6+smrf/4
evHQSutqe3WnN++hiIYUO3bjQQfSs7vbtIZSYGpNPf+PpSr+Y+8Hp9RAwY/YBAoTOkViRhSKR3AW
8jH8uqnqP1areI6WftgVxYENZaJ4s7lbK/jcwBgysSaNKOsvtK5C/doxTYDPf+5hot8hMgrjHFiU
OrrO0qmZOoiRjwA69fK7veuF1tDw7XAjRROJj6jeGpQfsX+sS2hdMYONorXTozNmkCqF40GBEzAu
YdqIMImqFZION+tiff7+futgFkyc/CxasV6FsouuGmrRq51pIYUceYaTDPV5s1+0LI30OUH9PBmb
23/gZf5Yt2K8jDTZnrQCVPfpZft8sJKm07jYLazYbdac6u72KxinyMHbxkdzpF8ctKqHn8ee5ONr
ApI/fkTFeBW73Va/7DnrJgX0/dyftRQ7AE8Pl5v5qpiOr9iSFetcXWm7q8GtslfbuqbQyDbBW1zX
pl28JqD8LqAmG4Qcv69WNw4pxolaRtNskymYlUe6PRShaSpH4ZpeaA8AZ1TFEDfEiz26jDKHpD60
wv56g3/WqzzTDuLnpzx/rKcNiN+KyXQaU2U7ppQfaEpBDhhYq31TaMhB9tsedQGZrOEs+Wqgz7w3
RrkYvI1tpC9fRbn6KbS04dY5GNb3We+KrOfzzDDJ53dvkgjtdGS6YQ36VAJr/l0Mv1EbGPeWJ9td
jxjP528bJ1sLrM/nI/73TO9jKGt5PEC2v31xJU5jDiPyz4VyW/ld7csEkrWJRigDu8Gs3dN6+4/Q
/f1I6xrmfxxpxUjkjUSB0p4FFfs6Ck4MQnzdJ4lhF45uR8TKn7GkllSXhf6xYsVCEAsG+fF4wpkx
NrRS14QY3e6EgRNUqrYeNXSZG6vrY/yxYtU2NJNjdNuy4svLZqo9FeMjxNTAYtPejDACzXDYoga9
VAz1fhJ8mxKzUIcC+2P9ilk4n2+t9NIQ69NW80yqRSu1x2dDNJNY1gegAaKIZTYWAvbMYvaknbS6
+l3pF+BG/3RCwCKisNXhIYnhXn+jkyPlxOJ+dxrElnm13gW1EygCKE0g2zzDR5Na/sV+7XTb09fT
80TkCHvv+7I2+5F9lo5Z19vNf79zAIB//rwbg91GeGegAbuy6Yt2M53nj7tg0IZEllHriyWrX9dl
RH9sScUvx0asnphQFbbM2WigctTeInQE2te1Dn1qEt+Xd9Q35bqqso+tGNGrfkjC00Us7G2MtnWb
nJirQJ3ZBrxxWBFc3XM7go2C1rLkrYt79vfGxVAq5vR8ThQj1sXKDHOAbAWaBTUDkYj/YFP8Zy75
51QrtszPouMpPrOcI9ZjJDe3ICOwXOQ6Bt+fUg0A2ddVLNlBv/ixccaSFRxm4uhox2DOujJrInGC
DKL+eVkv7ei0Vc2HU4KSrA0FwWrRtUZvdgJ0vbeUPo66yPjH6RpKxXpFyFbtDjnbyFjxC7Hx9HFZ
aD67b3YPvJjMPtcUnLVmq80ErwHvllHlfTsa/vayi3iM2exotZrW5t3zsE/WOSb/bIL2wEz+fjEf
BMN/uZilJStvcX/G5R2u6eNimlxNutvBgNTXeofR+joSUATsUxJaAufERDf20oSFAXeN7F13Ocih
gGBqzgoRdASXcSNjFyKA0Hehi7yWOum6DL28Q5UXfG4etq3Uj26cyIGi7d4N3GD85Tua0J5SesJt
Snao3mmWdqjydHedIMxN46CsCt4NsTyj3K1JMnSxkAOkQ+afv59I3Zj1H5eg8nb3Rp7Dg/+45PTa
rn3VOQ76i+brB/ICIwhkBDjz+5uFg8SSN/1lG1x5yturnl6SW6hAy0YRRBcYpWDz0Lt+CEIpaB32
qMYEjhQ5XGucS/tceWzp+XA3w3YkhHtxRVQKva6wzC4k8rSwMMrPMgzhg8b2t8tfiQ4io+UbO3JE
btPJeUn6Y7Z7Q3wiNFMoWnlex3qJASpf7NtDvAU2wvfVwnhV8eFgoL6uVjq0xFgKWR1olEaf+9cj
nOJuNKeAEUdA2ayneEpkS9TakwKzZHezOvl/VoJGs9heC/YMlhTNZlDOgiMypUbDMC+EgYYruZ2S
+2FW4gX/3PKPjUjcTlFRpLOAzO8XOTxY+sHRQ4oKqhvcp8QyahLLaFbMVHwwz+FZ5RFyKTUXeNR2
sLWKp/e+FXdnGmXNJ0EdJtCfAn0JGAbS//PwM3AAiMx70omrOnxU+ZH+JR3rhIqvt+842PEYrDUZ
YH8FoTaWUVC0g55GtFGWA9YWV0vG76HxUKoJNdAR0sMjOa7S5bzDWXFHveG6JaLkno7HpxVogLt9
bTra0U497oIGhaOnOa6yTJ+boISOU4Paq2MAqerePGBcQnFp+dlxej07HQzcSfQGUH2CULTrzuKI
x0czTMCF4Wk6SA+1turZ1NBJAN7DsIBecef3wGhHlyvfw929jN8hOt3cEnfKPLq1bi9PJ6s7yTGy
yhAqhZ6dj2GxeswOyKKz+rii9EMqpkft0Cy7xTyj1BGNqjPVaWFs15NJCFuVLKx4QK//YnZKy1XM
ThLF97wR7kXB7ew6RIMb4m7E0YsxA9q+Y/Rnu/VsJlR8e5/x+yf6PU2rOYKkhs+XPKy6FoFWOoN2
JT05N5RiD31LvgLveKbuHBmWtaCrklJcYCwd+Mxn75rI3nPtjiM5ZnY6rQ4DXY9aVukqa9vsxEwt
sodj2P88705KSHjKinAPOBKP+mD1r+53ebGKT4sa57jpa20BoVDpvhzsFja97e7sq6PDVpaR4xx7
h8zyXYPJK4QYxfjM12kdoj176h3Gsa1POhPTzayLc3M+ruvtWHs1GSOCAdMxHAYq3ezNB82sWI1X
XpigGNsyPikAquHIgFHAl6By6gJuQ1U000AZV0SofwbCzdgoIj0EINB54H9mGAJWlRVQaxO18jKV
0Odkbo+xnu6KR/F7s3lH3QRGnS4N3DVe+egJ5B2qTgzzSLyMeHDVEzOaiqG0IYft6NXAOzyd9fvp
QnsRZjkEVBlS6YOATd1ZH40ai1E5nGvbE3ORMiqw2vp0eenK47wAxTXjW1is7tMhMYhB20PQY0wY
jPsnb6+01APnUnoEWXE9pqEfFOAbbzbgI8H5aTGno9ELY9gR20Ovy5FsbZ0nLS9aceDNQ+ifGnFH
JPxw3hPdI258wyUIYkLbcWTfWJdClZerOG4liGLtatCAb84BWOEsBWtPd911r9+QUUntWW2gUF6v
8jL8vXqDepebc3QhF3k+uOys6Et7WNmdT9LAdWJYBF+dWC3+PfRHo9QNn9cZTQhOeY8vfP59y2uL
YOXfVHlGHf/S7nSuXCmS8bRpvWhd3Wp3wUOQmAfE9smQxsBoQktiAnyyt5RNbNShILTyD6ikFOci
vrauDS7aM5NQ9hQoN1Vb2KjoaQrtJilCq26Q948FKxb3Zpgdbdfg1Md0zUAHNM9W/immZXxRcaST
hSxU29kxe95bdhypYGkduueP9SuRRRg2lXamsOMk7mA+0JKAAQ1OW6Jx0nbZJZcuV4kf0v1uWxwi
EB/Q9w1I2mAsulpKo992RurT4GLFQ331LO3biWvzi5F8/KqS+Tieb2lxv/gijBA8OgeLxyzK8cZo
zWzr6+Rt2VvO5Y3ZOtxYeXMfvr20bnJv6qdrAqDh2dnQlRVskP2uTqVecEGJOwX5tJjR5lylJ/vQ
8/vlox8ZUWnxpm6ExzbMenTWADSoI+pNXj/beiGW0xjpJ/uLHdhvFl2YlCbNEWzNB4agOPSdRiKw
s9WZvvp05p2dKFHoMuMqrNlvv65i7XZ5dr40QZQCuPDOFhWT+KnfoYAjKJwHDL72huZKZl3qMjKD
5ib/AIpWqxXcqxElrVjnGjxDcaiTCAgpk9gFly1kGb4o5VojBMeRVJoOkOkFRSMsvdSZyX5G5dMb
Ydu4qj4H0xgOBdYEZPjOuTwxXq584q7z7nIZQnz7CVj4d/P6N/fxZwMqJv90j5N0d4ZG5iVjoP3a
252HfmIn0FspuXUM7Hh89tI3yJ8yW6N+oVnR3oXDW79ZzcBqFg4Rm6xOpQkD99eL8PObKibfpKKu
ag3/ulKnKtoyO0cwcyhu3P3aaIOmu3fz4dHmt8bjLR3KxqDTvTmL2D3aDf7Yej7xcnxX6fmAxpg2
OBDoUJx2k96ksK6vv+8fmZbkx1bcgxK2LsUpwHwxsA2UnTKgvhXmZDB2OlOeWRvUp/XSRp38YJ1G
Y7jKABRu+bGqpffg0hSyFKgUP6N7ZLtqFztAFX9ErbQ/PQymKwoq3MUFfwWuzbw7oFq4ngFpoQYu
WD6+XOuVlgcBSE66tfUQ3HZbhTWZgED4vlHPmy/RlKaocrWI+9aATrjBRg8tBnqIx9hS+7/vR21R
pfygKs7rYCZGGsUCv/fQZdwOp5fuyhLw0Mnxk6cjo72oRbqUF6x4K+OQZ0aR4a3G//9wDhQUhv0V
gh+Z1XmMfTlMKIuUoicqTXRPP2WPqD4s/LmwFRd2NYN7088IC8EreGgSBV+GY4mJWkq6PBRatXPJ
NtfmMCW7VQm0O81DdFMzDAYWC81e3sN+Dm6833jugsOd4EWAFemftHrNPlONkuVll74afButLLwn
IlAcQsBhismuWxcSx3tsJZn1FQ1pZz9EmVJ8x7zokBy2doA2pC3SujEr3Ol/dv6BBCp5tMYl3Bun
qMHrQwpu9L65PUMjsHj4NR8WmIdM9eRwcZ9COHmW8iSvPtf6Wb9iuKNjds2OZ+E/xoI2dUOUFrjM
8wi8imC9ecV1LeeiqI8+tuQO1NV8y99eMd07PVaDpsohFF2kmylBNF3TQ/C16zJD80qKh8KOzEdL
rJ1aMc3+dX+Or0bA4A707CLloroN4vQV9OFyTllb4p9l21sxrprpZ3lxAh3THPhdcxgx7fwcy75J
WIhf3I1aMVlh7EdRcPTz1WXwgsEGsNewNgxMIspkz0Zx331V6cgJalApUbfMej0S6tL9zVBDvnYi
1nZ4SJux8UVW0/0qpsyJNqdcIBjQyWO/qYYIwEdvJyQkZfdInNlv31+xXvtGOztdIu6R2cOH0cTq
ZsN9FzU+cL2KSKOlpDaa7OpWzNfpfjjmwQGDSSlWG2BAoItaCb6PxNPXuLzcCp46gL5c0O6kWsEM
9DJoe7O/9YJp4/V7P8W5NT4/h5/SNqkkFPtLgK5tm6YuLCu3wZiP3xmfAmIggnN1MBrdUfRkZpXZ
vN8fs8yiVkPzc9psdSLzgbUHOSqq4isC0NXlS+B9GQeCF9dSaIn4Q+qKoCZ3XSmIR/obKsbs6reC
ZK8/qjfOSxPgkkcg+i6UXAmFwTXOtn2egzWBAMVeOlFX7kglT/GRi5eegx8Finbdi/oKrYEplU3I
YJYLhqGomQkdafqmTJETBXdGv++/Ljv2imFLjgct0FpRAbvqi2Namr3Z6B+KndAW2FwmZ0u8zGkL
JlWMAzgYkPYID7aniXXZWpPd4m1n5Uh73w372J/YuZhetJMuRLCR3ZOGG5IHW5090m8t5X7MjBwU
qDIv7F2/oBhLK0NjhI0zI1xE4IfDen2Nz32Eb3/fqr8p8v3H51Xxmacip0Sw54XArzlu2lMA+QuS
FMEHI+VilziAR62kdCFa1+aREhgXQvQQQUFNFwG1zP7WXRDbUZN4E/PTaNfFcr592S5XzGKWxajq
Juwyd1EnrPNW3UVkfWTuWtTeesRWz9IUWOJeH+FO6XNP1+alOJ9F6ccZ711yQGadiNsHIHx7YPpk
YZzkEx+1t9Jyt/AaN9R8JxixRQDhAWA+MuWUG0jMxDZcATRy1q9xn4EHfwjMjS7tDOajw1pK9/8I
HH5xQg/bVPopfto6a1ELT290L1sbZHOHUkgDxDzsqbuLs/s69/5Zhf4neKzOGt1PV+14bIsTfnnR
vg8TijEUdHE53dHa3S0GAWMejdlcEtM0ZbteiduiU+q3G0fqHGJEVhPU1SFzVbMPpvIz+2leCHSz
tF/4N1XF/7zaKrfYcXu9Jk1TlDFjElKhSohclQ+OSuDxgc3Z5AwDyMGdnoy2tI68pRykV7V1DijV
+dej2OdxRkLcvXvjjX61NphTkuKEuWj6lwwGG6vmzpoVqDswUETntHtJrQ/BnAjOC7GHrrNM3MFr
OCHJnyNjbk168/bCtwkLer597sjGF+o4wf743ZXAkJsR+8oN4wMB1VinEvEyvg1EHh/O4LcUSAe4
1dXYWpB1JQhpuqTgg+WOSRuAJtYInORXNvyCINB++IN5h2TIsIP17/a4vtFUusaVDDjww+2pmWI0
BEhSTBBPKZl4ACI/XOZNJgz9/B9pZ9akOJJs4V+EGWhB0qsWlmRJkiS3esEqN0kIxCYB4tffz6l7
O6koVca17umeNpvptg4iFOHL8ePHMZDaKn5bY5pNxT4a1jxv76Q/cTSi9uz4hOiIn8J76u9h487A
JqZTSqIhfJApTMHOFGzxo7nxJ/4T7YP0Lm0pV96tX+96Cc2EQUQNQf5/G3IYqYQwJx+hhWh1MmtZ
rVdpk6nEnsXqkLWProT7lMeETYrGrRnO5vj1cPrhMTNGWrygIiCwdH9/J6PbtwMt8PYX2Puf96hK
jJUmDPHsLKHO86jd/SHvsdOVrqV9f7wLepo7ovlYajdHsm7BVJ2Tp2b0B2N2EAUCYI2jadFrBFPG
yIwfhCbU6H9q1Qh09/OSDFyZ9gVgXrsoGqgRhPFg01l3reDMhKd10Bgj1vTSfUErOah6C9/qzF/f
t5GHIpLO5spT/ca9WGKTr35DnDULZg0TszB+Ix7Mb26ZSchE2ABgGYbAA+NJTWJLXYr+l4/stB2U
lB2rqarAWJvdJj6eCgGnbm/R+ZAPDKOfaQh6QlZ9ocpstWg4bbcMava/73GbWdkqaULIsn1K8wxD
xcL3u2+UjFw/kOBMP33poun0x7leramYyHkrWcVFuobxdoNf2REQjug9vwXZBDumTxuxIXKFTXDP
7fLz3rSf5D4KQOR0FNBu3NfK340+4dP0BiQTmo9+KeT/+eMs226aJmXwpuJocXepUZ3NeLZtPDaX
aH0Yo8RF2Nmw/coow122DMzVfZXAoTYXQew54c4Yn0wE+Kqkk672QaN9GlbrqH2ubpeHNNy0m8Hc
GrXoLwtXB/4t+drGZVlvpXfc+Yb37GVOt3XKw8Kk/680o+MC5MJZhefVKTD2zSjfnEdF0/IXazdC
LH6Sr0DPD6twftoFZZnfzxv70Dk1QmPd6HppHmS5vfbTdTkqy2V0WJ7ucq/Zz1pOd2Va0f7QCNZr
WgjNuFus2uFp2fZbuRW0UMxunRcaL1NvNs2vw1ReUCNNvHJecZUvujUwGabpg5SLvPFHO5zwOYGc
j37cCt5jmiHcaKDJkOvNiN1yzKbRtAxHvd5OYrQasZmfiSLQl76A6DRDUKsajn9KyQxEAB0ljd2s
xVmvFlXuN6L+7nltu2d8K3gAA6FQnpvOJ3DDTr32r0FNqKoJ5JoD1MTh+UAv8la39VrrdfUrFA9v
tRBycuerM9ZbvPtsFSAlhikh6+JZ99i5llHaqvUYV2sq7r2FNmsc27l8b7rRcBZelApFLyLcQihF
F2w5tanP1XqKW873WckMQLOcobBMR0kz6LnRc/g8fd/7dz9mL7evTOqj8ealHTyDeMf+qB8ceknn
GDajkz9YByghHhn4+tmFZItQZ3KzHI1P/k1Ktf7jBrm3qBGl4QeA1mR486m5JbX4/9dvtxQeWOwV
JWo7XE1++0Uwok+bOIDFw33A+GfNYrXpw9VicpBXrqx9PJeWKx9GSBryFIj2+t20a/SBYeGAwd9k
jIPGll7Sgz9s6dWqCja0sfMsplh65jqMfhgBcR6ckM6M/wgpYegzj43FF77oqdENpB2rrnmIahBh
u824baTbs2i6oaSGkNAtvDfkOAAf6J8bHsMb1ADunRcvdPhD25SquZ5qANHcM1LxbLF/GUdHmcek
R19mo/msHAXbDtiw5jtrHuClmH/1na1VUblxuTlDcGLoTWd06t9exnWRlgtXFpITgNiFOn3Pc9QY
vvrI5ep7K4avqM6eV9i7ipLW7WtKquMzURFWAFFE73PQ0+xVbs8ft8sxECVrWo7hqbjfIVu0K1RX
zsRJnVuZOIHssrAQgohhv0cRW9Z90Iu7+G5JxZ8dUIXancSmAu+EcEdPg3VXqD1zeItTrnTE6jeA
zilSbFRLl4E3JIn6ft8Xw/Ddj1BCtiwxDknhLeVVUTmEvCtA65S8kuYc/srvAFeTqRt0r0gWZ+tL
LPVw3tXZK1+6TI8VevobMfSjC+wjVdMXksbS33W+32+9U7laS3VkK8gWzWQrpL3nMoK0d+kmHBbs
UuRB/+Nqigs7Z/vt+iCnS3GOhJ26BlaZWPiGWpzmtdbbx6udKe6LECFH5JW1wAouQ1f7fMNV4EJx
nRzwSwwLiYAycKA4bNpwG0Pww/fl8/dbrseWvn6GiuilThLby2aGJ4IWLile/8MsOx8y2o8AqXeX
PFg0Ceu+a31sdrWs4pO2pWEfzg67f6aP4hUtwTURCnXw7sdSyki99BbyymL0rqX114elVysrfmmx
yHZu6XJ7nx8L2IkOcBIwMaRoYoOPtDspqJwQndmwK+wbPHIPwb3vz7y2hudBHbJayJ2JYMLvDnl1
dA7oNM2F9HoMFkNpKOiI4Cri/bjlA52Zxc2b0CWfpONcZkS40RwKtY74W3sW1z9EOQuAICYLNPj4
pGKXz08x2l9hUA7+B51+GG/IIEKFEEyD4pkmRrgA/6o1u15fybcqw0iMTRGfL4UBPCRjeIVZVvgV
HS7MAL4nP8BVUbrSvL5aIv71yooxNxOvyhpFiv94xpBegI3pG00AIrDIYxtovGMty+V6PcVul83l
umrOWe8Z9OZWOkRP/qEn4w6dYOk/MMYTYVFmYnx/07QHrJjq5tFMWlnKsoMRI15uO3tfZDtRQ4I1
BMgofFTpRH/XOcvatrrr/Sp223Fa7fS0XnCzQqG4CCW0z72SS3Uzvhc44043l7XWplyvqVjvRStH
PtOmIieQ1ejHq3QbI33EiwY9kFEvslVdnKs9YsWOp3my2hzXcpOwJT8QZ8UHfzwJw0Fqj2RanwPt
APRaoOJqq2ofiVl4VobM1RlIUsLLKnAESJXSs8RCUn7lMxMa8JTenj4m4CfR00vVaQVzf0e8fQM1
8lk02iBo8/Tf33u9m4CWUincaxO12saj6x+rmLtsF5c794C5S9byYTrE4SJKMDnsAlpcCZ7mQL5e
8Obl4dsuajx06canuRV8J0nH3iGout+/ilrXe/2DFLPXMJfmxl6e4pk7cu82nd1ta7Dvbh9ag9bg
PDj0nOh854zi/r5z7p5uTrAFrU4x2oyqwfKhHLhje9KaGGNn6PW0vfp1ScP1L1MMYnk0XKPccVSP
jgDz4hUuM8KjlxdQeW1HY23Qfr2eYgaPp/P5YBeZPBlCWiASvkve8ymV9JhSoqPm15aUrpdTrODC
NtOzS9RDcdbrPQ+ELSDlM1AhZ0x5HAEuWIheH3ens79ib77xNG3FEO7T/c5enSXMkVlXLXKxft+M
/Y/Vw5SEkIJp+gxdxH4RLEZH1bjwgb5bXDGG1tGMzdaiWTExmpaMTnfxJEy/Cqaf9os6dcjC9REr
RnB+Tg5uu8IyDDBHbtehWIFY8kwCOzELtClCFMW/iwNi0hh1eEjkEJXIWXoBoJw/XYTrEQqKXR//
wN9Bq4SU5hNDVg7mkVbMQOcZL13DV1nr6eQZ7jrGfoYh1XpxT9WRxZvUFuMOkU/Q1HRz6Xz/5Qiv
VtzkeeHkGUeEJ4ZYO8u6Jxl2QMg7JnGSEfGNoSbeqM1jrj7LBcy6WhPZwJz2Z6JOMYBnv9OlCwW8
J7h7f9dVT3V+8NLYerWW05rv7Z0tUR1IHGWb/rk3lYjOmuEKg7ttk4sniljakrF2l4r5yjb4fNth
ZYEd0a1GB0N6yn8S0N/pSN+1TY3XR6rYrhzM13RXHOk2ok2505fMieTh6WXcey/1HHP57d88Ykex
XQ3HW88XFfeUfK0KgDhlTEDsH1DRDFuD21nD3x0CMzTpkbgI3tAUXvwcjw3+oQD+9P1liEay9flt
2mhLtvrdb1Os25qRlO2qmfDopVIH07uf+qvRlEp994mACxGB8uldZ1LFS363qGLVkt35QLmEZwTP
EOYXYptAMEcJtcjMGdsIAO5/77i1n1wxbkfr0N4aS5ZcRygcdWYSRog4uIAPNE1rHq0uiHWU0M7N
snN2lKDdgIwfonRGN5e0VbGshQpqt7v5lKIUg1lk+aNoF/y3DbsKTpy1y7m3tOTDjuCYCXWKiA6J
L/JS1AIfNavVRx+m7dAnbCKjp3zRhZkVsX2mYjN4HBSAO5SSKF4AguAXAC0JQDQL1nvlrwWV72lQ
yvLSwhZBhRCaHLDhvtvqbYPVA12LEKLJx9ahqL5v6G86PvVC7cupQ4m9ltNkomuTnOTC6LiylcWy
SPep5RJwAZlC5R3+GKE5MZ0kr8uB5U9ehigzfvac/h5Sns5Q/8Vcfi2umJRsZduoVbE4XxcHDfXj
g/tEzwOUXV1oWcvVvN6pYiPSDfqMc4/FRF5D+H/4hplIARP/fHys7WDSjWEuw6h4wN+/H/3zxn9v
P2i+eH148rVl5YplRdNoMzRQjHbI8FlgVDQ0fCl++C1aUXo9zXq1Roryn+W1aa1uXWKBq+8bwzs0
7NiQiBPiBmZqS99e37/Q/F3/J4IMdMBr1pST/MMwXq2peMFVyYDpvdviToEvAavQKEi+T48iQ7lu
unBZxhdkDVVG3UT4+mT0amnFJ56ddGNuC0dAeFwiDkpcVL8PLf10R8xpQIa9azJugT+0T6nWQV6t
rdxmD3Lceh5TZrr4gx+XdKLbnnUl86af5q73qFuy/k5fLancaTtdxDYz4qXxtH0I3YfMj5egqYcQ
KEmi3TfGn/14i4YIbaCDvPafGJFAj4Pme9fe6atfodzptbvZu/Ntm2fcQbJmtuoKm1YU3Wiasvtu
oLtfuoNWrOa8kWc5Bo31LpcLd9SIPj4+xBESsQM4eBufNF6zS91LUpyhN/cWiGxYrCqsMQfi8KgD
2ZSrdeHbRSysfUmanargtJdVjK70WFMwctBp+m0z8QvIKCIm/3kHw1PnAzXbVGml1SFPrX2GwdhB
iVn5zRtpwMMJWmH36RzQDEdB+CbUfNLaPlvv6wpdgNorM7VoL62idbxslAxx9OPU373PH2XYTn86
n00mk/UQMapz1MD3T5yH7rAKf57GjKARuZhe1T0il+23yF41H13e7Dem7IJkX/2u9jovs6MtV+1i
yVohPHaIp2ipv4gYNDmj1iXX1tmuz0KxYZvTwkpbO77A4z6qgnhMwrSni37ad8aQGJb+ZFyFkU9j
BaFtDPfvgk3r+71rg6GrT6KYs1XTts5bhGBngyp4pqu936G754l2jujnDSPR7VCb0OgOW7Fmq2Vz
4WUZl+AY0Fb0Uyaid48LRK8mTfJxsNr0vjkQwZZ2dKf5zvUmzET2nBDItSzFpDTc0qBvCoTikeFf
HRkj3L3ocES9JkitLuzTraaYkjJZrxN7h4MUBewffZ+aR2CFQzwj4U9Ji+lRs7+/3Kl/9qeqmxeH
LHGIPfiYYLRb9KlfGdIqYmt+d/HKCKvIDh7Ce+CNXu8+QOqEwxZ5Vp1xkav753P6+hly566ekwkh
6bw98jNET++5c1GHiCPgGELdqjOG9HsT9vSwW/1V/lpWbN7VsvN8kZftJsuKdAE+Q76vfwb6wYjG
HW1tpd5qfy0nf/9qOcupTq2lKYcdwin00SAhoJ4I6YpaFsi/5jrV48vk+v97edUYfpd787zhyEtN
mXyyGxJ/eAnUwnOHpjz6P3xrwlRuLId7/2Q7AYO0RJgTKfk4nEeLrhaAqUdVr36QYjqsVuVkuw0H
QAaF16L7JIDWCN2tFyZdze61iylW43BcH5b5hseE1Ri9CgtiG5I4MW9CS4Goz7+vNqZEOsVubZ7t
LRurkES7hbMtvQ/yasd0SWsZZfVwMcQ9o9U23LbTVp5Ljnjsarkj3Qff4SIhlcmchg/YgxRGybsZ
5ZwHjb7MIdB1pf/lTn0trTyZuLU7ng4GO911ngfHiN7V5cvrJfO3xzS2USSOZ/vwyU2YoAF1H5aL
E37yW969IVyiJ12kW0vV9a6OQnlTns0IJbdxlkhI0hgofTT5USpuCeGDvOlXmSnQuIX6YOjrFBRX
fNz+H3ANajk7PtB0ItLjUhZG46MHa6tkhotmzXrn8LWm8niMfLNswFAVLEs61cGDKV8JKWAMIxi8
VDfyrQ4Otpu244LBmpblqLz6nbNdtcomxCVYPTJGpc/QpuFwQnMNwp+9R13jYN0j+m095WpVrnMq
zvkeXzsKcfG82HjEV0SZ+G7/pIVYaozxb6spF2eel6d9nLEan9BmJI05AJWdgjOMEYF/YIwHSp/f
f8G6eVi/LancGq+drZunOQf6iP0TPSBzkEbuAnLLrGQwDWh09w2SxcPNZz5aZjJ2pnu/v4UzRT1E
R5iqKy/YTZm3BlPMNVsqKS4rdseFaRayf5gmkPgZXb4cmOOnC2gY74N3XRwnsZLi5H9bUTHIWxdy
S5kx6K3K9/7x7PpH8xDNT+vQaAzmTbpHWjvdm5F/5XdLKnY5iYt2siwtaigUDaULF7DBgcx66KFI
M70w6j/n0HgG8avmY9cZpt92q0SOrXlanbdJeTnf185Hu1/0UHlHPrGX0+77/qilNNRe6KsPqgSP
h7J1cFMBKRGbErntDsou/bcJlDDiOOmzZF6QZpN14eP1Jv8IH5tVejqdkOmVMcmd11dS7n7+NO23
etAcUxrfpVYGkwKnWz3dgQU/akv+9Wbja98qaehktzZb+3KRYTyKJ5LpUnxajP/nfz5ldTR37pZm
sXdtscK3nddZ8TRlaBSvFk5OBbvy6Nt9LdxeE6Zyym6LkRs24aiqUtn2tvtVahLHMZZbGORoAdrR
hu7Z+x7+LfMb2iaf+rv0taLyVBfO9uw1lxssFe/mB+yYTn/2QSGaJrgdKGwchu/f28a/PJevFZWX
WhqZFTN+SqqdAHTlSNAihtgK0n3fayyoy91pw7Y6wuZvB6u8UdeNmSG8xSBTM+kvEBcPu9OoO+6l
uayn26LuMyoPtFpV6c5LJBwPn8ncAXjJsojZLn09XaGYfH+mdSjg9fYuL+cq33CL7WF1aAE8Mrp+
RrNFf8rYKLoHqXrGo7IIp0N6EBbdttVlgvfL50D3A6yakOW3H6DGqekhj2EfyUd9RrL8NUP4dBnS
8YKn5c+DwM1DBhEht5oD74PaiKt753/QhxFqTqPe/fxzw1TE22xv1ttN2ypnP5a3Uy9Y3ha9BTYS
VYYJ3+Hh/Sa6faJxjaB5aPjv9+WARghwlcQ3F+E20sUfdTWO385GiT9ojDpm1RYCb/sBGUZMNW3i
YGmkYC/0cOqWqw/mvmzIhe56dRca3mF/TmO7nLVA+uGT+qPwGNwagRV9rIaroO1HRdf0X+7Xt1qs
TJ7un0746+DVwPVgzne2xTWkksTjlrxvQmL/URDvYKaRk5JOA7hp33/wvziGr3UVIxbbSX7anuWD
l/6zDd9j5gcfyPWj4EWP0YlW7eD+v66pmDGvmbS2reOluQOrCbnP/9iH/hhk7K76Nxnub1dIMV+L
ueuZ5YYrBJNQKEp9+IukAjg+BNd1mVYdWee31RTzldl2C4VmzFc4OjG/bMFcLxEFo4KRd71Q26ZS
A/pdL6dC3Mf9cdvcNWS5cIu6+4m6PW32049fRmPjP9zcwTij/qjdqGzkm/uqIt1e4RrtYyFmE4Jm
58OYiHAOARR68o//ZhbSb9tUkp69u/fiJBen0GEs54yxfv7Hm7g9+q2OgzudFdTZARW49hLLStsx
nh0mykA6rG77/Y/+29AfDxGeouPpP76IC+fwyvCcnMRxqo1scDQ68/glfunuenlviNjeBmkXF7nr
//byL2Hr1ZpHq72qmCdSzdyHR0ByiZgmTjDcETIRjuqYrnVC6r99Q8XQJIesOd8ZXJhkeJEDpQGd
fvCP4mbahxUxA2jLn4qeS/dCazoEoln3KThKiil0o7MDfd0NzPd/d49RrW67tO22bUfxMObukG4P
HnLyv+pSYnkJjqG+MEmU7rasc/dvjv1qQSW/bZ3dpHXYkPL8ot6OoC1g6v9hGd/r4ov6HPZqQcWz
zL00hj/OgoyMfD5T14VMTQ2Mkb6QT7RFt1o/5nCYgCGObagKpwhLFeVZng4A9SqS6vEuSPZB1wGk
phX9gdk/grhNzozbCNy9rwnn6p/u1fqKqbCzOLWrFtAbSDXjcejY5VteiOMyKQqBSk3E9Jfj/dqw
coFS82A1qgMkWKGqN9DaZKoHClLwmKQHvqe9se0aWM1uXu1QuUDu0vI2nglNjkABkW5ME+v1p9vu
L+r2Ksi6LrzoyeQNeG/ysRvEI1HjvBA172AnztxIxG2Sro0+4Sakl4+yBdRF+r0etZdP92OVy+eg
l9g8GpIjLUDWEWK5cEm7TRD9rM8IRqqAg3+jUPLbCSmmpsgS101SFiXJxzvN+ukISnvng97t6IHG
JNE6XvBfnTHR3gUlsDHi1tyJxaR6vcdOSB4x89vhh4WoLxOwobXpaRO1ycPVZVCim11lpvm8zVap
cbtdGQsxu2RLB2w4iKe2+lYHbf92tmqAY2SNReWxxR1okVS4HZ/IfCQiHz9+iGemOFRN3uwfwzIc
Tmz0lClLoZkTJh866kR9dvC1eVUWlGrkvFFU/JYyIHNC0Y9nIGIqGJlPjYfWrqVkaZuFSWVD+KJM
ORBhfLKhN0BAnrhuqbqmuusjbikmLE/yND8KAxcMGyOGb0xHRFeIJnGJZGCPFnSs4yr+tqRixJCu
OK7sit1Zo8zfR4hDdjrIUvenxWD6Ub0wci/YT4CKaOnTghoaE9FS7NnRy9K5PecrhgAMVEn63XmH
1OdpHACFAYY1Oppvacj7/yN2vbo3ilHaNxmbtbalfRAK2a9uKvQlPi7zJcmwPysfOijoo8bz1wbr
V8sqZqk8n9pbz+OQge5vpV1izVgS8nv54+mXji60/tKHYqVbWrdjxTA1Ks/O1wVLm/frz+cVQ2yg
GhF44BlzP54MGxlzsGjb4DJrDruuwvjb1VIs1N7arqtNwtL0yuGqvEjyd56NTCIhV/j+jLWrKeYp
iZfLxNuy2q4jrXJoHAnh5zJ6N9B5fo3tVZGjZdE85q1cMsvBD+kWS0KfxGsoIw4Z1PSvJJyuT/Li
fa4C9sb8aJhLS06SjESCuCyAnn0P68CNdHuTR/fNE1FxoL1XGuuqZC1hSq8icgNiCKBNat/3fLtF
V4sz6pznBfy82p5lG9W2uuCM4sgIi2cAuCQkrBn16OuRpgPddamFu76epAr42E0vNwzJn5MhoAv1
NN+OLgoLJECah6CLTC+NF1f7KxyjtUyWcl0Q/u/8eAWKQHb3Mv1BNFb1mL/uG4pRuFpwYbVj+jep
hWY7/+JKSGJP0MxpL8SeIxkqjeESBH7/Bi/1jO/ujmJsdvMij9095rXqbhnpQumMh0/VcEqnzHTF
X5Cxa4PkNcAOeTCTC3QgpYj7e8n1kJHvO3xtUbHmi+tqejpPfvGFV8cyn5/X8XnD1Yby0OElETPA
ikfCXpSHvz8K7TdXzJGdoQiwkpY16XGQgb2U1MCDLoEDCgtupN2ebkkVEkL40N2dt7+++iMmcNud
TqdG3wVDHgcPDwxTCDW71BldFQuq1nHiWRcUihToVdIQGGAiPNbbBIN/09VwbQZVtmOxzQ07tzhT
6Tokx6MnbcLwFmFRkN78O68NPmo1LRuev1o5KzdU7s5SH5ChyyIWEvVl5lyKcB85FbScT4ZTgMR/
f3Pqz/RqWSUIJLt2k+OvM6Xu3p+4IfNcZYvtsdZF1+bsV2sp0R8DYppxlrHFoiNSnbKeDNKC1naj
uyv1we3VWmK0rl7f2QaNdXI5Tp6EwE6zafbQ/5gPPxBAYZBG8PmrjqU5z/oI92pdJeaLGTRVZBK/
S9kXOcKZb/Wd3owmJ1j1olaxfYIRRKUQLdTvP2W9Y7taWrHDu9xsnQiDJE0ZPK/GlHi4sU/wfmhU
/tnD03y/nvbqKPZ3vzRT26ko2BldwMs+TcD9vCejypmL9q6tmciv/8PaX+1Oie+2q+Z+s2nwQR+L
t2XqMxptKxQCGoHPXWZDDsWDQ3F6kEDl+43WMbzQ2ft6mqp1TZqbqvBYGkvw/OOVdn10bCidxSgW
BWTcSPn07nfEmjpXXhv5fS2sNtB7J6Mw12sWbvSYmdUBMRTdQxiouyjaUR3TKvforq9KZov3zUO5
FAT8ket7lgFpWa8z26LKBp/sl3D/eLwKVx3GSOnHXsij/OYbXyCpq0d7iI3C2J8uB02yf/dMU0pf
BC3boRQa/OH48Eg8ca/vO9K9nYuUwdXKAMZedj7QHcFJC/b/CuEpHzzFwyfavXt3tlZnto5Mf32p
2oqBivfHxXZ9MqqZ7QOLv86QNEGoaSZkjf5HNfnwIiR4AfhodYoeom6BSj+TWZEyJWJBZ4XpI3a4
hol02Pia6667dYoJs9fwzc8n7AhYj8hWkbPSXTdkWATjqsKejolUD/Vc3XLFbi3S5pnhipIDsBid
XqtuJ4VbwZhz3O0+lG4YGu57TNUewOa7Wz5o27vrY7Wrn6CYMtcxXHu15+JR+IF2vBpd+vqim093
/K4LDHXm5KJAfHXX0kbzcIRpJYuRCqR05vazUVuU9xlwRLBs9xEGa9I4ohs7or3liiFbWUYabxy2
Sc/1qENiDjHo1zztCBpJHmilFGqhiK9zVZvYiyKxDt6CrUJJkmGWTu8WRui0NZ5gS25ubuLbyg/h
OmhucC3Uc7WsAqKlR9ctz9IV8QhciPo7pd8PnAR3+MKYoTVBs6Bun0oUtVwBxm73tIhuIyHpdI7d
WZ8ZWEAQtOtD1e8lSASFWhlPCZi+sZdqUalcp1aZuOyz2X2m5IKEQr8/74DxjH+SzQZRqP2gcnLf
rahYrUbcMCtH6AOil2P3yNc9pgIFlNTzIA2Dd02MUc9EuvqSqi1KdrtNifuVIgScQaIaK3jFQhIX
02R0HLaZk0AXhMbxXrDA77apmKS0LJ2lsYO+dwyK4WL2A6mJU3CI4tl4nGvCNp3tcRTbg7BJwzN3
hFGY22aQTn/IqPZIphPcYG01O9OZAEcJo05pa91abcXSgf5t/WLYsYcgBJTNCNyCKHumbej7x2Hr
bqlidYxWKz96TZbMnx/b3YHN/GOQiUMI0xX6ySqY8z49cYCbwndfpiLG8NK6eZlsmVkeCgU47dAE
EcKkv0lu7u526w6xs66movsMahN7oz3fL0AUBB4+hJv+KRwhSkSo9XIiwNOlJ/Vkt6977SoWKjkt
j6i74WPp9/0xo3sKMjfZAbN9V6+6rdVJbVyHGq5inTaJ2di4BuxqkwbF2zYS5QZ3mZdrj4XSF3x6
R3/TrfyLz9Ey1zWf35W/f+XuzEZz4y4rVj8SsZvhLVLZSNqIuCoCdjJBANezfyIh0lz1liZjcBVb
FXutIq5KvmhnBNlN2qkv7du93l5nFnWpkKuYqbazPh9zxNMuIZPQ5Wfke1KcDX72PhGG+/5Fae+q
Yp6aK68y2i1uz6ME6T9uVzdvTzKGnKEID5/6pEDjTl3FQmXuPlucuK4SNgDSzrAXNHUwTDXaBSJ/
o+XF6K6MYqSsc+t/sxDCBolU2kHOyJi3pb8PD9JT02NqxqMuaJBdfGPzXcVMrasTiy441MGP7ZjE
R4r6E3s6wSre04D2eWPIzLvPR823rK8SfZkCT8Lxq/cR79L8Fz+m0aPOzri02862+2M0sJDzGLjd
wehxcNf7hB4XCpMjzFO/oCRq/ZD25jISvA+vD8GFlhDS0o6IVOZoJvSmH8cCsZkDAMSk7Vt+o+o9
MVHalIZYpmQKD2VgMPdjMXysgkHRyfzNgkaZx7setwiFBSDjdPj0dAqets9PkDjGB4zF0KareRxk
zDK4670n3ffvT6NOdPLaVHmKXayWxbztQRgCBUPrH5agjJ30KTeLf5jSxoQkoNclK3ga080Vd3qD
fex//xt0j9lTzOVij4vM5SKgUCyim7PJYUX3GBmvQ2Sue8saK+Up5rEoF+2za2KlTIEZAVFAqoH8
KEp2l4HGFesMh6eYxENhe/m+zWJVV4pJ/XX37G9QUoNvKoSZ7w+yHiK+utmKVTzH/4eboByCvvvr
llDRJ8khkQSB18UZ2s0pVvHgHhaL0wEjPBgJvIjJlybDn+j8fP5LXuLV3hSbWCWOmzYzorZdSPou
Zbnu2wTuy098uO4cNebQU8yhcTi1i03r4r89/3ZzL30V6KL7jG2msxzhaojaBMEa2Et7nopBjMu4
sXYkedtglyQzR3hWhnbd54Eu4NZcFbepGMG0aO52K0G/ZWAkfHyAH3iQi8cXBNAxNMgG9DWGVxMJ
uyqDrF1W1WZx5AseGIDUEimODE2MNzjfP7mgaHD+y6qxa5tO2zLslqviefutUa7sxa9sRqjXaI/v
OxIlUA+/8zTf71KB+dOhfa2m2NKF3Uhb9qVufJHbijqg7pIhTt+6O0it45/jHhKn+G9dLeMvVvxr
ZcWCOsn+fzmYjyOrO0iGx8iA5NGd4IXAdOCMPe2fmTkHzx1Aa0hw//6oQ8P/YsW/foNiV213ZZzN
w+VG7emzgO+JnL5oBVJRtrVFVznL785aMaynyjtu0cpGPFHgvFCg6RkcoWb/fPd06anWuI2/xPRf
21Nsq23tVuXCxVGiiC1jxih5EuACgkut6ObuM0SdUvdiZBPfbVIxsJv2buU0JMrFVQllCGg4vcEU
yajc1o3w6r0JIzx1LvIvtZyvvSq2tukuzoY9Z6/hRTiOCBTB3Ok+7L4gfc2cI2m80mkhO3KA321W
MbrbVWM9Pxz5omVwigm4kNMz31bEXhQfRISL/HXr01WQu6hT9YHlKbbeYBrvoaKB/czDtzcENMvh
+Omp7AyrzhBxHz/CPcDYQMj2JnqBAk1rU0jbjzaA1v14xXTvT0ub9i0Ulkwq8gDa8Lylp3SydJhT
dpk+sAxO/w+iQ32bx5eFUwE/L0f2J15LqiAaDj+kxMeAVe7kT8y47g3UR+z/3AtHMXBHb1ssS6F6
DwZb/7Xzijj5lmmH9DrCNwI0bs6AjSF36RJqWy76N3dD1a7cNNpec7cnQhSFP1Ey/NEJB2kS2HAU
jS7+ZNdpLkbVVMa9Ehysg46/PjL0z32nSXweeAH96U/A2pD8AynqMkK893lvHyLuse6QNJZJxQg3
xyqf2xIVUcJ4xgGIB6Dq6nfLEIiQq6izEvXlg6+vophC+nxO1UmKViFMUfhft/D9JRfmpt9UvXvd
Bq367PRrPcUS5ub/ubmQsO/HYNGHq4xIfTr6mNFbhl2sTKZP+G9I4gAV5g/3A5ehF4P7jB5RbfvB
XwDLr1+j2EjbbDf26wv0PArRZIIrOidag4DCM3gZH4fQP4LBytHkLJbu0BUTeXKqRrstJcoRr73D
INnUP8EfOCVQJOhqpO948ZjDwRNQ8XP/ylzJ3nvvntGYvTvhyesuXX3E+nUKivFcZeneaDTEDDBF
ka6WFU2G0MgQbR4iZkf8+G5NQ93F010ExehZVmXQtSoXr+P04E8AE08oWmJ0oQb3ysG7ls9qagyB
ChoeEu9cGeIkADSfhdeF9gR9AH1Ec7odYuZp3F0OniLG1PXuFx8QPvXz8f4Spv9z1iqUaG9WZrzd
8MDDi/oInQgAqBF4vDQQac74L1GV67YM0/NQKlQfm92wnPUe9XoyuiSQZh6g4+GQpEC083SG9i/u
5Gs55TW1KmO7KWQ5sIrRbUP6owjkuETI9T3Q4a25t5fhnn8a9q/1lGfUtJvF4WRLk8XgwCgXFK5Q
CHxdB6+355AxRTP8fDRuodHjB8TQ6PMQfdy96xG3eqP99TuU92OkxXaVFOybPq1L4w7P541dw26Q
nljtOevWU55OsmisinOLfUOie8VkI3f5IeIXaLdJYhlqgIH6QPKf7ancMebtrTfl7rJcOpaZnX1A
KuC9iGGz9B/HIV7pv+5RZY/tl3svXWzk2172SLfxb3vUXKW/IPxfe1RyoJRprGtHqtplMEJCq9MB
b4dMICMDNEvpXonaRhgnzindySvhtsh8EhnuQFZZ4G/9ns7faldT/HvZyI5VY0/bwCMApTCEiYF7
+HfaBnqfQvTUXJZ6X/J1kIrJacVla+tkTTlI4fwQTW1HDFmFF/cGNslQWeDMxgYqvc6haD+hYn2O
p2Y537hyY0T3N6Vbvu+jaUi6nnZ0b+LSbfG76TGspoM+mOm5hmH+wQdpbVFHEVryJlw/lt1ytAqK
3tt+aD6k5HLfn2nrz3Dh98WUM/WWp/2iGZfH2aljBAnO2Q2L6BylHUf39f6M0X9fSTnDskgO5fZw
koIx9Vs+X3aT+qkFyyNoNBGHglVyn2BkKv9TNO1Ph0jHBvjLZh2z5Xkodjgqq8hpFNnhtOInNO+S
yam/mh5uW73Ve7zx3bUmDqvhssh2v9ZSUAfzvCiSo8tlJRugnktNXmoJzc9DePtqiyJLUfhJ+NEC
zJ53uviRbBXQ3VPeLu8OGbDo4O7/MeTvzxf0+49SXqybo2JoOe39bVz5/JmUgZv2i2Xn8Lw0fNvz
G61gXc4Oy7DMg3IbNk6+WQXeMmq/uYM889tuh/mfnqm5Gq2meJU/r/zXYSm3MN6u8iTL+DCDWFgT
az8bJxPP3zFrCgKjX20C1w5n2d1sH5Rd4+Tbm/B22nqCcbcOqUBg3w6jdq+YbgNzsAxfm+g0rm+2
I7Pwsx9n380IgqFCv87mk5MPFfydUshkiuZQMOyuU//pKTUDy5e42OkOl+h1ricPbmcdbhyac1ad
TZDcfH7uz0h7L07cz3wdbALjlfHeeGCjGQAiSVmISX7viy5zvSPdBBhx8t8dj/J0ksVidd5ZtAwb
6DF5xmdp36/OcdA4z6ONuwiXbktze2sqplwUlxfiuDTVumqr9v60PrnmCoO3zZfB6nRK2WfVg6o0
ds+boMg2UeY0+ofzsbtsTrwtE4C3h4WfJpRvU+fG8sqpYW06Olsl11M9ByJNBiXYrue4KidxnTQS
O94sTrMWg+g6qVtNrVU8PB+TXrmNH07LfOCdFyNzve26XhKmy3N0jg/jctsoQztrjM6Z83Y4mTee
e3w5WcvOalE+HLPFQ2LNo5XrUSFrLF+yVePn/OTM3H3zLt42X82NEa2SOMrb66afmcXP/cEqGAOc
9g5OMSm844i+lX7a9Hqnyhkhczz2GsndcV5Fp3Ybkf3Wzfy03YVJM+4f8nbnbLan2433UJ3z3N8k
Ze8c77oFD2tzMIPMzbqF4T6u7BWT5u20Oz+ZiZ/tLc/3KsaKF7uR007vN3lj6+fH+LG5WYfOwnpJ
9/xj5mbVTVwzclare6O5i1bOfMQI5c6ynfvV1g1y1phH6ern6mWeM8rafKZPoGNZO+b8bkOEc5uR
s2k9r9qr9syMNw/2KT1H7fZu8z+kfVeTpEiT7S/CDC1eA51aVWVWvWClEg2ZkMhfvydy7+7QNF+x
Nnce2lpMd0AQ4eHhfoQBxxNLeEB9R+yCFbjW6yhnSC/l32JUnO4NpNKERxoYbQiDZr/MIuNR1L7d
BUJiFEl7W/y+DCbK9Tyc6ND8QxyH8L82ChZikPiPXggaXAUENAi48wOYqoXqiu6DyIS34NG6zNbq
RoYfbrLI7LmC8jM//GsZDh5gtB09VshLqKfAa/3SmXeiecR7bdbICQ5PfWlYVykdgd5w4iwedkfS
jDj+FpSp798nYsIXChOhsXACYDVeVseJwl0NhS5TOh54Cpww63dafzrBr7pFsPP3B4iZU6gsMN+b
zTHdQr7nuvxWVrOWjH/ftnmRBz9cxSfh4AI/Oul8SeD8WpTbp37q5wk+ysAEmORMW1K+9X+4E9EP
PJ7/4YCjU6xU2NqT+OeArA51MQrp53EbhE03NJYLcg0gzLf7VmfLfRO3/D9fdbT0eC8JI69lWNQZ
obayVqyTrAvA6QZPiRCQGyHWCqDQG6fr1AgCqUzjGPj4syTHidz7zycZr8E0K/xbqGANIvH2Sb8E
SwTFVVwqjlfNdb7njuip7G045+P7cKepMVpW7eld/oENA3rTz6Yj8H5Hlp05feiz//Z9R3deLWH6
RyEp5TaEp72c2VWhh+rVy95/3z8T3QTMIQetRV6Dpwc7hgXdQqlQxUprcZ+gnnTBqdMhOAbbA1xA
KUZ085EbwDm//j4sN5WEDYcdLSLB6yVGU/zmVBu8WcZA/e44/aPePFAO04w5kDH3943+z7ccrZRY
5iKffXg13q5dcXAZgC48gKgBas3/5sVwb+FYhZdFdgzZyNNb6cvprUUfVcHtbP1wfFtYbDqiucs5
xdvJU4BK+/7PYDQqDcAyWpY8iqySOFwnKPBpS1EhlB2wMxe88YLCwWwtZqK+hpkcDDkKdI8sbjNI
V3K472LzAw4Cuiik5XW4gl/nsPDTi3Mw2CjIxVyYVIj6GAwG1Yr1CdeEA4RrHOCIn6L+xwyXpApe
o3PLcyoXH77laHlyYpt69ePBQ32PNaFIjcsJ6XXc6WmhbbZMPjfaaHXWfcH7hZS3pyiH3FpLSouz
0Xf3Z+IXPxm/BtM5il9dmwRll+Otloa6h4u9coEwCLDg8qrbfqEY41OhmGNiA9kzU5SZe8NRNIMS
siQrHt6QXzMVbCh8wh6VtUry/99XpA8y2BFsUoiPwMeKMWh3J9ptrdSxiPuUEl+Vq7f/PpMc0DG/
54IM//tLcmPUhgiqSMX1dHotKOgiD4GK4iLXf2rHzs6aTqWNCA5FuLk3pPxMH+gN32eLxNORVZRk
KIEpuHyP+RRI9MNI5dT6pJF7TO627H6RDx5yVsHCP84pP09gGxAORI0DfENUNG5cbIseFc+XLE/n
G1AVqoSypa2G5gXF/qcdFICRvMWZUOd3njQpKgo655M0gZf58ylGcSIHK0xCGY6eJl1CtAu3kpbZ
VrPyTXVwVcKCL7URV9Hy5Spjh/1fwv5UCWk4D6OAEUTQ3ClLPIECo4IGOLIdaxWLYg4ROMFIw5tK
vCSJMg8n6mcvdrC+H6hu1l4ocFApqY33z+oAD2zQVkQ0MSHtY6Ls6KNkHG/3R2o/PVs1nlzig+FH
EURLqked3vCaD6MFrCMlpSOh9x86pR0AXRnBVW/XWAWRzysV0u+KWUO+0ddvC2YXrOdUuSd4CX9O
xiiq1CHupUHsoW5nhMt4ya1y+0uzJT0wi31rzynETF55hnM/ii0Ptmcz+Y7hGpReqz1nZEZvMJe8
0He93q2Kkuzq5deNFDqzK8gKzTZUAyyg0VIrNhZzjuRzS2EMn2K9REO8oUthnbm0mMibn2hmw3hE
WKMv87JALEcbar+HJsZsrJvM3/5ZCOMqRCzWmRCodMetku/bTtTLA0uzONTaybnhSW5dVUe0Sjda
FuvGmbt+TvAF//j04yqmKnUKiJksB+kcmrai+EJRXXh/0PPAaga6A/m5u2N3sJAAaQ4+Fo7jHx0H
vU+PbO7gyYC1bux/T/4mz1dZ5jVV4hTE/1EQ6LUiEPIKC+Rh3TeieYf9j2r9PsRTUPmve8FgjFGu
UDb44p6PxPnhL0Nt13O3tedZVb9QWCe7O2prlZ2EIpT1KL4eyQfXL1An0H9/CJ6+yG8PMQoDeS7n
NzFUWyA+Xl+VI6qVW/fk/gDKBgUhFtiCjY7G3Nyoc9M72u7aPZfvURpwTyeLS+YCcQRETU9sVzTA
yKyMN9zEUJU8zt1WxLmRRztfbW4JmhEcbvfv6utnvuhJ9UNlJQ4/u253gGO5/bwLmrwFzgE2vHqA
uRmATJDIB6RlifKVRZ2DUQj4N3nVP6vhWewfHge9xhcAidOQdD+U2H8Jac3Wjv/dqkOlCaZ8rCaM
Y01VdwzXRBL08fXe8JeSE+59M4RaY+BArvaFcbXZrswEEwBbXP5nTHqnG7ybpDV1ITYPxLd3qvP9
vgWmD2gCkwCzTwWZWSoZBYe6uRRy8q44GHd0qapCIUpzoeEoigF8AlEHwwNveoa5BED26LI7M7tp
MpYOBqR/PnjRtkmSuPYQy8BnAGri6S9BaMvSxKUKJi0VmRlxOkdEp0FhRaRtyvPeNRjRq9KmuJdi
c3ptDfFVccDeP6Pgb/CEW3dzN+LJ1Ggw2CgqSowSUuGXZ2pkMBvFlMlLYFbObGt08sMNBhqFRgTk
OvW0CrfF2hLttfEJsVMgn/SdCRQzOmuZqc+tFboW/gqEiiyzsigAwDyuPjYoxjN5jwoUao9ob7UG
89WDCgpwo4yAFJKNzhovxtywk5kIfDFEJNaUH/KsCwy+H6Th0xpgEOHUboE84c13eQGzHX0L0guj
g51+VvaNBXTTEdV640o5STNLduoAGD7AaI8oneahTo8HAJ4SZYB3F7A2+O1BhmuDi7mD/5avvw85
WcLBilUFvK8oQ+n0z13C914MQTWlPoHkZdSr0KxxsDM2D6L2XJv2P8zvP2ONlmxRSOzdF9FjKSzv
XbY7k/0okWM6xU5GVcxMLMZUzMIUFtmm/bifcrexWtRcWzPDEQBbv2O0jI25hO+peTNebMMZGK/v
uOrLQMBTNaZksT29Rn/EHwJuuLHDJqT74BPiLVL4hxaf8KC7Gz3umpAxXgd4Lg6JeL2ojMCp7dpG
c/ukLUrkraHOu9j7L5kOZ61DYLYIAIXVIej8/v0me8GCzD9dZqAqNiY+hlFQCXCQo3c0cRFuqlfW
jM10Ha9rRzS6bQ3qvSMueiOz7uv2/DiHKCxBo89MnIf9EIm2YyMoMsvn+IgfIXH0PfN8U2Fq+Hyj
9ZXHsAPN1IZCyOHz1sOOFGJ9vRPfUS1MIR71BM5FpLaPN/1mX32DehjOdecnWAq8OHyK0cqr+XtV
yrjLntafgmyHRHmQ9AfogMCChN/OtsG+Y8/X4j3+0gs7Mq8NhJrRjp4tdU8FNgE6D9RjWYZE82iD
5/eoSn31WZ+V9RIoPtxlbnpoBebLzMRPFvnAAcHtWVY0VRnDn5rulqBdFwhPTfPSPrUOtV+AMypA
yy8LTLJTzwtMTebRgqpptOot8ShF/xlOlL4rRDb0UKxBn7wECTgHz5o3kFk4oLr8m7U1GGw0m2HS
tIJWYTAjcKka9Hpdu1uqg3TgDjvSWTBW2CxaG2IuYP9Sb7Tfx5+sTIksK8DrFZMsPNE2g/Oijpms
ZmORowjtdbFCZYjAIBWtui/zLO1Fwu1XiA4Qkl+C9LicBRJOxm60x2BljValAtjJn5PdFYFY8nHY
IsNhtuHS9e3SKMHcRLG/3f7+rpPIoeFYow+L2nToQUmedkYLtzxIS9RiVMK9ysvInFm6Co0J44g8
HGv0Xb2aY1CmqZGi1ta6NjjU4BE0wHYAtOWEC/mHYEhLkOEguX443MAyMkv3A6jF5jPT9dpe6KSG
teHusGM2P4cbZOefUt3FGrwcu7fZLfIWqoGSQIqkbex29/tUTdaDh48/Sjz91ItkEL84HHPr5dqj
QsY68JXxwj3AVgCRd3FD8e7t5TgrO/mUi/tt5kbRNiq8TOqLkgMOH1O3rneucHahEw0MNqDxKztc
QeBngwoGLAr74+/vPbtERkG2y9m8jdiUVrFUuzhl4GApZquzVuemhuL+PtpkiRQ1UkESBE6QtGck
Gmy+rBSUKItzep9o9AutU7zD2IVzDlB3oCLh3e4sQOo32oAAgQgQwNB0SSX3+X4mDPyHbfjPk4wS
CL8TvJypcAS/xpvmlVtB/J8wtrbI3dk6PL2L//19/xlqVCEA7KOT8uDZcGs+LsEi0WnFMDPCRbEF
6CPFsm8Mj0dTpbNKoO089Ikr0Ili0iw1Y66RNHnhGX6DUekgzLlbiHy1wXLLAZjwkTGdft5um9ZU
56wGJkDhvCgKoiwDFS7Bv34U7Pz6wWml39Km3JpCI4C+B9eO02F8/AA605gJQlMl2eFwo3jnJSlE
BFmfXkFqI14GhkikhaTPLePJA3M4zijWPbzey8O6bDBOa3h2tGqRIOW6Z9WQKGHsBOX9/e87Z7LX
iHsVqyk8C7+YsQyZx93B12n6Bqzi1uCIZwgbAdJQ6Rogh4+GBGvG4Nz7pzCzY59gjb8W72DcUXDi
y0Bj1R4XybtZWA1EAS7ZqtPVdadT7zpqjavpX18FNa8zIYhiniHbyFNZWRS+INftoOA6MxWTnV5R
UhVOYCUOwM3R7NeCLz4iFQ20SiIqqFW4gpAc4JZz/P0w00vJEHm1akKkp8ziqgXkvvQ2M19jqghG
uw6oAPGSoo0te7tKjtO2YegFDILzEqQ2tpoZ6r1dWSDOSkaBe9icqu1kiX846ChU1w2XpLf0iXOi
94UDxP6c1Vur3xAvAnvW8mbyQIeVnSoiM5SRq/yZqMjo4zBMiLDVWqzOANLSAtO98WzFAofI9oBr
OaduBN01uJK5BZFwE5hLFif38+ARRqHKD2q4GcEbBaEK+kfLcBHrzKK2Z4WW6Mz9tcgH49DnGBxL
hR8pSf3f4yhEwanv3AEjRy6oAy1ovPlI9me/Jk0o/vOYyEj/HLMO6yCv1Oe78Ysa9duQMCb/dvZI
uUU9fmbB0j3x22ijyFixcGkSb/iYCuFfY0AjbD5E8bBHUf54nympTZbEUZb4fysHlZk/X43rS6GA
R0h9etVIF+qZdUgQhw8cCU0GgULGQbujyzYwfUvYadgtoTFXAfsPu+WfhxgldIKUKGGR/TfMxXi4
DLKM25IW3DqDX8VGNLthZkcc7U+Oz2VJLTCiavOvQBkb57fwDXcIznJ4MhMEJ6Hrwzke5S99karp
gyYVFPQYo2r5A1QncpfrzML5fWugif7nt4T97APW1tVjW0URyXnRaITUKrPc1PoPP8xNQXpj68CS
w1RPeGWRNpkVS/umjxd+OHMWTXb5hu88CgddUhZcKaCdv25UIyRSTapDvAi24Yu0uZlvPEns+6dm
vD2QXVp3t9y1Nrv0j/7W31bLuZNxOrdRNIFXVU3UlDGh2c+K5p6pyCBxIlvRKagRoerjXY/1M4/s
mbVqE8nHR+DMVgnoZv1rM6s8tCJUWVWRTv/5TYSmyOMYyv/IqhA3ToCoPYl9ME0Ht2+e2Tc33DgF
qO7sXexQ/2jRAMAW1hW9AB8LRWS9fZtZbnNjjfaQ5PO82Na0qW5Vi0ugezuaUlWrZO6+OkHHRWo6
mMTRBlLDRINFD/pYxroGb3/zruWENT+hQgPjL/WrM+5ojkK493XmDSdTh8G4ow0lV1rf+x4WMfoN
pR63JF+X7y3ZZUQwBTMB08Y/dp9zJ+l0yjoYdrR3elg3RAWLj3g3SzM3K1PU73a61nD5UMH4PrFQ
u//9TacrLYMhR6cqx/hQpmHQGa0KcqlMVi/vevAw15+UhqbouxD2S1qgZxBQXMEtKP1ODnCzmekK
TpbUBt957H1cBEGv3GN8Z0okASX/hN4Z7F1MSDBAPBbKsXMXrOn89J/3ftauB9mEl5dVVuSAkcLy
ALSmp50bTBao/DUsmGat+6ZT9MF4o+NWkv2sE5mEA2wVQC+rdt9RvoBMThAgp8j1E4ECGBWK1/Vj
sHcWL4s38UK1/a5XDcqjs7iYyRNj8Dij6BS2qVwyD0QnSm/szK1owoYKACg8xQpQxbfFDT6y11l3
i0ks9vBDj8JU2kSN2gnPFf4wNFIS34SizMq+Hf3FY3kHBr3FY/RLKOtApRqahmAKLVurIVegJvVr
ts9siCcDmzK3EaarHqrMs4AU88gBaNAbLIj8xrZlChEjiLHCzhFYPGqB1y5PAqTrPOPny6aynog2
4uoIgLwDoPpskYmbLngMHmK0SrSybX1BxSqhjhgo60Mvyqr2Vq5HcIUIjMAKINkSmp88ZTAQFSBd
Evfk/fZ2YmEEfDMER1o+sj3wycmxJyjSxfYXjCTsxjAXghmQ2tc7suADYoa1vmGhH0Cl7I3SR2PA
uS6OD/1F+NioRP3yQWxjCipejRLPEQO9BebihcEiAUgeerjX0LjuO+jwR3eCG6RvKTvoQDoAKc7B
KKZTtsGkjNZq4nOtxARYMzkR9dSkdLEIl/jzDaCdx8ttPVd9ni6+DAYcLdKc1W59LaJzlxLOEl9T
YCK/eqCvwbOzWBS8Z0IwPcT+zhT+WXmj4zTS+tQrZKw8Q15fArwlFZ6gPn3p+oA+Pi3CniKiAgKE
OZ8ZfDpBGrzr6ITl8rTLMnrS1VaObpwtmlg3CoEwkEkFH6TDOelJ4rBQLsfXnoVlTb07xR6hQ8oq
kOgf7bpYDoOGe6BMsIQegeUymwNCkYUq88p+g9ahfmTcKxqT1NXz91mfLOgORx5tNVycqypochap
BbwsrEOx/PFJuHfRszIhUQhPeCz+o47P7Sw9TZ/JMCY7tsPhR4v6ITJldacvDvMV43NLSUDS6hOV
7OgIaruFXJHARHbhqA8ScuRozPY3J8kowycYrXKl5TzvhisngPHbGybA3X2BPbEBIRL1oLk9NXnC
D0cbLfK7Jndaq2V0ut+hr51ZPdqUto0hpcXH5gXIGE/f53NqNpM3sOGwo+WtZWjjqpHWnC6NjegZ
wLipOVVnCKjMEdzodI138XCkUcr4yMQk45QbWEY4PCx8TxeWooyeLW39g+L41tAOmVnDk3f44Zij
fLErgwStOrqIcFos4837Uz2gOB+or87mo9rBK+nfuGHx8Lj5Z8+OUsac13iJ8ZLmFF7j1x51vcAo
HM+5G7G9AZly3+sCkhgbnbnft+zk6TgY+K8s8V4IRdWnLdogvcWaD0c2ZChw8USB6/nvY82t13F+
qCapfFflrD2tLQYozcfS/kF6aOLwJDx2yBW6VPKmIjPDTmgW/DG30igqcXx3q/s7XjFY5SbquJDX
Xu2+RDCboOiKXSnMi4fQSPPXwuVZNDmR9LD8M1INEh+Oa+75vVSxcCHZeoEXHoEaHXTowYjTwTtA
c3cm25/EDMDz939HHL1kAONsvonR8cxrhmiF6pRduaiDxswaxeD7vXZPrJLjLV45cx1wKUVm+K2v
N+36XqLnJXx33l2P2uogspkuhHcz568tGPt9Xa/89O7G3KdXI6AUx7YSCCPe7SCqZ+pndGv9Nmuj
+N0FbOzVAYCMtwxictq+7yrrxoe6Uj8IE36zRTYTYJ5ErN9GHMVrDf45cZ4o7BN2gHwZqbO7NYzw
DHXh9RU6UPkSBEfwSbeQTm2XaOimJgfiigd1Yfn7AHrD/SXaQkXSOqHnCzToOTBcari8k8l5BzkD
aInDbRnZ3t7b7K+Beex/QKRXyfF+DMg+WSe6ihXvzR2F01uN0tUBRIY96nPbDxZgVzOR33sRi6QX
ZzGOfzSjDyBl2qAv6ZsjGhQgv/y+vcXJvGMw5mgJCvGtuN0eWPRrqhSUkmoB6RyGQCsohrhFTyhJ
wSX3y84+BEcoQcJTizp+LsFShY49aFy+Ef18z5vxTZVWUA7937kYLStFkH0fjnw4JvGFqNS6qUU6
KKoEEwHHq0yPfhqyvy//VdwZjDtaXFmENqt/F2izjNc5ANYqoGcgtEY4EgG7+uK7uPgodzLzHWa/
/SgtaJUq4m4PlkW8W0JvDnAESkIiB8ga26vU1U3e0I944/3M95/cvoP3HeUFDJ92N0/sWDQtBIje
kAIQqpTE11coLqK7QOAt+RlgItI9xCptl3VRC4fFJJDiyk03Qcxa1WBHgTK8oe7zKOjNxMjpo33w
gKN0QvXRJ70/kJ1V+tN6BV7C7kEzhY1JIKB+dXDGOt9z9fhng/KvGCNzisaDjMVK43YSCiKekkYJ
e7q8inb9hUqFt1/jXODfIZT4Du8B6xAYuxvO+nPyKpMEmqU21PLh64yzCmJi+PV5B3XvN5SM3j60
BawXltXCMK7fcw3G6QQaZpgsy6mqpIij3Ce/aWLNIoGlVEtK5HpWMA75HavnR0YWvzOhNG6Cn4vL
K0NVGiPbmZP4mM6hBw8xSoXAoEsK/o7ycmne3NpNF5yTr29nb8XZqesRSBxkpHI8wqCV4W3m8r/J
aor0z/DjhIhTy5bJOZrCQ7QSuNZ3JIAhmp0I7igXvqGR8v1DAynS+pcjAwMb0Sf7cLvfs4ff99Pc
RIzTpT4Tm4IRG1oSbi2NfAaWoj9Q14oMHxZYPKZfNa/Hjw5FnN9HFmkL7q8lO5iDUSRn+0jztLRg
Ibz0sFLivQOuVmNFwAIAQEAAqlP7wL7VxLPUFfzk7a+31QekZ4JF/+IAmXlVqLX9zO1Oot/974eS
IBfJASfIsaPwIkdZLag+1oVw5BcalbWBsOjjq0JBYYsSK0DPwiYh9xW0L9zbEr7zy9xWjdLqF4T5
aSUAhQGjXCt689XdcBkGLhZoBfiGQRxDNVW9/6p0b+OfY5K5nf4dbz3I2YAHD0LTeparOBkqwdz7
n3cZRyJobPePJwinxQwjTgqUv4Qw3QJZLJzDGD8NTflN2IioHBaEX970KiPRQts91nN5+STEAgDI
/32a0bYXHtntIfO8f+K0dcUtssBItH2kvTG8E5xTxq4a2y+MWjFEOHNVRohVEe3i6OTxzu8Lb7JY
P3yS0d7XhIaFUyTAHuE1cxs7bQmceoFlTwpSGZvbT72GQ/fMmFO5usKjmyWwgiJoz2r+IFVKRZGL
M+9Jn1EqPd9AikAFSCkh/EUFbf9VXc6yIaaW8mDIMdq18yS4UpbY2aLdmJXNoQbH6gJwBqGuvfPb
zrqRyITqkg6CRDD3vlPpEGQJUBliOaCTxgQ1+MUKcVYH7eny6QPVjGyVNlAbWMDMYQsnMXbDoUbL
nPeqJFCLZ0Emg4IVswXkNDS8r6iF0K5i//4hJ9sPw9FGy9iXNN9jGeQ9cA1Zr6nC+YHKf8PyV4e/
x/F7ruA/eXdWgI0GQUng6U8QsQYrJwgZQekiRCQJr/bpY6xWr4wPBtHv91ebnEh0WiXUCFjIdIxV
qAKWzcsgohVFgyJgQhvgI9BLrMiM7LngNBWbhmON4qwUiKA1tnKNigAARbsvDmy6+0wqNvtCo5XR
eWEat7JUg7PWAtfF65+M/kD/Ebq0c12I2bFG6yLi+btWd5g8yJVbEXYZLKwK8w1keGiU/f6hJvlq
w8kbBbBCzYUEoCIeZzZ0foPdGoLwFq49B/jeQYBopTerD1wGv2dy78l6/mDc54k+XIqR1vXhDfMZ
uLJNBSRC0zPEXUJYizNTI7PnSP+T2clwRBpmBiOGXZdysfis9Vregl5/CXnrjA2+IOXHzcwrvSuN
D//haPyfo3FlVbYS6wv0ToOUrHymYzv5BN4KERbQiweX99v/nMuEuMla/nDg0eWxvDNRz2joy3fK
Q9JLlbsy0KFd3R7eqSkKlKvqhIUKX+aRB6aDBJF36gTxI1XVZcsHd10p+EvaNKtUClc32MKTmg0v
jBe+VyAykVuTG34vdoTDJdXoZH6TCZlZPIAlifqfvgK1KGkXfvBYPAKt/rhFxdILC+gBMuyXnPUr
WUyBnopjjnTNR3hbl1pL+KY/CH1pch5jSiKSmip79x+5xScVYaN0o5TF0W+KiMh8ZkuwF9Lrqnu5
pSSVjkl9SKEB56vysk9Zl2kVxfAU9UXIOV3LtaNcSQ+9kyWfRKJQwz8JbktB8BmHd1SUosOdVxkj
ZKLOEIrWfOTdPvXiVZjlu7TwlgVTrrSH8oNGoVmzXEx8jT1lmpfqaiCtH33+w2S5C5DuW5r4R/jj
8fqjrd04q5YsK8Zm0wgHhNt9z2qrJgmc4BEfFP5hwRDYkhv/K1e9r0aoNkB266oXfzEp1xMv493k
3rqsn/N2H2UV4Wq5In5b7GL+5t4KdhM18Tp+9C4T5GvRa3tTC9oXpcjYuYLAVFo9XEujgoAmKIqv
qOBuxbQppAeGhhvn4qHPgd4mIR7DgUYVAE0uW7+RntH1YdQo7H6mi8CC4iNteHqghHmgBGbrGxzp
gaAkHipUcx04jh4Tv+3Y0THCgAVSCfTIukhWs44XsPJd0UMLaKVoUaH5pbjM6t9ECUCFqRaSxCGh
/TNKhLIqdkmLJuPDaMzW+ATswqjPcgSd4R7HS2fQNw1R2PbMSKeGiaFBryq/P8VkvVkbPMXoM/ut
JEheiKeQ0OqkhhgASBs/3gk1QRW5/E1XIsDcZ9EXk6trMOzoo/P3G4T2IQeBZgkFR4W4tFMHFBCI
ceJcZ0+cyTRhMNzo+0KKL5djuQhBJ+qhmNsbCWgu9VI2Ypc2K4CZgyEahJn+VftpOL2j1CESgwyd
a7Su4fZ2galgggPAw5ec66NOtqyHA43yBi+CXH9Mv6O25XWw8EDUSEFY6IyCvKibuev+7LIZpQ5V
Gd2iJEHeJQGBAHc3Hyf4D6MDXvi8AkLC8SXBov19sU7VxMDGBClFhpCHwo+3TAV6HOpA2Kbivgl0
AMsjl5Z7JBNXLvnUfAHYXTj1ElxX/e0lWTOuvy3/Vc3nj6cYbZneKxRZavEUjf4JCREqJFPAxL5e
Phx6Ab4BHdIgYCQ/Dzu05ip0s3Mw2jmcF5SeGAK22wHuHZr5C4Q8of/sFo4QguXrrUzRyXFJcpK1
h16uBzGbzpE3dwUk2ZnPMbGJ/5iI8a7qYxSfmrg9Jbd2KanAR/QBVHT7N2krAvTv79kbQ9rHDXLE
hyJYp0mtF76yUtAYzDrfbINcV2CSHiszCebUkSKJ4ICioQWFQO15+Rqke6mXQYr7XvYnaBJbEAxr
SbxGS9RcPe9WGizY1dkmBp330RHyx5ijpI+BtGUqpPf+1G9foXSUE4k6hLm2b+8E+ww7ZzD64d0B
ZtzvX2GqDvrHwKNzRFHbW8N0YnV6XfI2biZUxatGt/B8cmFvdDIdbE3QpV8DANu+O2gtRTN32am0
848nGG0I1teYikP2Bth6qR/c8/l02h1+3jJb1Y/fx9ff33fq1vLHaKMNIKd97knUzRS4WipfD59u
8kO7Vxm6RYAmXvff3+xmJqcHEoV+wN8+8Gi1N7zWK00iVaf3U0UupxbkpRN5VzDboOKiT4Pam772
9+t9pn8r+PWFVuS2DwMRytQOpiwa6+X35a6/Q2K0dBCdbUAADVCuGucSkiU6O+uY4Pp1Co7b/fWy
9sku1gHFd/G7+JcVd4t23Wtil0tWv1m2/QPol/mZ2nC9W6tQEfrC4bZVga5YfnMuHu9yR1uDRdPP
LJ0Lb5fn7xxPmEE0c3/6QXMJh5EBsTmosGYG9IZ17rktGAed9UXucCAabrdAP+m0rk3XFNWtoWqt
PyL+KgCxNsrN+wY4vGoB7YpO953M2LmkeoN+bYXyZWkvl43e6RJx1RXKRih9fn9Df8tc/1CuSvih
XHj0J1m9M5F1oM902abAH6IDfUcF+xQ6d3LZ5+SGR+QwxQ3UwFP0ow4tnE5b2MBdrGWE/8PH5OBV
18tFpJtXtIKBP0swaAtStLwoyQ9n8Sb1BtzecFjkpDN9BzQw0Ik7M7cVomHKIQaFO5pCvi+7O2qb
PlgBkcHgb6kmt/M3sDLVSLXhQH/YuhAx0ygLhJzOPCLwGqRgItus/nlaIrUwIyMwtr6lAdsYmFcW
L2iubNY8vRXETSB02WImeVTFt61hfb9LhnPZN6aGftsdb+kZmUObJzvItVtYRBrIJioOOHLKCDBo
O4Qz5Curnzv4hxlEF8F6qfHHMIImYOzBlPnHiMmrVeJtoVlHdsRq9Cv+zgFDWTgACObz/QLk4jtU
KFlMIUo0NfhiiavqhbtEL95Yu6+yvlWMYAWPWp0HwVFe1E4G7wTWtNYnLEdAsTDJSyMl251lwB4o
NgPcCmJouul7WIJvf27ksDFbsv7c3/WtfkHFkFwiA1DPxc8nNHeX7ufyqYJp+YCpm+eN+xOS62WJ
LQEo3x1OEBH+vS2Hy0Blk5d08YM5fT9RPYgcnh+hfUF71rKBjrTXPZbVp5Oaa3d92hru7rBqTYaA
a6Y3FrN/T82VjzbdQXcWgG1/oH3qrha2UwM04ioY6guP6rjmp4+vJOO7P/vlB8hjSJDQYIjtQdAA
cv/WyoUDmL48WsYF3+8dkHcDoDgU7V47fIitaanUWAIIjZMNXJMNU72H8wE+dYhX54zPd4O6dtv7
lPjL1hXNH4+A1mMDI4Q9c4IGHZYFuK29DmwpSxZ2936gi311WJkfrJHY3w6zWz2QXUXHGKjNpYyH
ugDcgDYCDRObjxjm0TxG650U6NBVakRkDwKnjMP/bY+ePaqmN3QIWgBqwfZxvju01s+bK+WwMkDX
nTeNo7mLXe2E9hmTS+wP4CuwhznY2AKD5ls3276jIASB7Jpge70m+gamUOfjm3mFdYe5CbFPg6Nw
aPXPXYCpAl12iRYAiawV/rUD0JMFwa7+0CATetNfH6CjmSzCEfrLBrZxBASPB+rinrHQUs/01XF/
2UPr42BvVCRzoFt1WGB7M9EPEnjPpF98oG/j6V9urN9Rnm1NzUDO9/0mUfQiBWtG6DgVCAHJKiCv
prPMkSvdEaPf9rpn3h3BFff69eX4xhIboH6snrPx8QO0xMsOO2pdGocebasHjtFj6Ti4Cu6+jjIB
a1D/CozzA9IpZHu4I9pBMctUDKxxzWgwy5vX70aHogwAtujdI9p+fK+vnimb+8he/GTERox8A5w4
IRC7Lc3NUSJ0IvCmu5OKj7hR8MOnXVOLxN1HbL3qLwwWwP4quDfD0QwHb7c6mpAB1qmY4Z3scUVt
ydvx+2LQu+JmRdU/sANTffMCWpNLip/H2YcuSUD1YEG3JJ+2RwwQ1QM7Wm8cVd9Wznpp3gAyuNmr
/sxtVqvzh08+AnJhgVrDTqWxBLutQtC7QDIXMhD2waWQK824L2GUudRRJMyJ8bnHJtdZUDn3sktZ
Y/AHPcsIO+TtwOi52wFef13sQSvefhIRx/aiNxWyx6w15OWAJz4Cb4zthJ2JGfiwj3RG3xKAvTe5
VeLjUw4C4MvHjQ/Se4T9+q0R4wWK5QzKBrhz6FcAtL/Nl8PxpyZIy1Hea/ERV3vbdDfujZAr9sL5
pOFyXbwc8HX+i7Tv2I4k16H8ojgnvNmGTe+Usps4suG9j6+fS72ZpxQrO/mmuhe1KFULQRIEQODi
YgPjv9idq62z+4CJtY/E3Fr3y3sgoHITe5Zahx3Ef33V0P3SGxbearG/W79GYPmYFscVZGzuAnQN
WP3CgMP4tHT7GYd694hfbp5VOBVc0BdcFRRkoTloxjGXjvm+M3Fx4RM2gLp41sbaYV0w+EvotGB5
Bt75d18CjiRAiT2zgP8CaSBgRtbpGd53ueoIHD4xgQlFsPEYIVOxXWPkh/X8vDg8QyN92OjpuNDs
2l6RaVcSD1twv1l8gFxw4TvPmr24I43lbw/ogzUXr4NlP+MLe/OVPFF1oOoE68A7J8DdT2+Hlz33
gpmvS9Ha+Hc98peKzXuvpWU8V2tMCw3sh9rjNmROo26BP3Nl7Y69hffJ+TO0IwgG39EBMUNocziy
PZC1a/AuPVa2K6/OhuVhZ6zjxrcb+z7EvwV5GLpdkM4nJWTwSaARHxKXpIT8NOA0oSgiyOt4XH1L
xWYDmYPp6nAYBbgKUs/6vCM3P/VWH6GDimqPHX+0Pu4lqFSAuur7ZoDTRjn+dYZGfaXgMCmA2HI/
cGtxpt8hko+fSCZeU++B+TQe1rN19u4WvAmz5D3q9g5X0tohOPPeInNTWJP9hbLb8cuDgbbzN/Ca
onlhd+9Dtyzci6/njw5lCVzOu/Vug7ViGT7CsI/XDC322G1o3tcJehGZn+P31d5tFo+rE4jVUDx3
tBhxpGa/AMBgqubnjC2YTBueDrGv90ygJwDnW/6H+UXCskfZxPwtycTb/w5DTcDjydkObPBLj0u4
gweCTpvv4R5GcjUuHG65RrnWPGqIVkLz/XVNngkICd1NZOPbIpSqAUEMbfgLmJjjyjqtIsRfYKW8
OxTQhANRULQWmOvI7kk9CTppLRbEtz5UMFI1DgYB59MTqOk6WJAPwGm8/cvxfnhExVsgyoeA6gTD
62xDPGMtETjzxkGv/AYWVT59iPi7ElHN7UeEdKWo+esRQeVl2iavm1LEk2UbAGWJbOMG6ScXVARL
XLTP1NYPsmltVq35mltr5IZUx3kObIyFiD3diZfs0XXMZw2VwMFM0pDrZXyRBP87mGg68G04Ac55
XFhLZ1qsX2yMA3NwuBhMwdgN1tuVyuY0eRJycy91GBFgoFMxc0I72X5WABM8TSDKBD8XJvBU9usS
856juxacvdD/DLYKgS4cAeNryHPxxkOLLjirA0aQVjN24il20Xy3Offm7rxHD8wBzjoEqkSwHj4U
xxkAU9dsPLRt/B0Aikyc6jW6mUstoZGxqawmoOhDHuEB8Ca0Ay3x38kzvY35DOohgLrXzFlwrMVT
aYRwnAS5SrF4xXxbHp4IUuTlDdUxLHoBp/2w9s3j3cMd60Jcq5D9WiqVRZhHGXCwmkyhfHp5gR4A
gvcODi0HEGAyCeCB8Yq/lnH/JY/KGeidojRBgNc0EmhQ+MzCGBz7JD+35j0aTRZr8C6VjEv/H9TN
Lc2iUgdy7YOOz8fmlnhPINAEs8oBb9QPpBEQrBhLYfkEj4nH3Qk5Yvift2wL0nk88PG+IwGBvvSf
kbDSl2QIGIk8l/CGKTptd5G9ef1qnONoIRo8vjsfsfnAuV+HzZfuyKa/wL8C+t95juxHhMcw2iSh
3zlfH3f4Fd8u6s6DFQrwdHBx2WO0DDB2/Fpf9q8dp/MXgj9peo1LPkC4hPGyqf1VWdszHCD4aDFZ
nnM+BWv0nu4nTANEXHH7Wl8DIPyST5lcfRSjVImw+YMlWjmedGi97zY8TInq3BbFVGbKliqges6n
rMFgsqcE8ylJuRePiA16O0tQeN0tbBYQ78riAHTQFZA8Al4hKxotEXNdpoqXC+T5RSdFnx6yJKif
WNySlW0z/nRdv0VRxnquI3mahknehWc0Q9eHwUM/+7G+mz677XQ/mwqa47qj9mjwhIsvxfQzxFCJ
1SE3nVgZqr6gUNrpvdPPdi0vA9kUn6XMVNGNucvf1NwSJTN+Cx/HY/ccFWb6pb0M7wXyMA/ReXoK
TxMSHq/aKj75T8qX9NW+Jh/ja3OWHuqVcJ/tkXoOkQkbHAzo+pRic8aYqecZJS7NTB6TN+ljLs3k
TTj0CM0Bn0Cq4g0/8jVXKU0fsQ2HcjH5U5DMAJb+MKEL7lE7T6fbKsLYRHrwbz7zfTukOK8awVWD
tq+DssqQBLstRfgzQ/7rrOieUj7P/K5oIQagG9iRBOH3ACINdkHtSvfqb0mU35iimcuNHJLA4+xV
yChli2A3+iamJS4ry182Ho6epIXjPUa14kUA0mUBQWK88N9Sp9y2VrhOXP6NVbMR/nRovz+Mciy8
LJWCDuwFuRmW29+l+8w6PUrORAYtLViFxSuFKSIOXA+8qmqioZITuUj9J32gBrUsFOfyvUH/fLfq
7TfC8iEug22+KM35q4bFYcUs/7DKH7E0wAQkJiiIicUZ2NNz6QoLDlZd8wQHNDERQnBmve+6Zv0I
pM570NRiFEIIHKx95GSYLiyCrZsFR7rCDvB7O6nT69JAzrke25kuo1fZazfqF6+aUWCWh+E0oVIe
7ttH2daQklVMzMpzFEu5FzG9Qlj23gBK8VGx8LxiHbPEs9ZPxQ9iGmfAeTTFWQ0E0Jv65boY0kM6
JvbEQ7k4gUcnTnT0Z+6FE4RkE6g6jKWIuVRZEb8NTfdQ6zne0ingyVEvWCKXbkoj8aRsdoMmsdU+
lRdpPaI7f5g5MzDGUzNMdjSCYEWJJYxObIvXSEwONV96aVQ0ZqgVi7T373Ref6zm5IurBxCcRTFe
xVOPkkySfcZ9g8mBwIhqM2Yftk6HhguzCUA0N7dfmj6fW652MBD8UxMHvPIEkV9kCkZGJpyem35k
rDm/eg550Y37EANS6vgYBIkj5YXLxcKOq8PW0vUsd7JAeS87BTV1oXHzRkB1uwA/R1ktZG6A/tfA
s0Sx9DBwzQGcdzjNtMOm5cF91vulpWbdW161ua3njWINoe4/cj0/H0R1lta5X8RujYXalTJv+XBA
zTERE7fKffFNiPh2l09c6eVa2a8iQQiWTdNEhilrlYSNk8fJ6rQ4XfOKr1hTO1VLvZW0hzzIBhf/
4wLzyla93npqnCROJ2EKYp3rpaOnyTYQkpOY+5kbBphWyIeqb6vaODm62DtCh6LwZJyNyHjvs+Y4
gm0BtB1D6aDDdcEH6kHJ0ke9GT6neTpqoZ/ZiSxxWH0gLOa8kL6iwXCa1O+8IM+6RZrHmZPqzdEf
+Puey48jV31Nhe7Uob8o69oVAfbBhEWidYu6UhxwO5zqUlnxXPQyipM35f172jRIhmnSfTepj2KQ
bAp/xNhP0c3S8E0bjcasM/HB1xPfDVLwOvLlyijQei3WCB60yIr0irditbubEuVBmXWvizU3qTre
DLn2o4ulk4w5aebcgGhYaRTVkWfpJWgq0uavrwfMhLLmQd3lzfQ8a8U2VJuDHkuruRi+sgolgjxD
nrDSHSWYHV2rv4ah8eY5tUoclpkM1XOSRwjUtH7Th8JSjMUnlStbS+GbZ0yPQbfbbNZdjelPYbHP
C3TL8EiaD/G+kfzYlMN+3w3KYjCSz0wfVlwvWo3YHiX4XVPQgkWfx6sybTYY7+TKeu/JddTbgSQ9
8XNmOCPgqtagDqIpStUJQ4ru9apdx6L0qinARYVTs66UBCOAZekhkeWNXiqeXI6uFKenSmnBR5PE
WzXsbFVvUJ8ryhcyXtgJa2XAsFwM3hTk+qnJx4VeJ27XGW4zFI/ijPJX2j6n6BgseFx7MRyeM73+
qoLUSwzfwo7ZedOV5igqVj1i9uioe5mvugYfnNrEdzgFOYQm90atnMwoFJB3nYxNk+cHNJQ+8nzj
ytW8mAZuqUuFjnsPLB7mF5wVXnyLQzynhX4DgN6iV+RDHotWoPpemGZOHLWHWo4firDad7pq8rpv
jVG+EPraKsfCbvThDmjOtZ/Le70TakaG4Eqb1m8/QL2cRk6R9VCFH1BQQJNQezoKC9/2F7NmRct4
123KFfD+SFsW62LBgYctRBCC4iArsr8Wt8G1w/KhAUCGKf3t3qUAdKBdhWgCU4vcp8i2Hvyjj6R6
aicLCdMUc6QWQQWrrSa3RvgduN1dgWSdZNqMyI44vt9PSUm8/BAqClcw2aNOUgn+Z/WyDFE9m813
jLJ4qC2eCSIivvyGrO8o8yKmwdBgMWsSyKqQLt8+kVHmQE4g7Sg5d4xlkXO8JYqKY5QBT/LE/w4r
CnO/BIU8MnMpXqYewnskMXMGduAKDv7XPn7joS/WVnJJLkTVjH3ciitMaNq1G9lR1p1XoNgMpka7
OO8QqT7kJx6wv7/o3/otnopvQl+TkXjD1qKveg1wt8uZLkjerccKT2KCANRWqovMq1XbHQtSQB7c
f+61gZFYAMpjNgG11yI/+0LY8+ROtRvJnZcZBGtOjnLTc7zilh2GITHxftfCcQx5/K9QKm6Er9V5
WSv6nVKmK1XU91VubGMNVfYKYVQQL0ThoHCiIyWYSVxA4SS4gn5yC81g6dq1EO7yU6i97/iWmxtM
SD6vVbC6oLt+kzsT0r0Mlb5+e35WTEWKUyXxnR98H3EJClh+NM8aEJbgcnluEaIypF3dX0GVRR1Z
AIxVot4fsZSCprIaycOyJ6Vz1HbJXSWPAbB5ZNAlhsBru6jxgipApIr2H2p5+InCBR12UQFONwc/
EClaxovcYz5miT7S+nopifIBHCBOrS/XBRqBZlK1TlDa6QleH+aVsajronQw54mSjNnhVK4qGAyu
CaSWvG6Ak8jRBtGielljKtEHQxJRsj8X9SOJykqBMk/zAxWSFGQDUYyPUCf2gdOY3Ht+nd4zpLHW
RbkvBVRrIQaQF+fwzL03eI9Hy8kNT3i6MUsc317h1sooDxU3ataXRkM0MY/MwXkzrGQT7kgp/faq
rgYHZBDv/z0t+s2dRryY9TxW1bqz2z2EzxwAEvPCwPBTcBBqXvQxg08U2IOPAPVXRK8LsuC/uuiX
nyHiqC9ciYGOYN7As4wkGFfzExlG8T6vGrsCNIPZmHb92v2smTJe4jSL0Rh1RNgwmfvzO/dCFPTr
9tayDlGlbjcXSm04ilgTKogb0jjqI/c8OjEIuP6lJOp25/LY6BwHSchvH3MU994BtzmLKKz8S0HU
3dYGpZ4DHYKQePvu/BkRyYDkw2FZEaZeUndbEye+VRpIEvbJw+CQSS2hpZnKcgDuhCTFWtO/8zfF
kwo0TvniiN9gGMZyGVeenm4aldJYasTAjO4LwGKjWTqtg0m5fwEMRl/fxS2k7ju4I+sqlCFoAGCi
ccC5HanAlQGKZKKMPdvgFHtv3BRdPkfNexxsCTxuxrJhvBSuNLD9+gy6z7ANCr+ZWlwMMAPVgAyE
1qdsZstqWaMCztjbaxGUJoroCxVEQ9ZkSpXQCDuqmY8lA0S8i06Z2dd2u3kjtUrxfSrMZlOdW4t1
J4kd+cOwXkil1CrVe2nWU6ywQjOBRqql7ifweCCCIFrMWOJV/3QhjPIYZQAenRA8YecmhupkuiU3
j365K5OXmbsf2sEO+QeRX/cBgIXxsOUrRoB+3QJdfAClVsaclMFQYLUzsKApPDHBk5BAjRmaMk6T
Dp3Ssha0ljgsNJRDdRoALuVX2UHdt3XS3fiCiSgonDH2lxzWjcNUyPW9cBpJystN0n6r0AyIE/B8
Gs7UeBpeQysA3kLTLV5xskPqsC7KVQ/ys7EK5a6SSI25NsTG9nb6QSCq74PdLX0WT8b1C3khh/JU
US+NulJ/xwHEgWRWuQbzP7Bhpcca785SFoVyVzyHAHGeKvKcmlEyJ9hYNEYALfcv76BCeatR6Llx
yrB5GoC+6TMAvOYpN2en3oG3lKEi5KNvqQhlZaQsVcWUGNbexRN1M25ehE0GRB0eh5ndnBP7gyGQ
dREoA6M1klGqIQSWoLEgvUqNxe1B6gzn0QMMFUfg4IxslTUugWHXFMrUpDEf5G2F+L510cAwAQub
WQ1mnZD5wJHLWCNL+ymz0g1ynwwZhPV2gw5gspvoSrWAJWMIun56BojNeA3DKFRKU6qwVJqxhUp2
ToXhc6jnYw4FhshFS+GrOvOA2jAEXnX44o9A6vSaeNJVji9JZDi70wMiYRNIVv9JcL4Ykq7v4Y8k
6sAqIzf6WIEkHl4W3QGk+ygDGowVSF03IRL6rXRewWyT79aICyMpC7jXNfpdCUfoK3p3iWLY8K+y
K0IcC4tytZiuXYijLJbaZ11T8TGJEFGj3s/Aaz/ydu8le6bPIb/qj7t9IYoyWHXCV0UUReSw0nOO
fFeymIEVUE35qYFyMN/QV+/YhTxKG4NcmIV0TshOCqBSQeuD9Tla8hN5oTCP7aomXggjdubi2NpO
bZIuxuIIYQsZQTmbnyT4i0HBz1BF8qvofUQ29jsMg5p8IzIuRE1p0VXDlObnh+BUL/kHBZ0iAEOO
8KC9o1VWc5aBcGVtJzESt6RSzjs0uFboxAZSRRDsYPCIh4Nb1KzFXVOSy8VRnnoaooQbBiNHosrL
N3iHobmhdrjtjPp5zXxOX71tuoDCBQheVDSO0+ov4mdVG+bQSd4S7AozizCeA3ebRF1/VZ+/lEbd
AEw07tJSyfKz/Fl5JbAyQMl0+9rLzPUInOzxtqJ8K8IfR3axOOoCzEqTDUKg5QiewwNqgWYIWlQU
6ksoDKZUi8vqXQXHYIdHLkLMBYsJ4kqfLMhzLuRTd4LThzwuUAZGvse44/Y8GPZR3UWcAj+nmt2S
FeVdcz+X8ihv0Ip6FMAzYXuPyjtBgSSgVZa2Gfg1eDtDGwTz1l8zMZcSKa8gV5jG05EVkpYsyUXb
DfGt+xFtBgPaLG6f51VbfSmN8uNRVgxZ0WB9ndXbpDgE9BzgmL0jI9/DkHXN313IooGh4SAm7cR9
r6xfTmi1QqYzP9UWQ0evRrGXciizMolTF04D5MieYWLqQ4SgCzjgD8ZyyK+5cRUkyqx0Q6+C/gJb
px4rWMvCehxczftfGHlYG0dbFH3IZq3Bglo7PNTLN6BJVw0Q9SxlZ62IsiUVhs4XwMHlZ1DRweYj
zupN9C3V7FlQrBVRZmTKs3CqeqyoRueHuhIwgBVeVDT/7RlR5kJo+ULPuyLHOwOQ0PMAyPrhWXBE
oNxY2n313iLGwrR6WcbURUodWhEQQq0W8rP/MqxIT+Ro8vvwQQfs/3+oAxG784fyXUijVKLQmj4K
RwXKt+2AFqsswew3PjoBz6OJzF//2qMDjOmwr1+tC7GUhmBicS8A1UDM74S2QdIo9ijCDv5VFK5f
CKIUBGjmSOJ4iTjRerMnT6fAI51ioHlg1PGuu7QLUZSORGEohZkgkq1sMVGVt1DPg8Zz6M7pnNzN
vGBbLtQ7/04ChSwrBPq2ErcOknIwqpBGeV/gJmB67Nk/krxF6pbAfjo9ct++KYLbYoNOFqCX3RjG
ch0vOfSCjuh/BAzRk9cJ+kT+xrJd7Ajlgvq857g+hipPVr8BltM8jFZ4ggllRi+sS0O5Hy3vxTb2
ccyK+VJ52olU9giTvIKqFAsMdz12+FkWHeTOTar1rQFhtc3dcYvRJQ3An827dORdUtFg7CLjitIs
BqPeGWWufatwgol+IGex2gWajc1d6H2hfIneKMyG+ZdCKStUDZE4dAkuaIjHUAb1LTyMEVyk62lf
O6R3Uz9pS7W2HhhyycW/ocZ00At2qlnofJmo8YieDvLEnA6ls/siHebsYub377sljzJERWgEahnh
2tgPREkFt3N0jysQoGUg7Vf32tZT7wBVtgN0SmIU3v9goljnS9kN5LTzSQthNxRkr40a89urGXFA
6maI9wEO3AizNUdWiiatf63KlNWY5qqcygq6FS91sDuRV+/nCNBMs2zBs/RXpbkLa/zdm3DxPJQ7
vYmqFuImK0LZE2Rc31Gp4YkAZYKil5nWvRqJXFxVyi7EyGOkEnGmlRPBtyF13ZvKNn+IT+iMvq26
LAtMh6V9izlvdYNzbO34ID+Uzy1aEQG2ts7Frl+G7yQ5abwFzju6+j190UbWtJTX+apAhBx7gc3h
fccu/xLtuaHgdO9SUGqawRfYcvnYILnsbzCNQj1XtjOsP6bVR+IytoHl2r+36eKMJ0VvykBARBHs
CAPRyV+g4dIiVCu39/tqWe9Cmb6h8BeCMPC1BWU8TAXexyvj6SX+OANdB4iFm51AWYeMMzovvBTk
N2gXdTtkBJjRxdXw80e9JMp6TNLMl8LwfXVboL8iE4mHGfXDiGWOGf5NosKYecyiZlRxirW9JZ1I
4NhFmu+e7CqT5pK1KMoecVGoKTo6Z5CSnfGKww09gMP6iTdZtp7ElrdUkzI+aRdW4jDgcipm2IPD
SXgio/WMbYN+LKDMmMaAtTAqHCmyDPy1IeQN4NR8IY0YgLAfYuZjgXVYlNExVD2Ouh4b+KB7/mq2
CbXIO/pKPmLn4/YdkMgn39hCmSz54g6E6awUkQEFLO3OwWlNrwQ71yCc1pzGxowMNzXR9+Bv+H22
lDDGu/d4xHsFeleTneotWgT33SO4G5Tt8xfj467nBH5uBw1sC3WQyoUd9rvDe0IDN0JmCV6FGNwJ
HWasSa7arZ2gAhY5HsMkC78Dh3ppmKMLKj0U7ux+hUjQbreBe3vr/2F1uiaDiAyT4njq5VQWmiIh
D4FHrpjiESOgwj5a0srAxDyWSb2uUD+iyNovTjnuglQB7JoERfoKbCG+/Z4g6guRxtFZ1Z/rl+RH
FmVpJL+aUnnEoaH6+p8wqHQmdwS+i2k9ya/688h+RFGGRutjQ4o7xJjSHYoywLSSlSk7/kPwZgv9
5R0wxIxDY62OMjm6agCMbQzER8/2CxoewCJCUrcs5ySQb7+1NsrWAGuvRU0AL9g5ow0WaTLz/OBv
fHe27iO3eoxADfRXBRNd/NlQyvCUkW40BmbNnv377ZmQBsxe6wCOXTiMbbx+2f4r6DsGuFDIpkx7
DT1XREnkY7shN1u2HyeX0AyCiIAhjaEn3zfxQtqYRI0IrvP8zK351Raj7Uk51OwXPHhXwV5NAMEG
g5XzH6KYnxVS5kSaUVDr5J5EqoSVJwXXzusXt/5gLO26/f4RQxmRDj2BulpjaQ0scpmCJuvcLtBX
oNrjIrKSJRndex+42pI1MP4fHrE/kimb4vt6amQ6FogG8+KlsBT4ixFtW5NZoRuP2a16+zoIlFUx
8lyd28ood36NXtRqm2PWth2F72LYWGV9XwgFIzpkmefvC3qhNE0oNpgZgvUNTgtGDYx+sg+TTbDU
fxfG/OwkZVOCQZTLqYYjAJhz0UI3SdLuVDpZiJI5Gx9DLvENy/I9GOFiYeg2iZDC/Y45SyRvgKtK
zXxXs/aPaN4tMZQtkXU5becKmtl3GFnxwlkxgKPDQTiq5p22EU+Mi8CwKHROpRLQi9MR0zXuhX30
qiLBCqphR9luEA0S5AjT+zBcAZ1W6fV+jAYBEglgWnCR9zQlj3dBGMVyOtcfof9VEJGyJXKi1LGk
zvlZ3xKUQ2HVmJujIx/3P5TxWKuiDIova6HiF9+rQviTePJ3AW3yGMnO7wt7Qz2+H2cXWhj4fSAD
WJwDU5lvSJyAlwLkbWUQNaOXDyT/gcuxQi6GToqUFeGksNJKARuJpJQrgBpIRuYYZKIOd+QxeEJn
ubkrmymrMpiZBcwwAGiYktfEUgdKc/U/3U6NtUSjFuZv88xpX9eM1S9BVCRktIMgcERQhCdDiIJ5
ZHFbaUXmfDGDhCvB5C9ZlLkayznhQZlBFqV7wRpdwxyCINENrBgx1///tf4ljAqDJqU1tJAIU6H6
qiVjaG+7fm8d3vXxNi8xw5khkBwJpZe/BFJmq067qKpECCSkaMICuWAMiCSUfo/lq4QKVALmcJbM
K/f7QiYGUeGbLu6CKAdj142QCcKDJcbIgb/JX3QIhZg264qVlFVFVXVJQpeiTidz9C71I5lT0Dew
rMHyZ2MEy30MkkMVsHrhIflgv9GvXoELiZTtSlpt0JIeEhOz3ORLkg14j3cKE1x3VSsv5FB2a4pK
TlGJHNmbvkj5JDIPtWMcwxPYKhk6wloTFfrUoj60aYPzenrDnOEE9IX+jhXwXL/SFwuibAe6ivNQ
VbGgFmjBYEHgX2Q6z4js0AdjPSytoKzHFMxGkJdYD3Lk27zHYCZMDgbNATjANC9cDCG7JnHFEsuq
ilk84P9HZ45GqUVW+e3AYYYB8EuT0+4Ti0yJzpYgqXTIpWaCGa4e2YU8Sj3KWgoM/AH4syO5ko0q
b7eJEVw9MLaSJYdSDaGo8pEn65pIFAezceBhGNGxclsOoOlX7BR4YgDs0XUR3dnUmRWIPOpB+05e
+ttkVy6nVbYrJtEqHHGFfNhWIoy4IHrtUKpMt+DvVdBINmPELQaR5y6HkqKE539kh+vWq+9BF4ji
QOKS1khQk23BxXvsHACU7sD/sVinIBcWMTU8tlo73Uio/HUOGp2cwK5dFcSzIyxJjDEzL2sV3bpT
CscKGsH9S7xPbW4DlqTMiRapDZehAEQ2wvMSXlz5AKKWJU/+NV7Sa90uFyMQZjGmJkmuYfIe7+k1
xpdh/gleUdBJMO1jVjua/IptZUpm9Cg8l+i11JH3JuPitKdSthQQp55mK/lITzqKalZxMkSUpSOP
B10mEK/ALEebeTWuWmwJjNJa2uUwtuFCWPmCGW30u8rGOOBD/xgcK4zdMFuQNO0b1RIWRoQSJIix
NxH4V5pl5XYf+amwk316nLezk6HUhH/xWj9omG/RbLSjtELnCzgET5KTHznV4m0O88TcALMiH4IP
xeJGzN4Cl+/DtClA7vE3oH+MOQYsCE0N6A01KG3Ui5KrAIcnABRQLQLcCcaFNRiMJlsE6ySziHpF
+X+Jo0xWzRkzHwZtft5WqwQEqp/PqdPe/4X1/SWF0nwhr6KyUSKkYNwWiGYQV8N9lahPM2uYV+7Y
L0lUpJMONZjY24DEqKM7Ez4vtPSpy8p+7vbkLty+09dSBr/EUbGOHwE7yBk4LTBFC+Yn+LwIWugv
LNQvKVSAI8JTinFTfWNr5mWJluyN6tar0GGs5vbm/RHUxGWvTLUW4/3ngtoAnRgyqM8+GzvekVwg
6zlxJYS6WBXmhf0Oofywz2U9Twh8TPVeBo8ghlRzslN2zYa1MMp1+VGjBZGCY0I/5DK3YW44p/oe
L5OB4PFvPNevlZHPuQgOU6PGfAJQQZxBN2KCpj0iJSIQarMAINcCjl+CKGNRVZOmyCoEEYKlbDHd
C+BAKK12Gz2VLFVnHRdlKTR5mOOkghL2aCcDsT0mrZrgzvlfniu3jdKfEzR5eZhCDcvqnOz0hiag
weY3gK8w1P1KIg67B0ikIsu6gZbt38ektEXTGwlZEVwjIfuWl589qPC4U4+47bXE3E4wpAbsVOp1
dfyvYJqBrOeEoshVGF1Q1j+UywxuvycU+1qNVET0N9XZy3Xq1EUr/JT3JR7r1AjEwD6BZ8i7N2xp
ydjP6xrysyzqlglCLxhTg2NrEM9sX/4DpjdQfDoyBBFVox58vxZE3S8edCxCmnf5mfe0ffHaI/gg
HVtenKKpswW/9oRgiiGTtTjqqslahwpfDJkt2mNmwGOgIrw7O7HDWh35TbdWR120ElZR16WSXGqy
Lm6nLkkJgaRpPzAZ0KweGUu7ft1+zo3yzkPMKUFJoJvoZ3aAlzsR04gMNEMM47rplGvm51ZSIgFa
Hy8HEOzXm+IrR5/mg4BSqRrZTQDq6WbJAcyPqIrFC3kNWf9LZyhPrWSdngUSzm/c+y/tE7nwCea5
mQka1Zz7L8ZaWRpKmZZADAQ/IFHcAN+GAQsuWBYtaRGCV187hjtCp8J0BoxjNMjPL7xOKAdzmijY
X0TzWF0MonnCQ18yMdLkoG4oqEGuyoUgMGwK+aRiKwdLXvm6NWX2HkAIgnt5xchrV/vqNpyXO8xU
COMOGpSBmYUgEtQJN6O2DQzv2IMdGKSK8AzMMJJxfgZlYbTIqLKsQqqzWXXOG8Yh3KWE1hPkT562
ui/Z+ELy6bf2lDIv8RypM8Z4keqaaCVr/h6lC9XkVuqacCsxtJNhYegcZy7OiWE0WN3o9pstChfS
lmRUd6QmCu4ZkyGOdWyUfTGiyO9aCfYlMV+kdYyn2uY+2Qc2a1msPaQMTIdRb0LV49LhLYrIv0H6
JfJG6zW745YP/3JNlDmJB3Xk6hmXjQx/x0PazkAJXKDRPUJfx7+URRkTrVaDvg6xf+iZAYdBtuIg
K8OMD4zjPDBk3TYiKp3XTOVcUGsVejihAQlc0Hjpfg/JY7E4/kPo+v+cDtI8v41IUSadwHUIFsqN
CIplMp2idIQVb98xjuq7qPPPV0vlKauR9eCcKCWoBbHB6V34ntoTrlfgkZl1GEBRrshIADDOPzbg
JV0zXwO31VKlQSNaqcx1Tfw5nr7IapCsmeJ0GHjgaEvWXLZ/eJD+bCu5+he2eSgrrpt5bCvqTu4b
UjSYS+fvUZFkPQeurkoH3yrpVAMpG3WpRb2dQE2oAfA0oPT5IiDHQ3h6wDoLlANDKcnv+uMEL2RR
FzuWFMmoM51c7MHR0SAhWt9N8/K78BWaX8gq2V8MkazlUfc7Ceox4Dg04oXf1CtnH5RHjU2KkhG7
bYscyq31URe80Oe4Is0m56d6WW9Eq8IQoffaafDKV5HBY5WDviGKN+TRqNWwnPPM6LC4aVVhMDcg
7fvhS5GQr8NEJ8xZLzDSx8EYjh1hI3MytzbfDSe8C130In4NYEfiTW4jLvAyWjC2/aqr0BWcNaaU
y1Dj3+orgYVRaEe0rWpIMEqL+fHxGZSmbrj6S/39kURbBSUaMKwcXavCXYoSB6mI+QsyKIS0KniM
ZV2NmC6WRYUTc+iXIzfhgAdLP3J7HWx3PEI0DAUyEOCjkMmzss3X490LkZQhwEOsBmQAjasEZNXg
wV5YBuAeJVqKEgyTZSyQdW7UmwV1HAmtA3l+BlB1+YZYCd4pX4lrli2/6p4uVkVZnVAb4rrv0ZOF
wXCk22YBHUGC5QAtQY+s+SyvBxAOD6aIKR2MJV63CD8KQxmhShsjhdehMAny3TICJdhyDjEvksGz
U7l/g1xVhIulUhaoC/kpFf+f28I0EBlnRxKmLNgaMS5/GoOfdVHGx2jGUo18rKtZidaZ5Jp3GClm
MnaPcXAq+fmFXxr5NB4NDgf3n7bmynp/HZEZYJm2b8q7G6tRKQNSt3io9zHyv6NbbsjYuRScju+T
K7vxIsaksL/KAKPUowIroIuqwtNqkY0RuGsQXTxFTozM7DuhzCDjHBkbeM2EiKA9hQQVkEWFOiZB
CsvSH4sMmo95JHu8mQne/ZCaz/dfxyNrWddqVcqFuD/Pa0pqQ4C4NRmA+CaAH29PON0SaDxkOnCE
ovn1lVoyC4x6zZSIKiCNKsgm0BJJnaBR9ZXkd2mGPCNnIokk22CHNnlo/t9AGrHIH1GUD+hrXq8j
KcsQmQ1Ofd6DcMjDjgYfpKYJLCrrDMnvo5VTJAO/cYDgJFEpeUKp+5MQQR4eDZvZFvBoMNDtEx1I
uZF1hFdDwUtplNPhtX4uywYb2SHbgi5Zgj8igpiu9Fr4cimIcjXhOMfTUEZENRtM/cO40H6REs5G
NG/F3gfDB1xDMSqX4ihfo0Sz3xgZOTXUD32APVLsowx5ioXZFGxOhqs37+LUKJ8zZbkG1lTs49NT
vwFJwtuSzKLbSU5sro6MAEgmh0KrCPJ7gm7wKmpHMmX157wLpSEIU6hkvSnPEoBwS5RHXYJ+QvtU
euD2/4ey79qtHAe2/SIBipT0SsWdo+OLYLttBSpn6evPki9wj7e2j4Xp7kFjBt1DiSKLxaoVphfW
94oFYXs0RjHfm/BTPEJRPEfvFV+43fVOsxKwomDspR4bz9SP3Co/wSjvBaYbiwit3w4QQiRZBCxA
UhEIb0M7aZt2bH0Rj4yQSwaavUXHBCicKaGCeUhl90Z25WIo/KBdel68SP62+n4MP0cR8nKZdoku
xIj49arYS6a0mUh0gtOZI/yw4x7t9L9j8W8sJMJraOFo2MsExdjbN45V5iVjL7BrPgCNnwUnpsSH
vOlpp6nHWoIbYSY4DTvV0otC3FHbSuJrydZ5lJujfwg80RrTp1zlDb6AQ54iUCEQjIKvLH1ol9KW
X6bn5llnm1NVgqaFYiWDNzVDsWyNK9QZsu1QxtQO+df/M8tcmJ5fFgThdSIpBDomkFafTU8T9bEc
dB279hlPK060oX9vyBxQnk0PI0kJ7XcVBLgeMhhVuBVUzVR9zEP7FYgwUpealYYlnue2FumWTsAW
FwJDLuHunr0lggpfhV3L3kPyrIvo0MS6kYenv9/gNyeRmzeYTVocqxlXiT1D8tza/h7igqa2hief
rVqN3djoMww2fCDhbvH3wN83r5vtr04iS7hN69A2hBjAbPvzI1/EBO4R11xhK8jFG1kKyuAQOXGN
K0Ok0sxLzZzrLpLyKYePYmrLldPohyY5ZVJg6CNIQLASYCp8AKDBqrQarVqfpmJA+5K3cRZSKX4H
eo0mHbECubDicFj//RLC91P+9RaziAD7AF0uJa4+VlmZvmcMEI9QUBKLNV5uK365FuXYCcZ+pwlD
Y/CB+hBH2dvQeCWV8vziV/yqLtJHWagdsG3MWOBAIZLhW6EmuzRLY0PsM5tUjWgoQrFNUraL5GCf
Ct2uEYea6nkP/wiNSQYLklfGS9csKV7rQoavl5cZvF8fawVOCn7aAW2v42IUAP4i9Mpl+t8UZFzJ
VagYSH9qKrMhNzjYcwTi2NI2jyQTthy2ygFU2HQ6oDIs7c5wZOEBiE2z2I4JMyON26tKt9KT4h0u
QJ1Z5zJOxojfjWWB/C33gTXpy84u6rJecz0rzVxWMovw8ZfChkvExGMf5seyLQ96nGwEXYio34a9
6RcKMSoJaJS0A96Ra5hZhMFbwfECJYoEt/cu3XdKCgKmnJ87L4WvMKn3fdttuVzE9Ko1ZJVVrzJZ
jhnwxlEzvFyr1z6rALnRmcFK8HTZsBtQs7X5VhUMtVcFq8/b0U4EWaeDWPGG36i9kQyqZER6dSkS
NaEpX/RULGtgB9T+3Wea2FMmNP6WJYQz4nGUt2QEXS1AcmRWxeDZHK8plBCf34KrWhtx10GiFU5b
MKRqXE0Mile+bJ+irP4XMhbvWokBwdQkpSHHue52jfCPU33diMuBX+Vq9NjqHQw5E0Vx0hJo5LJM
1iWohlTIY/Xqsz4F+3iAwpGn6pgI1TObIQKOsg9y5+8dcH+KT9AdHke4IkuKAE+i2wMCYnRxNyRc
dy2AKeMtfj18yeomYm/DPhCNPl2NEMppjmVks87KPnES+AVNFIM0MNksA6OVrv4KPTH1FLuJzXWG
EriwQ+GYM2Ru26+bJ2YTHtVfGOUlMJUTjKhBA20hGkFGfJ6NTO8BDW5ekHkN4m+zVCsNsrDE6dJd
x+ghLldx3dFWdbtsDyg2uPJPgjsM63g864KhAC9CGXRLIspzlJeoyFEF/9kzWp62nCF2Ky3eJCMi
2ak8CG7JmdWuc451bYCnYV+9lX+KJKsWDAG+qOhy4nJfPSSwedUgnyE+1wz3eyhKP0wGzKLN/yv3
0akVbf2orzLPFAoKLnVqbQ2c+wzAMe0g4o8NGJtRKXOGbVBR2OeGFf46MiR0cd2H1soEszsosglR
l/LhMbT3Eq3IK+x+jX5H7B4u22CsUIaKLcIT2MXFqt+n69RJC5r6LruQ97gxNZt77Mx+F2WGxCg8
V5CEFYfn6DMDwaAzkpfAwv5Vzfj572V2X+PB5yGCBNqVJvGyMGdDjyEUYsvS84AzgfcUWO7u6HYv
cB+J3ezAvSzlPdJdJjyNJ2vIeZD1qNq3Y9SPS7ygDJJWCUp37fnsAOVUU2gEim1/JHLuglh0VFOy
kbpXNQZssf6UovGgVwXMSjoaKMwIu/qQ+D4+inyASQqWrWRmMdzodeUiDfImyDNLlnFxTwpLLMO9
J171bl1KqF5JOPkGAesiNrRudAsFYTgW3dH771I8yGBVcDtVfSptI6m93bpQZh18v6iTK/HKFalw
0gswYYpgEelLBollJ8BKL8WXpoC/jC5sNX8p+7h3a5ySaEnkRYKfkCybPQLn90Oqpqw/kLgxOHGr
MnaEkNgq1UpXq3V3DIsTxIlOage9+kBe6wVs8+SQauSYhm9+L5r++N6XopXwjt4lRpdptBA5o48A
r0ImwNrEDlWPRjqsoTlm/b0q77K/6emRkCM/5vnJEfF2AoVO7qQEFM+DVsbngFdMDxh1gbPqWn+S
tOFc9QAn5x53+XvY72vGbdIxjasDWTsFKlGbxSqJA11eFVCCbIA+OSRgHYSWb+nG0XrLndB8KKHk
8bZYQpi+xd2omsrz37pygjxtmR9bgtR1HJUe6lrKhQeGt0CRFc5AxmC/WOulY+W3V4T5jaKKAlYH
6Cmzm6jXMc8P+4q7MtjweHJnc95u5D+bpHOq0qNBbKQ5dFSj11DvqR+Wds07xG8sElY4UnKKhobJ
IdSJS0/2yzcHsU4VkTSLGj77bO67QqhbpcYVWRcJ9TIO6ricEbTBvuGPo6RZY50YwEUbC5/8u2Ay
m31JxJQgKikCsubZTgmUzsulEJ3RKK+RpBNSUTnTT7pXmgXXPjdNtkmF1KdqWz2PCg9Ptsk+LIP7
VNpzqpGEbUDLmjtEhSabUaI4ut6uBL5zNALAsuptSl/ela34qEX5VvV4UwpllxOlXR3F+6FPdSPM
G93g6uKgw1AzyXirriQJiV8T0jIUrgGDJiZBkwF8bpzU+pOotGbXhA8llisVimTPqdKzAmYm5Uo+
N0mR4wIv8We+1XRbVvxD4sWAPcdPQVMCcNS2PQU7YycnHHDOwblXcB9qQrcKyEqoSqMI2pXUCVu+
qlZtxKX4EK1Ek1FDBGjHZwanM1oPPooGQPMf1bL/KtJuNWToORUZ1eu8NeVGGi0uaHM7LrW1V6mn
Wq3gissPX6E3rnwiW40gpDbeYCs02YfcdY+c3odU5NsPuJT5dJgsr3rxWAQI/KkKp1K5rK593DyF
aWeJIUlorUGHLgVyO/UkY2gyN+TadVQxO/c5z9DS8gATtAscsh67KjmU6EHClCy7VDy/UiXP1UvF
7Sv4jXqkB2xUTR8buXiuouLImA2/LEODt6XvQxtBArxO8ZBzF95R7gSYQErIYXORf/B97aXnwydJ
wWLRmR37wYYo8PsRJYNLio0QZrZaDBYb4xghk73XQr8Ou76iWjKAxxeSgJIqWTWq8FkKMVDGrYZG
spqVl1QteeQjU/KcJskG599+1HgrHlEhGJABEf0V4MO9p0erv3eEPEWAvzbELPhihSWSXPXetXze
NNbuNdxAdfL8GhgrNLypTYxrYSS7yeLZCY0toV1G96hjuQMwt7m5MS571dlH1MCcr90lwOU3oHL+
dBJoTLykaCq+2ZRu/giWg97EdaNxHlooKBVaqG2ZtrB9z5wr8+khta8BytrxJKpAFRQprhU9FM7Z
31GnNehLsdrv37qLYVmOtAcCGs4CW2hcbOl6vcbjCy+nr8E9acaj+PrPs05frvvWrNbu6R+xxn9/
z/N9eVwlEk53EcBReI3i1+2b5K2vdzAglGGZnVH7FeYxnrlyZJNaL28iNS6p4T4u9fbvy06zQWe3
CqWWKk8RhmnQnX29XtlDS8+hQbcvOTUe3C/UVraPi8C5u87N96jgQxJNkGEyNPtoTaYT1QP+/Fra
nOufFRdMii8V4nFLBev/4/3+d6TZ4lVKdMPysMP77crtTjBXkbmCT8fR2nqH/dsFBgCnR7ZE/yG/
bRlN0nRdUEFqwjFy+ynDutOFsRk6wBKJ48E4BgK/G4F6a2ginrgLNNhRby0APPAfkdUC+1ztOJqv
KjANs53kvrcmEGKZo5lkKx5QFkqhzvMl2sWKB3zYN3TwSiKrW5X7zpYPKZyUcYpYyRW3ts3DhM6D
TyoYMQvr866Jgo/286VmH61gqcwNadxDHdmAp9lD60JbAC5HEIyBIW64nSDAAuTFUkc7JzXlz3+P
/52JzHf6z/HnB7NWaHk2kAgaNRPqZYSK/bl++oDzQLkrndD2LM+KliC6v63Un4PO1k8YJxDA1aTo
mm4blHpMYa8dBCugxUVeer9fh5LRx5EIfHjFedqXD9EIO0xsihjCmRyEd1AWNGHx9d9dFaYP+WOg
2Z6HKkvpxy0Gqs0JIu7ZuQUD5WqzlMjeX+1ux5mV7JI4RTdQxzj+m7wWNqIAq+qlVfHrBv/xMnOX
j1QpmzSR2mmD715lw15dg8v5CC0DyzLWF0AC7X/uUuP0l1CtwRtHnJoqPMzZv+FhPw4dD3UiVR11
EdiLzc5eJQZztNW5pg5Cpqubrmf8W4pk9wAbjAMHOLRp0RMRxXmzlkPtM+o5WbhuwPN73TFXMN9B
pfPpmZLr8alfP1nWC2++1YbBzBOcKl33tOkPf2/Cb2r87Sa8eQoy67nD6DyOwnYU8Obm82tG3w/2
9TxRbHsQ6K29YV0w6uKKvY+nt6PO4unI6XEHkdtJGINzo622Lnaly4wc3SDhBOcFmIWWCAP23y8r
3V9BboedRTy+acq+KMP+mtHirVwVPg0+ErfXqPamrSHu2CVmfbz6Tv1FriO+R32VzCtK5OSTWd5K
naCHWxFYq/igQqZboBKOgX3kyu8xeHh/P+t9Z/Z2ecyvLWnQAOubkeDK9qhLUvmCKq0d7Qp3EU81
hYe/lsAsJHZa2SAdw0J8fEYyCByQTT+sLVQXDdddotNMM/zXWLNLYCHyvse87w+voSvrr71/iqWs
BYt3g91S1/EbXzgfTUOZBNc+AVWSb7GKH9s6arOCBB4vXIFzhDPqgaPvDbb3GQ7zznG/XrcOsdcB
Rfr398f77ifOBpbgLq/JMF2cfpvtqp7BJrlkGWqiTWQqJDPGFDrNPO57EuBxoC9k3DoVISAEP1MU
uWqiGixpjbH9Sqv3rCZ24P2LSuEceUAakJH+/XjfJOK7x5NQNeJhnQhEyuzAkJKAr0Zfh141eL8J
Ne2Krq5OAFl2egab1l8jr3bOIGA6dGsh1b/ku9zpIFsg+vTfUgj6ZVNOTeH//zCzU8Xz/CCPIsG/
tgx4N3FVayHVUfeW9BV8PgweDW5dXP09A79USTQJOmwaxKh0fJ/vKuaPlSFHZYReDRuvG+TmYGUe
gGlEbdSilnFx44fT48J4d+t+8t6EByeo3YooS3NUR4gOjYJbj3rJn/kv1YZJvGpxFTqEMS4yFjOD
pSPtPrvCiChO4hMjHdcUcRbrMrWRRzjYk0v6wV1ykXpfgeJgSDhMo/aEO13/xf6hL1ABLL50tt3D
LyZgjgB7U0BYFB089lm+XHW4QleBcvEhTBy6qVluojfd6a2X3NnwC2ig+22uEYwk6wSMaNwM5uoX
LJeGViSefOkP+Jq8MVkhCVjRkHDQjY9x/9QbMWgZHgBCAaiIE1mvWuhn3u/42TPMppsxtPSHRJcv
4o5fw8G8xqE2rojhHY9oCXCvg41qj2wLVrnrNkv2Kvfw9dnos1Q6HhvJU0vMgEpVIA9fAYkSNsCO
Okc4IFDI6JoPF9x6Fw+p6Wi4CSSzcWdHR4L8PSmQxFw6I1qlx2KHFpWHj13BPbB9ACL3adE/8O7W
MhtydoLkEtf1foqlVUI5XN1429ryDjowRNVmyf35PkrMxprSmB9RoqrZICuRKl/KZ8/RHrN1tZNf
+Jf8CZFyrTj9W7kGqPMhex9zurSi7pWUMDgoD5okYw+p2tzjNhvgCF9jd0NJHNWxHfkcIO0Kvpbu
ABfBA8JUXXJncef+9kV/jjorWtQ5mq5yJMkX+ZWc4hUjtAR1JbTCXWj06yA0oIZQLlzKvmPRfBn9
HHR+HuVjU/FMkS+bzoABl+++yriDZkYAYYfeeKmub29fA700dJF38dtq+jny7PDJqrEnMsEkV1Zt
hmdYi/vQiiAf0FF4X/yiC4PNc20tgGR7H2BuewEAqNAFZcxVXmWsXtHsFjKt+3vU7fKZg1wZkbLU
CzGn4Ze283YgDRzVDTv1cIekEkp7tF6HW27XWt02dvsHdgkvyguS7oWD7+50nz3GLC7mZSsoIScg
QpR2oFic6kKIpntDjXgtnJVT/yWkjhW9MaCWS1rIRrpbDFJ3l43vRwCIU8cPNO5myVhatIKnRngE
MTdgACqW73K0iuRtFFANiAjJ4GvKGqceLMLsbtiHOdXUhXn4/XOIiobylIwehD4LJbIyxHHENfJF
ePb3it1ei3NmaFdx1XzEj+mXeIQ3AZg4kNCH7Y/Nu94+ESxdovUiZvzXVfjjSWY7PElGuSi6Xr48
s7cipuE5sOOn9JF8tG/s6e+vL//69X+MNdvYfJX5DSzNpmgSbyvN8CHUQqjGKCtpFBtKaOquBMyf
D5iFoUJNpQQ4xQx9qu97gJc/vQh9eRPNfuEUPOIzqRFVXsSNYA1b8aPojPCBoN64Cx0pNvEtk8aJ
oaFQuvXoNiLcmtrzUgHp91gFC1tl0kfHzWJ25AVwpS+6IJUv7FEukajCREl4zuEuEwN46a2Yg8WU
0bGkIMhIX+Vre2oRQ9extcQ2/+6k30ZNHbnklPEIQEAj27s9neoeHZsoZ90lCM6eX2z5UDdE4CfC
AMdhmtKqS6hEHoNqiGhbwY9dBzGglTY8XGELEttSwh4avn2J0AweJsBdTmyZPPKhsB9aZPviP+DG
eG4Td5LZBSMt/SXwyN3y0HlFIhJ0kqeyC3/XBhYbvRAqMb60Gc2AHIc22wfAXprLwYkqXdiC90kp
RpM1wFSm26BwR1ssM48UfhXEFx8WtQ75LJEOPgVPnELFbWgHn8p/v9rMRpy24o/8ISqKRudCP74A
0uid2qP2L46M5rkkBjn/vdN+m8mf7zYLszrfjiq0sOILdrQGhYNj1NihSMedfpRV+++xFidylm32
tawV0TRYAAeDCrxWdc+I2zzDp0cByiCiQm0sDHkXtGYzOdt1lSdVih/g20kfwiQ4o5xVoJQVSFFP
1fH9UuCats7N1poNN0sye9Hzgb7GGwofaU7bpxFe5NsUreFFzsvd4TQbaXYutJ7k+biLx5fOeu8e
YhFYJpn6V+CTrnkAXXa0a9+xeCRnYUKnKP/zDWHBCDETdbr8IoTAMvB2aWayBy9PjQGdFFuS9Fmv
1NbQzBok262SOMoJChkibJ8qi38u13Jjp93SJ52W5O0TgOMg8DgNRbBisP1vn6AoNR0ysmFwSR7D
rx73NhmYPpMvoKWZ7oGnQUOWf11469/HnCozAjTWJH4222Ej5gR4oOBSmrgnWd0r6w3AIGp2kR6q
TSLbSbO0WeYfGHOrCkD4oQikAOmizFauN/C+3CiCjzTe34St2W903erRBrg0Lv9e7rR99qQsur3f
7dFpWGjwwfacBxDkruBQxJHYc53knfkTD1TLh26nF++FX0kKhT+w96Qfx+N/n9xJkAzpNAA9KoSA
bz8oK7WqjEjvnVUYR22VD+8xe+giRHVHsNpXDHhZGHAeFL7f8ceAs11KArHka6HzzuFj+MiQTvuo
H8PVypY3ydJY02qcrdabl5utHL/yNZ8bMRY/GOlF2XRHeFBOZDvZXQo+6jz6TNsRWEpehLmmpmGX
3k6kWtR1EDZMPwfbdtugVhEeCpXyJ+XQPg8nca3a3EERaf5CHrN98QBXk9f8wD2zfXJir+mh3yan
rqDlsXHIC1J979gayjp/JIf+LB7H9bgLNpmtr6cNTwQ022Q33bOt4hTP2fYJJIDHbOVDEjXZSCtT
OapbfQtn0afkwEBb2xPXz6l/kM/yUjZwV0OZv/csJulSF0VNHutnyQ7Xrdtu2qf0UuzEF8/utprL
Dto+OOlH9SLvOLNZujBJ91/4ZtanI/bHYV0ANxJzQaKfc1jCoCs7GHlAr8Vnkp/bpyw1unynOw9A
Oe8mwoLpG1pCufCYdvjXp8Xm7C/rTZNRL9RRmySoGc6i49gioLQF1oCP9us6jWidrRPDkygZ18Vn
+pSq1A9MZaBkE9ocR/vObdS1BxvCxeP+PmiKEtRlVRWmg4RgZ99ODA+/asDoOXLOKBDYkE3sXjLQ
qJzWAey1iIwxMpdKet8FwtvthmMBEWwSV9Z1QChuxyxInvdFWChn3BWSt/aS7PxtsvWPHs0OS9Wz
uzKPJmIwQOYmmAZgc3M2YSCJAVCWvHxuP045jPmei8foo/tkn96/yvZQ2qqpD0HH0NKBi588g6RF
lNo8f5seQQbkRcIBoSKfn+VvedkzFjbfjwDLm34bb8cPcZ2pZhvaqKkFA20DA1eaeM1iI/kgLomM
8P3vePrtuzKf9J8PMe2QHzsgDXq9a0NBPisfjWZoMGeycF/2FZO89O8gIGmACQnPDWeloItZfGqE
n15HWWROaHTVLMFEEY0qM723GEXWyCKbClgq9K3gt7c6iU/1PhlNZnq59feD32Gc57M3Wy2yJ3HD
gFP4XGT/WsCoRQD6mdxRWf8X1x9wwqEqyqHlc5o5rVotpFJ3xVd0eAQFBzz+AaoUkODbaQsHBWg4
Jc7OXf4hPccv3ksuWErxBKrDQYgMVlnVs7oj1YE/6MKLGu9jdavVD8Jl1B4XJuL+RMSjgFJFdBnp
Bm46t4+ieUpfyD7Lzsq4L6+c+MAhodPf4ngNqJ4OuzqcA9zC+/+SakyDYqsqCFiSws9mv5ICP/Y4
Lz2HSb4qemgJCCUgltCAZU9D/NaGUKIOiREQEGESHdyj0Miyaim1uw+YiE4QHgabjOfREZoFTM9L
oKZFuPScDjDHEHNLDpgRFWAXZIJLvIdGPsfg0MT+58Kc34dHDAys7cSgA/phvnUVXszGQtHTcy0Z
fo5brL8Vkh3fUH1cJfmuFZ0CwM3kXfHOf498n8KD2KYSwNBxn0W6MEtJ8j5WeiGIU1B48m00fqrS
bqgHo/fBE+yXMO93QAGs8pvRZklJVQpthlWenjnJkDOn5495AagrwIoH6SVB8SO0BsXOX+KAJtoK
jDuSX32PygLV8Uyi4xUmKnwCw/X02i6WGac1dhO6kMsDDg9MN1QzBX2eZTeyEkZlMqKYleSXTB6c
IqlPXsdbRQz9xCRaN2AycVwBAuxAzKYoj0rGHtUKK5VL+uvfH+YOYQmmhYonkSXAO0CNmbuyAcxb
1J3f4WmyJKMxpzphA8wuimEvoDluMwXZRWgChQS3Q/8qDBWU0aLhn6oMqR2JMVUhOklLjkvMOJRt
Fu45vrETVTdTz4rBJ4u83BCSxzjUXR/xdQCfhinQPyYgs8rQUY53UfrcdI/BUF9zWT9lSDBooiNl
kFKr9kFL6wftpYiCbTBC4qjSjRTENb5gDkh3b39Pxt0qneZC5oG7x2UEX2m2SiWp5EuviMJzXkfn
IbOaGnTfJLBHNdi1ub5wFNydo2glg4kEXhXyFMTkWRQguG/WXluyM6qLIhC+VOxomVB5mzrj4qKb
7he3i+52sFm0bQMljcYIg+XaIXnr9jC6qAozxmeiChB9/S51Bmo27t8TeocMQef65h1nuUIpkrqU
GYYdOd/tyN4LGhuNOKrGsd21xU5lToFVILDU/HvkO5jU98gTlALWZmgtz/EUnOTVac5idm5txlll
sxY1Q69cXgc826zVVwneY2TVV4b38gSGURhajWQS9TNVrr5OBcXkwFhf7OHc733Mx4+nmq2wHu1A
wcsjzIdAlQbwzASl44Lq50GiuUJhuGAI4zp+WBK0uV/Zt+POIiKpZC/2hoydszg3s0Fdj/wV9dOW
gaSpCUtffektZ1kGzq7Y99WEnTWQDSD5HRjCJrAJPC5XPaGKUeAWt2wKcneqTmvtx9zOLkVeocQA
quEdyWtvD5/Ax6/Yttl6T+PL32vrPoe7HWl+frcFKla5hLWl9Yk1qoeQocna9V9j8jnkCcik66p8
KoVwBQoJmgL+wtr+LnjdbWZRkxGmoNCizE9TTxLgXNNz0bmVjLFeg0rVbklhpJIVmOwh8GB2Jzbr
aO/jTgKjMTCkFIcs7bD7XGqaBXBBkbxpINB97/0fKThQ1EmaRXp0DsbRlHBspk1ujMG+zMDE9nZe
EhhdZw3dBlIaG0jOHDp9YaFN62g2DzKaCQJaC8BD3lXJM+B0CO7h4VlM9/J47f3kNPDQW80joygF
gxvVhYv3/fVLQqgWAPYHVB7Y6nnSmjc1TqImlU4yKnIjLT55383rve4ZSWfk40fZHMPk3Nn5qy5s
PPnAwXJZy0xZeGDs+e9VeMdeRIRDfw6YMUWHHJU4v+tyvqR1Pl9rO6Xm1+BTgm6tGJ3wrxlkWjei
lTW+pUIRtiyVbVsNluZHZpt3Fm7Pbz0fmC16LUDqHvRc37RRSZtUc2UAmnIPBEXNd3upsiBkYIjx
YHmswv2JAEzefiR974TMN4SUo13KHtCosJucGU3ZUjU4/v2W33tp9o1x14VACkI4lLPnZ3KWIUYV
UBs7sdSSPtTCRccoXbGz/uQhkHj/RnmTd+Y+f8WUdyfVxIvr20Xc4S+xRcf3BkkN6hgTeuf2slIW
qig3hZfsPb6wvBB3yHoHHvkZ5MlrohSbQKkelTY3smQRGHh/cms82k6qCOVzEOO/E7gf20wtWtxA
Co/sGNPskrVO46FZmPObTlrHvr6WhY7G3YNUPvRqTxP+7DfPKmmsNFbNig/csYHyXZFsebEy5VCm
EarnYx07XSrbWQ7jyHBc2Ja/xEc8MurHyKJQFFHV2WkD1CqES1PS7VKNbNJa3TTkuR1qi1Svgcje
efVtygpHqV37LdvC+GXpAe4/lwYQ6JTYTkkt+ui3nyvLgRIFK5fsghz7gIsMvtyLijHq4A2Sa649
D1FCvYXb1f0Zi72I2gvSDRGkzW/o148PFdeV1/vQ6zp5I0eHEl3hajcE+1F/TGRv6QiYEoXbbXE7
2OwNpSrstKSR1JOeYrMbaEy3Ztoa3toDqgm4SP5lQEutNJi87Q5Lllh3egBgJYDOC2cg9AkkGci5
2/lV0XPC9bhVT2DRSBZxBmT+b61H9YOgU/VCCOXfesEMIFzjU/kNVUr4gq8DiHi4HERHElcaKJCl
Wr5WH3uLA98vpH5leoUrpHCEXaME39GQ7WTQpFPqBpa2B2zp78hyh7Cev8RsT+Nk6Qe9H9VT3hSb
rDtLNTKVAqxSEVdBTbNjZRvXAc73iirFc0sgO1LqtMxg/6VpTjq+g0REcwkFNx7qfcNZTTwqShct
3qpBR/VUs9N+6wmgxcGPMoUPYLbzstqqBN7sR9hT+r6FpMFIdc9m6MjXxUkIF6GV00vM1omICwaw
lTy6K6B23H6puuXjsSIs3feZAob62KzGCBo/WgElkBiKH5GZ84kVKGDucLWdCvE1JJ3990z/sjFw
vE8aYTpI/fJcg9fnMi0TSEdOuQwto3BceVyNDbIuQWiMuMX+6y+bf+pGTKIzODLA3r59ZfBi2xwe
auRUV4Udoaznjzw4+/UmBDgjkf2dXj7CrmBdJdrD3y96n4+gujdhZmVNgsEZmUL5jwgwevHgJ2NJ
Tt7wkJOalvpLLChGJF3RgjbitFz9Pd59OQ9cGtSRiCKByAbo7PRAPwYcIA7SFkEkn0p0RnBdhoAG
JBxbt/NXhWiDuMugRgAoWoebnqEBYsoccGXreM+eUf5UQDxd0mfC9QpjzlbczTPN0nBebjimcHGz
04qYp2GVP1Vts2rScsOxGCScVjjUclStubZ9YAno+7zS+eYYSatGjkOTazqU0SPhq9U9qytqV0rj
FgUB3FZ5qVZMqak+ZZbnNG6Kj//h7MqWI9Wx7RcRAQIheGVIcnZmeiiXXwi7XGYWICaJr7+LuhG3
y2lHZfTth+qIPn0KEoS099prmN05rN3pWNrGWydUBBOYu7nURy9x6jdnMalJpQWnHKTSWqWGP2aI
jmPVUb/oi1cuqH2aB+w46BoGL0+TO/jeOF4p6I8+T9eJ258ksNCamRrUrx1bp1lBIqXVKTrF/lxo
1iplJXh/eSo23YwHXILy6fNaF57dJA+aMRW+aeP/lcG4iM7OW1IXW1FzZIcr46mNOxteHM7bmBv7
Pskex9T4mafyYqdIJ52R/ZRN+4K4G10VSE3Sbelloz15dUHWEpA2H7PH3jBzryukgJ4YH/VMstcs
rSDcqjXHm3XGDmks2nuARy9Qk8NDf5Qr6PvjVTrVL9Y8zdusga2H42Tms8P7baML6kFHPfp1PD8P
VL6NVaIwsqkHr6PlG/7RKe9ge5NzpQDTapFJ+l1cNmqVJpXy+qS9WGXc+m3BbI+xZNMQe5/FvAgK
vX8hOYlGoTGYB9VPQFkLsJLs+0xmJzrEUFeMeuFPsoInEO+g6jXVWRjzU29hp+275DUBaw4JB/bO
UdkrlDkrHRTFoHKrh0mbflgM2J6ri106Nd0m5twI5oo8V4N2cnIk2fJ0wnMBiz2h8mfVantDqsdy
iFdGar2TiR4Ht3zNuf7ctsv0pDW2pGzv4GTcrvV5HINaG9YGzUe/y6snx8rA6RpjK2rSsQjssn9v
nTjSnJ54mN3jAUun9oQOWTxGUsdqiGuQxQhoQwymBW0DMpZLYOyeAWBP21+Nmo7xXNd7u2d3+pCc
xJQ8FKlIHy1R4+WX2Cs7NlxMVe/aLhtXczfu4p5FMFC6xxZ+L0ExSyh9sBOy5g0DrUvqiyJBvMuu
2hVdF2qcPZKZXZCc8mgZAkF7MSC6uID1C9Fa2EhV6zKxPyZL3xXN9DDaxkuLf51kya+2zX6qBGYA
WY2rtD0PETzbejqbt2yMEfmMyaBXWhkSyVW3a0S255pxV6h6BLw73Y+5/kLNJijtGWeppq91WkQZ
BgP+2MwPioBurtHy6GTznZO1ITR1B4e7j7NENE8nz2kjJgyRwAij0AJUufUI69BbgsFlW7ratmCn
D2+gpY+06bU1UMwk6lAroWd7Rk5JL0FD+xjA4TOLj3F+zayIkFvn4nfbN9MX5sMCODLsmp+37ykB
QBxzzTpXxylZQVLC4GPiiftuCi0ZucdkPwQyaud9Ynj5ruYrE8mEIr0pq/quFMIkDwZPGOajcv3T
9v51jjBLcSulZXbJu7CaglwE2VP8G2TuB5V4U4Kix+thCwxydeFJKG11T8KtCXvERXXw6fIxkT/L
p9hrig12bSC/tQjEKxyesLVo0bgiu/mlP8bPxn/NEF30sbAQgT8LmiRAw1dHbi4G3ej7xjyD6mBi
gUWVX5cY+IptIcI2vulR9M0R/+l6VwCeUXRF19uteaa4FL5JVOHg5KJRnppg0ERk05t2pN8cqJ8u
eVXqV2lWt/NYmucuFXgNfcCr8T2Bzk6r0k0mT+jzvQqbbVI8ENas2t4O1Jw83Sg1vqmqcBco4Vxd
B57qXB3rrovqyYlxFyI45BksODjaC7gihfwE8PqpCiFQfLLyve1sUvXSWuC65eEt/dUXpdD/vu7/
u4vrxoNY9jwYFR6/Hs1DZK7YgmbPOMCPADBqhON+tCKoLH96ADHzVs/1zRbhwq0YUIQDngO7hpRd
XkI9XRXmOck2NoDb0U09S5hwrQHKp3Y8xiBJTXsjx9eKAyBD5+fUKrAFPoIJlrUW9uA8TJUd5vkN
Tc8Xh8flwSwzBAIdlWF8eT1izrlRjw09Dyg9VFh3SLW0HquwajFFCsjGPRRJ1Bzd342EM6eXuje6
qa8zNxPV9kIAosBJCAbYn/eyhtJMN2ObnptnDUmF7lbfxpHtO9IvtnBM65FxWcuV9YC8S3ow45A8
UxAGYZ2ShiUNYDV2M/n6G+gI5K6F4OUCB4Su7Ioj0BVpaotxNs81ZlZPIGs78FCaQ0FwSq3qCTO+
Z9C/WsClzM8+IO0FV7MN0swDxlXiD/ySwS8yH+ZEve4NeIO6p8+AwDygXw28o5tVReDqGeTuiiJQ
YcFajnQ4pWqf1CupAuEGVRKaMhR4EbDhh/3iCR2Xm8PiczXSKEnX4s1sIhOmcOv2YX6ZQKkHTwVW
Vt0K3ov6crKGknpGtWaFVxphKyPeL/wa8KNNVIEXgmwrI8IIDsAdw7B68AzcMFrr3iOx7+Yhg9cm
DfpmxX+XMP4C49vesn2sgzPhNc7enTa2iPrfQ+GzyTf6oAXFmPkaHKPzgPRHhhRjlBE4leADgX7C
COE5I38q84auBtSVLwcw3hTBxwVyCwaR12Zso9BnHZyq6ZD1YK+6CTsngFVFn59UZ5yZKZ7yUh2H
HLZE7rAbKMoJE16pmCn2MNmb2pM7mgFaP7BgilMtBCokMMgEQl4VCOK82sZwx/acIbuDZxgG/rBe
9Z05vfCePlD8dsUqAGVxvXG4vqKo4oq+9eyigA7WOXQWMg3KD5UTz2ZZyOmHkt1ZS+vLWKX3ZNkQ
u+LIYHCqGTGsGmESgUFnw47tMGzroT10Y/4j7QCyGhXG0Ehcky827VZN5wTUnJ/ZnAUVTHwsQc6G
hoWEEoh1cLJwRRxaDTaadHwRGvebQm0g2A2yzEWykp1uuvhRh+cctcUPAz6ubQWWywQMVBcbUuc+
0SyMvWaPkuSUO/W2t8u7ySZrLWY+4CqYa1HUnyDXobiFxkF65WxiPt5hGsafx7TzLQX3QJpE+hSH
c4W4Xa57ZWwFMH715DDBPSqGdZJ9oeMMtMsOu9iNEpt4aT5HuYF5T35uQYN2u8pHANWq1J95qQ4M
hpZDlePBjz6KOa+VvweTrmobRsf84cbRtdQAn0o7EIUM0KWABzpoku2roytNBjJzkHvPZfUzqd+0
2DlMBlyZLLRg43kBBVVVn3QgERS4adqmG7zDDMInJeFVieTpRvdnI//jDsiMe0slu7ZCWII6iaYL
U+bcgC/JF8AEN2zCexQ5jhTHzTVLRfSmkXOQNc5Oant9/Jv342WMh5NrYkSZfpDieSJDYFnPRrm3
2mLltrDGnt5l9ruhBO5dUOzOaKJFvZqcx0q9K+tpVnCQK3QPf6uf1u5r25/+/ZTtZYO/fsrg/+Hb
hZYWGukrpEnFaKlJ5ZAD/hGwOxnaTebr5S8tBfk01jw3ht1H0T5ofb2qRiuQjO1kl+4bXd2bdbaN
4/6uyY5FC5hi7gLbyX0bxxTBJkC038R0w4mN95I4jzH6d9Zlz2D7gbdD/RLDB6US36qcNZzR7sXo
3ieVhKtuccpMPZJOC6R83LQwus1GgNF0XTArqqixmQsCr90GXWO2yhQPE1uuZzt+NpvXHJ1yR9vL
qKtVbE7Lb8I0i4Pmhq9cVh9cXEYhvSK9ZNK9MWf6Or22MGqgyGCgOrTf+O/Pp2mqWlmgE+wOnFWB
G6OyJTgqbXDFeAo+BT6oMZYodHQPC9MDd3qbu9bRSeoDZlPGOG5FVWK5pM+CJFu9UqEGDNaG/a6R
8bUsq/DfL/9/HUA+v318WQgeBfJtYA0ZV2dtO2ms4p00ziPipptHmp6GaTP0jxSKonGIXLR13cAD
F0ZLsYG39hDXx7mDPW9ybqQMiNtcOkAbVWIFojG9XEBYLzBVhR9yP4xhqcHtth3GQ+6CqhAXEYc7
LEmET+cqiIHgxNovnebBMJU7Syv8esZJmk8HKi18DA2Lut4Nyz7ZuRR1SeVuCCyHaQ3pJEdAnLAO
KYVCCshO5ckahiIDKoVM+DEoGRbaVIQLebab7pIBUeZqsRB2I9al2yLBCjUdgMa1URz7OaBpGuSa
+6NKOxiqgl9kD2C1pRbzhWG/81kdDQccj5rlAdf5Cn3wbkFWQPQx14B2ok6CBsRkkCr0FpmRH9wC
iQr410eC9IH5Q0+fHOmsjb4J2n7YzhKT3lIPJzC9s1Y8yfgZpnCeLNXWmp5tLE+gL6GBKh2B1SBF
tn4qHvPpMjRZBK87X9X4aoCtGNhAeketx6RZDXUVKHaAn99eSQEU/IfsXbicw30ogRm9OUQsZyHP
4+OIOHG4o3jTHGPwV8H1PPHysdzJqQyGufdqxwhrpeHdYOoU4xdr9R7UxIhrSLdpX7NyDqwSKyTe
WjAv5GW9A1TlC+t3PQF+0Zs1gMGL5Cqw2B0B5DS71ZpbO6F1UYscdEvcmzn+dkxAEn3emosAxGk2
yG4AOmf4hWH7ir90mXjIckzmchWMZblrTHztLgudvAvI6Hq8OOYFrAZYxDkqP+mu6+lnmcF9Uh98
17zvzTvav3TFMxMne7Lwg627EhqwuH9q3GNmvjn4H4sKXqoVxp82Ww0A/1MGuhTYlWMSaOJxEsSb
ZBosA1g0cl6K89vUwD0T6ywGihgHNcwN3FaCD0d80b0JN4sS6w0DAjjSe3O5UcYUYYMNRqblnqs9
2bD+Lghf8wxtLhgVsvJnybaMykCzpGeDRUpMfZWS17GCX3QMNeIElYqI73LTCJCy7HWYUYnkVZY8
IG0d8ByW5PwB9MhzaewR1LM253XTqUDvDn38AVAS3d4tffwfa5GrTWMZbMISyoT2A0yGz7vcRAdS
U7u1D1ryqrXbcQJ+2KBXcWe/XBSYbf3WY0OHlaQbGAQGNi5fjYr/EIN2nyr3WPTx0ZzHMKb62pVk
NWYU0xsZljlKZgUOmY3ZO0GBrepyy63iZPNsk/U5ICd5jxQ9IySSHoGt/5K1GdlFGZXdS9wggKJt
Xs1U28Wt/V/3SRiB/P2brwAEKqmV5GIGwtUR33V+q9w4W7TxCeDEYrykTgfJMxwmUXPkLTJVdOxx
aCiV+SueEz+33I07IYzUPABzDQvsrn11HGDdONXPGED6qhU37vgrQxB3TDBIQe/roiy/nsCnkyQz
HTL9nOb7xhRew9tgHPE9Kt3Z0oSdyp5EQwoH8PndNlH99uPToF6KFqO/rAitznlr1O9aa/ZZ8sPU
6AkknlAHatibIbxJQS1e9zGofQQD7Hon+zisaggVLNjRzFbtJZa9YqPwe4JtvlAanGfcsFduaE1V
NIHxXXTzak7T7YwSQau60zjdt+4tkcMX3OfqIVyBMDxPLUdO5nxOOxBMpiTUYnOFW0N98laRt0ru
/32ifuX4LBeEGRsD5wE2vNd4i0ph42ea83xGKehhOrJLIPGYe7jJJ/BJ9lMTsjDHXFcVbA6yeGUW
0zYn56w2d25WAl7HRsJ/mbCudeb+Rn36FWzAvS23hwMfYgPMgT9/t1A76EPXdPOZJPSU6gyt0VNc
Gpd+arakhcGUBkroTALRWpE70J1F5sCpHlHJWoNz32M45EmruFEzffeG4OcIrSC4MAa4B59valIw
EChJMsN1vQ978UDjB3QWwUx+qupR4QC/8YK+wHLLQ/jrelcVjxkb9mBmhB7QGJkdJDY2WLt4FsJd
dTBLNOcgcbgv8NYG2G+pCYgyarAbN/GlaV5uAmA1XsYf586rH50AyjbjzlDojyFoTfBcGxUKdOgE
IYgJvHUZsn0LN7Rt4v/70mwBp683b3gEAdmHag8A9tXmrWrbaIVN1RkRHjNSOYCHMh4kArAO69GO
TMALUHOkEUcTY9Bz6zqbPP+ZKDNqJI+01tkwSQORVH6DIkmbRIhyJCgMPRxBvW6yLnBBEUd+iDfH
DyPpNu4yN5uQuDHMs4cowNE3m2nDubVtHLnuOY/qGlFvoHIWU+ynrh2QYnoDP8QvYMA/t++2Bsd7
qMqzpPfaAhmpVXWg+RBJWwEMmkMaAyNKGcz3kbnHReX37bglhYPOIvZ5LDcNJsk57PWNGY5ggq/s
Vlt3snpyBWyzlP2I+4COxAgk/Kn+/bi/YI/Li4anpwOQHg/9+pNj+MrAt5tgjJ9ctI5uJuBSo968
50UfDGKbNvFR2fRGT2f8mXpcv2SEoVK0dYs/95fRfUJSs1MzPVQK+q0urXZW1dUXXiYdHn4cdZ3h
hJ3bWN5Y2fdj5WKf5nW/7mLYbzW2/ph34Nm6bh00mTpikaJAoT3KdVu9pQKvUWsmQHBuTAJznNPQ
FiZM7KS+FVQ/grmAGA6i9hCy5AcI4uuwTuiPuhSg8TgDxjSVeOt1y103FmpvTt2VCTXBStoormzO
13M53bUVh4pVtt5o9pskVvu2zmAbD3WLlDSMc7WuMBPW8g4yHHg22918X9l0tbCnrFZ/MhLZeIDF
t5qO4J6Kv6c5Bvul222k62DgHE8UPUX7gakW/B4GetbADvOatN3HVVcGkHm0nin701SJV+pmVpi7
9EXYXe9BhXMyymEV2+4PZuePjA0Qn9STG2AuuikZZk85OpYw1xSEKLP8oDFcxyXBkT9rhQX3bVCY
53Je2VWP3s6ZRz9j01OXdyzsnDEOUrAuAsPtn/IGPHyXgl3TVzUigUHpXGWla6/hO//KXXx4upkS
rzMNoB9O+5gBARkStEAJuCJ7pNeg+lKp5XWwJfB4pW/dCgFICNw5dnHsZ3WO0hGI0wwJGB0n8Pnl
M6j9v3TVVqj7m5e+6K0dAMEsAHuuhZG7g7+mbVb9AAol01uFQWIv8FuQOGUq2m3hZd4CXFo27/Su
V5nweEa1Yw3TcRx8FdhEmfH67+/r62QBHxj4ddBBQMPnmH986P4agWlJU09SMHXmIl1VYBtpyMKa
IbGrCfpVYLjV5AQwYvPjfggqVNPUiX2DdQG388i23WjskujGPX0FriARQjCFjgNNXwjtn480pllD
Z0346FWSRqpxdoYF20kFBmJR3esJpnSAlHM9mlS/MVNMPeYWACFCAmx00fmNCdAf3szVXrDYUcAS
Hww3HCxXMFpnVk5bQFh8Bsd3SP8gY1r6q48jLMcABuNlngQu+ehh3JbVsz8L64nBgUmL06iDhwrB
6Sfdl27EXj/Dwh4KwWnYtfEhq1wvL+61cgNNoZvd9+whbn9mIKcAUYUQDLRLzwQKVNLZy6fxzS2z
Bxb7XRfFxm+dT+jhV+i1fWfAGUDDnohd0R5oUwFB2IOq5hfIhIj7PUtg4eJ+lNqT7CNlHyq2adp6
Z7IbD+q78gjOy0ASMNlF8i+5Ko80hdooy1L9rMxua04lelRirQEf+eBt+9QaHymZEdBUTqDEFFt3
grvMyPw+7f3G1h65MsMkmS6GIW6USF/py1C9EUg38R8LwVzXDZcFoaqUSs1nqiOCjNYe7YcDKs1j
xcwNRx+oG3CdMxT4NoiH1nvw4ZRHnPxIKQ8yCigFlIVB3beW9VDExvnf6/3rDOnq9q4eXJdIp7JQ
9J6Hc2Ku4MsfztjZ2KrGaMNDZ40+0SvHd+b6GKuAfSLXFZzJh7f0dwJnKiz5m2GAX0nWyy0RvE4D
M0+411wBcaV0S3MkzXwGDK6RID09c/euOtY8UM1e/HzWQ8HW+se4SX3Qb/o7TIOQ4VK40V4RROl5
XQwWy9ORN7um9R3PCItfTYHIpqA8YGmPxo0y4RvoGPeLfQwIB6SFYMZ/3jLaOc9HR6vnMx/hk8GR
Gehovt5J3wBrWwgjUBC35ROCFA0taCrFUYnz1Zy/arR9SMtms+jNUrDFsNlvWQKnPAzHrHEMjRHZ
jEugQdV8FJQGpTB2PO9vYPVfke/l9qHBghJr4fVfPe6eVzEGB9l8dpJnHB2HHmEXHeY3So9hLCJu
1LDfbfpwTAP1Avor0PqvMeuiz0c1CUudM6jWOw1OddAqC2xuAxl8S0OfSYeVPgCzhu+2i/ww07yr
u4eOwfvJwvCXFMG/P4Hvfv/fN7SA7H+dQrFtQwSYo6g23C1T1SlOLkwiPAq7nMlv6kiW8+N6Rwf2
osNxk1noNa92dM2xUMg0RMFBZSWGEDAYaCgIuarqlZiQvxU1WAflXaL5or3xQ78qw/Bh/efaIBV8
/qV2XVR5nODa2l0PR8IDtPoIRCLPzprY2/9aKLJcDBN7cGAxpbaue0NJDTEi/wiGFDLMFVIWpyFk
8peZEPCLeZhb2i1AfPnOvjxaF54ImD0v7q1X3VFujXiwosbKOnY8LM2goN50ICiWi52urecmspJw
eJcHsIr0B9vy+wOk55bhj4NHkcSlbi31b9q1RWr9fzd0tbcmLjOtuMYN1WWgHN8EZwI4NPUdIyAB
8Nhz2t7Yi749ByGXQAEDjiNjXzwEMZcE36hQ8GbsjX02+/hsxhMgdn5nIkbNCDvTY9QTbEcC+miz
7S3qzHdfE7QaOOcAMeoYEX1eYzo8gxJlJbgBx8aEGDg7AFmBLQWud9j30hvH67fn11/X+4N3/vX1
DmAGWdJJ1Rn7OkW8mhXC3wpUVZWu1e9x1xZBc29NfmlvZ+broDqCRkCibIJlAxohjyJxNrVCzJfn
7Ibv7B9Dm6v1iLEMNEsmgd4cteTnR1EMdm5kI5VnPe/Rucm1azX3RTy81hDjCTvd5Qy4KcK1IOoK
04T/msAebmH/owFApiVUZAh7Fa14cGKob+nDCI8Hh2KSx2BCIVWU6sYGRKWLBHTsmO26yLKAGIPP
e/2SkxS0XxQ8pA8aFGu9W4KYyIO5jnE00YsOKH62+bYvIF9DEk5FYbA+tjsEnyOT0fkFeDuwZkRD
TS9ZAa49LO12FkAN4ZZ3LWZ7QzOC0/whZHsns9xzXBIgBQNL/Lc0EHyhOXBBHyI4RoRtMvpMM4+a
iZQ7p4lgqbkWFswjkuGcAX3WckgpjAwhpNx3eRe2IGEUbJn1vKeutrMrYANmHXIkU/173/9qIoLT
Djxu0FTAvoMlwNV+McfglRZEyLNIdX+k1kqH4zFSjnLM9ll1rKaF95qfbQ2uhLlxYzM2vzkIAPAS
itgvG4DjH5efvxauXdptJYZMngtbh/Qb6SCwh0irVSOoB/eGIGtU1FT80HBtxfsBlFcemA0o3qre
UDBh8rpEJKBY60iwRVpS1I9sXy0DtVas4xlyDze9AxHnfWD2XZIkUWHkIXEyn5hw9KphnAKCPtdv
/Krvql0IgCC0Bzq2eIctiOFfv4rZzeRyDuVUST4qfc3gfIjG5mnKy7UAjg0JeTZtxw6EJKrWCKEN
+qHfJ4id5fPhmAFvKsKa32gO/rjBXH2IUEEQC1COg4d9Pdmdi1xvnUxKFJTEnyBnz9H6khopgumZ
g145lUekyvoG3NTzQftBgajk4HqXQ+9j8LoF2z9qcJbMTraaS3CCWxO0jQkMdpAAMQW0jN4b5l3s
IId2up/gjWKbRcDNbNVafA/zWlDRzLWC3N/+kToNuNNLgilGYm2M+dBPQ56XpdbIMwPn88Ya/+ZM
dC1IhlxMtilsRZdV+Nf7cImr1W02y3PDNhnHRxW6z0jYbJg320E7H8cn+pQVt76sW1e9Kql4R3vo
c3FVsMBoubJfIdm0zNC5bzEkgyWWS0/xjWt+M74HkvDXL736mjFsrsbWwDWpWnXzplW+ayF/ze81
f3yXGyePtN+dCDBNFm+w7THD8QOzEHM1z6H+IJ291v0/voVPd3R1/Otzko9oveUZnqZavmreSxPv
HTAteM7gWXjuWcJFz46c1SsI8tYegoPm8abZ+p/W9/Pqx+EDYQyImjiTsd99XgKDO3GQr7HbkqhA
gEUfYtZfDS/w00Pibp2drIcBJMFTCxITkiiDafSsHasvOj0UfPM+/ADaCKqgC7fPW4vza60AnRQi
k+AFt6j3rjWLvZEn1BZTf04xer7EzSMMGdQYCnOdg6UP72zjMWs2cb0ukYp66nKovLNb97DUvNdP
5+97uNqw3BGTvtnEPSho6LbDpeb7zC9jOBt57T0w6hvf47IKry4H8TA2ITRcDKTeq5dRg2LizC6D
+Qi3X8DnDyutPmZYIKRFYl6Nizrk1AndN6vfFkMCLn51hv3Gqpp1q24NvJbv8OpuAE0AhQPKjSL9
encAut1IqzH6c6L/bDUD6X0t32ioPJbAaVfnwZiDsJclUTLklwLBtNx9hzYmd9wbz+WblYCOn8F8
mWD6hnzmz2s0SzpLWnbTnWX1IsBGosMIQoQClIkzeFSbf7+Fb/YKiOPQhNlA5YhLr0E+w0rMSTpd
fZi0blu6RkDbEQnd1c4x2E5DBWajzBKS/a47/cSb4WwxHnKk8k0thqQcPRM2eNWW+3rQ3hhXQBdE
87MFqxOZs9BRGDc2t2/mwXg8pgtTNwc9M9DSz8+HsZoAqTW6c/YBPSSDeAjpwmAVvHavyKXRH2tw
eUH3Yh6y7eedAiT5YO7tLf5cZ79x1EClPuQeV+BignTi27+QEh0Pfgc0HkMrFarRC9mJ7xfS4+/y
N6gRaeKrN/NhzKJ/P/tvmlD8lIWs5gC4wgRtWZN/nUg1dapS2WByTtUHg8Kh71kwERrmxMKJOx2Y
7gDWhCIVeM+NS3+3yv6+9NUqqwnXMzufu7PoQjtHDOUqfipqP3mE5c9Kd1GTQLkXAYrDcE0eXARP
0hsv8o9l8fUXh0kSbJkwwtOd69AvKDKnms1Td+5XTTC/5/scXm72VjyIB45w9Ev8wX/K987HnOtk
Hq0NDcctsiPnj+ZobtOL8wzOsQOft8QD2xAas1tjZvObHeHv+7vaDhmbVBenuL/SAhKZdlGTqCBJ
7ChDImZmG95AwQboIaFN7scJMc3ZfZN3pxsv6mvjjDVi6wSINxzTsOCv14heGCTuO3iT9o8iJasa
OGPftz7C1/0GwAwr4Qound0gk/faSW+8pW/WCdYlnEPtRcsK17bPl0f1gujq2mzPrD3U3S43zYsp
7yiFcQucw2/81i8Xw8aLXwr3UHBlYUB99T0QrId2MhswUtizCz23JsFGSV9H2IQN6TYeBnwZzT2B
9iEGSRpb58oAizp3isNc0pCoOBy6+UZX/XUGudwUABxITwxESzhXx1RlCIA3RWWc40cSh/qRvmt7
sN83phX2JwBX+pth+J3tw0RvQtj2G73Ym3kngTKACIh00ydhBvyehTi5GmNd/eLbSfMReN7B6rUP
4ou7sSCaXcOqRRxjqKy8mxFiX8511zVtnK/QWDFMca6BEC3X6sGhxXSuZBtZlXEiHII2TMesbkTv
VIVaD+GGhmloekvWtnwjf3/jLpwikQeHyS0KLvRCV8tHN5PBVlJVl674UTdRDCC3Ws8Ss5Ex1G55
+t262NUHy9PRQFSTmV5ov+XueSjf3OSuJGgHUWmaP/69WL8cnH9+GlyZIbUGvfuLf5azdH4ShMmH
bnrR653hnEl91GwtSNtqncjp2DYgS41z5M5VVAtk2LOXHpzSeDql1QcdQYrTpR/jiy1yrBvnOSav
HPqOf9/ml+Pyz22CqwMuNzBm+/qbGvQpz0jGswvkdGu1HVf2uX/O9yAObM078w4+PXs010G5cc7Y
faN5VYRtlN4VB+dUPGrH5DdmfAML8x/2Xm4LwODPUIo8sW11ak/Dpl4VSNu7lT73BY5YbppgarnY
RC6s+avTiWgqg2yCpZfWOWLlTHUo7INRwrVJizryZGWh5rYBu+XPuOyl16v178tefeoyaZOCj3oG
RICtZ2r5jOAAzPLCUzN8LZoR8sM4j2r7hnzqu4ULnj38GFEPA4m5+rlgXMQ6JyS9pKM/CIBOW7iL
w4kylTCwurGffXFH+fNs/3Ox64JPSc2t4GmHsGt11JsjxJ7wYDTaPqxz8Ha24/xzVFsHq5ncmnEv
ldmXx8tQ6CzxsOh2ro4yh9G5r/mUwiLmosOCwqAfRWzB+OcSWwJ+Rsi1mF7xbsHInM3w39/B90vq
Pxf/MtqxuWADdNsX6kRdtlXF0RijpHwanTNIzwylKkwwmLzVi/9hnl//6KXAc2BEh53iGnBpOqoY
2MjppRDNSvRnIZ+wiFMeTvWBxK9AgWP3tWnANg0d1KU3fvX11r+87EUMATwAFBp4x38+vnmK+RIi
ipJLb116basBd0rbEKtLnxZB+hmPWuk3HvV3X9Hf17z6iuq+AgABevpF5WtmPmFBKxXBpKgwn2IN
oSVP//6N3308f2yfDfD+l/bt809MEpJ0DFS7c5lFkDNHSozrBCAScV+stA0ss7nxBV1XKcsz/c8F
v/iJqGFkcpRjcolVmHcRHmYMDpeKrJvuKcvbuV47oMbpMDKyl7zVq1aH8ETia+Lx2ZrbsCxowPuP
uGn3sH/zICnyrPwEZy5vNmbPUjDhGqZojNP/4ew8dxvHsnZ9RQSYw19SWZZt2XI5/CFsVxVzzrz6
76EPUGPTOhbQ6AmN6ene5Nbm2iu8YaVIf6z44rTu3FGaqlJAd1OS9nEffipW0iocReD2KGGp3SKr
7+AtNf1OLG9InpB6gB7zh034+bc9t9UGfFe8BwH/GnPrBWDbQ+9FpnDMx+vKvOUQqWhEjOs6vft5
oXNn9vNCs0MEk8ztBjEB3Ga9islOzF9Zrk6vdQ9tnfYmzIX/8mV+WnEej3yugnY0Y+8uMkzg1cFW
Bcg0bWXZvvYwEBMtvcn9Eh+g7c+v+jFVnp+qzytPFcenH3JQlEIya004eoCmS4at7rCT/WGXk217
/cf1E4J1VrthmfTZvkrrrQwcLQVeaVj9tmNGZNUokhjjouiRvwikpTq8JZXx5+cHPfebQCnjRkQY
gL7U7PT7cT2ofSVbxzQEtqOAWnjqumdVeswQCshBV14Ux54i02xnOGMTMAUlAon04+vO9EpOrIRW
fxdrd8DHiZRyEq2i5sZEANcqFwUyXvBzR/vBZ0CfJek2LjEPSsoLEfTMsTcA7gDvBd3MNzerg3I4
SlagQM7whGs3Dm2a0677FmKM1F5Y6SOTmr+yDHMbGUWLxrg622S6LHlB+HGPejlswsLfoyCA7k21
k2prH9Qj7Ewc19TfnWlcCdmwCrwJ+wr60rJuhuiSx8uZn5wXx4WWagFSxoc12KejCXzSLRLf9e/k
pF5wP3NR5/qOC7JkFiUUVxfvqjMRFjWB6XgxfCK2zX7xUZAlU9AV7y4ub3IsxZjTdc8/H+NzCRdr
4CtiqCAaSe++niohEkGFSkTxuIVtmm16kDw3fuEwbmT23NTHXH7Mxvf8UsQ+96F/WXh2EeuxAHi4
bMUTQ31LW+b33V34W4ANt4EBbIyrQnxithegGsNFNi49AEEVWn7L0FG6Q5ctjAs91m86H9ycPBAT
PqoRZsAfE/tPP2/v5rHQCOxETmwzcGhOXaaxhBIdIESrrUoPcF7T70dA2UoaUVuD8wyidZk8uHmz
jSw8S2QY0fEfPzUgzAiOaWVXpvHQNcG6yMDU6pWjKccxjdEclXeKla0HUoGgEBb1AGctA1JT59ss
PTb9TSu0y6EO9zEIlQvR/UxOgvifRMKHQiZs8umcf3rRpIVMWDS1xyW5/JfQ99k6KXaXoRXnzvCn
xfTZJ4wamDC6QuXd+e64inttG1f1QQ5Nm5oJDqddAXKAOLuoOmEhZi+l2b+bWbkx05eLhczZs06Z
OcmUwh+W59RhYE5W6/mVewzN9TA6gXKgEJd0Wh7rBvRFtg7xnvMbxtgXdvxcyMQ0iPxEpOGADOLX
HW+EupRKL/Km2iKISRA21DKkmxdfUZ435EDUIPQCYkibJLpJTr6ulKlBMdC6F09FTkq7DQZmWrkz
xBEYN0xsm2QhupRx0gtgZMRgup0lv4kqWy9HV2Fj2LWgrH14ETpGKYF/3bqXzGG+tZU/nnDq90xs
qcms4+sTFkJOt7UnqNWu9tya6T5JiydFTsDBAgHE5yBvcaQZTfcBP60LGdu3K5TdYa4GmFlBck+d
H4C+1HNR7UTr2HpIFig6t/ZDOukThE8XwurH1fTl6mIptIuQ2IAqjzrpLLzFvSL2uVkKRxP2dNMK
0OzUV7HFsNIqNEdLEw6e4i9kvzlZNYpUSStEttLJK7VjvFOT5S/KjDgsKWi3FqJAi9uFHJYBQAv5
f1qxdMoUEiEsMV9lL99Gef1YhQbzAEG/zeOuX/Z5QHqQoQTbhN0OGIFsKwSVWm8rzEeyQyW51Ftq
u801aQdbeqWE40L26rs0T35jsHUtVRPcPT6MksVFAFqnqiVEVAt0pjxjfGpNGRBcVp6yuB9sZEXv
1QC1dtXKSBnLLHKgoj8IAcz2OAN/75LThZ6OBodmXqUJA4y4su7FJP5lGLjTdioTV7UwX1Q5Rhm4
v/X6JHKKofgT9d12KDgYMkjuoKuummDEZnDSYxBcdVx2set4w3AjKtFz6UcL1be2feAeajnZC964
RLruj8jFUpv5YRgwdqCjfC+Y+UoqpFs9kU+ySxySm2Knq/5O4++SynrN6o+GWx5bWdi5VYbKv2q4
y0JOn2q53bX9nYgs1AJa903UlJLdWQLiSlZcMXWyaBy4736Bkr+YFn/7Xn+sZbVhZOGhRGcUp0It
HxNLeg+HCiCjt0oSWB9Zo230ARJ+1m/cNCHbreSHzBp3ZqkhSqswHDKUYFfXgI4tlM+CYC17CJ9E
bh06Wm7+h0/l8/mdQtqnSwJdzlSIhpTPlPePlnQhuCGQyv75O/l2Fc2+klkwaJo6rxTfdY9Dax3q
Jv4lK3da/tdVvF8ImyxS5Oj/y4JTlUjfjnbzLKXqBNEbu44roMOVR5neDI2EsHulbMsuZuzT3fYt
Bnz4R+giNaI4ezstNeMWPUHEWoYXPdrq+n2Q3snBmyeDLl60VAyYAuHhYP35Dy852bUDZeey+4DZ
fPrtkoki1We5cZRrBdcEQtxNC34V1nsbXcMv/Q+rEc1xbqcWwkPl60mJaqsJotgcT177qknXSSuu
hgG+DcT3EX5a0aernxf8llJwaCbJVqCqytTumB3NIej6rjBqtjXZ5t2L5zENvf15iW/ySNMt9WmN
+ZwbtCjyhTEl9yDvKLbH7lfXPurhdcxsfe1Zd3EcbcHJco0r1QNsH3tAYGikQGbwTqvFVSck3unn
h5rea36cwIcowENMbBb12XHKWlEaNFezjmHrlN1a0RJg2YdAhTt69/NK3yqd6e3/t9L87WnUC5U5
YDiSBy99dV9ZpiNArrEOPaILQmn30QUI5tm8hU4KUxgciDifs3crqqoy+3o0j4nsLYJKRwElXUpw
Q1XUd8cW1E0l2S0QITFXF2mKpl6I3Eud3uaJt3EjyAf5X1Hz10ZWrvQKtngC5Wf6k5835hsY8ONc
/O855/kVY0yXXIX8qn4f37tfw7XwptU2DNeUYgDEauSMlJ+hE0rM0xxktTuuX3RmfyNCmr6WR6b1
iWl3mK16kwAVxh+onunmqpIcqXMu6jh/b/B+/JL/9nU+oI1cS2uGvjePBumfOYy2pNS7StfWCLnA
nVcWeVg4sfyihvk6UIqdr8I3Aun687Z9z7x5DJJSmhcqnUJwtl9jRKt1munJIw429R23Gb0LIFfQ
EHunfbQYTFnoi11Vj7lhXIj35zI+5ksmHj6M8uFNfF2Y6asGNEQCweW9sCq9UFr4tfXr5/ebTuf8
y/y8yhSxPgXcUStUBciCdHLHG0GclDs3ehmv0ZZGbBdV06K9EAo+vMh+WnEWdNUwydrMT/VjJae2
qbSOmSGm1uxNA3QI+u21btD/eogD0bY6+TFMnzs5X+hwz1vU7od4W1r5oYrr14pvp+mPIfo9U9k6
Rlk/JTOgL8trcC5rLeyvzDBy2uIhwzpCCLRVbaDBxr1l5fE6iVOQYNVq7HPHN4QLYfhMHJqGs4AF
GbdZTAm+7muqt7VJba0fdcoDZS+r1+iYwA2wflk9o7aHn3/FM/H182r6/FfsOzN0S8NFJtDBBS32
b4LY8aFVKfry55W+MZEIIxNqYipDJ33qeX8Vm4ExZy6tHsMieR7w/YmQwg14UT8LF0MprVwpt/VJ
CBpuujmk21xhXGuhV5joSyVV9imKR3n4pMIkjtt3X2tRnnDfLP93oYgLyIiApAjTHVpHOsryPz/9
92nV9PTUlxrmsLpJv/3rz9K1Wa2NUSWdOtQkPZiDWVrarngTD+9iFttai2Qt5nAqqiTKcMnl8dyv
REGFmw0KYAS2WffCq6MyHVXXgtX/a5q7+jd0XBPr6CsX7qQzoYNinSwRhpsqwZT4+pZqRaez8lT1
2Ed3nbBFTgVrwMa4FBo/ssDZp6yDd8Y1ZaLWghX8uk4qN7hNRIZ2dKVhDf5zUXQG7TfhqjHMlZ+B
/sxgp6XHUfKuSCERClx5NExklOFClLeURkC7B0HgVlp0JCJi121cyqDKrBaVXD80Lpy7AXkJIR6O
uvRLgs0cD0wpKHqoNW6UHEi64aHypTpFVm6N7LEES1PpiDWJ3mulImiSjI7WFZtERjM8EBgHJuJR
r8WF60JYiePmCNI6dbSoXxmVtzew52vl7noInmWOalSVx6DiOAsvugm5ASvhHJ5EEvhQq4PXjnLR
BzQz/TXBlFd1+tBI8sJzcZ2rl1MdKY49pyteDpa69VXlfWqShQkSyjDGpXpcoqwFVhfASIIMOtLN
RfOWSvdVliEORpLWQ6lVt6TBmdE+ZXF1GJNX1KcWaSAuPCQYOE+05eCZyMMO6ODWq0pbrjE4E/Yp
NtJa9D4mKVZtl/xyzrUIPv3w35yKUnnUKz0MiTd6taQ3ZaeqCuZXg0AJGSTUlH3pIp8EDLkSaQ8y
zXBj3SkEcyVXsp3SfjSR2FONztZh02eYV+VoxJVgAlUNXKwS7jIYq25g4PvdXIux6PiJtNaMBuuh
HOmTnpame+jHaqenZCy+tCr6X4o7bqKmuzf4ZYUEuEUtrOpSuxAAtene/f8fek2c5fC12+lahDrU
CYKB/fQUbw17+sNci45hv931Nv86hSucL+zW/vP+/h5hqK4tYQwtURiwlXVs7wb7Pnb+xs7vv4Cb
bG+VOn/z9d+/vxv7wvV+rmcFbZRuDukpM5h5uM5KuYWYX9IsdHdVurNKYaWi5igcYpwCkFEaFLQc
L/SjtXOX36dF56ykvLIgHUejeuJXcjKVAIdB231VvuQx+F9aMtI6CX6n1muF15AXb2VKPLN5l/DH
83GLVifhEajgcnssy1MMmEZ/51zZEGQif5uUqFL0v0S4Bd1NP4WO4jVp7jz/d6aI5KcgSzQUEcgZ
mwEG0GCrAtDnCB6E/Fhqkp0Vx6a7TVDTcUGLwVknfUU2NUVIi0+deIqzEl6SCA/XjbayXGujtdmj
hf3uhbvo7EECsMHMdxr+fuA4P6VeMRP0wJAzWnodmOxSvdfSQ+2XJ6QSrxURiTGVL1pIDhlMEqQy
TkasrSYghRteEGk9kwPidMw8nFENFN15VdoYaBAlLmFc8lMkJveuf+vLxyq8s9rtZSrz2dUmyBz5
A3MxY5b/NdmQRr1riCfAanZm/9o/ZfbLzc32tG3t9V1qPzaL0cnte7Sv7M3xv3wPqoKrGQX4VPfP
8rJOS5u+ymkOuYRd9N5A6pAzxTiPt8WiZixcXIgXHwrJ83jxacV5biYKftlLGo2iEXlavUfAiTAY
S8jeZ68KRG3P9RdSFq0t3IRc/Da9ACCqlHjbAAmbn4/cue9SQ9jQtDTGZkg+fL2vrbIysDKipNIY
vzdVslQAyowPSWygMzY8Nah4hO39z2ue+7mnvj7VMdR1xlNf1yxKoUfqRBWOIGWSeFK1mXBYqEW4
qbyCivXzamcTPHTj+YVZCqzg7Pf1gqyhnSVOVWO59IbXrA6e21hAowwcKAMbIp8fyY6kGrseWtbP
q3/DtE7J8afVP/76p0+6yPsGlV5qbEwGUJ+RuN5sDau21NFfhPdoj7o7zKg2RRjDkSrH6x10FCct
b5NKi7jnSP6qRcJWpp52wCEPmLzsyl16HPbJPU1lzCaSyulquD52XsAft+s/GW7oj2nmMHqARPnz
C30fY3+8kIX+t4p/HDH96683jlmcJUVpTmWMl/9GvQ+jEDJsKFdISdoojor+shwTZ0NDMP3TtRe+
13MnFhA/tA0U2umXzYJFh3jL6AkW9g3DthoSFCG3dAKS7E4o3YVBnYck0M+vrJ253tE7p+qGV0vq
MjtATdmYOQMx7Wjonh34d7mxKrMLF+S5U8ohxNvAFM0JGDn7EBOp6mszaCwYzIKjDcqC7d+4xHaD
4Z6rcghgMzPMt8ugvs7V/9C7/rQ8f/r1V4UCISA2nxhHVd8PnEHU/PSlO16n3tbvL8ScM9//l7Vm
qBjB77xCqWPjmGIUp5PbXhHkbNhHYtlzF1+INh98rlm0ZTkg5R/bi5/Z11dDVMizMo1Xq9Xopupw
JpaPrVai7fea0NPKEdAbQveQFCOyk+Wy1LCDp6/SmRb1geW4Ih47UUoB60I4fsoTaWH1kDT6ztFL
iJ0J5YWkrNux/1CutLJuH+uvvpQ5lFpmUTpWfIX+aUj7rzAerbbeCSHCneU0NO4dJYarmO7TQb4R
SVIzNb2LVPexESQkiEjpk9ckQpYDwZ0QA8LGTzcSWiNRI2+KQL814WYb+QPKH1d+oWy6zgciI11r
IRCEqlz3GNDQ6vDMQ8zcroRuY1ruQgr/ZkOJH414qykM8Q1rM1Z/pizn58/mTG0LsQqkIAI5wPmV
2c8sxmWeiyP7DgShMFC/Xap4QHXi9UU00XfktUkEn9QtNFAPyNTNPp6oiiWxQPfgdDp5dk+azcyV
fxNXyR9qe/3nLlgb139Ue728ul5eX+8efPv+79/9sXP2SFktfgurxulvLtEBvlGACf6fn+vjo/8U
/BP01o2iCtXTr6eEwmBcHZ6eOufp1x63Afv304mHXE4POj1qb9+qtm7jC2Q/js7y+ZnHvB/sv8cL
mMpzN9KXh5p9D40mIQXf8VBPNy9vH/vlL5Ab4yGC5enOX2B3wB+1ffV4dcUz7Hx7c388xk5j/9YW
jc1/YRC1+Wstjj+fF7wjvgdaWhSiYdJJosE5B9ALuiHEntZLpxduu4XqqJA6KkeyqQd32TFdFMeb
NyQ9HDjkC8vuF+Zu+jOcA+2p0NL4Q9hM/yk6lj0uBLuyb96i5QkN/SXWDStvGRzHTeYUTrjInLur
Z3n1jFnXWltfobbN+wJlcRLevbUD5/GWH4Ip5S63kQq0Rwck5jblf8nta1oQ/EEMcDDkdLRttY8d
axE70Fhtb4Fdl4OSvgNodCPa0aI8oAbhJAskqO9RjnOYavN3f5R5vy/s4JmbahLEBBUAsA4s8uym
CvuEGivu1ZNyE18p79l1fJ8cogfrUCykpbfy98WtsP15zW9SGNMZ/7TmXHpDKbk5mmnN/r19ko/5
Vf9krKTNydjUS/dK2Q+H6im80zdQG534Oti6m+qKXCX8D5eKxMQFeh9pHligr1E+K9yyrRFtP47t
DrQ7cHPw3ql0UBi5mMPdhZc+g0wxSASoWCaLHGvOVCrTWPfwhdBP2o3vKFfCjb/KDv5Nuq+X8krf
WsfhCQDAVXATO9HfYWdcsrSckpz5ncaPTEjjx570k76+LYQwtYpC3zi2zc7zCR/yzjReoupSQTpd
+/N1GJxD0iV7ZgA729VBz5vaCCpKv/Z1wBGMTpWN6iNXaHkY1RGRggQpCFJa0b90fZzLEkjzmPwy
vZtUo2evaHU94tcuOot1vKzFP7XyapR3KmtJaMx1l7Dt3zQkpnNMjofDNURXeBPzVxWVUBkaSz9l
9s1AsCNO33g2d0axuL16Jgp2FzsxZ1JZCHiMkExeD3PH2SuKfh0lvdvJx6zDz8MdXt0I8rGgHoII
1ABxzx+XJso9SQhC2qzfpSy7HSc5RcXfaAFi4vBpiyzZSuANxKha/XzIpXOHzNJhjSNKDNBs3gTA
66SVPT8gT4vKNzDxqyR/90v/JkcnVQPWRgDPbX+IkIaJnqQCLf/8b6OhByhaV7oQtXbRvv/8SPL5
R9JQZ6NXwOmf/vqnC7UTTNCdbTUe1eIXYPWdWxJ55XezC/dyNm5kv0N+Ul+mhoK4EngaO6Fx3IBv
zHPFVsL4dnSztY8tT5c/GX1HtfnLd7GAC0ocFVPxKlKElWkIT+klwty5mp+SCUwqJcvEp56lKJ5b
+ThIBeYJ5YVdvYV+/5GelMvHYtuu22v3Utl77jL9tOD8+xncuG7cmAX9bXzbLF9ohq/GK3mpLx67
RXRKTv4+Xsqbn3+gs2UMcwyEa5F+UOBTfP2B/AJwfxsXxhElYZTOjwJqyJ37K7QerXjnBQKS+A+m
+nqRkHj+bf+37uzrFUnBowlffIy8DohYuB1yxsMq9J9eQ+Ptkkjv+fckNOGAMjF2PzK/TwcxKYCi
CebIMC8c39RAYual2/3w14Usl0o7o5kGk8MTXj4JWP+fN/ls2ICngR40XVxuoa97HHdmVIxmb0AP
qXaa/idQHuUIGBuh0aIUlo3dZfTPmcwCBAlwDaDySILOQRRWLbmRmmLVlBryUykpi2mPFYgIYVm+
dkVyr2fmWzqkG7np176M7Enf/nGzdOuX4tEYJfHCzXRmD4jXJIrMzMDUz/c/8ot0mODPWDoPTmXq
29z8k2TDYXSLdWZljtv6uwZjwJ93/swpozxHtgnApTEZD3/dedmLqNJrTT/2WsdE8CANxWNo1Ksm
Hze1fEll7Nw7En2Zo8kIwLPc19UyQcfuVSOz0p7EiJQUmhdlAtKou+Ht5/c6uxIdQBqACOeh4fZ1
pVYSqMATV5+AZHq6hERW45rTrKPUYRh5kW11Joqzif+Wmx/gCqVJsRZwTx6Ea4aRnr+k3m4vzRzO
/VgAVj8uCtDwHyOJT59oK1tdbga8FKA/3qjXdnAOAPtchIWf371/C82v8UDuOtlAXWLqZ8i40kT5
ojdxxAwQyHhqgsHprYtumGcSs8mYnfYbxTUF7+wkFm0TKnEr60ejfhwE1NijtaYAK6C08NfxQPVB
pqZfynu/eRWQJEG2nqKArkAX/pgtfdrTtK69fmA4f0ImzqGuWhtLSHBv1VrfPl7LCzQX7W4zuE5x
oWhVpveZJaKMq8A4TpAqMsLZt+Dn+SBmtMROln0Q7MK+0Z23tzfVebu9enx8fJ6q5dfdA7KeU2HF
FO3C+uegR3SOISzJSMVMxpBfv5DA8kw9tmL9JN37t/Kv7CH40+7cm+BUrITnanMJU3HufjF5V5Ml
RYt6ZpYallHZSengWydrTxsY857YtOXf/SsdFA/9chzZLomETG8w32EiDd8JxTfz29mJilPExTMv
0Y+jmG7rQlxWxats3RWK9AZYFjm6C6nCd1Y/Zwn1bQIBLCRoKrOgIxZxwsCLGsp7pTMOavVU/WqO
DLg2xQNOReqzePBodT1luZ286yu8Q9birvs9XHiOc4k/jGHaRhNGkjbV9Hl/OtNmm3ZVYGQUsCt3
rS67P+pOn/rwxcK61pbonxyl52yFEwteiyvr+efIey4v/Lz6fBqbd2Zmim2hnoSbbFdeRftGtdN7
aW3eSMvxj7khMTVuf17z/M6jr8HEzWAOZc6SNNG10DrGwvPYDMlNF40LN8j3Khg63VfeJWzGVAoP
3duqo7FzsdPy4gprsXRRDdLCGEWwOtK2rsydYIgLvx53STUusiheKQEykNKF/u05uB079L+nnX16
IOLHWrVItQCye9lasjae/qzID+jL2YH14NWHLljk9Y0oXszyzsxjYZOxQ4ohM5H92MhPR2OQ0sSE
gKwfrdjceNhFW628wvR+oXiW7RXPNFcV2IujfAyT6j40NQoJiuRcuqBa8M0yc4q7nx9k/q3oaS1p
fa0fNeMmSOtbP8cqpttpCkambWUPgFRq7EAxwdyYZr5LWnOVB9pVZO3D0lyWQe+IoC/88aXPdJzh
geQ08lLRok1ZhtvAerdocru1v3FbbTvU+2yUlpZnbX8+d+fuSb6xD/4fX9ucZTrx8zM9pyEcYfaD
eYJTioS2AnuqfDFQLmK3txuUi4Kb567KiZsD8IlcWZ8jjWuszkt0GOiVFPU2odJODOCqugFLotyL
g+6Q/TgUM5uGkevPb3wOazGNqBQ4lirzk/mwqi8yOdITzHrN5DYvD0gh9Jbs9P3SnbAuB0vF9jy1
f1703DYjN0kzQ2Gr5bkwOC5rWtIlGFRk2TXg6rY+CLDCik3sVk5kHfXs8ef1zt5VnxY0Zs2oNPUm
6mMoM2B9jEbrKjEh5jCaNIvsNk51/AO0lQ+SGIe7q2EcTxeWP/v7clkyUOa6xMPka/w2pHAso0qQ
jthrYDZ1VaAd4ivdrnDjZaQUqybVGTONtumPNxeWPlcVca7A4lKBTG4tX5eeqL6KBaoRUAqqj9Re
jSrYuofmpCXup63oMQnvdHRnImGRYIjcYjXYFTIintXSQ8Dz5+c5G9hJgqbBKFMX+YOm+ile9UIO
BxPjt2PQ1OuMeIg6pWOEvTOGvzw5s3vzYLnSepsHlmm3IX1qLVrr+Et6xZOmIVNpbbMSiaUJB4se
nts3RDnm0qb8H0IBfVqNGQBEQrAXXzeuw8allUrdPdWqDrDmusd9PglAH8TLDAcAH4hYzIXz8/Z8
nPx5isMtT+KMyL+sz5Uf8zGSyrHk3vNzdIpCD4M/KwZq3LjjUy7LR9HqwlvT8DCHCUWR9Hl8FEdm
7p1V3KtphP9737a21uUI/FCao6GCwWxPlc4sMf8bYkm2gJc82I0u3Ot1A8MX/ftjo6rNglrUWkZB
XU0OqTs/UkDIql1kSyWQarQAb6CwFlCHodCGfmKtBJ1/TgdQMikGeTUamL1VhR7bELVilAREkzas
IdumHtw1OcSpYGh+iYlyU8VCtTJxLkFauDCdQoQFZsJHuHDSzgY2AxIoJrugPGEFfv0BjURtjbHC
0a5sHL34lWnYj3VHFKcUupnpC/BD2m0XMKxncyWDjqkyISr43JWviyahFgl+6KnHXJU3Kv5fQvPQ
tMxeQ+Skxwc9jPeBcu3BKKxy/zUzu4OQuauG+vLng3T27S2+YUWc2jDIzXx9EHOQ+qBuI21CsOiv
o+U7EvyVyYBW3vUAm5sB/umFYPOBQ5qf3gmgNDFeuUXnrTVdE/1B1OoJhpXeM+dxXN2/llNpbaj9
wagZuhTtpiLuRmm3jpCyTLpgqUnJsdOZX0WvyDe/RqZ4I476ddegh9YLL77HhApvh9i3oPeJe6HX
18wcrmH+XiWNedd2mAjn6rYT/qYtDqSNSRj1rvWeZKKJr/3x2GInUJv+ocYH2GyupS7f1L4I/Rq9
XVgRGSQSXCpuMm28kBOdYzUhbvRvP+aCO3IQG5Plinp0AdDUE2pvGJj8YavoN4KTKdXCa18s+kBJ
x0iuBG5rWhs/3I0NDE+/o4QyrJUM+pFseKf53rIwtQvPeO4qBupPuwhNGRPjha/nxG+znj5VKx3r
4FXHNQRRNivYyC7+2esIeHPQXPhEziwIM2UCcpk0BhiFfV2wrHupqEp4+XyWYDt94xA23PivnMtk
Cijwun7+FC4tOGvIZ3VR6mNqKcfQfVVABprh3lAPlXwd0w8l21AuutHxBrOvAPA2dGRoFPSZjdmn
56cqwmEJfLmytlaFfip1eScl3cqsa8fwLtlJnH09rnYwXDjDAE38up+qBTAm12J3ovpIKc3e6zQF
oxLcISOFatcEZ/55P8+0xni9/y04OzFxkLhyW0PVU5ABD6vaQUcwz5ZWIV3qaJxJm76sNL36p1wB
yAw4dplOvSgi0L1t/G0r7DGnz9BZGdsHlJvz7JJQ+/T033+8f2/3UeZ8WjMleAtZ2xjogF13QcY4
Ef8xHDJKAZVlnJPafLgAZJXOlY+TygyyYIAcmdnOdlSJyxotfNE9ThwBBXuvGA36qfCNcIIxpHHr
J9kOT1qIHndSpOzkoTrgcL1Uk3Gw23HIAEB226IZVkYb3UZ6b8vq6LTBPpOxCRtwcUgPnmGBvNtZ
RbDrI3cfIUAeahJ6xvohF/S9Fap/lerQW1RVg3lI+mTFageti35r4Wvtj1s5HNeVm2yNjnbHGoM4
ZtbVJsY42m9KG9WUnSU8KFa9cbunxtDWhlZvOve9Nklr412eAktQi+3oxRR3wXbsFQQ4/pYpnDwd
0ipuzW7YXqutuy4VcSub5WtAYlih+i35wh9C57byxq1YQ8MPx79Wnr2POPYN8rjNgP3qvou9UfQY
jv5KTDBwkV5SGgYYzYDhB0AEDl9PYDT4rwVaoXwcwNvWHqmclZu7zq/QX8s3lVEvO6H2nVgN9kac
bM0GtiH/iMIUrs1cuIqjflHWyvPQ9nbj9aufv6tzHzIoBQRvPhrqcxBYjZo+9SdiCQRGqaajManR
4c8dedcj4u2XOHTnBpWQhyeHIx2FDEmc5UetAQd8AKVxCjMb4cetvtZ38hL7sptJ8FG6E+/7o3yT
XF0Za38T78RN7LhoIQu/qwtX0If/zPybQ4qdS0g2GTTPp7haXKCV55riabyJt+Gtfwp/R/tshy8I
Ht73DK+eSV1wzVQOiMOrv4cOnzlb4sSs2mW4cd/ER3TQDXquqMdnC+0ZLIOl2FFtKxcKuXOh79+D
okM12zLE+83K9wr6PPLVYFwZyb4zMbzf/nwQznVyJ1+U/7cfLDMrF+U+QPShGKwj2nk2bGiL5lVf
gUBea+k6aI5j/sqMEhiycBurF6L7ufj3ee1ZAhshYyOOaLAf63pdpWsgcTBWwU5M8w/tEu/5HFLX
goGFOx16bjSTZ2/aYUAhUwybR8wgV9hsX/UY1DWKslYACssxRpyuspHN9BAXMb5vynJIYEsU40MV
HYzmwr5/CErNzyGDe/w56GfTbp11CXCjAS0YwpotALz7wbBIxharder1wb+m173A4G/dWP5dpdbr
rvxV680d+MvnVPa2Y5PAuGoXFiR5gMG/5VDcS3VtB1Jyi8knU31zk8nqhe7NdxEl+v2fH3mW3DCu
9pW4SqXTHokOqAkvlv1W2W+SLdmnwN6e7u7u1uvH59S+fn14QLgasTIGEPd/j8dLoL1z3wbqbHSR
Jt14kpGvl7VmpUqW0tg59s06bfZtdaU9dObx50/jXIwEqTmNkxT4e/MCI6i6Qoo0xnKBeR1JW0Qe
S4mbTnxWUJTsZFvPL2zwmfbJBA39t+DsakbUCMmpkrcCSi73G6DVSDr8/E5Tgvb91P1bYt5oCJqi
HsUW7HZg7Xthz4ysTteqEtvtJSDchd2bhy+k6Wi7dfXHDSPHdomF8B1dvhEo/8vFefxHff3tvVC+
APCKbpqlTk/zKZPS9bjrxEJTSUxrO2LeN1oPvvIGkxWtigeze4HETSfhQanMbVAHi1rFLkmm3Yge
mZWajmzQc9WroxJqjufXDTgeEWfkYJH22btvIcKIbOwGiNlBC6D8qxg3adFWFRGa6tTrDkE1EW5C
gA64VFto4ty1/bF1RQib0jbCN/dyNJuO+Lc3Zving7ZgHjYHh+o1LbgslaST5L3lVYWIzALizgJL
HJq5B9V4UPJF2F5l0T6A2SWFMdHhYi95uoPmD6HTVqWNTR6BjdLXbRcHs8XEtNQwh98iOIYDKW2k
d6O59odl4y11xQmsfAlJ6udTfPbSmtQJpy72pCs+i0RNVNeYvpTSqaw32JhqlO1ej4VXFC0aLMdM
mgEDBk5Z69TB/3F2Xrt1I027viICzOGU5MoKXsrWCWE5MOfMq/8famN/Y1ELImYwwhyMxm6y2V1d
XfWG30MBPxWfha+f4b3luHx3wI4AHnGJpma3OLzaKA37xiAaXkPPAs+s7l7kHd4P9jZ3djtQ1rvY
uTscHiQ7BtS8u/r+qGz4+SH+P7zrfo1aczGzZz7I2mSw359AmFmaCNTLFPU8Ih2VTpsuvx3SB63/
Ex7zHIG9K3+AlTI5frNyd7p0jP9vYLK7xa3Qi9TB7EpEq6b4Svdzp6cGodyYcBQLTdtoxn8JLZR0
gXvS8af6s1h1UhWHYhkNjGL1aAfKM9slNZ8UP90lJgwGY5v6ax3oS+HsHUcLqh7Q2rLhPQbC6MeJ
b8BMdwTfd8XmWtG32ZDaxIHWMpxqTVfuUh8BuAbnji7T67KWtsOCZyhF3FlgquDA1UhkqTd6/gay
QTJvBKQ2UByyzmK4UlfTL+3pv4ZdVhQ4VvtULMDDowQLeBxp7HdAOTc6+/bhDvKubz/cSvYtMpKb
u2/fMvvH/YwzKHajfbwp7O9Xz7tvg/37N/h5MPQPu+8gxI/H/f39WfveA5dfW/efjzQJDRBSAYxk
sDB6r5L+FfrTrGsTNSEGeVa3y/3G0epdpPj0KI/edPf1pr9Q6ZQkwNQ06xTiKzp3HwOeYRSNatae
gnjOXWN5f5TepHi4Gbq7ssygZbcPsWJxmqxFmwuL4ePAi4yHpkGdFBqd1dhwKa16P0RgzgFhf3zH
AKtATjScsp9X3nd+n49BjmEtBKDAaUoyF7eP7ysofpBItUqjFeJrPoaOIk77MfZ9p4GK3gqjXXWz
lUDoFFCGI24oSpesRPtLH5hkj0QWkzrUXhbPYMCO7MPBNx+Kbepom8dil+9XXnP+K5avCW7IEg2U
WNEsX3zWnIRZHuJOPpMsaFyA4qo4lLnvUnnY+BR5Rw53c/L2chOs3EcvrihCCnV8fE7IXBZJ31RI
0SDpIDXbWse4KH2R6/HOUh0EqhATB+Hmww5oe3APNNq3K+/9OeMEyz47L3ItJ5FeRu5JjFsl8QXj
YXA7t3cQLLrBQ/xRupPdfKt9a/fZ9aos/cW55hYGQOx90y4+p1c02G+pEQpfmrYN1XwXeia6kIjQ
414BkJ5OTmIPlNFNdLZW3vfiUvpn7GXHC2xiopt+yS5Kf42RD9s921ERlvT+WBjWCbvPvWKGN21s
2GmM63c9jI6vd6yFM1ZWt3597a3CVy+c23wEtCTRxpoL1ctEIumrPqcmr5/9iM5ZYp40hBTH4C6C
Cxd6P5q2OSac6EqyE+tuU3bmSqHh4qTgkMt1akbAvGPN/gqg1M9C3cRAnn71jUlVPo6rQ67+Sahp
pNEqiv7z8cLbYg9PhxpPG3FJFel7Tcomo5BnyPrQR65ihY4+7BBvUrrXQroWqPyRpGhrLMuLGw3W
xns8gxgqL/Z4kTWUBYJcO/fxveb9oK7YlNSTcWAonxpkz7lrrSI7P2cN0qwaQC6G5wR54vz7v6ZW
i3SpKvRIP5vUNnqr21uYtmZzMXtnRO0WG6ke+bOvF/kFcAy3VSI20gEmh9RyPVlhPg1il0vnMr4X
+8qt8V1P23hL7+tUTtdRtvU94R7bU7vxnnNM/gzz1cvyb3OwI967gR+7enVd5tPdYAz7ZqrsqRW3
ZYO6Zmi4qniEKuB2gblJOINklubgFyth8UI3i5eYfbJJaOcEaBEWDZJKCwV+5SzIjVNqrR1Z2SG1
NFfHNUhUqpuwiXFunG4DYANJoO49C+/cIXDGovtZZvJV1AOdG25BBxwi5QZL9ZUzY36AxZHx4QEX
nzbU9TgwDLizlvKkZYaLLQPmWCFn4rU8ZldivXJzv7R+UWQQdZ6YW+4nUqcUREZYtYb+IB6D79YW
hLVd3GQbfb9qDj/vhOWrQW6a1VBoroJu/bhq6yhUAlNJ5XPLGR+2dzQGaHrbqJT32hv/NvjkGduU
inG9piZ34VolsU8AQgKn5dQXF4MPSes3Wsp5+JIKmw6DvPoqbK4C2Q5QwU831r6mAXAeXiBx3KWv
/rk7JcUmam4Q3q0St9HsVkIdw9pVf6Zj+NDj8R3zD2bjCvIBe/pU1rR5XFkLF4p5EpgmeRYI0Wb/
oMVDm56nmChU9OemKx0LiETqT64mVnZbJoASPAeLh29ZKm5lsdwpwy/qB46couQ2VEcJ+ZZE3KlN
9csQo0ONIY0l1N/CkGc39F9zx7hQ1lzRL6xeHI4QkeYqg93ZcnslQRNaqO8rlPoftXBDTArKpzSa
W5TJmtL/pbHQXqNDDz8BQ+L5RPgrCCZ1WkYRXxzg+XWn/xn6J4Lu2B5NVFu8NUOjCxEXm7F/Bvv0
JYY6wTODuFHPFimyB2w13AfydTfuZuHOWvnxdbh9t0ha7JZZLWWOU6jAIij28fV0X6iTsZf6s6BN
uypHJ6Xn4uth7wsJZegMPE25HXb1Y9gZd/kUbzmDrw2zux0AFfvIwXEmPQWNcEgb3y3M4rughw9e
+Mur1N+TUL0MkX70E+V+FPKrrJxcq74TsIJA99AeVPPUSYUjVHRhBwCKQZXs5ZzIHnTtNpzMn2PT
/EEWHYGpHdeWrYlVXJV6QARyaEjKqyqm+0CMdlmRYJ5Zfuv8+uin1gmPjj/S0Kl2j4PY1/N1Kd1B
t9aYiUJA50kGPs6XUhZt1FFyPdfiMTIqx6x+e8KdpJ4gWEj9pk7Oqf6IrvNmVZnvQqLzYeRF1ajB
VyRJJ4nmPLhqNPay5KgM1/nwhKD2ykvOxZ/loiCAUZzgUkrSsViGuRR1ptKyv/r+Ubj1s5Ol3fUY
P6X7Xr2jJVj5WxSNqNOt3YY/V8YpiCFD8t6hn3OPj7NbKPEAIzAUz76sHNL6VzWIh66DFeit+ktf
SOQxOuRL0UWEsLmsQCrRoBjYZylnkyRZvjasc49jW92dpPQIkZCdlq7t7vckbTmvNHHmGUUjl6/5
8fVyT4RXNDXqOeYMgk/na5T7iv4sNv23Uo9IFZLkJKL6kqJ6FgeD08oSqcAPbTo3PBwUssciRaFZ
sDBIiH4IY7OtenEby2ul0UtxyOKk5lvMtdGl3/PABp/GMmMBNG8UJGY81DjeoDke1vPBaa7RBy6s
bRRQZ1S0rKsY6i4mJohI4rsyRHTSQjZMvu3ynzLAr7HPripBX6l9Xng5BpvDHVdlmC+L1T1OEuqn
EWU+uuBh90pKZg8ykq84JBXgOys3WGsgvyetiw9PkOX1OK+wyFkS7to2VEZ13rvkI5KGF6sx4Wco
AiGCCCJJaOYfsbjAicNtNcMeJBiuo7uyqS8seDT9qMRR4oSIvTzIYhkUmeVxdek7bADVP/N7QwzD
IxXvkh9NAiaRlKhbqa5e6G1IH4ZdzDYQejEMCl88RwF+0HQKx/7R1IQbygaOWJHf5NKm7lEzLSa3
9c2TQUunr7qDof4o84cpbK+6zDhkhrQRdf+6FivkXkxEyhUMlO6LTrxDf5R7kHzMlPB2QuvFnqkE
1Ti6VhBv0IICGtdter/Zl7V6SIMJFhw7OxaEG7VPtkGBfV/fr3mCX1hjOnR36uuoc8x9nY87vQh7
bSZcK2cxAl16xx6K8zuOci6K3MaTceXCcYHdTbT833io0n4cT6yrsjPkQTkP3mOchNuyLA64V27b
3rqOqWvNoTsT71Kl2Ihm+iOazn0lXrdq6IbAraam+w/5PnsZQi1lAZFceBHJW7PvWw9k5xk6+VZs
2kNvhkdsIs/8ryBjq5NP1cJn7o1JW0EJXcjYwOhzZYWyLoKam7/NXxlbVVJz0hJrAAt1IEl35iy2
6B/lMt9m0su0RrW6cGYRRPjBjtniEyyGM6o27RqjlM5pqG9Lw9gKHXdKtdwIUv34H/Ywyg28Fvko
K2vxmQW1DKMCIOu5CMi+pIyqmknvLHFmRnyA8zxmtBC/nH74/fXIl+4I3N3+N7K26BdFRTkkoloD
q6ZpkEx/EB/eUPuxK7qvVYuePkaYVpcDUW1sHTWDlsRuBGdq9cx9QlUs3ia+v+1S/6EvngNvtJvw
1BTejVoqttasXcQurQGUt1RaATNA3Fwsv7oTZMPHpeUMENwAHJXdtfLTlGyQ/2Pcr+fmYnRnuUHw
g2vHpWTxVYKwtgItSvszaPVNboKDMF/NBjg4ILhUDQ/US2ovY12M7jByL0qtBz87rDzEhTeeDaIQ
UoDCDjNmcYTKQtSqRUliyo3eLJWDMU0HtdG24PfARaUEPPlG8M2boH4LDdjtYu0EQKytWtv6YgpG
eHLFeHiZWmMlNl2q6Mw7Y749Uc7Bmu3jfhTiKQg8VSCpk/rtGOa7mrkJGssVPH0nivlhEjw7qdJ9
h0Oenj2r3pMFmyFp1CdzAJ/J1VefiQVcDGTzl9dghIztei0G2zbS3CD+M8nae20nMGVXG9sT4P6j
j5LoygzPz7k4xGdVaeIKX5qO4WKGxViNKJYN4rmcXovxhGxvS1JWtb9U16xAsD56CDEUbju9fT3w
hQDDuJaOYB1FOCrtH+dvqnQTNYR8OLfxM7DVzp9uaznZoJ2zspAvNM/AbwAtQt+LLizlt48j1bUa
T4hrd2chr9661DvKSvRYlfiDJNjA4I9057XFlQg9L54qN5GCq7ZJdnFM/FFGF8SJq+jY/Fqxrbel
o069i7iADbeJm3NxrOty62vVBg3wjapO225s9kYQvGaK+b0UG9xxqp1v5ju1Muy2Q9vJ56NLxtFC
sLuvYZYnwy7RbHmcS4/DpsGRSFbHo5UbdoBvSQcEFX+RWSn6RxJDrC/yo691lNpCR74usAbSdc/V
jdrJ4H1kRnlLR+jVS8p/n15CXEICxjIwDydSf5xE7DmawJQA00f9iXQvocspPVfNXWOy+3eKdff1
6rgg2URCCWYE3XGF/G6plaT4XSCVlTwAS7dpcZmpS1YVDi6oflW1Y7IsxfaAU880Qad4YjYqa/7x
FRs3hfZh+llZdg1kV3KyNQD0uxL5Ys8g1Qd/jdqfhY74YkWZWThUgVS056bPTujvTo6MXx8Cz7Y3
aa5MsOlIh/ELKeyG3qCuJFdtAKJ/wpYKjxrXEHHPnCzF8dL2nGvVU9+WT2M0S+OZBkKbiOol5hHh
nU2derZSiiFvbLw2XeamydrbXAix3BSJYMg0Ab00Fid9Gfj0zj3ifNQM28CyHo3RA6ZRAsrVtF0V
C6dYWDOCf9cb+DiDQIJoNBA+MUFEHePjckrCUkacpBIeDFFyaz5qnJnbyjga6beheahiQt/wk8kN
IaN56nevT1yhJE/OnVZ7Nrk7h+WrJTwI+bOg7cPw2xhQobgapdRpzO9Z+igJeEX5lUvGbI/tXYH1
r8QfhtO2rdAXnGJoOKpxkEptO4XePpEVO+txXBUmNxP+aAadPf9aEDJnSnrHSH5OxWvXvc0KUmZ7
yhUIRdVJkq9NmC1B6Ph16xgytqnbr3fBBXgk8glUBKlk0YxSloZGgl7iLNb3I/BI3wmQJUybW116
UaTRDXq4tZ13K8XJNT3o61zmUJl8sv70oYunw5Q0a9L5F0xjPjzOks4SdsqQiVBazp3ATpTzbaNK
qMWHbjmWG7EcbV8pjrkxosrpPSoj8thoAXTo1yvIGYmK4EDtRUsf8y8P5cepvZWt+vBfyJ4Q50Sg
iLSy4A8sYW7apMZchSHx5gM8AVzu6hRVH9rIgpxqjheapOqia2rVL7PXT9oo7lc+2+dK04cHWDoZ
VJUpVa0fG2ekoPZx4T+brXmcyTWdVAEZAdreIVOoNk4imq5UGo5cBgdP192vn+Nz/WG+qygytfuZ
j7a8MnitbBW1p0tnzELuKQWVpuoUccsRdV1Tavt6sAtlIEzrodrN9yJYxMuInVp6oiQ6paexi341
knbjGYSOskZEqgofg8agEQAMD0XjUBAOQxTt52vF2KaOLIFb8cKbXBwdmEqlq/vhkzZMk1OFx7DU
t2MvDGuPO8foRQQycLRgc/Gw5JaLu2xShpNcqAFZAX6sNooCWzlBUbX9YVgx67SzveSXL+vfEzC7
qT5yky8fh0o6KGJ6CgrdGYNwX+ZXgoTFi5XI1zRtNnnbvXVkqZThNqj/rD3y51oH0oF/PfIiaBaT
oHlS2IuUzbQrky49vYiD2r2K8VtPdmIkIY4G0a1KrJDMyjG6J49G3eh5e29EoiEJnTqI9nkqXVWW
sIei9O/XG9dFAIAisi8I9SxyhLrJFK3uOEmAjsuKB0dX23jZbd9qO1VINyvr7dIH/Gu05SZT9CQS
c8+Uzn4V7UZ06JwkzxBupWre+y+d1dxM8NiDUOvsWOuuwIxiJnyiBpd0zePUlhujN//QUxfa13Ao
iVNRs/OM4pRO1vcZ6mBNyVoh+PNRK5vsxNkGFkEuZKo+nnqo0gy9YlXTmcTG7bvEDozhNUi0Y0vb
Qabpnqny2hEif17nNJxn32yws/InFG7MNbIs5HQ65+M+CAHreD8Mfde+NkSAIIIDfExx9MZpaFVD
/kIOB/WWwueMxqRD+i6J+1fJIipLI2wLjRRHaF1V3/a1xrY5i3p4G0qaI4XyvdYmB0z7uOCMh0Y3
nKZIb9pWgUj8OGVeaefCCJxOPIVS7g6Sh6o0UvPDeFDIwnFHuW+En18vq/fbwCIumCRCdAjAb1FU
XNyx+8ycuhDfzrOXx3DgSSZKUoTelYbsrqx/aoNsG3CZJvSLcf88REVqR5m/oX2yK9KIfpr/PQpu
rBRIYOjfaGV+ouvgxH3sJjJRQ6pPXh7YAujgTjevaKdv1Ul2a19wmuS7VeEQ6gv21EP7RLlQo+gi
G8N2KKfbNPgVWx391sIVcnmH2PdVTidNkiunjF5HSb7vutEW/V/M014MiuPU4YlHr6sVBzLPcTcl
Bmi08FnjMA6B5GqeefC9CbeZ7G0YKidv+9up6041Bhsl+atP7VIX42eNimNGGT8r/ih6tw+6N6mr
tlM0Hb3hWym9CPlTlfb7ybM2cvxYaNKTlQUr1a+52LD8KkSWWa2AFAS00Medw2nOISEE7TkI35rg
VklvhPBp5ctfGsLE4mGmFaDZtticg2p0hVLWwznuf0yNgxULcly98mfUd+G/F4gnAvw11qK2Uo96
3E5S05+9dOQag6d79TbVwltTJzemjBHfkPBh85VYcCn88Ga4X9EEo4i0mETdNwUQGEZzjpJXq3hJ
AepGjw1a3TlAr7UD9r2bsvxkqBUBKJJEiF1Lak839DVNo6w991QQtVY89WJ+7ZveNqfpqZf6bpBO
eoqqMctLjO4TpAIitXN11djoYvsYZtVV1iW7Pgk2WTB9AxKxM0XvBrnujcXWaIR4bySNo0wlfrH1
xqDM4iOpmVDyKTqwCRmi9AW9WQq2st30VKv88RhoGet+uirqxjUD75hp4V5JZAAKj5CuHJo1b3Lm
7+l53BrGrab2eyzRjlUY2JPa3uda5+aNpGLHa95kwcoCvJCuYXSo49mHagGuJvrHNa6GlpTmSlef
Y+wVlPpBkadTFcWuXyGK0qzhKy8tBgRYNDJVjqNPkvPiFOl5EAnFWTfGk250p07pdwUTmvbCebRM
d8zT56932AVxBBQRKOcBBYDOqi+3mFKMUWsNcXlOIEYHFPDDMDsqGtI25L+qBV85C+89nZqrz3+v
Kkdha0hGctuU9f7rZ7nw+qC3KTfPemKzuu3HycY8x6MTqHVnPd7H3YFsxa/2xQ/vGYmhlbzt0lDk
begjzg1gdBI/DqU3nWY1Xtuc/eIpGU/ekywErtI9htJzY1Urg126o1GXmEEvooT2w7JGPCpGk5Il
NmdByLHZsk6FVttNV5MdKY4o19eqKDhFBmmK/LrTAFbShcagl0J7DUunOcSpuPPDzknq6cofBceg
6FWDc/96/i8sdmIs1xNYESqxaLHYK6P0s8isagBxB8AuOhm2V38nQYNwtft6qIvz/89Q1mL+FWmS
YtGKmnMlvBrm3qvg8WmOGtz5/qOKaMnXo116McIeOAqqm1y+5t//lfSklZ9nqjTUcLkfQ9m4SSMF
hV8q6JCN1SBZyYIvvZvJFRfrQjTAsB7+OJqfFGNcY5FwbjTkRkDOKl59kHrvhxUcZCvfGJPpfP1+
l+L6DJ9AKQKkAYoRixfUFDEjUEn12WrEp0C66urRjcdwy37/NlbKdZp2MBQyzxb63hEMyWl8eROR
S1hS6Y7lTy17aH1UYHxAAJQz5Hra19FzWAVUnUblVxa2G6mTN7nk76zS33TBtO0Dxe66fG9JSLdH
4Smq2w1pEWilbMeNh0ZIdC0Jz504a03rvwp/ImMyj9WkAPbJ3SY5SEP0fZqafZL3dje02zyjajPo
95GnQ8MpQmfQDTy3Ox7h7uv5uviF/pqu+fd/rQe/GTXUTPRibpIHRHIUDCrrpgtejAiywNq2mrfN
4tCFcAFuWUf3nV21WA9mIDeKlJc18Gl2dbwx0p0aCLbUfv/6rS5AAmHJ/jOQubjrqc2QdXkoVmfg
LnZjUg6iF+R18UZPwhNAY+7Agt1ZBs3s7CT25T0I452UluSH4X6GTicjuvMAQiiObkbhp6xSLaqq
4wj/V9PC61q7S7jK5XIOqnXa6gqWcyiHirQ7e9CGvd7f56b+GGhIl3oy7ifdFQe2lZGNc42PlLWa
znwefJ7YuYMwcy+gKn/8jFZhtR0pSXXux3RTCsnByg+aedOmcBV9YYtPoDz9l0iizm5QkqxQvVkM
aeZ1YnaeVyDMtuu5Q7T998Ck71s7ZWz9l7FIOqCowScGPrR4vdKs46BjrLi58vTqtdXNTS2WsCeN
Q5/IKxH5vRLwcTYRaMaZWFJJA1AKWuS/U9Vz9CZBBYUlPCQBYhfSY6/Q7UhhI9X9JpSU04i3HT09
Jxq7leE/b0lGp0o1Q4EQ0l8CwWIlLQYlTKtzGt9Pw6nFfoYwNh2QaWyUlXPufSN8etV/Bls2t5XY
05hAq6BmWm8R47I7o96ii+v0grJBIhtrrdBpO82p4+SOptE+QV+rmVK36D27If0Lp3Krp7fokLgT
5ZzMOpbF4GBp4dRa4WZNgK1ogyZyW2zn2Uwz6RXFQFdvNScpRbuNyofOqn4l2GcDbExpUZURDqVN
+zbJiEuI0XVpAF/WLGiyo9vq8W1fqptRxjskHzdYVjsi1ZA6gwgSQj3RvKehnWzUSF9043fnG06X
cFNWouIJzsQuIYtTw/JaKLrfAZ7FbEpMEvD8bNDqMLczqLEULXfE9iL1atvgKdVI3/h65g4+4Nxo
MPcDG72c+hPr9beWPBvmvycrzgsAYhq3EsRk34PbXzE5DMvSj0ajmld7Y2iwUgfsww0Dl8cbeu8B
Rtn0jcs1I7vPwZlh6aVTHJsbLct6bC5EY8XFrD53+vA7Ud88OX9FbBJzsmjlkL4ggjwn2TAq8EaY
08BF7GilXDbSnOy+L35FlMKsejBsslNMKeu92Eh3IOHer/B5UaIVNDpVqz6HlBKAzTktYpeVDxzJ
4iISVs1KzvJuEbnYEpSigBGBVARrunRdatKmkhLNqs/z4oh7p2qqTZyTpWqh25f+S25GR2mctqn5
Ikv5tZlPu3l1t5Vvl4X0mJftoclR5omM303+JPjiDW2iX2PWupiO7NNGdrLE2BTJT5LMrabVrT3p
Hb7JyU4g9/MkzGnHyfXNYCWuXKADAAYgD4OvRrYPmPZjFJ0SMwfSRRSlL+hM/mNi+VvPz65S+ZRw
4o/deJMX0mE96bwQ0f4eeMlpGaLeMujFVPAtb0JLdKscRNLJmnCMUjPbWjOy+XwY8p7z9mEXARFa
tgxN31Qm3MrKc07HNR+QQJE9h6stvZ4Tse4cezAThH/fgqaKwKUGtTIUtqkFfZzdLvH6wO+S5qyE
r60ibkPruSkkG9C8G6ASMpHFYUr/+nWic+lV0degI0umS1a/+KR+aQ4psMr27OnKrg/wN5a1jZCi
pMEVWTcOXVz8Stk/X486/63LHfL3qItXTWKhjRHSK86aSqs9RMrpO14Gav0wQID8eqj5qP08FOVh
SgCUHpbK8DOZdNTMrDqb9Z3kYzxLOLnPvHBtb8wZxOdxwBJRdKBsry8yjCioxmSquvIs1vRaDf3e
MsaXHsN7RRu+JfA42xYWbRMeE/B7wMBpJPb9tRKqK+97gcXEMsLs7f8/yCJFro0Rf0a1qGYQlcdx
1A2DK+JO0xXVjZH1t75xU4mVQzJkS0J278fhCbl3V0KhsBKs22bQ7tA/Q9RB3yup9aNLk5evv8jF
MIJPnAr7FRV7IsnHhT7ltGi02KdMguypkSEYKKSHLEa3epchDTxohwyPeUUvV6bmwvkk6/PdlV09
m0YtcnpzxFo+ztvijLt5Y+29aBdxbNedvJJsfk7/6MrSmrXoScxU16XmoFriQz60FmvOEzaVOW0m
qe1RVJ2cKMS6w/RfQgXch9Cqp6yMEX3ars3wp1flCWCIACwDhKTgQfNxigN1qPE4HorzNLV7LHvs
jPa5TxVIHON9E/fuMOHaXr+M7W9NwFc5UJwMDEqanhpAW3jW2FmRuZZGC7fBIbJ780DBTApEo7j7
5ksPTf1oFR1RQhB3of7iA0PQcTuUE8h5w51n4k0gVVtpSm5gVCDtvs/Hn7NGaq8Ca9H8ndkCcWAE
MSDNE5ud1FR7Q7hG3IIe3jlIW1vMcLQqjP00oXM5vgZ0CrS4JImKD1aBgu9k/Iqa5hgJ/i7SQ1cE
EK3jHKwhYycKoV2V1a3YNgA+mj9Bn2iukGIdje+8SStoCCm7lckuLzR6n9Gp9Wmbt5ErK9+m9k4N
q7vGUPYpNEUvAYdHnVKE4ZXK8n2p0tbNLLvADdgI+YRouGE9sxf0n6lauVICCQ/xy2g4FOhJmWaM
JYx6sBrVsbitTqB9kYFbK1m8Wy59iD2Lrz2vhr/zvUhIvCIui3PxM0zdCbU3w60NF1tvUtBBsus/
NfvqLvTt6r6DkYCubku7Bv1Qu7j3Ijt7G39NlS0B9TapobktulSGi9gudpXQLVPfDSp7fG6fV5bp
+zL89OD4kFA+ZLNAHf344DpnuadnPLiAygVRwE0F8V7OY/wPawOH3si6CkysxnK/vxIjlGaq7Akv
33u17M+pmsq4cBahm47JtefXW9ETn0cz3DYS/gwF9Dc3jaedOGgoqQne3DyOj0NuUev2kidPnH7V
YX/Dlew7V7itnPejLUeAqswJEKihv8nYQdsonFhU8nVKtfVjHEVXjPgtMCNbVO6n5HoQ2px+mcJm
SgHSNXJSPQRJjZtjRD0nsdqDlKtXgy4UG5l7Ek9lvMl6ibJZXrwUSfxk0Cwo1azZo1Dcu6Cy7SZo
+WLY+7KjksgdJcGwuQmNN4QatP11hIyoRdwnVXw/yuBBc6n/1qWo+umJ/gjrLXAzGbv2ykOUc9RL
WmSAN3VdvBa05lBVumvU0g+znmHIkbHpcppkHcuj8FR8EpVMt30UBxAkqkla4+nV6tVjJk4/jap7
Hfo03KizOIDYBI8RXTIxyBq3avsjeiHHLGz2WpqAA6vENytN5Y0U0j6seiu5roRgOzTyj3qQMVSb
ZgaD9zsbhJtiNFu7ipU7LxNv2YTbuq2OoaweQkHynViFDlqE2X2YatthUn6ParMJ+H52H8enrvS2
8aAcw8jsbFEsdMzoE0hA0QtlqcGucR2zJ9/8Vgfi4KSVt4d9OG46UXvsEtqJmXmvxPUh53GwmB3v
6ia6xVGevnE6JI6R08Du+vS58pLvep6NNjetbCOHQ+jiTVTbqjFbuGr+fZGKEaKyGAR5Yr6tC+M0
xaVnD0H8ZgZkbzUijo1W7IdRQauCT2kXAT7TIcxzK4r/6JFMw3xNq/hTijXHhL+21pz4/RUTMHOf
rzdNfc7UTcqlJ3oReoEj520VSr8ykrVou2mwZ/3EIMMCFjHmG3zUFfNGRmJ/TS/14qGGjK+qUqcS
PwFdzSCShSTnlUqN+78A4Kbo94NQ7oyQHP3r2HQxptLBQTdYBmTFOfpx/iq5wHxPkvJzVSrwdz27
Mp+MMjl2oQmGljAuKpsmetWSfNM2V4I6J3jJN0McUaiNbmVPejJbdRv67DeldwXf26QJd0ChZHmp
d1MkO2mpH9UoeMPHz1ZAEAhd6Iw4zXQz8Z3UOzGugkTYjBWlZX2tjP9eBFqG3r/fbxF6BSmrW1kv
mMwQt5GIpoheRn9MQdv5tbkT2AVdddNN+cHirBi9YicG1hrG/NPlgzWKOCLMcoDSBNnFHCt9R/aU
59nZr4EJzF6CcXhtUBLVqBooXfotCtAR4CR1kz7dyO33jlwNSRVHKCjdHeM23rdxfcWGdpLIP4oN
imM18mvR+FPqJhvK2KkKhaNv+lfSqNg+OGSxfvPNo5f+9tqKZIIIQ3c0CQcq5/XjSCCYCwaBvMbc
X3vTxWyT/3ejMGQZaFi7T37HyI3QFQrkR2r5myo40OhaSXbf0SfLD0wxBgQqMF5EDRbbsjOHQE/U
ND9PaMz2fbKfZLRoRcVV5WqXUOqK5GTrg4vomuw0JoNbmOmTVQcbpbRsbYxtZJa3ZoujSRA5Qtzf
JXH32ExvmZi5mmDNfOP81IzFdSdZp5w1W/UDBYr+oJI1ioNug5E7j3FG81txc/FKh8gRV6hbRsJm
AqOawyYxxuhJUYO9yR+tcLsp1P4qMVYRwJcCx99TsagWJYWS16kcU/2NGl7TOoZorZconxSxcrKK
Ha56rsVVG2mWhy77P87eazlubGuzfSJEwJtb2DR0SVMUdYOgKAneezx9D+ic6BZT2cz4e1dU1Q5J
Rbi15prmM8yxWhVmwHyzTO8kfI6VvCPKjp5b46bRhINDv4slPGYiw60K4w37wXdlSR6tXPDFEhs8
dfUqMsCu7N66zHxGVczO+2clL96KCVq28W6GSiCly3u3QbJW7diLxW23kLhiKZNL0009Yt7HjEHN
5tt4iB4mYWvxDM/6kt6G4bSX8le97/ytz1KAjs+1ESkk3MUTxVanaJe2d1qn+Gtj7Wo9RoiDqoOF
39+u49sUq0xNF29RpZsoHTyaTYFS5kGsPpWa/GLlaRDKpHwSc4dIZ/RkMPKYlX0CnKpGSxEHzVu9
qp40hA++jriXPxK9j238QP18tl7rxGhrGhHtCchUSbbfF3gp8h6Ma8iNba/9szHwoGFGryPjdT5D
KsNBiFu5ak4CanWFqgVd1h1Q1tj1MNpbVbwX5ulKS1D9pwtBpNtwD2DQ/5xfZyuQbmU9TnnWndJK
PPbxj5YZnWio92oON384GmLyXanUt3YQvA0ooq0fKTQkM1NwwIBaugk3A2+sFuPQ5B8VulgZcteK
CG8ijVVyT+XRmI3bmk7iqmpPMSkGfckPIZRf83D4vkqiXwC96lL5Wy92/6lwOapB96ts2JGDH3q0
VST+TJwzf0zyIykl779Tdl9/4UsvHq4dHHz6xFTgZ52JqZJCLY8FIpL5Mqz45cY6HJwkwLfTK1E4
1jjSv74iNcSFj/33Nc8K4VVZs6Wd8/akdLK3IfEwQ3lP4/cSJxiFFDfsV0caGowaftDxCwpVDxCN
/lin1MsG8UGdm6exiT06Bvp6Itl345gRHLOK7Qdg17ZNduY523UN4gtSFzRK+t6p460uNjcbyjKj
u9Wuo29NzCpgrTqDLFZ2yQQhNTPOuD+/OtxWNZZa3ewIk7GvLNGbpPauhYVTMDGOzO7nEsaIh0Zo
gw6RMxrKvRF3jwb8UHnD59HXbst4F0cvLa26haGLKBR302z4W3qPsN4h78PAxA4AxW2zoDoCN2yn
tANaGsb90jrCCLtr7RqsX0CuTzQqupe2qn9v2hFzGLu5IAZIFN+WffN76xyJmfUopR33GD2W8w8B
X+paGmw9VR+SsAxicOARDnl99isxk+9j3wZZJ7hgptxmg6qP7WGW1dMk5KzR+rkUXotKhwOcGV7V
Ml3vamplNHcy0a3kcvQ2INQ2Wlky8XWsaI8ryU7s1rcwMvlc0OTkJJA1UiwQe/yk217DgbD+LjWQ
CLvM7dvqYIXRbsgtW2QoFPZ012XdQwXIlwmiJi0Qq9DvFaawiDV7Wv54ZR1eXvokkrijq0SCs5aX
Jacp2CCDCn2MfXVQXYUpWCLUdtQuQUMx0FVgG5YST9cPc+gwG8gRqdCCAbkmOV6cFL8stZs9MAbB
17f2/6Fyz+Ihe5F2LERRCSugs0ohGTE70LGtP+Ef19lVWXyzoD8s2frRGOpTNa63XdzdbptEil62
QTVv+9AjP2t1yGiIy21b4lU0DM9J2XwTFalhdVQNoJDYnfgOy9K6VoiGfz0elaX+KAGcDxVWqmDQ
p2R1jUZxGeHQKElcVrk3MPrIReXUVc2zCpSTMiKvoR/qdeiYTAVzyjeGS1ko7AxcZiuUT2ZL28mT
4itI3IzTXablN2plOmBdwYt2h6FQHEl+GYrmcWHxxGbo5YwJ+wyCUvVTJZc0J1DTSOyO/X+Zst6W
sukByfINa3zsGP7JDUSLtHkrIomSdjklleqO/egJYbPTUrKq6d7KJF9fRp9ie7AlTJzAb+9KpXVW
rXMM4EjSbL4pxnQXIodSrI3D1P+5X9OgMPU/yKA1xUyGrsxwV4OfHRptm/RzbG/QAkV9I5QfVFnx
wqTIbWGVvTkuElvPwmBR0NCRhQLiPcMCw3zUsv4hSymqk2xTBn6H/hpAwnhqiX61pZCIzb+09qE1
zPdWPYiCXDmqYATtXHhJPSD7mRWVjdHBcxKqj4KFS0Oaw4ZR9kMDlHKonpofAzarovrDAOOwCkrQ
pI1frrAiavEhLucSx4zoUItyzREVOlXa3IhGDrJXP8wqJbdEAGQU2iXLvqY9aEUMdKSSNR7vt5NO
6AsBklvrF8nrxI6NEIuptGcxJN2CFYzpqi3FOLJb3Ys4mUexKmBVxO4irAcjKt6SopP92UI5T1Ht
NFP3cxK9W1l311TCrumn/0A3EID7OwCCtAgGVMuXwcbodzfHmAiFA0ldegrN5SDwAtsR0lZbPQgZ
cszZhHyZ6OXsAbQ4kWn3jLrz83hEkgF0mY4yMGmdu4q0FI2jOg72rCjuGNIwLIretWTDFYv6Lk+7
Z3Vtdqj7BKH+NmjqM95Rd/ISO+gdP4WwnAZNPwxtuc9YnIM2PQlx7aeK8Z/BR69y0e2pFfWahgl8
PE2tgQCtd7lava+C7InDNYTfherl7whhndVpuloa5jCK3alaG69JZsihPwTxY0CpQZqZj+c74Fhf
h6XtR54HJZIzZOpR3sDB4eySddQhW57E3SnGAjk5lcoLAAbQq8ZVXeet6//PlfCtg68ggZg8R75U
eqd3htQ2J4CxPie7Z8nw6lIdp2fzXh+EvdBnOyHqIXVV+6myrtB3Lw0LwHwDF5G5BxRtzrIineZi
14ZFczIswS+1yk2ydA8NzVEa9dkSm/fJWr63YHDSsvXrHEexr9/0pdz07xv4wy/+q1MUL5OoCbW5
pWXSayi/VWXlKNlLmOpwy0V3TbMbJR1fmjEO4Fmw137IQxzAF/BMIMjg1u8Tdtqky3fMkti9ob0B
KirdCLK+9gYh8hc1dueMbm3X+6i6QVrNHo2huM+RmVRqhIIQWm3N0RnMU9cYtjYAoOCYlmmd1rR6
Cg0zLT2O3apa7/u8uwPvYX/9Ei4UH7wDrs0GowT5Y0Pw1zsQ42yqJYWPoOtHXM0I6Ev0crWB9e/k
i07SX5f5B5gRFRNGSWKDr0/yQhfJaybTbULOoaXd4XOEKFB0NMaIDunH1w/4B3xxvswVi7EyYFRQ
m+dyBxT82dTkcntaPOUDVOwBb5zbxFPuLQj6WDs4gm1Jdrlvfiu74VH8HdJ1f+y+t0Bc3OxHFdnd
L/m5+YgUZ24Bt9kyJSkxnIlLa8+/x9/hE1zt8b/xTspt47cXe6NEK9TDi/XrB/nXK5h3+NeDnE8P
U5w0MBGc2K8N6jJUiMVi2gV5rFrDk7K+aWPqFXQrVNPv286PelTfUvPGAGM0iXGwYlImKd8s6EIz
A6ivb+5SoMQYyySSMwQG10as+WsZ1WFYCCp2Fac2eZxhR2/5D0DcfNnJ8ofIwfX15ZRLsQuSAdOI
zRIbLeHP18u0SYo0K67AmdnYGYaN30qulTuq7gyZy0BvFG7XAnc1H5b+irhO6TapR20TJbZ0gBRW
Trsw8afWw3CxBS/NEIj/6LGRGSExHr5yvxdfD9jaTTJ7Eyc9y4IjTJKGeUwrzCZ+NvSkqVYwaBrt
ejaccMWXyHzd2BJfv6SLm45LgszfKMZwBj+/pHaZjZjeTXPSjNQ3x7fGGElnxj1aVa4g7hLoVlXX
e8m0XrvyhaqfBpyuSngUKsBmzg6xqk6wKCzL+mQ8ad8saM1Omt9SKvXsoP8iJoc/es3JIIanbut/
/dSXAtrfl94Kkr9W4rQs1Ez0Vk+5XPxgOOpWEjq+wN6HXriyIy99VThwoMGRdQR3eLYI5ZQO7liw
CM2pZ7UrftHIVH+1W7T7RCqDYi1vpuHakP1CgsDlti4CfiyodJ1vNSsphrrUW+Ybj1s7tWRQq8Im
g38TXjmiLzzgH4UYGZ4Pe/pch1+UTXGcWw4HiQwtUxv0SXtXSoQ7APYzRh4EcycNr8GBpG03nEXs
jWYMlM5EnobS8fMn7No2IWcgYqvpocr2k3o0Y83byBXIbIgf1XiE+i2OfkHf4uozX9o1yCPJKCcA
gxZRqfp89UGlIuwNsTqNVfFjSk5h+hBWz6W5uJJQ7XvA3X35PkXXMBqXr6tyQG1BTWOQ9vm6eFhm
RmrJoILrya9TqmVh8syY+q62K+3nSg0kjl1gGTdfb5jLrxt8MJ5hirTpqn6+MI4d0AEiqT7F8q9Y
+yUnEjSo3l9EaSfClE3RIxBT6O5qGAAhqSKwG8K1RPvy08PZ3uyqUTg8701mvWF1qgJHKu28ykIb
GQsw8wTJGOaINRKSc2+91h6/ECo4OwiOZAeKrJzvX2u2RojGQ3eKTMfM9sVWXtAnpBf99Ru+0AP5
dJ0z+E2SL/oUCevG//Lm0S60Z8t6i8wXdBLL8e3ra/3JpP7ZPOwZ2pwW60g8u1hhJVuWN9Lyt7BS
M8mmhdVPavE0ifQ6kV7MzOMSjU+z3N+yyp66nj5Mi7JZWk1vXWqSr5pYOtT/sWJ8MCR6jkz42B5T
5khdylJkSiVO30zxY41BKW8YTEFnkh4GcajZvaj/RxbmNBzEOhL/ojgc5BUUCrAoFHn4W82uPLG0
1QnnT8zPZKJGMMR59KyOIBhaizomEN4W2ZVnfadN2t5ccndNzCCaNFyEFMb6md3MnbssSwGBJQas
gBpqZF3Jg+RLsetPUkJBoyPpdRa78qqpFLmtgKBLb3GXH1pRd1bmd6SY44bK6SS7r1O31kP0xwxH
q2e0lsGPK52NFLPT0+fBSdGrBFQWEbkWkOGR0+W3mbc317PySxvgr5s913nMeqWcxUIG7mkUka33
2mlDRtDyVRCjQcbpRdLx2SiinaZoyA9t9k4lkhe4CVgI1xSWzQDuSupw8ZaYUABTg/vE8fY5GElV
AsHVWvrTWiKnoxeQnRKnJ+duVeHKt/ojAvfPwoEtK8u4EMJ6Oou4TYho6JwszQnUIFKWDcqCtWjL
UX2sEjXAKtRVJ2un58NJA3acIyEDIt5uSSFbIcH9RKJbDXtjGJh0C49hK2HC2Tha2/5SUtVLWtEx
O5JOAXOWCcRXe99iAryEGb1smhrJ6hvStEu74mTBZu2MdT8Uw5O01G4kUiCl37N+8tRweGiU33Nr
BRKmiathemsJeiVKfInDXyqUW6keXUWSChs+3GHUpf+H6EWCDUcbRPDm2/H5iyyyPkn1WtSnEqTZ
Wj4uSuuHS0j/+KYroNLK19RV/1WHZGBE7NpMMhDX4J+frygbpdCjc0ELJImPaD4gInAsYdiJgohu
EgDwUnB1gA8WUMIcjr1cDrdCylillOw0XY9SfE0g52JUhVYKvVrehAzP61epaDOLUSqNoGyxbDNE
CJSmiVA8R7RcZ4So9A2Ybs0NfUJxv3UQFPUH+Bk/BIRD41MXew+TC28y8/3Sl8wHCt+McLqc+2VX
G4NdhiGl/0/Z+qHTHsbaddemM2b0C2OOTEoeO+NpkzIxsnnHidjP7RMxnWnz5EhCGEjlte74hX0I
e0cCAMsgnZTk7KtXzRQhTArcHEQnfb/MHsZlU7JAVflacXSpEfT3tc67bIJW9UPazlTo8/1QAaiE
YdZKBaD+G0bng3A0Q8yBsZQrr6Q+Fw5mLqyRx7LaMDc8e8haFol/K5PX2tiLuZds1xABaPla/RL9
z80/OZX/uto5gVdMxl5XB65GujGs+1xGc87yljtcqezkpgXbydNOr9tAzYyvHZIXCuZPFz9LC5Zi
UScpYxdXxrERFkTlfkTwtOsptQVsaePmrh5DJ2MQA/viSgS5tKGRloVVsBWjCF6dpdRSYqzTzCwD
HdDHVvvV0Nma92r5yHg9Ln+n0r5KsA7Q8QNFS93th/skuyIzcfFL/3UHZ6F+XIcl79f1zxIT+oCP
LXf3GdTEUHCvLqsLFRpkO/RkkTbdXOLP6sJZKmCGChPvWnprkK9J2/UYI4tdNyBertoKXcg4sLGh
/oR+tLlGnT2aQBohKaNQntQ5t2Vds4HX+xxiftt2gZo94AHkc7sQsBDkX4YTyZ4rDLXzdd75LzFp
yzlRlaW9wRP/I1MNc1EwCzEsT+AlnbCtbqs0Upmqpqc2z26kVfimAL/MBcUnqZeaY5j2+8jIsfpc
9J3Qr+j01NE3WSscganxlZu7+I5U2FKcK+Do5LN31JrtMq1CVp3msnbqFTnOGvNCa/TrVd1nIMXh
fqiWX56Gfnb7tPYxN3z6+h7+XOMs26AD9H/u4awnYs5do2MyXJ1ipi+5nYa2UThl6auWgy7gliZG
NlmgsdjWoULlYnVmzSbXEJ+02+JBqpy59ucMB3GPoD9fpXFcyKI/3d5Z4hWVw5TPFsPQCPi5I+t2
1ToAO6PTqtkS01FsDlob1uFTfSUNu7Rb4ERgbCmJuGOci5eEXVObuZSWJ0X5KRrfQjiQ83w/1waS
Yvuvv8GlKEBWQRZDgqGwPz8nFpKRGBMi7RR8Ss1Y3dzFy4cBu0jXge7KkXuVJHqpZ8tqU3WAH7KO
9tDZW8VrTFvakJ5tayiuITO4LNZNGs3epMWZozl6z2iztUg/6+6mlTfl8Ddt7Km8ererhV3dyrA9
wdxDxMqb9kpY/L/cHyfDpktCBnz2RgbkzltTpVGnjKUzxJiuKTFetcmjUnQgi00tqBKwUPN4E2uq
qxeFG4/drps6QJIhN05PKFpjD25pORm+GV+zTr8E5tuqqP99g2fnViLGaUVbDQJc7vVYf/9X76MD
UP5q8ubG23q9Ddxxe4oYlzuDTnXroSgF1WHM+S23at0qBodsh0/hU3wHXNIRD6Z3wnTWpA6sUaZh
VGqnL1Vp63eD7JGNvUzqXlDsQfJ49P/xAiShBVlL25D1Z50lHE26RCuzoOIkSDGydLK9wpGp6wC7
oR09SlRGyytQ0wu7C80AHVaUxP/AIH1e8nzSXGvxYf/Te6AxHyt7uLCy+KSa11KMba2cBThyqM3E
aDvn/ymnaJSuRdHwcP3YP3UqQ5YQ7fT4bft6SPQEpLdGGd2QW339Uv8V00SsVbPA0gKkZWB6nlhl
+dpUQ1OXp+6gfWTDj9l4jIVgwCpx06lw0tVZ9Mdaewtlj+AC8OjK9eULD64jsYoG3AbrPVc81mOt
1kIYEKc8zp82emQW38XRz7FqP5ThODGzY0odEOacaELHoI6X3dd3sB1f52+ePQLCZfM2ZC9//sjL
DLoMR4T8VKF6qSJewGbJLf25Afr29ZUuBQxgihKkOLSmsBc6O0nTPIxnrYiK06KAAxM4rYBVvYMx
sgdd2vfm/Wh8qILpYO/+IktTaStkAYpY3yiAqJB28lPqW02mOWOaT80ynq7c37+LkIkyvSDSIUBM
0Fg/vwrD4u1Ks5qdUJZ9rjTrnvzIW9D/SGEn1vBmIR7gJys/RVdFXf/spc+fAfkjRTH+DME2GdzP
187zWW1Dq65fKrrlnY2Tl1Tb2V1115BnVk4c+kK9axAIRbMRY2IMoGYbewEOWjiACPnojKXwL7GR
WUHMMHFCdCrt/i4Dkbyr+XmCh6CCSRE+eRsW79T80H9M3xARCNG1dMCx9S+VaSPyVkc7462rXOsN
+wgUCK6843+zKfriDPlEBS06habt5+cUBPwTxyouNg56qJUcUOlEAtPYfQsWV259Jj93q6h9y4u7
RZePHPse7d3nK7fx77aDCA9UwiJ1MDSMcT7fxtCt/WLMM6teXnwVlQ5852DFDHtFCqHexbu5GT4M
+U3oASDmZdBo11yD/xVCRC36r1vQzk6neVXnlVlNfmq8dG+eIKAJ+Jh2Ht2aZmMT2qTbt8Jd+Kzd
zgfpoP2OVzqgjlLA/3MNKUh3Vy1OtwV+vgixPjAgEFjMY8/1W5Cvl+RmTfKTMsQ+Jj2unmeOFBn+
5kwjwgtaJjTKx7t4aI5qX7rKXN/KKidhLWrvE+Crr7/Sn9hzdj8kdabJYIEAiUr7569UTVEm5KY1
v8Q3vZ/eVJ4cRHcg1lwkYr3iLtkxcb21XoegC1ZXuJED0SMVPhZB7Evu9J8exIF4kPwwKN3M2X7V
dDsfPzy/9YxAO1iBdRBdzZnt1H0Fvu2VbnIwvMbNbkav2vNHAut7sa9usr3sT67i6H7vTPelp+7o
svrtbeLXtz93085yjX16mwbdTtoXx2tTyX+Ny6D5oXtOUACIoFAGf34NJb41kaos1YtSEIvSB3NY
fKGfbKlabcXc/JyW/qUoD7HxUnY4Zeqt18XRQRoCLaptq7mPK5gfYuHRNYJwgLQWxpYgb4kZK4bY
YQJGVEHrs0xUOwyNpxQTvqgEVwtbp9IbICjAVjo+fV3fQd1ycJsBm/8h0F6S6/jQIrQno9Lb1Ogp
WGizMHKRzVuh/57AlVB/o/y7KL9KSHJAsQHXXynQ/rRaz1YJtGjmMNg8Iul/vkriIgY7PIzZab2P
dvC2Mru9X9F3ngHubjFS/akDKniIe+S77ex7EYAJfxaf6zv5Q//WPZg7dbf8MN5SIuvP6keDz8Ev
drvUO+3VodGFsPPXrernJ0yGN3mS9kt2yga65PGg3Syi6BsllVFb3uYaIThuJNsYjb1QIYCjEw7k
5qFDQ6VRlRsatPt4mGGkm/vtz0UbyBgAo5JNx5AxZ99Djld/zGbum6QSZFxOHT7PnFZRx/M0Mquj
LNXnUUL0So5Ok5YFWhu9xinwtATtLLTCj7lAwiMar3FmPijLdFIF9dZUWAV5qH9fl5NRSEdDRRBP
XtTAqvTUbtdhLxiiK/T5w0woT7LVrWrcmRs9Drr2ZpvJaYPxFCfXvHf+4LzOvz2yD+Qt+BSTqZ7F
8VlrOimO1+IlfFEB1hAV90PszN+SR+LpYDpx4cSy3bW2dR8dNbA2x/5QfRMbrLH9/ocE3QlvDrxK
JEdytQ/V0x6lU79bCxv6CQiZFZMBBAk/EtkZfs6/aLZNr6EafB3mLswvOYSg9JN7EHah9X7e31rb
hHPazOkpibTDXL9h6wnzeYDPZu7KYr0tcMIk5YY9csVC/o/2yNnrAw8gEfCZGcMpOwuwSRFGtLam
9EUfE3fWO39WVEeslntdlu6LlpqpTu6mUHbAQL9WiuhEuQrK/SQzD0Qw1e8y6xvMWydhHCXre2mc
HKsrUPDkRWk6mvhHSWfgQ/6BhilobTjJTyKiQVI4I/SNjaD+0CLdqYMRjBDQBF8/VJYtSxKKaImt
tii9Ydew5pDX1GchtDC4sty+u5aFb6vk82vgDTAaYmSwvY5z64Z0ShZzTFbtoQVBShvJk1aih6Vi
CbqsYHvTPGiG5WbQruXe/zZOSLk3PUZclUg99bOMeKjaXNWGpHjRb1m26T4M2n33WP7MdskR4c23
8aH2jWPudi/DrbYrn4Zf8y58SA7pE13B+/koPI6vwmPhJAEM5Of6v+hBCNQbGKVQuYPaKdzwyDnl
tLeF3/hCsOzLU/k9e8pnW30Vdy04aju6h87iaVcaMxfyWZ5MZV8C6ZLR/T7LZ3EFWOahjouXgo4Q
9uFHrGz2zFgKr3+oDvNPKYaZ4TRMDmdgvvb4MN3JnnWUMxu/DHthWmbLPiy/O+uQ7lSfxMyT7fau
+kkdWjL6uE0+1MyJPVpxsG7gO36PD9Pr79pJ/MgfriQiF3YoTwMvmJEGSRtiGJ936JbSChqijQ/6
QXdKP3Yf2vfUxnvsyoL410SEUvTvC51tyBCLkG4SS+WBRt/gMdW7rQJra0wgEqjvy2OVO/BiD4mf
2q/xqxEcBHdgSm8vj9a+o8sTSG/iFbGyP6v/bHd8uqezGNsITGxlrVIehCfhOHnKa6K56lsE3rVy
mRwyaW69t8pfdkg6MoKedkzsnzB1tNNfYnTlS/zp6J3fDB2xDdkD+xWQzecvMdY5W9XkSyyH6FE5
6k77vPrKPvQqb/ltWQEGOgj2I6LuQAomGbj9qHsbnoS3oiN+NB+iQLuFt3I7It8Bvc9GlGB6K39j
wngffoiudCvutmbVY+T3L9FH8vCq3ALXtZXaTtzuJvMhQE124xesx8ydXqmoBHeJbPG7Oxz1a2J/
1r8JOdBaBOk2QxkQqOc1Qg1rEr00ZX7GhmAXwX0UM0ekE1gA9J+S6lDKhVO3XrIqd2E4fo+m8aj3
BQQokZZ4Qb8gy+KHKbZ0GyT17dAMUJ5GnLe1QyqWe7NXXiN+jK0wGsQmS9vjT8FMZzI9IxzvqiH1
EDZhnUe/QqhB1vJYjVEQGWNnr4v0O82e5e4wtdO9Io6HXpSPKjaGG9clXDs4aopjijd1pARWVHhj
UwVZvNw1S5BnpT1nuachGWGGoqPKMDgkAVAjCriJeaiz+RTSHGj16a5Q+cYJxgaD4pr59J8yTIFZ
prscFc91weMoQ7Zc1Pg+8Yus6fCosHZRwhOo9XfkSLFbg8FcaixVGOQMO4GRnBBJuavM2p2Uymmz
xWGUeRrb76XuM4XwRx2lvbA8KrNxBRF3ATO+UePhTiKOhc7NeUyEhSJDn9FmYiJSWHvR+z5539zo
R2affu9i78l1Ndu9vffv66fEm+3H9viIzkhk26F/84piV5C8tfb4yO7fXa1G/z0CTU1jV5F/GLRy
z+EcqagKJU4oy0vvo2Nj0HpobMW/958fi+BXb99M/s2H4dieN+0P8+2Ls7vyci6E2K3PCMsLVgEd
73PoXFco64wl1/LcQShJY9RWBGEnlNNR11J7BsRhCiHKT7+FKbqWf22V9ueYQuoIlmVj9lNqnQ/o
w0EBKSEm84MwvyaK+LsbjVc1f59i5O+tX1Y71OCumDJWxW2T1N7X2Z/8b02ADDEGy4xqDdkk+H+O
aNqow54uh/hlCXqfvWvHz99/3O8f9ZsH9X513mr78LJzf3591T/f8/yZgYCSMW+J3z+qdHPUatnY
WdGLYd9WdsNfP+4b23+OvIoAinWB+5zYnf1DsCtb8mXnx/0zB/WL79/e+vf7/T5zfu1V23KApDnB
o+cdDk8H7wazPWfA1Z3hsP12d0i92F7snUV4zgP6KrvQ+524i/074bQAQb37ffp/WEYGPFkoMCoY
V3qan98m/YtBnpJifpDJINqWyr0Z7KjB+DgMj+FQuD0ADyWv3bHLrhyUf2xlz94pLWwcCSSE/IEh
br2vv+DDZWRKtTCO0zNYrf38gdhyUNHbQbYlUGlEbH/n+3S/HOQAjwh+d/t1OZA+8Db2aW3sKNv2
SaC6mlcE8w7pXMqZ7b9C9H6vB907NYqv+fVD4VVBuDc81a292uv8wYcaf5h8LYCMu184nTB14J+L
v/0b6QCYzPxS+b79UzrEuq1+Wz0OS1fyENo95gEE2ivr+kJptsGj/s/bOPsSaM7Eig6B+1nmKXL+
wiCrvjGDcm98tPzb+mj37R58mM/kxZt3SbA9TPb/377oi/7WgrF4JCuo9nQPrEAmh9UcXKEDVBuv
tREunLUbCFAlDOgMWsSzNGeRZ1noxoZmkxy+qZPodgC5ehPVrDnyJPBLLQln1xnOStvF6i1kolAh
mhRMBj4K8JJacVPz+hsErfokwLZs1Iunqp3fFQQnJ/FRHY9ptFfqX2pKqS8j4NbjkVXS+dxIu+jb
owV7aECufb3TL0B0Celo2lNhwqVXzycMaMyYywKP5TmNkUtJQOI08cMQ/srm1K+7YzfXHm5ZDGkP
eis5U/6iqa9XbuFC5x8CPyyejW6B/qh4lrXJVT7lKLtOL4VOwMCCuKHB3bfPvfWYMMiUEdSaV3uM
H3oma6tJ6ig+hhE1TVEE6Vji4ZCghuFtE34Vdze59xYps7PxezNEcGUPlK5Idj3GiDCkqrQ3k+iw
9O+qcbOgh7CGpS2N37BeVJPXMn82xtcxLLx2ftHbwpHGfdnRz8qs+6ZDaNjCegX/soqqSHnSarCr
oZ3U3c+42LW4PszGwyBTnuvAq4pAST+M8aNd3zWdQInz4GI5Uh4A3/OT/Hkxg4X/N24ELsrIWLmt
hjet96fqxjBvREq16ZdE26kXD2P1YHSYoX+0r5ngll5pJu7YdN763Uxd4F3Cvl72c+YW4gC1PHWY
FbgTHWOUELPVj42OXstONH5XU3Moxtkd8t9VHhSjYDMIdiJktWrhI9Tv5uGkGiG4w8iOhn1Fi9dM
3v/nXxsVfwklcGbl7KTzPCdCoHnBwlR4Vmx+fjC7s5s+rDffEP2yNft4LGw6uafMtp4M+/iN72if
4PHeaS6euvyR1Red7/d7lN9I4LG9uWnsznl+fETuy31tblTKjdEhH8LGjYOmtAeXfNLJ7Y/MedDu
Chq9zYvyihqxjdi4m7ybsbOdcPf8DjLi3ofOf5PdqO5D4jzQ4l38N0yj6efqR/mY+OShj5Fb+HOQ
er9jm+7W3Rxkfhv8Ho4/KW2+fll/pEI/nxm8KzDywMiYidGH+XxmFFmzpp1aCc9+6U/B/pd2F+xt
zlG0xbybQ+TWzi515ECxj5qbuKf8yjxmqyfPL28hPczUFQSHYpwlH0WkTR1Qgvl5qwsq0XAaODaA
T5swCzaJoxXc6NdP/G+YRevzryuePfA61XOOQnH7IHa/RtHpl5c5/e/rS/xhjP31VExVIJNtAnnk
2Iwy1LMqOuq6NlL7vnuoocjHclsSu1UkZapDXJNcptnsyM30nkZw+LAzfgVd9DKq85Vi/hxc/uc2
FLQkmXcyYDa0s65BTxET1aYxPiu9cc+/d4s03irDN6nkIDdMV1DEh7JFn6Amy49/SBlUhU1Zo5mv
fOWtjXT+PoBXAfQSEclF3OjzIjPxO5uA1jUPsfRfu8Z7xAvcboodA4zG169+e6R/r8RhQ+PHUuhl
fr5Sj0mu2Y9cqWJkaqXvFQp0ErpBG/JVspYrGdf/4uw6liS3se0XMYLebAG69N5UbRhl6b3n189h
zeJ1MiuKMU9SKyR1q0ECIHDNMcJk+/7MMMI8dPHGv+NfH4dzhbSFMrxT7mO08VQ1sTsIA4AzoEM3
woQfhW+AYV8RR1FXtQzZKhVebyF/b4CgF2TIE8SyWiA/VFDjK5eCyhhl2J24IFipg4LwMXTsIoGe
T+R9Q4pG72PWVuVQl/DbQEBq6Tnx0ledfR5fpKaxnLrTtby328qxmxC61JzozmFuxotyOr8Qcht3
FY9m8RR1Wvfw4YoZpdwX2ptXQCEzdvqNlEVmDW2GmJNPKsOsh1g99Uk+V43gfltccXQUkeDPKiBb
eZxtdBziAjF3uReAJC6RyRKVYyw3ydATvHJJge5leer88JRxbwpbGrJ2iZjeqiMoyacJVMfqQxfN
SRX/rPF0SkBoA+4bMhkgI0+/MtHNqzLo873sD0bISJtkcM2s6wzWXTVgdQi4k3NeNJk+QyzA1DNf
+fMWBPsJLMVxeLABpglH3A1QAAEQba+4Kgqc7IbP/HUXVboreWu5Ei1B+x+FoLHNIUMLQP3Ivgf5
aJqrO32QAwpWVPuyeB9FRtieCPUbdiGo4H9/zr+cpI9DTQrUKOiLTcuK+d6XwQgaVknVpYBDJEst
huucxhkydKFL4KBKqE+U31VSz6QRz0fXqAgMtwuUTUY4/ySLyIK0UoMwT/egQA3o4/hFuS4zCTCM
fvH3u/6YLjxuJAylYZRRChqNxPHm+id9Y706zNGUABCCxDa6ZxTt96PzourFTdSPJUWV7+XLQe84
I6LNLNSttMiRxXL0IqHrqxpQYSGlLS26/d8PhjLz01cPej2kZgQBFxqE+6eTUPAAKzSOdm6phALB
fbPjyH1lh/p1rCSNFfZXKGtSdE7ovR//+d0nlrUFZ5smZP/18XV+ff3vr9u9twZS/aOL+tJ+/ebS
7e3oLM67Th90JPku2aXks0ZEdkf30WCpoOc0p4HerWLw3lP6tV9n5NYQsoavr+7qjpHQLflgaGql
NKSK8QWsKfnaJ2TpkbE6P/6ylnyebMM6rlWCalZkBrplvUTkdtteeoI2KFluE7L++hofaYkKvo7/
YqzP6G+iGRDT4369BboF8Ltv+L3g9zqho4H/K7F8EwIoRmF5RothostY+f+UyPUzoTN1hZ+7ero5
eOBykESJHILbydkXBpkL4e+sugQLFEuo/5WiFaMcQc8AYEwX7NJKrXjDBqTfD0ep13l4d7jLSjUD
tML22bdjahRzj+64XtnlS0JcWuD5Sxsl+0ti9aRehLq2L98FZiHVGzUEnMD7EpENgToHBw7cJgmN
Z95qUvT7OUjAzYVY59gEBMbgccdHJQdCErRVgRA+dKJD8sY1k3w5pIYWf4OFTLuenwlFfoog04mE
ZAd6bWg7guY9+cpgdqelwlBWF8AoGWRMFZVqdGelu5KSd/bKnZl3ND2+5JfUtaHI2wcE7UPtLfqW
NnlL2AVoeCYgG1ZvO0cNkjIWrydv2bbeV1aAGi6NLg4V9pBwnvkIx1Di4bmRtQK2hq8QWDmg9SbX
TOsnfgsIV7oPnVMGJY/BRAor9R+oVApCAjbbqqAAf/896tPlMhl0skCaMDgpg6DqUkPChqtUyjNf
vovMqZZ1rrzmfjqTjwhP5+04Im4x4PMABHqCAPF5FZbAgZR7t0ZlI04WNacd0gwokdLTiIboR0V4
TaMYUFg2uDQhJH5k7T6ER8Abl3nM6lmcmaIAiSoRIkjgXYeVZnBdc05AVyJNlL/HbrT0ugIGDZlj
+l6xzjwl1gNo3BkFJyS0UjK75Rsj8mHPGIWf4uAfGXmOn/58tU3edPJFV2wPIK2jIXYEiMAUo+wC
IWejdwI9RIEHomlgW6rtVoC8F9hXcCyrLm1UzFxvvy7wP9M9icwLrwtcFhDUvSB9Q7wNk7bMmpD4
4pgV1XNIg6meCVLMx9WdXCTQpOw8twwQK6ksLf2lC2CDq7CGGwEPDX/7UkzgyZXqvH+QC/YUKumt
4mBGOnQVhJzQ5InjQyS+pjK/UJG8CT5EOsGCgEWAnQcx+m6aXXPZa17Ityi4NR5tAa5uKsmMGu1d
K4Ol5EqvYlDBVFCEsU7rvLYV6CR9x5lpKxlJ3X+5bIWPSTFd2NzDhiG3oFtjJij6a1qg11AD0aRm
5oKdNmb+Oy0yumzo7QIEPC1YQGeNUdWhri+1IS9D2fQRKKbAt5DknOxFI1zmG5aG224d2jiUABJr
bDjzEkjQcIa4DpYXn/ILDggqKyHseOWZLIEGnbPqLsVyuKIPp7kUQdrMmST+ciaBlSKNjH902LVp
IAjFOFmC8FF9aamyyw1ujxCcvAMObsUphVtR8s7vP2DGsmFQMSmhd0WyrfoREMh3GbUB3S690ofT
sEc9koJOhaoqFGgOgeHPnCrTKsc4wWjpIEpGHINzf9rjKD057SrU1C4SNHPKY7qsj80naqZw5YFx
2Yi/a4hMyoXIE54ncHM+qe8edIdtFdjgVbCsrM+/D9ZfjjlhVBcZE8dRXXD8+X9ivcR18jbL3GgP
LDrxnEx3+q/CQ++Qfft7oGlf6+fV/x1pcm94XJO6kptE+0iL9VDtYKkdmx6D2iGvALjgUQZswRoW
X5zLz0z7c0SLaQcoilPAjpFUaCg9viXf+5nqylV5yb/j7xgNmGXXLrME9SRo9OvhgTeEd8VEuGt4
uvrJoIYKd9WDC88zC6bSEFuEtI1iVTSz3J181F7qlbSYq7v/FGMmF6sI9hmSKPC/VFApHx+y44Ju
gNNAeenQZiopZ4c2S71FCmVZmhv9UgMSC0gIbjW8Y6eUmxB9/ZbAEgb4l+xdfslsfw1FLKsBt9eA
ITiiKS0j5Q32FrDU3qPAzixCEwIY6N4n1pwQ2I/c9l+PP9lJWiHFbRww5SU1GjNZ9MYrZ0IRdFWg
8ojKgeXQlqpW7tNsIRpYCaKCE2VWi9iITIWgjW90i+Lk6BoVSbgYjoyRmLGd0pjuYeuhO6Tcc5fu
i9WhEEUHgILTV8B/0fQB1Ynyd59C/NbRj+q6fBkOsPqgDlFNacnDekLizPbGA+aTmv4OmE2AgOAX
A5TqzD6b0tPGPY5WogyO88i8BoD+cQmjpMQCakN+AWqFEw3e3cBkBFDmqFx4+6whwhZyzHcwkaJv
+Ba4rgVuAfQcGrgTJFa67yzPRp93pjj0k3lPVgZHI8qAqK5CY2eqUZfFHORY2ja/9Eb9thGNYsGt
w1f3VYmJnxN57ewGrMYKqly3ZWriFloB+6nocxy15zIg+quoeIJegZoYuFKTE4AJYjym3+UXkTYQ
M/IARgH2pD74lrrLT05Jtb0EAvjMokxlrkYfm4dhJ7HjIDkZDrkqvYTXYg3Td4O7oVOwUPYQMv8C
1OwgXrgVQ9GIeIm+2QUcUm/ARu6jpQBIDIrh6tbZpjMJx3PQBXMdAMsRXoxQXeXn5/85d52kCNhG
CJNLbSUpUffOCxBEot4CSlMvosssXmjK78EsyCMRHfxh0KaAF5p8nl3P8kXfoLmTaRvOe/NBp/CS
C1+NZpZU4cci30EA3JNLDEl6GarXHv2eIp47iqf99p/ngEqyBGkKSebA4Hr8RIZcSMrYV72LhkYQ
wEcOCQuav8kebT7ia36tna22Y2lU6IlnQBoJ2nEqsFawRN03PnGh3oeeI61xgMO4wUo+qrsmwM+H
BjHtFu4r0iQfHi0VqIm8nXz7Z7R3ZTJcvdJscpQBojcRyfp4IApWlN2gyRlyujCQEDFVvZA21RWZ
K0fBoBZ5g38vq1WUExyjiNLYG6jV7Htq80v/CqhTu2pSBDPuTvvs9sXdf0++8hsYin/fmz+dh4ev
F6uF4Ab+LGB9s9A1epywnC+ynq8rCIvf3ZW6kS35uzajlbQC29eRiVJAlhXZH+yEep/UgEB+tCt3
C/8b7wCjwn0BzBb6zadeJPIiPKMCvaoAYRZ0TjYaSKdWp96lLVwL3rVLfBnPo5JkPW1LO9nIx3If
AkD12uHMfAGWUsQEOASW2BCDbVykeVTO0I1R9qhDkcASdGGXbXo0G2cCvOe4SUC3FMxoYUSAyfy0
4togdHFrtu93kMeBqkuzCy7xt7otdEnPj+GKvWikhS8C6VZAiAaW8lrJRN2Byy294dkddDcgvnD7
e2V+Oc9Aj0KNDMe9CK/u6WmPJwXGfYiTc6E3KBtxdmerC1kX0YbTls4RjdOZk/w5jsE0jA0UEVhS
FUCZyVGW5lyCtEBBQ3G3qdYpGSDhgb5g9mkuvJBCd6UhcMt0LXUNDLyRvRm5eYLqN1a3tYuNDRT1
8vvbQXluroAiPNXjIWsi4jADHxMNJ/TwHndpwjdNwHBKfBbElDKxpqt1QTNFMBDxEQV4Zi2SjV5r
SMiAJMK8JExKQuh311c+EEgqpkY1uHrNi8bAt2sxhyhu28Lc+NrHHIFMGhxeRR0BJLyNoHHaeSB8
QUXGd8y/1/SXGYajKax4JBGJxDNcV5XQOIGoN38edqj9RQuggl7dgu6ic4zDZ4fo68hQK7HXN5m0
egZ6NeC59bpcb41LY53mromnxAbTilov+PZIasCTmiy4FypQzQFkehQOMuQWJDcwcQtFtMueJYqa
USm4inVDZbe2M8+fScqfI4fJ8BMoCJunfiqFrXAOySaHihG4tsg/gYczF0cIEKJ/XA5bZtNBGt66
2AdNX4VzX/6vMwBlXfCfUIyBz+TjxgpEATpHJSfu4OBJXQjHRfktaCUoqn2pOH9bH5gACQqv/iXp
38C1W3M8vMC+OwTtRYAarLLyu0WKT2JUmQbB5+/9MgWV4DoDJHjsuGGZENFM86eSybncaTxtB91o
qg4bOb9K8lcrbFT/GrJo0MsZhel6xRq1/FqzM8Tk504UhtfAWFWhLTgqsE0uBxiF+HlXpequkr9b
hbUY2aelgxpNxIE9kEeQxomuhSytHGQwUGlaBlJvlBp3T10wGwX57OAThfnkzKX1XCWePNck1OPj
3HcZFqh3SO7qLJLyDimBbzc6HGl3r+3xNVgoKCvp2UIAI81iNtloL0x9Kh3TS3FDhCyT4uq/vIl3
5s09lx8v25Orw0lmze2ZT+CLUQFF5ZhHtVv6dKgNp3vgrP9e2zHferx48WGBjIxiCBYXII7Hndcw
kNGu4qDfJRp4MPAQQhEWLmfsnIbzD61lMhDI7AgIJQW8CwBFHgeCDqs7ZJ4mnAtzpQDtXhs7c6Hq
QGgD2BYRsO7WdHn4XqFObNYzZehxg0zHRvYPVRkgq1n5B7D0TxzKhYnkKdIw7CLEvJkVZxuIBLbO
zH54rqaiSQeSqzxCEcEvmdY9hKCFW6IjexfsBuMsfoZWuok+4PK1Bj4dyW6iq/pNNJHY0T24u1j9
Hm2AXvdWIDu7aKAoC0mHoIPdgigxc8qBdv3bJAAtCQWXEV0uTs4YCbrdcoGJuAzYk3d320M2PSJp
aDsASeyll0pH2U+2uHtNQ+AoFh4tLQ6Ad1JeAxRqrG43vKAmViAsotUZ9XvpXkBVK6buNkEZ15R2
LQBlVHn3kasinlrIyyYyK4GCqsVnWyjn2/6SOUZmt0rXic2ama28lsh8oUPWGJzRUVSOrV6P9cjm
QO3o1+5na4pn7obG97tjckveEBcQvNwq1/IclET4BmNHzy1Z1+CaeYb+XUXUt7ygDvJiYaltevs7
saMbyIF7bXmM7cxG5Ag6SbaRqGIhbnIXPGBBQE4tZLujo+RDsUVpzyXaCujENx80ABNx9bd4D80I
khDCpdQDHRZkOr9qbYEi/MxJatbnHnAwAmQlcFb76MrC5dAQEDVDCRRzNlO/FMZjZbqbkVONJkBI
vxErPn5JWMKxHywxZ4TEyRrcrAZFS0BFP/jvEIakoGkR/yDAEueUWy3MJXbJVV2Ve/8cr0VBhy61
uxeu6r1ArXYrotFwTc3UDE1vKexnn/Wp5wTYAsRMxgASaRAu8cdnFXym7NUkZM4S4ZebzS7Rdy5Z
QLlnawp2ewlfz/GmI6BsWMb27eKBqJTubEb3DPHdI7Z70g/XmfPu+apVWZD9ceiNyrgAKT4+UerW
fAM5Juesb1rjdbeJbSCiFTRY1cv1Hm53Zrc4mwyogWQg7vJIuiN6ly+s+cLqkGfIyBb4dMsjlNG/
gdU6aAu9nLnvfsLIxwV+fMRJPJTXCjBDjsucV2an43ly0q3N6ONs+iE5L15zVMhM0zx3NlBkZ5cc
v0RMX2NsL7Jp86vEONkHSbfBWlbe3gYDD7w8rGp6sHlySujh7/l8BmQI48MidBm9FBHBTVZYY2Qe
ppNieC7gA9up4ILWKvS1oS7gx8vWLenQyTrQWYarQKIgn0u1p2pSiE0wPpJ+biQ1ItmejK82oG94
ItYzWK82mJDYwAY7rl94k9cBpZ+JVcXftg+6gvgDCRq+wUlm3/aZUGcNo5x7upKXKdkVLzvHksxz
vDx6JkP37IK5JEQl24KcnC1g8sS7rlt9ezn1qE9+dgza7epcw/pnlqdbBvgQlNwR2QMuND72Pzdc
m4RSPwA/cs6Nu5keU6KDKXY4uDtFv9ZLHWDMXb6EKOQqpTgz6xqbZnHWNcD9V9Jps3lfnBvyBZDk
rTdvH3sVBXoXlJSGwDKDMK/rlyXF1QzY7cFOza1DOLpdN2BKEmIsbchIRFTSr5sV4FWblX7KT6dv
Tf+ck8T55eBTWRniKSPIFC+rTgqPradWjCp7yrmm1X+TUT00fMNZOAivPOAUHN07NeSjIvRljK24
5cuyJdpa2ofAoHpou4fI4wH5NGZNtHjM73T+R0TSWPARxq7H4/yHTtbUjph0OOdU3FPYhAZss9fs
GvU/05kJZ37d8woCNkhhQWQSe/9xtELxHSCY3XG0TvdohlI62sQw3SQvvQmlIoBkEQib8jGdqQZM
hVB/vjY4UYJzAQSeCo36x5GHwK0BqEkkLMHqvpHujX5n7M39dffuG2dnceRfrOF4W99Yc32hun2F
wjnpl/hhHVpiXy5LYwCYF8+5pZeTPRfM/uBnn5ZhZFXDIwSF4KlbZuZwWVH3YnBmLXHpgEvRLgOo
QJWmvwBvwnIgHVHY3BKmNBas3fQUpJQ58cZf0kkAQP95hsnpXUgNrL7CQMLi6JsNkMiLgXi7Iwnp
Dd/R5ZRY3wjmZ86lX8Lrx1EnQUHoi3UdOK501leAaiFqMxc4B0mywic6koroePQfcCj8ffz/FGOm
Mw49IfCaYTiBts7kPJQCFbaHPdcjrIcWDdnshsUZt1K3IpltWQZOvozg3MeNedIW358zt/nvw0MM
ABV/QH+feGSVVKihB5rHebVp9FcT7UU6bsOQFvaaGDiFKaWnb+alJSsUCv9+92dwC64eFZgWpDPI
2qFLMPkY8lyL+ZIVzzq6QLBNAxAfDkf0HSAqSEhfAnhrE58s0svxa08ogGRwZkUjDn/2xHs9wfCN
I0B8p/qy215sezUzOePN97Q0/zzeZCO2adnBL1ysdkAl6sqxXgeXvyfg10337wRMNl0eyDEnhZyI
W+eKo2DzipdfnI+WQo0bDt/t2/Lg6vNf+XMA/DDvUyk6RoTGRSx1IkqSI4MO8duriXUPzHgDptr+
RjDVuG+95YgUOxz+fulfqhGjethPMRSWA0hpH1e9DWSvEZ2qPUPaPlrzy2BfAw0nHbOVY/dgMRm9
Xp58c671+EsR5nHcSf4WQVAKri9OC1hgtuANnGaLj1anjNWgLODMpIu/5LJgCKAajVQWnzbspB/f
EuWwJGd56DCEOMVQ0SAIlWsjQ7RLwRI9HsFTB2XBWr/U6y3I8ai4gq1Qk5lP7Dl9UJHI4sKHorIC
RczJUzhy0QythLmWCKQSUNu3OJqas1Lsz18KilsQHRJlXKYjleDxZUteagXwt4TzVd+Y/fYdJ/bC
+sr129rADC8LHCG1bV/nDs/nt8Owo/cwCrEAo07PD/h/yCh1O82Zpc0Z0AC6Ft5Y8jmzX38bBXhl
eO1gFXn5J5j4JzRk+DABVrrgzneTByLxbJLjBzHKxXIM0ubi458A4PHQ0TQFMltAR0M1BACkx6lM
VTmGIyHHn++b8Tg4L8gXvsflZbn8Psx2osct/zQYZhCGVOA7PH+KcDkakBt0Z/1+f+UNZJfgqh59
apFtZwDuejqVq+vMlvylqYk3/GfQ8aH+mc8grqs2yJRyJ5QbMfl2c/hwbnJuE5RWyHxVUqQ3wkZu
v5J25uR5zgtHRseI4AS0Rh4LOY8jh5zQS7Dq6cG0knbj2bfJr6CvgzEFnJKpOCgXE40/jhn28Sii
GkKC6/rmioAF36TAtmDdgH4h6N23m7t/gZwkLiQxwd8yWnokNHErHXxTaVEHEaEuQcEI8jZNQHL7
E0YNM9vyR6znYfHwNih5w2EYIT3EaCYfHee2bp0MMrTuIcJJWoCqDM7mgGZigFCB0sMutQIzNAKz
oQ2iRoh4GaHVrEboMbdKTNcIDXcZmcOqW0W4+F2jtGJjsAsbDXcTtpaCjZg4XLoGJFQOHiRURuGw
CPlhBbi3Z1YE9Ryro5X9lRD0Fn7ItYrBGJoh6yHUwzRwm0uUfzjaYSB0Y+/8nQUKmzfRBTSyTfTq
7qIDb3uXkaAaodwTAWzR3rS9ehQW4Q1f1wEZN0zy7BAFlsbqrFj/dmkCHROXfvNkzaObCOdVs1rX
RoWZR+PWgBfkqcKv4HYF2vcyACWp4RiuPtJ21S236I8KjJC4BfibM0f+U31wsh6TcEGpxL4MW6XY
iawFyH8egaUsQ2olo6qv6D3kG2Z2wLhdJxtgVGAcqaIqikPTa9yvRL9QUhGCZcoF/CxFOapfKDhy
2SkR0TdjLqp2/nvIp6MQreVRcJoFPAT/NMX8M34dlG2d5juePzs+bY9ybTSwIpGh72o2czys5+B0
Mtx47fxzUshB1Guhj+GUmqCtX+2lW7xpdjlI2CWpdhq6anvt4h3DT2/LQfymwFWu2ulu+ApsdRUn
JIeCYzYz7b8sMzpsOJ8Rr0Nelp2EL2IishEqddlOAs/5HIkLoQQd1g7A3KnNv6ebF54O6HEG8GkL
QAKOvt6TdLEcvAh+Lxhs2DWf4rcg0GIfQDcOQHe4sa1UKB+qtABzwIUzuxFBdPbufynojrTb5tyg
/HCXN8o9gqpHvMitagXDnX6rmZopL8Ure4lFkn5B/C1s9BjNeZlq6QK/JLXgzwcUZGZEdoFDo7tB
JdB2ljzkfKBa3RGgzlqj7i2BJXFHS9WA6Vu4L4wE5WiRQHeTC2mfEwAY0WfeBLvuJtnqibtCd1fc
AbebHNk7v0d038r4eQcQhbUKnZilcsfLsVdQmTUy3PxjvsV+xu+opmsAD+ELyA3w5jW4eMkwJyHf
96WtljqTUic3tMHqT8V1sJjX4W14U64qajDQBS1R2u6+pdIMfT2Q9b41Y81M623RLTNRFwvKfUh3
FOh9qNv0NETD9ps9oCfGL9t3PiVwHByFP6MDsxY36be35l7kdzchzgWqouwXu0nfULXJkJkAL7Hn
FuKr2BvcXcHhU6P4bzIrfttbzsZdndNNrsNraVVvopO8d9aK7Xw1LZHAccABKCskgEPi2r8FvOkz
tN45Zgj5caD73kZvy6tC41p3c8LC8ha43iOsttsNh2ZIq3c5NLYptGCZAHZocPGWNmK3FpiO5O2X
538yc0YSTwHfZF+O5Zx/vkwxc+QWyIZsV/NW7aM+qVJRqHRpVgD1qS40gh3R1Ub/EjEDOJmPA2WB
VDteKmS7RPj0mJ0qHlwPsoTOt9MvW2bXS0atoWHB6Epn/f3x/XLWAQY1SuwjgIcEzeQV0y6MHUfr
MTKb3jv5m83eYv67QksiB022haWEqs1xBtXfXnfkEgCgLHJ44+mJ16tZmDF43doA88gQALCLrBqM
JWA6dRG3emwwNwEwEol8RijiQRgHoGQW0OTeGIEeYFjaPYhILCpoIyP87OP+HzlJMQDYPkUkAI4Q
tDspeOEjDfymgYQkWKwpmolR4fpkdejhG7wu4qKOaEbRydTTPWiBwIqK6wT6F3PJwzPkF0v87ztP
4pjYaTs5SrCXuDtImJDgZROagja3LKBu9qXOUVN+Xdd/pnhyTaOt7SdqhOFc9yDhzHRW8EL3chhF
LuMSbIqZqOAZUje+nozO8Ni1BSFqsqRu47ltGIvZLupNeBb5aGRGOGPaa23Jn845QetLXQSAaJWm
9P+4qzC2gkL7qB6MTtLj18MxniQnAcbmFd25BhXlgKHFWRFZaLf9/bmMqzQJRv4ZCi2Fx6F6pQ7y
zOWzncxaTUwF/lLFRpdaTTfT3XmuYmNC8S7QsPxxUZhiA9UhYFJNcH8+TN3F99iw3Lpv0F90S5th
wSzkI5jbOiEpPSj3sRls4Ae9gh46sh2YbYfEi6urAiRpIh04wPFURIQ18FitYwQS++llxc5N0l1f
CpSX0XIdzlUfASWNb7GPaV6LWwmBF6kDsHVk75w1uGhVtlz8PaE/2s7TGUWaBLVltCghszTJ3UtV
y1ivkdNdxn+mYm9GVWdKHg/XOJHwkbBAEgVbXJg1eeCoD0GvJ8VgAiWwUeEF6zfcvogAZmnibVUw
axWXZF6UP95XIm4/qXDWMeinWq9Q+NiRKpZIIkFiJmJgstQv+pSj0CQ3KpDCyzEt0mCl6jm6EznY
RIrBVh5lxUEvotoK/FxHC5PySbGqfems+v6i4bNVngkrZwDjsIR0YhSeGI3N0c2qMuK0/k4D+rJi
IQwSZLoo31UNcI6Gjd4Tf9kiZxJacdO0xwSWrYwHM4eh0v+e36mapwycJCwgR5tfaOHCN2JytbAM
w9dJOKS7gr0J4mC3cnPKZEgH1fVuyGrdd8KN4nNrVvWXFQMYPVx9teo9QqwFCtRCTpZSAxFVXoQ2
3nspNIQJrk4OaqK3C+tgz8TDexHBOuHehT51pY88WsTBVuh8qngApYCvM9QBicFzyMAgCLra1NSb
FA+G78RWJamU9S51uINTo+12u5gRZk6m375Y1PhHvDdsM4DIe/xiBS2qPJVlkt0gNkanRLTxAd5y
OX2oP1yumvlsn8GZ43T/M9wkblayLg2E3k13jHiMkk0C55zsqDLoflERRW6ByGBafPK5DX2fXoCk
O8IdqqakV4+yZ6jHMtmKiOUgTQU8I2SKEcQB9Pf3nvjtbgBSCx0ylF4EYK4fp0RhHKWUGxHPmAJn
jpyGhZNACVRoowU0qSATCtAriC8zcf5zD/hnbv5v3MncuLLiCEzGpzsf6j682d0auztCU9d9qY44
qXtvbsBfkpix+4pyHUwkRu2Zxxfl8jopBblPd26QdAZXiQGkrAGRLsvgJVW7RVPWGwVHAtdrL0wu
m26W624r6Q5XXAq5RNjPFxJxAmellB10LMW56+SnMjk9/aB7D4rEqI2j/VSR/4kw3axPin4o0l2J
SA9oKL1OugOfqnrYu0aTOdBSzvQSltNJHq1B8AQ5qiN8J4IB/O1W0PlhCl0E+YWFPYAjaIs890mi
BK9tGa/YrDKiqIbaBbQ36/KGQ8/Is34nOPkBgvqEb3MDR/wihURFyWe07dEfjFUzcsRFFEJcNVhB
jbdH0gM14IoCdWcGyWDEcqyLUn7wYKgWy6EPv4Y1CyPSVn4X2JQqcEVu4CSngi/pKyJVJOQe/a1i
xUUqcHAy5pdxD017+asc0IfhW5JmSOg6wchEiJcFrt6l3w2sJ9w8NeOgvUihD58H1nJhHgTQGMQF
ZDMY0Cxz1JPgsGaENnUjZMcOJty87C2yAR5oHZTHgTgs4QediseuaK2KdZfhACFqBQqRfcDPHDM/
Ac5kJRXQqkafLgTwcEZ53GuMKkLpWunSc204VgbgVge4irdld+vSNIBP3QPcMnO2P/cxR/cnaH6M
EvDANfwIx/6zezihiTwP9MvdoIGmDQflHQeNcDQchn5bqLZW3Qr4RfTnLlmJfEXLwILIdem+BRDF
rw0FAGJ263N08LdyYv99xohjwDeZDzwbdjSSihFIMwkIqzCMWa4L8Gzx2a9fyxaMH7APfObqBh88
EPqxslbgTFiiVAYeJH/3hMSEBikcT1IwqRGBD5ab78oSrqvAkq3dcsN0dpstwA7CBs5cyKUTGc70
jM0h2SyPYY1C1JKRtuDJCu1CC/Z9YsuyDiad5n/A9G/Wlu25x4N4ZSTKawJc0WFpPXlH2B836iDA
fqzx33oRyDRWIz4XUycDRlL0aefKRhQAZ4pYAA7TPntVKwQzBasnwujwmOAk+h/9eXDfg6IN3hWQ
NtDawU30uA+9hOcimHqGu0JbRuEFsT+k2mveI10+x0T4WcPHNcZYMDoGiQlnF348jsVxvqN4PRuC
ZiqBwvXmb0Fq27IbbQVwmZQbsCHz2i2nkrqjokhgq6Ss0gNH0sNoq4Da6dG1sL7MGkq7i1wPrl0B
Ha9aB9BPoCxhVyhDv3ZfLkeSJbvyPZJdvNfkouwhCNeusi/wMeA/gb9aGGB+ie/iO/sOgH99y9/z
mc75M6gfUAFEEXhh4JiAqZi8KwMLnKGShGDHxS+xei/qXIczCfZzRvryLY8ACoRBitOxBNZEQDjV
JPIRF/mc1TQoWksykWpgPLBDGviz4VQXgDSGDbmeACvJoBpVfkThagBRQ1glipnVMypBz7JII1EC
XTJs2FECc9oWcEO2bvla8HcJtFN7FG9zuDivY2nFMZuygI72HqUuCLg0QIa8KO5KbhYtZ8GFNM23
GkLTxPQHgvMF8nggjEOX/QyhA5W/Ddw58dltB5/NytsEGSqY2bYvz3K+hLAtcbmIevLM6fJDvp7s
PDSqoFAKLIGqQv3kcecV/+HsPJbbxqJ1/USoQg5TgASDSEhUsuQJSpYl5Jzx9PeD76RFqsRzTnVX
T+xqgMDG3mv96w9WJURaqQS35QrbpuC+NbeY1BcVqUBYBLjlHzRMwMVsi/iL4g3umr2ntwRG30zj
lczPb1pfHqZmUmMAXi5ky6/3UsV9nAhU8IRMgiNobte2dtkE4OHH0V/1Ncfh3YBV7eS24q5XsKoj
K1DMrrzf7zYjDHGWr54EcmzjzkDUujXiIqq66Faby3UnvhTjU0TrhEGuquWrpuExmFga+hKJSbEt
z9UxTrKdhotD5L9Gjer64evPZ8A3ZyKci6UtX17Tpb6NuqwWckUUPJGwaX8T+QcJ+07lqaNBVbfG
dN9JK7/da+Mqi90JOnMBqscmfuU2ll/+dbFg3MlXy1iTLlP9NzD7zzHZjkGUZ3EqeGTphAyKKHq1
o4WDw3gz3I65YwV7QbyyX3yzQpf4QeprpECmhjHT11WBSYE4d0koeHqgHIMQ9cXAWVzRvlcrIcCc
HUfloP4bgvhKYeYqpFtyIgibZqrtdOweUaKvy8C4t3L/j6QyMSJc48pzuZysaIzNl7EyVEDtwudP
jDs1LoXY93rkb/ISzQjozQZlwfE11/Stw7UFcdmMLVdE7AkxDM3W+eHUVHVSSS1XLM1dSUYJpeWt
rnvGfKPmh6B8DdjQ2SBTx3pFliiLB2vcltm1qvuyNOEuLIY7zPL5Ts6FRPoQxJjHRT5BuavEWvGp
koCM9/eVx7u0UWfLjssQ4sDcmeNYO4PgFu/qiDBI3xODl7B3UmGVnRLpWUNOae268tihKTXXJqD6
lQt/914x7kGnQfW1eEh/XXrEyEiFlLWWV823mnSHmpL+/caMDmH53LM5GfFf5X+ZfEzZQanBT11+
K7Pnc37vnIaCZCmJ5UXJThOImF/Nqmsl2x6A9xp37putDg4Z/7KlWPhcnBMxpNZIzSDnYrrxglzO
xqov9rexAc5QuewsYnFUY2CsQzhhxHsSirtWeSnMrW5c21qWlvXrO0bttMynsTVUllSLr496ENBW
+X5ieEFg9y1mtZs+WqM7wowgNZ2svG2LTfQ+F65xzWLuknrDRgamg9AK4J6VfHYEqh3BXEXE1yMk
hLuT7mplupsGyn1eZiutCQ64WLgqU5siT+7orWyiyP8QCk/0Z0RCgd5jO53rf1NduK80ppstsT/l
x+hHu6wqHqZZdcJyPoxDuivaigFEQMSVkDAE6nHXb2UAoJBtu0NMpq9zmcmI2t6VuO7/vJj/DVvP
nzDKaFIYmRSg+D07XZNaEKq5jtgk6Pig95R3yqr5Xf3Ofku/qk11Eo/jrn3UKFA++0P+iFD5KUV9
oQX2R+9kh+BupJYsCPQCjHKx/i4e03vNwcF1MQn7iI8oMF+F3GF0TplA0UmwFa3xSt5eoWVcEkL+
v0siQ2VEzBbQ7telIqVV1xZB3Xu1Ne+bjJ12onGt1HWpIRBpjF1PMuvsE71HedDigqRnw5VD6d81
zh6mJuJXhkqX3IgLKqIxKJU6paXiMUOVGS7Xa6J7CIGKGofrEnGhsC27AwZPkNRJESHQx1gBRomk
A8Zr/AvraKUw9MTOXV4bPSK/tZC5VrVOGOapNi2Q0KIx30zhNhPuY8ulxaFdL/W1gtOF7PqQGxAf
m6ymbR26M94/R7/aSvMxlTYkS2hMdPLbqD6KSBYN6Tj3v+UaF+1020Pt0FxawZwUYSIeyr0wYqSe
Gbal2HLkNrjvaQ73jH0YYHynbOdhDxP959X4zzfy4gGiTkMIh5BBPT866jTWp3xIFE/01wPOVbh9
CQAmdsmIhZA1ycH1K4NsLa+s2bVwwDMP3RJ+5owdf7o8UxIwkFRJtD2JE6vbUNvwIoTUlRC4Jau6
vVFYtpWrxpsp2dTzYRh2xBuF87YYH/TxV2X+SZXHsLixiju9ehwyV5ad2HIsyPiAso+h6BSRXRsr
sd1oqosrdTvbaHg63wmfRMNWqw3Jy1m0Jo1JtVZZuTbFtZLdR8QK9Fu1vjHyA3tVcg0PuOQlapAE
l86DknCxNj77jrVwHDvRqjSvqKJVNE3rOKBvHPpt3AM+Kh1T1d+F8qEow5qMBSQ+OvDS8Pfn93cB
CFICIn2wcLtFvANf8es3OKdTNzadWnuClrql36/bIl2N4tMEm6k0yvukfvg/XBCEAL0+RCx8J75e
EDFj3BdTZnqT9gJADbBL7DUvymz2AGFlHV9ZoN/+wP9c76zqnFGDYwUbm56aPERi7Ix5KNticZtG
CQmq4Y2iTld+4eW+tjzT/1zyrMwZJ6kh0pmfqMTGSVPnzSDOti9oG2QoboWn81hptzHpOwkhdWom
b61YvFJqLVvnl6/y7BbOttZhKqI6lAtUebnxHC/7SPJmFtQ71XtZpl5dNHbQts7Pr/b7H06hyLmJ
QRG76td3m06RUldlYnoo1jeF1bo4R8PkjhEytPExEqsbVtiW8fk6SjFvr/B4165NNy5LIaRpC/yH
wmMZpp97dfdKKObassDM+FfW8ml3IjLFnNiQ2r81O0SXVX/TVBx+Wrnu52lTNI0Da9cRgVNNYZht
SAkSIYzp9srjuSiNuDOJ1gJuwaIBOZ/KTv2YdHooGp6U3Yqx5PahtlWD9Kkr0hvFF+yKqViBTN+U
cR6Lx6PQRIT79tXm5/s4j1KhSPrvfVAvfX1NLVWkGjQ1Bhm0ehPgytyvSJsVbMZCe1MwH0JL3qRw
R6I0vs/IwZ2ayinIzbZ8KEMKyJnR+seB/VImnHzUg5UAW6YXtFVjplea+EsuGAPsxUMDTIPt4GK+
bHZSYGV+aBCJhJf9xFGMGku5V2JoLm8FgYwd5lU1Qeo6PwfvWfNFooE0wGPa4S/2XJKODQnqOr3p
tlZ3W0STE43YhAz3QnkYLLzbCxeix8+P+PLz46ZJjKHw5x/93PtjTNqum7RQ80TxtZM7JzPxalQt
O2O8aCWGM7SElF5jRV86jvCoaKuxeAZggHBw9l6tQquSwK91D5K/Pcd4sSTFeB8PbWSXWnybJR8l
aBbhWK96mJkOQVI7RIJOM+DcV1yNsb5c7XipY0ujLIGJEOPONvowxjUfJ38i36u/w7qwvKD9m8oK
LjFsCRSh5gqMklS6SlwF0tvPz/+bJc7FcUCBha+AUZ5/aonRkTJjCKpHQPzaFxoKtDcxs3bxjJ9W
oNzM2edggZAp0raUrN0oFnauzA5KOXtsRmfoPicYv1X/oU6fAbFhHJ7rLrmytr97Yf+5S5jJXz9E
JSZPFoRD9SwcneZOwQNyyf14CpqnRIBB1xe2AJvRwAdLSHH0mfc4aNO11Fd2hEsqDljHokfBlIwB
Ba/l640k+iANRerLXh0Vh4qpl+hnB5kBRZ3n+7yADqepp7m31sIYXDk0Ll3RYFPSKGP8teQRYX/6
9dojryqsxkr2jNvFTbJy9IH0ofXiMo+tMYwOcy1Ua9GCqLMeRqeUWLj2EK4o9Mp8VeuuGK10E5fM
HeFvvurgb/HzYjqPZWG/5A5RUPKCEO4x4Ph6h/OIfetoNbKnRxgkzYM7qeIaH8fVQGJbAbg6RioU
H1puLIHVqnFUcWQQQ2UO1JGnxUZm/5lAqxi6242ZX6lwlgf09az/envLh/gfMK8Rap8fUMteVTDn
KhCV9iTyRLpdBaKd19YVdPfSMe3f4wBW1ZEIwOg/W7WJJQzVoBWyFwMmkzJfrYrajVM3GleY8igd
1NKwJaHUGX3YiWuQvaxfW/CxtRUpLXK38mk9Wech79VpJJukqUahQFlZ8MYNGzrhlff33QOC0QcL
YamzLz6zsg31aY5T2YuEu9o/jkisx41M4LV/P27rco/Wv4oP9UyE+XMkr5vhmWmKeo22fXkmLKMx
ltAy+2PccIZGG1MVhGFsSl4Feboo/0QaEcDFU9zwoMyXNH03piun0CX1QlsuyTCK0n6RlZwVolXd
pYnWG5JnVSvc75fNBYccgPfCMZ+D2TZJ/qXthXmHNAB+D8J9ph7ZqrA25KcbkHZIlB0dAwpRuYo/
GNpF17TJlxNb7pE8FwJQGZfhAnJ2j3pexmkUsJosdBQwQFIMnIEAb4YjiJH+V5ns7FD4n1O/Fl+L
Q9euA3+jbnV1h23XOO2ratNcm+J9U0JyT5yhdEZINJlEff2iFK0zC3ZLyTMEWlbUHdqzRYCm8lw3
e4VQtnFfq8d6uu3bg1i9FtlhbBegbStdJRFeLl1s1JleItxedLna2daj9X491XEgeZm40ZOtIK98
9VUiFSyyFWGlYaSugtYT+Jv+rqt7pXmWzJfuYbiW/PtNZa+SuwdQsug1mUqf7TFZpKInswoRYNpy
Rw7RTO43Zap8GnJzJ0rT3ciAlyTNVTIme7/qYUrPV92ULlBqje2XyDrdwkNAJOz962uZ5iE1U3WY
vcibzBWE19lO8aiLnSp1EpJGMZyTbxZZEeGzx2sqj+8+pi9XP2up4qQedT3g6v2LAIfUnhRXM21B
eNWKHejqCv2SUts6zi5oXLRd6y6n9x1W8R327cWmnBHz5kdp3Ae/ft7fvjlBeS5LjAwQNxL/f8SD
/xwAtSLk2mB2sxfvzP3wm4Ffpq9C3x1Q4yTOfC++QyqQbQvGqTvdZDUxuBjV4k5uOPnaGp26W8EU
yf78fFvfHJtfb2tZ2/+5LcLGJstI6tlLVHfKvbxZt7uwdYT0Zep2YbbpXJ+JMTirucI6sd8YZBwY
a9wIr5HJl3Xx9YD8eiNn64b2Kvb7AZyRkHAN8+n0LaagqI6FdBcFTz//6u/WqIkikZJ34QCcuzWN
ZlwLfVtMXsPAP0mhV5GQozDRmLrnn690SR7jc4DKxTkMiQ/85uybLAOxa/whnrzZkBwrPYhoBBKd
+icAgittKfuFL3svlnZxjbptLPXg+RM1cQrlcAFwp8D/+mqVuJpUv2wnL70TbnVjgfOazQwsSWba
iMosIKmQadk2OKGHuGuZkJMR77Y3lbqqS2cxEhVvVOIJxLVJpGJnz29yt0nbg4XfU+fgtN6qbmNi
1EgccdOv++6TH6W7hsr3Zqts/PHajG79kQPUmxGqZXfxDjUMBm4Z5t3dJoicWbZ7KO0ypaIzEg6x
FU0XDDf7U1f2TIxvh8+gXSjbVF0xANCMg7n++f1oSx108ZCAlUG5DA6484l81yR6nXTl5GXZ2vol
03umN5PqTYpXp0drfJ/wN+7cyN93xPBl92FykjiN0z9m6szSJpROCoBmt0cDMiE3NLZSsjdSbLi2
ibqdKarmLQ5/lnRoMaAa3ah7a41tX57wNy3jdZNvJ9zh862xGFwoR74shCa97oi0wtfCWb+BMmG5
Y0C4cCfpfM8ppY3RYP5oSqOHh11SPRvjZyEwF7FOIpakWEnIxxh38upN1X7P8ZXv4N8ZePacFcaK
fAPIuC9n6n4w1nmhJoQmf0LES7z+vTshh5pWE+DAJnyh8M6SG63ctyIhh04SbKWNiOD8oEj7GikZ
qWK4Jz5a8MXfjD1pNYR1xyspusFQ0fzdAU2SJY7as3NJhqw3CsZWOGiioApWbcDyZGN1moO0zo9y
ZrevP6+ibzpZ+g5QI+hUyw88r7aJY6r6fNQ6b+HQIAPDyvS5+rDKVY7H96kx1qO0nl4FHi9//iY+
duKqqze8YphBo33Nx0RfILwvD1vHxhpFA60iM/wLxfecFVJRyT7zamVEUoD1fPZsaWhqdeOprJIH
2VffCytONiUNkadO2HJS7hdhuo0tAkw76dTU2inXQz7mZyH0N0IxvmSa8nciA6MYDVfvky3Z7ptE
xf1iDH9b0bQdLXGjGe2rJCJ4NWoih4Z4zTBiLU8D20zWvzTYtZscv0OGaXDK1w/7aJ5hYEWvYYnj
WRuhEMCWbBzJ8Ta08NFKhZvMN+zCaOxuyvjQCldQlT/5LN/HfeA1pEmiRNj4meZMM57XzDPUPlmR
zLGuh2vGNP8a7LPHSkfA4kWdvDilnvVURozkUW1H0h0jtlBkXqr422zTm1j+VAe0pCoGGcY0OZMB
RWqC7Np/LokbNYu2nUWWZ3uMhn0i1bYSUxol6aZOVNp3sXSNpNhYqm53/KKf1yas3MvVgD8Z92tx
41jnn9VESj43SY78hFaweuoCaaP3EOFBxhhMZbps6zE3kevl+yhDvzN0DOd7dn89kKwneaSCH5Tk
aTKF3mZcENma3CVOn5vkiijCyQrm/YgexJb5zIKWxlIxsAXPjEUut6TCJoq11cKWeVlzkyrMnDLQ
oFU3xSNCg+xQFeI+ZsdrJ+uxIoAOWpwxrYMyq5yhKF5hZcxrfdIbt5lmbQ1ouygN5WPqCw9s3fJG
7+rUrYjhcGYdXrZV32ulVJOMNz4i1ldcM4a92Mzw5xnR4E6VN8O6DebBGQKF+NG8UiD4Jx+Nrr03
w/iphuJnZI3qpimCaM0u+q6pJBbVVbimOfowEmQlvuFDAOH7oyOmJmq78TMc0nIdt7XbLYqDoc83
Q4ROspp1FCGVUmzDWcmcOOojr8srVyb1zqbTStjXSMRUO6ZpAWMtKWQ6qGYcsNk04RJXli+xP6AN
l/2WURmnJQPad6muBUfzBfEahHJRFjGOh+WyuH/QWV34esM3mgRBBASUpgjJJWpLslNGrTzgT+ro
/qeQ/9baeDPr8UOs6C+dMRG+3FCtRW6nSutEUUT358V7URQClcIyB41n+S42ul9LmLIdSHXSBdMb
1dSVjfZ5Fgl0n1+JOF9PorpOC/PKFS8AgOWKC/2LeKTFde2sHjYGwYoYg5teLLTwunynTeQTBhNH
q/ibzfjIq9Gx8s0rH+mlbIrLAnqAsAETQcs4wx2knrjfemAe0pWFI+J2KxFwQJqMkJ3qtHfjcdPn
2T//2bK1FalyUpaLmutvQXRKrXK37B0GieCGDzVVDZ3G+qySZ+ZqjqQdw6lat1VllyJ5WHK7pejH
0FZ1lag8yaDQWZQcqnT8G9bmRvH9X6Y2XAFR/+HIX7fOJWcMHc+CXlIKn/2+xtLKxiwHphmGtI5E
7aYrEq+RRFuwpK2fJa46VBtjiXkpQMTzli2yoFEMi6dOXNiqH0xnQeyKtdE2bkGYvdgeGdMAbWV8
Q82+zScnzEkkwPQzqEkiQ4vcTceJOYTP367g9ujmeCPFouMv5H9VF2DTt9j6TSdIUKchKB+lEsuL
QLpR2vAxTf2tr4yHFHJpqaYHetrbLtP/tDnbfjazfaJcE2tyc+TGCQGFMZjd1o3KLqEd5rg4ZqJ+
itAnRcpYoUDX3EAPTrgewvuFiKLX4CFDeFN24SmNey/SfXeqpl1EBzjSDAzBuCk7cfu//Zp4CUip
lrXNZ35e68aFnEZhpRl0eRJItrGr0C8HehquSvi/05wmDs/09PNFL1XykHdVMHq+GqxMLmbJtVzq
s2WOjBhYupFsOEs4UzG0boZUJwKPZGu04xS7QTG8V8ejbA67Ab/uRBScKIYokbR8jKjMNKE5yXVH
jVB6VdTshfBkBPohlYRXGEGY2Q+nXEqot9VDhntzbbLrB1QEkUSQtfkWGNcEwRd7hSmRzgtzTMJ7
kJLgDPeRRrlVs1mzPAsnWHzs+40mUmeu9HYvhwecq39+ktcud7YZRmqWRQFmQrQqm6RC/eiK5Cgb
66xmCa+qq4j6cvtfvtnl51mLLzX/Nci6+Lr5hnpVxlYuWx4l1q/BXOZ2AQePVjhy0LyrPdWrXrsz
1U1utm7Sm1tZ0K70Z/9a8fObwNYHEeC//vmceqmJ3VyVNTdhDsVrOhjvvsisJS5sP60bR0t6Jzbj
NdIcuJ+zO0n+Sqm0nVxBXBH0TTIIiPTLFJ661h7V1nK7aToMRraRitCrLH0vp9rO0vtPCxrYMLU3
QWnC4tEwiJxvrIzRbstoNyH9C5chssMqt2VJ/vxeL5nYMA8J4kOJtARnX2gdzVg1YmtumMin4kOT
d4+58DSoiuMb/Sphc7P4MPO0PTbmhzEYlBcIZlU2sVbBFye60ql9s8qAMVWE9QaDFNiuX9/6RKK1
OCSm4cXtHhMFqLVx6KrRn6zeJtnLHF0BoC75gPx4ZLQaFDn0CZA/v15Pz+lKfVEwvLK1Vlqt4c4S
b7QgJFWyKQ8Memq7TSenzIV3KQseDI2iIwr121IV3oRScGpp+hOkzVrxgfJCgwaySLdh238M47Ar
62bnV2Bq5OiuYaHf9Cmlah3RZE8yEjDFepA1FkcZ/4kL9UYApK2V5t2MYrfM9Cuo0+UAD6I7PxbK
Pf7ZjBjOPuB56AW688aAwPs5d3up+A3RXiHEpE3YjmkgcIy4RvdQL1Cgs4suveJ/AL6cMHR9yVz1
cmOR7s/SpzZZtmCo97JCTsjMCMVPrdlpg/RhjKxHtbCOudH/Skp5nXafYZLvGJiVWfy398encG7t
xHrKY/0lrtHXzqVT+w3z/re6FfaNUd3QDt6jGtpV6f1gZiu6j8dOFZ/7fP7VqwJbSOw21AC99mhV
w1HUjhPeplNyrxj+JiVIUe3mK/TBywnu2SNYHtF/HkGGng8FDM9d6C0X5ZKknUqNg5hj3NefhFQj
OsZbKgdUsA5hINteOOVUDVc+8+X1nm1lChgBADDoPHqcs+MinGcxDExIt0NOEiNUN4Pan6gwI3OJ
MXzwlY9g/qgD2V2unVXI8KiJrtzDBdy1PIolRg1a6qJtOHsUVS2LmGmaupdJ+y7m9cyg4Q3PQQ68
pSTs20+dtiTujF9Xrvzdr2d+/S+MGJ71P9HFf15CP6SiUMe+7s1KQDYjDjUxQFpWlHtRefDxzElG
7MezGMOFyNE7f5320r0I2fzn+7hs4vnl/9RQnGuGAST1dTGEYhvltRYzzjcMfDfy2a4MbJzr+XOC
O1CWeNgE1JNd+Di0G0Ig/85d4FQFQ7gU03GLYLOGXkzMtzXlYdvioFXE+1lM7R5BV1jqT8k879Ri
vHLf320eFBmEOQPnSEuyydf79qHkEf+uKt7Yw8GFGtaZhPRsmSJ3kCeV9Jmy1726fXxzWUVmqPRP
EokE+nzKFuWpZHZGqntpcL+U5HVUnZLAvGHbarQPg6Fyq3U3SqNcW6mX64ULE4KO+zZn0cU5RLRW
GSflpDMPXtPctMPGyk6j/psqiAAZF4J+mxJLkzDTwzn/2hz4+9+90HP4SqCf/ON3/2e5ZlZQC4Gf
616CM798ErN9WK0RRVFsNc3eyDegpD+vTP1yp+YX/+eSS3v+n0tGphG2g9jpnt+Ze7EjLRTr+3KM
HoOpcCw/uZ0ncgwM6W8ciljA+baejXdTGW0Z7a1QeEFd0NuDbhSeX2S/I2qWhuVZBt2NIKPVI9Sn
H3PXxEfJisgL00LH1JBWR92u7WAfJcn0HrEVWETUltMHSNXcF9sOVVZsCeI6NxTwVrXZ+zE1iBCi
WlgOVl2p3JIxlkGQC3VkCaiH0ht+bqQNu1CxXuRY/1PW2MJmxIBpQ+Lo88mU9n2yEONTO0JnXY/S
KhynN5EIzbxIkJdc4zldFjVfH+1ZUQMZX+wNsdA9Sf1Im43ZO9Z8VLP7udj4EApb48rqlS8wNzyC
sP1bJkzUdBf0/7DEyzRUS92jdl0beY6mXHTgYDPFN/zDVJKQ2JOrWM4rCQXP4D/1VncMrbtJ+Yxp
Y2et+JPMnRcCK4ay8qBnpl1PVzqz79e4AWBNX/6Nz0DF5p+PCjcZ+ozPywiqYI/QOtpb81tRaBsj
+YiDBTfwp2tn4fLAv56FPB/Yt9CJYD2Q6fN1rbeg0eB0CdtKVj4kxO8m4KU1d6A2TyqqbpGZcdGj
9IYolMT9vknvfbl9Sat4s2zZTS+vBPron79A4wI3562RsQcGJsJEQR359a5UgqoEDVKOVybRs9BH
vwaJnM1o3o1d7MQ4A4woDqrhU2Hhpom4SuCh9lV/T9L2KQ7q11EiAlxOAvLN5EPJJMMf1F04SStd
I75HBuWIgGiom9IauSpf2JL1o6gxLmHyKVeew5jgQGqgVLD2eQrRA64BlT8EoezUd8/hWGzFsHzr
1TRmx6cT9k9zeF8QcpxvQF5by06F6FhXxvs8w+LXeaaFYuz9pVmolfkxkPo7jD7AYcUX3aLgmfO0
3sRydiuHAbz+yPzse21wprwXbcm3sGRLb1O95McL6otMGJDdjM1HVSN919Lq5efHj4/HN6sCTJUF
weyC1vrsMx3hQs3yqPH8NZNQYgXlcawL6qoqqxrlLoVzOQqrmC0nqEV3EtBYxJFRfw56gJG/EdQ2
RjU7OQkxsROrXRVH1FIQYvoYklNfY1U3aaIjaAUsjD4jp1mUTmrfP9B8/p6Sck25QQMQhrggBOQ5
mLGyT0ztVvPVW/g7d1GeGzY09S1hzzh0TcNmDDXk8qL6PhTCu8DaAUxu3qN2fpos2B8JLh/rgYWK
dgm3T9GX7KboP+UimdgsfdQ8aRM5GTuJW/XC30jvf/cloLif+8kqSKdHv7FuQ4Szq6YnaLEQ09oJ
K+iZccq8ZphhZ0Jek8zsJsU1grbjsRetTVz0hywVdHBu+aQV4bM2KndqNKfHygDuNpskdhFasffG
UmIrU/zcWhNpbBhL4sBgiPuiCiUmONCGizoZIfZ0v0s/kla9HjyoSg3o63drMdFPSDHdXOVXB0Ko
rqKI7T+wUG2MsUlgqtIfJI0UhXhgmpt0FpGMOaOwuAy2ydhu9QznGCnW0c4n8107moizU6H20lzu
dl03goIpPqFS4l0rFK9lU/k24cePUx9Em1QzGBtmPvlxk/wYqErsUM7pzAjjF9pGRPplCGeholQL
ivA2zCeg9kbU93leC/uwZ6VEAjZmWqo/NsiO7HRKC5tYyzdzVN+zoX+BNDysrDH/mOf5RWvCmSRY
lQubQGcUh3DA9VbaFFI+bTMCubBbChkRJJxxTdBpdljnty1R4gwkgSjwAoFbyIgQXwipceMqTzZt
V+WnsBBNL1OneudrUb4dhKJjgiy861JyIN28dgapQ29rag+Rz9xcnyJ9hKccEAaUxrmd6vVDo09Q
ugM2njwDRGsJT15PUknasNDE3jwb5Y1aRolnSnEBNZNjepZRQUVqMdhm6Gur2i/mTSsL9MNaS4RQ
Yohga6nwaKnESvYT6hv8L6uHSEWihP+D1ILUpv2HrKOqEvVycOIYCV+D76ZGGlJi7TlFBse38uqY
TqDouRjqMKLm3O2By/ClgYPQVRM8N0OhFhl9xR5T3bctJtSbSECbN8yB6ZrpENoWxHVb6+PJ6WeW
/KiH5PmJmIQMhaG6nVY+p1mBw6SYMPuVk08jma7BMxe1AxDYwqFU0b/hR2WdARR5lfhTKFeFB0S2
p1U+SljEJcHvev7NfMvVhA8z83c/b4WXVK6zi56dj0ElwaefzcIb67Vq3AzFOiZHqt50wU6L96KM
JdM+jPb69P7zhS/O5S/XvWBhZkEet0of4IRQqk6M7pAd0amrwNVzjU/mmnBgeXZfyoDlcnCZFbCf
hVZ49mwx5hNMjK0KT0CDhh0DXEbzscw+YyvazT6gImflzz/wkvDEJfEV439NB77Meb6e8YIERlQH
mnDM2v5GFHCFiP70YrgKzcV9T3Bb5ZAqlGfRzSgfQVvvIKY6M1+yRhhrlu1MIdsVqeUqlnBlCPTd
w+COIOpI1I0XKbFtwKRwGpXco9+YfPIVZPkX1SGzVhryHmLUZF0peL59GLBeFhcn4McLkYmKZFaz
iq709Ax952RXSgB+2jMj6VZlMy8Tv7z7xOvpOZKecUZfD9nvcFJPcvAUoK/M4BJ7fTNdeRDfrn44
ciC+ZI0sY4Ov7ygJg6mSYmASXtW+NVV3wZisQrWn4LMfwo06K6ucQG7ZClyhSm/E/vPKKrmo33km
VKUmIAlcezCbr3dQFEPUMKQtlndRJ6KDH02J3xQNoBFCYCiOxFg69f8Ar/tuEcA7ZmRCGbSoar5e
OIy1cOhVLfP0pTwj1HsoxJ0lVBtRq16l8WR0wuvPv1X+hzuef4VgIiqIJHv0hbw2GNtoEKW69EqB
zOaYQQOCTv0hrdrKLgQ8DGMheiyN5q3XkpqPIHrrSushVXTMSkT9I4opZ9QOxLZvqr+yXzwR4rZP
xvo+79OPTqs+ZkGAT5AbrxQOWzWKMeHG1pFZVUSBT6xcLfevU1Jnb8i3q1VVkYncFUjvKA4GR8/V
F4v/Ye53t5E+/FJK7YOiLcIUzHgysvx51v1fRkBbrBUlR1g+2okWIiDKcc1DYIcJmRmZaxTZgYvz
1J4t/pnNdRdIkYLDj/gmBrDOdI2JW5n+EmNzq43DbavJJM1oyh5Dy8dRNTw5bQT+ug7vKJ36FTXL
yhgaUvX6RHDEuk9XiHoeDLQQQq4+UPTVK6bT8OhEpVix0jGhkXtXtUaMaonCVoPEq1QEo1Mg3k1h
9agl8iZvdRHag7gLh/DUT5DEhjD/a+jCUZY7loIpP5eCfEtG0WM7RPdx045HVtFNE6gfbS0hbp9z
0SlDhmVVTB8++xKGVUtqqoKpYRnOGzJ7T0qJCdG/Q1jtmAPKE1LSaJuCBShi9qpO5lpNdRWkp9k3
YQsXTCbxS/Xx4Y/yNxisGKMFsPpma3SNRn7VedFGGTyJo+QFOu2iMub3XPCG673VCmWKVUU389x2
Dr3vigDzTdAJ+GahmE3TUzYOZCLK9TOszNsmLXdp17z4kn6oE5w/scz6f5Sd13LbSLeFnwhVyOGW
BJgpiQq2rBuULFvIuRGf/nzQXByLVIn1z1xM1cyUQYTu3nvtFaQy2uZjdJLCAjdjhbVYB3flUN6J
XtskFmnSfVq/UxHDP4E/ZjfNS1TQZzF5zTaKjEulsO/sMqBqVmarhQzl8yjhc2S3L9iXrGU11lE4
wIg2fMg4Qr9tq4Rgce1nZhbPgQYTLTXfJzW969MCCbQCgynqmpfOd3a9Rig50tzIa1vaQ3w06bpK
+1EmhxNriXw3VAl8ko6qUG5KJvTDbTvFpSep5mOWmCQ66lDwZHmMrm2hX21gxHTalklnMttNnO0j
YUyuNZycmxzfXL/LFzKEm7pVaApDIPuZgCUOvcBBAPJPVYVXHCa+KppmO0lsYIG0Lnw1ykKPw0yZ
8hsppmOeXuAxIJTm9Cg6ZjmI/YorF/xq3zQwRYFbiJMvFj2f7zephQF9AQZzPeCpXI+LAKjKyuTf
fBisfRSQVNPfb5yXs0kOiVlASP0CIwwB5OdrGuOoV2qaDMeY2tma8ntb7fa2Fa1qK7iV8MhkY3QR
b3sIYEG5Ry8U6sZiDC1k5lW5urOF5YbptFYJwa5UhBMp8/gh3iisjVKzF+jRXXnIt3BUvdwv9jEM
cGlWXLT6shIaIGi9qfzEU9m2C6e8MjcxL9rx+f5QCs+xzXjqnxNGdWcaxjqdpmOTzDRCvuKOoe8k
pbu8NzZ+L3D8CdHvBxvc5NaDri36vLhDZsEoq9MkLx2b22HWeNrGJmy4dRmCsJJ1T0lZHm072IaK
wsq7HdWftcCp0VHenZzmsANShA/oWwhfgTmbCh4hzXIIZ94wAtfx03Ul28u2oEiZxseqF9s0fOQu
dvpoHWeCVUgY7yJo+7fKgHNQgWYaLP92RkYDRvQlERz4QSSqvE+lYSWGwgV1241q+qQH6sZH4m/5
V1P0vlqSoF2MVhXM2KBDfP5c4sbpkorm9EYJXyWwrRl1kzBC9vvT7LblR7dZ/tKXu+ja2viqqEeL
MfuJ8hI1Q/t8YblK+zbHCGWu8uaywga+0Rr/tmhoQzXZ+35ZXI6z+WwQ1jI/BsQhNvOsdwnzyNEi
uWSgRKNUj/EN5EYsOO230gY2099DK/IS3/wVpMS6SuoyTY8kaVgLelt2yGuqmC9v3kbDyuwC7uM5
NbcLFb3XjNE66YDYRjscnOBnHMGlqvOlFFzzaILxyMM8L6ZwisJVByUQRLGzjWiqAqtjnp3djFb0
YDj0zJBFMxkdilQ8lAX5CIG/9PX6maPa0xucI+v+UaQGWAJ+8YYBq3JYR8ZLY/lLfQ48mJSTXMKT
xmQkKAavjvPtYAuX2XWwaLUCg9HWM4vmqUqsfRPFrm2hxur1XVZ1jIbSl1BxfjLF9ersqcnhLFbW
QoZd2c7pD2q8bZzelaOIso44iTHZ6ALGqs1irSS3qo2dAPFvQty4pQWZP+Hs0Ag836JHs8TO1jLP
zsIjm+tJRPFNMHMGTVSEjFa7RPwWpbGVDHsbSmTNJP4xi4QXy+LZSR0GD8QbZwACik/y6xAqf6q8
YqylZl4WRRubjrsRCHSkbE+0s9tPz6Uv7+BbHSTIXTX+JKkPX6NO9/OfNFb2ImteStG99RIwlK17
A/k1ub3SG1QJHU7gDaWD8wQzbC0GysNadxWhbnunXn2MgLNyW6rBxo7zjYOYDvtJ6jTcyQcP1sK6
TeRNKaKlbNcH3xo+rqcJsfOL19yA0YlMJzPHD2xS7fWF5pePAdwTnFURm0oPSp1tSZLdkqN506fS
KgB5cybtV2CIB8o6bdENQ7PAo3ndaPFxKGBJqZM305oGZfSEUT/4jgDVEq4CxNSZ+h494TLLTg4Y
KO01dqm3Vo39MXqPpaKOzBXScatNyatuRRxOGpJg7NLxts+L3YgXKTyIVRnbnoqJ3uSsKWbgoTYY
C1RUf2JP8NQ+i7tV0ajbCEKW0oq1hFP+zFEQkOmSzoQqKO81Uz0l2uSBtx0HAMN2ORrJpsa2pRWZ
WwHt6IXkSZJYDZniZQ0gm9LfCVncDCCfhZHTfhfrKRs8ZvTroBtcQ8HNXWn3ndG6XeHA061uvt+g
vtoRcN2HZskIghrlDAGg8Olqox6zGx1ydmMxwaT4m5Epu9NOfnTNx++rysSa/Q2pg2hqzwffTc7O
HNlcjt2XIC12e4D/OKfbWLLZf39rl1QH9l6MBQihB0fAN3OecPwzQ2y6LpjkfsoA/ohUOebVLkuQ
Je7l6BBIx0BeYePXJV6o7CXjoGeb7y9vfXmvSA4Q0zBev3BWbSV5KoUYMlauwoAjQJOuQXnsG2Wl
xslPGd1R3hYb6F6u0r1LZbWpSiDFWn9RB1TJ/K9GZG/J1HkNVJy/yB9j9DlPy1DWAe6KtRIZ7qAd
CX5cphmf7Vj8HhQmn74Z7J3WCihvEcTCpQkjDlcFRV9oratyWBX6kOBWjnB1kp/HTN60RXMvkH8V
kGDyvLwZ4Ker8nsq4awDqO+HvasHw95QtpNc9ZhsRSvMq+cRlTbl3rxLiaLe1fKPCnZSl7/OByv+
zttGKp7C7NUptXUQh/ipxUQxjTjSB2KThfmW6milds5W7pxbHfvwVM//Gkp4pXa71J3NHwJseJ28
5FnldgahwIcVSVyl/jE13jK//ekzRSxbGt5R2gZdfBeZNTEQB7WUVqb+9P1ncGkHgmMSmSwaTFPW
Fx3A568wcJAHENApjlMmbXTwWScJXD/fB7A0SQWN5b9J8iPBHmAap6Xp3E49658ZNsyQJPgzd1ll
g79ktg2oVGSalIk9zCD7KDS6VUBVAbkWa551fw15+qhNzk5vVg6OR0xm0BWf85QHPxS4S4b5DcE1
22Iof+B29toO/WmQBci50hMJkr21EO+iqTy0GVOf2DhEVYlFNWqWpKipTwefDOm2+2E5obrssgyz
/M5/lJThMAnzDsvtY24rp0pHU+9rGo5uRkrSc4zHRueYv6q8eKNqfggMw8HKbNx3ppwtbYb+u9aS
T30mmNxU4lfSDG9pXt8nWXyAwoC3izUWC8YQONO32Rq56VbKKjZYCxaj1PUtxllkeEbwOFvq/cWY
k1pU8v4xevLdtkKaV/JHK4H63kb1Uyr8YBFWCJnxdMdaH9pjVio5npMyOMhUslQLGJhTRIWtR+Yv
GROjxWR1D2WY3kwNZjSxVJ2CQOkhaFfg2JI7nznpYL/1Q1ZgW1O73SR+a/VERkNgEVM0JeZanRqy
doXfoI+xbky2ze+/zbnIvnzB7I2azdhZPTd90ZK8G9NRyxDDPDVMGkdd242x5ZaMW7+/0iWzkVUA
188CxcPkRD6PB5OSaCDUHd6mNQW/i57MHzCh3khWUa8t6qFcT37mOlVxyHQm76q/knLF1SnBzCLH
Cu0lsl8Hpj9S3q8lGvbRQb5ikNbnxM8wj+/0FFteOzxVonjR8k0LlmQwYlbSOzM29xaamlrW94bl
3DKcu4uL5O77+7ukD8x6IjKYACk51Yjq/rzKFcQiUdtHGf45w61Tn6DziYDBWP1U6u9AHcAN/qou
+iuHzFxAf36DMydo7i6Q8MJNms+gf444EpENq40kcZSrvy1PKiuffeN05d4uq3g2ASbQ4CcEi4KL
fr6IrjM3T/QpvfFLqBFytmlKxZsn90n5XkbiKCknGzEa07llU5wkx9qH2f2V33DpU84D5v3gajKz
gpEQf/4RwEZY8ydpf7S1yiH3oD8UbX+AIdMiha2WRjdgq8IQ1Zj6JyVpbpMJyGPQXiW7XWmDzdzc
NA+qgoGHERnLksAYJ8p+xj4/XYZqh71H04AGTaF2Eqr+LqzqLYRvDQU2vi8aptZOG46LPqboTF77
lsC5PDl0KvvgkO5zOboNED5IOD6Znb+OK7K3oO4Neef2JWPmwXJblcF4i68YVuq6cZS73O2sCAYE
0W4dHqd9cjIzg/AeG2ZR5PphvCaVIQxPcTZspdKEfyC7VqTuGlU6phqjkAYTPvUtMiNXRcSSgx8I
i6ksZvmm/adonVWftncJfJtGVtcDKtIZUR0rnLLId5ApXLOud2OjhlGBhw2pDb6tLzOru+srJKLp
iHthRTkQretO31tUTU6KvX9c35o9Ru/OsEd26OInezPFqMbtp6Tp3UmIdRPrrpxq69BM/vh+7Pkp
jVFHI2RlEFV+U4euUBKs02aiASvcUu2WlBWbOMXFpNhXxvggN45LoOKyjXsXTJjBq36TZM12SLNV
ng8bzGPWcgqFJDaWlt+zFaieEeRbX2GlQcLHzrFHMB25o2YdA4E7ojNDCRRaosAalbN2Uul/zIOc
5qeYSKssZ4rayIvOVm7DtnRZxXu1ipchxCRoysuUZjFQSMJQiSkr840kaWuU7jRT/q9ByOvvv/ZL
xhQeiyonrqXAjEYmcrbiQjuLHCuPg5tAxoiTNgmg284eCxuIUgnWgxE/pPKpUTCHlEM866p9gWFs
bFZQWfka+CoNadjJ4Ehy/j6nKODE/P1P/KKm4icyMZw9NnSMSM8omJNvMs7uHYn+LPSIZl9Lgbmb
mpxvsIVC7NzIWrySih90W5swCK7U9peQKrxhnARMRaGmuxiK1YVTjWZV5zeBpuwnZqVCqAu/uS2D
cFthPdq9C3GlkPtohT7vtYy8sS5gFzIgQupnrZJq03IXfmodZznkArixX6JrXDssFrNFXGbEzUZL
MdINX5o0eFJk4y1Cfz04xq4dci9k6tBlfybrgUpkUcGgbHH+W1Q25yCguxK8y2RRdhF60YCBr/LS
htIqTn6U5ogtKjow4peyjvCvYKsbvowwWF7msrUccE7uSgFVDfNWqV7XhDZoYb9E7D2lvyZcdUd2
r9wP3ZTuWc4yZB9XDJYuTyGTzGlEktgEAY3KZyWuTNZqAMnKJOOxXDeVupOzNyfCXurKN3d5EHEd
hzJaQcfNAjlbFnosa/0ktPHU00vJqbmIsT0KsvJYJj29dLFwrMqLe+jTce+N/DcYUPQU1wzALhu7
+WegCwXS1+QLrzzNCMwkxYvnqIWvPn4P0HGVaq0iQMrrv3niXbnr+a4+f3cw4rD14cxjT0Az+Pnk
0wo7TbVBGEfy6mrThFDkLytr5l6/qhqM47+lfNCQjRXCvrfp+GYFhZyfZqykDsud2phX3sMX94+d
jWoi0Jxf+rlJk63zgdolagVcyild1zNma9kuPGAp2CmNWH3/AJz5Bs8eAJlfjJ7ZCMHfzzHUtg19
Ra0V+2jV/l7C0Kmn5cjtgmC7unqfLP1oYQq7SCb/vmIx+FjRh5qyBDccMufVF9aBvsRcpEq79mOo
gXJUuA6dqJB/lKBlhCDrzBiaul4Grb1SJICgXLmN4xp/MijVkREs07jej6GGSbZ8rDFqKMlBWhIk
/6fS+4YJGMGmdnxoE+e1dqDWEXZRQjbO1pHd7krmd5NvYSLCdG4ktLr09+ZYPrCtbkXRofOJAnhI
zS62qw0yhaUxRa4i5acCepYmRT9qM9zAstzmTB7CBlueXtKnpcbtBna1DACtM7UssaSx/+ZNB/88
c0NLfYKcdt9OAY1i3N8F2JbSgywt3FciSJZVoW7iGXOn4yfBPEbILwNjMrYFdnZcdbyWEPzFRwMA
zAYKlQA6wbnecsrUJLbbyDx2iJjMCWIrriYEXtenCSDkaibqF+cTjAWqRdpXHa3t+TxKKZKkDKbS
PBbRTwnAJOniVa6AuU9/Hek5wymdb4TJ+p/Eaa+sj4+W/vMHi46Lx41oDCIB3fPZitV6aF5Sbx8r
4N+gUTaGDJYbMyr1H/k6dE6BYfSQAXvzWEeafKwO7lWGwwk2dKJlCIrYpWKA7xjjWjK1tdNGByKk
dlFN+Hh1TRb1Iag++71QfdGh4Hn5xVjADwOzVTvZPJLxkXc//Tw9jup4PzgwInV+td1tfCQ4djq5
Gvm5k65uJE0lKXHyNPuFtLld2uLfhFmp3MRPOSOpIUmWgJgrPUldIL9lRqqxJr8kFs4vWo1PwAB/
Te9vra5cfr9bfDFxASKmdKIVw1GTD+Dzw6/tNsRUtHNO6QHNo7EoetB+qLqr1+JW71bkDe0pMjcA
4VcufHk6Ae7IM7rJVUmSObtwJJpCFmPgnOJt64AFuNhyqrcKtsGvVJjhffeixQupuTbcng/X85cH
MweYE9HtpaNFYWdW1mZdciP3thvjuNFLxNCrhZezU0Lxt8t0k0U/rFA+9En/I+P0z41hyUlxpSb7
ogdmtDRHkVCysuTOjbJT1eqzuMwwUVFPVb5LMsJ6Xph0U5CJe7uEtY/W8PuH/kVRRpmNjgxVyjzo
PmewKWU+aWoVSqfazR+zccEkcdme4u5GKrbJKWF0cZMPb034JzReosSDMu+Yp0C4uotBxVO/JYB1
XLqgVcoTZo71sSWy/M45pGBMYK3uLPN48tul/gx199hHj1h++c7K+aUREacdtWrbklRwrbr9YvP6
fFdnG0hZdtBlfF8cu+bU0s5Z4Gh8Qs7JwIw/V14ErWhdH+bh8vfP88utgHkl4DyiPIOMl8+rx1La
wJxUyTya07AcSZxwyK4Omf/4Al9qdbbNHCjrsRDBVE5bq0XjptPBkE8ibLb6OAd+P/k17aY1bFX1
t2gIKi/xLc8fhPnY68GiH0AK80VfCS8klTV1yHdwgms10yWyNT/A/7+Ns0rRDydDGzkESR8IvS7T
CPWCqaY9jEPkEsu7zCfJnYllOY6gBXGeFX6nTjjdlE6xavx678TXAk8+DAfP1ylfqI7qEUY/29Pn
J+s3g42fRJ7eWKhDsQE03pWOwPixI6cnZn5wVyfpFj/pmQyOy7WkSb8huiNk8CEQG5X6UhkydWZ3
p5T9YxEV4bILyP7sWuu5VPCHnhw4CEo+v7LB+JnG2HI3bQ/bHgW+PIKZNE64KqXkLRfWsW6NTdIY
oGzG1lKaaCVpZBbJuYkGyJ+IQysisYJmhclKZ5wCWX770DnkKntKGmrBnuFOCOLGxD7Hy3UdTXm9
yAys0KYRun7d9sKbepQhcC2HvW+LZgktaqcL/6SY7ZyjhmgfVkD4S8m7rZwCPjDdGFet45tXDoTL
8plP4Z/nftacIMMtullHcZySl1Q8VsPOjA8mFIqrrn3qVyfAv5ea+6R/0Lik1spisDv1aOZ3vvkQ
JD+V7L4vnkdak8paUf8AA2KYhssEh2m08uNhWYXZrhbFqux5yw6UIMwekviONJafMrz+sLNBniX7
7ft1/uVe/e9PPVvnkGSaXGpt8+jA9Q+ZntujR+a3EKdCW+qTsoQ9tyz1K4eV/vUTmk1tZ9s1eEKf
n1AeJlNlpL55xLVgFRuKm9Ro240CjkyxhQ94b7T91oz3kfTAaq0RV9vd1jZ+2YV9isSPYcQcSdVc
I5LcIjGgLWaejDFAX6DWZU4Rg+pkf+oKddBviVYgIpalcjZt98cR+F9EP+w8ROYrLZCpnUbtVjZx
m9TeCqzs4bysBv3nlcd8WfXOoxOSywAuoQSfi3iyKZTtptLN4yC9RKFy1+X1SUHllc+5rpmO7ce9
hECnyu6l5JWvh57EXncmPisFsDhJPWZUrPTw2mjnq+3x3581/+x/PlQ6EikMMtYErgoL2ImmfZtB
+7avQcdf3z4z2Ll1ozA6K4mMUR1aPeP2jdh5qce/idFAMcTL0A43DkXIVebbF3MGegsZz1XiHHTW
/dmd+VVphqVv2SexcmEbpqjKgE3Ewe+eUA5NeP/8Dk7S8t5aqlvDa8xkMWdWJmAwdM41OVTgI9Wd
8ZQGWL+txHOJlYkrC0xoFpLGV+qqV2YwX0ypmawhYaZoUihizsmJPuNrSzNT7agGzjqgxXPsXTI+
R4RHl9goJvEPR2q3OohzlBNMOQulBm3TJM3q+2/1i3dl4hWug/Gj8rXOVYjQE0jLsbSUAI53pMVY
FnTd039z+Zk18v3Fvtp/5kw1NgFlDjEyznhRKJJCFN6meZTyx7G+g8jCiRyK91ol28z3pEnGsugK
TPXFRR3owPwNpArV+KP4+eezF2YoEe2qy0cqFDQ0uddMO3WUGGCr8EYEDg4KJ61ExHy7/f5+Lx8u
nyMMevyZqdSxtvq84OShiohxge4mw4JO9BNGVEbz7qQ7jYISJOV/vxo43IzMwjxD6vb5aqne1gMp
YdNxmm4KNV6W8WuiPQhlFw7pMq3zK7v6Bxz9ubTB39ikRqESBxIyzu/OgCjS1n1205W4GZq1uJvp
M4rG0pIdkokmAgHyUzdL82ERzIYS2K6joQcSOMz2gVpZIerQ7qWg2uudtsmmWixhOLbA2NZNBCMx
b4pfRWJjNpDSVeix4yWICBuBS+vEgLwO1natUeglN5pkbMexZwCsbYPAvlJMfNADz27VNGEtzuxa
RmHnPkBDMURpJ7XTse+Z3aTDRp12uuFsSEQ85gYzZAXBaHXQmxT19iMxwV5W7ovYd0XfnkpFX6dY
5wQdoLX8aAtMaOtnamOT9PAMJpmd/hz1P8bErjSPXXSMeO2f/hQSMCst9VSZ2cPgnpA1DTewXky5
Xg8q/KsQP7Aod4NAPYjUvIfjCCfrMcZ3Vkg49vXtCj++dZFXWE7CR6XgdfxrYqKP4KWLR2PB5rTp
gy3MXT5/dXYlo3fTZOuYJMYuTa1V1v+NkmaPUEOOSCFTnxIzulWik4w/3gDtqgGOEYymSitcBpO6
btNXCyVJXOyaCkpQdqrQUOq9vhCmtK+Z6EzpqUnrhVXsklTedIKpqoTyBEZeM7VeBrwVSYmLd0jP
n66SJRSNKbjeGk3hKuQr7CZitF+/X2sfocEXt402h4gaNnHw0M+3HXxkZWaoj2EeuBT0GAk/dMnK
PPXvMPhug3srgNO1UrAo+BE+IBZNnhhCVehvMRR6MttNts6bJfZtSEkXkNekH/qwztFWdQ+texNv
dlhcKOp+RGwhkr3Elx2vzfYuYOh3CqQrVJkv9inm85xESG6Y9Z4fApOuFBjPNbhOQyPq4UjurOQE
voMUknz4K4vpsjKnZQe1YJOaBfDnyiaFTJfWh/JwxIzZl3iZwcLCf7x+KfQrG+LluIgrfXjjM8bW
gJI/vyOmvmoeoF0/jiPUCuMwRvUy0lBnBKeKqR6maPCrrmz5Hz//7MMgIuADm4B8Ru7E54vKRJRW
mR4ORxHRR4kOXK9LMjRACJyT0V9UHarowHeGhdbGN1WDSaxOgGxpt38yS3gFzqB1L60TWjRFjW5D
O1gWot3ZlCZjGbpDQ6fAgSUPkud0mdeP0F0neaeo0rqCOykixcPLq8A95vsv/gt0wuFs0TFXxb6H
rfCsqtObTG9bJ7eO/ONxVFGiB71nS42XBCM2DgY2UjA1oOrGQ5YsGqO78mTtyy4CGJnxzwwos6Gc
LzlRIMNx6pBjVDJXSTyxmVZLqN4LLAt24R1KXeO3lW3G4m/QYgpCkPuY7zRiPXwGbXVOSnK81o1i
VyCaqe1tMpwSWSwbZNtWPf2qJKy24wQ9dUrKBEbNj3FXPTUpDCFiQdpy7tnEIsMHvsJ6xIpPdrhO
MtnrpGgrJ707K45k84cf2gsF80ryS6PUX0p1uwwycyMVmleZgxvrJft16E0dZG8GABr9B4EIgRR4
eVyssRQ59SH8sD7ubwTT6FoxNqMDmjooKxqrVeFk24ExoBKpblz/KIMHv1QpUO0FLeQ6JfkmlgMv
HDFMjf5quUD3rbtl6bhFcG0dM/PlU/73U2fjA/icrT3ITWJCejYaDbI0Lq0I1KgFNvM5GeW2eAvJ
j1oGo8kgs9pJCXWP/RijG9NyON1MjtqsXcl9Q9iRsQZGx8QhJeLbX9a1urHzdlU36jODmwXvBRZC
4Qrm8ZnoV6LHpYyo0wDy4YQvdnMgZXOZysmbU2TQxCNvUmYXR2hoQsERkzmYJuJNn4VLn/yDIa1W
vtEfzDoHwtNvhXlS29yr/AIHbWPX+4zOzPK3CWWjMLZGVe+lMVi3UnVwJuY0vuolY7idX5+Qytdh
xC+iIngzUk6DSt5Glqxjxfd4Yst8DOYlsUHIyqEU0/8XJ4AP2CaKp3b53iF21oU7v5CEsfRVJPM4
IGB0ZUqLOs4OVklCqj68Z4OBj2eSHxpd30gxDgXK8CiLMF0gJo6WJZBy4RhvddYds0IsRSEvgrK7
nar4dcwihiwMzHIM8jCWkU2CJsPMw5zhNa/S9fcbw/nhwT3BzQE1nOmO8n9qgH/K61aOQ4i40nQK
EL/XxoCXKsJEw1yZleQp2e/Ryf7XrWi+JE46Hxwoqo5zgYFqSSGtk2kcA0JXcd286fJ8q2X1YdpO
1e+s7aHtlFuzaZi6dNc4EB8b3dlnT1+LhRnF4KwsO0Mz0LNBNp0s46hhPtXWI/v6mjDYKvqtqTsL
R+XhvUuJC6oULLADHoUbK/liqv7qzksyHUwmyXDdTyj9v38RFz3l/Fh05uT4BDMxxUbp89EzGY2p
Vloynea1BitxbRbvsXkrc8giKIJYqsU/BSSusFfBHtAPV/V2rDt3TIqH73/KxSxs/imWrNk4/YHS
X0hA/FJTBwY1OMviZQRHQ1339ypxJ4S2L8IVMqpUWvaxK7qVvQ16hqRer94pT/m0K5+odWBrjy5T
o+9/1Xk98N+PgveuU8iTk3XWIJGrLcwprodjpXeU79Gmn178lskwfUmI34cOSoh883+sQuar2ky7
8HujuLpYH4OoM6kINf1YZeN95COHrdZYL0U+ds5QPzRbX8jXTO60+TA+/0bB22YFDjADCMPnT8HP
M7VFYW8cW6atMpHasvNXzWw3j8vlSC8VdMj9DWU1KjGJX/5qAkAumvyXDS9s0jSI6/awgHLmtQTw
afl7OPsUG9bOzsy92Xa3FvKLbqo2KrqqhVbZt3jwz6D2dt6Lvn9rF8OJjwcICwKJIXZJFzNkFMRd
3ocNTolaum/rYq206usQRwc/UbHPg2xXiNyV/HrTCmcTRZpnptUhK6S1Ht9opZMxu8HOxmGECTjI
QJYcMH2h1OGdY8Dexd5Tkcp7GCi3poQXYJ9ULuHg76paLtNWRrRz1Vb2q7fD6AqyCFWpTDTZ57fT
hoGFtqU0jmTYZrlwe5rzNH5Mmq2jrbLpJuvXlRVdeY4XlgI8R9KIOKahqlpUxGdXncrUwBO2MI7R
pG3H3YTtzDydbnmIcfFnqOKFKO/m1koyTrX9/P1b/GLtAcCYpgXvmJnzR3zEP6eEBnGwmsZWP5aT
5Qr1HaC8l5H1ZMom7JBHJIXrt9OVHfEicmO+5RlmwsVjjg4+7wACvzeqZjS1YykzfRoxeApxnWIh
7u1o3MucD/asE8J0Wx8pCh3kWK2x7CTrsMV6oNNgYj0rRUMs0LDUc2zH9W4rpOEu88ej4muILLe9
Py3a5qTU1qMzmS6UUijuzQ87rHAvbw+NFB7SSr5pU43qsnabSFlkdutJfgMjIN/gKezVtrTKTOdY
JKY3Ru0Gy6N9qeXhByqVNonbIISauf/fv5IvyjceDjI9FJkff33+CnPAVNn3ZTJXGpRRyNnzeCMm
pCPzInn8/loXINz8JkAHGPzMjSb93+eLpVNilQJHKfzIy1U56h7ukn6X3GlEKue9uTabchOQbAn+
87/fJrLZOXmFK8sXrpG62ltNMsnq0aad6obiYQZaChQJkTZ4k3Ft2PHFh84sfAZDbKwzCNH7fKMw
E2x9bEL5pDyou/qxX6v9kkha8a60v75/pl9ciZad5SRDhiTUZv7v/yypAW15bvV1dywd7daMqp2f
kDURt7im3AcMWeQ23He1dOVxfiDTZ0eLCdsPmHZGsDnEP1+WPKWhSKoRGZdELLyZ3KgNiucu3Ifz
LItgesPmc68apu4qP6UhAT1FM1i5o3SMTH1twbYaQ7EN4uFZDiEdpSHQnU3yIjTuNNtNpXKvxFdD
2S73XIXJMBJYgFFspj9Eq/88LUwiQ6eoKuNojaVXQZaTrF2pRcgVd7gYVAoqjL+5uvr+FV00zfOG
O+POjkFpxidx9jVUSdhLkPt0nBbLbYR6ywlzj+qQbN+HMZ5xTM2jc1qA6S17P7pSKF+MJv+7PNah
MpmFzN3mlvqfmzbwiO8GSeqOMVyJmIqwDfqNw2mIOQWkKD/8OSBdz+Vghzq0Eao3Zo9OnS39Sl9F
oLGC9BlJaAvsnx4UXE3qUNwkdbnO1Nxtg2vy8C8q6/lp/f/PPSvQgsCvMD0L+qPaoYwPfmD2hr9G
uJer5yZTXaPV12U9QN1718lfnVL+VVS7nGmgz9aauakRVABsS7Naiya9Uj1ebpecnaSYzZHFjPfO
XbrtPi6lQRQoPHL/TgsTVyj10mcfSRRlK6LuyoTIulzen693trwbqTazcor7Yxb6B2F2Xt6Uzx0T
rVjE3mhNP/s+vGny6L61Snzp6tcgDx+1sNzYMALMcpUJZYGUyC0V22tCpl60yLbSLkb9Z4ipjpMq
LotioZf3GaSPCA5tw2I1kNdERuOa2JRWlknPCJct/CNBUJAmiPwq7PoWT1aiwdM+PdbOT0VJvEA8
576+8DGY0NoHkVjr0n4bRbdpLGnbdi/oFoHaHiUJ2wILVCy/S0pzaXWCqId0DV96b2N9XATp0uL1
Tcih8qjzmkJdFdjBlbJxHxcYIcYB4RL43oevBlzQyfF3epIcxq5ZhZS4HWPG75evekHfmBcQ3iFE
WyFDgd91toDarlYyrVK0oxOVmNHjj668h/zMLo6QbsWw39Q7ddBWJboYzO2IRdcJztY9u0crU42E
IIf+W9vpdzL63nFQNsBoi6p41MvXsK/vatXkUUruEHaHIp6OFZVIPaEgHtCkScpOKme1w3NFKi0K
7//j7Lx6G8eyLvqLCDCHV0lUlizn8EK4XC7mHC9//SzWPHxlWbDwDaa7p6cbGIrp8txz9l7b1U20
IlwILaWfb7P8hoxAdISqFJOIGp1nuxOLtJXnCdKDsKpdgSuEeQbY+mgRyijX6RIAZsZlLNzYkIBZ
lcoyo08l073qCnlWDR4UxHahqT58HjzV5anVxdzP9gX5blZlzvVSX5MW8JT1kitPP5esc9hG82mP
G6j9oiM4zyQROcptIhrQW+rdPuNqmGG/VII/qvOYk6ekI4pwiLhK8+EUJOJoNPFCbSdWJ1GlYPc1
W7x1Uwxx79NSSloc2Rog9Y80Z78h1HGneJ+ljcYv8Q8BcfRq06tzxaTbklWvWemd8uINhZhLKTyT
yImmF8yaB5dRCrCdm7bkrKGVfko+ycxe9pDp9cyn+htUREFddVDECH1k3JG4dWupEeIyud7HbWUt
u2F8LIOwnHW6I6PafNKqyRLuhetAJqYJfDnK/JfYcNw6JR+qM72Dgu1Yqf1960/OlPw9MQe3saBB
odVhsLQxpG4rinypwcC0DGM7SgxSrFc/az6x8boR4Ea90eaqHLmDqRBPheodIWnNB3RmVDQDkxHJ
ZhkNR6rd5yITC020L7XWPpUKHe9Rz1eamW7Jdqc5mD8UTrCj4nqEO5DOpCo/ORI6lMIGkxSkj3oJ
V9tUs7ug9feYa1fTvsmJmFnZdAzMHHhBgiaslx76oH+OyUuahVpdzLyGvxBi9DHqyRHqpEvbah5I
4EYmFe40lBsW01XueCzkAhGRbD1LtliPESG5lTH9P63G3HONPtoOzYev/ipkdpoFm2N8/aqOrGns
Nj2DtqIu3zIdyFCXbZEuYfUbVnGiM/qr59VYH1K0XygwWIjebLVyHV/ZWGm4TIp6E5saefM+cFFj
X0bxTlHvvKDFz4GMvgy3ndHi10h37RDv/NH4aAH/D2mzTIDzhngsHAMztdcvCtSksSK9I6SZMBMr
QU7xlYXne1ONdQcpHg0UEOCUK18/3H6eYaZuQ/XQaX8a+sEhFOQRRW3C2qIYJfgYAQtTru4hgKEV
sx+6jGBrhzGYHbwrUmPx/t1rtYlYvoUqSidtZpqN65lvMSbeQOvmva6QXRe/opkByz/zPOf08zlc
rH0c6m3aLY7Kzu9sMojAW5Fa1OsHH+lN3Kh3RevtcNHeWjbhRb08s8O3OO1OZU/FkSc3Px/+W+oD
S7dF2Y/UYJrSsY5/vYRmog7/bRskLfCcLLpHk7N1GteEouohQ0/z57FuF+1bZ4+uFQPutE2+VaHr
p/a2I+wzTS0eeH3eDBGCwnxvR5EGuIn0s+BoTRUkmHCyaf1tqVERoWjyCut3JyuurDbztGY/CSev
GB9UIzqEXQvRxFi0To4iSF6GBZ5g3vNewUM3eusm7nai1688Rt9U0dM1gMlpyTYXQodR+vUa9KbW
t3asdgdh1C41Oe7xdj2GDjZGAMLRo9IXS70/KoU/G2ko12o8N2yBtvMRn/TP9+NbQOTf30KTGDMA
vQ90Cl9/C9COAbLjyG/Rwl0VosbqfBIO0oVvs3wkH9XAR4wY3jn6uH1XqRstMxa6BxBzuuSiXlfS
s7Cq37EC5qxJMEQUg7iLCQzFAvjzb/3mPZl+q62QEgG6h33c+UAU5ptaNW3bHQJvWChs1W3gJZi3
oA5nc1l9UT37HrSt2xvFQk+tfR+W66a+1cI37GKz1mRobWPApDCwYB14+JYa/4lO4A0WecK5/LUc
scoqKIy7kGhz3mmSejCGuTK8pmLnyTCxmUKNpEXK8s00GnC0yA0iVOVMzXWpXLRTHUG0l9EAbsrV
W9njIuY8b0m+9J2MJMkIQ3u4HnsbZSh+ULTp0q/A0dya6k5YWM/kcV7YzrMUdXfF2KyC3plHdfGZ
YeCcdeFLPo7oBdR97CFAGpkqwb5e22EG9F61DqlgXO07u8QIINDhiARlII1o4CG6lf4AX06dF+pL
p9yn3keYSm6WSTv0pZuqAv4QlVee9L+K76+7UhpaxKqxv9NIkPu7GP2z06mqsg/VeqClFtvbNv9j
yYMLDXjVlyHQB2iOZfNUxPk6y/1136VUSKBxwHV5ieoWLcLvOnwfykckC+8hA51QFL+U4dqa9Hdv
fPYrnck1OXXHGSGcRyF7aT2GkjYS3FZy8cOjpzT7SGdK41l3ahnu69hbRshiPLJDEzK7quAo6n5J
cPLGEdZCt4PfjQMaXkU1EDfPg4ZJNnjJI7FMC+dpkNub0qxW05w4VayDI4MQSMuTQqEhImc5UnAl
NSSEAplb8hJq+irMsyt34q+G69s5WvQ+6PtjgznfaAfmMAZKqBD06VRsbCU0ysmwq4dqWYyAo9Un
68Yq1lXynk7W3vR1wKpsktkXxvpGtYktl27bkCxkr5l1NO2M8KErNr1e3bfgqNVqdMH1rcZ6WBTZ
g6nc99QaBYoftbtX2SOOGp+8PFsr0bhSungbkDStAjKZGtc6GRDYVmj9QiQCAO3h+SqExyXGy1qo
2zhWf7eVMqsCDR6UPdNrcSRL4q3ro3dLrV970a+nDef13uylnS8L49QfZbYNTOCsPVYipiyKwlBu
M+NXxKs0JXqN9q+cdCfaChApfmlTSIMgESewFpl9H4hXQfiHV6Ex7pwZxjaweG/JSCPomvHxGyKX
1RDfI4YmTH+6qp4TQXoqYERLWn1IZO5Ljo+VpQDgOdVHDxij8qNnyedzLpKVmWlr2XQeut75pYCW
KaWSn21biJXaNa/n41h57iCuxRYwveHrcf7U4b5B5yHT48EF9PXr4lh+K5D4twc9KgowRvLGiqlI
rS5yZc9yp+/NELxDy4XOFM7bNDnlZorftpubZrr0Reimx/jW89RlbHj7OA+QXxNEKGJy4N+mZIaM
UlQw9jUyfRul3qpQaKPknr4L2fjUfrgGm720NNB6bbA1w8+Qyb6JV9/JCCnQVVguLRPpLD4Nvuwm
fYMCV/Bv0LR1YU00SIdatl47gq+w1JwQDttoK2ZWqm7IW1UNYHl18ECHdZOZzIN7qAMyGmlLrGIO
Qo8GQ5l1w3BwQcG3tbRu0Qj7DilDMxPeqNEJwKyId7lDtaYnhNaa0Rb4wKOKU7DWakA/9VwE72Yy
HHrPeYqN9JbV6iEbZJhid5GloTpR3Y471whjLjHlqayc/So/tzReo9q8kerg0fSrJSTWmU8rsOac
I7Wd1xBHTTQvmQ8GkfBnq5bB4Mt8H2WbGHVPnYc9UAmAMX4xadFBPE8vX0PiWwc6X8be6PH77BvT
BguJS98ysG0a0dJRX6rhw5SZ32jyUxig2U2zec0QT0Vm12tTAEuN5QQCSEGD2R5DJlWIFGjZdD7h
gXmN+QMoXfGBAmCGcMWSrKUwPnPEqEb0R3LMXYo/A79LqkauxWMyVCUUR+vO6jGLkvgysnWPy3c5
744Mr3YlSgEiMraVlhKPAzvXvs2kZOm0/SKjN0CrdmmbxQEL+aPRNQ/dyC/vIebgPyUSuJxgSesk
vLaX4F299G5M/T/sfmjwz7XGWZm3gxBqc+ANhUKWB/a28GlesYPCn4qajEi0e+EFxsxR5W1hjFOS
k3RLD4N/oqgnqdRui5gCsjFu47rbaJ39Ufvxi6mEPmQbcV/RpvDSRF71nZO5eWA8lwkbYpOyslAj
Z5EU+cYuIlIH69r1DZm2CKPSWaLlnwNbIDBSNfW4TR0YG4i161z/mIojEcQEMRfZbdML9IxxzDYi
4NOXJJ11ih3nBiyPv6g9+uytgr6wdyVriqstta3UhCczIx1TVAw9M/swOtFbOOq/k1bdiyjf5FJy
omr2T1qauVFsdPiEHJU5FJIZB0NTGSBf103hJo154zQO2sORzlPb3tbY0IFctM9hp1oz07fcMEfX
MtrhTWyY9Sxp9JUplwMbUv15ZPzH36gHNBjHglUpxsZjUjbeezZUDVnaDkNDFD22X4HoRZoMMib/
NpZ0Yx4YTs8mT+V/oTryAZbENSwo7qNkvkBpenUGe4LlYW9sNdB8PJwFcJwCf1to/jFya5219TEL
dJ69+jWyk5s67daB5mw8pKjB8Mdu2N8DAp7rOYkycdnRkO71BQEWq0bmpQxqscrU8lEpxsdEC3u2
+tKrQwt2rST6h1d49y2tuygHWNIXp1Dynvt4WMvUFFVoZy4WxXGelw75k6a9EnKbLRzQ/WkZ772q
Zmxrq/eUg+/S2OlEsAW/2mh8SfrxsaExj/jHflVH/dPrUp8tOpPZtmemlkesSDR4+aErYBSL1oNx
LbewUGmOoHn2Dpbd3mS1Q/nsDWiyhv6Owdo7MV5IRPxntUo+7d5ZYd94t8rEDSpRz/2h/hSB+dRn
ygEe8d72Aj4ApFzlwlqpavBsxCMNHm2cYZgNrjSW/6aPf/12ETcJKAkfgIGb83wwCww/KjS+7QcC
+ExANd4uEyA1ag10RFu5mo4qU33rFCZ0SJwm+TE732eR/inpOioZIk0D7enLWLJ/cECV94hxKwvG
S/xe6OHeTGybiNAQxVFoEQsc7gxCS4mX+HnTdGHYymkQLYeJkH6pfb7hbook8GqDVGKmbeQ5tZuh
n+DtPZrjSI2ZuTlibWSszOZAym++tjFYSDAlZeLF6wCCXWfFG7pMs1QUp0STbhC7kDamx39IY7iX
+EAYeoL+F3CpPx4TK9rL5riYPjGQGSA8de9V1uyFh0JSkJaeJs7RS1iCsKp9ptVIKakZy0GxeZXS
X5HC2Dalk5Z0b6DSV3DiTlFc3tmROMgq8B8EEZYNMxk4T6ReQ738ZWyd33KTxCnGhCgqv8EkVNK4
kDZT74XJCH96U9UPAaluNl4g4YmliMm16XxybMydTxNIHZhaLkvvLvRvIl2dWxIiBt/Z2OjISaUZ
4MsVmbGNLPXIk7qY0lu7ypqVWC3jvF/4UOxxQMxzlXeaICSv8TaM3maVwqb6t6XEG6QBs4RkJyJ7
rvTQ//t5OTtXDYSDzPMNA4DJydfSDEpBo4d9Vx+qSV6h9Qorf+4Vi1xAaq96kMZxJtrtYAob3aQT
LNg/kogWTKIN24pWTBtvRO+tc8xW2Av9lP1P27ilYJMUdoNP8rWBrg8BT2RkJLb2LfVw0vhzr/V1
/jK+VprzB622fKcbrY3Ffsi2BcD5fYhB8h2yfQjfCAajNTT+SikIhNHbXv+dqXQ7szAv3Kwlfs8q
DQChvgN/JFezpTaoIBGhciC0tz+IkD41jRMuMsWuSaEqDdenDbSy6yBib6mcwhwyXVZhmK97egiG
nO/h9G99Xxz7gYA0EYkX0xQviQO/dkJYup6nxQvb7x7t2AnmhSjfIT/HDwB7VfK5fYJPxL7tIUzI
UrkNLWvppM6uh33g0tOg6abyQSE1nRhGO86fZWEZc7PvjvSEbswh+EX6DMhurYSzCi0CVarJx8YQ
tGhbJhIzubOrXTRwnauIuGPf4De2huq4ee1szRGKKfbzdpmHfuvaRq+v5aD0FmbtZy4yqIqebrFR
LedBlmgQQK5hjdXT5zYhxqFStXQVkZmB84aZRCZVHb2F8raPNG7ckGwSW98KObaPZTXeWVWy7xO+
NEO68vVGLOwqubJyfW+2UhhZWNgnthBOqLPNl0UpX9lmXB9KIqzhEM8xz7omwuoWGqM1sKEcxiuH
/ItvOXspkERBUoKdA9fsvMEb2GHDShoVtKvzFdN9bxYVJnNMwQCmlf1NU1m/Kju8zZp27YNZocJf
O3HNtIJVLTbvvJoOQlcw4zOKbimP6d5WwqVeh/tsYClFkfkoNePrMFibVg5VGjrkGyb98CeD9Gc2
zb0Ujs9mZ3+GvrQxS3+VJ97bFEelhc7cEsaNl3pz1R5grXUbI3D4wKhbzzdfw6J6kAmsRbhBqaEw
rnJedGtj0f/8+Xsy7djOrhAqsgk/x5eR1s7ZMDhQehvgUV4cLHIfdANNZ/HJ3re03n4+zqXPL4pJ
xZh6pcgpzvfeDvhRSbRSfWuPLcZRQjdUjxw6gxi7e17pWRsH7czGiJLUzjEfpsnaGxS2XRgmbtr9
NtVoJgqDokQ51jmIxxh9Q+2tCMrOYXvqxlNTer+DksAL6cUJ0C+HV+wbFzboxMTgcJhMFRZP1dm0
wAr8QOloGD40S+d+JCZmFpxkN9xFi3ilz8o98sa1/zt9UNxmlVzp9yjf3x4T8QmKkMldZ8Lg+Lq8
m7Elwijj4Oks+x2vpZm/Vh+TJSmXD938PXAlPjWzZtXeO1fqpstHRlYhY5/Ew/jNXqcWI2HMWXdk
HrnwVGaeGuIPBs0V1TGcfUCXb0bs8B3HmlbQxBcxYl1F3qYquR1phQ7VIdNWf281NhvO7c/P1d9G
19cHmOYXEnZTBxCJXPjsAYZvb1SpblXHqLiN4Gjnydbo+hm2fYz2bof7WCOQ1GofRy1atYYGYvAa
2OH7O4TxEM81AlBiaBDjfr03WmflI29/dUwJA5CaXTqexuB2MK6Ner4fB0AjGjJamjSKvo16Qjnr
CHLQsod+7syGRbOBULCr1vqicr0Z5dguXvoL84q65YKm7OtRzwqLoAe4qId69nBgdvkYrp7fs7l1
kpY/30djuk9f76NNGjwqK1BceFf/utv/aS2LsAbxopjV0ZKT3/gVx+wXWra3iTbaleqGWcB8SLvl
4DGZnlr4kZjJ9a9YxASbipnGENvQ/lgjoO1sdJuMzDnc/iEN9TwVK2KAADYbc3buRCGCykcH1zGY
94yPrHz3iuqWaL0dWAiyG8K5HcQ7D5ysB45O/8gYDNYergMM1XQ+pPKDLem9NIpHUbGVHmlldrR9
Um1vjOwtfQ90ubLwrqX2fhfGTMIIgzefBQhl6ZlQRfb6PDStsoLKp09mvb4nUuFN934ppPf8fC++
rzUcytYA3xDWiq/+bIZEIFXYFl1Q4fnfGokNinR06+ZGE8Xz4N8HKBV+Pt6FU8PvZE5NT6xq0G2+
vj+EgHolibXl0Q8rlTRW/cMPX3xmgwYTVqevkvXPx1O/HXDaPun6JFEnHuObpk9iHuRb5AIdm+GY
BHe09WqBUXkrDe5QsILMYQaAVYz150xxW2ndipVXvtvv0Q3Ef4MvO928Yp3StcTQTBdN1egB5Ffu
wndFNr/ShLKEz20iQZ4XTKmqJ8KxsSh12px6ne0eX3+U/Sj99cFV/EWKlVB5ElaBfX6D9sQ0Hxlb
GNlCyMuyuKWyr+pTmCzphShzSzsK7BvGotcWer/0C6RlV37x9/EQvxgfNhstFUWwfr4HKZOWNCP2
o0fgZ1M47TPSo3EnPRO13C67t3JTIPz+qPfNyjDm4U1zm7kJzt4rj9PfLvSXpWT6GWTM8ZG2puX4
7Hkq5dEUcdyye90QSxVgS/tdcLu2NFxGa9v6hCTRCItdoS6r5Ba0awHZUexzm+HzzP/stkz82FPL
0Y3jr01909jukO8lhD3Obc5CE9/oxg3qqUrb1Vceze9FBr+d4RWxtCCHofKeFRlC0EkhxKI/mlF8
m7XhW451OdDrydQ7ywux6iRvLw/dQquYljyEGTtK9TSIkx6PS9troVnDNgjrVxj1Vyz+fz+l59cV
MT30KebcTNfOZJZOUBG9QYTbMSf444gszM3fhp14dYgxnpcg8aNFUc7TTUve0zzYGcAhluq6XMvd
InwGbvPzW/x3IHL2c3RSmFizp2LsG06pSageRRm0R/3WudGWyiJbZjf9oT+MazB+5I3e5BRLJ1BO
m+5kLa2X8G5YjovswXqp9gzNSjwyCLYO8slbe0v9Jt9TXZ2KmlHPzNjKH+E+erc/ZLZvrn/K7qK7
aksUxj3pOdIcJQzAsekPQHJ7cffzqV16CljmgcYhO+YZOMehgt3k+fWS+ohOx6ndnhT18hZP8UxX
D1iMpjTQbFtF9y3E9UreqIBXxKOiPUR3ZrVT0is3/runQeGeTwg7FUAkuuuzEqDtCFAAe2ode3kl
ylOhnjSLMdUUovAsqds8W47R0etPlnZ/5UKo51UBR6aX7hjYOBxu8dnrEIVm4ahxUh0LYbySwdYB
eeNBQ/ileUwKT5bT3Vta3c9SXYOb9GDQLvj5J0zF29lTBpUWgQsfCyTG59CuxmokbSj08th46SFr
pHVc4BMO2yu7i286VE4UMDHbVBpWqL7PTjRQc6XNoro8FqZMa6/97JOU2bG9sfTwI7W85zzSZxba
vZ/P7sKXkI2fjGaa1BC6R2dVRTJ2hSPQ8x5VT9/WJv15/09iFMxctI0VWVde2W+FBdsHmakioHOk
KZzx1w+9ZObQVou8oeWQ0JZ401Aw4oGX0kmChz/98/99ckzIJ5YqPkL+Mz1c/5SUjpfFKRpNTq6y
dx0DMhIKkGoIMn0PgXLNAXHpLQErjZ8DMRQZ0Of7Q0Kre1YkiYQPVX7QwuxAQoI7NrhOHGtBpuoT
I7u0yXZmGtw0NDsz27lSRF+6vrwlPEamjg/j3I9WjaWINK8tj11DM0IMhjvQ9VGb/K7TAw26JQBb
55rn6LsCDRIKmxKgBnxyJ7bB18tsFFKgpR7lG+K4rFtVG8cDAZjXa3XJJ4DrDCz45xt7+ZC6zrWe
0C+4Xr4esklHRw8VDillN761Qy1DuoU69UdoCmD1JS9uLl2Lzf2+E5pOlA0wy8tfEsvZO2qq5WhG
VsKJtqvBXtfJKvhD8zLvVizAwydD+v/pNP/vgGcPcO/kZLfziT+SPanifY4Qas+LcWGQ6s54PWLZ
XaXalRLkwpJg6wZNGmYzCgrvsw0148ekD7uxOPoifmZ1oN87tcxBW/vZafSvIZgvLHzUaphGeHYM
6BFnt9IcpRa9P5mwziSOWjHZcroFOG6UZ6jg1eLKdvb7TICbyBcF6DEbaEDXZzdxStnuJKcojnbd
vUeRIANMRcgVSCeELCtdH18qGheuil/Pc/T7MPwUTMZMU8M7uC0HDJlB5YKo3dPOYzqvPuht9TkE
8UZBwGzXm9oMNoVG8lFREFWuz0LUjyH5d5W0j6JtH0XrWCTlQvPCbckgcmGWyWespCsZnGrohDAT
+sefHyPtwifs77qEI4zGG1utr2+LLMV5mwpBxnDkm3O/gZOSZwCETGt872LyWll/py5boy8bdKtN
BA7Ocb18YLVYNM2jpENCx3KukZPeJOTIm7+aCgOUmS+NdqCU9iC9Ce2pqpmDjhsRhdskV9FXlTUh
eEzONNu+IffKgs5UTtaR5spN/a744qZaLHnslmiMUKh8PUPosLbKbCs/xqJZ9Y69UnHfxtRpwzCC
DPg1Zosm3xIHM2+CcK7rQBiRaorqqPpQTBtz2ViwF0lL0WgK1CaV4Jjdefofm5Qdb5AJZUMQEa1x
i8xN+dEYp1x5eRY0011jLtQxzA1WTW8hakYGXIR3P9/BSysPPvzpE4YlbNonfz0/I7V7OymS9kje
jppsmTRmz15tzyTH7QNXrp5D9f3nQ16qrqdQbMpQJo0ss2drj6Z5DESqtjlWGJqUNliCEH+Ie8Nl
3DyLAC1pbEKM4D1lGxlOn1hlSxbxcrBjdwTqWhK3icTm0WIgmtQ5GP7fgvF5TodsULpkjhV1hoXm
OZLTB/Y8s67N5wqcS8/D8tb1sI/TXSOnKw0yTlzcCmEsrEHeCNt8TTz1QXEcQPXdvsK/GQ76krgd
dnWqjcQ4RrNfLmuibndoLBZSxZ+JcpAl72h04nMAOqH4w406IsDIiSzucu2ZsS2db/4kjOVKzXNh
OZ0GkHDJqCK/jyAapR/z0J5456iiopGkvnwb+Ac5ebT9Kz32v7Pfs1oVCgCNWlqEFs2Ds2ouwi9Z
dWHYHMPis/PRl3Sfhvca4MrIN2FF0sFOfS4YVXdvkPTtocegeTtIm5+fnIsPK2WXrrBTmL5dZyu6
k3ZEy/p6dRwZKVTqESHJagjLk+k/dUW0aloBcXejOdGVVeBSAYYBj04JYT0MNc49k3h3RG0NUX1s
xW1VPdsSQiYyF515lszm/YODYMJSDiC/fz7hC8srmm/ofpN+jzCfs8WHdNGirzWlOpIhQFyBVxzi
axap7x9J2hlsBql1UJjr59/kyBxRTPY9zVGY3ybgH2eKubA2yvBYEm2oe69JewWo8L2W/HrI6az/
KZ7rkBj0tOmqCTidCUb03oIzM/2V6j+G5ZVb9/0l4WCYMHhYiLmghv56MMtp0KtFVXWs+D6Eiblo
q42Nd9LP+5lkf/58v77LQJlCQY8HL8J/TYr9r0eTI8Lc48Srjx2Eas9MSKwRczZmCLU/FVlsklRe
kQr6LBpjEdra54TR8pNwU0jRwsmxnkXV0hEsPs7gVo50n4VXH6mLV59ChQUfFBOCw68/0akhTQ0+
N9zI1U2gVXstSraEJG3Agdz05SewC3RyLCh9ufMJ4Iyb7H4gZ6mCBE4m7o0e5POoVDZJLh/6KH6I
ZEQsyMpXAaMbTC/UkvqOIncRhfEik3s3luIVRvVulhn6jP1R1icEHYygEoyZkeq0FGmUJH9IGlsO
RbKyvHBTM1fpAoJDG7HtlPgJvfi+guutS8MhgQoHEWXtN8W8TttF3edLGDbAoqDV9NiNRLJWp3jl
6NoqMH0Kv66B3Fx27Ch8kEXTKf965QwPwAbx1fDpAontgTnXYI83uo5E4wqT/UJdNR2K1Z11VSa9
5myhk1q/HLzRr45ZcfDyFeqbhaMcbUvZTWHHes+QDnW5xiQBt//OnIKe/HhjtOkJFswcUcLM0vOD
ZAD2DnCQyq+mMRxAFcyllv7ZeCcp5qHSH4xa3oQShQjXT8poPOG286tgLuGOjCrUq/HHzy/Ihe3V
1xM7e/qGSrR1GIbV0W7shQE20Ep4+hwdtPRnhdS4D+2XKTBjRDsVImj8Hw6Pl5pZ2qTWgu/29RbG
4MfCxB/Lo1xiFpTGpUX+X5Kbc9t8br2PSryFlr1v+V11ml8Zd1568f499tnjkyopUYcICylkIWGN
1mfhvDopewD62bp6cq4ts8qlpe/fA04/6J911lCyJC57pTwiQC4CF9+ul88xJHrGvCR8C+G5CnVs
Npqz+KVAm8brGwGAulKlXDxtJpgI5GjwIpX6+ivwf+KbCpkulWBCCgldFLtb20+2DrsAQtcfBKmm
V27z9Hqcv6l8zGD2WGhU6Ad9PaY5dJboA14fP39KpI55BOVfTHT2ZwvmvJAHbGBzOJc/H/bimf5z
1LNPjZ5U0wLBUZlqYQJFS4QDp4s9l/n+OndQDkW3Px/x0sebLhTa5MmSov61j/1zhwsrsf20sWhW
VLetvtWTTTqnTdk3h0Yg3r7W9frGAecIdGrNaYLwt514di+9JtPzcqCVOAnoBzbteoV93zFd9m/I
mJxlHXiLMU6OQxBs9CzcK0gZDaU8yVKNOxOVeA3BWcrR3W+SHpIq2/9YX43EsWlGt1CKfVS/KBah
EEqx0awPHdOJYnZ7RxBZW7HYNSKdCXT4jvAXcRgHi6pOkXsYAYVDtukThW2MujbyfOek13i5F6pP
+uWMSZmTWhY5VmeLcgwBPfcCrnYM4NtCIjsrx1keL6gkGB1jAsCG+fP9/U4E44L/e8izBzkkT7Tg
A1EeldJ46EnSbCQ2ZU20wWtAiiAvk+HMgsp6Gmp/ren1vCylTVkAsYuv4Ayunv3Z0501Q64lpV0e
A7hX9rx03KFbWgUGrcPQLC2ftJwrPccL31u6uqgrTfq5zNHPFmuzwS2GtaWkzH/reDyM0mLz5897
Jb3SIr/w5k7yEybSpMDI35SvcqCpaV+J8qip0Vr2sYUWGdXF6GAIR11dh/Gd0VxrkH9nfE03F5AJ
iPWJ/3Len0q0JivHmKNK8BSIgLK2CO6btTGNOAviFULpTsu8nWb99jL/xWi7Rcx+FGILbLh045Qj
A9k/GSOSukRDq46fRkok01jctHCbZ5bvrSUUZzPNzgFSpQGiTXyBdIcJfcP6d6Vk+a7C4mzYo0wT
POaL1Elf11zJz7U8By6DYbxfwC7wZ04M/FZQWbJ6zQZUkwh3R4JAB9yf5bJoEbRBA1gMVrpKAWBK
ffPYTy7JfjxkBGdmFHoR36qhSh7w6PBFfvTy9NQV1trzu7vERujVjPW+DMf1z6/dhWWVMFiV0cXU
nWAy9fVU8tKzZanViyNNiBDrEBsUBT+6MsC7XYT6Yy+u7IgulUVcOaY0LC7s9v7KCv5ZyPu2duTW
Y55AUump6hI3Hh89YmIGQontw3TksmUW77MrCMSVReaCZoE798/Bz0+XuTq7Qw4e7PEMlALPyCzB
3oRy7skkEfw1uVFPOhZWcKiIYeleQj1OAFvPDWPW3sS4E2SMYnTEQKzOnNefb8aFKkaZ8B1YEWlT
aX9L5X8uTevHkl1NDfmsEXOVJcCJ6NtI4wpb+MxDifrz4S6uc/8e72zVsZ3GbpSQ46Woq0s/uNXy
YJ0Knme5eet1Y1ygar1t7J6c6mv16aVzJZmPqQOsIzYAZ2uszz49oddYHNUu2ujdW9vJKwmzkcJ2
5n+5rv8e66y3EEJfDUyP1PhA/+z06BS11oMdP/plvHGi4UoReGkpn/ZNrBC87Oq5bqKGdGyFpVwc
sSYL/5Y+cBUiHb/yGjmXXlz6GHi/UTHJ31jmo1UgzUHheUxx7ldtvg2VcG50wwpM7870s/tM+9PX
Hp40LHDIBnLhuYHj8Eyz/1Ezt5DaJcY69PXFqSRvqOy8Dx5KSg5rpqDLETVRSPHgkSBcTunBG99I
5+AH5oox/IkcZ9XHn7VZ/x7ifhcIlBS6BfGe+AeT3FwvAprQz3vZBMERzInW3pUAejDZrORagsrj
I6XGsZ5GWx/4a86UL76vompmBCPfvHgWkkDfJRu0Uq35K9AA0k8+4PzdSU5DuO7q+6B4yeHyQ0wG
OWxQzaPic8h2xL4ejOKpS9oVmZ8cJd2SDb1WjNjtgvAY43GzkhhuMpk1Kv+sga0mFQuzTwHgmsD7
YUtCG8qonSX7UXSHEAgeOWXb0RuZmKczBf9YErKzNMsrm6bvBAQ+K6RITiUAozF231/X4ixWR60w
eHJoEXTQiHNJrBT6wwG+rbw1liMwuCpX1v+h7Lx648a6KPuLCDCH1yIrJ2VLeiEsW82cM3/9LGpm
ABdVUOFrwA2/dLNIXt5wzt5rI2YH6KMucv8/M9FsKXFPbhjfKCZdGcZU43BCSExHQJNn27EsKZU8
UqX8lHXPUfRfWGKQJTr71lr6hXWYnV/YalO0ok+m0O+d7bMjL6mKWu7yE+HZ7PPG8K+gMrVGvXQ3
kvCz6FwyBuIB3oKiokbOg1ayUyOzSU+keGcNf4ayGhepWNV084ITepA7Pa/ISOuKzslCUm97vbFT
JQAnLB77trXwXbvpPkk8NM+Ip+QEOmi3HZTxMYvpCUpZczKyRP8jjHF+NwgdzcIkAV7cDMBmlHpp
qLF1kKsiIQ4TarGkCx5cjKqwK214yaqQYluQaku9IqO+DeSMwSevTKU5mEEW2ZTUaNf3SH3JlGgd
fIlP1ASOTSroSy0cN3kmPsnWIEBwEu6KtnwOjfBXU4CDlNPgpY7iJ6mSQHjE7qIVhMeos8qJckU3
wWs/ithqF7lVKERLl8HJqMa/hYZSNzWqj6AUXj0h/0tdjiw5CahqX2WfIg2KhdFln61LRHaawncL
df2EBkq0fZfAoq79KAfsPT8vPVd6Tcig/3ntsy3UqDR5qapMX3kGs6fRbZ+KTZq2dgxmCubXKjD8
Uy+lB6Me33UEhEn7wRZmgd9y5yvaWabF0BD8FmAXKjGWVCU5QT2xefkoOyKR3q3lnoDV72KihcMp
FQ4SkFH9GQpePanYeD0w5zcvSWgCXfeNYxeV51RTbpxar6xysjSlLoDTo7UzlyDx5PBlYDc9IahO
vfdRv5cLclt3N7dV1y+EHFPE+85ObnZgwxnpedloRiehWZv5sw6DyF9K/u7mOfxaqYXJCfwYsNJp
3ZldSY/FLkoLPtgicUQS2dy9WayQ18WCM0oAaT4swa7xumEOHU7sXVRiaPOFntxaAJkM5/OGiY+A
U7qFmnvuhJD9UPX1tqDBHoDUUlRHKLJHNRCXdUHctgqr9qkapO3Pw3Yald8vqusTQ57W/tfe9p8N
mhcFnLuJPT11gf80aN3ZoJLrUm75+TLytPmZXWd6styXhheabvPlStBQ/wgVEmWwcLyLiQEITRIf
NdbFxoANVuH2iYVTlyId8wc7MM2lXge7zlcju8aw2LF2KC0mTAACRHMQendwh3EN42vnp9GNA8S0
Y/72UxF0oa8VsYTOnQMimYR9PWbZ1FQNm3vOD6b02frHLt/V2fON5zItBvOL0dkQFQPzKS342fbd
8vLR9dw4O43aQFIx7isET0OxMvTPIY6WuZHsFeYzS6p5Sv5WMt/gJhQZbBh1UUXaKup1e2jMZUse
ts5EPbkYhqhfuyrkjaG/8RqvbNE44Gj6VH2lizffCRZKOAChJPUtTd9rc9W5/4mDB7qJhtN9Sha1
dOP4cG0/zyF7ctdM5iCY2ZfDJhnzvMqJ9DhJlcahGO1HKEIzUxY+hlEOdxLTrNraIl/uzy/m2p3i
ppURkU56S3W2iHcimYJWZ3gnvCOLOjvrUrjOix0d92VW3sepR9Xsfx933CvcMZTS2OG+Kg7/fIpx
VbQeAjnvNKrNQQ6StUSPuytQDqBtWLLfjvVbTZGv25gNPxUbnEQRA3CPOdemdWaXV24dpadigr7o
6alDTFpY4S6uxq0eiaTZSjrWxxjCC6SNwOu3blx/gL3ax+Akp73cVK+UJag/xAf59wRHQFN+bgFc
FPSBqj68a8RP333xNGstxJmtgmbO0vdQUResGvgL13KRrdw8QT1/rDg8T2dlS/Zsv3ivZd+OlUkZ
AqcDCPTPr/jKfhDdFq8WBCy4nPk+baT/reclgaQDLuBAjR0lQuzC92f2+o0S1bUSAYL9r80waaTU
xS7HcVurcuNXTXIqKF+LgbfyvPHJjcgC70CZokvwWx3CavhXzPkN8i0KxdXRzFYONhM8O1Tal5dX
IkERJKtLmNIA3j7rfDnYX8P8s1bfSCLvb42ra0sq5kFc9RwaWVfn01qYyMTlGlVyKnmFJWSODhxN
xv0iZ3XgINqTxBNK+jJS0/VgZKuIt43XEQrvZmQKy3OMsbrx+PMbv6KfRhaIZ+IrEv274imcDAKZ
FSWnHmmJys+Qk10cCpj8sQt5IXV+DM/ejvm+LGHU0OMIzHHTIRHVPGUVMyoluVqZUbhR0hsrwbVq
MYUaIgosKASoqmczDv6ttG8AIJ70RLr3G7zaPCKvxFFXyk/kkW1kf9ikyacauo8J/UsrTJZqJO56
P7xRDfwaDvNZ4d+fol0Ol7wQm8SYUJKSt2T3Nemi/G5HxI0kHgPjgXZMeWQ57qDv3spOuLLru3gK
swJO4gWxWZlGfNKVgKgYxGL5MaX0SYXSTrsbe9krKz3iMHrCiNct/sw2fr3RjKboWckpLl8bA9c+
1pi2g15WOkb1t5GDG2X4L0rx7MGCScKrRWdPmeSilw+2NlwORSmieI+eO2Sm9jmp6aORDTcJONpW
OPTJO5Uqldcu1P4Wogus+vgkSj4Aa8ZcqGadrYOHTeNuUY7i1i/yP1kh/w6k5kDQH2em7mhob5k4
vnhyelZ0GZ1Vz1FXzAB9485f6CPLqIr/ceCIpWESQ0Ty3BnxnVf42xvf25Vd35emEsKSiDd2rryp
CaQiYZjvrUr+M7x3q/uc7td3SSD+ZABVybHnflzp+WYcy5c0ZP6omX9ISKK5Nu2vLh+1T6pE51tN
fILcRvkPNQbAoWSV1oB3lt2w7qh3whEK1yBX9GBqA9Gg6Wm9c7Zk6x/YZFFBwwhkO/a2cI9EMAVQ
clkQMRn6K53MpHBx43FNq8D8NyNYpPyFOx2F3WwKMFU3trpBiE+F9NaJyyh7qFt5o6Kn1Md4JVbi
shOHRV2cFde6ce0vUcK3a0/fwbTrRT89e15tylpYN3FyCr2eSlVR/GkkaAuVFRPrp9FhHvTwLS+N
Vys18LJ7ys6vveExjUtUXG17H3C0jtviRQsabNcoSRKxey9HwIi1KDwVHaTcoIc91HjVxpRrbSs1
zTnuZXOlD2269tjmkxzSf6KC53hrUDWLs/qgh9kpVtxh31rZvrakp0Qb39Q6o3vX9L8RfQLf9vpn
DOYGdCK4WGKdrclBP7YjfhiFQ6me9BttMB6NmJiyiF1zXsgSyUievwo4anhjfCoVjUvGUNUVi5dq
ZdEm6KGk/vx2r8xs0BH5+Ok+8ozne2e9FtUxbYv45I5HvgUNrsNkqIeUA/nw50tdUbxxlGUHKU7H
GEISZxN4pOh501S0cqnYlv6ys1CHmFtIFQXTKCfpQrobUAyU/ZsJ9+jni1/ZVoGgYZOBqJHvzpz2
Iv9sYwsxhMrEsD9p+T1M8NF1YuFOsG54j65M3f9eZd5+q0LITWLBVUSyHprBbiEeFu8ols0qhzr0
+fM9XX136BEoYwKSQ018eU/UI5VhUKeiR/8uYW6DXhm+I3ir9Bs1gGsbRTD3nK0mGTphFbMpoMoH
w+jz6UreffcFCFNXGYBbSuJf2j5EQ6KbrgIt2RPqcuPVXbvNfy8+GzZy08ZBY/JQjfjd8+Gfr0fv
PiETNL/xLXxVieazzb9Xmi3zjRz2qRjL2ckMwkPRb3ILQm/krUAdgAjc+tURjxNkub2Vbxucmlpd
v2Kct1rMtxZJdUqCyQ5Uri68unmxTjrXBqhip3K/1YNwkY0v5fgn6tbm+KAXyv3giWtZbV9qS9tz
1NgUIFGrgVbs2Np+mjodaViEE4J8TZYSa+/Po+fK7vvinc5Gj2VkfqIpvNMxjJ0Iv3q+kUBocYo3
/KNbPUrS6ucLXjs2c0UEgjQkpxldvhyvZuL1RFPG8cnUcruMsYW4oF6onAjRsWlJ/qzSvQcu+WYc
nXp1CIGdJrh6ElrMt1RCGQolSJ/4FKbWimwNNA4EFJDN6mK/l6zaHqgb+J4+sOKWjy6vHIUJxea/
Vvbsoiqrjczxy4/JWm5p9U5Ke+LqE+gj4SIyJAcJw0r2s/UQQfMDpwaDYtkbrpOYNUCpylZzc2rp
LESpfPLKbdrWqDHjNfaAvefHFCk1Z/DkJZBFwwkylbIJp00wEdiReltRbkYXX5sMOf9M3mcFJcT8
RZBBncamRhHT8AEXLRBEHvotnMMjFHU66iQgdYv6Q94aR/FsHL2n8JQdiNZaiXfe0XSCtbFMXo0l
BY6VvEgc7SVzAie2XZs/S+KK1mwRd9bG3/rb+ABGa2/cWW/pPaxH4W//9vOgujqK/7mV2RkyM4fS
8GRuheOxU7KS54Ky0svBrkQ4yf4kYm+cUrslB/uyiX2bKv657mxGTKrczCpTi07FstuZ98VLdhp+
a4f8bO3134T87dqn8Uk5KL+iZzgEv9p6YT3UG5Lm196dtNbeI3tNrPMm3zQOYa5OtqrO5n48ypv8
aN357/4y3Mn7ek3pd2/dRef8OX0WP5p9s8+WPz/A61/lP3cym14DHJUF5qroq3Rura162weDnUcE
HrzjURUV6iW3RGbXFxRWYbycU99rfqwcNKFpC0zfJ6meVMF0FAjTitZesHPBtZrbilwS6CeNcGO4
XN2DwG7go8H7D75hmin+2QfoHr2usTW5MOmq6cpCgczOruq2hnJW02dWFoRhKzqXRv7884O+9tFx
0Ul/y06WKt7llSsxN6TcQqaqZ9U+E/IF0w2dA3k/Esj986W+ivLz0Uljc3IXmVTQ5758KpZuC5QU
+UWu2CZmEyqKiyDsKMqSVZ5SWggRXnQTPvwhKogbLsNDw6a4Ue6FcCfFj6pipz6EMRhdWowcLZpW
Mm3ZqJmDB9dOK2mZt4ETFCQNw079+edfq9NQj8cTOnER2J3OlqZwrKWxknGGWsGzOG56+cAw6cyT
Ph7V9L8i+cXm2uxsYJZRvZPR0aTju9wWCw9W/Y2fMs0f8ycJ4gVaDqUHxDSz+SWMxbAvFIQsSnYM
cPIUR3kqg25a9ZwPD427q9yzwANW4yflFkLn2qoFHH+C9ECoQLl9OWImA6vf+BgqTSPbQp/0FhjH
QEAnq4F+Twoo9MbNTgvw7GaBEzBw8KQgi/lmNQjiOqx1ej0BDfkhtmxdsjBWE2Uu1Y9hSEdNU+86
zXusS8w5+KR667+ff8J0S/NfIGPOpfphfEE5Lm+5i9yodU0rP0URlK2gR2uWVSP8w4wInQKSefEn
rbsbBZArqAiq+NSbuSL/IAy4vGraimbZ+WOGVbZYCMV9T4jPHf1mWwp/T+s6GQmZTy4hHFA2BUTp
jKtg3EHecjI/vTf1B7PXFmrT7yHGOW1ITUi/c91bleErcxenb1qPuMNxictz63Llxb3b10V6cmV3
NaV/xPhqojJexjrt5or1z7zL+n6pedoKs+ZdK0s39oxXnhSGf5x9aPGm/Iw5rH4s47FLUkq2vZl2
K7+mJYQVo1DrX2NZLnsRT4H+1ImgaXtrqQoh3E6aluSUl+xxPaN1YZN+ktWzbmWBKCry7esAPG0L
npsjX9Ene7W2Hn8eU1ckxnxBfMCUL2iFMx3OXm8jaGJTK9FJK2QymyGvxRaTPkdCgxHslWszydm1
qzC4W1Pd+CWauCQZUscdO8M2oCD+cuMI7E5Bj1sLktphA8tWf5xSmXKIwqlZhfaQWc9kK0GpTCjD
yM3YMjuNRE9HamBjvfBWo5/iS45daSsJ3kA4cBAu66gc1rEODq3rPdq3RR9Tiapq0AZDYrMzhHYc
Wy+xXMjrIfPLPY2ueFtEkXpjd/59srl8SNPy9c/C2Ndupnvh+OULS6PnALu4giDgmBU3ZpnvnzgX
ApGhGhrkHcpKlxcqgmQMRb+JTlZy5oN81Uuk86J1Jxv1vq+lB8u6NYlfYROx5E9GO94/c/h8AKip
IaStGrBJlNyVV+TbEmusgMRErqH/y2xic4pK6uiuEo1cdW84J2BeqVaeG9U7TiyLSrIOYaHfJWb6
oivuHQy1zZRuJrJ1bwXNzixcexxullEJVlVR92mK7y0hYEHUM1TG7z8P6SvPEBIUdQzUewAx5jOB
SyZVHzEmTm2hvQSGsqE/ip5rWKBqcvoRFQYIz58v+cWfuJyaWRcm1gep7uA3tNn+RaJNXvQaVvRI
84UdVe+ITIdFMA5klvpPavpXis2NJBCzFcgPkjK8jnV4nBp3St4ih2u0c5fmd6lowk81nE6GTjbC
A+p006O3ZeiLwgWC6qKgQZB9b+JvmFoNpVssFOUtbYatRsbLWOWr2Od/kTCFgJLq42SbZfWjZlZ3
jWzs2wgFsIrcDl7wGl3CB5uM2vb412L6T7N0Aj1hKy8MmHRutfNSGGlI/BZNG+3TqIWA8Q6E9zkB
qVkVgz320dKiQdR0/jaZWjNtGzuTs6xtz5WOfqrwjFefLkwuja9JSJm29XQDWsitXtmVbTonNROk
4jSJQUKfDkL/fJ+kE8RpnlreZN/S6wdZ+KW466a083ydYa1LwmcYHj+/8muzPSv8ZIpFYTnFPVxe
c/StPgSY4Z2StloGkrHJEfN6k1Iv0fuHEjGM7SWFbru48KbIOQJ018XYPHr+8Cs2ok+mXdS8dMMD
V9wpYxwjWCHcKG0pMvrx3mX5KJVuWQ+N8/Mv/77X5mH988NnOyfgrYVR1ezyOQG8pAYR3uE7JBI4
sf6tA8X3DeLlpWbvpcYJmgtDmpzIQdgMRBA2uvqoGqEjoXOIRHpzkHMNamYDySJRJa9zaoOTeu7n
O74yI/x7x3MjSdoZid6prnfqi3tGhUg0JAHGSCDiJdiNn691a1zMp3C1JiKw1NGiiIn6EZAmuvWM
2FFJas/IlR8QClhViHUmf9Qm0f70IQWTC4LJQVHe8+FzJF1SUbwtwneDZlJkxU5jSfeUnDUyHkEX
/vyDvwQZs7nr4unMKk9C5iliTNP31OjuqdG0lZibezFq2LrrLy6Lj4m6FXBZ4zqGUDEpkQFBPMNe
URJgLYlx13nmi7B4KrR4m0o9RFzCLYp2OHqK/6iaTCqdMmlWOSoFfb8giMlfAHd+EtphE1buQTBQ
DsAOSGWD0AlGPg2gStmLmUYSU1J81G1yB+E6AzkBiltsYifw2pXs+lstkp81s/6rxCHEd2A6CwQm
TqYi4TXFVa14y9B6KvS3xMfZpAcLGMmikySivyzKTnA4veiAr6U1YIFTbsbrXtRehWjcR6OxhW1r
LNxe+/DVbCXVImnY4fimKNWDp9AK6MSFzC6IkI8BXE2qEBRkdNuuZtPD0r5QQy1ekASQrsq0Omhm
D8mgIdsqxis6VYfzPz+/xCut6IsvzZi+xH9mQNkl7qiMmQE5/cm4ciOrfpDGeKlbBJ6EumNoykIP
nrv0qHrBQU61bKGmAMa1G5PLFf3w5Q+ZrYR13Ec+Azs5BXhlRnILPfQhiMhyadhOmwKcLLarpKQS
Go4RGCBKgpPiJ4+U5hEq3VqXueufhvZscwudu7SMnEpKEhyPqMJq5GHUjm7JlK903y9verY/NFJz
lLWUQtukmWh6aoQlZpkSHnlNnFIcMvIpVfdR64jpvaBKbx5CG1KRNjdGwfczKhYtylVAf7BoI1C7
HAVjBSPTg1518pUKcK+5N7DcdkjwFK3fAv3fZ2jM0vYsCQ+53C0z4X+vm2MawTtGn1xFbyrOfoAZ
BnmWTAggxES9WgIi91YCTdsceXwP4sTCPSVGxY3t+ZWKGZcFV0nxmjwjHsHlfecpLgSfUIiTQQML
cjDNOhFDcxa8u6AxLKIHB2ok6jbub8z239fSywvPRnsTIY+P8ggEEVTiZidE/yls3/IbU/SVmg8y
T/ROyDHhIiM1vby/0JUEq7PC9KT1+77Zhei3hL3qPoTqe+BuUPGF/YZdVYbwI1y16i83X6MuHMUb
mqgvu/bl94TmdDJoTan0nLFnS0XhKa6uRUNyqstxW2b5ox70CxpsLWCdQXojNH7tmvopIeEYYIk/
sdpaqD3RvdGQ55T3pKiJqyZ6R8kk5+L9AKXVF4Q17e1l0af7wYicIQ5vfRXfe/R0NU2251Qw4MfP
25v+yMGz7RThyKCsYpmZmsSBbu0jyzyVdU1upTmNj9u2gm+zDzhLMLg8MVg/fJaXb02X+rEW/Uw4
eoF7DMruZOXG3cDq2YvPUfxOIB0AUlf69T9PApMymvY5dTnudp5ehF8Cw7sbsBSYmK45sxWadz9q
7V0lHQO6/JmlOYUlrNokehYLkk9u4fO+WxNxHSGJmgyeCA6QnV/eeB+4bcpCUB/7Qbcj47UqD3G1
SYcX3TcWiWc6Fpz3LPtN08upc//rwAHmdZXDEuSH4lKkRdQHdqJvu+HAdjCPo1U6nkgIG4N0oyJt
0AZ2EhEiHO2WA+Y7U2T69TDFJhkMdva5pMPK6y4UuqI+Wsj666QBQ08NfhLNxjVZ4ctE+dOW2Cfa
d4ncyDh6lbpPEb1ZIf7CSqBkj432UctYocblz2/2uxYJvye2cxraFCKpU8+eqykXhTrUgXEs8uaX
n4GukkA6t9q+TQOn75Kl34jLnBCN+MkFfRy24j4igMys/ozoLPS+sKmeIU4DTzbEpFj0AFpiJ1SP
4wiaWwbdpGx1I3H8xNhU5GJo/W9PwqECzt8Qs4XHTZblwcDOguXnJc79o+EqNzYQ32Nov24SfyQm
SQiac9GFX/r4oIqQNMayObHvWivafQ7KIFM+VS+3RzYJTbArA/nDRKswxeVN++qWFBBZvpfc2inY
qPrkUqfUKJEvqQK1M5KPiVp3Q2RUAx3L5NiSq9G4BNap3WGgQKUh5izc5xLwbRC/DxxFZNM7lzrc
hgKwHPW3MBHuQxj4BDcsK8GwAwBQRaveWFCmV3gxw3L3ErgnfZqoVCaOy0+nyYvRlDooNSF2UMH/
Lar3WXZwg0Mphusoev15RH2vmk6XUxFXTsJp7E+zEeVVY2oJaZ2cuix9K6N429DdjAHMBN2uKNx9
JRcrTW0cTfhsKmOrBrdyPaT5oAYrNSGeUQlMk7P5DfXE4SyzskQN7rOKAawgoBTQDYQbU/CehDTY
CQRgZ72CqjFklc1XTDdwNbq1FYW20dSvZeM7iER3oauvklHAjmBAJuirpS78ksqQxPPKrl0fydqZ
MuqqKA4D9l6j9p2279cc4df4oN4DiygIqlHlQE4eKXWKgOjNasFJnMtRI8iQvFqOLCllUNfda+Y5
CbxnDRm0NCr70qQ2w0PsFZnikmJrmPii/E/foZKTXVvDN6Z3zV93THZ1/NvSB9tFv5xj6+39v3H3
EJfaiqjEB9NMljTq91pLnIrY7BOyM/jkP3XB35t0Wkiad+1AiinFl2cghXAc6/XY1cueX2yGFcYH
CAlFiCC6GfEjiVLV2G2m7dXK5VmZS7e/64TyIZOzd7JesXa7r/pQbrTGYIJOAOuRl9u2zhj6iID8
o6w+E1x4rmhxikF515G/2Kkh+Pz2FyLFg9lKx0JVV2lZ2pYQLi0cTrE37L06Wgepeh5i/03qsr+u
UDse9jPP9faadIRAQ/J8/0fykrM5Vr+RmC117P9Np21SjXCjPlqLoNo5IovY2U07N24liM0LRtOg
Q9sNVQPNg4JNYVZnHUJTL+A8MOiyvyHhhAZZ6UaZ/27EjzypNh6Fu1aEE6De2EHdvPBsB9WXeq11
NTk1VR0fx0z4IBbR7mUEdm68MAlpleFUZ7tGuZHu/cUV+2di+X93PDEVJ5qcNbcqkCok9JHCHXfo
MmLtDk0ym57J7Voex+JX2zxPPgYlpuXuVRzWhYUMnAftmWEEy5FUnEJ9kovntH8vKhFyabnqfHIe
qcWrn2b/ty0JcRBA6GsHqYm3Zoz4Gd62qpVLbXijjfDzxKVNO95vt0OfBTsA+37+uZwnEyLcxZIT
1D2UYgck3cpFXGSrBERoAZRA914xxrPJRqcL9kpZrS0C7q1ml7F+6+mvGCc5qC+78+odeULbGLRv
ajRbin1Hvcp3KdVio/psAorbXWFLwaNXyY+Jb63ir+hg126Ax49i9QGCuPV/+aGx6QL3P9pbFHBl
p9YrR+mFRePei6SqieKyx84Yd+sEkNfQQDWHu1ZpS6orU7DFjePQnGaF+Y7mAXHc8JkJEfvWqhwy
YvnGNEzOuVt+WrVMSOZbHJPjKNBLmiykXUNAEncwsXoKEI4qNxn1JNEWsWN4BYOTiQD8ozXWz1Fg
Is/0z3pDAh3PONZkp2HTZhY7ohSPYuraOfJTaIUU2bUnYPZwcOLSWxtAj+hm3TjSz896/+/mOAxN
PSsMu7MvSEjiIrNIpDtHbrY3gmaRR4YTowSuIpwuTHRJuzNLjr1jtYa3dePZTuvvv+NuerTQf0ii
Zs2a8tkux11VYNHsdK5uRCs/ovW+tKRlpx9YiORiCRbz53H+bb74up7CbRIkICp4DS6vx/YEL28t
xecoklaVyZjy0+c8eiItkMCth6Hv2WRr+6G/IdacAyinx0zPl1YzzlGKxfMkHIs6FYp4PzmnveCQ
EHlIw/jQEwvb3GsDqHrpQbE+UpUATOpkhHQ6TPzKf42eedCqb/2YSdU/e+r40ScFPgPaoNh++RQq
K/QSM3bjczBuk162p/ErjjvUTD59j5bGFaXcDIr9jac/Pd35dadVAnIqzWXoMZfXJWW1VHNTiM6N
e1cowlqkXC3n8cJqqwXhHGEZ27prLn1fsofqMZGeb1z/2n3TEMRKh5AVC9JsNyig22hp9sRnyXhu
iycKWaVG1m7qtIaxHL3XQthrzf2Ni86n1unN69QYGG4aHeF5McUbgZyLUZCcPeWJFy6Jp9H9DRd3
WRTPVImlgibF8Dv1H+NbKqArH9fFlWePOzH7hH4SHxc26Sb7pFTvyftW3nr5udPX3OzPd3rtcnAj
QSkjfqRtN7tcr7tWn5aMqgwjR/HE5Uphn8dOZZBzsY60G0vw13l/Npo40OAYpdxONWdeow1QxElW
4oaon4GAp39lonFU6HusRfFbpPwJG/hwijxlstqDLNMUGfZaVtI7TLc0GDeer75ztrdrDSCWK7k7
ImAdpVC3efXHTd11FSSPHcyIsH7QZIwicbGxrG4ZpNZCQuHfDOM+4+DKZtEWxz9J6i6SYCuqZ+IM
FyhAbFV8HtTftWSSIVo7khwfdCF9DJr04Gku+2dIbm1oW62yEHR/NVa3Auzmp5FpzpHZmOHotvgr
3bzZ56ZXJsC+IbzPKeX73pTpIi7GPD1YWoe1wy1eJNIODZJ+Gm/dkKJikFX9P48Jhd9B6VRBYYo8
7PInqGFf+pyJvPu8WSfgOZwiPYy2VSzoHas355crI/DiarPjl6U2oTiKhndvmMyzJ0WhFbQOhV25
1Q5WsiiHD5N8onRlvPvaKn9p08eGBKsPjEQ/3/W3QxiPe9IdGGzbsbLhd7y87VYbm2ywuvCeCeWM
eLvCGPwnbBfJ79J34EgUi1WyDO7dN+tBeZDuhZcBichdd1f90c/642QPXdQnOtwv0n/pKTmkv03s
HpGN9J3V4eff+mVwnX1GF791mrT/aXXUaBJ0zwdpI+O/PIvxgrrSf3rnUFMiyG8ABY19KFnjBgEe
M2ROJS60fi08UZcUUS7Cw1nkMByIrThRrY/esTtI0rIcHd3b+JGd+Z9ZTimKqiRtcRupuo/h5S4w
l1K7krS12tFPdprUJpSMQqLwMj54wSKSF4KwLB+Sv1RZhF13IEeAAIUjxBjikqvpEhRmHS5PMKMf
OeovVixCOoD/x7hePtVfBDv5cDGngHB6/7d2TVdWsouHNk36/zw0Yk/HJhAS7z7I/rgYeWuNgZRs
qsFcqximal/CSfMoCzKaYGVhec2tHzAN5Z/e2myyLQY312HGhPdNYed31qp+VD5QPSEpe67jRfLU
bIGhb+pnH3XpX+3p5zEzTRyzi6vYM0kz5KsmzGq2jg6+L6hVZSTHIgAlaMHPrdbwjw1ezc8XmqaH
bxeCfIGHjYAZHPCXj1nLK9lT+8i7l8U3vzKJbUaEgBJEzDxbNovtz1e7tklTJ2Ta/7/c7FMo/Nio
pZDP1qf/+ITnMnpm1Ia5MyKHpHbgLhDQ14vwHUVt8XFr/bxys2SAQhWYpmtOy7PpWhOSSsaz5d17
OVNl1cu/oEQci3H65DhjBNGNQ9+1zfC0G8ONTZsHofBsuiyMkpqtK7p3pYAnqvyLzmssdjlk1Zqe
niVTZmgSMt3FGxrIa9MjGTf4P1mdIG7oswsLsZG4XdJbd72xTjjoGk7r9IfBOOUN1vuDFixzhTSq
tF6SqflK/7kvtyQdahvz0Hkkbj9Zz+zknTRZq2e5ek2eiIFjR607ebxnhlC8T91cScKGTz+txRsT
pvb9258YKVhmAVbQi5iXjSmU1WaoDv590vyukf9gTNSIKS6WZCpX4dr8GwmL0XIMKJbVvkyOeUg1
Ct3ioh8d/oJaqiZBu6B5tx1BAr257VLwV4rlsAgUUH4Gm42LKi9VwmLERUmTM1yJ2lIZ0S7sshJp
3tbwNzkE7nybyEs9h7e1bQrUjS9is5K7G6eF74sqscp4viaEFQV8c24RFrIxD7vIuCvdcU2cWtYT
AgY/1DObtWDagvhqxLdibOaqD7YMU4OH7xAfJroZcfYlyqNQ6lLpYeaIzE/ZFw8Va0ehC3de2DtZ
kaC5evU7b+lr7UZqpZVc19C3hV0+jkulVKFqU5TvHuPhmAeNrWOJNFJtVUvN2kVapNyy+V55RuhU
8a2C17KQrs3mKZd70SO1xp7li/DGxHWeKA5BDjsMotumW02M5MTybjQwvgwEl9Mj4mWR7TYcEmwG
cxx0plSGURqDfMct7sbXSNuDV5B34yGvF27QLtSn7q1LV8SvaO7eTe2wXtSfNRS0N61l+V0W+6Q6
WU8RUY439n1f5uKfftps45cXmUs7SpTvoGqwB7PWbCzYYab6EcOxMByKo+tYho2eHpi9nJyr4Jk9
W7bsnHgXxZ/6KVLiRWOTcpktqvZAzRofwTrNVrJDomthY1TKF7f2bXPZxzTseKBYxugvIj6ckzO7
PK77mnMDmYGE+yylgwum949EXGq7CPeYn5NFhghp1Xc3Frorc/HllWdLaqvGFAaGTr4T/degjTbF
0BG1iFam9FYW1UNx/JvW2UIIrc3Pi94cgPJ/75m8HxyrUFxBVlyusZ0yBo3Q1kQlUoC00mMu8zln
+lM2nEftV6/LC72c0Hh//BAmWlMvKiND86Us0kxBEf4nqv8Paee1G7mxtusrIsAcTrvZUZ2kUZo5
ITSJOWde/X6otbCXmmqIsH/AsA04VFexwhfegJumFSyqYKx2Gw/IFuwHlQL5IJ3FvvnehM0ydLJ1
oW1FsM74TmocxRKtqczbOe6RtNeNn4dcv4cqcwyRHdQkTODRDBbKhSW0Z8GEOdY2M9f4Oz/20w7l
K4/FCDRu3kEoH0I4lGQbogtFvgz9CTBoqQKpoDrew7wwh3gNe49+lbtC9/E+9aqFmt2VYrvoqhYX
XA8wCg6KqL7liCb4IDIMyGx6bywQLKeOMWxyxegWXn9f6/WDU7w0WNJIrbX1nY6Kx4OcpbsmSW1X
/qPGxUICfNprzX1kcBZUGOIVK228JLKwjb305OIY1A/OwhwuvduvQ8tdZ+6xisp1LaBmAOR7qDDh
HFA0lhETFJZK9zscXjTUDWrZhfsvL5LW2TU5O7m3Qz6z2QHOQoRQQ3cXlrglpeveUveZCr1FiVYN
z1Qb0TwO1EPmICfcSdra1KzHKG7XtLSWtSHDqjTytRJZ0qJ3PPEo9H1pN7Xa0hCljBWXzW/VmRXi
fO91T77aSKmGHgOdCwjC5JyEIuKmUSpIF6qDf5Pf+fLHIC1N64+QbGN9WWu2+ZYdQn56vRUOdXnn
4GSJmlyyTLlNwrtyQ3ciyWyzObqYH6un4JuBa+QWt25V4awvknzpXxRuyrVK10qz4Vg81cIy6R71
xlsol7qcAVPeOvkfZ/Spk1BKZtNmLvsQYPkiE5tnP/3rFvHaL+qtHIX1gvLsLsjfXL7s12f/9thI
BI8nH/kfY7KaSi95CvJb0qWP7cLbBDaZMWJAa/HQPFEb/TejwfgZwbJILumTSCJROll1amYaZSbs
5nSj1I9oQS2HHDy7pi+kuFtFkbqsk5l85T3f/rRrqNzTCAbADnbl+o4TpD7OalDul0Aq14Q78Lmg
sNROt7PM9k4QL5UHoMZ7s3xjUeCekFloIOUPMd4SqtvSJD+W8rYSu31R6xz9ixz8FNLuVKGJ1/Uh
PVRvGcvy2hHUZVpFq0QU137cPivlT6PMDy5tAR3gVGB9c6Dean30GAOQcTJhqVratnKKmZWeYi7G
Ox3oNsoHAIs0/JWmAbYbF1nnM1/VOHWgz1+T/FgO2zi9czS0zt+6Q1RjU3VwJEy5+rUwbCNx6yDI
4tSbfA1S/usvPwUh/Pf3kGaApYOIObU/Fj0xwnnYkC6J9bOWsX7D1DLhgonQChddHV0zcubCsBOu
eimTVxTElnRN7/A4XCVVsomFH7HhHnVhWIY9KjVgX/FqICcyFo2RLUO3tnP6RE2D92uPdKD6IiMk
2wSIhjkt3/kB75ONxkNVlQoYlOatdV10ZpUVFdJTOrhbH4aASUdXF7MdVr6Lwq1m1mAKOvvvGlAc
HaEBo2HZ9R4UPRBgGdnQJUUHWn0V5ENQ7Z29t/xZH73MFp7lYtf7B8VZpc659xazCPvPWfu4F0ag
2eiU9im/jBMXmplaiZfYS9amoGyqvllV+D87lbLxSwyeNWs75AkMOG8l5LTzwrsulLZBlaG24MB7
ePWHmjenJ5L7WWXlsSdFHLmQPWK2VEN2vapgMTlngXTj9LJqZIvkjCMScnp6jTzwAzcpxIteu/sK
9IwjJLZmPQ/yH0OpQDfHq6Rod0Iv3pnNuU6iYyI7wHOtJ7mhYtYoVIuUReGrqz56yDp0FhplLw3G
Ke55uNFwkrFtFuUIM5dwFQU4LDruxvTLi6l7SL5qtt4fBDXYlPH9KEDnog1pAEp12n4RZWhtJNLM
vTwez+vrinopbFQ0RIhDaRxcbxWnV1XwC654QZNzF/f+yvXJHwRQEF5kV2W2S4Q5Z/t3GNvnMVEo
Z2QE3KclS62EQ5D2tXghuz34rXknK5usLhEBchZuCC+xkBCcEOy0i2zJCaFm/PYaAYGZauM2d12c
rWupOyp+BRR5JeVvsnJUtQdRxgyg848IPH99pUyxkxynkdOl8CZqSHd+EpMJUyMvY8kYLmLfr5Ua
yFFU2l13n1nVItMHO0Vg2tO1rWUiqpvG20J4I36zW+T29EE9Vqay1rjaEwQ4wRUuii5fFWH100t/
S9Qd4iG3czXZ11Zmf/3Dpwps//nhdDzJMsY84/2e+BB3qsLg9arZDZd27z6oS+mOrrhw0h50e9hk
zyf/Eq+FnbUrt8ExnlOmuVHhYtVoC0DqAQGLucz1ziqy1qzrPBYvqhj8lJKjr6IW0ZcEP/3WgRPg
dtkqclNbap9lNPST0lhB3z34Fls+JqlEbGJmOca9PN13H37RtLzgZ11IzMwvqsc0FS0gtTlWbc1H
iReBd5aDeAnoeOmF5dKQXgb/99fj36hFsSLKWF6kJQzIerIig1+luu4wPprFwhmWZfPapIts1z47
+/aBZpLwU1sn2SL6Lr5RIts7O3eT29WwG/Aa8GyzpsJLw3bRP3L3/a3DZXMqL8qT8j04Bk/F+utf
qyq3VovOAo56lGPoY15/v7QMZTEP2DwDlbIC0AXR9to3eTx3pAJYupAinquDuXP33YsV0HlauHtv
DXdXoSz+MJy8Z3dXrpGoDKIFYQliFVGx+FVpC+Xe0hZDssLyNaY29d1qVh66tAHllBn49Y3ohCX/
MIlJbSDuPakAFzVcil8gPqvvw2/pm7i31sGaitdOhuOwINOy3uKD+1g/Zvu5VdTGcsxkzyFYgIrr
ez8eg5brVSwyQ0jLzBouQEfcN83cFGC+fDreq8pfaeR+SNx/52RkFS8GSMUleI5WQAd5AakYNnY0
7NpfLSi08yXA7PRnIkLwtWGPr8gGHeBY2rqVaWvQUFvIJuyZVXI8Gf3CKVdRsmrEHemFMKyycBOS
xtSnJJhJKt4pWNMZ0uDnraRAObK4r2fYlUFseAm344By7jf9h37vHPW9uc8ek0u1ix/qN/GvuTeZ
3EX71f0K3/R9fjJeO0g9K3m0x1x436PfyJwVj+3bIDPphbuFJXmoNw/xsrRL27hXNv0rvYZulQ1n
414rFumuL3bhYypjdjT+Uf3N/QXQr9hZwHtNXdt9BXhaf4PTx/NyJ6JTMlOrnDJHxssVtc3/zXsS
+PpAUkvMV4aLGV9a0UwXQ1igVIn9R7R2tGad1rsCb5aeB0wTtoMKrkiZIwTe+BHgLrlPAMhbAMen
atr4+SZ55sjiReruku/kM+1OozJg03S15A1EiuxofMcO6uu74UaAybAjSpz8GE8ebXKT9ahOu2rU
ETX4C1e5jx8sTviile/ai3FMFo22Vq2d79NVo84c72ZGfweNXG85hudNGyuR8EZE9XrL9WIst6XR
i5deq1cOVj6peTEU3IECZTHEymvjNgB8H6v2Auz0bsR6aeJ93AEUSLW93P5QY+PYtyC8gCDrrf7D
zdKlM5aZOm2bJ+2hNZo7P69oFYb4J6OH0UsbvBVWfoA/hKBG9dar0XEIdGkPaRAlQ1cFnx9u1QgI
ZYY7sF62CzfQyP1SFPgMuplyf99RocpLdMR0bszgyVDPOXDPOERySP9tFM6yzXy77p+doiZhoK5Q
YI4M0bgIEhPUThLSJGW9zUqXbV0TuqdSfKbze7ZAzHoCVStfDX7UqfhU89duyN76TNt1YZKs1NL4
7TsWZZ06PFuutfepZ/tCsoy5Nfxy2PiIQbn5SSvu4IPsvfSoVQKEcXcd4n7I45z5LygDGEm3KRWq
PFZL7yRbBr72LCX6g9YZj02pPIVegwWMhYcIuFBIgMtBrPaiHu3VULUdvwSnEa3cCOYAhjh+HH2L
XH+pG/4y0PST5lIYk4JtUv51owzkrWjjzPBbtR4MoIwWpCwZcnTUPUaOFq29AaGXRj+lmDT6Ea7s
ya9aUddkbdCkZSC80iaUsjtqeiy5cNSobjboK0eeRasexwAOJ19w5sm8EfJc78tJ7t85NPW8IEdP
yrC5DWXhwPfSNz10uhdPeKPTpK1G2r3SYhnCgx4ujbmQbxzi09FAjYfED9YkUd/10fBUKx11Xci8
9FNrhevCGPF1aOGACkYOEuC73PHhTCx56HfD6fDk30oh/fCrkSjuz2QXU6N3Lsn3J0GSqXXTfZMn
3YpMELI+8gl5+kZZG5q7NZDcCcCHKFn2rdXkYzcIdqziDA4mRRaqtV8aaF0Ja6tKD0qY8yJmq0ZV
ANCrRP6vJdcMDDoYP6EdAg/X095W+assxMisZhu9CbGNUc5FdWB5MI+XDlAilm6arvO2WfkQvSMl
2Xrxb8U170V5Bih0o01i0mek4gRrSdIwJLlefhkkdJQP/nDBJ4JCV+LZlnDEF20gtBRWWngAH15p
KxkLgPSh0V6BuhbmskDmGP20ZAV4VVdXAlj3i17YHnKk3kJzZuLQG6U4atCkemBi6SAhkXv9Ix2x
DL2iSPtL4AJKD9pvZfZTdr+NOyWDFYZCzkqHvROz/DM397j7JrvzauTJxZ1lXppoXt5fTM5hs0fM
JVINIPqXvH4puGF8x9bkmRbwjU7LOF3dgIFj4Ikw7ZiFgYJGf8x0mx5HvkNVbtJ8DW4Elwc1x0/5
cdDW3coMDxTKSlAdX8/5HaHwac5AxzA6pv9NL/d6tSVAnrkxJMyRahR9M688B/XS19ZN/4LK3gKa
aeUeQOAvMJUX6DjFyyw9SjRfWwrfukLd/+AGdiEe6W74zbc0fgz1B7170fsXnX+fazReUaJbGMMW
DaXEWhnmQTEOONIsfHlVh9lcHvU5M2BB/zejaXG18v2+A8rbX4poPQjHyHmU2t96fTSNjaauvQ4M
A6UbIHkuPYy5nvi4XFfLaVLbg2osj71IhCMmW8iL3aRVjCo698O25BGigx+Fo0JogKhX3VCDdGd2
7acSyfuIiPaTxo4o/EmAW8ETdfUyZ0TxXlfvh+4wiPdGD3Z4U8xF0zfGkt8VlHXG4v4YU9gPGXtp
NJ6VRy271H8TtB3NE+g8fQ7fYNlBg/p6a74rbU3W8mq0yUVghnXjWCjXnhP3IZScB5z1YDMU6zy4
ZGZ4D6YSpVcD87gg1+60ZBXFwkKS8bRqWPBzijFw0fyL73v1mybft1e1tigKgLNy+lwme1z+NijX
mVa4U1N6FD0FXX3mA3++IXguSccplCIayaJPVr3VBaNFnDs6V2W+S0NjGzTxNrG2cXNIu60C2Qzf
BYwaN0EkXRD/s0UBFMbct7+xs2VRRoaGP0vo7U5+RQRJxy0cZj7kO7RZZPnYh3fOGiUUi9an//3r
j39rNIkaHK4BPAKKNRkttpxUlD03PHvZGb6Aiw+AiohexXWsb0DDFySdX4/4OVlhmcfeD6VhJLY+
oWitPsuETNSDcxuqy9ikuMpoRVXalWCBUoH8bZbopweLrks3omNsSgpqfv/3658xHtfppkfjCz04
inkjJOn6iGVC53idrwQjVFnW6VKcmLcsntheXw906yx/HGiywoEvd6rVSByUyE55/N2TL9+xl0XA
/+W3r8ca44qvJjU5yX7rZLhVacHZAVhv/AqFP6ZGwSaYiW/m1m5yODUvjLq24n9L66yszwq+5/2q
kNd6MQPqmBtoEkkPvSIgpsXaVeEP0N1lQMRwHhCnk2Yes7mBJgGbhIhTJTTMqDE31GAK4Ov6toi2
1VyqPjfQ+M8/3OySnGmVaarBOcjuW5Dg7SZ0/srWz6L+P36jcVt+GMhrQAilIksXUrjjdeS94nVU
zFdVv/96092akjZ6uYxmwECnJifJwwszqZwsOEOngVXC1na1FeSiWRbJpzKehRklHFdKDvggwU+f
jBRKzWAaGg9ViAaIJNsdDbzeH10lrd428nircBtzwLz2VxP03z0UW7C6WgP72Dq68aYqqGZlwqpX
kr9N/E3x5mSspkd9/H0Kmm8mAoKAVaf8ANlsBoTs4fpq1lPlRgtDA+7/dyj/lMWmq2e27PTmZjCF
thoRLbG7DKnm+gPHPT5tEqJsZ7nNt2ScmC539xW0aQexH6VFmQigxRF29D/72pNhp9VzR3fouwkM
y70p6jFAkEe3Pqaetoz0mZD91gwl4KnUl8ay6bSqZfThAIUZtZvMOqp6sk15JwhB7CFdmVG/0qpn
NstMqfjGJ6Q0D1kLnj4WOlPyehkUmhPDXj+38r2i/JZI03GVLqVvUufiXPEPD+m4mIgUyNDE8Xql
03j9DT3Nz4peSjmk2DJZZ8KsQPuh4ByiAfj5+rtNZQIhXankeqMi9qi5CnbveixFLDy5UdvgDLvl
p4+wUda3lCY128JR0CkB4rY2WIalUMV26r4FPaaUorESteYSJt7SrR/L/CxKL4KJzWsYo0rzlg35
sit/BGRMehatY7c8RH1xF1T1uSji1444sdbevp7HJ/rgdB6TNw5seOcLQxmcuwIQLq9b88AbBKWq
BBNRqkureB5DxNly4/Saex/XwCQIrDSaEu9Vnw8XqmSFdNawKDpoEc8QzevSPEU9BpzJfYvNpdUg
kpqVz4XbPNfQg1IcRrVWegjcYiUG2tGEkz84c52NW9sV7dwRAwqni8bk9UcVQ09SG28IDwMKmrKL
wBcTzz31vgjR0NXA78X1nGfaVCHqPzsJ2xJOxwhdfKdJfVgJaN2qPnTF+zUXAn3NYY4WUbZy6O24
fbbsc+pKyIXG+GcmwyKTEOlq77OWCmc3c1w/FTHev8qH3zKJEKJGSsteS4OD63wrW7QzBDjLyGdJ
8lNExVEM931cPJrSz5ldeHvh/7cGk4U3kKRx6Iz5tOn/pgb+AmF1DAWKa1bg7ergyYtbCIdA7zRv
FbVPGjA47AN/JNBDlAwNAmFjmbhyYzA888OmtZVxQWBKIIGi6WNdfhKbFXqRogrFlcKyjNY1IzFO
oTyaY7nQaFiiVxFFp6Ov/ZgbeDx4H4NPRmZoelsSNFeIy5NPocYOjGbP98kj2o2DmVicynuo/3tk
FI4R2G3gLnu/cmxfznZaCiAwoBclKkdF/ZZnGYg37c10fDupJUxpdYQUadA54VlpDFtxhKUmo+7Q
qKu8psFhjv4E3gKVgjX0cpRlsWGE22mV6V0KnKyzRoEyF/v1n24As0exnryq2xgOJJ6wwZ/gO1rD
QPhpNHuIgFN9QnRroZs1xTlzYXrF3zCNd7UDKlEvV0GKgEQr0izWTo5U8n9FGpTcsJBxlvPiwlwE
kAMa0HJ5oNpSUG96OX118Ki2cmo88l2HydX4HyWmsUJcppHdfQ7AwrWAFVfestfNFTjuve6iYZLH
bCYkRWVpmbb6i5kqe1kPz9rgrvQC0x4XetMQbymWP6Z6dkyJwQtBOXvKA5I3dBrgkHDVwFVfaw0C
z0BUIsmcCfluXQG0+CzLglCBDMN0l4mF7KSIPfnnthsWZUCtXtnkrrWrDekYi9Vd5SPdAlGqL6Af
8pA4CIpiX9S2zkLI4vXM1hufrunOGwG1WMkCcyKNvb4FjVTTHC+O/JHivimyXl4YtYjCv4iOgLUz
C4vCAdKE/lNKWUwoBLtEW+Pr33DjdVARpkLYh3LUZwBN1NX1WGAcFwSlE0q9chrYsGw9tI/SeuYt
nyrgjzcwyELafdz5ModucsglWcBkOHG8c4chC6/9WiypFEBSKwx5UQPVyUFQGZgbl0X0ICYvmYBp
sIWRngd/rli1gbnACmVT6WBUMZrpQblHRv8rC6VNFQBU1f70HEA3/66DSOlMdSZ0vXF5qtS1yBmU
UeZ3GsfLveoqWoMkAYl3m65y8bUyOOrfDO0l8p+//jCfOKnjWn0cbBL35P2QtFU6DgY6AXkhsGOv
BXox8p0Sg+A6W+UzZ80uAPL901LOOPSoJw77HotRCofX+7KW1JZIQvBI/VX6VHszE+2A41CL9B9g
Koo4eSP0NbM7boTNV6NOTkMUF4NgVa5/FrLX2HilejQKQxjPQvzXEWy0HWYW+MaLo5KMYZzEB0WJ
ZdJrchGpod7OZlQRymxGCnZM4EcOVnd3RGKNh62kMfdVx6WbHvmPg06WNo6bLh+p9WeyIDsfdFvo
C9Aov9xeWWnQc1CZOCXpz6JANdPy7a+nfHOFP8x4sqVaQzEiybHeZxwKpyp5ZYWJQEeae3qcX+Hx
5fw8WZAVI5iSPvvkuAedGzWVFPhnpUNnlmeuAUovCDIV2WHYcXy88gQt5ySXx65IbLPFYgQ6LGi1
UTxo7ra9cXo1kXtn7LyPbkOTxNP0lErVPWavdbRakRIvess2DRfnH2utGcestVAMTBHp4uPH3yT/
N3C3TZJtcl+zk8S0m1Jbtno8Uyu6+bOk8ciBYAS7OdmGop5paaoO3hk/+v/UijoFCbJfSvvY6DNJ
8KcWL8O8Z92ok5MEwVG7PtltkEmJHNdcKgNcTWPf++nC1C+t/2OAHGH41WoQj5HcbnLnnHb5PsRE
A6EuWt4tXOJg5ufceHwgCCoUM0nxRnbJ9a/JZTHrPUP0zgb6aniwoBZj0NY2NLI5zfs366xTdnhP
W4HxXw8mZQiUGm3mnXHVUqOt6P6Jh4sQbtPwMalnNLpvTuzDWJOJBbnbeDoCg+cGRwF4dQsNeFw7
AvNG8Y4unbk5b2UT7Gdk9C0c57jRJp9V6nhzS7n1zkWOG6m5ZR8h1cI+4u4M4eOOj8Rcoe79tZuc
bjYRLwT3ma5b7wi8D+mUDCaIYnTmH1pH32qat0w3ceNeaihA3DJHJBtQPmr/+EJp10D+CzDUnkV0
V6kAKdNVVz9XdM6zWN5CqJEr9QG45bIIii23QigVi9b4E0fVnTMoR4NSLZondy4YVNTPH/IYUkDy
oyXlH9vmKQ5TQnvfiOqPCOiZU/xV3Le68XGXHq/RX2X7F83LpxBcRxaVG+r1MEKBjhj3X9+vt3J8
jSrMuChgBz7BkQ1+vagakXcW0+eGxzIdNtSymY/voXlkvA5I34aPgvvr63Fv3Osa2n2oRuoqcNlp
281QsjJSrJhTHSFHLf9XUKSpnzP5u+7s/rF+yXiLSHRAABVTrvyUvdeBM1QDOfy5c8Id8UGp+zvK
pzW6hzHiTk0EdECfcx29FRBdjToeug/7rQhS7Gglj02ORZJEAJnWra3G6b5T/Dv86zxFJhuicRtc
xPSHas6ycsZT+2nD84Qg9Y9dxSfZFrMI5QJFfneselk6cKSsX6B+EporWjAiKFcT2zYjvfgo6s+d
tpufeJSKoaAIGPMdufFh8nGeuWnrqO6YLzXIYbaZs8AU1XR2jojuA1jUf9wAev/KH4acXCpo4tRu
ECJGOWoQtWivSKug45A+ijpWJ49fb+FP3bX/jKabJqph6DdPqQtCT1m68TT37MR/U//FAFsWALYp
2g398RovBfay31jjKSIaxFV3ZvwxFpl8XAsrkhForsB/mio11E2rZhBaiXn9l6rDZD03l+WYoeh3
ERyTWPVWPuI8RZQvTfW3H7snU3gygQvP/I4bUenH3zFFQGmpbpRRWXlnvzOevQIzE+wIffEiVG9d
7Kz6tt4OA8Iis+pLNyJTBqY5QREEsIk+KYNElpKjTcvd1Wg/88q3zfKZnc0Gq+C3ld2d796hHJKJ
r19P+PNT+X6iAGmPKpyw2K9PdWdWkTM0knDi6dKHc6WeOUx0y7Lm+9cDfT5BVwNN2YO+o1eNGYvC
KayjxVrwVnH2ZLLL1C1mF3SMvx5tZlrvVe0P5xVkrYpxjwxdwVmTLSJnhVZbYrzq5T8Oa66nNQk1
VKpKSTewfgAO1OEstuMn85K/1p9/ce1fDzVJ0HLVsWLDYQVL4UBi2A/7kjJpWh9JmNqMWyiZiQ9v
XArjiAgcIB8/dqYmVxBKzsTygirAPDvWqxoJqsZVEQG7k9tHWd+Nr2omvBjlKE22mr0Ab35DehyU
KkApA0q83pppKMl1HDJfutI+PTlwBhgw0vLB7GZmu9zcnLqCly8nQPlUl/LqtuR1YaJmfGJ70pF0
1b3TPI5NC6HdVU//YnfyfNNnIsFH2fV6ZtjnofyqsWmq/DGNfknemgOudMfZSsKNyBSlFqqrFNtG
PKGlX4/ky4ZnKRnnoOPRUq1+U/dHhvONX8lYSIBfqiAMHs7E3zc3zsdhJ7FCn8qwm9JxgvIBucAh
PpQLui2V+CfgMueSqa2No0GihVBLRPb16t6cNPD6UelVfE98ryct9TB0ysESTo2FzKWsH1O8yyJr
sH1Et5ZDiNRwSr9T3aX+3PtxayNhpw1sFdI3ssqTL1u2lVIKHnvW1VBVyVC2WO4kF5XIEkk7ePad
NlNAvBHzksMxGIhRVcRBbHIBparUiINVCCcddUaK+xCwjXUJh4GI0CPLjHU6Or2611SK+MGsktnn
Z2tMISHJkG7J3AaTtK4S5cSS84xLKS3syu9XulGtnbq8hy217KX8WBX+1oNeMY4/uP7q6289tZyl
pHk9/mT6losYhSjkvF/tN13PUUE4DEZ60IS/uj+qfFffMiQf3Pqt8GPYoPgpBxTPk3aRpc2y0/J7
MYFOKZZ2AZO6bLqlLkj7oDQPIoXzovR4cfWFp+RrBJFXJTJV6h/UrP50XbJEwGBbOyjFFcobHOGT
FMYbV8vQ95eBCudHem8/Vf8NR7DFIAS7MDYPZqH+HXLtW1FBUzEfys7BWJhCFK2LPhnurVy3fajZ
kQjnWyu2NbRVyZupgd26VrEqo7gIpJVDOlmxkE1hIXkinPzgmzP2QmSP4tDL2BYBzj1zsd7enmMF
SsMTAJr35AJKNNoaKHjzfTRcK0N9DcL2ADLPDeWl2XnbFqPUNo2+t9pbMl/wHp/E66iS3WEgnWEY
o7ygMbmHksCv/Nhgd8pkYhIabA0uRcaxUjAj7qxdINTrpG82SiXCyXCXTos/Y4aYS4G2he6ax6Iu
7ERttlEXr6IO/fFK2PookDTWK16yi6/38s21gtiHRCSELzruk+c2BNpZK1LCcxtsYYM3pS3XdhUs
PXXjGbYm7lyYrc7D16Pe2g4fBx1vtA+RUqeibpw5bAezg6ssU/7DeKy2LOiN6HvMWQ3fuh9J3qgA
KlyPn5ALGT0hqM4ecVmHp3l1TDwBc2/8H4v7ofTttNkXxDT/YoY02UfxTZre02WtyFP1QJCcUxKL
qzZ+Ucd2GeXfxmiozAwzQdPN9SSPsnh0ZdAgk48Ieiooq2Bgw9NTESIZOZJTraSHPL3vW2P39dRu
Led4/Wu4QlDZECchoa/quQG8xTmhE5vUr7hmUbbxzlTWSkhzlrJy62gmU7s1v49DTqKyQNFRSotw
DBtjQl39LTdbXpqQ9uJsievWUCggG+/oCRUQ/vXWRBrCgRycOTSef+X57xg4Vr2T/XhJ5/frdbx5
9D4ONf6UD6fAq8vUURGRPnkpzxSc6gyPgJznoEtr24lJInz/rQvqNY3N3eCGM8/Yre84ekgCT5PA
RkxRpWbV634xMFMt32XGA9gLgjTYiIbyOLuq4wac3okfx5rc/0qR6W3pxRyH7NgMz5buLynvjTlE
ehw7SzMrO+atk+EgL1CkIqcFAj99bhS9MJ28G09ftC5JMEEu5gc9OHGp+ckTZnxJtJKlh1paSsaq
p+KgzMDBbuwiXjmFBw9jKsDRk5BMdwczjszBOSmJ/1bl0t8cs5RQlomIHmYX91bkezXaJB5Sc8RD
NLVzxnxazH/x2OTFk+vt5WTNKuvVK/pGgnkQpDvmOrPUn2soGjVoojBKCFywn6gG9A/ytmepI3Pj
Z3euuEmVjSij+mIH/trByCU/V80DnN6kXWn+TCZ8o7k/OrdAkYFdATptGgrqZT1WdmRuBrLTREPm
NB2JY/dOgmZ5fU+jVgZQEgWv/F1FJOWRR7pPs+H/re+NQpiEOsQYj05NiNQcVwClq7kTcf7DU9BN
D+PQ5bFBx+XrFb9xbKWPQ43//MOtQTlUSYOGoXQEwQP04RirJTIc8tjO9b8pttNu//PrMW9OD8FB
ULPctOBGr8eMdbRGkf3iplL/gM9Fhb4w1kb9c3Ydb06OZgYMXUj8+rvZwMfJdYXZBHXhnPz4d6bH
x755QjFnoePDqEvRd0fCAWxWef3m7D4MOpmdHA1oZuWVc3JKmTBdWEkt7tngj4ii7baZU7O7PUfA
lGOZg3h48n46ZumBAmOO3LuA7OnbsJ709yP5Ee5cbn3/+tvNDTd5OwVTBPUMV/fk4+0picFKN4N7
E7yFp8RQXXehUD90fWD/30Ydb+gPH7Kscj22PEaljsJH5GagHFbpmBohKOac5o/F7Y/4v1WdvNtU
xLI4EHlMoS78pybGa0bVdrYidivTH8vxxgjrZotOXRLAUTp9Qy3+1Pgiwfnwgl/oWYvBlCrC2hXp
EehnfIAugxztvl7UG+0QbjteNDzUGdh4ZwV9WFVDDVpDEDmHpFGQYGg1NeCouOdC8+d3vdwgJ6Mf
w/qf0snId6+GnXxMN/VhHiPhfqq6O97SFAkoepoSgBh9485zmz6Xw0cfCBBDlorwIvDf670TFGoS
Sm6AP2yw8/U1thcycExnZTirKF3RBtStmd16IzwZXTYUBWUfbp5PTenQSny3Yl0HBPKMB1AK3G9c
4Ph38mjOfMSb00OgD6EvKHOfUgNfSjE5Lz0GK1Q4nOVOD3+nEANk/GrFXF41sCBV5RBEyswtfnPn
GhrdQovVtT6lCakUVSVvtXXCT8RXvo9Mi+qOWJoWDyeFFkua6HPxwY1azRgFobkG+ZFrfXIuK9Hs
Nc91ea5A3sqUIJygWKhATKOcUommYuCRLN3mm+VDG1XmgJ5zo0+udjUqPNVAR+C9nGud8GknEEzD
ZwrYoC+KAuyNHXb6TLrySWxiPDAfJz3Jx/zCowRRCNZpdJ4GB4l1FWZLYGHCvZ7vgmQHBsfQ9iOL
q7CxcuGScuuLqcyURMe1nYbB4z2FNpjI157eVKakQAP1BuuU6OA9UDUo+mrrGr8gKz58valvHiBM
9EbpSR62KYm8z8NU0XqObOa+mfIGwBoJ9thpYVNp6uXrwW5eg9Qr/v9ok6+qp7km9gInCBQXGWiR
3otituDIoi7jtU8dDgpEJubSm3NgvZWySSagel3l6eYET3azkJdgZsTxBGFkOZa3OUMj51TegbZf
Cs7IsFVQ55mV1L+R0ciAI8EZQNakujRJKCyEJUINCboTYMq7wCx+apQT3Rb0cYWCfqKgntMuBlPY
gNtbBlJx16f3EaKtFBs9dABnPsCNoJ/qGsglYHQjzGvyAeo4TxTPqqyTqdbczBHqFdmaW7N1rLWl
UJE00r0qoHpbo76qN8dUe66pRmIKObPvbl1pV79kctKCPFYaNynfDzi7oXFRPXlW8hXeMUkZLS1v
OdsiunGqZIrskOOhT5FiTj4FsTDl5XFIurRQMWm9KfJRrGY2+Y2wjVHGgJsDDOV18gj2ft0KuZyy
00CuUUByLHqlRbntADH3Q76QKGsn9Zzu741zfDXqJFjU1DjzXZ+5KTjElUXAUHupXquAcAEIz8dS
N+5n6lU0LqgmUYGYCh2IqYQVvR5YY8+GowRwhh1nS+ErYLyxcWCGxzKwFp41s29uRIsylmVEGNQ8
QVHJkxBDTmT8wZFWaUqYDZpoSxQhEl/F7cTdiIDivz4wtz7m/yPtvHbkRrJ1/UQE6M0tTfrMsqqS
dEPItOi959Pvj9U4e1SsROU5czBAT6PV6GAGgyuW+Q0XgkbDjMuXJt375fK+mvouYrmis+7UKTvI
za/Q8iE5SEdB0HeJpWNmd+Py+yACiHUVvw+21jJFhSu++jYioxt7BXbCpWhwiku0vTJp38I6c5Ws
3onMDKwQb4qXXlN3HaHaREhZCBGZYEs0nyx6sp6nGLZQ9SXFcmUmxGaGuQ0DiCPZ3QjHoKxLZ+yH
G8nYlZoeLAKPS0dBoTW1Zi8h/SNVWU3KQEs6Nred4Y7WAm+T0C5s8J0G4XbE0tJHOSL10KWRqxuv
S/n4ib9/glV8Q1a6iZjwEFXig+h7pol2ss03EPyo0Fj93v+KGe886P8UX6ovmLh2HZ+jHb8Sgq0f
OlyNBwVd1XtldqKvSWz3/+SjLd0L92pkK9/QidZu7NjH0wy2fkF2Av5Gt2aNyitrbcq0xLAuQhNt
G12y42K085YeG6MEjHlvbM/H0/x+udVpNssQWnCkWxfd6jDCASmSghSdOQtowetVhPGB6KbWdCuV
XELe+3SGZjMnAk4t2pbSutVUI+Zf+fR3Ljq2GKFg190+8+8NYVNXmAsHf/z7SHkdg4dklBAJv5G2
v7XsPlt99TXNSgEUXsytS4aiFraiEBBxZ87tsYHMFXmiFG1ajkjclbYZPA0ItgTC1sBwvBiPghG4
svSPAh/HlGA6tE+fx5cPshgIQeA2w120wPcpS1e3hZF3QVjGlXVJGkCQruLi9TgMexzNMLDLzecI
j2UNbpDXyl/NVwQKmBjYbYOS4C1E/1sN+mGfcP9AmoLJsLpubwRCaRWqyRWiCqcyRxPjaATHLNwT
143prBhONW8m9Q/TR6lz+1sZmvUxUVpEa5hlwe+melSXw/tXiVzLWl+ahWBesiHe+oLoGeKQgBiJ
XJV3oUjzo6mkO7PPN11uwXzxSdADuxp/CmKxs4bJaWcSRzM4CVntJQWWIZbp4LiNyuE/uVwvTpWM
lYtNISEHLL32RfQ8Toghdgxc/fIwISrTFypwmdD1URqIQmCC/c+s+D2qqjOMB8yvsJT+kiBVLwtU
7KBkRywDooypm5q6DKWcpBY3ZfFC0jR2+RtVTOi+FznNBSvfVIXyKGrprux0Nx/QpNY6VOgzMh1p
080vcf1dVYqjivVoZeQ2FkSXxqrdYTRchvnO2MGCng/ynB/N9jyF36f6EXdqJJUCZ8iU+yrULyLi
q42+ozjREciEBegqIb9uiCw3FNF8J7YEibYL0miXBPKN2HI1+AMcscgHltnpOrtqJqFL5lw1L1IM
Qfc4WzsrxUcKdZ4dptQlukf5treQRdtHuCV3d71w6wmW8LU+wH8/waqbHgQWKvoTT1AhHhrvDWNn
+PsILbAGb9Z9GO/x7EUuSNFwB/Ci2rvxKV89wOgELoQFpLDXk8MU11Yd6yFzKVnN7uQjO2udFKTq
TG/ovHneia0XDNtYPS4mXoyGbwlZXBknkNrKOKcAzNQ/Di9KvZD0qdHMi2ZAknPnzhOMgyrtquhF
Ffa9vB3bU5A8Vs1Rz29xZK/F+L/XXm0+fcM67Wo2vy8fWjC15V1Gy4eRvbCV/TM7j88VtJHY9OL4
1s4vSd/6xQO1BZS4BFKGN+9DhyT3dVfJrXlpFOFQofQlVb1bmOC5ix+5wqIDcsTS5NZBbEdK6nTJ
rTnn9a23wA6gqiOSmK7qy9oM22kaMvMSp84UPPjKQRs2Keo2wq7inrW+MJBPhntqGqu/0Sx4kwxa
/3zKDfxHFzU4eT2zooGjl7LsGxeACqRdVrut/UOH+aNi99VWUZdErDE2g/7sSzsA+hCIq+ZgTI8p
cNnxTCIWYTLc7j//Hm4+1upE5IE597FkGhehlLcooWXRXc1cpX9Cm3zXjOVmCGo0t4VNqM+bJt1W
knWYQxg84GhiHVlVUQHVUO/n6E89TrsJ7tWU3NBGuJYR4eO4YK+AqwNlfn9yxlYiZtWQ7AFZIA+L
DXLvZAFGG9XA7AlFeKHYiEV0I8G/uiqrLdxWmhLr1tqgBUbaMTG5KMBc2sXySlWcyfzjF3fYjNtq
mnrZ8M/nr+NKB4RZ8V+Lrj6SakLHEtIuwQFx9049N2VkG/1vDXMYxCcEptct7yQyTTebbxRtV1OL
v9depWCWGSmBZFbmRcT5zFJ/iSnSKrt0uNf9x6x/YNZJTzpN91Z6SZLHpHU+/+0fi2Nj6b4wlYIq
CbRxlfdOouxHaakYl7ZUnEb83va6k8ODUdPeYcQpJMqNq+gKd/b9istd8Vcyo49hPnMfGBe1TLFP
nB1ljp1eBDtV5Ju5DnaDukyrFK8XyhccG9ysetaRax1EwTGSY1I9h8bDmD4JmumkORbGBa1XOsux
bUqR21Qv8P8UY/QU4xYb6mok+3uzVpFMaZpUjAbZWIo40bxM+VYV9+jFy+oCEhxn7OdOND/VCJey
G+XQG358Hckg94sMSN5Gw6uQYfkd8reSZlySAjFaNZ1PbXic0ParJWAAfItphaZlWx1yEQUAhYnN
eBDHEJoiPlrJcEEyxCY4O534c+I/QCvfDvvcFfFHzcXSU/CZL9XHKM3Oion2ddBuxOwWhuHqYdMx
BMEQG7r42mxLJA+oamByuH47in8OI+YCGMFUD4m/R6HivzjZfy22SpqDUBsGSeXaUZTQTiDdOMzo
JuYSRv80Frmbp7c0Jq/0cDna/1lyDVoNSknpfaE0L7mMewPUX7jV/TcZX6gca7P4xDSrHL6hcpwk
/38/dt1zysLBnAFdmpdReQk6zAH5brhW/RGsIPMPRatunMerr5JsFt06yCbKW7fhr6/Y1GLsvCG6
XhYP90RdesbLfb5owQaXmyP0aztLu5/U0URUg7t8dfo7qZkq8GDmheFybPyJQSRwtslhNaRmwssA
ryb5NVuI2g/Pnx+jK91YKNULKZFWNaOAdVvNj7UusYScywFIkU6faPZ3QYviZfdFlXLHEkZ7iWKq
dlMX8kreCLCULiLjUb75tyf7a4+7MYhbfJvfVg7Lb/xuydxFGHN0rvRKKTPQqxeSN+R5KN9oDVy7
E98tvtrx2I/1xJh5wf38WqBIHGAAaRb3UwoIT9xh04r7bWEv4HchueWQdSUJeLf2qpNZNWUuFAHf
EeVC8DbTS7U7w3KC8hso+5vN7+V6X4VWltM5Xmw1Q+FVpKhFEdQd9N2TLD/EzbbWH7L6gXgU3yrk
rx/j/6xkrHIqKTTaYJBTvhoIA1Fu2KYBSq5+KuRzylitbKPHvDxqUfJQYT8lDbfcda8/AKhDEjug
7sqaN121dYKCFztrIYaiekAY4trLkiMNSBBk87xtFtkSzAv+m4+I4GiZtLiWDsr7Sz8UdLnJlxog
sKKnIKXM71VO1q+yULxOJNtCsi4PTTdMb1lmXru0F4r4wgVDVpSW4vulZ1GrmmqOOcjVjuSfCoRx
f0T1pdqVeJyMn77E3HajF3shuFX5LdnTh5PFSJJ7G0jPBxnwqUaCoqjJ86m5qf1FwYvkXYyYDC62
MWo4njxvqHvTaQc55ubyVz8jOiBLhx4Y23qAaTRZTA+cXw5YhfgMkxpURVc9o/VDhL5JVrlW1UAb
BZ2oAoiHPrRKj+JqrJS2ZL0wjw5KaeL1KdhGKDthWaFQCemuSVE72+qieqwM5CI0BY1+PmsEhtri
Hyb2YBPE7lnnwi7HhwAba0u7kX5ej2t/PeTqOIgqRt6APcyLYVvarxjdAPalnL6HZW0nRu01fWfn
2Wz/+fwLuBZjQKJzf9D9p9OxijFjISVcUrNwTCZHrZxqQBnwUEcOtgefL3T1E1dochi8d/TB3ox2
/7o1fD/MTYB7xsXPjrXsptlpLF3G89g28Ymb1hbHnUL26AJ+vvCbzuT6sAM0QQpRJ7+T1yQ3Ra7i
xFA64YhxApONNs33CyYiTNuzHxg2ea0TSONOs46t8FXAfah4xpvCCg5xRcdWLPPT7PtYS03bScns
wb+RsXwQhaefvABh/vf5Vq+gHhRzTlI2Jp5fmDxD6nlS5t+o0ej5Y4WLVZh/1STrfkgNu0AnSisO
VqFsksjwivBPGPqnwEDWnkZN3yM4oQkv8Oo8X+weUwFjoEa3tT7HNXV8/XxfrwYw4NkgUgFooS22
qhCTKauSOOqMi8jXM12AIlBy4A2OiofZbiuLcfkmrNlbOytvBLC3w/LhnRo4k5EDAape513hGFoj
VEkDmoFySP2N0D0gAOhi/2kLme6V1i9a0YcR31EfL720U12YDsYYOakV7RTzPlNbT1UuzOuM7Oc8
CV5dnRUtOUaRcevDvpYtMVxTSNRwuSLav4/zeiWORi6yTeaEm634w0JQLIgMvraXAV6/ULYHZfhq
iK2d40UYhN1kV51/q9+2rPJhw/juFv3KRYd0uRH++voyXxGiJCuop4fpe1RLu4EZgZzXB7EfPD7B
Gq30CZ1lMR3siOHff3FWaDEvnJelzForKARBatRDnVGhpm5kHJkxQhHyYxuzQ8rTKdg2TNhTah9a
jTe+r2udDBTA3u65Rb7bWkXWRrTm2O9V/ZIrs5s3kIT8GUu1wKkEHFjyH1oJ8X7GakWVXCO+H/I/
uaFhcndLReTatbe4Yy8eY+g6GKsGA7htZQhCWV+Q49x8OP221jcQDfRRUDRobmFRr1RCICb+s9zq
1hvyMdMFLpwLeizi7A3BU4YWnn7klh3M58/f77VbhK8R8ztpwRe8hYq/Tlc6g+hLJIReQRESB/7V
YwaOdFPq99ZCq2NcJnVe1y0LhSESI0dkujtjh9tfeovneW33SE2IbGQOzPhWh6bDMzpTk0RnMKFg
wNqe8FC/DNALa2ZKlt65t2vJ5dnXn+jfS67iqREVMnGC35bKNk5gRnDh5/mb8bHVXUk9qjMShZ4J
EkD8yjzk8xd4Lf1AjJzcWyUXNtGCeB8fujYR4gDpvmUUBA4U2Y1o2OW+08DvRdm/WNjf/a0pwLXM
DGAXEH55UTtBKOz9qiAmjDpKW3pu5qss0pVYbLtyzHymkfqxDwf6Qei+K2h3RQ9zGeyqTPakEF1x
IUeVZjhrVYzu4wwsNzjQXNvl/Wtg4pgqxLeu6Wth5N2zrl4PVWUOX6niuhvv5nET6Jtw2Bq0NORj
2UG43pHFTM1u0naSvAlumgddOfksT57Gy2HculbR7OKSSVFSGlRIrlA/JMUCZqdIYmInZbtW3WrZ
1lc9q9iqMT23DVMbQz+BdPz8oFzLpngOk77sm1jKB9K+mndpMnCRTIRsPwbVMlZbDSfWMvreZpZr
iYmrSekuZXTZBHgD4lNq8t0ki7NPg366isOVqTsGmne5APZfSk9+fUuL9kqsBZ6x9I0JRpgprl5W
lVh1LmTcN2kVODoJShcJIAOexP5A9SxI5Z2ivH6+M1eXRMoAPb/lf+oqNCVlPwdVFRmXMkoPVndQ
pt+52u50vadj/CREulvcjFJXwK/MLRdlSQvstm59EN0iK7W4avSLT+nS3AfqlmlSMXvMRDgeffVE
q77CUaY+IoWLGSAtYD7kXLtxKq5Nkt89x6ozYgrRpCQ9z8FWJ+1JQ+EvZyhxMCRHgYMfZh5wXEBE
zbClomSSKt/yVroawXDzBtjGZIhXv4olQz3kgY8A+2URIJ/2SFYSxKDYIikBEIKLj1ku+cXnL/0a
UkXWQU+h/rzkduvGRTZ101BLvHWsMBnfWS2E/B6PDi23B/RnEdX6oinDk8Z0Hzmh0J8vsVK7kf+z
x+SiCxixJ62d4e4DZwx1mIeGdtbnj3hFk87gEcGPguFFi3TdRkKSMG2jHDANWUAi7VP/yzjcx+GJ
0UZTnBizD9n3RAWDcRjnw8j+CTtd3n/+ENdQXpTMpD0kYLKiWasOU59OyNw1HBAidGdQ6FdPVeR7
GtloytAQbiY22/0znVu7Ik/WBXGTCel32qp6o9pWX53lGSNLVALzwXJzsn4LloJCzZjJeL8ESmsr
8njXSDRtmlj5xx8ROJvjcz0HrjTP+HuHXhKz5ULmNUbpCX385b/4iYzT8c1iXkHzeZXfzTG9Ix8Z
scuYcBNYXNR6uxdasMtMUpvI3IwNtL0Il6Y5ttHv8jkdTGeQb8D4Dv8exW3LeRO3AvIAjR00Aa5m
wOBkfpAwOb3SodOq75s29zIJKruZn8zY/yPG1aY0Ajxz/5FVRuhSvqfadJXoq5FPN0rpa3cQGQqQ
H5RTKVlXKWVXxwkOXSIgRwSk/P2/+lj/Sjl+vpcfjOEWs52/V1p/zEUXD7M1kFCW2clUmQXJ2AEP
nRvM7WNRHcPSeJjkjuHbg9mkG2r6+2pmTKfJgGgkT+eP1KHGaEHyRlk6ygkjfmnyMOZxKY4cSGeH
BBdhi7GeAOlXlltvGMpd3y9iyuPG76OLxXnL4+S+EbUdnoKOMQ4bXj0Sg/oeJasbX+mVfPPdD15d
WDHKGZlVsbW9Qdq1gPr/nbCSrf83ojHsLpciiiJ0Hj9ogY9NpUbNMOqXkmH2MjtIki2aVwZqgbSA
xPsQqN3NVa9NClkVyoJB/UPnc5ViFn4Pom/oyG8zYJx96mQM8vRk9KYw3FqoAnTVfNamai/qPWhd
5FXwSQ8aeYtsZYvYnzgfMJmwC3Q9pqb2FhVLxlq7rPpq+MhqKIPT5ZprFKSPWtB7Mr9NHOIblezV
9/TXj1jd8lHhM/xXG/2S6UcDrY/xMdWOiPugAH6zcXl1LViLi3A6Xah1RmHNKZD/KeZzE7wK3JyG
LfL4OM0XI+r+q1EdRub/WW0VvgSzkEddp/z4V1HrX8VexsfxaDh6f6sbeDWULI1AIMdIs65ZYAm9
dn3MSdC4qvFnMNqt9Gxqr8O4RTas0O5bk2agDUB8Ni7wtCLwYK17M2m4tsPw+xjdMTJEQGR1JNOu
B/XXtxALtKd/9ZBLeRnlxOUXRXr6PKZdvYdBVHAz8KMtoOLvi50qCsW2yTDeRFmb8nVuvT44AkkU
g0OpH+pq61vUMCIwcWxZj+wLg4HhFuDsWpZqLsowAL4XV7PVW44scaqyXOQXF/dkiFm0i5rSkaPH
YXwN1MxeWpyf/+434bdVXQu6DdI4ArRLtroKbVYyhuAkSCzUJNw2IBn7EOgucwX9lGHuOp7MHjoa
ANVEnHaVjkfDKHyt0hoNYbpDiLmCt9CigxjK9BaYCqFQVuIiiMWgUwLUymRUPtATxOpzap9U+tij
cAuNcrVQxW2G1BI26NKsff/ucCXo2lSbljy7xjRVcKUsc0ACHzoZRoHZOKDH0J89tI1S2iUO1EoE
JnWIL3Ja7ekv2lEtOn2dvPjmL3lGgKzTHsf0Ude/fb7ZV7NgevnIRFFXG/z1/YMWDEeVOSALhqZu
q8GrmQp2S93h36XlhcsEXr6ge2N66y1frUTgoyHbzteEoeZqh6Ss8lMYVdolLb8l9TFCg0Dclv1L
4z/2CJlO50H4VccYtimGnWqSjdOFrtwZw7GubsSWK0ccaQDmPAi9US6vw2aH/IucxTPnrU28RvJd
KX2OtQXZUbomEM84JAk20xuyMNeOyLtlV1+WJPVoKgOJRqolscXkqQzua01AanHaLvJZtbnYrJ91
IM0NglHwUp/maXRU/OX92HDKFFuY1HLiNubqjbcN1JHU7KmkghuZxpKkrT5HnnM5I3Bw6QWvUqu6
jYUJNU7tYhj5pglUN+1acm7ZFrN5d+M0XomvuI+joMBBXOrD1VpNowdWCdBjafsiDzIVF4SLgTYK
9EnSi2q9dLidtVugpmnwQH0mhDsJK/rNTdLx1TPx14OsY5DWFFMm9BQ30otU7uih1K0H+Nk24Mgb
WKFLt0zQ3+QT1vuM4ubi90s1qq31MMU40HFrjDVoTxYetrobVtVGTrYiFQ99j3AKnLDLvXY6+WWy
80VtW5KNFhgtzv1TKP5SrLupasH/4hyi/siz9LkpRLvlect4pFT4Pvac5eB3EUFhtnJYGLrtB93W
Cr82KmqyyR+p+nPjfS7RY/2bsMGCKL4MVJlqvI8uUowOIa7AQO7/j5b6hLKaCDQ/exKzrxiA2TPB
78aq104s8pAsi7zdApd9v6pPxFfrWFcvmahCckUImRnJKEFqkCYn7Ae7RRQ5kxRvxttbavxToo/b
QE5x00FTAsfkSW3dz5/pWjK7SFb+7zOtdmKkO6YQztSLXFd3jVFvQitypKTeyW3u+nLgqDIfMIIB
cl58yVrLq8f0QQm0I40IOVW9rCo20lAw2sWgQ8Cx2kJKEBJBa6nYP6h7cQzc3qpxNY93etl8H8vZ
FgzZu/EzrqRhRIFFAgSqHCrxq6CFuFQ0mXGiXSrpkOAMl3tFs2kwrzURWt6E8qnFmVqjiWdb0qZE
+OS7NG25UkzpQDxLCszCCFlO0Zxm89koQodCxk2qW9WRvDzHh4P313OuK8+x6Xp15mOqBK+YbHry
ibYJMycIz7Qx4tYOzrzzNtkF8TacbfG3QX+0dNvWNWbPesHHw/inSp9IFaThxh5ei3F/b+EqxrVJ
3dL4yrQLwDpMS3plR0uFigDqx0029tW1aGkuzCMm6WutpSCK+1aP2AZBPOFNaVtpsyFFx1+iDwJP
TR4+Px7StbDJzA7ZYuBtNFOXP/9rrhP7Vp4lvqleErXxoPCEveLSYW76DJTV9yoatr2yTUfL7oZX
U/k2t4uQs3EUwKcbfeSGQoBxa2Rb3f7Gg71d4h8OhEEYWtBvtHpXdZipZ2jXlJZ60WwUPzedl+5H
9/vokmW5o1veW/by9+1pdlVHcn9G9rPoNTatFLuyG6exLf5utns7diMb3rLzXXQK/ksCep6S/djb
qa3biiM5xFV3dEr7R2lf7l+fc/fnaD+29ulySm0M3DaT69uSwzjoNPNvkXLZjIg8w8Fjiz+Z7NhO
3D90vp3d7mmyncOP2C6dJ995OE5O4w32nwNmHXZo84cPiv1VdI4PDlrcF6axNiNJnnPwNl+Phx/f
LqEt8q8G/MHLjd1cAuhqM5HrIyNAHBwywhpSj0WSWJqCol2CzGM6S5NQizeYcjDX0FGvCBac9xzu
qlvcz2ttY+axCEqhLkpot1bXst4TlxqaBhdV3M7zfSycgUGRJPIEcvqoiFuxuKMGBByiiHuyV/EW
OORa2vruCVYnnLtlbkyAxxer9gCmYLaY1vt/hRkRPxYDptU7qz4K1aZuTnGJDjP25Yfx1iTsxnOg
F/L+S7OiygjxFlQv9O8ZDue5AyELMh8FMXScJOYycIkrlIjWn8nCtudgKmiJbG+chOWzWZ+E/7wQ
aw1WKNK8b5RGUReQzjI31u1i8ED8T+PGmJziFDX0Xp34PA//F+9iuTM/LG6K6MKQLilXRJoFrcvR
PrvoaWSn5k9rkLGZnDfRSF38XRZ+dVUB42M3QoPo+x8NDoqf//wr4RV+B2GVbgt0xnXlUA60yqnf
1Ysp5th7wkQuvwegSWcTabX8qwWH+/MFr2Q2pIcAiEHCgVBYTw80ZoqlmcbkU4pwVCrJteS9gLJj
1j19vtC16SX4J+bZsGIw2V4PAVJFFBRzKGSmI5Y9Z+JOEno37MRHS75PphLikYSNsmhHbXeZWvOM
7tI20vTdnP668SQfNplkeFEcMsFkLJIWq8xpaHOdPkg9XyZndse9ciyfcFDdjwRbxZuOOLjfB86f
eDvf2oIPEJjVwqsrQ5VjrKnrar5Ytrr92R+xUbE15yHZ3NJMlpef8O4gr1ZaZVUTDQL0Q1lpcn5m
29gtzuZe3ec7YKxfG/cHxc9W2DAK2dLAdmrX9255i38E262eYJUvgfiXlDFgk0mDvOIx86hynG/D
SXRr+5Zeypuj8OrnEr7RVbcWJh/h+n3s0tMiK+bRny6V12/SvX6IdvA4N4Wt2PGZ1u6pO/Qb9SB8
lTbmg7+dN5ptuMVOudMfgsfwWZzsPrLbExe0M9utjeyck+0kN3rUNpIduq/Wlt7/q+8GnvCTLNgZ
D5EDyX8XeL+srRnZwym6r07pS/iSmk4L+WVj/dE3qVdvqztzY1ROc5964i6+ESzfELrr3w1BHnkp
JiJIa6w2WZlqWZk6eSIHKffAhUaXTHmHurA9XBSyENFRtwIZRnEuzomnnJIjo/u7yetetI2ykdzC
CV3Upck+sou2qRyff6J6ogdzCP6hDVN4a3gQo/e+rXjt94n/H06K6Qyn7jnx7exbUNriqTzkzsA5
gk3t/v7Tb7vf1iG/iG7ixufS/fzj/Tj91wgfBEfkCYlWH1SO+lwZxDLrp0u4z2Vb+Zo8xs/dy3hq
7xsn2+ouCon3OZg6N5y9Zi/bv/UbIfpjJbA8Ab1E+E7LGFFbXZRhoY5mXzbTRT4XtY39kunIkB7s
r+Bm2ba7wEuwLsKj6JCGDrPNjejqu8jtjvIN2dGPMyrQVZx7UiZUT5f0+P2x7/QKT1dN63n9Em9v
PMabnyGKFZXNFe5BYf3a/RB+Bnb0JTtZD8OmDWwpI+VkKvyoeEplgznLD9Ou2zW79is+BL/TL9a9
8KzcuGQ+zl41cmRNxr2K6lnXtVU4YjhK8ddU/UUfE7jdgzumzxbyh0mFhJGFyIaKjAZq13KIlIQe
bmed6ZmGhce3sWI4CSR/qAYv0H6p7WsPraQuObEJiuaa6Y7+fV09+pHk9sm9OT+Iyonxku1nxiac
THtBLUvlfZmkBy2/FWc/lierH7b6AHFvaeNEbHgD2u9Wu6cDbKQFLeynrHhqjeesvTP8aleMjdON
uG6GsFGth1hEqcnIt6V/Knvu9eJms/jDrb48lsHMhi4sWe0aOxYZVlF3StxfTFBJbUi/E3qsMr/O
IS2f/A40qJ1a4wazAkceOhxkH5NBxn8HYbjxWCnxVy20bBmjrSD7YciHvBxtwOELRNOOEK8R1Kfm
JjjxDaL3PpgtbGREFoH2WODd1nupDCpC+tz+c/FsRhH5Dk3K8LmXrS919lzQqC35J5FabbSkPDQG
ZZPw+Hl0+dCMWCxIsDhYBhPoWaw7k0sfrVHbsrvEodtczHgbZ9t+ts1bM5Ar7+fdOquqo5iiMR86
1klINnp3osTxAfbfuB6u3MH8HFJ24tXC0VqXqJY+j2Kj5d2lHDfFvMNX1aQthNGwCNmb87BLdM+Q
NvX/O5aPfYTYsZh5YVmmrV1ga7mMhIIZ4SUwncR0g2ATpk5leBEFreDN8lZsHUncfP7y3jLI9weI
1F0ie9bQKEOneCky/+oVlGW8AD+G7tI55vfojy5us9SeobcXd1aywXFcdkZqdL6+GJLcJr436t3s
Zl75hJDMrj8yyoH9Xr6Kip3+aT0ucLv90536i+Toru5qh1/dYGtePdnGlgrZCT3hnDmmq9vzWXKC
Z5ppeEdhFvs9fxlO4PwhVm6bu0vv8dV5wo2b8ErSs1QqzM4xcFXRv14VjoNSjX0dFt1FseeNajrq
IbsIdwZZwPM02qruFCAM7InL4Jv/O3XDr9rP8M56NH9DdSXtuzecYG896E/twS53laucxbuRm13f
WIfmKd6lly/1Of5S/FQfS7f8Km7Vc2frP0072f8QjzQ9DvSJdSc8pNuX4SF48Z3QFrbaH3oJXnOU
7R+Ra30D33xLkP7fQc7qPYM+JMKR7VG5rOHUaRFIeq7X7SXe5/vJGQ7ui7SRNr8hS2+qnUEWJKGJ
07u1K27Nrb89fy/s75vn/YZ8CCa5fY7sjb8lVTpvZOcOvIFzF9nnu2G7qezNTFNmtNG62yfbfxKn
pZ8ScIcjjWK/vo7O631qn7QzQ/+T8DA7mKVvBw4AZA5b3sHU3vTe5CLj4ujH+izcC/t0OxzVC3fA
7vPTTrr8IcdHk/CvbVgFkahrjGpOmvaikuAad8GP+pTs9IMbHJFrOU6XfPMsHY0jSh4HZUd/145l
b3xtfwqPyZfkPD8aXntoNihMbKMvwkW990/+Lj3mx2bzK9iXnnQxzuEleVbt4ixt5xfymL3lZSf/
KzLf8ib/IW+qzSJN92U8x57mGC8wRI7St+pouOCjToEr7HzHdxL7RXATu/AUUkRQ7ba87bzarciG
dXJzygNH2scna1e8MpjeBRtjbzrmeTjM9+FW94QbUeJKzsy26RgjwWwEW73WEC/TMkpa5hoX0Bqe
YU+UP0hebAYelK/FoXp46Ow/wcZ3vi5dvcRuN8El7u3sxbqLn+vT5FWXygYETKMOqOGBOTqpcuCh
Cdbb092vke5btA/22kNP7w54FdVCAWjkJDmD25yqE/CSjXYAPraNbXzjnWKzVESd/WASI35/fkre
UsD1t8Kwn7hIxgq+eXVIMmsW80jvuot6njcteAZqMX2JiyHiAPBWvyu/cKMSfqW/Gxvj1HO+E/fq
U32scYWd7Dl0Kjc5h3fhBuvPrVE74c8RN/rf5qn6JW2TZ9nWZa8+Q+qvt7FXbtNz+tXaF7Nr3OuX
W5n3G6139WOQPeM6ATuwDMFXmbeAJaSciTo2slPhlrNvp9kXGDYHsY65VFLXGB+G7Hdv3hpSLJF0
vS7EDfL9BSgCQOX9xeJP5CVNYNQYmEw7ZdTsFHWkJp9cbTaPTW7aJiG/N26d1A+zLhKQv5ddspW/
7rNZ7KpY7fm55tn4NTm/RY5JvO0c/6x7ml1col1+P++n1DZ+hb+rxh4ED8/I4aW+13axu8Qu+a44
9Q5GKwfRg4h0sjxlx2t08j/zoeUi5kvV7PqPX7nWQ/5S/tG26UXfBL/y73rmTPuSPpt6UfbDof0l
7IwTqa1iT7vaudXl/9gcejOXWoDlS4FAk+j9T21jlDYQ0W0YXdPN7mW7Rew06ARbUS6dfK6GzEmj
7tjG90lwtqCn6a2XyRPeq66ADJtAPBb1XSk9pfVZHL/Bwzs2/iGSGQ81r4p0EHDaTtTfqvHaJsk+
AdIR6u2pE+XXDGBPHTEy7Nv2EiT5zgz6TSvWboiZa65sfPQRB7nhbOmbKDdBNx+FpiAN/ZHFimMC
wGih71UQFTpxtMf6fqx3jXrKpMRN1f7UFj/b6sHv7pAaslP5dyXC9Jk8nFVr4UVhfpQEog1oxTHi
RYHrj1Ge/oe07+ptHsuW/UUEmMPrZlQgJctyfCFs2WbOmb/+FnUGpyVKEM/taQPfDDp4cecValU1
wkviwSmHs8S3rzkPWBx+j2uXotZyb6CqInx/KqqfTPKM2n/pkdvw/hjl2w3fpYzXavElRXejO6CM
D17WygKPGOHzCFOZEwb96l3+IedrSbGp+pNNLCk02Pa1F3KrQ7ZNHnLbS1u9Rw8ds3AZ3QkDwYnA
A/oDtxCYeHF2foOQbUKOGUqnW7slUd5ZfbBHS7DGVQeKs8TgY9yp7FdlgryDcRTb//J+wkP+2rxL
T+Eh+xDRWn9s9rXp91ADRiuRSq1clVrAUZxbrmfH/eozpzTexbkLpC5LJHYsnXEn7ICHbdEtpyIl
AimtKrKSr/wowHEINnxoQmXokKL0iwfhQ9DFXacBRKGmIHJCT5mBLgz4AbWdPft69zzakeFFamxS
mriQCbgThwI/Bq4a0EAA44CkwPUnh2k4Nc97pTNkgOnRX3mJcNj/CiM00Vc1IjuegKAFN0SqZgHU
O4B5bNpXgV/z3UkcAyDD3RVNRXoNXsfHL9C9SxuJVhDoTthr0CjP3NRBaCq5kqTCodsvFg9PpIR6
LWsK3owqwgPpTgy33z2W/18ZhtjXxC8H6Pns1qaYAPRanVw4qStZbgA0V4KepnjdsTuBrVRhUPSR
GY0RDJqPLZ/TjfMNBAg2SqToUQESe/bo0klbdrnAFQ4PVL1C0CqLSNqKHO+AK3ulkNTgBxO9xuAB
BGactMcBZCQHDnQhKvvb9ER4K9T4GUmM4tddtSgt/wa/uAtbtdWLn2Y1frH8tMvWwou/ATCZSK/e
O3qAIP63jl+GDRgUivgJWUCN1mhDMl1SPgmvowpmfQKKwQR79IOP1Agujryw2rdtsROTH0IS6LAg
iOfn9bSwR+cNP/EQZnr2WrwWgJfs2lzLeDBnQj48MlG4FbfRNtlC6rPap0+g/S1cLfzFyUgRqiwk
624flokgE5h/uHpn7cLZUuTlIINmICtATFSSMW22VVFYQ6M8BQ2Sd3FcjeqYQDYRai4/w1iv41GQ
SFkqpdoM/ioRlpTCbvOXZ8ZOFLPR+Ag24jlGv67rHH0cEfZGge6ltMQV7mtK3JKoEa0qfhazp4p7
4r3ngis0rwf01DcjdjsmkkqNLyz1RQOX2ftPCrsOqb/HG/fObAEmiRgZFPLKWR7h+hoRPKGQ66gv
HMXCrz8hdnQ/RA2t/1tGdzfit6cl349NnuUdrs4KLF6anAftAOg2YzQUTvnO7bgTA+kektc6GiWi
Q3GQNoDD70VNfvYy4moB9rAvIsOb7bOVbzXb1FFQJ7dQ344+iposPFi3NdHZx80SrGPF8EEGgh0k
m4UT91447Guold/pBmroABWsw4Ns+Dpazo6PZ+U2tpsMi3gqIY4Dd3cuLlwm6ZAwY1c4wq7XyhWu
hEO84Xej+qUgkSwtmbvJe83MzRYhxu6nuAHmOCKakRUblB6DBQvNl1tODUmz4X46QAT+wiXFdX7K
/N4sP9r30b+EhD6qGNc7LvDCoAJwqXBe8cwik+4fI4fWIfoDGtfsE4030a+QwBlgkL5GLDruOeh/
npCtcHIdFdIPoOyNtbLyTWnPPAvPPR5m8MJtdvj078jVeKf/KGuUeh6vj3ATEUwThmY3XPK4WfDE
XH822nAhriBgwihwyJbsJpZOzCBC8SIhkou2dvpDlNZUj44fODoyejUEauPK6LMKM3VS/G0kXuVd
eDEZqgU9AB7xL91AF1tE6sZKp1bwQAZC00mVUGXKmMjAkdH47/NQILVYG3zEQzYUIrf9d4Hn2/dK
IpYtCVw4HBSt9u6vUBuxt5Gq3egihyF0psJSajCcvLTWqHZVie9NypAaxAwAOZORA9NMdOKrLxDJ
PZ6rW1jqbK5m77CS5S1TFnXh5Cs4ytNraNE6rwubnmzxudaox4dcfek0yXyJ1aWC0S3CY2Z+Flpg
6Ak0NmEeeewj9R5YDKEAY9FMRuW3MjhfSfaxMORbR3faHaC2gWyiKKBXib/eHrwouK6opIXD5IWh
MCUJwN/rurjcf3x0ThS+LSbvfY4QuXQ1SJeC53dAiUN34+dG8kDkvQriFYeeVL7bxW5tBN3HWHmE
rk4Cfej9WoMG3LpLX1KQErVhsqLdxqKK3OgzXg0VeMZFoyvSUpmVvXNNTHBmUE+jjQ/B8OwxpcU0
hHRWUjg9eMZJ85oex21WwmNHLzBDfr29GxuhpfyBf9BTM83TUmg/o9okADGEOMRoFhytW98S0wz8
sAR3HZ0EyP1ez7OQVj4kdcLCqQGyYnVjHzslWf8rM8AOw4FF1Q9LOn8GODphghKX1GeFRygyeWT4
Xrwdu8AFddungOFc2pltGw/0PswYwg6K2Ef6FQ4UAbv7jtLRvGzzGqV7ZrlJTFlDT776NRAPcYVs
gRjfDH+pvbIql1zoO9fclDLHU4TiooQK4/X8jkPuDXQu5si0jgZ8qBHfk6ip1ar0u2IX29D6s1KV
2ss6s1q4Naaxzh6GK9OzW6PuvZrPRS53wAStckZoRC/sKjDR56SjlQ43KrRGVBe55hKQtI4MOB20
KuvZG18t7LJpVz/6ktkFMrRKM8iBlDujIr0nwrMMEE7RK8dWeeYlpDOlJcXpe27H1dhn50yqoryT
fUx78DUa6f6bUrs9z6H0IBNWYzdqY8UvwC/oj6f83ukGBRCPDY5+L4To14ud5cGQxC2bO0kj6AGI
/ltEjwztm8VQAMOw5Anflmum3a7wyN+jW/W2cZlNQwhjMUwOH6c2WAfP9ymzmj9GS7H78y1mudHz
FaNVSF1Tp+LgjeS12YBaB6VBh9frt8qMd0gBNOQTzd1vhQlEhoMKDf9MP6dv9VowJzFVLVE74LMl
NPSa4qnDbn1pf6n2SHHYOxAYLPb8JtXLz+5H3iQMYTcgx+FWS6nL25Bweg8AWgDDmwApnfOSX+QU
WrESxr6vM4fa+Ec04xBNht/IPXuFCo4iE2PKdNoE+86XbEabdtWYxa/8EZBB/0zWjFWpqQGeTnHV
b5B/lT/4lRARycboXspvd0uplcaZPkjU9vyJBfhEUNtfFihYQksEzO+WYwJL+AZOWHBa2JNIPO5j
GMNHgJRq2T2atsr1kZk43aZq3JkgaQ7qzrkkCZU6y5zmtTrEx/SYoGhMyh160tlXKMHagoU2s+wl
fk7WoeHuWwCTwID0XfBEPjYf/VPEqfQpOQ6sJjfqsM1ALrlPX1ir/KwQwKYkotTwF6BNAMbBJ7pR
tr5dYg9NuKbHh+KspvFoKLN7iIZ6dcAkeeaUGig3HOq9MdkKPGhq4ZFxO8BTW2MUTyChRHIHK0Op
8FcrVFDEXf1Kv0PobaeYyb43pQK4W6gOxDb4Kd9yc9jg/QbSQfVSUr09/urbo4z5B5YWQMLpr3mz
mJ/5Se9JVYZ0EEukxrNixdNd/k9Gv1/GegvPBHf7TFybm72PLmQRGDfD5hYj0p5YszSSDfM+TOTY
JLBAm7yr0D8LHQESgfBVMfwcb9mw5+zsSG/ThMgGCER1AJdRRgp1aPNEzxyvFZTKWoPlaUuH8c79
ev29s3e2QtE6zUEG67AoEnqoCkKpxaJwUt6gqBIBuL12SWHUNuiC9cWQ58x1O99REAOEnhZD43ic
hXwurgIFWQgGblTmxKvw2BuDma8G/chTJDNrvG6hxmxSA7gDy1u3z8fR4vXwOVonlvDmG5/447n+
FvRKG9Xyq1slu1ItbUlA8bVajXbXEmrNAnkl4Qrz95wGOruDZ1Vfm24D+mwiJBq9LYwOgJ/37hX5
V7UjpZoeJmfNX4VENAT1j5dIs5AXupUsAa4D9Avg1uShIQag9/XjQtNZ4eWJFE9ihLixlQ0Sqa/N
K2fV31mqlt/tGkTA1BqSFhb6I5byo3c26JX12SFGW2kVjoUI79AfV2KbmVL9RofwqkYw8Ql7Wv6O
k6WU7LTpZ8t8ZXM6oxfL7OEMclyPEXdQldTCn/yj/1YA1vdJ+pcjh9EQJGOBYn588u9kDq4neuY7
8FLriXEFs7QpnBpzrAlEYPvU4my0oQgqOu3AYzAsacTdSWtBoxS0agwoj3n0Jc2ch5FvmEAp29gp
OKjQ+xk6kVI1KF/ouFfdNlF5Coop+dYf7ZJZ0QX6reVVNpHOPfUg22hjECZxf1BWlUs7F5eotM4k
NFdrgUgdRw5CFyCoAGhgthZSREcDeDhCJ/mLt+FR2gGwx4CkJUYgpbanHLrheqzGwA+A+Sr5otf+
MdyjvGsoKEQANuLawx9oDMMjnmmUQNnn9C9MtHbNoPjPaoPGrCUb9B+2/NyikAQEAa9+4zHeuoCx
PbfTf2OcEhY14E4hOXkOVdYOt/JnCBAJMsR2r79Emqt2Ty2QwJH2EeIovOAPz9f6tdeSTqvVSEOh
aukmPDfjPpqY2W7Jh6iWBCoInaAGDkbyVQ6lxfg46diA7IkMiTXKwIGWLyFUWKLwVLutmuUoeHag
XaKfW0kmNKCzOcs4nZeaj/fyuRT/6OumY31xhJhYprtsjELH+4PyyUAgBFUkevmeb4MDxZDsFaT8
ZHjNf5JDuwoZUgHmKmvBqiS1iioZEY/pm6ArOr0qLc/k7OLUwrmzBRsr5zCmgzLjS6wzSCr2axnN
sIBFAmefaImBNseCpC/SHm5wQMMhfDyy2+Y9eIAQnwVhHQ9eHNRHrkdG9wLlswrjOwV6yAtu57au
NqBGlzBokC5Czc2BVK62bDRFNsiZIBsHMGTSPHEQBIQ2r1G1UzcMuAKrXSRVoMAaIZldqEkYqJFU
Yw0T3YcH7QFxWNSjQQmLNfHpE2eLczWE2Z061Jybpu3oO6Uxnui1d0CXXiSSfNsa3p/32r8zaFcg
sa8Bdw2gqcptPgE12xaE16f/BeFQrvGAYpero2/wq/GA4v1J3iFHBlAyGqTUeIeyWgHYwWnC18CZ
IAkOWbRCk+4nMmYI/BKD0aW1aPQIjIBlIMyrT6AJav6xBEBLUmy+8N6AvJbVxHcwmRqRUZK305e7
4S32W8Qi/yws603Qirw5oGdISkhoTr1hNfaFHM0NdAsC/22tpcfIAn7CTnfFk0Cp2Wdi+lqO1HEB
tHie6m1gKXtFo7beG73QgH6bqVHYSVEdn4N0DcDSs5PDtpmUo9/TtVuGBBtu42qAgH0LpSod+B9x
74YoLRB333Um8xfsBU9VujX8UGqP3slB5X74iPQ56Zbq/OeEwfWmufquuQ4A+jJzmWkz1+ZtERDl
OiftqtPLAFfrqA1fiQXJqRKuzEuarWIFLHLwfUCohyY+2ZA71Ws0CPDV35DP8j4FZFUTJMYhStpw
BICVhN7UjD4CUwNeHSfU+jcpXfkAeFUR+r2xAIG/FtC8vEkHFcS03ZYK1MzTwOSS266qbMHeCgz0
HvJ96ZO7AdHLsK1+CoO30g7aby8BVLFwDDv8K/6LrMs6i8R0qqJlS+N+6gmqQNJQk47ZmyKhfkFE
iYQv8gH1zf4Db9ygIBstN1hxHm2BIeEPi8rd58Lio+mdVa7lThJwZybocF83OqqAr94h3BevSKpb
aPDW4h11SC3wFp2qU4CQkXqKnWElfHnPYKHdJwtZ0DOd6Pxr2Knwi9NwR4Da70AqPKmq2+KgAjuV
GBCrAV2FiVtLr9bV2lW5/dSYWIMfwVB2/Yl6ls28AXcOkX/QZAF/XDpESK6DTAp1IERWtgKgJUv4
79YctrHTq/jdgARv6dUoEW4k/pu7bbTgCDRt6nw5yrpZ9WZres/eLreLD/wYlCZpQ2oxezCua9jy
wIVUC+/WzNtE0eacK0QqDwhY+kaUrmubUeig0mt3wOVnhAFtN/GO6JPX5O+FC2eWm5qbmvciSEwz
UAWXcDZVrlBBZwO16NUGkL1wM8Y2hJzAHh8Jag/GVTS4/Ao/UH/p1RZAPBagJZXp1QGgWKf8zHBq
BFUJCbfEfrswG8JsT9KBEhd9mOMTn6HSs0YcmpLsOCD8X8hfzZlHbiZj5oNmQSXHTQpLzZ93SKzW
ohzO6V+jY2QgpHk880ujmoe8VEszXp0hhEV955V5c+EnBIR6Ai8as9Q+MXmnF+foZlyzcJXywKkn
ddhPUCYVWqM69X95ATDRQhi/NKSZT+KjKzd3Y5jBkFC1onNjejv34aFcU/vHszcvytwMaeY8RHwp
wreBLYrQdvApI/JEWzICATU8UKvypfqWVh1ydi+P7d4dItoLpugbNJnybIfk8VD3XRhxthhrckxo
JPIFEvwMx/AFN/RjW3P0/f+MEeq/IKPhJ29v5lsLdBfnTOTjGhj0xOpE0oFGUK1OBaIhljC28rFY
65rFnP8xCUg4D8Q/uIJm4xOrLlUSOeTsqlDHLeKoBBzTYJA38HoajF3tkHjSFoa5ZHN2EnJlZNxS
gM22fU/TyGwgZBfwGl+8lwEgF/RLINbEpWutEXNjGD67fsHrurOoAq5cIFxRmWFRSr72pYXAiwXJ
l1hbtIGnqWzwyOUD4dCmbiE5uDDaGSZzmuErY7PRFukQpW0qs/aACLLQcoBGwPXQopUeS1oRfuFM
3rnfr8zNj/4AIfAaEiF2+u4BQ9Rq+VsUkILTkaV+PLIlS7PTX1XeyIsBLOWN2rMQzSP8j6wQiB8i
LHlsamnB5oe/yTqFK2CKQzUJzMmCBmQHq9Gn5idIF2zdO4WYQTR0gzIGtMVn/MlFDMnVDBcGHjTb
a/RDtqtsjaZGtV6XB8BF1WpJFeD+LP5jbbZencwXChcIrI0gFQARhQi7BOQOZqtVgB6R75b8sifx
Od8g4Fljy8QAfh1BfAJIOMJPRgfoYsEZmSc7/7Nj//mk2cJKJRUUWYpPKkCiTUKEZzsD/Q6/vyU6
O4F9+0Kv8+P1ncOIbkzOFrhnhrrxC5j0fb3XDPs4QeNjwr7TJ2FNaYtX0PT7Zg/k1RpPD+jFGitt
KGeZizUWUC8BsEIP9EzF+DoNEC/Alf8axJqPx3iW/7uxCe5K9FaBN/yGj60JIGHTMCVrS7tOp9l1
8dpqVIyGcoZk61ADb7rml4a8a1VuADuHi6xyTIJj8d4fWoD3cEepshNjNhrkfbJNlS+t+7TVbj8Q
UC7QBSAUnacYhCriUgZqVDYM6CwkdAleWXlfI5aGR6yhOwcdIerjWbnngoEi6R+js5UPOJZjuGEy
uu41cPGgeSDf1A5NIAe9sAJ3bxHQq0HAFJgEYACuFx2Z1WEAQp61GXlX0IHRdxA1Lvt12Xx7wi4r
sPkS/fHw7plk0cMK8IMMpPr8LuFLCNY1JT2NDhEMAXB61WgAeCyMbJ4sP5+fSzvT0l7sZ57J2bSW
RtbefNvfHPhhjgfT3APa0JvP3XJufmlYsxvCFVsmrROGtWnVXUeb70j3dNqOUTltSaE1Wqf5Vu/4
aMBFH8/jGV0c6mzD+DUntczwn6NboUg4rnZHcz9xMXxlGkSX0RazsEnnyZGb6Z1dF0xXg5k151k7
eR3fu0RzbeG53HY9Cs+iBsHHdYMucqBucWmBCRnEhQ0LjlrCoS3JCFCsXaoxLk7CbCu3bIMossUk
FOBKiJx2BSgwoZz2fGv2w5T9MjgdkFRLOD6e/3ne/mYupr1xsdWSTMz4PMXaD6pojtp3QXafsQbA
YaC2KlxW3KCItzcd+flvl56fYdaFiE95P8YyMDv3KUeROF2BeUA7glQKLVTpa+wkx9rh9P9PZv75
kPlZQCq7rtSisYa1q+i5FEQ9ykOzpxs1HYBPlsw0Mjh2IR83Z169scleT3OTNFHCTDYnV2CiePKR
4Fwd0KMD/CILVAdNFgV3Jld0/gBAXw2SWoBqQaFiNr+1VHA52w+sPW4LlY2IYgBrhg40FKMdEWVV
7+3xXrq7jS8Nzia2ovghAVsOrq33fM/q0WZE5SPCPvpwAQFL9VBPjNj8eWx1XsI4T+2l1dnUgtc1
qPkSVt9RYP+YCLQEY1ytfgNs348P1sggMoQa59SI+NjyvWvz0vAsFAhHdODz6EizG/gcYPFSoy2g
spaw9Brc824u7cxeg7plujHjYSc6dE5k9Vq/laxpWpHp2TarwuhfaLKkcX13x15anT0KVS23rBBj
WiViM+gpzY3daq/nTrV/sX4WMoX30gFgsUCv+tQVNLX3XR+PLGMqkfe66WFttVGLLP5rcDrT1WpS
Yc8O2piZysLGubt8FzZny5elY5VnYw1XXQu3vTa1cKYWipVLY7sXMV6ObbZ8UYJSPzONDQASrXOg
gIzaBYo3yEQ+3o9zNOT/nISLEc2WDFTkTF35sFRrcEnRnJqo4xoC9tj7jy3di3IuhzR7tBkxq4Ni
mjrFgnSXGfxWq9YMFoaztD6zV7pmISc9xhgNh4ZuSFVVGlipncL4b+3MH19BKJmoQJNhiZbx6kyI
o5hIhf6Xw5k9tEJZda6XwQxeeKTi2zUqx7jzlyq6dz3wi7U5X5cXD3o55KyUpO00be2uepoS59mK
U1uTfwt2j7fBoq3ZhR9UQSsL8KaQeYmsyRLGhVsJHZx2sfS4TL/r5jX7Z3OzsyvCdV1wmwrn+QMy
cZchkYyKuzn2hN4sJVzvn6Sp9xZQFdTx5sKCRSPTcS168IrQq17ZigoJLDDlQDBg6XaYdvHNsC4s
zbYFGyR9xYf+FEYyRvXVHiW07rqavK3/yq8U2523KEADhsPC0k13wQO70sw5CBuo3TYtRgjyr6fM
aZ87U0CVsPyT1sCf/6L+bf+r4HAiYv7PrEqz7dIgmaUkOcaqbHxtikQ5wMQDII9cNVuY17teAS/Q
aDcEPxZArbN5FdIg5MSWYuwIUl5/vca+cvUKMhr7ieeN8tX6S1kPx+k2ye32c8oFLUzwdK3PJxh5
eehjTxlDcIHjn1+cw5iLE4qCLj2etBoPjGxPmYHpifFWLQKMqW9oweK9EwJmPfxARgDKGrMTEoqc
C5GdjrE7Fc8ZQHfBE6jM1P7T2y2FUPcegEtTs7cTOrFNEHjtNDjQmCKh5lojesX/ywFNU3wxhTma
lrFPMSDRHk8S9gxiknWrQ7XGWrqd78ZBlyOaLVdJNZ2I6ww5cr3VGPQRgVh29T/vAZYMe1Uyp3oj
g24ogOvAGLEw1mnG5tvl0v7sSZVKjunTEWOdXiH0MrxOVykwDxgt4i9r8SxOm+HGHqcAogvmUyRR
ZpulHocKnKsNY3M7tEc5wFir02ZBq1GnIbO9ejy88697ZG62YUIKvbgU2ungMQg7+anUuqdmPU7N
WnhwAW5Jv6vTlJfKpzGDJ2P5mb97p4sXI57tJsywAJ3bkrE/ufNW6pFbyPHMK9bjsd51Zi8NzbZS
5wZhk/EYK9wWsOuBU89297nVaKGV2qDjV6nj0vzOuyjPrt+lzdn2EYPYV6AExtigN1yjPwegCrTy
Od4bausGSCGoXaUrO6gWWqBQ9km7jl/FEhDSWi9aIk0JDyd2wGm0DhbzdHcz8JffNnPkFKl3ecrF
fPjbVkscwH9xkME0BHZiav2v7t1LazN3jhFAMUoPsIYdpgtWZfsIIlw49hNwgN14yLcurPfde/di
Y82emqToZEVoYTHTXyswSLra3hSe0GK2ZGjhzM4D+qQPKxHKCbh19TwnANDCB5qQ/+Ah6Un3vLiR
7z1hF1PJzd7rskkUd5xOTIe0VI+NHGrJenLwkj0IkvFuL23jeff4fBvPNXn6mhuoRqqnEbIqIH0y
khajhoZFvJzsyrUmWDb1JKxLACfBXYIkRowdu/QZSzt2nued+ElKKMTjM0AR1OiD3m8rIKdSa9CS
kCxFU+d1e3A5nksNF+8cLbaDxwUYNdjrRQwdnFlwx9AVjk6rSgVKSpuoihjCbXCuERQr5+cWPHzu
yT3VMeYEnSRLD9K0ax991OwWk6H65pUiFn/yXwBjw7ZGzgEkWQD0aRRgONV+uqQn/NriibprG7g1
/gzZ5eZ66S3D1hVawifbwi4HRekxOASHqZwg6ZWRbAfwr7TEP6RIiYNkdOGcnb37m6ELNNQ7RVQW
ILhz7XeglFiALrLobahlg9oJsFu1Imju1du9qI7v+Nuf37uRHI4G9NDJ94rXyq/T3kz1L/W0VT3t
D5AQ5E8TdW+OoIDq9WfQLaLd9OMZwHetQ7+aip6DiOAyyvHPQ/K3tHrnHObtEDgBLHhoAeHF2Z2L
tg9XqqCna1NWuI238lO6zXeVXdjek9yhsRrYyjUVGJFNr+j3EgR2X/EBXHAN8R1v36FDAAFjsKvQ
WIPG1GYdbgcztMH6tgcwcOH6vJfeAhPC/37q/ML2iyAKxHC6ZVCl0hQn/WYBPfxwLQanXHaoLcKD
b5peWOW7weul3dm13Yx5UURVxNgo4umxC9aHRjrIAhjJuB83PMTotx0Hs0Uva5Un2sKg774ZgIpO
glQytA246y0GhS4mDluZtusAyeB8M3W/9CqnlgChL8WY90JMiIOyDFpXIV0y3wudmJV0EEuwhfq3
orLvy7fF3XDr0sZsETsljKS8PttInLZVvUOHFwOUYpqEtCj77O4YNftBvXtNb9zD0na/v5YXQ5yt
JePWXpi1Z/P9Kv/IN9NzL4GBMFYXL6e7r+I/tuaRc5JUpcJ5Z1uRVZFYq2xXY1eMWhitDYI0PBr/
YrNIDDSxBVCTMmAsv94sPkvlKQ+es01XvrIDjQ7vkSiAu8utyrbmmCKA7gE94V/C7LBg+l7y8sL0
HK/bRX1SjUJBn8OSdtWvgL4lzN8IvOxjS/c26aWh2Z2byy1GDvlJOM3TPc+uhm3y9tjE3Qjg0sbk
X128s0yYcHSRwkangwCBBLpnNxq/Lc2l7MOipdnxHkNe8Br5PJqJfhvFRJKtqNXizpi+eH7NX45o
FtO4SVODHtcbbH/Pdrpr0SdGZWw0fiLK+D8kje7sBhE1AahlgMoJQO5ZlMFTLTX63HlY09af+Fik
dTrheBcehXsl2itLs/eLi1uZa6vcs9ttYk31jnYlv0agCgvBURhsBV9NtvyO3/mO8iThTlH2YAR0
HbxPoKtTFgjBpstrNstXHzO73HIlEgL0/9NwzSZOdBrp1G4xIpcnh+qRldkpB3IvlwpoW6EcimgN
YVLNgjVEFdAplx3GaAuuv22wGbcdorts3QBnCt0CtOIkPdCFMYiZN4AYtluQk1lsD7h3tFE2AYjg
e9ICRs0fc4dvSe5I69BptpB3OUzoaIiaoCnqGKLiekD3s7Jn9s2aeobHYAgvxV62WgdpTwu9qzSP
NsHYiRKVWgMOYNZojcxU9xDs0s8cuqgbfjPh4v//j+zl1M+z2QrXIos2HdkSRaEY/Pv5Jj4Mmwk1
vmDpzlG6sjS7gJqo5HkW4A4kRMSnFtYoeN8x9BnMKU3wb26IK3Ozu4hi42iQuZy2p5tIcSK8VzxI
4pczS/c3L94rsK8L9C2zouCxRdKF0+s/1R0UVfm/xPj3b4Z/rMyOiAjdQVfOwc0Y55TGe/6T4FJb
OaieEl/RfYneV7GwHUcg75JhyZe6v3L/2J4dHJZ1B3BwRjRyS1OsFkH6wdVSkPFyeqYtya3fczWw
cP9rTZwlzos05APBj6f5bHR3HeOpKsBcA2TIYhw6VxqYwmEgWkGXSAsAt6KlB1fGxYPFjQ2PBxi3
IP/kOe5A3Jgw2/RHMRp48lWnTzy+yE5uxecGStxGtpPRNWGym2gXviyJDdyr7l99zCwgbCMGnHat
T9vu0zTRPbYTEtpP0Uu+URwWdyK0Bd/cCem19Brc8Q2uLM+eHS+v/CCANIDNAjaRbzjgkBZf0jsO
+ZWN2YPTxYJcJa03LWunF4AQyBp/Quo1X3Qg779tF6s6OysTFoSmOt6zh6cYBDoQb7Ylh1+5+wi5
OwoqZ8dgk+4ohzkE23og8q4Em3iziv2VFG5EZwl9NB2Pm3fn4nNmxycRQHYZTCOf6qz9inICwJxo
3EULF+zdi+gfO/Ps1Vi0UYEUFg0eYsVIeov7xojVdAO1XbUEQEN0lD1fqQpau/7bHTTPZMVu2HMD
fR5jp/uqvGWRuFgY3+TTPZjHee6KCaWEpvhg2kGJAwY9I0TyN1ChoCiAAPv/4CPddRguJnTmZBa0
MlZdh2MhPYPbPilUyI4Hh34Ly2/uDjWZKWEDRhB/4zvdSXkCNTA6/MGvvZiwuRf+XZ6eeQYL3A9d
LfkMtUWHLpof90CwbeLnzM5pAiFJJO58Z9gKL/zG27kI6IuFat+dFALMg7ZQ5NFvAS2+63vSB+Q6
zEYsb7uaXjh2+28yglcWZs91yUdVwXm49SfPINATlV1BxERHShlI2oU45eZAToIuGA0eaxHh+lyE
QhKpAFR5bmtTwkDArGF0Cm0l6biFqD3hA86K0NDbsx15vIFBijnfwZNhqOVCQAFinCDmuZ7GCBFo
HyMSsyNSaptCf99sQnWzQSKkWecat4uAHq/08R3J2XW6Am04FnrLr20bu+/8Aw2cwaxBpd6or52K
S7rQXzfvtcGR6Re9/mwSYm3eX3PN3mxeG/U9Iq/vr+8b/FT6+6B6UKsCKb9EJPJu2Nq7Pf3BGFBs
wJktQJeKdIKin/kotdGUPjuj0bZkSrEV2+2HrutvMSE82U/AdpLrb+ae8Np+G6A+iZuGbNkVuyJE
RBKRkNPJA41XjcjsdAq2jNlDL5FdjU5xyi0WPPfeObo5gX8QCy0THXU46C/qyhr/x/n64g3HUa1n
8G95xh+IDsB09pebqfn3pGhPGOvjpWFuvY7z0kxctjxIFsDHdb00Za2kWesqrV0bol38Uc/hkTp1
X5iclWIIBogC9+ABL7cS1qHExIM+Gj8NmaQoJ1TtgKV4mrzm1giP7Fp5z4+cIZu1VoECv9egjwDk
5zTRnMHq6MTVKZJCC8rdh9AVSg4R0p+gZ8REFtCinChnDxMutnxVzFqPnXGdrJwUlcMWjdgf0RFq
CNbbHqwF6Kvn1gOqffQe/YfeT3OW/6IJDWQvZLOGVabRVmrKurQQst2m8MG8KwkMJLFYyErK8xSy
5/HuwNN1Y0sZYOEyQ9ICSDIfPnbNbtlh0OryjVL0Gvznfu7IkrwUudzcSdMHQKkKP4ABKudw78J3
y0TQaZVe3tgR8hkdaRMSHSC+pNjVSgB1IwklQn2GTw1NxNxsF3k1b8/ytfnZhvESrvL7ImtsFuq+
WEJHAN8/aq4Nmj537J+I5XuiE6AwilO9VmzvyJjiFo23/UGAS1ms0Bnb/0H2AehJVhOcKNUqCowE
audpRU6kV2lLQQH3O32nP+uljlFh8muvntLZ3M2cMZTBGxYBd4NifKfLqT5uE+fMx4EAMABt1ROz
gdiXNW6hSI30/OTtS7a7U9YMQMPKE5g2kNcBnyWZNudEMQmGukOo0tihLFi/GpyC/v+Rdl67lWPZ
lv0iAvTmlTzeyYci4oUIS+89v74HVdU3JZ7T4q1qICORSAW0ud3ay8w1J7JnsJ1CIOU+QnM/wK/h
bRafjVvHUIUmVIUDGtoReNU+3tvG6tpW9cPm3BFo9+26bNDCSCh7WvS5J8XaKnd6i3yuH/6QKjg1
3KT/FsVo5VShbbVwQ5WUvFCOz9CQy42/Vkq6OoPTpy4dnKmLnPHjN8xy6MSSshJMAPQxeQCQKfvS
yI/myJkLwvwxDGiF9xUnaMx7q4n2gtK+IsTk5J50sjKV1v8i2I9ux03P+nXVcz/F4WyJ8UZ38+/C
QL9S5+9VnWpxdxm7aKUmw0nnJFT5yitVW4XpOZe87SBbq6EsnEgcTr3ibaU03rnVUc2+aYIMF/mX
uHtGRXRITq1+8uPGKVtYwkI0uuitl324jtziLg+Vvdf1axfuk6GGK0aYNsxcj7l3CvpsF/nlWUmT
dTWmB3309zWsFwggUY2JlYOuGqu60ZzOLbcDmqqFjAbeRCc1AueAbF9H9Kpu2HDluzE0q0h+VnNI
27PnUNgq5jmDfFiWF5Bycz1GE/w++Usdw67Dd3dFyFU2KiRZVl6TerQwxjTxQr0kO5NUHGyOK/d+
KmxBHr9Oty5/gtWPJTKV6z6w6RNwYqbTOJHRzY7iqA89h5RPUJV4NYTevqpAYNW0Lap73+vXqoQe
HFYioTF2dOW1V9/7Bbyd+rms6dnPJ6V6ecFpvooJ+CbIguBIpeJhsTgfr0cvq6ORyWF1zrNvjQKn
VXyooAyjJqZd1Pr+81f0KoycBlNxYqaOXBGu4Y+DFYi4Z6kXMZgK+h7eV7d50Mtdad5nEI18PhYd
Vtc2DKGSieWLGerWHOwWDiM5YNHrUFlueFGrC0rrl/Q0OOjYokE0vtUOJz3oP4/3kNkhwki1xElX
3w27Qt0DGNCGRswNAkecGMLtDWETeszA9baZrdEEBPvFm9NFcdKZ+t0mpEmyTf5k23ijgMZUfgbr
eBNvoglw/LPCgUo3xeoPLVlQ7v0U7O81z/0IwUq84q+tfo6r79NA0+f2X3Hv1g0aUONWh7dtkmJ3
3IuB+lUKXWF3hs3kQVgX/i65eMQ3PwcP/BACI29wl4TPQXJy29qPgS2hxSStRqQ143uGm6BNDlzf
e5VOOW3TniyETQbq3XRnIrZj2AW4lZYQHHewpvAf73NcznI1MTs365AeFZly9LgqWCv6YB3YTfj3
BDw1V4KDwBg0ghGCJ9Ekz0ntVuDvyeuf0gS9po7ebrSnyP7a8SHfU36JYP/ka3lCJmJTCd6maP3z
+XG9fURM0f7z6zFwcu6lbt/rPCWSg3YpPGvhJP91/yo5k/I2utCH4DnbZ3sUFVbKQd3kcM+49kju
6TL1Ef0aNsOGRkueJNwh2ol+xXZ8xFOleRgEa0GIOCl2Tz8dnYnIRt5MDUijcykPl0nPW3hAjQOv
03OeaNVE0Rv6/mH1Mtjxevrxt0m9+18K3gnlZBmJbrQmOSEq3t0E3JjOTrE2tyrnBJkRftI5Jjoy
HgD0CI3SZFNCulcifWsdoGNZ8x1/u9WAb61NOEVK2b/2z893U9PKwHOcoFHe4yBKG8GuyV0+b+1X
Fc6eYMu88L6VrbYdVh4hvW8fkHtj2TRgnqUzHOPaWP8gCgXIPfK/G9zFDu6e12kVJ75g5xt9kswl
WdXbeK2++vZpcjaBMDL9kGlB3vltWbPgyghNjGCWDikdemL0J87yMW4uNFxgUrH9amqRkfc5+JIl
V+D6BZiNMguumlroYsv3h7N3mQ70+KtBR6p97i7a0doML7wEZxVNuku3BwOo46cIq+y49BXXId7H
r5jn0z0xHoIxqCiBcf+8RxllemQpdwE0ILa4izkYn9vBazDcbMDZqxPmsqULKhUq9w86u453pIJy
NpECuxd/hZfiN9niy1IAff3UzQadRetJ0IdJJzGojpEj3nGoHUC7t6tWJhJ38QXdnk1EiWyJFn7O
8ooy1Iej9HYI3jn9RmoKcjMwsIWwoHEntFv9BwYy/FXE6/hX+a1s7BqzVDrVQ4jv7a2Tg7WBJFMl
AroI5DbVZ/EpQqtVNt7EDejt2SIjN2GOgju++CLtTYoTwWO5Cu7UY/w9J98bwnWTYqB+xHRpIqrq
P8B9IMEy2m7Di38xf2k/cgo1+iV2rHvd3ITnxWrG1dPKvGXgBcbUaA918cxhF6rY8xFWmiB+CBZ8
Pfr3PVp00oWw2v9BSfLvCLZh0aN5o7P4ECe8DatPWXI0M2jE/viix77fem7W9pzmYK3tC/sIFzCR
PgmJYqevv7sc73Lz9EV1fn9HUQDHC6q6U7JGc3VVHZqtsfedDmKy6JBtf/30AU0jq8Vr4m8Qy1z1
9jPSnGvhIt8H9rfM+YaCm24/vhLpDlNFd/20/pZsfHu3elnz/16//Ugd7LoELzV/1oqD2w5xn7aH
Y+4XGjzOUmfYlYvB9BElIzidtDpgZf84/cEy/CQUhBGY1JSNhxhC3n1+fW9YLTAjIjx16KFCsDFP
ahqCEXaaAJUQGZ97RAVf4DChs2/dnP1N4oCKXnsowdXoihK6TFisiXPYf4BC6/MPua6oE8dPJO+Q
hyItQ0T9ca5RNIZFYTTxOUc7pvFsb6Dfrg5OhvgqSulaKitb0+4NourPB76ORal1U+3Ba1Tgbzbm
mZeuktra8wxkxE8daDSotB6bi7HTKL4GD2pIZ9pByID1axf5W63DBdz1e+NVePVAKOKFNYVtXNoD
LeqnmgztKYQbclM8h/R/6Uf5GDyF5jq4iw8qMlExwsbCo7LvO9u704x1U1/gfFyqZt9YSig6wR7h
AU88/vM99ZqY6iOiT+e0SR2N+K8Iz1r+WgooThgvg39KJYo53kJGRr22ER+HnaWrVcOj0uAzrHfp
T+7BD20NgqbwaQpZX/07iWdQk0G1KicVHaB7ce+dwm4FYVnkVOfmnADAu5ce3Y13cil3CQd1h7AF
7KJptIZmDTHo4E64z88mKu0A12BUWOL2mF6Nj9ZGx5enjIpupI5jP3tVysQ3Ci/rg7OPzutpMnEj
ufbkwb8zHgMi4NyuD+od/EWHYlNCXlZQTlcvS3W4N1v62WfM1hE4fxJXehecTSpxIvGzTWUw+9Ic
kqP5CFelcKoO2Zd2n98FuIv3qoA0mQcbHRR5r8H+PkC3VDhQ2N+GR9PcC+A3gjsLWb/t5xdHv7ZO
yDmr0B+JBmQJsP5+vLFhBrxzkBv/bD25D+2pP3WVPWEStF3/u9+TzZ50C/UH/5mYGyZg76ic4rv4
zss3o0GCJ79TrTWS4An/Hd6J++7kk8l47g/xY3tOOKpP43fx5B/JSOSXNHA84KjxIcePvCs2zd4Y
7PIiHPqtehSPpCqCO/HoP4Tnpduk3TgVH6Y58x41168E0WyBfR2EOyKbb9U5vEufJtSKe0Cj8THQ
7f6UkQQ/abtpKs2fNrWhZtLgekGO13hMKO6ZuxBMRX7o7sxNeah+p6Br4O3Y15Etv8JJv4u+xumq
30ZP+TnOHHGxCnjD0n/crpl/mlljIMQ581AfhLvyN7k3SNqFu+RR2wXfKeLc9QfjwbvXd3JtmzsL
GAzFHM1fMLe3jNNEWDlRZsHtQfH746kR4kpNy5Si1tSHM74Bj+V9+qPdLrnC1y0pVIvejzTzTD3Y
U6UhBW9jnuUH6w5uOgD1wsU9RTAIngN4S0b8p/Si7sQjCa4B5+DbEjTzqtTDN6jol0z0iGRmzNmr
lnkguNqQmijFj2M4RbAPMv1+S9Xtt/rmzGbAu02XD9UkOPnn/YxG1Zh54bZAtQ86t81DkuXOP6mc
IuVuKlYWHLcvxUGOADNmiAHD2XLoAQoZBWlIYEIxarAY3PjFXGDJvrkA7z5sdurENhqhgVDGY4Zu
ISqBGzGM7lXrJbEeTJX7npfrTFA2n5umhUHnCM4m1uPUjQAVIZJD5uNf6M36QXxcGGY6QfNVhyFo
0l4HKwcRw8ezLGey3sRu1Z+/Ej1rtul83ZCztAv7JwWuzgbq+yV0nNMPCkiH1DmqB9hM8VGnrMXP
n739eno9uXhZKJs4331SHVM2B5mdqSc+hRqkt2N4nNCPAGv+C4oDPM9vEHfZIjQx69O/uDvqt9JU
7BwN+8vLgYEecrR4/hfwqVtrCsWWBjQQ5jlxXm/JdUFJc1+gthsDQpOdnIVFKu24zddUpfGbJ77e
bJPcWffVgpOqXtU6uEXvx54dIgS6iqpqGDs9oTMR3yPOoCNfd+8eQtyK9E47GrvqEj0Sap0MVuhL
YDg4FA/Zi3T077xzApUoPArjU3iRzV0x9RcWz9Vv3o274ilXeECmovXC4bh5NiwRWBYE0Ko4Oxu5
K8qxN5B0qEDSQAdC2do41P8FrO1tbf4ZZ+a0hEmaKGNI4Rp0x4mOGsZRSPNMqm4BEfDnk7rl42mG
hJNsQbFoGnPrLSV62xe5AmQfq+pd/OfkklwqACWFg6d0ABRwF5xxlPR7AaBC8SW8N34V8Kr/Hk88
jwBh/KfojMzPySB/NV7CR97BMOE89/ARby1/Z24yxc7PaNTi48Gs+/n330gc0OuNKI0x7QpNu7PX
pwKWn+YD0BzjLrw3o5214ZPu1H18bA/eczG5G7tAouN8Eeh4wztmZBijTQ1yqavkdCz1pahbvEaQ
dptn4Q6i3HP0MqBms49O2SmkPa/Z5+fJv1soLr/5+zMzRbOwRdgOkxmM5LMwsgv8LuSr3BOePyXA
tXIna7b3mCfs2UgYb22MY9FTdUsnX53cTX70/2bw7MIsmSgnAKW7+qzkp7FgYby7xYd6WvT5901V
i4kchEh/Hub2Y+n6uly6p/AUXLwdXi3p+n1AxvRn+eo+x0fyoXv1dSAa8PbRq/K8SCw7+XDXX6Ca
b6U81Xjju3uX1pEH1R8hBEBnBx2a2NEPYW6bh2QtHdtdtAUu8B1e4r/Fc/fUPhpL6LcbKTQKcSAA
NeJ86JLn+cmYqk4j9KF7GnwHDSRrM1mtBjJsKuroEXxD9xVYjWP8XkpnXTdFcxtYb5IrPGMIlcwM
a9VmdSgPnnvqLTu56H/Scisd0UkpzsIl4UwSzu5S0NeQXbuX4Ff44F4WU0uTCzRf+3ffcHUl9X7M
QUVPu+/fu18U69nAJlxSyJ6PhC5PrLdHi+3Cm3LjOr6f+bx6Y8CLJQ1hMxxN9GvSdRKtpWQXQmE0
LEWVVyguIslJBQB3F7VgXlDm/+5sxVkv6k2mmSTOogm/TfXNvzc1rDXc7MepDFxsvL2F5NAxOjWn
9GDdQ4wbA8ouIzs9o0+wYAOvrxu8RWz2ZMgtnJZZfCm6aFsGVU7JBmZz8VSpTyjnutU6aNH0QDlq
b9WrhSGnR+jjHn8ccuYGm41UuVHMkH2xl1E7PKpkmdSVxMzHDRzVkDT0jpmvPx/22mVhVDhBp8oj
muTzAJURA1eK5fGEAK/4RY5sIXSqdCNQhu1h6F04UW8S9leTBNSl01BIRVCdvcRpXGhVHzBcaqDM
XlelnYr5t6ysf6t9fM93fkuleB0p6JIUPsKJfXGfNSXVIW3YiZ5FagQq9AKYqhN7vbmRpeSUuPWj
UIb3vSpsKiO4C2KB+rz40wMopiU1jmHmUa/yKGz0+taCNnbItD2EUutKHsNVhfy8QCV+UIe/Yn3s
Oqpl1ikKAQIEiMUU3ms10upQWo4QPucK0nNluVZ7PQFM05PaVPtoW3jmNtCrOxMhcbetz0mf3lmq
sIpbaeGmXLOK4lGwbhoC56ji8mJ9vCljUOrmoDbj6btEZZTepxeFiHpccTxD9xL1m/KPXDkNch6L
JvjmAf1n6Dl2tRljQ86SFr0v6dBUvwRvK3rwxa2S6mCZzlDDGiUpB1J5n5/Qa9jX25TJ1E1c1UC/
ZsZBdHufzq9iPFW+Y8lftG4Tmw9o2VWWrWZ3QrbNm1WTLSz0zXsxSWpSJWdgceYPFHFdoZSejaew
PtTKymzXIgnJckV3aE+PW78w3I2aFPv6brxZoqjVo8KoNW6/VW078bkzVn66kekyb8+BH9lufxmq
fXzQ9bNsPCws8M2NhaVfhrQUnJY+c/ikXqgCv0nGUyNuGdjdUp6xaHTPdrKL7MMqJ49P7I9szOcD
31zjd+PO3H8Bnc/SM6PxVNN8qgbguwFcDUO/BWgjsOhy7W9k+cfng77BKa5M0LtRZyZIdY3SEnOQ
pFH01NfbWl753TYlEdfVm6J3KsEmIAnKs67wNx5F46AY63LxgVla89kDoyUE4KnIVxQZrS+j5ASR
sKmVP2m+VyxpV1gjN8patTyHufA3TRZW4RqsPF0qi7d2kqmXUef9aEeUZlAL3wo537EjqetReJHX
ubtNrb2B7TAAwRx56zx5FaNWIK/4b2HPPUtch8cvX2Ldv4aIzT5ndt16KbMKweMooPdTGo91nNLK
aQvYaMsWS0I17BtnMMpX5hJm/dqvnVZiEhpXJ5sqzixqGei6r1QxODpUc7R15u804yGN9zpiKe7S
Iz/ZqvnhU4mpFCgl0MhRZrYsiGSYkiSWHVZ4Tp7enAYCiejk1j+KapPCM07JtElsNzglcJ033n2T
fl24ADe+gRgLaLOB9p6EPuLHrZ9cm2rQWesxB6YhvVZmaasdzrwOtEDZqpNhrXtgSPfDuELWO6xE
pwqXdJSvl514nAiZnJ9FcujN7X7n8g1Soip5VZAgBs/z7IbgQcDS4tj9p7MFcTjJAKiElLJ0FY13
2hAJlmWQ/GbFu6exPwLzmliS4TuVfzS5PXbT6T6k4VnQ7wNpIRtw/XpN40/5IAU8Jw/Y7KLlWtnI
Sudj5IytFcNN0wMfcZ/UHOW1LFoNCgvv+cdhpDdgaBcyi9fPytvoFoE8lh0S1JmZscROqZpReJs9
HtCQrT3xEMOb/6/bldTbyDuaRehwuUblaWHtr/Z4Gn3yo5F/gYFs/rAUmZ+Vg6iFJyk4wbIWVKkt
DdqvUOoOepVsPLc/1FprezRdFiLg8yja1OhjBs1F07555WtTqSs/BDW88F1Xxnf6LqTwiKapaF4J
10dZJNdhZKJshAp9VT9a1tbVLgyWBC+Ge6kkoF5/AREsn4aruGI28szOKXhQPTs1nGr3zG3nvcn9
TQg6aHDUcsWQY/Pt88m+HbAPJmc25Oy6a6jb54ivUazLvG+CFDw2VrkpI/0Q1NVBjcajYTVOXHsX
yUWCzUi+Cpl4UkX5t9aAoRKMVaFEu0Z9rTqqi2Vhl239mmfZ1ouiu6aNngApL9K23zw47zZo+vk7
42AWvdapcQPjDNgEY8XjHD3moOY4G5FdvPjqdy6ujt85rIFkEheBw67Tx9Ldfb54t2/vuw+ZPQ6W
W1SpHuv04dNLDn7jmOdroYbbER5qxWG/unylWdnCM3HlGL1tGQqN3B0oK5TZKanTMdTESuKUyKu6
OAjJGSPFRPuXsjjJ/mZhkrcP5T/DzU5IK5Z+Yw3xRCnj20JCvdnIt0l8kYkrzIrgZ0QqrCAvLzx+
PvI0j/nRlGEGpMRl4nzOn17XS3uxRSjhFATaH6PB4a3Tc2UCylP9hQTfdU2NNX031tvP3x2ptAY7
0XjKcOrGO9rBFX9TCNNLp5CV/cMJ0rrt55O7sYkmTw60iybIOWseLslirYrDwIC14lT9SsCnlda4
Ul664dDk6sKZmTZptpYMZxnQ3JgT4nZ2UnUjAKLii/1J71GGFr9XpriN2z+pZB7K4PfnU7uOQnGU
/hnMEGcRg2V0suynQ3+Cl+hrU97XPGItws/mPdJMTWf3yB/HyUr30JFzFp3nWybtw/CzwMG3oJws
VYavVbII4wbPva9W7Ko2bupuoxYX3rqw3uujwzuH3qyq7/71zOvxyeLFHaU7xcztpnWMe22ph+w6
wphWB0Q3TUqaOdGVfLReUPx1upqwFZJExFqZdme4TmKWg51qkqMoUHOjxDcUkOAVDe9P7qhGv6qt
YS8O1gYfkXLfkgTMzePx7ptmJiWtwyruOpYMizqlQoYVrw5+z6IrvzTQ9PN390zTjJbApeunYJJj
n3mHyZ1M1660XjiESyPNH4muscy8YySmVIxrv37OfjTlLw4DUzPUYcUb0aM6VW+z+8a1J2MdP9RU
sRe+YzptVzfv3dLObp6KTqzn+n1/0qBu2mu/igcDz53TBeEwecwH3PnPR7xpWVDvkghcYLWf07r2
yShbac7Eg2H9s0pXEpS10EJoax30ZLuwzDeeYg7z/wymza660GRuUmgtdsVwkHCO8uPgHVSw3Mqp
SRbITpfGmt1rwW+tFtwq9xrl+3jPhfZ4ZMvJZA6Lx+fG4/NhYpOT+O6gTqWmQhVYRb16DPec1ohS
nHkImjs/dFxgouVmsLaYjVjfWH/KZiV9+y+2ER8UdQJZIck0+wBDY7rKIPWwFnRbgZxkYpFrHjZe
CkmvhhZ4WW8aPVjYz5uH592os4ggLYI0JCzsT2zmAEhznK4JR3WyBdhqbSn+ueFcUA7/Z5az+KcO
dEWSZMbTBRTYshxobiY/5ukXscywdxKtVoLTRr8Mr/j/HXpmh+UEQtCiZ+gKHeBxQ+KQ6BprJGd3
JPHZ0f/Kvzd1ComcLCjn8Dc+HipRrsfaiuX+lGT35fCEi9/bA3KIQbsmN+rHgb3oZ1yXxqbnhjSO
LHNNRW2Oa6Hr25LTiBtKhItkYfrcWttBgBsTDch847HN8XetYcLJDr31eJ2NC67HNSvG9AX0S7/h
cDXdmNn81I07sdKnhfYdsYP6BJEef90C2u4Lu622o+t44QmLgQ2Wyl+Fu5scr+YxTb+U3UIm9eb5
BkQEYpXGU67Vxx0oxnDMaxEbEuSGU0qYkGTvj/6hNp7J65W6tg4E6/Xzm3z7xX836MxwyX1vCp7E
AkyPnlcfYln+XYXSV7JsgQ3p76aLv/ehZwcJBCVF+FCFipPF3UvfyIcWvd0g0v4LU8quGJPkInVj
fXbNS3HshbYngorGfauvy/xgFju6f4VmVYbbhelPd3j+Ar4f7OqOp42Sugw2jt3zmD7LabpKi2xT
FI+CelY7aRV39PQYo2OB83eZfC1SSDEWGgxvRWugLP+Z9OzCY9lSj9pQf1KTv97orghc1n4zrlJS
1xUpxTEVbH3w7FhHrhvPdGEZpl9/tQzgyzCfXAKuw8ejp5uJ5I5l2Z/EYkPUSrVKMg6V94d06vQF
ljUZH8pbcvfXVw86wNilVP4tlwg7QKIHvCnVy9lG6IUcWVnHRrTuD90nexf/oGqleNZ9KsQLF21p
rNliK5ExBp1WA+tUvvKKGJbDM80TYmU/Ftb1loP1flYz39VHxMdXVGbF7eLJwqiK/g4frwWhwTFq
t/8bU37LjrwfdJr+O/fA0uuJEOZfVrU0fo7Wrgq/mMGpGJ4qdyO6S/HpzcMz0VORHgbhP0dBKp0c
Bz04uZMoDWDAg23ZAZ8dg63ZKT97hfifY+TJ2SYfftTZsA2U+hCI6WmsxUuBNvjna3579v98zWxz
iwhJn37IsOj1D45y3U51kYr+3BCes+np/Hy4a8zR27VFoUCB4klHKuDjalNOpQxfk5GTvBXxYktz
kkuddk2CbExgqyisxzIiOfGWBiFXmbZn2T0tBtE3XzILqAfisYCBrjKDhlj1Vhpk3fSWhvJq+GsW
v6tsW0CHRPd97VAdzoc1SOuu27jNUw2jHPknp10MKm4dh/cfMjvzUKc3flbwIflwsegFliiClPSu
kjD8vx6bIu0unvDDr36NkCH/XNiRW5fOYi9Eel4UOLhm0ZUnDvJg5nF38nynhPIEtnLfVqVN5u6E
YT8gVk8n+ZL9upWlAQAG/YoOXy95k5lP3AaSr/ua0E6jcu6mFKm84ejJ6hqwCxuvLTqo06+cW20L
D5XLLtMeP4+mwizM+06k+hgVsSOP2GrTR8beGJxYaGzVqteY6VFJNkqG+yS38lqSli7/jQfUwl3h
5FukqdS3h+2dscmyPDci1YDnMTr8+7rFR8hN5fouNFZjsqpOwrgdaTDWHWnx+b6xAh9Gny263OSN
YBZWO9UCW+tHHG+Eal/RfqsdcNvK7Ji42/xxMYC/YWM+DDt7Ls3G6CTF87pTkm5DNK9h027/naaR
qMMuYk+m3zfbaFCNtPoAaaTKZsymWUXNaFaZ1J40E/aEoLMDodhWrnpoCxqMXG/jiuEWm78KYWVB
/hKShK9QqGwHiB9Dlbsf5quqGh3Z7O+KdNzEWWqLQW9bVb4ORMh2tWqbkp3tBe3QxsGDq6iHIIqP
Zqc5uhkeMrHdUvN6S/T4Wb4XI3p3CkE4N8Jwn44JUXXxLcrKtTwIni3p8R0uld2CJY7Nducn7ZMS
uJBVwn5j6esaU2CqECZqtf351b/xsH9Yp9m+9FWdmNVQxbSY/WzcL7X+XCoPWvgrrRb8tVsHQMNL
AdBHbQgY0kej77dRX5dG2sEHkBPww6P6c6o8v9n45SDlhkUFwffPaHPfqA0L3wwZLTJWHpl0o3aU
gvLByoMZyLrLR4cjYVbHoNsO+mNF2nSx6H8j5cD7bkhUeGizZpE/TjimRQZd2Kib4iSTjn3ttZZe
0nGlmP9GHkRkMc1zZG2Y/tC8YOwWbc3NRcfJoD+VVDHJ4o/f4IdoAhGttFMFalQR/LT/lQLQNScH
oE5y9D8/Tdq78WZzNuJaMJNxiE9K/2opHPhmxy7YanOJgufPh7r1esAxpPN+U8vHis58NjFrGrnQ
lPbkB49htQrKe9K/TEyUVmnypAVf68XX48Yz+WHI2XLShtaNtGy2p7YBrjD5/LzSKqRaMBtpR2AE
vFmL4KRbZd0Po84WtRkquHAClffCROL+uyWv3G4d5mvmSlWMjBleServGmNphW/Z0HcrPMe2C0ZS
RrLLdLXqIFu5XYUucT6cNFsyrUP40o53eQwfnCPEOz3bf76/t47u+8GnvXj/SuZhqSYmBrzSj1oA
9lWSXrPAtw21urRFsjdhaAuW5I5vuabv1/qtherdqKlualmTMeUKRsFe2UAxFiC9gSJHs/k16pQd
npJnUSqBbvDPWoWQLTlXSy24/4+zTROuNkX0eKcfJ5+3sjK6hsi9ZYPp1ZJh0zpr8o4gKLB+TpXj
7uHz5ZZvPQQmYOt/DzmvYMV+JqVwDeIXlF/N2rhQmXNiOdyNMC2GOrQmroaZkoPASQvFGYxhq+ey
3WvCMUiq175HmiXN/zakU7sUEgwhf7EC68FTpVMdw88qoaDiQwlQxMcuqLZR0tx/PoHb18SgPKVN
ZTjalz+uWRE3sCZPByYs9kB7LNOuqEk4vuSkzQYHj3CikWxgTYte5TW+Ch+DRMT/DD17bYBdWWk4
MrQcr+pqLdIQlDh34p/ixYX34ZvQ2yxZNGyk2F6331/wBIzUsRb5Rm9kXz98xiyu8tMoF5WIwytZ
wBiBT9pBvy/ML27Kgwek8cvyQb31zsIvxOQn+kZ4vz4ueijUo6zB+EVRd295q1a29T+iumoBijZ7
F5IX5Aj81UhP567uHK1ccCquawgSVAicWsWkV+EqkhQjM/BSxaJfRDv6mmeDvSGS27X1TyXe+uGv
hSN2tcAmQu9wVJpgqcD3iPN9toTYDMUOJi/zjvaNjeVZ68HbldW9EE8eRTzxdZEN1VefD3x9wKaB
J4JKSr0QK83bMaJxzA01zumbhStLXws4L67wZ1BgTRopNMqxHWYH7LJIFerB939rBmiX57b5poxf
jWSklfNJch8//6gr/2b2TbPTpjYWr32TJSd9cKR6bTSXMb/ozX8MapoNM4uNS1cgKtNTOtZ+g0D2
aZkfTlm4xQQ3zToRV7rrtJItwvMYrj+f4HWunaGJ0MADk3KnO2pmhdvKiMamByoh5k4imlt5gGFE
Nlah8uIKwloMQ1uXVnmxGfXy7JqwHlJj8JHq0Qvd+fxbrg769CnyFLWy+3SPzk6eoWhuL9HZdprY
DDOeYtiFvJ2cnOr6Z7/UyH6dWuXhBQYNSFgyJjWgWVrdFRtB1kXcuFDfJdlv3Ugc1Na+Z/B9SuuC
6Kgo678+uRromT+f5zU21ES7ErY2CD6I0K/QMGrv155k5eHkQTbQNDUXJS2dtniK/GSNuKU3fPFB
lhUx1BLKYjfctIwfosbZ6DOfMuoqTSTyexu9Gh6CP53ylA1fBf3g1XDA6uuhevAqiYrhGZShU5tL
rB/XTel8gSnKKtI1APkwah8NKk0bbqSZaXgao9SuisbOZVqQ4sFGw84Nj63xx8weRfmpdzs7Lp/K
WLLbdHCgYrbb8miga6j/tfJi3bv9by2r1krobsqhWjBIN44jmtWGSvMrfL0g6z5+JVJ/Sg7jRnDK
DRiUhMdJlyV8NIuDqx90nr+FQ3H1yuCYvB9utihFlmi9aEzD9bUDpx2kbOeCDLtWRA4hRmVadg9B
QtO1dus/pyOFL/l7O4YvqIMuXMQrN2n2KTOrZzVFD9yWTxF7mk9eY+B0OWApunCZ+sK0l1Z5ZvpI
WPZlL5CG7odwrTfKNmqzfSi5e5mUge9vAk1acSZDEJUeVqqhN65oYSUbh4MbFCshnThqXOs+X4rl
b36YPDEmcwBUiHg+bn9g+MPYqdrUtProRusKQGOOTHu2RY4n68KF7V8abbb7backcqSpAd0Saw0m
6hGq0/pQdVvdooPAX3Apbm3wxJxpQboj82f6mncRgNIPSA6OA5DsYRfjaafFodWfe/lQDgsu97WX
j59Kfy1GfWr3g87o41DknqeyJka9LEfi13ZXKcGOxsitruCzFcekbE6djBag+XfhZMn85o92jpHJ
SlA6ArQEXvfjyHrY6dgXRg6AIAyl6EgWfKS9vK7BYLDrqy66NHLk8Eac1NLYFt5SpuDaXZ+cdGZv
GRYkQ8z+4ydYWtbKYmZwhtjEEUiecaclmU0OKrVgn/jaKL5dCef6MtItvuRVXB+pj4PPVp42tEJQ
LPBhOC5JBgNs8jOMnzjArQjNbrXwqF17SlyRCZNOtnfqBpg9p7EsBiqKauyzcNCMcww5cixvJW8p
ALg1DjzqIq8GcGdFmvsrSlTLyhDgkVnrsn4I2p2pPS6u3fUFMUi3/M8o86yAl0SqDMIsoRR48KLS
8eq7InlJgYy26oLzd5UD4IzQIMoJAXFlGPM+7UbPM1+s3fjkDrtEeM3GbR5/Vb0XUpS1+0X4z80a
wyk6IYUM65E57z0bSh/6lE6JT+3w6pU/XDd16ALtEAAM1B/6Yor6xh2ks8/kBlBygTfo4wWQpEyz
WlFlcnGyzQp5nQgvgn//+U2/tVkUiEmTwSam0EL4cZA2STO5dvv4lLbaCTem0vX7aasGEs1KtMS6
ok73Zm5XUNwjSNHorqfJ9+NwpR7mQulF1tGMnzTZ3xeyvgv1O796LOTnAoxIqSfPMD9nw86sSxLr
mi2JHUWYnd9n/4ez8+ptWwnX9S8iwF5uRXXJvcY3RJzlsHOGvfz689AbOIhlwcLewEKAZCUeDjnl
K29ZW0W7GcLuaezQeo7kcz3qRFrdgxoom6oDzpBAAkwQ4U6y0O9kd4jHcqcGdzJ7zwdggYq9zKzB
D5Dkq4IdDga/ZISwRYnqqTWMx1bvt04SH7jRVJ+gaf1/eNVzIspbBgx6mhzKidpgr2nZUaAD6Ox1
W9nOF3QgV7LvLoz1HZPLzgD3yy9cvxoWEF9ftBZVcRB1lO0LFMTs6cnjmugzbT1CbOljMKjKkutl
MaXxQTFxj+rBRCThWurdhXjoe2jm8LpmHrc2w6A+xaL+uS6t0KiGpg2z4+fhbb54qNpczgrOndeI
EMzS8iiHoDD8dbrgbYStdLIlKkbrRSnuzUS7BTu4Gz1xNGL0G/psV+ntWlLK90q5Qy/7rkjyZRDF
G8u0H0cN/SzLeq/r4UKWeG7Jg/rmCkP9Yyb9fH20viziOnGc9Bi5xICgv9S6ujDE2dnPegQz6Ejn
e38dwkIOgO6Rnh5j61V2+yB9JupL5yrgtA8vXY1nP+hsIcBxi/jf6bEE/9pE+09Dc3CYFo39NyTb
yhzrwpTOnewuvhsw0yyDmuN8lf2zbCKvG+xMJ5WX4ZJinWoviuaQFvex4TvprhOXULRnzkEcPmj5
GpCAiFpOvlIhrCwrEsFXqqzFnM/yHnucO1TfkdaFuP2T135yClILo+eiMTEkvk8mF6ZOA7I1TY8V
1paLzkZWZ1LXWqpv1Qjx+DEUm7YI3zK03axu21IuSuzfwQg7STyaOiC28dBHtBSGGlBPc5cO9lIZ
nE1CuNtG1roq2sc5I6wSsQxj87bXw004AydafjagJ1WI14JEvSCKUiFBLLWiQEEVx1I/TwdMEeLE
JUlIb6Oop54cXUoOP6vTP81//hj/fNxJiasoLHnZtaa+6oq6aVXrJhuVbaDa0AVc8zrMhkNiSTQX
y+04/A4n98UMvG2E1Yujl8+t2vqBOy68nluqQStPpU82JCtgUFdumK9boR0VL4Sjqq3GIpeL0UmX
0aRt/9cn+gzoB16lgw+Bvfh1HmHUttJMlASsd7ZqKvjS5nXQW8fYaRY6lcafRzuzy/8d7XTj2VJt
yx61dkL+fdNvxOCtiIQJrSyCU/Sbfh7t3IagwqCiLEo1idvk69zKxIjaCgFbvhEmyeXvyLjR5HUk
01kFYfnzWGeKOlwQlIhVJN8sOKgnuy+YzGoIUjM5tqnp543w+Xj9okJuZBEScMfc7WUbvMQyWee2
faMF4Wz8deEhzhw56AlwAsBlQfv6VFRn1GisE4Ulx7mAELnR3vBA9gTJL03R/V5SNVec7ZTpNekI
fGg9PhZRuTZFeSjHaq9QA5xq7VZIgUJRK/DRCZ4vPOF8jp/uGwxcyBNIFGZ4ytdvomqdHqHumyBH
+jFU+i4yaKHKAE8bM48JksK90txL8uumebpY3D63/P4d/OQbQafS7GkA/GN612TZmplvohY3OAMV
f/o41SUdvDM1bQcFAlIVfjLkBu9kBWLVIqsq6xOkdpqVrQbXY1TsI6QJFkQAODDUhW8WMT2FNPTn
XnKupG+V4f4ZFQOPLTe9qXIHnGkTIKbe1vFCSQ3oNMoyubhy5kj823eZ4xsKk2jEnOKUdLMcPC9t
eTW2sUtadweChoJosaoR5tFZPZSEMCQOwPVfKn2d+yqUnrmNGZ7W3MlLynqitqa202NZ/Ymnu6i9
5uoP4nste06rh5/X33wtnU4T5hrBDJEM2JmThKRTyggHkTE9Svcd7aeFEq7nAzhAkvTngc7txFmN
d+7TzebOJ5NSW8PpgzpH3GdlN5Bmiqegm886ki3RpP7Tz6Ode4VwxHh3My+cHt3XXRXjtq4HXZIe
TVhCdbEPA+cwZA3QVVC6abj3SPN+HvHseefhWYVEH2V00oGvQ0qkRMLGgOk/DgFqJfGyNsMlli5L
InUXWILemitpaStdduBa1bWUwfrnRzg76X+e4OTq6vTCiOBVpscUtVizxUt23FMP0CLo8OLq4uF6
ZjiAGMTABkwI+OcnE06qzq10pDPn9kQSXkMgdrHgSHctsOz/NWLJdUg05iCOVECnbvb15eZhZdS1
NdfodQKmg5490/GjM6Cq9z+/wzP7YQYQcWfgIE/d5mSgWNZ2rHoZMaNRwaTfeNP96LzX4Md+HufM
VWzPRn7QFwzg5KcXf2QKJZpMbsdQBVZCpkZU2iq/q3h/saBy7jtxAfMftT8qHCdTKi10N8hTk2Pp
WD71GyfYEdNIw1rRL/UuscnOTgyMPm5kyBGgZv71S2VxGZWZywkfjCuXk2RuoxDvWkS4yYWq7bkt
Z7MELRoFYOHRjfs6VqNZTVFXeXKkTkTfSDEznyCKaiK9ElAshLk0SZJ9TJ+kLLY/f8BzC+WfsU9l
sqdhlF6cZOBmi73UBeCI94rOTY+E488DnTk44RupfL+59/LtIhIiV3IlpmaauUxthUzboL2XH3PH
u3quEL763w8HhI06w2zMSKXh6zudMjsv0zr87HU44XVJm4VTWsv3je2nOG2GlzSCzi2Yfwc8OUaG
ti9Kr2dAmn+8ywJR8+ma8dzpwtb+PIFP7rpZBo13SBcf7MLJ1BQnNJzApoNhTxhlrMrqIx4tn+4a
x4khbLq4z3p8B7x0KQbhu1UKm8zz46L256RKX9ZxKGjBL3VFrqExIqlwExr9Jg2UxfwdqoYazI3S
XlhoZ76/g6+WgVcmEm6ox3z9IHrsuXVt1/GxTwIwFi+UrQf7V04lgIooqJoZDffzEjhTDXA4YzHP
Inqn3HRyYPSKVF1hGtEx7XXfK3WisKf/S32cBrbNrlU1quTuybRaTx+zJJQRfZBXrbijoOypCIar
7z/P5czqmovvGqqanHy4pn59e8CSmowaUTQLlFjJ7zr5W7k47HjWigzr56HOtXZmDBJdbJNFxj31
dSyhpamVWnZyzNTrpN5w8mWJ7yDYyZppq0M6JgvjIrB8PuNOF7VpAFkANaYjuXeyfWSStmYfeZ+q
B66GI1LjfhIITKxv6lvgpnnjw+ZQe4h7VBYuIl7P5C+sEN7wXGRBZ+pk0tHgmLLqUYChXM/lAlxg
QLA2nhB1pali+Hr4FDpX7qXvioDEuYnP5TekhWATnNbgRGxDgUsGrrWghIwNKM+gqhzEKIb2eBw2
4YdqdQfhFe8Jjr0WEI401327GHdFWW0HTb9DG/3RFvK+pyycDK7vJgenT1ep99+8u5z0I6Mtp2iO
Xwg4u9zTMYYfpXVwtd73RmM115+ppi1kr77karDUvGmfkc6Gpntn4whAPLZI6lcOstBKFzX/qoxv
9JYjBdSUJuzbqUt3Vo/veYiHsBPclLENXOrFxMsziPRl7lh/B6G+VCOHcCeGReoiq13fEJNoAE+i
IigWDpDeKgxvxshNFxk7qB3qTZxyOKGpqCX6IpDTJ4j9ZqBBpEbSj81ip8dYhaoJ7WLb2ihduDZb
xTcxYlQq6z8nbRYWr6WJMj8bqmVV/TenWHrer8zuIVCeKjfHl82NDvPfVIphlRQwjCM7/xP3xavT
y2Mb/1YsbZ2QQDY6wnJo5uZAgkWL4cE4HSIFZzd+em7i5dW1N3UIiCqCOFg73a6B0tcVCvL7ZrYN
MQX6nz9gdtRDMr5EPLbPeTP90qFSZaM0Fq5VRX7ghRfKld+pQgS3VEn+/wo7iadbL4nrwCbo5M2l
wbW7ieztSBkxnXxX3+xyAG98rRJzzRTVnBq7S201rxyC7YsNuM8+3uk+J3PWkFEDIYIN0NfDxS5w
YNDMJJnb731urQh0ItqKubewOV5k5i2sbJE32+7jr+ceZ5yOau+ccR/Fw70AOnbJjPpcNwJ/ENwL
rBmL554SoXuj85K+mrKjy6orifSkYtzMISZ7H9CKUgq/lGIdR90mG39X0Z1a7emLXDhzz5wCrkWf
kAiJu8Q6RbAaXQDhPIyiGZCmymuACVNyY5TNCoBG3+6nKFw8GDl2RaAnLgx95poEF0Kgq9t0v3CT
/vpFejh6VtSMeHVmL9E6bW+q+IbYsxv/kncRzrvtpqOsxtcxu7VMb7vh9ecnmI/2kyXx5QFOloTS
pEZbk3UeNQy46OsJDLQAohZ3rL6LEIkzICWH0Sik8Sux6CnzVBvbOHC0IYRcs6nL68GrlhBUmuBx
BixlXrxNxX3aWm8q1ehGe+OoLEZJvpEszDp/IdOoTfwuR0rjtyFsxrjBbOGSxO65NwInXIcbYHAP
nxZt8rnwyWIPj42yz4EHFnTI+Co03p0ed0flkjfX9yQAGiHYLfgtBhIPxskXwGoUmhDuXDMUlaI9
aQco1OhSYPF9VtQwuN1niSEU/U5vuqZpdUNJAV1n1ZaDpyXWJK233Y0xXKUXL9bPk+TrsgKOZsIw
mqmaDHoSJidJjYiZVkVH4VTuShOiXLrcbqOpI2qkpwIseI8B9+D+tYL4RbMKtr4ln0NXdAt6wdir
hvEfE2GCzlD/VCAK/a7Om1WvNc9K091rhRPc5nbKAQWTY5G2+BgIpE2GQQGTgWic5HfrqU+QBAv6
YwD4fEKsMCgh2mum++ratVh6QqZg8eWj54XRa5yP6gGRU7GrZxE63bgJrQzb0HZ8C+rgRZTRr6yw
mqMxCdNXg2Ymdxpbc6Kw1lbXVdlPuPYY1iaP8Mn2GirTZteBblVyDIBdOi5o2lWrIumudT0e/CTX
7xTN/M+d8j/SaONNnE23rV7dUb6vF+6YlZs0drlMG0+shWJd0fZaxwq7YYjFW+4VH3UguLHoIS6T
tqp8NU+SpdMTMbGsV7FOvuq5zTWqWgFPIq87LW59XINndiqydbqFXHLf/B667B2wmLEMU9HeqJlU
uI+C9rqouKECO/OWbmZoK/YDzpVGPa5MfdSWpdk5qxT9zW0yNhs17faJTaXKriVYJJnv7SFvFnSz
sMS2kpqXKBBGF1xrs7PjrlEdGt11fJBu164RBamfvE7LaIA61Ya7K1zr4fDeFk63cBsaYaEkZypN
EIugjOydPukhyj1x6qd5Py7CrnmN4+RtRBSQiMJrl31rocoZa//FkVE+uVoM8TVqeI2Z9l6ESX4/
KGg+pZOpLuvWzK5Gt8QpiC5baho8gD4jApPo0AXWVaag/BVWWrDGQa25K6f6wSh0pKN7t/dG+LYF
4PHBkaW1yKL8wTNpRKlqKp2Vq4xwIDpJCXyiHTdpssfRkILXn1JkeFHPh4kE+5jZ7tZSCvzL1LLy
K7WzrprsslnQnG992ZAeyo6zeCmlDryLT73ZUrVnF4nEO8AYvo0rJKkz67Fop107XlmtfSPitKc3
1V7nles7FEIqGyfSCu+patr+fOV8S6fmR8FaR6NBRg592pUewsrz0FzIjjV04chyFhpLhJOIG6ft
4gs37LfMl8FmDTLoyTMm+xtn1uzLISN1PGTWPXkF94udDz6IV6V9Swl8+vT159l9b0+cjDhHG/80
MYNwKJVgdNxDNw6YpmMdUn0Mk7N2uLdGLV3nSNjYWCsXDu6TdGNt+8PMpl2u4rTMLRgOL6EVbFrt
PyW6y43mwsv//j4w2YGsM3sbkZmfltYiWJtVC7TvQKwTI904AFKaohvVaHzT/qCSZyQXsFj/Ix/6
de1xrVGj5IMTCNunoN9cNxsZi8w9NEjJYj+jLyiRzDKfUhV7N+33GuVsUys3zYBpR0cDq3eDNfJo
S9UA7zOQlvX6r6KKDnmT+bHRr2r1zWOPWHG8SWvzd1Gk0FXEJhDhmsokmgz0s9F1D5pDDfZzSqvj
oCW3fRWsFPhQMrL8SsLH72YHkS7c2WRskRUtxYiBCl0jt8M7wtUXIma4jvxkCBZqjvWM1G9lJHa5
Gd4bZoXARPDHlP2DHSUPTWJsac6vp9HaiQm/cv11AuPsZR14KWAJpR4vWH0D0pCVV1JJHzZiQne+
tYtlmKk7BOG1abgaonEZuw4eCtOtyORVhKN9nkQWryy7F4mJ907gp/pbQFOvbcrtZBr7RgDEdN1e
+L3VLocsWY+Kvg6afCOlvZd5dz+/w1zkK68OtnACVzkQHwKoY5k7W0UUu3QM12pnY2Ee2RvDlquC
Ulae4I+cmstBjdZhjye0N0Ga4OhrpwczwyyaZMuLcd9102wRIg8tXJ2UNy4p86GcG6NLZUB10e7m
37pu84bbK0wm+ZQ62rWSwZBrOnetDLOAF/+6UZP3Smq0jiodIqZ81Kb64GXWncHKcM3kurGjrVWE
x9GanqU3PNY0HAtVu09F7Tu1djDj8J3u7bLOvMcxVJ9ln7q0ie0SEaF6V+GYBT/7Vzi2tV9YOJLk
3m2iOCpMGJiYbMFk4SrF31yE16nmPfW5cmtZIzpIvQqcBXfJvFVXRi2w29G7ZepUq0htV5YUH0qZ
3g1qek0DWz2YtPV+PlG+14Q8YP1zz8LCXJMexsmJEnbwwxFvsg+OvJt2nslb2I3JocfJQLmK5DGr
3i6M+MlyP9myuMoBYHBAns5Y26+HWByPedHHgX2Y6nKhD1D8eVuNcO5KSv5qmK7UIVuorbZtS0oE
4q0LixWbOu/sDblLOCKop79lqvfETfBbhwLRe9l93GudP+j9i+hDe9WijzFx1aoDuX6G1Tm8qKrY
iqZ8mIHpMqUG1XSruPqdNO5rK/MDiXLkmeuhqNdT193OeeuQZRuZxruwhtAzOFxh1G+M4a/nBKuk
jzdq/Bc1lXuXSkullovGmFau3W2cSUfgMKgJUmRyo0TBY6irK8dIF54FEcspoa6O/a4yivuCAo1t
QVIM5EuQmX6BroXBedU22IrbvR/AmWiVcFeMBR0sdzNSYXUoBEkZfUiLOk1Y3LD/V1pjrznnhJ/O
cbBrbPT6qQq0TSIztHPpo0wfwLr3XVGuLdl/uGp/3STKspbl/Yzax1vG1+HvpPAGqA24IW+47RYF
G9nOLZ/9+NBOw3ZuJmsmprO2eyxTBTspG/HLRhnXbarc1laxyjjTICgdC1xhIy2oEfUuOYDMm06z
N7g6rYFbrAwFwJiOo0AFsLwpSYCLuVNuqtPWSp2j6sV/sWvbNwns88B4qNNy7dQYBafJCzHyRlej
97RqfDf21lKjfpCPh9Sl0lQ0lun3mv6fqeGBgYas9NJ1aA2bTNPeqjjZZJaCtux4Q8Pw3fOSTTO2
L7YWbGKrrhBapvupyrVB6hAmxcH0ps9SFQfXSiAlRm/7533wLWli45GqQlgA0cbmOyliT6430KAK
rEPfvM91O7xtvJzqU77Qpw+RXYgcvpVnwNOocNKJU8C8qN+AoIGah2JMKnlVIcHlqeUSev4x64u7
oFHf2EvA7INWHvWquamTbh+pSbBoymJtTS34dzNXEB1Ob62gWHldvyQRuRBLfXb5/j0VPh+QsjRv
H0gOZYuvp0JiTKE1FlJeJUH03IV14KOv9jS5+u+wRu8nLo41CbM63iAVvNeNZJdZ003qKTvNuWpy
dSE1ZxOFzc6RHuQT5yBLoNmkgZW5lRmHOzScOKf26mHKTbJQy3FTae5VAtJMi/VbPU9VH/jqUh3i
96oXo/+SsP5FS+9EkJQ46atCHbciks3i6Vm4Q7O0FfeVTtXr+KlfrxgVhDzTWJg5Bga68zxiNL9w
88RHn3pTG4jBEb4hcB8X28kG0ZNk3RtmkFdpGi1Ns1m5Yxwvm1yvFnkUvzhN+QZw8JBJeXD08UrE
ZJTkKUenkqi2kWOY5T2WGZvKNu4i50VtHJSBhsDnSv3PZfVqjdiJMXsKJ3Hh0vjE/Jx8Kw1RHura
kIg1INxfv1VndWlky1xeNV2Kwp2GtKz4ZYBqjem+Te4fPGcX/RivItOiGmqsC2mxP52PTrmTiqtS
+C9WRmytBze/y0pvqSDsnXsuslbwow2Q0dASIomcaVXbpF06Aq4fVhMehLSQ+ErXokA+v3IThc7F
1GMWUR9GNSGNMtGNoSVmkDpRy0EQIYpuZGrtSwwsLV1Z5PZRQHH2QsUf5+oykBk9He8srXiadOFR
IhT7kYZIU7h/5JTtItVbuZ25KYJQW8AAvEkmY5sT6HS9eZW5xW+rTahBZ5t6mi5VDk/Ld2wIuqro
q1LlpXZ42oEfERroSz2SV5qOUqa7BcK7HLw4ZA0Wq7Ifr/JY3EZ9tKH6sneaZqkiptG5wxat3xze
DD37n0+sz9bq6WcHOUpXjBqPh8bc188etnmKFH4nribR7wITxL43cTIqpp/YLZ36euua9arq60Xd
3fd2v7SLdpHLBhSkfkfOfK+m9lJU2bZTxyWH7dUYm6tS7XaEUGqC00wzV/b191jX0QYOf9u4BOhT
t3PirS7vJPmzcCIu7fo5ScxfDWNJZ/QWIfDrmvM+U+C+CrX/bcMzs0velKl1u8obryMjorpWaE8/
v5BPsMXpCyGU4RjHrdDRTrm4yaQ0eVY04krU2YK0aK/3bMQoex1ti4jPNvwo1x4K3a4XaBFcjQQh
Gm+le3bqHafJXCarDqTsm6rtD4IrV+vkus6qZzvN1mpf+knZXxtW/5b04nqmf9Vm+9QW9euQg1IS
FTLiMdJrhbO0UvUiGerMAiSZBwmFMprxnehiCKPVRSiyqylR80VU96k/pdRBvMJE+AIxw9azNjSz
j7poqkU25itdEdG6GatlbE0USYKHCP+pC6vwmxsemA1srGk3E66Cf3VPViF9c7ThAJ5f1WiNWIiT
DYirCC0mdCSKsHGIGW7qiOwzMNZppq/LrMdJJd7kebmrJvtKZR5Ux5aO0VN1/+vxv+s8vv95adAi
ZjN8XRvg1bjhaYxTG4HS9nWz5KnjjpaFRFwgbOyzdbK3NLyq6mxVhdnGUlPfwg+716ybMIOTIoZr
oearAiBPE1GScpvJb93gPoDFHSbeqwfjjO23sbz6kDvh7SDrgK8wrMygWEap5fdYi6Wmin1D4Pdm
vOricT/QXpVGjCNjQ+RZGPrvXhir0In9Rjpbs0/3XdQ9YIa2a3pMePN4XXpynUy5byEgWWJqN4xI
yFI8sVvAnposr2yaGDaJmZWZCyGNI9fAzmCCk9Ld65qy6E13CZZu4Q75xnPVq86sl/pQLNOIEpXo
utdOVQBWUtzDTcENq2LRa4+98SvqGt8xaCFGwjdSqo1juujrP60oX12SqtIJ9oOHQEWtZDdlKYGg
OwudEqyjTiv0PfZhbfn5hMxng6F9b28ipb4aI+M9RUqtpLVn5+K1S+LHqEkGenvGxlGMVd8N/6Ui
vI10hWfobpqwe+/T7CHP63FN+vZaV+NrRlFh06asmlBtsBsrDXOT6e3OGDBgc1y6Otk6FdZSy8wN
ZLu10ycE8HNAi/m7K9akkctee+ozY5lD13RoH8qh24uEjEAzMJN0arkeggSR/Ar6eOXHkfqYMWcH
r+uCPg3XLVdcskH165Im+7cWogZ939DgBmMyNrfoT6JQvY5NLZWYehJJQNIBw1rcNla7jT3LTzxt
Obj1LcaIh7F9NCTyWCFyYGZJAsXZlZMmRBjzuG9moVwIMT5RI6fbBx43EvZ4IoE/O9k+xVATFllx
cHTx+ywyAHttbBEIxNN7n1dLnX6O3Qb3URLsKzgHcGz0h1zPEaRMOKbUdBfY5tZsECwzqRMHV5aa
3YxpAvFrvk0bUhXClAFymz4+uJlznZb5EreJA2ZgkHmawK8mbzV37o3I8aPe+ZP3xSK2TGVRBmIv
JrklHCULCQkhamxj173qLIQOcS5s7vWMcq1zLTtjrVq9r4VzYE/XyeyXhjohDZHvk2Z8ltGExKAa
Iwfd7pOp3ieW/pxYIfz6MunQXCOHienM50N43TlYq2JSpnsVgaUGsWIcHoqwBztxJNo/FIG6CdJ6
bWlyUdTSry2EjwOzWMdFydWRISNZ39tSexxt+iV24z1Z0nlyQxdXkfLGyMrVvFNMXHV/Pgj1M+cg
zThuR361SPlPPiTkqb6zrNA9VlEDJTwBF6CiJJk03rVtxlszczhsSNU1ZAa9ctpK3JjMzFprw1Or
/Gqn8jrRxZ8piu4y0ysXorCWk5ldg/Z4GCb6Blq6rNxiE1bi4ecn/yxbnyxB19Dpm8Kc43w/FYdr
lEAPDYUn5775pfT6RgkiP02mlYyVh7KI0DRJ7npVCZdCjrt6zJaKYVz1yUdJjkHJzVDs1yasjmMx
TVQb66fI4sq3SQr0kknKYfibFu3rNI7AGXI6RfEvt7DWxFh0SD7Qm10IRHqc6anjyNJaPMs1a4m1
M4sfw0f8qlSUkIRqLdRm2GtB/hYN8U0OCzGecBcBAza5jboYcfhKquQh9xw/TkI48Q79HO0K+Iii
u36USNYnci1BviWzWymO8SBheWTYcSV6vnCL/GVQIbfbDobltfJ7EkC8UIzTwn7V4gA8QwsCJGeq
HOyJKfw20Lau0O+CRDm2/L3c6Bs/dfnXjZ0BUVGNTcCjKJN9YaUZp0gfzjJYq/aclkDg+qZPlZuy
sfSGEF/JanhJd/aowMvHPjm0SJZiDmhI3RYquvbj0FjvlBwfhdLdxoaV+OyWyrdHF5ZDdptX4aEk
oqvba2XS7hlxj9zEuim5F139Vg0ssHnDUo+qx87wOMSdgxfG65+X37fK3Od0XAoD2EHPMzpBd3gy
7abS0a2jM3sSFn+DBCVp/DUfFk0fLg2iF+8SMffsmAgoODQtiO9BbX0NWrQiHqYhEvYxgO3aFp6f
kAirdrVPOPiUWKzEWNKmRr86vcSEOW1VE8/RQQGY5kHAB7ZwMl3d0OGStCXTHa6NKNvEHl/KCMFm
hFeiGjauBnJVG+Rj3QdbI8cRt33o+/JoFtrSjfsPzs8L7YxveMz5keDkzLwDC7jwKcGzadNE16CJ
HV2P2mL0W+clzLWESeR+S3pbgeFw030+PRZKdfD6zl5QU1rvgnb0OzVbqjjMWiNITVnsgkDg6K1p
iF/QIRhdd50l0bZQu+tQvnTpJVDumVwNKA7NcRT58YEHA/L1SxpqmGjtZJj0p6kTqmLVE5I0Rn5b
0qqdCauBV2wNabyabX9dme22oZhGhTMp8Rys7/O4REFDPE7OQxiMZGa5H8KBjKb2XcuNZ2My2Er2
QiAAUzZ7L/nwwv8KXOLj8Y+lxWutLhHJfkyGFCBqc5sbwq/y+KbRX7KIigGBTpK423zMtoH1FFJT
cT2xqqf4VUvjC5HEN2X8GfhHBg0AG7QAJMsTDEQdJCP4Pxx1J3cAzRUcKCdHjtxMrZ/Kv0MRrTzB
03LW8fnIsZM02KaViitEdFMqjz/v6m8oFZ4GVvIszU4aM/OMvn4X5F+BPnWKc4xBMS/MqfkjFHXX
NulyUiQ94Gg72hlRTCSXk1tq2xS4w05RqEC7BmXlQl9lzRwR6OtB81ZTJilfZe64hv7wt/HAlKcN
1UoD/P6F9/iJn/lyHZL3zz6d5Lqk/8zj65MLVUzdhELJMQnoH+bdrY2JFH/6p7OLg+XeFe6THP4G
bnBdifE6bt3bcKquPArqvTNl6AbLX4WqEOzI1leEWA6RdW2O4cqpo79aOWDV5PwqZXrV2OmWuocf
tu629YCz5XrxmESP0tEe1caiVGuxUlXdvdK8fD+l9a5rw6eoPQqSiQE37kyqx74Qay2/riob8+V5
sdfCn0gtAs5t03jPAhg+SoU0vv3byoi5f/7K30S6NN4VMFvyZhXs6beuJKI3o5tGpnEsylcb+SMR
rFyNLQStsaY1kY9ACePbpMo3daRui3p2fO3XXQgkLfv187N8i7/mRzGhwKhITMPYOjnS1cIWCZxd
4wikeBAkMeEzUL0Ld+83sB2aWAiScVnNNwfaLSeLY1LHHGxGrR+p4m6qSf/tRCm6xMRzdGgPIyXj
jmhWDSOxtNp+ExDFhRORjE1Ij3/yz1P+fo2hl4E8Ms/DtFXuz69LtaTqUOparx97dd+bJv3Vvdpd
DQacUos25Cqwdh2wnZ9HnV/k1/3BoOxretQz7+IU6DwKL1S1vtGPlOc6bwfYhTtU6Z+8S6qY5wYi
V9MRAzKtGUr2dXZWMgw8g6sf1fEtUh3aOOLQKZZP6LN05NPPszr7Lv8d7SR+d0fbkcnAtGx1Y5gf
4BwMrGsw1cIXqNRux+gtrapLy+nsFBkVfCtaJMiNfp2iZmCdIoJKPxZHx9kZ0W8tNReu/FtuqnKl
AOFO9wSUk7IKa4mfxSJIEb9b9vICaf5bTMI6cudiE9kLrYlTQQtXFIMWN4V+BFYBnrXJr9TsSQkv
jPKNms7mITtiJCxKmeup6pDTWYEGKktHlFSlRvInbaplp87ex49h+hEiYkVSZ022P3i9n3TqU5l3
SytJrqFOLVQCd0NO21YHzukASIi7q0mF8Vb/9dR4XUyPlMgXoW3sDbFXxAeVhktLZF5wJysfl0GE
42eMIV2ZkwX5/zg7r6XIkW4LP5Ei5M2tpLJUAYVpGm4UMIBsyvun/z/1uWkKoiviXM3EmC653Llz
7WUGAq1HNTJlHlONg7pYVaG7xsmchR6FRzuHY7+ySxjkkLubTVVeWHg/faL8PunsNMmYN5z3OmoW
2IONowFWRuoHZgT7NEAXDbdIMSxvkuZtxYEtCQxvBrq4sDy+HTogcaqIRjlwwHr5ZqOEHzooYGfI
hxGGQ67J+77OnxBXxEpFqq7YqzEemFHAeSq+HyzlQqX7ZpDLp4NP13LjCumVTM++LpQsH4I8mi35
kFV5Sls5EFktqRtOCJobgMgq8oxLcV79h2pwV6ZNtY5DyPHSHN+MdimtCcAUblaBRpZl9iBQgyqt
wbyJQ6QNn9GZ5E0p4w2PhwhjYuulVsZ7tpmtLl1yOf7jdnH+FUFFWLAefEV5qF9vpVXDzjQlnmQT
DteFI14gCNK57upIsPaNmVNBuqrK6CkIs61Uk4bQRvQ+N/DmfBNLV70ANuzVijxbeS/V1QjQyUbX
1eVNlg6voREerZpNV6LTLKcXrdH3KVROSCX9tZgHwKLY7dpol2kaDIRiK4l7RiBrBnKbMGJazMAc
f4q3Xph4+8AuM2vbrVK4MBUKJCgNxITLybZNs9OcSNemXYKHh8JNQFiYP0Ruakp3tTZ9aFHx2s5z
B0RqXpjy/rEL+PYMaXcRnIDoUTu/PkN8OowiCTv5oBrGuokR8w6x40aT8dxI+r6odWVVGKE/oDZO
pchj9/SK4ZREgw+WyoiRgOoE0kOg7mXu0ApfUsRb1KxNM6jbcMp2MlSByg6fZyPwEzV7Kgg0dSW9
XTfBvLFFdWzrZBfHw508G9jgGfzPzaq17KdoHrB7srFtNp7zsfQGVTuORXSIlCh3pS7fVVXWri4s
zmWf//o4EMYTHIJCHhSHAczXx5FMfRnl5jQcFOsxr0+UcLN6iUfoR+ljIfmp8aJql+gt34uhhUwd
+rnOwuTHz3oPrQaBgcAiHwoz8SAg7RQbXkahn5xMu8vAfPlW/VIakAI82sj1nfqjyccEIY40XShO
fzqBs/sHO1WW4RROlN8QkZnaR4a7qnD/+rGt0ICYpe3mgqNpKlascGi3JXkqEsoo1pYeeskw1a5B
8kZci90gkn1JUIBkZo07B9VmKWROTEr5Y6YlOF8N3kiUaFkk98mku2H+2YgjFLDrfoq3ZVUvqPY2
H051P6Iul4g30e7GtF5HtrqTJem3AQ0I0ZcApTnWk+bOya9/fwB/GIfnD2AR9LMxcYTXzieWXaoY
U5CnymGqppuoyze2Qzhcivwq3FXYUuW6eluk1l2uxZNrD+11kht3XWV9DpNF2sb8oEzquh7jhwJR
d5qrE/B/dcvRmYbdqUi5dRxvrlLNxbbPn5P4rpRzHz3hTSFBO5XCY2U179Zgvk4BFIQZUZMFMIsA
LLuiH7jW0+hotXgMRDi6l+FxCJTcq3q53eaR8ZuJ/7hpbDJZRfYuquC2VQ3Xhgjn4vu6tgpgq38/
rqU6fH1adCH4skGjXLScfyZvf7FLm1Ql8DruuoNcv4UWtOjc9IXkeAuOYQnNzXv5wi/S3/z0mxon
SqJn6IK0s/ZyrrAu5dyjHBC6vVpoxEC8fLPsseoeb5KkgwHdqaeJQBLwJ+tKy5MtA0I6Po4VUcsp
0e5vE1NsEiPhQCqfZtvYT5q8RfqSu1pM0nJSbbW4OnUWhPs52dFY+WHI/KJiGG07fMaa/TDG+CXP
+a1hz88Z7Sx3v5+TdFdQqTpHu7cSZ0VKj4xvm9iF0czwNTgt0y5H2yq476KeFDysYpQZgCHKL/Oj
Ptt+O6kbPVp2sRekdJuqra9yqHbkxKpmsepseScM/kwpvWv1YN3nKYi9iTe5DAWEDy/OyxVwgt8F
8w1c8fQIXX4LB9WBzmvrJ4mlqUbSStU/yCdz59hGP8eASspXoT03f8YAoZzul08oHJgu44n/UU5w
nMJpV6A/SCLnyZmPGsOrOHuZk2k3J9pa5/xSivg5F+0dYvktqlEXj7XHVliMJuNtAOcz7pOCqYiy
X2DcYgxWoyZ8G4jLUbsrs25XYS8j/Uif25hxXv8Cnf8+7OYNCcBY+QTMtLEk62AkK+D6Zh7dt2p3
Q4LtEVnhJhybwTcWA+9C2/77C//DTDn7xCnL6NRQqSFVPqcLd5KmBmmbyAdNG31Ajl1f5ZTpJvRw
cjnxgR+D+mPI2f90g7C+2rUmUrcqcx0H8uhGY39P4C/hLYOfz0fEHO9yCUBaEc3aJzsCp3cJcTxW
ltD3Sa5ZwlBS498S1J+lSJpqti2V7A1PR8/AH37CnC0dPua8utQWat9XlUrNw+cDG0coX2d9QGY3
1tCM0nwIZhSRsb1XC+lFFuVVrfW+jeehq1cNhEQqXmDmm9kYUFFiTDfkK0F/XsZMJedHQTtb1fNO
Dc3rqmshMQzYP2mxcIvi4pHvh+Lz5ZLP2r++GQuEtJGMEFpe4eF+SNLkxIiaz4tp1hLfDOPWmsfP
0lQTNyzCu6VqKpP+3netX03SQU7Dmz5XQ7ewdHGpUKk/PVEL4zT8bthP/gwf/qqNsoTrT0EAxiFW
lU97TJ5r8RhJ6t7QUz/vPuGDmeg2jGfLeA6b0R0hyv370/3O4ONIrzGN0iENKnjun52yVLXQJ4fT
30GfQG6TwGsiQoMza1sZ14mA0ZbN1xNSZ7fQfyl6T+w3USCFtJvGaJcmtotMcuPk6aomr9lIL9pp
/VDIdRU5xPLNORxnl0/yrweUx3R3QaV1Bxgh+5LhI9vnK0/neZgJg1FIIhAyVCks89NqORGt+0K/
laHWxeYlx08YFt/flg6REA9KLD8Xk6+vF4PDhyIYPA0HMwu7CVZ5OF/1BqhbWs1v+OqDy8DFccbN
HJfvjTE0WBaayANElazNhJOclWWzK4ouhdwSHzMgkKvRmLOVnoz4WWrTeyFElCCyaU0XCnVHzogw
kBWSqYSqu/MUS+yUnCYANoC1FmmorHFuK9ywGlI/rFXHLcyi2zIJbbxyDFsceOiF0jALNlk1PGtK
WW67Mqu2ia4d04lg8bqwr5zUDG8gaAXbWoiX2RmHz9AE8azT9LFSYUpr8qEV/a8yFdEK1yjSlIxu
3BaFvk+G6n1SGmnV0aC6Ee6ri0I68MsO1bJuFTiGS8qDqVTzsYUt7jn6zATIsTOP8EvKYE4WYSC6
ht9Sr4HsVB96DmbwWdN6IKnVboimdyfu7seK1qXJSfuFJpI+J3a4setAu7Vm+GFBAmMeasvvlFRD
Jad7IiCW+SFe4j7M0F9tOxF1HXAcNQfLvokyrdyPYVm7TDmoWXVHkHtkbYSV2MywM+VhHBrZXZyx
f9NeFGSDg3CaHLfcVIc1EXf5rzDssOpSWgl3EER4kfGkDMk7pL5jbEdx4nZVJp71Orof6CG9PB+3
WBoemTe3Xj5pr6ndj6gGHYq/Lj1L8pBvioJoodYY39Khkz16FVgHdkJRnCXbjxHdQgdBM9KY+pWR
Q76BlJ0g8yBPMCMtgxcvE7WSMeA3hfYy6gMz/CHFGL/NcCsuIrEPGMrCaMLfT8Kb0Z+iSb4LpZTp
uS1yt+/Sj9RRrul7TwOqOVT6ACt16RxSdB/oG/160k9zjoTMSNUH0gwp2rAs/LCVVr3ajy3518nj
oEbsxSXEiiSNsTAe4zWjMAcWnYKCpcq6TWsJZCth+auTZ/6s2P4trCW1prDxNuSLdktbh4JQ8e/G
CVobovlCqjmrz/h0QQXv/N5cVCpdIjw9bTr8gxic9c5Ea2xqPUE+zu04zZmra0L5VSQmovuiVr0u
no6UwdhtZkXy1EUqIvJqXscFY+5Gb2mrgjtIXykCjIJzeBVu8tm+KmH7bTBKzny1Fp95V+deWUel
W0Z1z37Ri7UYtNwNKrjigamQyaIZ7YoUIaC0klZPb5R1r+pPUSQ9Q4PqqeFq7mMLNvlRRjz5CM3N
7eY2W42p0xN/0PdEqCGpHyOk5E6bR9ej0lWPzJPzKyhKtPQtKnfsNq+jAGZTOWj0RxUaHHSbzZUq
z/WunwukRLn5qmUN3hBZsQoH57GvlrTTgMUmzKz27VS376cqie9TdbiKMl7SKPpPOR23dha8oF9a
WVkncCeGcY9XYwmy0H5kBV17h2MgbJaw+2VZEgZOyHS9Pu5f08G6U1NB4LoINU8zcDNITLtepUNC
pZBXhpEekJULbyIPc9U5vYHE1uSswudcR+aDnHXRla7l5gzKlOo7C6OLXSjppFI1RbztbEn9PRWl
4w3wrX+JwHEQcYYadX9ur6xmaO+DsGsPUl1Kh9agjrSxvm4R7q2yMSDPKwXT6ecsuuoSZZvN1jv1
6lQ7rT1f2te/QwR4I/+1U5xtW4bSDxAwZ+Ug99mDTNUy4EjUcXVt4M0Ul6fAaNA4JB9NZZ7+vaEz
Pfu+SxlAv+CmnLuW1uLrLjVMhT6XSTsfIj0yXSVU222Zq2PpznjQJkmAD8U04fDVXlXwrRfieLAu
8R/3nChiPhnV+rGi0f4tFZLYmJK0BNsbd6miT9s+LvNrkyjy1YRBj+vkNoNNq+QjGehfCf/G/CpT
6N1j2XgdVWmtoVV7kEo2JqbaeAslH0FbJHs9V1NfQd3J4SGGESIUg3PF9Kqn5S4a9d9Wa8qrwkwf
1ck5QoSGuNsMyo1wqLdVZjV3cTMSH1Aoo9/0nDWkPIlDj5nzCRuuZZdlOihjzgGteJ2HgY0e38zX
2AAaHiAkFS/Od6FVK67W03YqY/s0yzG6YSwzQZXVD2nWj00yrnU6ClTe2k0pTWSnTlA12qJ+htOP
pygCkmK46iMFPZnAiEKtrK05MjcMTXit1fCr1SMgPE0f3EhE9hpGb7ulQUfRJ5mgFdCu0CRbMEoD
c5VNprOOCqnbROnAzMFI8J0awK5EYZz6EF6/mOpmXWqwnQjAJlVSC4DjuNsCnZVrWGnl6mPsx3px
bfacFgpo1XtFb3eqnQbeNOBWodgz2QNKZ69mNU28omIKKpld4osEsmonJj+NRe4ZNZa0USY/a0n4
XsbKs0pQBADu5OwsEqLzFKfvZCLGuLTM90CYKs5c8cssy66TKf7ctjdBm14HqNIg8cH+MhoMHEui
DyypC32CtT+S2tqjQEMB3qYTEsXmI3L06zSa75U43aZSs7FDq3xCfR0QgbLQUrqo3AsD9YZsStxI
Y8Q+gtVTKMJgqw7tUxn1kaeHpPcGU/EhxySYzsgdXMQSoV/1DkanQgvcKRm3aeNUa1nCh8WqrWt7
jF/VxlEpWbHqh844+1ItQR5rJA3egrlLZGZBZTP648ToTWu6Vas1kWtFUreb2PNXloXdDPQn1RMR
5V3YdBNh6fjOwDw5ZNgC+AzAucAfJJYLU9pMNvoG0bSVG6Vy5KtVaeEAZTjrYc6blRnJd5lVrMo2
h7QV3Vt5DARhvWdG8txNWe2S9ml78aSmbg7/wM1HtIqVam3lsn5OpGVznQJM5auS5icJX6umf4Pb
n6LRVE69znMyJadw+4T+p9TS0o8KdFCj0BRyHmWSd8IRZ5dcNg+2UH/B2KATSnp91c01ycELH7Gq
9dtGgtLRlPlV79TvM9J2tpm59Y28LE4mk4G1CSvEBXlR3DQe65Xs8MNxV9zOLUvC62eyrEoTc6Eo
hY0WSoa2jqLyTSFczm1Qwq4SeMOEqaXqfT4zzQ+wSCvDvSpP4C1awRaXAZWjrx8SSVrrndJ57BjD
puzam1mZ38TUokprcVrg7QaruazG29CAIRjmE9myLOW1iaR0E07hQ65YAx+89R8jR/NBStCQ007F
mksrf9fG8LD00dxPosS8WlIbeqj+V00jcCjNunElbDi30lxt8F7Ysz4hcsFDaYctzArVM4hmvQ9K
hYFRMOEPZcY75Hm0JJNtsPjST1WWp/tWtq9UM+k4zTjlTte7vVXoiluNQuDxJJUrVYW4Pc42vtlJ
9Too1l0gV447DfnNHIz3Q2E/Zql4k83grWpnwNeccWarZm9NwfiWsm16fTbcdjaQa20mkxfM6m4a
rFekPYFPoWrXooyaNeyUzzEbtB0DWrwLFG49HzIvzY2HhL+7N0gXWEfCEZjxT49cno0qBoWgHhif
shaPcJCtYS91Dvl0QZz4aY+5d2c3D5g20K3quvwLw+zTINXL6koxw7WywpPlxT7LRq3c2cq2ijrm
kVq1Hjv8CBopQsDQgBNaAXtmVXQPZiMPe1Mtnmk7b+a6w/ymTB6sxiKRNGxPwSCWmAUo8g1s77jJ
tI2GV8LagAkE65mSafb5U2AygZH1ca9rcu71qSlvhxgtt6J1sFs7aWeqIaKwPGO8F76Y+qRSaEpt
E+d058Ixd5M57Z1RXHfhcGyh3biy07wzUIRmq5ntPh3nj8Ycwb7bggFlok+eU7fzJnfISSy1gHwx
aCjXRhYOW1mdGMtW8ZvQqG6oMfYIEV5rhMK9pgliKe1pmwx6cko5qrxJuVLcS42i1hRcdTFdb4NN
XWQRxlPQ5p1alLDM2ycljYj5ruzA16z4XRdd9KvJpgBhsyWBEGndgDqKU9tQpWQrzM1/jW4fywU8
Hs3iKemrXTFon6Vs4gBu0+JG8bAVaG08MyQix5m1XV1o2LJIAb25Fq8aU93FYbA3WzZW2LWI5dWc
2Myu2mgFjBknCR5yY2Ce2XR4bkix2GcxCqoxmSzoNPNL3DXyNphhf/aFvMO66JQVNTCnoTG/jq3f
3SwfKtuGoapVOqSx1NxbtTFgPplVp7GPzDunSON11xrFKlIMjj1K3l3FIBT7jnD7sFNekwUDzgY4
9m2vrFLNwai96+19Qib9TVAEyOVs2YKI2PcYdtRKxLFRmdfWKFf7MYukLTJCy+uqWkGmavvdPFee
bVQyDaYI12I2lEdF6ZurQTQMyRXEUkxH8QiyqmqXDWxnZZ4bm2bUFJyAONcNmdm7U5fG20oQgU2h
DOtwy2BxNbId6U7YrMO+uJ9NpJWRahJzaHV3U9Q/iNrMriMlkR5CM1A8gCE65Q6lUpDZsQfYdJVU
2XvRtfipYVkFaI2zgIin05Sa1V0RBGLVRvrkanZNU6KCsUadcluGiAOIYmINqt0qyC4qAxa47Qwo
hThoOTKDEw0DobPeFEVekIQEPCAMYJPBlkbFaxxA1VXwUZmS5k4tA08rmgso1w/8OBtfH0dGUrUo
DP8Qjf6CkSSjb6OyDuXDVNB1yCVjJZWkzhJ8OZvzh1gRq7ExT32VRTRUBSDOSXPw1Qp7DAP0+GZo
zBpOMrD+vDDnjfqxnTM/SigwnIGfGVfu8/CSuvYH7BITENA50r0XQ7azmZ8A9oGtUrfE17+o0Z7W
LM/2CyEl8JsLZJHvZIc/kxJYZYvpN5a5ZzBgEWQTQUdTcVBm9cOKqY8If/oqeCAPwC3b0lcGSIxI
AR4ScYlVusxLv3wUy2FliZVFn2sAoJ8dloZRDmw7LAuolK9q/snoGDEaVAcYyZfUZ98e6dlPnd2m
Dvex6W1+SoYOGA80IXb8a05nPLMaZRuyLB31IpnjG4aJcTNgor7Yh6EtM89+dLAgBHdybB1EfYfv
BG7zWX2aOJTjy2+XuEZv/u+9oqgNgR/EJdPlb4bBYHdfLuB8Gha3sbDDxDoUTJgcL6v35ToYTkqx
ip1H4gOhzzBizQb330fRb4v97GfPKLJRWzljqHLfWnCM4/S5YLNpsjsZxin4jqdE6ZN0icX2xx3n
68f0Zz5OJhjjeSgsZ4tGTyz2OBvFP1nSEIYY3u6kaj+Fn0X+0gh9LcQJ6hzM63/f63eqIjcLRm1g
VbMwNPUz/SCaWluZK55xqoub2OzvZVxSNKEnqBRy6umnITe7rJzo/CYUyIW8bqZ2FcUfsjWs/30t
Pz33vy/lrMiKOZXywo6sQ20WW73LyLTJtlN/GvVyr9qPOgEDxiULup+fOxOExanHhhNwNhtyMmEW
mRTitFAoqzpo1lLYHNLGehS89cpgH7PNvZJr10S6XgXiAurxfV1rBHaTLYb7PeRY62yJdW1QQ4Hm
lg28Z4NA26mZuaaQ0N6+qphpKsp0YUv5oWJCiOE9M6SExs97/wqzxFMY5d1oqeQKbqJ4NdonSgns
xblZP584r/w/PjCYcKA6eBMT7HHOAAH9lGRjQmfWlyP2GBiXdq9pdSdGCduy4Qa5wUPgjB4SP7T8
KATia22ygfouJcV8F/cR2IHxOJFJRItAiD5705aYco6xoXqYnDTa2WZwKNVxZVeVzl46HqS0EYTI
jSTHMr5awdbrUhl1u3Tf4xa7KrXmP7to8TFTVPnYqegs5Uub2Tf2HFcIZVaDrkrAne6cFZ5YK1Be
CUU54EwMxQQb1l6KfwcBeemdbXkiz2g+0oHJQ383FTHfpskJ8N+L8PsXydwK7t7iWeowMjobPBKV
BXxWZBCk435jF8Ed5zg3rq2nIeQIa9Dg9pdpg993muVH0STAyCY+Wz37JpNgavWpENphClt1OT6m
bpIg+prkJ0lKQj91mg0EYL8Q8hrI5SaL1Ef0xLU7OXbnhaizLq2SZe/+Wo65IjQjy1NALHFeFgbs
QofMSjQ+i86dC+u3mvafg9oh0I2YWpgGkfFMY7OyPyotzGbQqjciUAt0IBw5/v1K/gwLzy+G+RSk
TgXtIK/m65IVSSAHWeiohFWBARgxaHl9ZcfNKcvAKbqMRSUvhk9SegQafSVEC+Y8tA+/G6qPC9fy
DSHmG3VUvFPgttMYqGdFWplm2KUmdOuhLG/n7snqnSttnK9aKUFEXvX7dFYiX4qwYBb5Bafz5fs/
ew6UyiW9z8EA4pt2xRCiKLJxVg+VlDyJTLmqOxwVQvmh6LoLe9F3Jg47MXJ/+LMLpxQt8Ndnnscw
Ivt4qRZNe6tX83TLSanal0lh41qNzHXAWmnxNZs2TC3Co5IG8zoQSnzLDA+zplIZOaE271Uk/N7A
LA03MVfvF59GXTtJvTa7YaNO69rA+Q951APOCfm6kXEprhW0MGUovYqyq104aJlvaKOD7SFkTU3g
gG1NVuCaSQ0EdeH1fu9pv9722Uq0GhR/DgDQQei4EIkgfUhFeHJmJfHaRp6vwiRA/e7cpTjZcTBZ
NdZ7a9gIz2e6swg3V68xWZKRNAOUY/T078v7zg3nrSzvw8LxHseg8wqJKhU1YjkohxYymB0Rux3H
fO9ozOlYNsKI14YuPlKhb4quuMqyyAfq/wzjx6C1t6ZRH8RcHAJ8wyrQ0agHbdXTdQNWIUv9igBY
zt/gvU18k6RPVc9iQ+yIXuRCjf3e6HAXFBXqKwvomwglhL1WyExADn1sI7tPxpVR30fJTK6eAvUx
y576EuzPurB8ftj6CTBWZTJnkKbQbJz1ehPYNfu0w+/28VPLLMzQC79v8oNqV+sQ35RiHLejDeID
XfvCm/uhxC/NPI2OpdNrWWe/PWsmdjZFoxzYyErVbT7tT3mv/+KUNtwRKEQoQ7Bb/FvxCfWqHXny
UKmY4kXbIvSTfXcl3124oB8q/JcLOitknFhIpHOg2umb6BZKU1m6o+7p5lp6UrYo+PE73HWH6WF8
bXZq5DONZicIqtX0kEHL2/37aowfPgldXsQVHPTRfcpnzYliRWqlhQBFbO8KxFxo6pAqO6/JP/LO
g7ZWfM7lkWEEKF69BkKLbg38yBAhi1XwiZ8QtFrcCKZxb+9iCKxofLU70Z2Shg0DU6JV12PTvtVv
gXR5zLGMG4YHPhVyoFuHil8abnUwYxc7xjS7a7XfCNFlZ22LY4eXfH6sUx8Q17Zc7R3XoX/f/Hcu
j8l2YpLnC1qAAdg5172TmlFvCkvB/2OTxKsu+eC/JqIUyLzzO2JN6umxHI7J/AhZm1A/xVlOYXv8
YgfzJQ12+JxeuCTzh/cBeYf3gYgJJOT87NuUsZZZ6B6R0eFNjcVoVcyemQXbDqRT1ZFE1u5YOpwW
XiNd3SBqB/7JfUlVOapW4Fp0acauLXM/bjCBcoBZzRFIEOiqSCc4l4nYG4mzB4BktFfu2xQrX/ie
ORObhUS1zHIW7b9CjsuMn3IzQ5IrOrS3s9ei4UIPvDjPHLCPg28wP7RBidrWWk1Zdytaaxeowcpy
WgQvmYs2v8MvQR6HzRiBGHTR2hj2tX1r4gfFIIwzFp25KggAwrgmPlKV7mdZeQxgVCopPp1KtkMx
fuER/9HBfN3NebSUuSVtcCmDZwtQtzPRy0Mx0oa78opBDbkQG6Nwy3W8x5ZzSlbJU72SOBbsCx+S
SJb6KUag8DU2lIOrOb+05X+vCCitdSJn0Csun+HZlg+YZiatBj++PBS2n3IID6/Mj34XMyzBmekV
jC3c4O0TCi/eBTtrG+/LrbaB/6rsUZEwxBsMTAA8KsY7LvofVr8NrHVlXSqly4M5f3DMfC3adOcH
MHJsRlGlnd0f6sI16t2crfXPrF615qZLNumm3dcWRgWetnEs3D33UnltfEzbwdh0W5SzxSWe9B/p
/dn1EI5l8Mz+iGHP8b7Wamu1hjlwyGBHq71zYpp3tIrmaahxfG7guuXtnR6VK6fDCnwR02TKKoIg
hoeV2yCEXP55rZcoLVIoWrzmVPgWc+pBc14dFhpB02tmOr6pi3UYxzdl3+5lGKtDlsGHDH+rPZZP
ZfpomfFN7ZReAKWfU9MuUxLNG/LgymjETYHjsm6Pf1bZHDr/pVNxP1n9w5hrzI4XMb9eXqjq34l3
Jirrv57M2aaHgUAOvZ43Jdjs7GQ7fMqLRw8WPJvkLdiOKJKMtfgvp12/9Fa++z/w2/YCWuO6tKQi
nn3NzhBy50LvD4Gw12h//N4hJjPu8IJ4ZNK/QiryhhkT1LAYNb/5aWikemBVHhvNY1uqePb1/VYM
yByml0XPAB7ia/mnxmZhEAur9NNeUpJdlIlDAzfLDs09M6bbcTY4y7cX1uYPMJWJxT0wFaAyRcNY
jgZ/AeGt1EaB0+lsyFRagfWsgHKdUWmLyD5KNqxAwkn0oXIzOOz4zu+WAt2Bm1lBe+GtfgflTfAD
ku0AnOmW0Lp9vZY6yyxc4Uc4uUV0Fef5oSuHfeD0+7bS8ap5Lqj0AwsvQkltdSyLonHxgYaICwcL
I2gndHy9pctCpTo0m9ZQbuSge8wC9g2puvDktB+qGgkkyBeAPTQ6zrMyq1WaFdp50x7UTa+6jOA5
n6ZHpgGxejVf0QXAgGu3U+kyv8Kcdwml8J0X6zO66w565M+CR+0O9Sp4bAt3OBEQ0egbaW2rN8al
RMSf1gvX6tAKOLT431KmdJGNbTaL9oBHNhZ29SF/LtgHIUQxA3KxhZbJk7nt7uWrZvvvHuS7QwSr
hfMEcZBkQuLdfiaOinuFzGcrbg/sMdmuP6QTZpmuVG8ZFeulF16NmGF+BLf2DipkfIx+xcfk3mAL
CHpPeqyOUMS3+CNNHxhN2xBbUjgcHs194Tp7wPHuRhC7ge/DsfCLnn+R82e2XpB4+qUc7T/ClLN6
/OVWznpJSRlB+MKMYZW8n7tNIB+T7iQXd1WImi91q7jyILn4ia9H1yYZMDinlR8aaEYEHdWKfw0x
OXyMicziAsCl/7BzsUfgAweKgVbzjznFX6t4nEFQojloDm2zglYgx14x7dRXMpbENbms4jpn3utD
6JGesFWsvf4KG2Pca26CdxoX1ZceTaaMT1AWF7vrYBXfpuJmDj0jvbXfBJkPkCBvFHIXAh9TNERc
5sXN9zs+Rk4pEjKHYxvI7XkhYqLMsW5WmwMzfnHNkki3/YFrN9b5Gl09Y5CjOWzke5hhce9WvwEX
TTeZXGkT/hdcU+Yr5qhX092/P98/sMv5O8crZuHuUSABXL/WpCIttGJs5OYQPE53YAV4165Qha8h
e84P6VF61H2xM67V+4aTvTfckHO+7S6Y1vxYav6+iLMibeo1tFiVi+jXlMD2YK31TXgX4zFBN7zv
ToAIM3ZihHbsIX9Lm6p0tT3nrN5FV7MZ1toqs1bJdbnS18m+IVe5cuOnfz+o7329ZcoqZ1/gKxKN
z3sVRtac+XSVmR1kBU67ouAwhxKcAYeGIzpmw4n08e+f/AG+W37TRtFu4CEkn2dBOcFInLUF8BCR
3uvCI9xKDu8FA84+yPxWTldDdlIoscJQPibsEJH8+HibXLSlWD6CLx8Jzqlo2TBSZgTAX88Kg5ba
Q1Z1M5/Awh53EUazfXvVMYSzV7k0Tjj562tKBJw4PbjQ739vE5df56DnKOQiMG85+zr0qpShXPbN
Ifw1nIbJC1/F3fQ6PhSyZ8VuhU/tf81n+dv6r7/t3/RnWOLhS/ViPaEiq98S5lHkR79IL+Z/0+/6
DdOl4bfyKL/VL8GT82v+4FC+BO3YUMDc+UN7DX7Hz/ULI5R/v8w/UPT5M+Q8aDMRxRCJ2e/ZQhvn
PsihSRzsF5Inx5jlZbwhJINaF7q3w636PJ6cl/6zfu0ehvvyxYH789a8df/j7MyWG2W2LPxERDAK
uEWABmuwbHm8IVxVNvOMmJ6+P9wd3bassOJ06NSp+m1XAUmS5F57DX9Q4ujH30/mp35LByuARjLp
WcGSzhcj09cbFSeZcnOjW6ZVPjYbnBCsys2XPGPW6x/JAkewfSdwpw8WlE47H+eQIh3PYtWcizYU
DGewKcAs5fb3k/vxpE3nxkuV/yPKkRyq7wPVziIvIwi93Mh4h3ndQ6RvvQgZRLc2qHMnyZt67f3y
c887HRPTMwPGPFXcedWuimJJzJdfEmLvWVJpOviEwgJmghEn4fFKbzH7zOLw2JqKVVeog0Jx2Kqp
5sJEx/Q8f9ZNTsvKhgT7QHiOYrEPxw+IdvNc0pZVgcpN9K0SlngldEs/OR1SUVmJ4sTrrx9/H8BP
S+PvU42rmd4nk085hhvTzu7L27JNEHFUhDxsqo3kSq7i+stm5S/9ZbXqHBQ0teUtslWxMtb+TbOC
gLqczTP7vZ/PLNGdrmIX3waGnd01u/y22g2yJduhfZCvLPs/IONp0L+c5lmhIVVjnBnJdKMrbS2b
9dzrKlulnJOz01ZLrsmZ8Iv7sYx9P+DZu04R5JxIaA5IA3NFFQJzDfMXKzqmb+BWx9NjfBffJbfJ
bXinP0Pf9u/KR3kdrcRF5Yqv0qpem0tvm2yGRXpjHpvOKmws7RbyArvKQ3ALebnaaPdYMM1jh8gn
F4rYQmGnF6+1ZbfQlhHPUrx4b6zaJqnTFd3GObmd2zvCQl8ra3KWgDE7N1/pi+k7uuMv8P3YGBt5
Vbv6QlikL51d2shrLGolJ7Yb9oPCQlvrC9yCHM2plmQBOtD/1vXKcGv+nXglrckNWI/raBfcBXfR
XX5sKYRuhTXu165sVYtoba7ym2Hx+yT8fCGeT0JtUiLT9pmJmFZ+n4RgVelQ9wx2Za614hCPg1vW
0CS5z01ICe8XjqhjsAgrdxZW24hA4LLFIs0Dw33QumMOqbwXVnIn2mjffz+5n29Wph5lzbTKTG3d
8/WviSStLmKl2Gh+C0FFgh7FTc4eTSG0Z/jI5r0KXfNm6DFmLA5+Mb42lXAtdOdnPchZQNrAYklX
6Bmev9iKU5uOgh4UG5i39uNz+NjYiJhsrNDnmtXaaAvWiE0ccS7OBesYWtUej+L5bA7p3BYs3HwX
vgMp2VLn8A9ZrT3bs0EE5nxnHtjwopmHJBbN0RjzHfV2ZhModovUxxps6vdNP6/tmglFUoZNQ9vC
5GvLMmZD+HPVPVFufHVa8zOHiTaX5j6f1EZ45+K6Me84tc6ROTnN+hdY649/J4vP3Fzq/ETIR7CD
NTlsQDRW6BYP2dzjyq491j8R8GkUTZwpwHYnKsrZi1UMOrPDGBWK05xXGZ9+xZ6E301LcU3r2b97
NakQpu+OVm8Jc1C4zz89TVc8s957669hRdbDm2pl1huyEZ6vwnqA22tVFj7CtrHz3WxO2WG9kQ/F
Rf4+Gz9b42ePCs0VCFOzySFcOZ8HrZxoxLGo+Wb2UNil081b98Q6nRwHR3RGu3OMBUM9VyxyZuc0
tZkb4BW2PJ8+6hwTUaZFMB/42cjGTmohLat96EyvbUDiufhi2KYzs2MwPnol23hh8tV23rlIy5zO
re1+/gRbnYSg4+Di2IzDGL7LrupifGL3O8JbF4LtzXWb7Fzuoe/yknP4LweLgS3BsW7Bd7OHwJnu
8LX7q1/YD8jc4RmmRPhroNv9vpDkcVqGldjkG820Tk6yKvC+W2t/acnt4p26rjbyugB5lddkkxoo
/nf+DRSMhXRDYtw+PYTrdlkt1VV1wz4LKnIlgmKInaWuoqdw7rHKkv3gtE7vjE69opNB4K8rLqEr
L1IWWNWFsLEKMKC5qdboFXfCWlh3K+JQ1tliGgMdFxKrXgLMLQwnmi9/nxufNuznc0PCkkhXcPCa
7KW/X301w/1F7qJ8ww7ogB+mrfwNd1v8qbjpwBr8rrjeQnF7G9mdzfuM9eC0EKxp4VD5C9MTipaD
7xKKPMf7wJ7ZFEhO4Yzrdu2vxkW4ivkMrrYY/+c1Ua709XTdCJ+ZAoYLs+gWzjOfaHoC/ml27vR7
nJG43Zh0W9f4kRfuuIJjqEkCLrcdTdf3a8blp0DlJlD3jBV6BzofQ3wsikWQcotKyC0hMVl64P4+
1D8ZXbBXREAckyYrv2YTCPFl2yRlaaqrGQuJrt6dxFdD3/XHUQGMSZ1OREwRWaaP/fu1l5H+s7r6
ftyz7ZqGwkfNDS53NIJuriXtbecRswKuSrZtFG58hQomKnrEQrSa6b6qUyiFhjpqBrw6dmNIaE+2
h6X0x/RJaUbyIKf+Hk3qcvSFG68+udmJdOYB4/5KYuZ34kdbha+tmszgx/mECUr8KILDoBVepZO+
loYCN4ZtI4Kv6N2fTnyIlQwUfTFJcBkApVP2SZi7YIRLn7/fNIk1y5SF1qV7MwI1jv1bH0fkKFoH
fLnPcbiZBa7U0UPsVFKMxccmbDcYjhHClPQKXakZ0a10PAwFEwwUqBbGj7ddry8jsdrpWrVrenol
eem23oDwJHkSZPHKo/YTKj67/2f7UWUsVTlKvXyTKoR/apiNlafNKddcsp8Av6W7ymxvfC8njQzA
NVBxgBhvJHK0fLm8Anhd2KkCuAK7oqWBzHre4tJhE8S1aOabOnW0elt2W2hlow+j8Vp/fXqWztYX
EDUFBpU50QrOW/sNfIaA/Vi+yZq1EkROpiHmAYoXy2te9D9ZBIzv10OdPV8zTn7IJCXfnGgZ4jC6
qOpybZZ/oPhjaJfYg8dmIg3wIa1Wvz/aF4cTCyeNzpcEc/FsQSFUAffBUsw3Vcc7BMthFdtcXbht
9KcCQf7vB7u4jkz7OqovUZYh5H1fRzCoMkTsifLNIB6ICcUs9T0n7qtbKAKZPN1ksYhFS18+XDnu
ND/PbyVRQnhm4pkFz+WsaZSdtLI0BIn1qylXZTI6KKNwangU9VvIHU7YBv+kqNzLcm8lEIBge73V
WKFfNda8eKO/nsjZjR4iMScQD2592bx5ybo93YJtS8orbgc+id3sQqQr137pjfH1iGdLaOA1pVEg
YycKNbbqbC3JDzBTc+U9rLdJ/Zqq2ytjPd3D38b6bK0YYkUtoxMH1BsNxgWgfQ7Ncj5IARmE21p7
x0TTq655s1+ax1COgY8UU6e2PxtY3Rf9yhs7RAukfDRrv9+ievPl27q6Ur39ZNDzrIK24RJFj523
4dkcxjxYTXGfYEDN8b4JdZe+lIOI+SWo1ZXW5o5UPwSebp/kcJFX0RKvCevKEF96LcrSZGml4M/K
m/n7Y9QJQ+61XptvitZ4NmEVJISnpQfiBG213xoeEaTKbO7pJGKGpkNbF5e+0RngPOAZeOWZvrRK
yjLYoz6ZoczOkVhN7Uahj9mD6uZDjzI3gxmzFeUrs/jSUeA4TQUpPFqMgL9fcdSIyJpKaFWzboCm
OlvWJBToabfuMLq+MrrGNFfOZ7A6m8A/yDOw487WxFSgZyoSpLZBNma3tmnhDEbJhP0iFd0wnx0a
virsEWZRgEhucItT/9wEb7XED30f7xDiroxFbuVWYz8/osrjx8O3zsmO5dvAXzg9Kq6xkPhF97C3
s6O3oKBd8FfeJBfQZJ2skhXbeDYv/DvZCpzqebbwDrgZz4kAsYZ5DhB5xIaI6hVR0pwoykVjtXN9
i4v8PN5gbTCXDua2x23REQ7EUJJ7SkHj38pusZMpZAYAFlSkbO2nr4vPgCrUuyebuBBgl8qZPtN/
t07jqIAyJNxSD45zg19TZahaDb/ABz5/TX8eqYI9y7OUqRJ+6VbDqt9FN9ENeKiDW/YKxtQcTGUe
OPEebbqdzYOtt4u22mraKf9+Cy+BlogAcBPBkxGERZwWxS/71dDsTaXomZRytjNAARYzQpHYrk6t
pXwrMYix462mQJ/uqUbwS+QUQr8/2utwC99itjkdq/fTH9qIJ2XJ5pZkzr67LpT4BHrOJ5qGKd0U
gCXjoXU2q+uYWZjkRrbBCczudvV8gpaxl7F7a6+up0L9dFdbeBRYwM7qvNq7+5KfSefvUKMYbyhq
VgPchejcenrBVWIegztrc0Smru9Of45t0/YcPBX5/fcx/tkSZfUDsZ9N9Qiso/PYFaUTYgE7omzT
qhTX7XgXSq+EuqYldq9J/NrP8AJDxtTNikUq3jfJn7yFYpd6O58+iW5++MCI2iQDgisy4AKEru7a
OvlJL/o5wP93jmdP8tDWeiU0+jTAOk9auMNKbRFb/5DPUZzBL+KBzvnGhBb8SZdI4Tdg/FA7rGnY
ExdCseOvp3sSzxtrXMj3yIat/ibaA1jaf8MVEu6P6bno5+N6egaw6LINS3adcmUuSCTkS+Fqs0is
xbgjFGxu8g9hDDD3PjGpuwd2lMAmHx3Iyb/17gWQ5f4EllEgkL4RXEoeO9io29wRdxpAQgfIMdtR
Wu8muOgjsB5g9oNUTl8vr+z5tWlP9GPsuLMiFul0l8+X3EqOBa0JtGwjygetIlZBWSSiYvvQGfP4
5MYKQZDeG+JssqdI0oJ3hBdSQwJKGD/SJFyHkmjpRMzG8ityKWieALCKY9SPGujyCbuuXHyokwCz
I8VtsCTRKcTwdsVcqb+rqxrm80h0YmJ3wr+yx1CGvLATKR1ZC5xMUnU0YRrpxiAGp9N7uxk7cl8h
WASdYnXQqS2J9bMIlCtz6hJ4SzMErRiw5KTlmN7NX5aWRFVLrzNQ/CvV1uOUYw/zoCh58vUW5bVA
Xpy4rXPIvq0Y3vhDcd8ItRNjCVkKIS5JH5lfbDx0f1LSY5aKpPyUX9nSXwLNFB1XeoQWKCgJd/x+
ihjVimTmBJgS2I3tgm+MbrTKILbt00fjkKye4SRC95H20l67H/ezLWjIR/02PCZHtsQf5t/u0fvI
Afxt4xBszGWyKVbxjbjNDxRbO/GxOsZ3+S65lTbakr3OnqQqd1xjwXH09sLhxONy7DanjbfXDtoh
3Xj3wtbbh8doJ4DaUSM+6gd8D7WD/FyM83KDAxo/me2Cm34xrKAA3JrASXDLl/meFOsrozO7tJX4
Ojpni24+yX9NPIE33lZ5zo7iI0ZN8aF8iAKrfxLuhLtuK23SuwhbLK60OhL0Bxe2vKv+9UdtM66K
+/Q1fM0fwq1yBwnY3GaPwsH767dz7znmvQtGKi3JZfStgNdfu/NuxGO9Tw7xvfASPKi78Vbc9S/m
MXpI75Fr54GVvAYH9QqEfgkd+zYJzl6BmFoVRjtdZrcOd+Y+OMa72bq3/eJjAn8l2Tq9jZt+pU8d
sA3cnGWyF3YgoGv5TVoKu3Db3+DAv9IW5Yrm9kbZiitza+yLR30rrzA3hkfw0KzzjXmoHvNb4ybf
41ZbHKqDtO255vo+vz/d6PfSc7YBAFzLS+IygM2I0N1pa8NVb6KD+JQ96C+znXjl2n8Sj3g1QYqA
j6DTyID//P0BkERf1KM0mh6A1sUgdZGs/J2ROihCjsUq34VL/8a8yVzvRQf8FViNsYuwB7ejkfA4
bY0ap7Srzw3S6Cjz/JYsPhZq3rPYTy2CNemKtnblffpTHTOdtCqJlKcw+tncfz/paIokINmGLW5Z
7iWo6nkXumaOUCWTXYWArx6PJA9vmVMlwd/C81sLLHHCJmB2neK/UkNzouYlkWT/tKpY4LKKc/jI
ctytdfKB88j8l2N3RhAkky51Md6YghTNj94U96pGOEjR0Xwq2RxeU68r02Q7f5egMfrveGgFBdj3
awsrRIppg1VI6UzwfbtpVqojHU03X6d8YqBo7BNvmqXu3CYWOPtitqwYaEq4/ccyvUeyYxnLdpHb
2IfSPtGvDL42VcG/neDZjKkTtVYLnBDof4qL/m+yMvfyJ37eOVu45i4ctl2xEvYnp3Vbl9jeWzrE
vuUvZ4vGPs1VNu8ktzkGLaOU5yW6I2aYGYSAbD3D8ArC+KMJPSNgq109dhvvJlpfW9gugnRfB/ns
iW9OxQzFGNfgZ80yr3QsFd+UTLcibymgfaz01FKiZBOI+Nv5lYMrwxOOpxioRc7vW8OLJTK5UFBz
TLqIZH19v911G8hiVonZJhPWIbZZ6pjbsC0ssUweCQV4MYV8VbAZ18fUlQlSNjAm+f0UfgZI8zSZ
yH9hcUzKOvMM8WklSci8uM+YceR6DxYr4G35Zj7PPro3bVMf2vvmvntIX9ND8fn7+EQPpPhT/FH4
7an/Q1g6fBgxso2X5kntLN2pXYne80Z9tt6mdSB2ZW6iAdFzmx3K+37bPESvMp71cP5wkzAcv7DN
FwKBMhgED8F6toxusGy4Uun8fJlRIqBinISM0Bk+V8IvuxFNrmoff+t80+gLCCFZ+5hXB2Ck30fz
Z06Z/v0wZ49HE9VBL0VqspnhVVxA1pjPQLuJdNifdoN6VGyEM9pGWo7qosLFLLFOxyQleXEOYzjx
brHfA9/O8GZzE3/d3fQvv5/fBViN8zMIxhEnShgQ3/cJ10qCNGL5lG/a2K3o+dDJHNAVzlEONI0b
C7apXplg07/4fcFAwEJoHhtkBSjzfEXTklQnc4gj9j2v0vhRIyVHf03FyGqvXNxPsOf7kc7Gvo70
WTMogD0x9GyvtFV22pXw9/cR/MQ0vl8PmAZSISyrRQx2P7cTXyZS4uHfjY4DYLIgUygxHS9StvmU
KC+JHz5tEVGhwYn6JdXrxxBq/xQwSd5RFRdk0g4ODdzFiNG+7I1UdTGeOnRjemIl6zC+82XV7WPi
MghkqtsSD6cHeWYcazScYudvxOZVOb3HIzGUzqAApI3XaJQX+ATfL2+CfL5cnp9lKr49gJKtPNqY
frphNSULj3MfUq5a5BIub+OjL0lraYaH20RhjBXsdiOAnoJeT2niMi6V95HA1oZg4lB98E65G0ut
HWgMTHfVNvJn+fX9jKc31pczriStS1KNCRYKBR5Ekx17lh4mkznhVjFbi5U1217tuE2T6bdpoH4/
auuNoa54APQ4nebVg9R+IGFAvzTplsL48Puk+8ldBkiD5wTIhvMtso6za8Q+JpNDdZZuTutgVW38
uxqeUXQLcXk3bgpXAqsRdli9xot2Gbjjk7E69hZyCkAqfZGvtA8TNg+RChQLybrYhpQLwm32HmyF
a5jgz8edZtPEQYAFB+hqns2fMTO01Ev1dFNFaH6CaN+TANrj4N7EKNQi/e8JI8AgpOs/AgBg+Zcg
OuupcqpOcdM2XIMlY+otrH4fwYuPLVxAZH6qzIb3HKrs6yxGkTOkmz43ttWo23L+6E+Ae/3qw7qX
0fxp5kMZGnYgEu0qGnYRdTd+wq6XKUvHRUc3E5faslDQUzdkmif5Adjc8F4HXSH3lkox+2joLBf+
m4EArisPiZSgt+huY/D9yabdG1kl0uHKm0268ACQ9TRtH3iBo0w/m4rx6dQ1Q3cCuwlY7ygUpS2a
TEF3WXUi+Vh594ZhESL9+4heWim+HfasvkfAGldC3maTl4ei/5G9+6IlyGBgIPFtxTzVmXSEHmSh
8jlMR0uPP0I0MiHt31RU5w0JGr2Pcd7fUvlzin0crg+iefz9JC9ssID9wR5o3Ikz2lln0zETh7aa
SRQ4qISUk8VcUzQHjr/oLzu4cfiOPtNKi/wr0+3nboM0OEaHNgtiAyIOvq8OhS8VWaQUbKqkLY4q
ik46koN93e9XZ/5cgzgKciDMwfBIOt895oXY40sI/I4fmFA55MHRs6KvUFbbmfJ2LQX3wpONOwCq
VEzcp83i2TTz+wKvVDNnKDEJ6kiTh6X6gIn91cu6eCDWOwnKNmYkytk9o01ykgsBAwfaU5n+2mTr
k7mCpY5u9Pfxu3wg6ECgshN+d9agUo2MAIOOQhJVGldEtw9PKbS9vF1/P9DFG0WdjeZbNxRo6N+n
Q1kZqGIEqjpa8QQg1uPrUE7NxVHcKjUboer19+NdfDY1cQpawkWEDcfZ+8JrTprSjmqKnbEAUQke
blwR0ye/ZQl5LGI4RcyuWhRsDRJgUZBXsnByA5I/EzYuQqPOTxoGfmkzZQrqubwuI3Ety+H81BYv
lWG6v5/upacF9wT4SXS82Z6fDU8hVLO+JEF045eRFeBrh+a+2jK1fj/MpbtAOx0BgjHpRcWzw/gn
0zPqGCiUBUsUt6RCzoR3WuqVuIrrxfVO3M/9KEoDyNOoumhacIHf73rTdcQJ5AqXpdF9qFZ580gs
qqnOlXopxngtoCZPy12a3BQ6UXHYR8RHFb5UsNOLDS7nKTl9I8ZM+5O+NXESz1dGfdCklQo+Hi0V
ZEajVT5okVs+b/KThaOxMvdO60HGC30be3eRdIxobnjukK2r0pZn60ZwS5ClezFdZChAaaxJTgJJ
NCAeFOEid5+9DEQ0I8ZYZh9e6zbJ05N7tmnC2AbDUpG7MHlefR+Rsaik0o8ljFChyOFj/YaEwfgY
HmqcKKHRSR/Rm/Aaval/mzflY/Y3eNeO5kv7/p9PAyjFtL9Bp+E5nJ1EpvikHpARsTHGbdES9gVZ
xAmwx05ew/tSXf5+tOlfO79k6GCmCQGPIvt8jdFwJEm0nH1HIz768uFk2DjYTcJ4qX+gv//7wS4t
aF8PdlbLi3U7wD3iYFhi02KufAsxKq0lgg9/P9ClJ/brgc6WaM0o8Q8VOBABRVG9YCmDc/3/ehF8
PcrZAzTLipCanaOwbGJxDNLAy43MWDG5QsW4tDJ8PdDZymBmfsWmmwMhDsH+xo8WPm2Lj+K1G2xN
vLLaaT95H6jkIAdqn3IoDGW+PwWeLuC9P0u5rMRqj/DoQtrhiKEVoIHP/7XH+tWbzc0/FFcCtuhP
fB4pGevnbBm9DScrpOENTvU4Hoon9b59aw/ju/rHexKP2kN1UP90f/Rjg5gJF2ACs/CKf5/5Vvon
fvp9FlwA0r5fydm4hYlKOL03XQnhciik/pakrPzJ/jT1pnseD/1HE85xZupvfz/upds1tSrZhsA8
MM93V6XgESQoFuTXGIuJoxRjpqyUi0na46Ptyog7vspmuTTjvx5zOqcvVWaX11kZSBwTKUIVOPif
RiR8s6v7/dIu1SmfFZ6IrgAmujw94l+Og5OdOnYnhrT9G/xzh92scLv38jV/Ve9nx+4t+ic+aE8E
5xzVo/lQfLQfxRtZLe9hYBlPxWv2Hr3jRutn3PLofZm8q771+wnqF2YvI29ycgZcFvaC30+wCX0B
4y+eFdZuKUS9S39E/qDHCJ00tLBO/+iRHf8VOP3AW/T3xQtI4ofxqh21l9PHq/I8vLW3w3v6Hr5n
T7Oj/DLuyufTs3ofvIVY86jO7C/G6Kfjg3cTvgDkV2/DsTmQgfZOsJL02Lw1b7TG0n/StrlLnoZ9
8ZY+dQcEbgyB8iK9/H65n9zFs/V7Mg8kvIsdNhzbsyleVMVs7Nua+yHQRk16h9r3JlP6G3I11pqP
1U3iOXCJGs3fSF2JvXdBc6Eivab+k54+smjyDH6ckXXIEjPXytkNyVXbVDb/lVhrVdSYxhhBBZK9
ZwXemcmbgURM33/ISJKZMt5q1MYiqWZamCynrO6uCpZ6Iy1bYKJSSxdNaF5ZDSVxWoHOL5qvov0C
uoNEdHbR8swLgz5s0k332fjPNslqIunQI1rmziMd+Mr992HMY+tZg7it3Ff2xA9ILY2O/DDXrP32
zz607ugHIDFI7BLAn9ULFUlmH4+nBXEy1lGgyV/stWVmE3c5Dw/MJuv414Q98LRDm7QAOpqrRxL3
6DKFR3Mx2CPCQc/CL559zsxtd6It24pDIvSc3KOp8RFYE10BCQlWRb9PA/nC4w+x1aAgAcSkWXw2
IgZMxErLYh5/IV6FmbiahIVBqyy9oXWSKJwrQfcYR6OT6Ri7i691N1u1hO1QYuzGzltIqel0KuSz
rL0hmOevqhFyKQ+v8ohCLhffyupkp4ZxnBXXuB2fAP6Pm8lbhhoYxSiLy/cHtuviUSs7bmYbG8tT
ThS1scvrRrQKOHfsFxzB65aSkt3Up/YmlkA3TsahKbEMEMKZrZT+XSB+KLVpa3pKnpH4EOSDg8XY
rlSSRa1LJBbMQuI7mZ658ZdgBt5MyoOn9fNCNVyqc6eUBSeXTSc5qX8n7nVC/lKQp3eC0N+WXeuW
eMV0JIF5TY8vRUsCRFW5o9n9Uz1/RdB5CPSYyq9avm7j4gaO3RIjvMBO03oZp/laimpLIauBbCsy
IQoV7KPO7r1aWw5+ZzenHKF/ezB5Ev0EgGyQXobGW41FcqPhwJ7w9YJz9mrk0bH2T6yqwyQQlamG
yJawMwUxvZ65J4wzTi2aFYG3LeZLWYeOzktX8L2dFoJ3qA74dOED3+tXNlufdn8/76A2yWyn9PNz
5qCaR2VhNrNkQ9Xi1w+qgFok87PlrArupEFf9Bi1DuPohJnh4k3nltHM8tmZIQpykMU4CS/GU8OD
SlJsTugkfjm2lh6Ayvce/kKtCr+YsNSmYZCIFqmEf+FwspXBXJhkQIbZ7F4Zm12VpXctSUH9KXlI
AbgmM9B8eDcwE5k8nALMoJSm2WAYqVgocufxNF1EwjHIeXF0kO9wVJ4EcyB44QRg1MGxLee/P6bG
hZILqonCmmVSdrEUf5/rZm+MpWfw9jz5MysIxlvFo8CScFsFeRwj/aYyoeL1w1o7oTjIV56ernP2
lWZtzKf1GAMZSxOkRVvR7hOI8jLLHTgPvbePaaTqSr6LGanoxLzq8BPKXr2sRehMdW+pTJoEI5qo
qRwjNJc+phZVlS/rCGoOZmknqXmVZ3SiE9U1uHRJSBD2Aqyb2n2ovuNbTyqBUVoZY5sYNG9Vf1sC
lrVC9aKHNMtkjCYkxH1tve0qXr1qmaxFv6SFIMsPsR7tA85gSv4MMtnRhHcsy/Cbwqc07B7iXreF
WQfaqt/JZeCGkg5JKFl3KUKcqFgBxMyjviL0iETCAof26dWDyehSLsO7Xr92oy5hlooM8wbIUqIN
9ZnH9GWbQzOkioLITDZspAAFZ4Po+v0hyteA9ig+xDy3Q/pnQ3RNq3BxJQcBhvFDSc4cOVvJ1XQo
MHfTeJjYrJrNyZb9bq6ru1TjocJluxu2kAOWTYcshbimEG4/Gx68kRe9iWA9w5cRc8pCP1k4ss1T
Y7yLdcGVe2ALvl5mImkIa0+UrywCF/a8TGuTHgA9NFxqz047j4ksMyLWgMZTN3nbLZqUKJPhdNMW
MfodnURg0jr6a8XKJ9h2vvZMnqsAjeBIPFjfnyhBGDEXLWhotn/DN+Fv9C94qd9QC1GsEK1zMKdu
8IBvz7/kT0Dh7v+rsMSEmmYlb+nL6d74I/4p3oOp/hjuZONKKXWhnQmsAruSwhqlP4Pz/exqgmbG
hoSpDelrTpSWOJUniG6ll2p8FaoHnUhf0rNvw2R2ZaX5aegMdx63HuoPaChY0Z4VcRE5i7UedNlm
GEVbBBoD9peyQzX8RRmG0winQSfXaEkZgu8AGy9Z+zLpw3YTmMv66WqE2SVs5dsJnU0Q0fBpcFdK
hneysUr6YuEZ3r8ISWYtJnv55L8LxnhPRe0IFUtAqD9FxBFaYoXUt9a3MBRWaW+uTnnoVEPr0tsK
iDBQT/NOhL9lXCsjLo8foIhJFccG83Ml/7IAqEIz9H5N9wBHhEVWQXPJfVzkAiLQqeBIBJFH+PGG
Sy7TLQvWpibp5hQXc9Y1Lclsui5ttKjla4qBC6xFcHSYAgRvU58jlPg+o6pUFHAJgj8vwG/WcPwh
QIWW0Idu4lqC8riaD8Mi0l5HHIIi2rITlCPQCR5OGmE2sFHF7dg9iNmBAMjfX24XVgBYxLhaTFgS
vZ6zGxz6xLAIeChORpVNcxz6F7mbJ9hKJIuZ9ijVr78f7gJwBWwFTkbVS2/hUzL95QYZYaXqY6VG
oBTG04wd79CTrO1V60QNnkfFn193Zbywyf56yHOdql5osVSPQrpJpbVWLwRmQf8galfKm0vjaFLR
wclmN89Ynt3hMMeMMoT9U0oHWn5e7PTiOG/Fdcom4DR7LfxrbpMXrgvreRz2sZvE++acCRtDGcZR
x6SckuiZOAblwix51YRrb9Vrx5m+/+WW+YnWa8rUZmDvN03Udkvj5Ko068L4MXCThS8PijFTzsZP
iSAmzE45AEDlMIQpmwg8VvBvXWREJ16l1Fy6KCSFMJ9h7aAkOsMbZlGnZZE6VV5Timq9BdeM/BPk
lff/eL5TJCGYwW9ichk/u6xcGWbjUDAtRAPAjDQ97hLpTwCoQQJF8JrJ+6VR5GiYZtEemBIBvt8r
bC2Mxpf1aJP4i47gOjaCXfA4bX3kB6xLKMF+v7xLWN3kJsvB4HthmXI2OdgI5uop0CCo+sMHTxpq
YNHRC/gmUjqwYYdchr4gI5F6FolLeWxjyzP1eSl091FqXFnLLt1U3p7s/KRJzflp1/RlpjanjHgu
RaY/VW9RmLTVp2eH/5/vmbjk/z3KJxD75ShxZhK2XXKU0b8RZgvB9+mm3PEm7nGmEWKkUS9XBnma
JGe7pW9HPAPghZaKUhhocPjRMsj3Q4Q+ol0K3kMZ3yr6UYokm+ZsbbhDDr6rkh4Y7xLv8fez+GmF
BpHw63WfvcPSJhbpznOrJe90W9TjQiHFGVzDVUhj9rQnJYCyDKs+9x4r3DT1WW/FRM5hLE8AZEeH
CuE/JnlxBnyjylvimw5q/Oqn0s0pUR0cf61uRHkdpgtZwAFIxBMA2W0XpvNTltuBSTvrNNRXIJhP
Wu/52JLoKANhgDzCWT57YrpAK/WwZXUb993smWIG4HwU77VobpLPSmqhhF8ontKnj0ZeSUk3n19t
sFyqW5AhEV5CSA4sr3NHGj0ZkxDOcLzRPfWhNNM16LRN2N2mKnUsxB8wY9m0fmzXbFUETeiuDcL0
kv8xCF+Of/YU6yNbqTQ6gbhnnRtSYfr4GYij8k8NyCyPhRum12k0b3ojgmAI60YfaDdim9lcw5Uu
TXX4DVNNAOOH0fh+O6REiORSrZhk9SGb4WwVbkMayr9P5QubkNnXg5zd81kvkjbusb8PvK0WOgPU
4GhEN5CsVfXhlF4jVFxalqZ2LYQNOrcYRX6/JnXAvL+KOBzO2nlZualSLFUSj4vx7vfrml5aP24j
nB0ZQ3p2IueG9Groi4VR9clGxumZdoIYPYaQz2FlXVsDL5VIMPsVU5aRhcrq+X0ShyHJgGuQppj7
uAQ1iO0CjhrcINlYGc29N9t68tvvl3f5MdFxgjSodogwORtIPJsiP8zkaCM0hcPrdlE12dyPZ7CS
XjFAXeZi4uRmY+dNthBi/cqsuTi6X45+VpuNukaPoonoueK9NCvrtdSa7Nz3ctM4cim4v1/spRYB
I/x/F3v2JAy6lgZKYiSbkHDYAM91K7yrNCfEOBxje7oGg6W3lg47D+louCA5E7P8unNUf206AJKa
NSXpefc1Xvv97kRo59xY/hdn57UcN7Ks6ydCBLy5bbRhN7tpJJEj8gZBjUh47/H05yvO3muREA4R
e2JmaWkcCyhUZWVl/qYYD368D57tm/5+cG71++EWjzPFvyrQea1ddU1bdHHOQMFw9xGma3PECErz
mhkHYQys1Y1QleU6yFV68O9VeVwJYu8Z4h+r/8NYswlTUpxKItVKzlG9kysMXiE7ub66z2oXMRIf
qf/JrVEC2WMFnh/GB0B1mE9CzVWDF7oiuy7dOicOLNM5TFgm+C62mZhzEfH1mxFUug9eb6Pmu6+/
8+IMOSjKALkyBZzsc3CQyyybRt9C5aI9kF2TtnCtJ8EmYft6oPeT7I/5+TCSeJIPeUtbOHWDajip
aGhuIApeT6O1dcaSmrTlJgozRiVFC1lWKlXUpOHyUm3w1t4F8bPePVt+chyK4raixqmnoSvZ9b7T
Iirdozsp/tmO+vNg+cBN7hF6PyCht+k0Ua/kBjtkOwNXmZamk4D11tGbJIIF3i/Q8W6aifqujh8E
FV0NtfygVV3KkpciSlbWyNpkz9JjNQmq1jC5ZFTcMqjmuUONIDJ6b6NV40BRr+zhpeEsHC6pRb6b
7sxmXMNtN5pGZhxRhFa7f8/9HaxFL6sZxNKJZsm6EKUEfY/j1Odvq6VDE5edFqJE5bjANIpp3CBL
FAIR1YPN6nDG4pshVKfAL0EAdV7uLMK8VxM6NefiZ0dMouR5a47uxcdX+RvKjcrNmOwoz7vp8B3D
cpNV8ks5lGfFfZpc0WjDx3vzVAgmx3B4UXZIm73w+/724e37d+TM7n+/hVve4PImkVHvajDjazn1
QsOZU1JYDjjYXf4BB0TBIfdjVcZud7gZ0ue2C10/vOcaWIAu0NU7RN02+Zp4znsVYL4HMWASIgrc
lfjN5+8E4byoy15KzpKyvRiNO75N15gf0yv4ByY4qlv7rwrF3JWFvyC8CRlPIHnBwsF0f1d6+rD5
jUgJG1x0QsxYaJdAUytN/Xemqnd+XRMI1H2vmJca37gqqHZRlB6nlu8hkUM0jxYJmKNPG5PV5HTG
Xiv6feaAIOigQYc2ux9pAf2VNxah1KDWhz80rUskmnCMUhPr2sGAx6JDxk2GrgYayrSPzAqHqTKE
uW2faUqshNV3+vsfMy3QYEKjGOz4bKaHPCiUzGOFVtOdr1uPfveiw0OyQol4hhu985Tl1n3SDht5
fIaZcZ3LBuTh+Nz3lasPzxDSzraPlHd4L8ew+Jr0aIdx41ZTu+86D7J1e5W2mJ57x6i+6Xt7lwYq
nXd/Z3ulG7V39pDs6R9n9rYutirkr1S+K4v8esjVTZhW+wEYTuE1h5Gav+OD/AYvrqQZqlWem9MF
VJvUrXUTr2QEbktAxuaDb8UH3Z+2Hho5appSRLSRVcBS2SlPk2mgmzMeFT9ekxpY3OwmFQULQztq
XLO0Sw4ACPToHJ8Bt2fZc9EaaI1N0XEw5atSVVa+HMILbII/Ph1xE1aPSgo0984Zsy7RWZIJ+h/p
5uezBQAAJv7GAgTwyN/IQA0IMcVfDuABeN5waLv9z0u6edQ2+e5+vAp25l/hftxgRw2vXz60QApS
xENQWdzm3wbUK3E/QaTytjwke8AlGwES+OU9tt8MJMZ/hRv+pO21xaoJJQjA/K608368Gru/03fx
gO46dw9oM/LHlRABGd5/xLC5e7k5b74Nmw45jrO9cc+Hb3vQCodmcwOlZf9wc+jcQ3j4duw2r9mV
scsQ7zi7J3vz9IIwtBtcq5uHYPN2//uxR5RAFpJ2NnHS2zwg3LD5HmzUjXuzI4ieCZ3dLniTj/r2
Lo/Ej6mRPRBqBya/ZvxDIS5yxvyA0hk/B4EKCHMFwhRidvqrzO03CRIG7RXItA2kIiYu5/f55iJU
VgTYAm8opDGd7e/H68e3rZjo/a9fICqYKtP99QxWhn/hN4E6cZ/13XPvbq9/Rwhphqhwhlv5OiZ+
C9wE7W0+wlpBffH+AWD8f9eINmsgaf00VJBmyY5JLUJK/AJnHWU7YPdxdZDQbVuj+i3ePjgsKFAK
2Y0/CMKWVdWWPHSI7Ir8Cd7uYN0P5nNIQzqtnC2iaK6ZXSCLufgQfZ27LZX1YO9y2hoA/LR3ZM2H
6N2mbS71oYQuanPwOZhUlj1WAtOFu50sIwCxctX5/7zrfwec5dKyhm57k5YQDgFyWG+999MP/7bt
b9N0a3EdwSuFoz5dcyhcoAFzSsHpwxJFARo1r8oGPT1df6ySc10V+2h4MqXuoGGlFjhPTnXvm4AT
8NlJWnNTGtlVlmOlc8/dL6/9b2qvb7REoX9QbASKRreKI/EqVLluAJ7yzfHCXWvjgKUArTLG/rEw
w60TP+eZ+Ra03TYqrK2nk/lG6l5BGGiUcvQvnqoh3ikOjGNKmI0xXiuDtQt1ZduyxvpqOiZWdd1W
0hZDrbPRX8ktrm9tdGqiwPk3ZzhWasKnBaF2sGOfk4fUcmiuGWZ8LjIJVSkASnl1avpDlhWHyan3
0AIPqW4cBKjFAJ4CKDuHjpJx6EZiGqxXkRZO1VNZ3ah8P7hEDtQVO9c3hjLtivQtKbk6TdI2q5OL
RFKSU62mKqIF2jHUyn0U9XeKz3/hP+eKjkIyFtoN8GrZWTkDlk6cj286W37UG5pmMM3w3CQujMnN
hGia8wBtcRW9/6dRG1XNj0PN8oSusKoq66mYexXu6vpbTf5TC9+ABmVhvdmk9FMGb9x6Mj1yoBwN
Pk7xm4xSXaFWCOjdZxzGnQdF0bO3X+/6xSD38dlmWf0QSHBjVLJ6SdoqKEkBRJKiPS5ihn9fH1MK
rKW50sZa3Pkfx5zdWeKuV+hi5eiG1+e6sL9bKkLteeGWaXRAETGSk5tID6+SxL+Hv3n4N2+sUgcl
yJG3zVFl6I2aeky1W7CB0OfjAg/3CAEFFiGR3amf4zXM+eJSozjBDYAWGl3jz5sqqvDRbr0pEajf
rLovkQDsXF9//XclM2yQUY4F84Ad4mxmK4rMEVBPqnPqfThcFEMoZwotU9RNuD57ZMwrQhwLYuIs
7g9Dzu677Nmhth1OyVg+1Ar6QXsNjeHixcm2Qmci3FC/DROXEJe2a2O/i3zN0zjsx0UhF2/TP+yH
TDuq89iixQaO9qF91d+MJ1AbP/U37VdS7oxfEDSenb/a1/wZzVTkv8Dh/hpfAR71r8YvP97Y/cbG
PPtX+637ASrY+JH/5T2oj+rD+CA/Db/A94Bix9yJP/E1qH4BagLPxN/mJ+XPDbjdZjP84kfwZwAD
/md/a//VfTMexx/aS3U/cYYCAA6fyqd4m9x7v8xf9l8xnhc/qp/9r/Gb/5f1A/Cv/+Q/GQ80PMjW
X1OSq+fsuXpuHsy/kgPOpuOv/rb9jtcQnhh4uUeb9hcKBPIv/tHXW2NxnYI9I9whfYgtzud1qqVO
VZQJ+7JLXSu72MOhT58Jh6uAgKVSAsrv/xlotmb0JJi0uig4g9P3dq//ViHEUN+Dff9XY1E95kIK
4J6S7izAdf1g9EpOmiEpAtS2Se1dYcubjMIMfHt5ZQqXsqiPo82mMHQyqTZgmIhyzPAbArFKiwnY
M9aQz06jr4y2eNf/ONxsIpMhlJNJzZjIbNqhEeG2I9rmWOUEubMT569CmiK1b2niuz04D2N8GtLg
PlKKq1EqVhwtFvtcjnDsEYqVCPfOptqghaTUGgX7aIz21DyEf+cU1ihEXCp5a11r2qFESCV6rpMX
L5XftZq74DJ1/+aAAQJO9YPugabPYaej7EuFUSUcMAAEvY5IMGXHwXsQzodT3l3b4CWQMr5KqlcS
vK830fI3IX+3mAP4enPc2UjJp0GrH8krxJ+yv5Uf4w3EKSquCUoZjkNI8V1q5E144orEHTB6/PoB
ljYXhgBIPaAZItz/Pu/iWq9Y8Ug3nH1L33r1sxLlWyNRYdkpGyHK2sXqWiqv8iPnYfjjkLNlWIRI
dxoeeywJcGbC3WvQfqnmzqSy1t5Zyt+63B6qAdx2upmGdP/1+y5uOSZUdMv55HMSeVDmtUcVhsZm
c2rCG7107eKBq8tYXjjPaT18PZyyECU5wqmACg6JcJj5PL9ZpZW20xjxOcMlxx78nRNCceRAaKt+
b2a969f2Ru7bq6jAsaDUdpHxlIzfbAeuAQyorLoLx79XnmnhA3x6ptnOC6pJViVriBGWevS9c99x
qVezfVXsQueBYvDQk13FT20HUjf4v6+3T2PP1ltpVFWgpiqSpMXjQIyR9IszPKfVPbNvrUHJ1iZ/
ttLSQkJcKJ7ic64/QXzWqu9ZfFVar1O65ge4hEXgvcg9FUelvj6vP2PeWdSGzJz21T5DnAMNK2o+
+i4OtxE+JPG2vdfg/DxW39HaG7xNkV2K+maU74QTGNWddJtopyin/eO50m+Jq6O0UbqNTaHvJ2Zy
I8Jl0WFlHYi1N9uIn555tjadypb70h5jxLcv3Nqa6mAi1IJ+4tCe+FVDxZE0F7s2rXjtNMtV+Rur
FMul/P7TU8xW40RPRssr8ohGtDzGY+r8bHj/OvmWUFjAlZpzXjfo8lytvL4AqXz1+rOlaGQmyO2e
11dTx+1636XWbkP1L6jzcy2NsoNXngSx6d/w5KkUUVLA2BQI1jto9EP1JFYQ5mr1jqAASWi4mBlt
UaQadkI/oXnGWHHlTZc2vE4TXuTeOlj02e21rbRi7GCuQKywXI3Oqrirw94B3xlkxgnRGMfi5Md/
HBmbgDv0vxlfkPzAAWBMMlc6KLSxCSqMD0SeA44uVC+8rxJdzLOUvtm14O0ibRd+/3rYhVBvAd8D
+y+0uRFD+Rx6kQuJcNmkdoMOVhueRh2CSy0kzq3sAFlYLlf208JRSimOt0NdTOdCNVvIQGakFvuF
5NzS5m5PICDJU5v04LWHfhXmthTaPg42W7yB0aECaNUQC+wLfGvUeSw6B6JqogYn6o8y6RzDx1w1
2hrniiMu7sK216E4YOJG/PVUr736LNDqWQYlZSSz5FGQ51DxxACkxHJ2Ggmo5MoZoizJnby3ykzg
8JYNY/Hzp210gQIvSJxltQjcXEd8U0aKpn2UcS6OKu96Urh8tdN4pRYYZQw50DsoeJWpQaCNj21l
fCsN7djGWLZo2rG2xktXoYVZv6GTk0HpSqG39VO5L1vTtSIHzGK5k1DTkYbwlBMSWlm6ILlObyZ+
LbDi8kDg62ycrmjPjokYLfIwJs0Wp9auUiGgVVZ3rVZwnt/3wNCF20BimCcpStBBGF3JfGyc6twH
aAMNyMjW9SN6rd+g3l7lkrM3TBpZEpqCdK1CNcVMIz/KTXqVYlQ/xPDeo+4cMrqnYoMqQy4THoBK
t4sw54iH4GhBRPPB7gtmW476fBFidE/uAZ/rJAX3cf8qKsgTXaXWL44gkVUleo5l8S+RhKcPoT/8
qnrLbaJXbCl2jaH/rHXj74DTwjAwZK1kN05jofGl3zlR91pq+IujhhVAaIMWdPC010aTd304nIK0
XilFL6XQnxbDbN8NdV3oAUqCZ+IKCifsOxrNYqrs9oLp7pAfavOCZpDjf+PyYNaHol+5QnBBXDhL
uKKy7S3ZwRRRROAPEX3s/c5TJi4zRoLFUHQXf7NP+TfhItiddaAxp0o4CGIrOCKyCpfYO4VXaAUh
nFtvzDf7NJ3LG6EuC936zmjd/Cb+lmKv153bFx3bvPAGZP7f/alBDT6/qY7VEeKFebJPyAffGfSs
zxN/FHe6uVHO/rVyNh+1s3ZW3v8IrwPM16lguxrO3lsFkVfhsKc/jJeo2llXzR0r6Wo6il/7g8Wv
8XV8HV4PR1TF9BfUN/zr7tgd/eviLv9W/Ba/H44hf9Xe5Nl2+KFcxcfyHN3AV3YOqLyVx/ZchG59
NBDzPtbH/uycxnP8G2+oq+DKecOjnd8p2PGJv24R7ArRh89OzSHfd5fsFFzHx+6quMr5OfkPYfg3
PRY3KfaKxU17HM/Ko/hpw0vp8eP5gaf0zjpJeP75T+ZP/srjCbJv5V39QzgzSQdMxG/KbuPdJjfS
YXq0Ecw/j/TQGB6HmuJmPKMy0HsoqMnn4ltwbTwmPKF0Us/dDbrDe+wBFZRDNsUpO4n/dZAfNxkK
ttWhoO95rV53F/1aR82xe2DDok51aA7RvbdWwBILeZ6wsNWxgYSZi8PXbKHbjiVJhQKeiGO0sR/Q
XAq9wtXwX23CF2vE8aoR9jdxXb/HrDyABxe/WhRGa+3h64C/uOlA29F8QlkEMObscI0DEnlPoZDH
xkqCXQkSP9vZ6mEoDzm2sOXGyLa5sevGF926VXI3WlO5WWKwWGCUKM1SKKVeM9tysTRNU1RTFurK
e8t7poappieIDrCTGsSGBaJDvqUdxSno/dM1IJNVYb4hkwf+ZDWRXToDKd2rho4NvBBg+xwCwtbD
dT0I32eEyyUnMmJ5wOrrfj3gLIUbhH3gOlPLRNdJpD4fwo0EFqQLY0Iea4ATS3Qa3zGVMPG//s6L
A2moX2AtAjRlTjzTUx81PoU+H7VvsdBIkeP6qL5Ltx6+HmopXWMJ00CF/8AVavY9G6/zSU6aWOjV
VPIjHJKA2id6wBF3IOchNFaIP44opM+3kzCNgnChMPBcz14vq3hQxNVczaa/Y2O6SA7lWq3Pv0ed
ude64tJ71lEObaQKhviic9LFXXP2pul7aRr7qaAPQ81KskuX743jyZ1cv4ojthnxvsBbJTOCv9SS
VFvUcgxjgIGKR5vV3I5+upWb4dgBgdmGvKkhaRdxAxF9nknFPE2bdonh/dT9x7HFmK5Vko0QlRMl
Kc98GILAdawRwH2J9H53p2X+yUIcRI1TakaI75W2W8nFHobgURBlTRKgmPTQIyJoLb3a0LoIJmzJ
6QN54Kgbz5EZ/pJpKSGwv7My4zmTmiezx/CzQS+1FBKdtBkdcMJCy9NL2nNs2YdJa74n4PWAphyz
Qjt0UPAKVd0No3qDKtyhdGraz9691axJLC1tNpCDlJ2p5bP9Z6GwyzwvgAtP6yLZNZ11nwdvfAMk
6Kwy+FGG/kp+u9T4sqE24ZukUYimYvl5w/VNaUZJ6xNs9Pi2s0Hj+PGJItXF7ApXgOAbn9yo6GkQ
Kyv74p1iOVuntiwIJLD00CGZo108n/tpLjG24uyLmq5qllzBGQsTRJ2cm7Hk+wT5QYKgl2eFKxQX
nF7/XtUPfqG45aAjSFpug9g4iNxfs/VNh/rIoOJf0j59vYWX2I7QIFRZMDQd5FNmnyVvcyvUQpuL
LZmIw8ZNc38vJCGHdNyVA0YvaKNOxni0pfBRrNQEur4Vv6oNlpppfxVo+m2eKbsOOP/Xj7YQyGzE
uCx+KJjEP5wxJ6VJksqnzskyIYiV8MW5l7HwVeP+65GWLieCl89FG9oTKgba57USZpYvBSGg8E5W
D2XV7Ol47VtccsUNVIum7UjUENILMfBW3cemaZ13vhDbbHEwgquD/k2A+/wMnqQF1WhQZpskcTJy
JxPVHI5CPxpJj11qDKsyg4ub5OOgs00ygkarIefF57bZa421jWxYuRz8XWtch86j2oIDwjK7cvyV
zGjh6LDBfrJJuO5TxJ4dvZUWt1GcUXzrEnlXhycrvhehUMxz7B25fK8q1S5VrcC+QDED94DL1Vzq
sJXSaJQSoA+hREI/ZbuRe5inJLe9lqKXgeGnrt3W6UMOrLiOp+3KGlv8voaN7SGrzKKh+vn7+mE/
9qElx2dpwknFka61FotV/9kynmt4ndRTzQzakDKsLO6lbUQ9BSq6Iut/2o32fliMhkFFlUQL8iAl
Y3TKYPP9q5qVsHlG9NNGIeoPIdsJ8e5cHVJqt8Ag2LRlcm0VqAI9dyZnpEisnHhn1YdVKPHC0YLu
DaVcNIjhx/zRf+eiXXoVeYjQ0GgHrcLvOv8LHok4dXGg/k2td/P153wnXc5DPLGdtgTtJxqPs7iJ
mLsSFBJYzwm17Fy1r/0WzUMddRZPO8TDcF8gQ1qm4Pv87Fg11nlU07+TKT84aIDlVvlXLFeHtE23
dfMSUjToNWMrYijSinFSuAmaD2Ihfv3USx08+EMg0EwELUmkZvtdtuPQj7F2OtdD8VKCGqDtfmuU
8lXly+5goXIV/da4NwUUFmOjd6ccJRATNEuOxFVT6VvfX5PYfM+y/5hJ9A5sVHABg891mdH2iXIp
jzmBnHGiSzzeCllQbCU9qjZ1UiFXkN9Rk9igkgI4Fjcm7B4lhdoIgqWJlGzNJvoRRClyVbHiOiV2
4hQqRXlU7t48RUeuJF7ZzOLjzh8ZNRfiNE10iLmz86JJpwIonxGdo8jaW3q0a+j5jVOygzu7W/lk
IhL+MRa+3yZtV3DX705BHy4OiPv0tW1pkdAGDUc8c3fm9OBTrryBAedmxZskH9nO4Fqa1l3tdi5F
D5rq/zM6S+Zz1BpHqalqmwMC1CA3lyG5p/MG92a1ILN0IGgomWkaisH4Ms7qgzTBp9xKp+gctMVO
gfARpclO0MEmK9l2U78j0dgIcv/X07s27Gwbh5UXZ7U3RFhBnQhZUXb5R6jY6R8IVkj7fj3c4oFL
w1rV4TxYCLDO5rPt5BT5Fw6hVj5B5yCvyYM7y3EdDLdjpCQP6lqfa3lIA4c3msXcCGXxiT8sIFsr
/FqXGDIhj+J87eofhnExyn0enfNpPwF2TNc4W0sRWfsw5uyw69CbS+rGAmbY/AxBnGlXdfwsvRl4
EjT7r6d0cYWCvaKER5Koz/Ef2mRHQ54zVBTuNEBCYBmp6lTPtr7C2V7iqSPL+t+RZhMZAUXwOdsJ
nlST8zcI4tQuEVcRk6rXD5TPBXC3RbMq1U3hDr1+xC4lER8fYTavKWiQNJR42RH9M+tFLd2iO5E+
wU8DXOdG2o8hX9khi/NLtqQiESFEPsQO+rB8DMl0hoby8LmpT6J4JVM58x/haqSQ1r/+lIuHKqCO
/x3rXeHxw1hNGox2KBNtPMfY44e+sUZ8CUGJ4gx7GDghewJBkow7ZMdc3Ja/NdhxS9lzxBWuUHVo
1uNmaN4MqONO2m1zXRJCmJabI8VJq1rLo0M3rC0LcWb+EaBFEURI9mIEOQshiad642TrfJPx2XR2
UndUiifRjEVWEFHY2sBR+zlsj0axkoMs7mydXJYzE40h7rifP006tqYkT+QgefZIk44eUiUjnJ3C
s46BnqQgoHbJWhVvKWLqKJmJaiadlrlIsVMkhd6g7SVQ8x4VBIRvB0EvpX8UnES1flUncDFz1w3u
RrIQUMPD4fN7Soo3ZIlqR2cLVB6SjSrkymNYnEPD1fyfOOY28U5fk8FYCmGgynDmgWxFajlLldQJ
Esw4Zu/XT76m6DIBJjWPmFuvdpcXF/7HwWYJhR2hBhY2fEn8cHc6tRcZ0yclNXeqNW7HpDvBcr+V
a/9BSZISKVnlwfD8fTnCQOzrFyMbj21vIdMo8CCDawzmVThYbtinlyrVAJTb+Kz7W8Mfjl/v2MWb
MxUOTHuAQ4l2yudPQzNvsp2M5K2T8Jy4L/2NOnA7fqWojTq+qEIVVNDUmhbmGup2sXQB/ArvERRf
Cf6zG3OmarFWSegAiQBMtVOSHoDo74q9KN5RzAXfSJhClhzBkF76Af7Q9J/Jk/r8Yq75oCztCkEp
RzQSsC8Flc/zMCU9QmAaGSFJBI+CNgVOL1zeaahWXAJWRX8XV8zHAWcrph+T3hwyXp5TdpOb7bbA
zCfx3jKjvAbb2SDjx3PkhX1yPNwj2axNZT/VvozeSL9FvXqn+Rc6zOgYpYG8G+Jpl4aAGfJhHzb2
1lLXgvvi8fnxif9YKobT2D5PTC8kpog0UD2Fe2GgSOIW5UnGYjA7qNbfYGeGpNutTtmCo7ABXE/g
urigkmvODk+p6OWKnJ4Uc5oOVebsclJnx3+WcnzBkD5EWAaHPdyuRptaKP/PTU1usP6yA2xLOFkM
b+tM5lalTuplzy1wTPjqe9Iq0SC2QJz2Wb0PKNcp9PqQu0jgqaehfu4047Cy75YSATCAisOhLHAp
s9AfTL4dZwGUA271pg57v5bdYlKOYMHbTByEBsRqeTeFq8gQsavmx93HkWfHXRp6ZYDvXHROEamX
tt5o7QOaR//ksFztczh2xfcSQvTKKy+ds0DyqJ8AiYERPdtira8naVvz+XLicCqy9X/QxaAnSH8w
rLBBTlTZaRj/zWQzy5xAGMaaf/StWskz4tyhPKjYIA7McgP0CjgMXxidWdGZ99L7VYn5xVOPgCpO
WkTOEIb8HFKi1mug1rBfyDz8jY1MaRlgqKQ+EFg1orvGgxR9dJSy6FQYa2qUSwENlVKNaqTIbObl
KvxV5cyYRj5zpF9JSAmb5H5FP5yBjNttfDCUeCee4OuP/O7yNl9d3HTJLHA9QRBqFtPLNESwp2F1
kdLE3O3VsTmXaXKVBAMaAyzqyrwrBuXSx+OVpiAJ20l/SeiHTEl0xRFxNJCxFslhPhkXgY7Spekk
Ki6q7V28yDtIsGK5eiXIZYtLZRaUm1hKXx0zvuktRGu41yYI92r223s01PRtGmQrh+ZSZvHxHWcL
2THyfEpshdBdnzxHO8DioB0ohd4O4MMqO2nxQyIXSGJKvQpfuM/LKPAzbwgzPiSzgpwXWG3yRK+9
cDR6xnG1Fre8bAmvVBwxQkXO6/N4nVaXZiqF7+PVk3lBkII1S9XAaB8YM+ieRQeBXPHrlbM8LoQ/
Gkx0l9Eo+DyursZB2pXieLEelOihk9EcfY3b+wTpN3rK5KfQcQK0iFbGXYrE1HP/Z1zu15/HnQDH
dqzZ6Jz93enfNMxUZLex9nZ10qsrQSVdrSSLGZzvETBrwmTAZoLnbWsY+FHaKEl0dqDGy61z5VF+
tHEWzFuLzpHvlgWFISBRRqUcfLCDFrKUGFqtvPjSQQDdUdzyTTpd89SvDDqjlqYoOhfgGMTNUGR+
yf0/Lk+kWeTKDrZikvRtZWBxtv3x/gbKj5TD0I6YA/DTouvHKoDZp4OEbCNpb1HZzlEHQ+zb6rMD
8HhwYc0ejp0Rd9vQio/SxLOBkW6lZu1wELt1/jS2A4uY5yFUzwWTOhjGvddxP46zAoIZFurSeBA8
fn+UbrHdy6Q31Dw3QX2XojyGetjt19OxWD9lb1NwBsFIm2yWCshOHKdq0FL9DkHga8Mrfu4uAQ2H
2HLPQ+/9KD0F06sNStYY3sIYX94EjRWa4yHOgFY+YfD4Itzfps58jgOwT6wrE59XJ3FolqQrB/lS
QQGjU+pfMucLouGfN0yelz56zjRC6rK5swv/NIEAHJTpIpB7Man7yvyIhGT2gRzhcmQKjUZxjfw8
XmoFpp7WgIb1DGFUzmmUIvZOCJcf1RluKK5vw8BMk23YvgiR6U6jEVoYh8mCraQWp9Z7RdWDsgd0
kKNqcNonwRVtlReJRmECzIAktje9FYDawiHx6aln2TLA7c4LTBpktoT2xIl0g85NpxzojpXD49dT
tHBEYMWl07Fh9bAY5yEMb4m0j2g9Vi1iVG4+IC/ug6beCRl97cFqV95t6SrAgEQvahY2jMlZDkmJ
wDcNj54U8rV9WBxDsRa99NQWw06pyjusYI9TBngiD3CJooqiRtObGYX3fboaTeWFOMbtmdu3KB4i
UfHHTDdqohXsn0GmU9PHh9HU6dqEtyb4CyUU+AvrVHF+aNTcRVtB06MrBQr7oL354dugmWimAujS
gUzRuWm8176frgb1VRSsBJ4ywv3TUx6qmHuODZJOtfbFSMUEYU2FFIbTcaqnU8asa1iRAGSRrQdf
Rea+SLZSNm3FX2LnYiP139FM0gLflaNyJwYFYXLqbWNvSxy0IE0U5aVrgSKWz0Nv7gFbbZB4PU3y
QzjdQ0wO7Lc4au7KOt0bUr3P+6PqN/xH9Y2tDgene0Ql3hW9DNHd7zVvo4baq5IFDybC9AHt6HE0
LnD6r1L0/HJo4qLhlSvtz0TzH8VBOw3OHfRxQMTRg1CTxzvsKEvyKffLa8H8Nkb/JqDlStEALwba
nkbrbJUq+zs1jLuvF/XiBtKFl7AG7sqct5XGKsxaT+upW8rFLs/TQz+cxM3NogdHvh42qzKQiwsJ
B1QBNyHAzesRXtUbFc1HsWWTLSIn5pNzI++j/I2a9DQ8MCiIjq9fcomsRDPvv2POcsmJkmRfjmLx
ErWsLD42Vbot0LCTuGX31YOj9PvaknbtmIGL6rcSVwgnMK9wOMQUB8FaDO3KtZC7EOEFw5Q8jB6Z
QDR8jrg+NSe5j5gIoSpMEeI1HQ4TxdE1PNhyHPkw0OxGHyU9paE8j8VdVPMuWrg1BSWEZJN7cJQe
4kYg2in2gDmi4vH13C9GTY4VdHm5p/C9P7+lUlVKjNIoDf16J4B2yK7xoenjEzXJtpI1atTigqZ7
y90XFUgOzs/jAWIz0qCJAL/xMsJ+j/4UZsuAzTp7u9pqeFc/+ePY/DDc7CNWnW02tc7cTkDTbLXf
RhD9Us/GwMnUNnHS3Sm4MXq+vVWCaWdwIa0SGsWBj5e0uXP6Gyv8USfThl7QFRRuCDqhm/v9I76N
4ZS+oacEcco+xJXPYpRcU9SQJczFVpX4FxI0yJKgLpACUCgAzRYJ/GCtdhwJufAUMQrys8oFozj6
bywTHWzNFB0g9VDT9Qlw//clQmOKmgUfTLO02dESFLoV60YH9gJcJN3F+jCShIK/QG0D3s765Wvh
MkJR6L8DztakNHi6mY0MiB9LngV8ElLzoXYH4OYtt64w3BnVi/D2+PpFl+rAnwaeLc5MmdIMy6j4
rMlvAr1UPdjFW6tdmGZSCSrnRGJ0nZGfrdZC4PI7gzgRsmQC2vN5X1i91MYOrI5z4Vv73MAzp02v
otLYouN8ihz52GX+Xlz27WitJvWO8phvEvb+f8aelSvaQe6NwCD8tt20CSzTFWJgdj/9kzfgytHI
jrSRzWovihlKGt4LrE8xZreFIt/4QJu5gw/ZuHXCS1D36IcHLsIW15IVXvt6vtWjSyLfvcNEsEOV
fB0DzLMnvQS0B8Ic/RAcQgoUKKtY22DTshLhluL4x7ebHS5W0KnlaNFtZPkSyqf6npK6kC1ZLVKI
5fHHPL6rDnJWA+GZLZ8gyjtL60HwNGOwbbSHf9LPuFqj7y+v0w8DzaJan46jHjr1O54h8MYNMDt8
i5B+InQLzk1tvJLpUQVa59QtzuaHoWdxCP/atGgzhrYn4LWihMmdwkE1FKDB17tx6aRQoO4hTEiO
TUv6847ovaTqppqR4ozQhtfR+w4MQV4hNbXWhlk6Bok4GO/RJEO/fV53CYtI7WRaVz0OosCouStR
kWU6lcjbKdRp187BxVP/w4hz8XQ1brtu7DiZkHl+UgKZ6+u0a1C5hg47gvhKuulqrDxXt6HpBngk
UYzQghexi76e5yVtFKhD/3n3ecYXBcQe/NcQ/gHPB0l9N3YF13DfTanWJlNzVSIV2NJzMez6N8QO
cbslB//6KVY+wBzT5etx33QNjUp2aY0EpQRknJWVOFtfoJOUI+KIX4+41HkD8o+Ls4L+Jc2u2VJu
4cYZYPGzc6rKGyHxOhgPCleGHD2eTSKj7W1vTdJ84RlI7Deme5l/auvRrZWPOLWl+7zYGtGaNMPi
uucaC4BGB+M2P269Mtf7Dtehc1i/kRqRDWd0lBCzyo+FtbLHlprvzMF/B5sdtZEUYmmjsQozbHQE
6qwp5UPFpbmSM8zrxp1dXPjkQ5qtrbrFA+/DyLPtnfqFPjQ9rxm/AZkV+tVZ7Oot/m935BUjJIe+
WUlklle6buEZb8KV+cO2W6dwNpY0evFcgRgBoA4wWKsfrPBSUTFXxVEvIo0kbFWhNbRIlHy95haj
54cHmKVSk66F/qjwAMLNSH0A3Em3EPEoo73/eqDF7YTQOgkj7VxwFZ+Dpyp3o99UfFf6qeifw1BE
cVrga6oLxEtaCl8PtyQeBiwLC2YU2WRknWYv1km+rUx9L4zhftqSA3BIzr8HcbenZv9Dm15xAjed
8EdWAEdvE/VgJ9J3BYuE0tcveU8BWAZ+mBp7vcPh1lxDZy4vc/AltLUFo2h+y/l/nJ3nctxG2raP
CFXI4S8mcjgkRVmkbf5B0baEnDOO/r2a+32rGRA72JVL5S2vq9wDoPvpJ9yhlSjjpcCJuEvQRnyg
FWWHr330gq5t3wqEExTe229k8UtfrDjb3p7eVVDVZMa0Hq1IOshBaAk+agG0ad3ZZ/EBEbNh5oTl
juDGXX/vrLRVSeuBxMrRXZ4dCw/q0i4omEfveu8lh0YYrXzyj//kPNu5XHIWOhQHyGsic20EiXHw
8/Q+0rQW8RSqJHNqnmI8/Ex4wqav7cVc11eD1xjOTqRVe996peB3hZwsx93plOfeiO6VHv4oYB9L
gsHjlUclnQT9S1yEOn0O9Gr2g6U/DMLJMiAfRTVGdGRGSEG3v90SwBgvyJ9vc/bxOr+KYVeBB5lU
7NpN9N0w2gyfpxE3qGk4ih5SnL5Hjfk1Bvo+afvRAPuO6m/DLbLOxFk6zPQZZUw/TWG3MqsN+spT
CwNi+dkblQMqfa4CslQHEUaZXpvGdjD1rV6v5QVLOxhWjgMSHlkRRDevt5QSRUY5FFScQHbJm4V0
AxVnTkDxVyXrl+ZewF9+LjbbTE4VeAqaQB8UU7RxBOQc/AddEGaKGMfj10vWR+/p9odeumovV519
Z2cK5YhOmggLB6PboGEqEujsv2oXL6/F0F8RlzqMquvXGdtam1YWUgV9jhsPUwzhXxn40X7ocnAc
J3VcExFd/IAOAF0ws5CC5nmdHkPZlcbgQ+2j9J8m5Z2affS+rRbs4jV9igQXC80qrFpLp9CoQrwN
lIc6+ygI+pexXmvILW+Si3VmMxBLTuokEh4K5IjTBGoUAX5u0ciiEnnlLFTtGzipVl1rgCxH14uF
Z98OdfDcTiKOQhDuBP2ya6A0/oM3AfdHhlxUaIvW+O29+R+e1lAVWi74gZuzUx+HhWLEKG0LpIjU
neThJftoz6HXMpYvkMh82nWSYawlSctfE2412EgFa5FZ6hBaphwMDgiVVj7po1u/9r6zqVqU4ooT
qklAVOjU/av10+U7DKBwDXtD+GHl8T+253xX6QQ7JPj4A+bq+sCgq11lasmdLeCzreUDQ2vkr6ZR
bEHmKZ3y3mdgxqYcc1ntCHdXnCdNAKDKh1owWFARN8IMfqj9UITaRujkJlmwc/xq0w7GAc6UG/em
a+ffpQKpAUYCyZuuvMSZ93uIe5Skei/ikqKKlnzLlYEKh6+8nM2/iKmoMg7mA6FRYDEU3JsZ5m5s
5STCpFCl7WVGJozZJKN6lKr2JFIAX+j9DKeYSfM4fFfDdCsUgAwENGTYrz29Q4GNCRIIlrqWf00r
vKOQF/GZ3ARxjdcEM04Q23JwFxkYTnX9MU8b19bTLR2cTRU5bmScEy3faJG07esOjV/5W9zd9Zn8
dRx7N/VqUD+ddRSMokxYaOYw5AvNcku2kYRFQSB1G2iRIT8pxtRY6ASbzBtjxKKKynR1uMRVNR4g
E22amvDFXFaHeJy1XPyqtkli6y5s4i9Ri6qP0xxbzKenycOW8xBLf6KB/4BxozW1rqEWx8Ay9pn+
4PsMJ6MXUW9m0AZIUMt22JYyopQCHh5jUzm+RAr6TNgLR9GPuqqxeHlOveJ5zPEKr8K9uPs0xsM1
3aU47x9tQGy58pw66pMAENzemEuXsQ7RVCXdpU8wF1Ybpk7KPIWoCpfEO0zhV+BjKI+L11FTugZr
50Bs88/H4GO+qIm/ZsE1wD1c0UPuqAk+OIpNSv4mtjZdAhBUVGcEgtS7Y3sCCKUtudqwXwoH3B4I
P5AHyPIckeLJeVBpA8cQ+DDlaK59z76XnJ3bb3Ux2v1choWuT3sna55PXz462wzgiLeHlIxVR+YD
fNX9xzkMzY0+Va4ttS9G+r6yvLg6Pr1lIXsrdBjhJsyWl6IWOaeAdJ1MoPtNVr2NEI4O+6M2bht7
I1kdseWQD6imTDrW2yu4n6XkQAyuQT5AAYS9e/30gxU1TmeNACEDzNV3wH4B3paRC0yNynTlWZfy
AlAE8JPAxHG9zHKtXpkkG3UfdpTZ3EdDcrLG7CTGH/oEV46xcTE6G5FmZtJLhu11mXVnH7CpsL0W
Z3OQ3hI6Q7d/1eKxuvhRszdgKWNepSM/SsCgtRyTJH6MENNhl4uzZSjFXqgC3V51SU4EMCb4RIb4
YLDnl0ySmMkYU3ygxCI0Xun59dpDCQ6Re8VUvpvwP71+w7kC5YaGkjB8n5yViLJ4wi5+w+x7qOqY
SpEn/X/7Uky6uWDhINx+1I8q4dMWp7dJCIGurM51c2sl18oWHalzA7fH0x8QRNwPErYIyEj5pfUK
GcipcU1ECJ09vpfYBHYFK9Q/Fd50lsBoJnyOMRh3bSHtVBBZt3/gYpbFkOnfP3CWeNRpXrVxCPZN
RsWQcisljAcUftpgbiV13PmwnSEWDzRFV1YWMfTzqwH+5jCTBEw0WzlXLcy4WrCMo/zsMVwjiXX6
7zjGoW5i1D9EjwbUlTrtVrO8xbNoCYVvBXdUZ97kHk1NKprJ/EDcc+oRkmDEnCNJGb7efsYPYPGn
Z6QSANtFdOVv1yFGN6SuSEZWShL56KCY3vXpMfHfTNAeFhn0KGMyUg93RuCcZGUEbDBu49LbIfuB
nsNX1a93UZf9hiDyhq10rGIkocNSvauTlGEkZIHiGUPgfSlbJw1rtggRMjGsq2kHDJPQIAiGrbDb
ifVngRvRmf3axBihDScmeVrYnky1+wNp/+3tJ188XhcPPrtAe1LHvGl5cCanOiKjyTPMz1Ugobq4
h1ADUNBrR59onq6Pmd3nToZLXfDNivf+Y7cfIjdFCCPapKYLJzhIn+XCNas7v9rG+b7FjuTVOdT/
mL8HEH/WrGoW5wt4HCHzCI6d0CYC7gULzQ98U/ImMMjGoO7TiAJTfa6r/NjQ/KrH8Mg351rdiPlG
2Rr0+Ltzkdj3elKu7LylLS540eDkLELtxzDr4oc4Huos2VBzrOWHVthlWluxh7SXVRFtESjnW9zQ
BH+eg4wb4+yRWzuJ68gQHakCpyAj9lzDig5tjiT57S2lisPyn1f6BJf1Qw+ZuR5hy6jdlMoBB0Ip
x3TILUvS9435asjbbI+MkPbV1zcVXd5xO4QYI7gT6cUzSKrbv2fp8kQ3HPEnyEtCTvr6W5t9nkVS
AIjVaE46Zoekah520RI6XOGDSN4R/Li94mK+drHkPGGyUinOg8Hnvm4Oil0coG9iskm3BoA0sJXQ
/K7VL8ic3F52KU/iEZnagBhWPgmK0j22B3CddMIQa6m15Cm3jTvENeUYzQGkCjSaYrdXXNy9pvDX
QTGVke4sMRwxEbUdqQHmroE9isxtlEzbgJ6mxD3BLXp7tcUdjNUlvgggzz/5lkJ5Q3UCCZEznFzK
bWrtdNV5bSlQYWD17zXEv784j92oDU0dftT3zl2m/60mHvINB7v6s+Vy0K2zQIgKFUdFavdm//32
Ey5+QaGII2y0PkuyjnCXfC/lfeI7iD1faPUulx7NG3/6vkpUXzwXwGZMsmoQTnN5C7nscrPujVCQ
tQh/DKuBN1HEcFdRZ64jZRY3C5LuCDahRcSOuX61RhcqYZBmH7c5TQrIYAigOtV3dU3ydfnBfi4k
ypmLbyjbUmn7ThqdfWFauRFMnuJUvZfhu6o/OV9+4ZNdPNWsEeP1o92VFYtZPd3tmFq7B++JjIU1
prvKqvb/he7V0iaFuIOkrfLB2J7lxHgj2QYOt1SdiXacYhzd0n6LX+Aro8yNkikHzc6O6fClhiFY
OuEfUiytXFuLIIvLnyDyiot37OUY29kpBAWSfitm9TEBjPOnYT0XOKcaeKrJMHKYCOvyP6tg5sVk
mEEVwBVUTqDrz0K63nZWobas7tMWyvADTWpty0nR4t/N3nG97hSm7bEJ/rn9rZc21oeUIMoqhkhK
rx86KiLw7oIBmuZfFPtr5TkHPbc3Wq/szTHdeo2CafO0u73oUkxg/G5zY5N7284sNTXrIoR9gqIi
pS/oMjI0UOIcUHKE1Qi7dEQJPSRF1L4WJfD1Azb9WCeDhq9Omx7AeQiSbd/u0BZscYC5/VjLS9FS
UAS49ZNKRt0lqT0YTniG2UEpLYYZDpDoL6jC3l5o8aNB2UWSGOCRPMcd6eEw9Z5qhcLFO8K+Fh3o
JBPDGpGEW/CUVpFOi1/sYkXx6JdnAz0FtbFY0Zse0PMG12/2J1n+gubk6nRh+TX+fDrxWy7WCnLf
8kMUFYTyh6R9n/Q7HDpai953/3z7PS4fOnJUNr+KlNpH2nexVBt4lZracHLKXa2UO/AntR6iWgzB
4sAos3qwVmqTxf6DebHibDtGpZenUsWLBPv7oXpoP1ndb4ISVXn1XvAl7B7pZD4josjti+C0iMRj
NStYfMkXv2N2oaRmoeZaxbGgz8H8LfH2Wv3IEVwVEF9baHaZcNQlLVHTD+8nymwgCVr2A4LZKrF+
cYtePNHsBlHUHn9AWedbTm9YhvEtLf00NmJks5oNr601i5pJJ8Nls2le0egupOlj9iCaSIr8roM7
1qy1mnYx/b7cN7MDGMUK0wFPZDbwBOtnRPZdXqUZ61C0fmNCBCEe6xZD+oXs7XLZ2VnUOq/3Cplt
QicI+6WOURuCMaXyJU+fVztWa1tldgVG5RTLSscXRGUYtieNKNJEutzrJOXFbOPnXpl7aNp1bnup
zmy2Ll5ZiQtISp9px8BpzdQ/ERhDSp78dN0JbTFyXyw8u/l0vKz+FXAcGXRjG30ta7Nx1ah+Lssf
ZedQX74aGKKNjpShAUPJgyVzWuw97y+mURRKm6nwXYZE2zSN9ivRcPmtCPsYbPAEquc68MZOVmST
QmwiASJVl8sXrcaig0lRiWPIacTLXDP3hXMWiIzbay8eKK5p6L50ZmHZXS8dxX1g9RpwFrTThW9E
6WXPuVocrCg7Cg17DWLkL6xIbsM9o8NWn88fzDophxzLYNElYspCaLIzga8Yg8PqZ1/86nAfoJ2K
Zr8129i6ia79FNGaCdCrM6B0JEq2iyOHESaSvpiPwC4QZoq3n3AR/UbdB2NRNGM0Y7Zsb5Z6bfVw
fM34h5B8G8sfovebBT5e1zoi+/m2617MKHoW4hpCld/umxXFzMXAdfEj5vW0pPRWaGoMWiByI+cR
dm/84wZ3Z61MNp30aqaPgnWrvqw8vKjT5x0bIDSyzsUOmXU+YTGmInMwb/4ozUacinGvpGWhlUJn
y5f/IWux8Le8vejSd7ZAfABfFn61c0HWRGqCSe9Yc1CkvRjvcnCUwn7R8pHHPYR+cpe240oSs3R0
LhedXbBoaox6qlHKI8MpCjXGk3DGpP7FMP5cpS2Ii+3zWxXdNtQdNHve2+sY0numTDUvV+mdYFwm
Y3/G9FeHnHr7XS7mZvCgcN1Ab1XGuv06JPRJPyLxV3FoVKwam/QPdbB2mtXs4wrwTvPaDOlOzIXj
dqX8XT43FyvPMglpTLJG92hgahxXAGlG50NHEVpKQNLBr3XldyCyxArSmKFc27iL35MgqKIrCUVj
XpFNYLCyMAMy2ugmKTaT7fxxTJ5FsigUu03s2NVceGn8Fmn3FQZ7QjesVbJ70sVmjP5smpd1OvJi
ccxpApZhGpDk5ndDHVijEvTdh+Lgv67nf2F/RNYDIwlCMpj1B+LYaqN9MYIIwjyudYrD+5iFMT+s
oWuJSWERfmVkFwBG67tnJjWnAenz7xkSkvYvQY8uFp1ruoVJnI2qHXzI/kB7yEVRFXypOlDZe116
0nAdMOON0q7VB0th63Ld2UVoTV7cARKLKI2BroylO3TSGS1LNI6tXePfjc27pXUHz/52+7h9Dl0k
D5wz3EoRv6B3dn3awlKBFy5a6WTPxWi+a7i4dIMGmgbf5LhiFCs9eVP926+s6tgIAaDAS+vnetVK
N6DWVuFHWytVD/QCkIGTpnd0JeMWveHi8AvroX2K9ANDg0/NgNFg4Nkp2PmQ4XQ27uWktVJxYC+x
eZHZ+hWuJ++VTiSiF3DUzblsQGmlOWpWTSjsk2QbL/pi+jtvzXMRqAfsuY4W8CbVedLUZJun3Vff
6O+cHGe3Xyh1r3/I7AOrcsIt7fSh6N8LqhtFpaBjwnuhb1Dp6UnDCG61b7AQxVmWGK7QgRaZz+wL
DxU6s17M86f9C/JiXP8eGl0siX+0jnt9am5Xu8ALAfx60Vki6yVWPTpFFZ41JzpqQK3Mob2bhu96
8Bio1sZuQHlZFFC9fuo09DeDF2FWdHurLURMfgSyzjS96UUj4H29t8taG3x7KGhjeG9g8dvM2ajG
FoxH3h5AnSL4SK/YmF5WXat08U6vL2mxMvKKzLcZYsy1RblW0Kpp2hBOz/gokMqN39+ZUAr1OHzo
MJjqSYYaxdqyJz+Uwyr5qYyZuWvf8dnd0Pt1GwyrWr3/Uy+tp97Jt0JszGuGDSkuOFYBkmv2AlSG
6wRsP/koVNABu2fVd4BuFkiyXo59t7X64+A5QAsEuYU1U4uSNdmW+RqW4POlef3Is/K47wd7TH12
N5gNmuOod/NrYKjVqErqK0HkP3zZn+93dpSkvBuTsGcxwDscJaEGhzcNfTiuZVk7gJkcvH5L2rLO
b148T9gzCHEtRs/4l1zvqixU81RvKMhRmhLvmZljYz7n9W5UtklyKtbQb4sPS1mGXjiiFwilz7ax
U9RlF0Z045rB/ipZ3p9eb+2KPH1wpPg4dNbO9scdcGah6SUUtsxgzVFhwZcCbYJ//4RPQumeOjgY
jdClk0pnP2TyTqhAJBZJLlIoHhymseuBJA7u1OX7KTW2efFm9K+695RK70POnrPlU2kpewv9LIFB
EC3SEKptJyUruK6P1uv87NFrZioBdxos7Sx3DI1htEs5It7JqBd11j8Wpr6AOQ+DWoXbvioeJyl8
NNHXmBz47xFMq+LQl902kONTpFr0/Sgb9OZV6cyzHCbg/Nutl0TPcSIhtNWBOJycR6EML8Vro8+l
by2k+RgzMc5Ch3u2ubRGMSrM46qzU3wLinpbgGiwur8TfOV8+6DL/MOdreYbHwPdu9vh8iMczl4c
sRLHDLShLPOT8EUANbIIQk9IA9awgkYhj1R65mM2mHuBMR/fIgRGK93eRNixAJSr3cmKt47yImzz
ChOrkjo4hrF8Noxh51FND2oPDiLcaEjbd77p1jFezwVfH07zpHuboLRPhpKgsCHU1JK/MGyrdHWn
g8DNFHCscnKnxSENl3EtyVsI0HC0UJqGDodf5JzfEWLiVw2BXp5hajn7pnCbFtJ7gdkfI2bKt+Kk
Pxa459x+xZ9rN6FvJtPaQVINIcJZ2Ap03Km6LC/Pyhg/NfS8yrK5k/tXtUrXLLcXskmUKi2iBa0V
ABqzpfRpyvWhjcqzTVJlVf037sF8N9rNe1dPf5aFgZF78uhoXUEAwwLV7ruXQFa+JDFIIYEgwrNw
2hjD9EfXZ+q2aoZvU7E2+lq4MyDYiEqd3ypgoNehVIqHbsI0GUHewD/5Ey56hnQXhsopRxw7qJKN
g/fB7U+wlJnA10J1S8jMIY0/K2rTztCzqHUK+IDaH6FU+Bu0fQ5QVoNDwGcI+uagtwqgqbj5gdSC
bjXPaSlB7ZYLbWU7LChwIfAghBIFOZLJ/CyyI8qTpBi0F2dPkwKXgDkw7Osi2cGaPf3Wl8PfvWzd
y8IuPW8856hlqBnqdqZtsxQxHzoBtGjL58j7UUmJi/IG8Htjnw+R4mbGmGCPqWMjGA7hveRVa3Jc
Sxfh5a+f41GCVI9NP0yKs97r+KA86v2hqtFte0bMlIvf9PEkWQnuC8MbqgYFzCDqlorA017vGD9v
HaHhloOO3VCe4KnVP6K8ZEe7wjxVUCf+MWJqCuoW/PDux9W48bk4vF5/tmPVtvaHVPbzc+J/Bdlm
tcDy9Dd/vEfd3TYfRvuUar/Qh2FRDgghGZMUVJOvH7ocykLyIdGeE/vAlBHJsgPlt4RZCnwYRwyo
sQpb1U1diCBXq84jSGOVWtOb2VlB2Tc51gKgLCRIfAme2KEMV7pNC7HxarnZWQjNdNKDwsrOTAPI
31gIGghF4srxXwj8LIOHCX8nRZjPG62uLvUkVjPR5jZ0OnRvFSSt/GXCFXVsNoxv2iZw7W4NvyY2
5uxyBSNHLxRtS6jv6uzxzKQqrNpXsvMIe0ZH9PfQZe+3n01sg/kSQsEFKrBKyJ9Db9ShQ1WgKrMP
nE99bKMHOCKB91jm//PwG+Eo9ItUGq20Kj4cUi9mtlGmpF7SsRBtGcSE8Fwm4Ye76ArVbONPixv/
9pMt7Q3UsQTODrotzfTrAxBHkkz0ZcGQehkycTwchFMC7rW311n6SJwzASYSbnPyrGrtnL5qizzP
RFbAIIqPpK+pXiw/ys8ltOtHsfTYr+2AR2HoMbUnkie64eWaZ+fCxYpmIfplbHBkn+ZKlyFqRlqT
RR8PQge8M6gNt0oDh674ve9eb7+1hUABkJo/Qj0Bj0URMy+2Q1L7ZVt7vDWQUZL/pgSuR1sakoyu
RK4yrT/dwju8WnCeJPf5ZBVllQmqMhAPmp/IEw3RymMtZQrCUEYX7u3ka3OMR6dxoPQmzc598Zgr
d+Wz9N68Juqufk7+GkNXx8hZ6P6uJAULn+5q1Xmw720HXkbCp3O4ziYUFVG20s16r3aHkMqpjNuV
avrj0pwFjqslZ8ert6bCwW0qgwWwMZy3MHxwcrwuvwbtvfaGPBxt1jDdJzmXjwuUry6e2uCxzu70
fusdPGwHdra0QWUgabfWGs52gRhugiWkgUU5BKZwnqkzAEhw97DSc1ky7Neav/W8PySqmboaygKq
Mu0TFKUdJ39o4mRTeAziG3XbmfmjnqZ7sktweqvareKUzt8YKjAkIhaGZdRK11u+aTEOa0c9Oxd/
O9pG8Vy8vGxkHJ+Sv/QRzagdCP1s2LRrchoLIZ7mP6+BaEgpMffQGJJct6qULwVrYtJ+EHylynTz
znBXt//SIbtcavaIZTGpXd6zlOS/e+rByE/CreMXoEaoa/98orkmjxLWddX3SEXFfbhpA+nUSsE2
61+GqX1K8EP/30PV5WrzyKE7uuQHPNSU4DqCj/G2MEGKu0LnOIGNtHKyVt7hHPkWsX/GRCEyclEO
NaBC/QEZ1tT8hfvx6iXOLpUk7y0j13ksEL5cxVwqwguxWEu+RWk03/WMnkCCCngCDdXrXe97WjlJ
WZud8+KxowWZeHd191D0+678HY/RqXK16c4cvsTWg2e/5cOKRsRSZBQtN3j1+KfhxXC9fFdHgU8j
hDQ4ku5sDnlteaese7UkOXCjMtuO8Gtv7xf6eUvPzCVK8KHhB2voelHKP402EYpFlfwqGsgRqBFr
LB8Sv70bRkg3+fhoFtFJRoW9VmQXeR8XQ+B92iKyOvrbIBzdsZNO4SDfoZV7T0/FybX70U62I/xb
q6zPVdEduw6FmOEeXNGQq0fBLS6UCNxnv8eZx7VH/0tkMq5w0DpEKQePuzBSkT3Mdn0/7vVR+9bE
9TefKbtkDu894BAEYIpw+od5TpJ4jWtEMkxW/yXrkbFI012ZfE3kszM6rmK/CVtpOjvoHbvpmN0X
0JIoOSKX/rnr81WjzNzSMp/QPAMeb6r9HSKd+IbYkKmFhQWOHOlxlPhfGVZRjnDo2KPkGiJCkipu
WkgoA497OQ6ewGFmVYkGEB7HwCGyunnBTfdvC+SbN+h7v9XRnWUiBM+D+s7STomK/HpdSnDGnXFT
TdNfntL8EDR8E1G+0qqpAskAwvbeH+WHynfu9Pw1GKY7dciPUZXcDUG4sicWD7VwIXcEakWfO5Dq
Xq7HeFcTQ+CgMFDR+1MCgGRVmH5xuwMdAfvvQIaY20NpPiVJbvkE4CnfTs14hn/M0F0UKhg632fd
Smm0+FywYS04qqRz847RJNWx2crkjIynKG0ZykHaWk2xF1fBsJHmORMpY06JrPIiypqSVdB+gvqp
GM9M8Vepd2urzEOFhjOvN4akbgoEP3qV0S5GGWBVUm7pPiY1pFvL8EZgx6+jQ01XpxglZvKsA3gt
HU/gEyb/eX2gtrQbLlealSZG2+hardnp2ftuQXf6YD89jdGD8pf0mFhukbjYZ0XVZsS4LHbLva1s
LGll5y8GQzpWMDsMtj8jtevH1eVy6BEfT88BnmWu/sOzN1ZNG30fZG76Rxu6qnNnafuUf1rLfJa6
TTTifq49ewGj1/aKHOrp2Q6P5CYHqQrvFBSwJVA9A5rXdueO+bR1MI9duQOWkr3LlWfXXm3GftQj
BX/WNES6sexDKu8vKMqtdUCFOxq2kGSHl1Z/z/+6vfLi7rp45FmrUsurcXIGJWWK+FVgJOGbTG//
DXB3aSEUh8hmmcgzZppdclEmZ5LaUXMApmUhrwfr8kxvSdQbtx9paRszimfrYKYsRrPXO8jr7DaT
LCcV4/9BfU0zXOmpT6uNWQf7VaXlxdUY+iNfxgf8VDtUfZgAOODLiaEEd6vgIQEoshkIWcafq2TI
heWw8yMMMD8BbTAvhB1jgoSV1igq9c7esO9shFoIo06tQGzPNo6/kpAtFN7CPtDAyE/XhZHD9ctU
KtNCGwMSR2cd6uKVdGwoyg2MFYfClLb/KuthKQBYtF1ZzHIgdMw9WsrWtIouyVFUYviDj6WSPfsm
PoWqvZObNz6jsGgJnC9dlqIpVrgdejGrwX3xsS9+xOxYJJEVR1HGj8AsZiMw+w0C+an/VPlo5Pvo
ysgZ3Yd8f3vnLujtMU6hc+iI4Ri+JbOt23mCRz9ohIGk+VGlGGQFcvW174ptjIeJsOzSwupZyWQZ
saKH2MTiKoq8bVKXx2CK3+E0/t354UPpd+dufDDWxneLb0VHrURnjoCO0Kxes70GGeWCYME+jxGL
thHdgYo6VNkWD0z+/Np2/7nivDIfRjNmViETnoJdr7zJ9XfOFwSGaNJoi/zvrTkEaRnUkZjQZ5o3
N7n62kiuWQw0y56QIQzf02lViWnpLTIRxJ6Z/ATlldlbbOpeh/4GV0Kk8+FdTodjdOV38LqB4sbx
TtGOWX4MMcbzHzqkt/RNjoCyt8VF0mmPKztuISyjK/j/fgwKArOwzGGT+2Dix3jYqhjug/xev90F
DZcQtH4MfNzwS/FVD1xf2tr4J/orsXp5eUSV8Y92yHTn4aXEo0fqgwQerurqQ7qJo0c6vEX1WARr
7fHFtWgdQuTHI44E4zqUlZ3kpbLsJ2cTHSNsCVxDZaAFjQTBSj1+vv1i1xYT//6iYWk3jaF7I4tJ
uvklH4u9NYxuqSqPXtFuAfOuvMel1AXoxs+Hm73IyEh1qfJ5kSkAlWznMHJOXek9knZ5uhm/Kf3m
9vMtbuKL9WabOK3s3NZz1vMM1LrcSXZRovKSjY/NXb7p1/bJ8nJUQ8QCcRvN4nEUp1Wf4od9xkdc
CIS12jNlZ9fUpN3vqnyuMn97+wGXP+DPFWehuDKd2GlTB/X0abgrtG7LnOJoooyBp55LQbnyAdce
cLY549rxkZyTQFD11LSSsefxSMbo5lgoaxbIN8trbOMFyK2JSzyYH1EAfgYoGODI+zQweKnWwY8C
DGCkBwcD46Ywtl5eH2Xf2yR5unO64ou5mqYtblnsdQBA81VRap5toSwaI9vzAd/WaLiNef8QR9re
iy1wEvrBM5m14sddxCr9iK5aSbiXvi4BhxIbzJOgcV4fT/y7siRs6+LcZcYhYSeBOEYNFC5OtpZB
LQhS082ichMOwWIAPzuanhzkYzgUxbmWsJQYm4MQwg78lzx/H6LpUAYVW/p9qost/48oVv33LKKR
h28q2ZWeSZs4aVauOrHmrM1m4zsDe9VEKhswzvXz920ymJOaF2ep616x6UQNbGMP+d4P7TvRgw0z
ZSVgLLxxYjwYLKCSMuTv2Yp15Ldm05SFmGqn4Kr7nGaV3u0BN+7VMr67fXq1hYLKZq6CeZLCCPZT
ucGLTaXCU/NzOdi/jVX8mpmo0zS4BvnmXhujfWjjQZdLtguwUXZDWmhC8qaQMI0mWDb5j67O9mlh
qK4sgTSK5a3c+Bu9jB6jcOAufg7N8BDRUPZLMxeoeN+LnsLO3Fi+vdU87wA88yF21sKS2JjzD4fL
KH8Jr3dowdcfzkEeFzWMIT+DQvSqNxJxsqEMZNzt97fg3WOiFUkHCpUZuucfILKL+wv+R0cvNs/P
jdrsdBjINn59upY+5aEO+k/bB2ZxZ3gm3n3GFziLOyScKrSAhMIfnvc7HWN0ewhWPuvSpIafhfwN
is+IhTiza5U2vpp3WpKfY8d5ikr12UrwaiqKQ1s6W8PG2aZL74pOPeFR5mqGtI/V+ANknqrOQfOU
rQpq4/arWlDgEq/q52+a7ex0tI2JioxXNeg7n/J3q5chNGb/qfemZymi45nrmDy/gQtyob9RrTwU
g7bTR4O0Xt9FINUIEJum9TaKOVA2atUvHD4+Ithsam+QWuK0XHxNY0jHgalOfrYYVVnfISCP7c6G
d6CujbcX7jG4Iz9Xml3UY5+VadOWvAwLg7ofDCXC5ABFNxneAK4Gwy/EsY8+n0Bh0u2bxfHCTyMz
zXiwVj6NfPXghFwM8KoR+e/V2YS6dPZMmhccPsfEwuL6LVpIg9bSkOVnfVK37dQd+kT+IxiYtjig
nrGHsywA9vjOFmG384RfahV/ub3ZlsBJuGbQq6XMZyvNO8PW0NhTyIzurEnpFw85Owl96jSeHkU/
H7kzFIumzWhJW2GFIudvYzB98XNj2xZIisKDvP1zlr725a+ZJUmqXQ8Zdsu8EflAmxqTzSDaHFD2
7IJTsoa1Xwp9l4vNvnVbB3JutXF+NstXphAoXSG8IHc/bj/S0j3FOfkAgdjoRs42sGwkAy1A0FeB
8wJ4ggBrAsAG2rsK01hcCcqIgMMKMqzYbheHUosK6oHQBqahKPeVLn1VrNa1PFhoWuWOVr//hQcT
6C5V4aSADrleTlE1ycCPgxtReWCAB8GbrngVrnugLOUWtG7+vdCsg1vKalGYnpSdNeraqlC2dtDd
Z7b2OE6l6zv+PqOS/N+fjf4UdyKzcny0Zluj66rOyWoQV8SAMn4dWqEbHTHJ0tekJZc+GhkzPBcE
RYELiBNx8dHg5CkkjvJH1z/VC6TIuIafETKf1rAhKyvNb3pU56SOJAkfk+QUtcLdiFrVzB5W9+FS
1wluFg6TSLnR2pmvNChdTZLOB0v77GjoydGz3ukJuFIHBy/6R4r7e92HBGGN3yfzG9kJSduLVL00
JI2e1W/rvj82Y+G2sbdSRS/Fl8tfNttKRdUHvTNyRJAXpJWyq2wfx1hr3zYPpuJsyrGh+FyvpZd2
MKI1wmEDfJOsz65LC0B4XWjAEjGwgxDjAwEptp6uMX5GRb5pznLpbwsB41aqN7koj5NR3g9ltJdb
5czA8BD7vxl+AWMh20oSYKUYQc6ebhJ09D2qlNtRRfNS0+8HZFkBmg0WdoB6e19OyqEEiD46O9kY
t3Ic73FM2alava115b6UunMSBogCqEIrvPKB3qUYr5Yt80vzQBq0U0L1XLbWTkE12q/7u5GJZtH8
rhJVgLG4mVwdHP+tr5SdXHNXBPkXqC19NrkxmqBC96E32j9KxYK7hVwI/k8YFHDFPNOOdktabs33
9FslHwu+PGnGdvLCuz6F7xZ6+4Q+ex7Xu3ykdjGknVd7xylX+GZfrKxFR0/BPQKRIZvLUqjII6BV
yxkEvR6RaZzu8IpOkc3cFE6CwGK3rcxgp+PAWaYvklMfCtnY1FO7D7RxlzoNl15j/H07iix8dkfA
xDFFIO47c6h4Mwyd7NdgD9q23sUcClfu/pB6Dw69f3RAHGJSuVKHLmxwuK6yQIoDo+N2uw4nWZOZ
jjOCqrAh+jSnxof+O3ynDiR+xYO9WUXtLUQVFuSyEX0USsDZ1lbaJM4VgzGMb2ZHBzZNKDmPYWoc
nDjfhVO5kiB8YF1n9crVerPr1J6q3Ar6LDwzz/5bs5Kj6OqbcvqbKVyoQANoeIIT2Jqh3DXwE7ug
PdiTc07GJ81J2YIoydi0mNSGVqzF30zzKYKedvvLL70VEkhm4KAWUZabXcWlPgS13QkQjX1Aojay
npGzzKTHKE9XVlr64Jcrzd6/UduxXmsA/pTgHb4gKkv98OLTfA0tZUO+tjo+XuryMEf5+WyzL6CO
UTiiIkUwkx/UUTtWDQrxRrBrgvC59P6yfY180d9XDcSf0ln5/ktHCkCdJZQEdGqP+eJKYWTl/3F2
Xrt1I9u6fiICzOGW5AzKwZaDbgi7bTHnzKffX2kHSzSPeFYDDfRFN1STZNWoEf6AvIdIOkR2aqnt
BQK8Bt5v86VkWnvpsXh96+1G1KaLbwmppzV8SJWWrLBMDEcQnOiz6h7Jgc+hEV9YIXDeon4GXeQ7
kXUy7eB7p8qf+ir9VGQM1D/eT1scK4ckkuvDUCCfrJVOGiPsCntmit0Z+VOb0SVQb0QKTqtlzLu7
2HnqHN3tguETpDqZmfLO+iKZ++s9vFl/taGXuDPJiZhK1kZ7Wdm/4/wxKR0EzzUKE+XV1IbMuWQQ
+28WFrrH2Bpjar5WEDAzCHOTujDBiozrRE6OSO7UWY/SzHAVLbyAMX8MHe1mbJKdULqFpcXiHt9u
+NfMDtc9Lb1qjGGR5fJaLn7p2DSk9kXR0dpjPBrTFV+MS8VpuMOy6ERtRnm4O63aml0C+4dow6yU
YcZ6tJOaeVc3c1eKITcDMj+s0P0B0pTTIs+Dl8D8AjALs2z6JMnoh2HhczvK45ePP8LWofvzK5z1
TMfqghz+RlteO70YtcftU/B6oZA8mlzr/+liFjrr9G8B9BA9X8PPm4Q4ZXpjF32XC7C58GfnkBM+
UVgX08pg2Hm0v8Pn+9VW+9oe8zCs5ZJ93TDPLw60UcPpgTI4JavAL3qXUf/3zSAWNGFLQnlgLCh+
0JvHY/wbD9NU5NeV9kWOhd0a6l8IF0R5v/MiHVEsvz+z75ZawwBTtaLdN7YgX1DuB7IQXnWGesqi
XPgPM9mPfza65tul4hmZLCQGjjaetVZSoh2iPRolkLakOmm4rUqBdIzjBOEU+2i28+cqUq7gduG4
G527eIKYasHMH12mqE+Gcptrw6ehVrEsCn9A7KIoBB5rIsMypn5qKpjBT0dKe9X6UjXVMQGKtFSZ
JyujK3UIjkuzm/aOl2nJI5bFogFxNrUei4XMC8DZiZwmH/jB6PxF8jcTjJTSyw+EQN5kLzm+lL/E
oepXmeFG2XiMDfkunk5Z+dgM7RnqfKg1lD7DjdM9wS30I5B66BAcLeBBTpQcmUofYnLzdtIfISqV
feobICGWQvdnO3dnfFBUSfaTIDraZXinIyuM4wEE9jj/z7M5uAkQO9ALRwiC+P9+s0xS4mAOx2Yx
lC82niuVDpSuds0JRzy6tELoakd4SRS26z3zdsXV/dqBlLWCsmJ79iT8WuIL45zxSchqfHzMN6Y1
759t1eqpu9bUmqXm2ayAubDsNmbv9Y7lI9tIEBOn3QpecnPP5/cVrff3IyKazGxe1UjP3r/UmU2T
5VMG6GAwzlbeAnSeLlGFdms7/arL2V2bq25WN2dV6vwuMo9y019PfXxMpxrXr98RppDV1N1GDSzf
3AIAWjxSPRmz4VZaclca5qcoLP4BPXO3qMbeXG/jVuK9gUMit0TamrLi/c8PMkQ1c87Lddjon3ID
xvP0EoWlmyaVH7W3IdVgqLXsjMn1xqX8RJjdCSybe+TPL1g3fgZ1kFJNjUAoxTVGgl/K2DrUwG4r
Vd3J9jbSHvGwtEboJ6CzudYBqdVJNjtNyq6buj3VVHVdGx41rIaarD22YeC2OI5qrX0J//08dv2p
bsHVfLxTtx/3z29YXRG0n5Z+SHnczBm+Kr2FJsaTWix3dTDffbzSxpCEx7VV5pfAtmFLrE5fadKe
GWSW0sbCw9DXo8N2LfWz4kZCjyTqVPNU6xqmTOpdxExA1Tp/1CCij62XI396cjIl9yxt/B5GQb9z
YreuSjRPYXGAGRK9qvcbr7KduokHO7tOzcQTuhVinJxhMDXXB6pL0DNT0O28+78zD4v38GfNVQDU
A6EDR5UnDDlRKCv6F7Y4LC2SLamxdx5w62p+u9jq7edWN+eRaWai+Uyaw84m+MHSEqHo4w+9taVM
qkIIjzpDN0089pskIDRQjQ5UfAFS5RLJROHYhaQeMmk762y+vjfrrGJFAi+xH3uD44MtTSI+WJrD
qutPKLztmyOJDbAOrG+eSl83hMdkROea99czO5FvjOKo9r9AGKMZ0I1goCyvxmK2Pe12NjfPDfkx
oB8Gwfyz+nKUmlnfOzNgFSk6pt1wYpcIDQc5/hn4U2oecukEORf7+XZ8yaPqQPl2IQrUoH/pjMj/
+Otu7iOOMP62FoDj9WQ66sKm7kYglVkoBsA+Dbk6fUYe1LR22pkbo0LOh6EA6JfJDlDteb+RMr2W
ikijPE3m4amzpZ/SEF/aNQgwOXhSJkSLoDMGVurBgbDp0+GGWKQRUnTjFYL353AM7/V8eIj68N6y
Zoi30Cj+85dBd9uhgQ8hEXGT979wkUyQLwWfhm6UmWGANr4MyvOQ/OYIf7zShrUK7RYNcU6gjqTX
a/JBNmh635ucKkzdotI6UgeJXFKf0jONK18FJCUwGbNZ0/2MvAS0Vl8/BMy7ail8HTRjHqrgoNfi
Mo3ypTsJY5o9Fe6ts09LCOloRFOYLaz2KhrtQzv1II+C7GKQj7J81Kqfs7xbN/9dsfM2IBwhCg8e
j734/sVXZVQvi74IxCmYAzE6KezfeoNVo4m9bpAwH54jP41eEppmFfSuGQWVOXwp8Pwxou6qgZUo
B07rxr1+Z8XG1ybCvVHod1MFylZ4irL8XgNogaYUqpXDpbMwri9TUIey9Whr8aUjrOlBdA6h4ia5
c4l81dLyExjkYBykxA8ByZ3ILLM+/t5mj4WcP1rTs2jI9m3+grxawnAdo2CvNMLbRJM9FWLP3Flf
6Tl+isfipzLgjWihO1XObh92sCrtu8q56WT7roNu0KKPItL0KoRyoygXcxD6apd96dXGLyzb6yoZ
ayvjOmMJk0aSaF+0tnwbSfFFlOaXSVfiISdfo797Gav9DzXrjzNPi9PiM1xurN6Gg5M53pxkF2pr
n5CrkKKX2tbPWqLGbjiU4ckc/FRWXz7e6hs9OEtGapcTJY4/F+T7j2s3RZx0oSZCzGOvPFt1dDFn
zjnBq5y2BCJWHPahUq7sJr//eOmtLODtyqvta0SZKZc928qo1EMHG0x84TZhXp3hrdIaF9XSc3Va
OzF1s1wApGHQDtGgr2oi6L65Mu1yrAHiywA74x9K+EWME7idZesJwg+FEIMUf4l/fvys5taN9nbR
1T3dBYk6yyGgSzkoI1doSEUDDj51WCH7px11R/KbGDJJZtzSj4yX5koOojN7OINWTtk0jyhutE9z
jZUvECVaV2Hg+GPzRcGIJpb7Q8EzRJ3uUc0hL3dfpMNV/2qd3EuvZpuTDMVuvi8RC7cc1JsRDyVc
VcuzOFNShNOCfpNBtZKNxRX/RVKzC3NcYDlSOU34fOpuaT13eu1HzexXTeIaWY1VdvRoLg2UlOd+
ym9D2/wlTE6SWj5+/AK38o+37291PVX06ItcxKBI+SKUSHsI12K/zLXtdvXikbrsVAyvDeB1EvJm
yXUSUhiDxBVAeG1D4UOBYIGWX7X2fcuEPw2kCziirhNGh3qmeusG36Rsy7Xf4ZDe2vp3JU3OTY5T
SkrfvlHd2XAuxkE+aQwFpfZmcc4GOjWSHSID9cLxvOlRVJ9D25Prf7JmupCheLfVP11leYmVHSo9
9JdFPpdIY47gdZumwkGWoZhGYKJn8vHb3jyaDH/onUEf+cuJW9bqOUjTCaKDIiRXuGlFYsngAYl3
MW36N5J2hKE3K65q+CVuTKXU+0yMyemcyQwH8xAzggCl5mslv1QYd4SoBiY57m7hXhDcPp1/nlfc
tG9CQpcb4zCEY3aNa0bVLo+AHgXUEMBOOMPAxJKTMbq4XyxJ8dSsfvr4dYs///dO+7P8KiKZfTsH
Q5UQHOTCbY3a73OPBCLeS/K20knyBdCVuDuT2axifS1HkiSHXXY9BU/onNI1I1o4Qqms30katp/o
z0qr2F53oaQrA8c1ZfSaq8893sbwgi/E9PXjd7eBu2PnQNjEjcwgOzTWL09OhrKr+HYieklyXbpo
Fp9ak5iJw18/kndUWo5GxnIbLU/WCGEuIBuzsf7tmJPPmX3bqP/CYYZfZcFaEIhwoLWrZBUD0bFP
kIei3SNEOpD0UaNbZkuUS5jG7dS2ljgdf22gN6utPqxuZ+MSWNQJkjO7ZWhe5/S7u6hzQzCIXdtf
pthV50jNddXiy3A2YjKjJikuJN6CuAADa/DI/k+TnZ2pVlP1ZVoML4LZY7fGUajUVgooRQkRYhAy
i0HkS5fjZAMmBEJIzUnaNEzBQ2Mo+JVyctr8lDjyrZpyZsrRdQLVF96q1KZGYF2Vtno21NYDRvBJ
XDYZ9HUgivzR0O867aeFd7W4l+ruQWltDn6E6nJ/EKlnCrgioicrF5gjxclRxYC7oIAHLFAHrW+z
34w49LPJeCzt31WbX4yOchRBS5L3xBY3m0pvv/JqmxtdFQ29w63eSTe8cSw/wFLOAUoALW9Iv6Q+
lhCDiaIKM6c9TujmGXvz0cWmeBO0ykbK4VYQNSRHLC6gEjIkP/P54wO2GTTeLLOKjSkpbtFDJRS9
jKZ76LQnwmJePFP/frzQ64X60S5eneREnxdcdijwwua3EcTfltH42iblq0FqEhTsZn06a+yFRKtx
SmCCSU0WDZQKzYvIbYw2ZPOXN0wUpay66GT8ZLGviWlUVANAuaFvfW26EaWrGTXX+dA+j2V2tMHh
Tgm4YGsJ3Vdwlnz7Co1tmjsBmVRmhZw+QwsgOH/8xJtJzZtXu0oK7S6dAtmBqULuzRR2nk/Mp0Rm
9irB+PFaG2p7RCQb2T/0fAxMWVcxAuMFe15QbIW4j98uLniNZt7HWX0o5drrAfjGwB2giftoT/rq
0HpLH8Jx+LLkl6LMqybbJwnxwv6HyF5FGJDDya/UFqB+yuHfSUE2uAnvf+/qbCXlMMhWQfo16zLI
dYg8S4Fh68ugowKMUa8c2b7cWy6IlDp7XJrxNhTQAe1hjpuzXXfuXEdfdea6H7/HzeMgYHZiiErB
tEpEw7G2i0YkoqQK7bJ8k1SIhmiUD7F2EcbqTltms0cvNOcFONpiXr+CmQ1FJBM96NHDGM7bL6Jx
nVSOW/VXEolkMbQuIs55u/hGnB7QrHNBZe3cLttR7s1vWN1lTdga4WDTGuJruJq6eNgatobqleDH
BU5HTupDmvfoUCDpnRvuMqePH7/0rZqNu1RBy5MxCw4tq1hXkfzDbcAvR7J/TP+Ie0AaLsEdykl1
zlWvea6rnbxi42y+W3Ed9ky7KCVEQq8nwkXYPqkGM71M9Cue0rqiDdftLLjVgWNFHMmFYikIv9Vr
TpzBkCwZvqM9pUeuM53YA05dDCnLSTuH1cNUN3cxWImpMa8Q2D6g1XfkZd+YU34WUOCA79MnzWeR
CYnR5L/6CDi+CeIFP3P1SqpJkeJ64SZIuksUqJC9+k3Xy+jSfzT1Rkpxm9OYMXDf7awr/u7qXoCX
o6IZC3BG/cs+HqXrqOs1btmq7HF9to8tcShRilNOJuVMYBsLNC6M6Cpzmtg15u8Bx8IxJq9FmAVT
2P8fHObOT1q9ijLLqxaKTnrNd8L/asq/DaV0pAQHyBBP+sUQfdnDkIjP/9FbWN2O3dyGGc3+FGOG
6UTn5KLTceNQtNy16bcK2MisXxh1jj0J+Qf53ZDtDRvghe38iFX067AyRPiGoAxP6axNo9tanxGu
pLVXSCfT+JTpOhgL1xwMPlB0EZnXVuN8s7OvqNEe9PhblCVe32Vnp82/2upzrdYHLQSHkpd+USSe
MV5G3EJaphwC/OcUUzokcnOwGvmQ6E/cbddtidbEQlKXlCenH+5JvEILSaCevNfUv01y/gKPNvaU
FK243PnGbcoIeJiSJ915ynUuLpjMo2oh3828HiePIn8RIU0kqbjWRFgLwiCS9d9ZoLuLEhic/ZtQ
RVwE2plqLEcta/x4IKOdlu9FH8J+nvxRmQ5j8BTQU0JG4lAZtafRBaHDmZrFRVrLZ1ztBCwEDEjW
9JaHWTFuWgHFkCwnL9n0WFCAoPbrRrVyyHXDFxkjKkAHnT+TVtDCUvU4tP0/Yy+DZkB3T3oM88Ff
xuEwIDprtelxCqsfal+d6x5Tks6gAdsxACdEouRol1i36EdpaA/aYnqNNQHIqI8fn9ONm5H+IYrj
AsKpwudh77zJR51R1RoBIrzugcoGTnyh8XqZm4CmTdJwJyvd6luyGrYdGnWWaF2+X61pkMhdHHRn
SUtFlUEGTPKEwrQHmok8WGT8KZfTvqOE+Mt/HUREiTA2IEMhML1fmWZ4GZvhguIt1z79IM244eAP
6aXIP0UInuaTOHv7XIINyCrZ4pulVzlcVrWa2Yw8tOSo9318CYn2VKUtmu09/cDrRW9Rsq5PfaB8
HhrzJGYTLTYLIifojcTD50o0qcjmH+FIEB7LcwQd8F9sA5RKhSQbiP01l72jQh9aBXYyqKtCvrUM
mNfSXWHdMtb9eKXNK/rNSquImPa1jQoJ94KFmK3z9N++UwEYb0BQRfnj48W2MjGQg3+ea5Wsm7UE
XCNltZ72IyyVUH5m5holj1ZwUc6CDi2GPAs5MWCvqnnaWX4z/L9ZfhV5R3Das9Nw42BZyyS01ypX
FOtQjRoiIYj41KVleMIXqt2TU93CubyCJqF2wWBBIev9jldLpULFnKhf5oiiB5/BNF2bVXBcrIkq
l6GJ0ZxiWBaG1lEfJB5EASAw8AeQDFps8f2VmxIzY7ahk4O0GNNrK7KvpvnbEAW+bab/lAiJ2tro
Jf0ezHc7UID4/N8fvzozY9w6mV3x3civEIeqDnornQZ5PMF1FLFSI3go0+g3gHGgoe2chu3M9c3y
qzLGcNJWaWOOg/Ce677I0+DWOrRppth+9jTpV7uw6s10CeQVGRoscvyc33+tRFczObVI05aIRuYC
fcH2i+gBG9KPt+Tm8Xuzzur4WdoSxxJ2Uf8Dr4zR6ICrTiLC5t9Fk22/RwOdMUY2sIHW7ACtrOK8
LFAEoNsR9otXWM+VNt0SfEVl2k7IL0vDRZQ3O7eavnnw3iy8+oCIvDDONFnYilAZUzgASkXqWx4T
rTgrwwuhIJHri9gqC2Q7cKspYqYE0rO4ijJppJ9FC4x+Vt+fo+GehLmvQdnAslnM8qaPE18LoS3T
Wx7Q0mLSo0hsUwbMQZSe6bE48gIFV0N+FBO6/oH7lG/plD9KQ/b6MLwjZ774+LtuTb9xsMf4TrZt
i4n76sSY7aIpjaGmAEsbV17M12582ug+yZamU3BBLhMVCS1C/k1/fPiid4YrOjMCNzlVtACLk6oF
aH3gH2bPqYd5/BEsvvvxL93cgSCq8bcCV++s41JpDHIWDNNrDtBS+IcvtH5Abwb5Q96/fLyWiK9/
3foQ0LBVAU/8FxRjliS70SWN/Rf+yBrl1jRsb6aTgj2sPvdHaUJaZK/19tq7/mtR1jOhYgorpdXe
k8lgx2UekIfVH1poV3bCdHaZngKaDrIZeI0tMStoEUpObwSejAGKS1pQQphxyG8FrSFS0Kp0lk9d
4VAkZEeFTzPB9AYL7raleTaoG6mla8o34XsRQ5eq08QfTcNzpKd6sX/aDCRyGrQwz9wpiE4AcgKO
gcDlmOOZzrao+yfzuYmb6y6zzqIfHKiRV1oqRjn3wGSzeRhcHfyu63S9egii4buKiiT6BNMO6HS7
QLF1DRK0sDx7vcXfJKHx7HQBY3+uqtK4GvIWnWT2YSwv3wIYJHmY3ItsvwWww8gS/LSvRPNlCZcO
Tc8DN1HpJoLthlQAqBLsYDx7UP/Nrn3zE1cftcbpym4bkT8yy6KLhAh/hOcOTuZ96PjOsFM+izD8
9x7CvRDbOegna+CjOQ6dnDrsobx2vBxYA33ppHqZh8kF172Tkm2HaWgl/7vaKlUw8elSESskWqov
BhiCPG2/Y2fSgdLh4XrbFEkoQ/+dh9y+5d+su4pZWTWm0jK2XLPyKflcB5/oUWX6U2Qqh0q5AS5O
TTp60n8OYaADiOgd8DeBw1897WBNcpeXlDy0AeBSNtM9pFth7hR2Xir5IMM/DkKbr5fuLcqhMKU1
xAze3+2W1gWdtEDKcxzpaA8dg55nbdFdUGg0AuOLJEy/K/OA8tweZnOrC0guATKMNgwql2t5v8iW
pHJ2EIDLlUtcg7NOWBY7gDe1+mBGbhHcmgOAfBKN/GHnqcVrXG9hBfibyOFUG+zX+6degqyq1ADs
Ljy9xm/lcwfrtLhsx4P5K3tJlJuqRQI53WnIbR0cuPaoc9PnhWaxyqMg5MRIU/DASyPcqEtmYdMp
qX7v6jRujTDpXfxZafVVi7laWMlG3Q15ZTuVP3EHUbiZfqymN1Kk+GCSXdm6N5nHkRYccYH5rNSW
l9dAVyLTi8kePn7lm88OVwjOuspmW4v/d05UTrECSQzPlSSm8/zcSzdWetivpre+Lbbb/7fS6tnr
GCKtKvGWDS1m4K6Accw+FzicWowhDO6zpJGv7dY61iG5VBxdqlxkHz/shmca0oZvfsNqf9U42pS9
gm1yFoeneIBeTl2d9Rc96Aw11D5b0mc0+sGdfNLslA7Q70SyfQVrvxF0RpkHRzW0vDb70ZRJ4WpS
4mH7eJqr/L51sFvkZbpNqjJB/fTx797+SDpeyEKgzlhLFqOR1OnGkCfXRX8iC2XMbONIIvn/QmlT
vJ8/C61qz3kphjizIY8Q5oz2BP63TA8axoNYJexqUolIvT7sGlMqBJnw00BP6P1hL2e4KnkATS9y
XIucZWCee5B/D4rXwOYeXGbO8XQMvkb6zjbYDK5vVxZb9U3uADOt6kh+8+sej0kNFeOTlLuiKoRf
pXr2z+XfMDCI4tAx4eRZlrrmoJZmVITpCHNFEb4N5GzPtd67+vjYmDfUUjVm6XXrG9k5ry/bZddH
cqubi0+KKOpxsgYOt3rgKch1x4Gik+Y+IoewAWMDDoSr2xd9c6jU47yH4d3K2N+uuMp9IGemdibx
wEEeuc5s+Wg6uBp2Q/aYcLBoqnQ7VepmRvh2SeP9Q1qt7FR6jpB4vtxYSnTdoZvpDUZxoUQ2elCW
7wQo9016dCkQdXlGpGlDmtrKQcg5KBbd5bG1y4PwDDX53xXUAKxA3yNsiJ/x17Z/8y1Wt02etJK6
iG8xP0SD2+HOAHKjwvPZzXEHzLz4M1128lVaLhUz6XFv84vN/dH6qzgsTGVsO4LiF5dX9eTL2aFM
/cqAHXYB2b+w/WbyHB1ny51bdoOYSnBB09RAR5zyfk1MbQOlTdHWhzdZ6t4Qy591yDil7biL9FVa
JHccEWkATseMuZtPoEbcqf0t/7sb7/9+BoO499skD8skTxxi3ND6GIugQYO69TLeReb546j9/3hg
lHRRCZPhKqw2JDotTmjYEEXDHwblxnfn6yx61QlNGobaDO7AuLg6mKHhXPQ7qZS2feT/LL7aZjAf
5cZmmgoJemZmkT7heXmcCW8JQLcxyL0SB5fQyR7nsfucGdHlHEMEa4+mDQmzMr61mOBkwy9letKF
oJxot6ewIUevDh+dvP9hxaWrBN0zofQUjtykqe4GBSDFj1+i+Jl/79Y/j7HaraaeSCazLuFSfuBG
4upDdn7aw+Vt3wjk9sL/CEaIvdoUY2dUQVZjdhDkB1k5UVPMyFtp59YWFiM0Wvd52psfiKmCEH9U
VYAa7/dhmQ0GtGWOg9G7iGhzr3PzkV+P38LWH8oD2tofv8otoAXCzn9WXGU/pYFbVl2QXdO91ZC4
KE7MUszlCcOFtnvqlmsr8OZfTY1My31bPmALRoM7hxIb7unVbfVYhAErZAOY8oSE98/OyZidSdCm
6vhr2VluPv4AE9PpJ6MzT1UF4WQn+GxdR7pg5RPGEVZZyyo7WTYg6W0BwLFPQ+7x3CQ2iXxC/H3f
w2Arwr5dbPVlgywSvkk8XYo8zRDJXgCmtxoiDxDSeTCRtnc8R8luk0JzkQM+JJq196lF7rQ+Nm9/
wupT5xO07BQ48TUKO2ntDfYvVD74zmV/in8ZKHvKxQPTq4832N5LXmWP4ywVEmIyjO+DU2sRVMsD
ewj2lqw+ydrOXHBnsTVo2xwGhNgcnnAubslWQ5whNOTEKFMR69mv3LZOK1U4gjVsH/qQqx2bIaEc
FAtAaUTASYuD6EVQ1HTIvSdluqHVEe5heLce0IJvTNYPmota/P0ZofMF2rFQ2EVYTzNnofoO4pNW
vEAvrPamF1sH8u1iqwRxKrW0a0zG2liME2MrhG/NB7LDajlNw02U//h4p2wYbYNxkunkMkFmfmiv
cv82mPHsVUAadQ3nI5Pxpx8GH8/IsYFa1f6YO51uJbyaJoStgLOOnUpXAzbLetOeMbv3a638VCC/
7znIQHWdc6hG+xQO3WFu6yc5XvYO1NaZfvuDV18jDXI7Des8ppd3G9KNsa4sM/UVgxrJM/rHIbwz
2Xrg13dP1Ybc4iseTDgzaYxE1gzfME2Uzu5AhuEsrZFML2AQope04jY/9tp1lL608qMxXyrSOQ3w
FPOUZi9nFdn6OpzQc2NYgPwE9cPqelRM2CRmKKwItMXPu/xkZfpBcrIf+MN7erh8mlXzRZe+lNqt
pfWq2+vO1VCpg5uNZBsf753Nuxp/eLR8mPWBVlvFtiKsIx2UKDhVTHjle2EclacHqqigPTQdFQZ6
DNIOKOf1j/71BmwEuRhIkcmtXRFKgbwOHc6/bbTelCeeVFReQofXs7vpSxY1n41EOiaoeLidafxG
mdbH3vuyzKUrQv1va+iupjH+3E3WjVI+T1g+CRerQS8ukxLl6+qUQT6bw88qPOwgO8T/0wfKmwu1
7m+MfLnO9Z9ZehlaxRcHTduxja+79HJuYboVd+Ocfu6lAsbaNapx7thFV+VgHqSxdDNm5r0Zh67U
DD+tiayuDbGHVxU/qBjvpE6G7nV6quTwZEXhOZ+GX7n930UoxPKnVJZJ0pv6qapDOuoGumkoyrtq
Cazg4++6FYKYuUA9NNFwIWd+H+809lgztxmgs0zGBkv1A832Yxn2CyDAvJLPStO7tlLuLLuVpePP
Ak6W4G4SkVa3Vj7Xg1EujI31Z3Tkq0AATPrf+e98dKHLG8A7ikP6Dc/HZc/zcatifbv0utOqKK0E
hpWlI/kFCwY7+5Tjf4kYQ+6ay8P4G9gXZAJHuewdV20uNPMqzY/xL6W+wi7AKfbexEaMgxsogHea
EBx8/blv2iLQCZIlc5hYMwhMLiz7ZzFcRvUBrSxEi5PhcQKHZII/8D/+8FsN53frrg60VRiGY/Uc
aDY+FXqJ5BzMo8arCpdBVR9ft/ZZSv223XvgjSyJhYXgmqoT3NY5hFQiKaj2PLB606gAaw+ZeVJ1
X3hb5T467CreavZOJrq93zDpAcmERDEN3vf7fI6MoYS4kl4rd5gk0IQyCqpAEOFfiy/2P/rgqdF1
2UGdvbT3ZCk23zTnC1MivG20v6JYYJsRRFUwCo7ixu0RtgwPPeuQuD2IvWV0ounQTV72++Mv/Bod
V9GTruufdUWV92ZntSlDZitl3WBmXP61ke6y8F6k+gXYMXfSfJBEhCJe+43+OS8f9P6YWPfzeF+m
j531TU38HrasD6XRdPxds2yRj//162CJMm7RcYdaay4aaI8uXcAYvGuFtEK5nCxW0X/Xu8DarQ33
yvCXAecjPLBKe9Awb8NGzJYNOsWaZ9MWiw8LZZ/mK921E3ua7hr/6ly/XXWVu2Bf0yaLzKpqcMjZ
2DgqflfQmx9h13s1qkeVN3WMl92Pv/rWRS0KWxAGQgaPuvr9V6+i1JiaRgy1IwA/lY2/Y+aHMbDy
svCLlBAm1Fn66GSOOxtuq9RllgFmEBATev/rUIYtbh0PCLtcjxaWEqdx9JXwZEdQRTy7vrEwo35I
pCvzu/kJRR5jOWkzpsMnSdqpiF7ryvXWAsuMlyfAfhyVVq8ejQOpGPsaGO0IRV715/Sc1sQ09Q4y
Jma2t0jP4DGpaierPgCkasqbqsgO1vQrSO+zTPP74LkHYggPPlLjK0W+QV5rVn+W/LkXW30KBq6o
BRTiWe68COaA81mSr7rkfudTahtH5M1zrINWMRZTaiElfj2bfuecZP2zHF0E6pX5GTq9ruPtGbnG
k/nTUPYS780jAxPAFvgUEr5VuBz/++ou0utGSb1hNq/G+resZv60UCDkWAM/9Skg8a66Muo9r6mt
1Bv7LwaDmrCL+ys3CKpGcso85+SkoevAXi9I8gfWq+bf0hDcBUV+KVvXgJFOOCJ4fVEfR6R1TJIq
rd4peDfyI9TtZFTBoXXKf5cBk95EThUDeMgu8a3Ugu86GJj2pkUxN5svh2Tvono1qVtvXtETQ6oV
9ai/iES9ZIySnVJiK1z7owkGXJCnpNsSKHphhbcYUmMLVZ/wWrjM7Dh1SwOowWAigGHdG4w0ckxJ
w3bxAuNbyJAvzcJrSqgrJ3dcweyqsxJ0V3MhdAhx/BR0LSiJ2MF4A8oLQ55dgCQ5QvsZ8+W3Dh7J
YnwRaNIv2lILjQ2qrVF2Tmkse9DUAILqXcUEtT8iooAGfwPY6iGNuqMQldBAL7bIl1T1ZRz3gEDK
k3BVRBuYrohBox2zPl/Pi3OCE4LguVRNdl4EjhGxhrZaDtYyfoYY8QkNBTdIipvBqe/GPPe6yfHM
PvlsBMNDi0esFakMr2y/q2e/tjpXLaDlIxZhi/iHu4f4e5qEAECX3UjZjHnr7AsBkSwIzvNS3VSm
epHmD0VeeoZ0ayIjsdR9AUc6vFOL8WiOd+ZoDDuhegtvrAIBg2/DBkPfbBWqUbxV5bGn2aBZ3Y01
35tR+MXIAbshEB3mrRdL4xk5d7/PHDfLZkDyqusMzsGAkBnBUC9SBPGi+8gcrmZzAWtUuYxNd37l
RkeEfEmYjsicRm6W9/fJAvm3koM0u1PNKy2QvCyajspAiy3Fm06KvWYv7G0vqIvxpErK9BcqKwdH
FRtIZuA3TWOkw0PbeljmZzxwd1UlN68K+qFUPtS0FLarpzOmyViKKc+viyK+xD2SIZDef59H+2fS
0fEB+2hnOBFL+onuCf7HX3QzPXbR8sjdkKCcHVpfmkw4HpeuZce+LmV3vaNdAWnx4KoWSFen8H97
AyU6u7mPbP1OSClkZXPMlshbtNA1W/xS+JhYLSJEsqdHuxW/gJMAKBEDEbq/77+elJVVFldkIUDt
PTAW4vjJlgt0y10wyQxfdHnPckS8snUAgx1gkwqwrLH2CizayDFqh7bFBK+jmEgtjfIYUEosTbNH
F9zaK9DgAe8ZBuQIQ9ygb1LcurNLxlY5awVP+khKLUwG9Bs9ey5i7WjGyl7VtHUlO4aMFhjVC3id
VS4pqa1WhKaoWwGLyOUXE5DZgDh5DmVSH6uDaf5GWutVQN3EHRtcn9aGO/nN5jd98xtW6U0UJW28
LGDVUdCpBCO9OsEVA5sp4K3xA348H+chW3EKwyETfXQLmXSOyvu3bJt1aDWxDuqsu2yM8Sy40IMD
IqtTg3+mBlPO8gs6Vpe0CE8FevRC1V1q6wuLx0+08jJvynNfoiaiQIFHes7urIu2jHZG0a/gw9XG
g+ckUgaMs21lbRFUqkVoLwLD7NjtMTVxx4yxKp+xFMvm27joaGQk5mdKDExGT6HJNWnO7cHO4728
TXyA9Q/BKpPMxXA0ZI9F6fNmV0b5aBTJAgx/MVWkXfLHKYGYtQAJzIVmzCguajvBTFU3PlWA+FG/
YOS912PZKLCgc9JX4IDAKHT+i7QzW24bWdb1EyEC83DLmRRpS7Il27pBuN0S5nnG0++vtE+7KRiH
iOi9ItaVO1SsQlVWVuY/TM5GXaet5PhgNbGR4F3fkdAi6wZDe1Eqd3bl0cdD9gJMPFiryYS1WK1K
ReVUuJl8zoz4mPqtOB2efhJMLZSOYPQ9gPc6CO1pfGpkxTvc3qSLv0GEiqtFL0kwPGx6ImHf4lVv
+WAdBG63h94sZd5darhkREfFSZ+EVoBOoCgH68vtHzET+tAJ5JZE00xYWE8u9Eaq5THu4QbkLi73
wIC75AW4/rKj5Uzco59GzQ6hNvjm07Kd18k+gCrxMghp2GOU56HjkOI7JjQl6ItkpXu8PbWZoMOh
QqyNVJgZTiNt1idFELouAIbmZ1le6MMg/5rK0mq7CaKFgDOzjFgtqSjpchnqNH4+fkoEw0qIUyZI
IfzyhNsjoQPQ0CLDSVx+k3P6YZxJII1dzPuGxACgk25rEnopPlnVwgNiDjr7YZDJMZTsjpe6BfqQ
dMYPnqLIXRXjS5K/de1DPaibODzK5OCLk5tdRM204akoDo4Pkyec7LZdo4Z+em6lB+Fi2YjeIIeh
0MylRoX4Hn+sI7a5KikbrrZT4RvIU7GO1iPr+JbBph5XSC+9m5DazXpwV/ELYku3d+M79PfWkJOT
xv6QwBXx6dTEWSvFi3BpNkL54KJMUBUqXOl0k2To0IDR1+U3g3KbEZ7K1N661CQc1/7m+dlZDaRV
71sroxqoQQ9rtFuXfujc2lAKgetLVOBOmuwx35C0cKhRSUcp74iEwvchLcj/BnrR5UoYmkZckrby
rSV7jIp+56jeSQOcEKb6PjJCpFUQqesvpl+ka3Gfyjndt27hwM0dBPI1nvokbGCfJ3uFFNEMDQvc
mIkrRYjn4dMibWp+CJAAKtZJ1LsniahZaKEHffjdQZohMI9eHGLmwqNy/O8Q4kRc3QADblpDXYL8
GbwHVMt5h2IG13pviyiSpblMrjsz9l2ntJmLqFt6QoZm0ZppaYjJbVYH+JQOAi/FEFYmhliUAJlf
LsgvCFziEvLOzLpaLtvropr7xT9bzpNWXSgpONj++KgYBQu0EX32EHAn/jPUJAZCXQl1pW7ZXy0v
HhvTcurk0YqrlMxZq+SVIZenIOUUVmG+M+xSeCkhmZQUO2Nw7kLL3imJdXSRwrOrl7C1EVH2dyo6
mDFeqQFcoRCgB62GUy+P4dpLBohy8qeuxQPEgitQWdQtPN2DrVLVK6tEGF7VwjWKuw10QXev1PH3
ujYei7bajXXZr+BtLejdzd2fOEX+XoJpwGpdVUkqNmfll3ta7jRPw4xsGvEV6R5GVbx0puc+L1bt
sLfhcPPEnZyGWMnK2lNVsBPlRRtf2USGjDXpC4WI9e1gPHvFXQ812ayDFpsoXlPHgLtQJljKvg0E
tuLE2TC9fRP81IyvwmXo9rAzE+QRhDi8OPQgyCZBiwdtnRYxdQLHewRPSUWJNzmWbIvRca6kLl6X
NOh4aTLWZH4S6vBt4A4IyPHh7MLbjqV6DFogRZSXs3olheV3UYEcAI3cnuNc78gAsWEr8F8wJpvS
i0BmVakt7FxkFb3W9MnSzqFO83/d/+V/rgJrZ3t3tvkzbw+3BxZTmtyvH8adXFtBOjpWJXgDpEYS
Bu3Fyv9if219MPkLz7bZzwg5g3xWJruc3j1SnMaJCthQQIrgQlSBEHQbsUdbhhPNTQqONU4Not1N
VffjBTEqbekkIm57yb7v7jSwt6iu/XIFzUNAgXs6wF909NWk9HnsNlnNKUU0Y10H+9urOxPdSW3/
/SGTDZXzMkPwFWcD2UJG9AycyWuXHqEipk6/IF6hOEAJ/T7Q7x8na5qRAuOQMTCEC3EdCNaOvTJN
nmX9GghC0a6SaqOmKLlALA43tyc4u9Jw5oE9clyM6UOI52DVeyUrHRXPbX0JTdz7QKlakVCTTqIl
i2ltdkF5apNmIssvG+Lfr+6yvsz0Pmsj3DAM5eyM3g93DEMKM8q6l1RtVSsA7yn3ejQUytY66a69
R+3JqR9xgLqQE60gTG6DPrpEhbG2bZh82bBpOF6BamzKvPisl/ZZ9+R13jTfOgUBRKu+S6P4U1LZ
qIWHn0ytQKg729lyekoGZykMiFj2x8e8mt8kmCteB541Zn74MZuwdlJ8hQl4rXyy8wuqKmH0ttzO
m1tUFUUG4b+hcJFMYkAx6Knf2Nwg7XdEMIRhtrlu81OprEdLoDRklTr7SpWJf6uq/OZ8vb2HZsMu
RTYoUpTH0SGZfFQfrim4FdA/lJ2q4aHr8nXSHs18JcdPbfZYBT/a9OftMWceTaKu93vIyTqrUtbF
VkmkR10DVSoka9L4ZKL4c3uYmWQAGAA5hsprif06GUbzFMlUsTY560GyCaAC3IHalOSLV14C5Gdc
5en2eHMx9nq8SeCDc+u2Tcu0uKDRP/b6Sw2/z3hFvOb2QO+WItONSs+VMpzgU1NT/3gQOTK0oXog
hn516eVhhWXqXd5Xj6OZ77PWA37vnaMY3ZSR8mmsrLOyfRsi7ehCZW8MBDBheJYIwrrdV8lONqVa
U3z/giEyNUbjqGnd0eZkKpCOS/QHg8Z6qCP3kNb1PqX9wyWzK5pD2SCcWaKUdKcO46EzpJ9uhrO9
Mxylqr2LuupzFgUnfDcfokrdNgSHoqh2oW7su0LbZlQrb6/KXIJkkDcYeGVRMyYgflwVxcwHFJVb
YLPKiQtVRolAq1d5dpJC0IP4zG/k3gO/t3DNzG4zClHClQW55GnNxo6aoYlMBGk19zLCBqL4D/wg
qnzK8RsCsViVhZnO3Toq5XheFFgd/AEBiCi9lrjKh2e9M49e6FMUp/5HXqQP6ldYaW+9dqnMvwOj
eU4T5bPnZuu6WCpYz213mra4kYjLR5uqw8p5LMtFyXLX9hOVz6K76DzsBeo8X1Lvm4uR1D1EaKYm
5kyXWLL0sPTGAjWQ5uR2D1SQltPPmdeTcKT9PcbkJo99q4KAzBhWKK+oH12csBOmJ26pbwdsdTLK
3ahA5c2LjcD67Q86FxCvx57s3MhyJE8W4oRsW3g7SXMBCG0Fz7dHeS8QT8MGFXNE7/hmDrTEjwfE
kY3GqDPNP+fVFkVsQW3PkwdfdFK6V1RA3OoFqie0mGDs1sJ+hWat6f6I0bxd9uqY/aZXP2Zy7/mB
HGZVJftntaGUVfaHIhk16vh4s0W1chit9msMgaALzSdtbLc0idnmgfI5lgW0S8nAS+bApd/USP6s
F7QgglcvU1+i1vimFtKXSnd/IJrW2epCHW7+d0NcB7QM8+kdnnOVBHlyViRRynHnvgThJPTW2qVq
5lwiomn/jiFCztUYxSjl/wsh91zzYBXlfV42d1ka7aLKAUczrpFvglql/li8WmafQldDT997ahEZ
Q2axFUt6KGGofovH8agCanKU+u+2ilY86e9LsD44gLrpS9EUj7d3qThnf2xSw9DQSqTMSZ/j49zl
TNbixqPv5jGYN8b4xP4Hxy6iCF0skbfTZJwsb9BWfpxroM4pFiN8hQOJKEqnRrEQp+eoANcDvede
V98RYEijq0L4FEOVatyqIBAtfEDQ/V1nwC6Kk5F8z4fPY/HJePBMXEi2joMw31pv7z3A6EfH/KLd
K80SJGI257tagPeb9Op3yaXc6tnA7zIz92dVYgqDYKGJuqGlDPt4KE61ox07YAfGsgrq7PmhcUOk
5aVtTm1ECye2wG8TZ4ew3Ksdqa2Xv1ahfDaqix+W37Kq39lN/7OI/DsAzDR4LjILl8JSx93h9l6b
vcKufstkI7SGnrmdXIcCs4jbJYYUqF+jlegsWlzRMZrb19TtLdG/E67nk33doNmi2oiK2BTGuLcf
U2k4lnkgWj1W6yerQpKP1YjrXwLioWgoTrvpKgvlOxKKIfAOESI3Q17ej57Jo0i995z2TpK6XW6V
54C/F5oawpMAWuqGwoVCLxJbGUm3d7r3zPW5M5OfmoLrBnoLKgJvKLbIfvVVN15Qu3KS+l5HQloN
RQe1gEMFfjMxiwOiCXY5PKlK8xmRHK9Wj7SF0Tj31X1IDMLsbFfY/iUL1M9VZpxkv1iXSXvvhvkx
MY1tpn6R6vYOZFJYVp9V310ZBnq7FfkfuYLd1LvRGI4aFhMtMqc0cO4So/pkSO4Xs+IGxMvStdKL
4n5He4AaYr8JsIlQo2QbYOUgaeq+xU5BBW1rQHPO4J7CWkCjPTl3dbw3g/6u9uGA9+ZucI0d9buN
J/l3leOecIkJ4/Ixz6OjXdY/+jJd92H/3eqrY0cLR2jrmIm8T9G+SkeDh4O2st3uS1r1lKQ8CqMZ
j9R85+AsXfKz3FR9qYdu40vpg8LPg6dlO9FR4g1uITcHZIDyASCUStQhfaFbHcoC0tBtEczCLSGG
q+uhWcRHH6hA5eqjPqbHMpNOuWHcC8a2XyNdjWKSEir89WgrlKPDsflk2MouAcPl19I5t3KE6NRD
riZbtx7WXo23uis/2cEevMGxdcqdhX6+3MjbomjXfYRjcQKczzJ2PDJA2SQbM9V3nedeYDatHGt4
l0KuU+oKQhK5Ufad0+xKu9uMdnIS1qiakZ2Fd1Bp6Bu9bn/ZXX20pGE3qOjxS+Mh9d8kVdq1cWGu
9BIeqN7d1Z4PPRjysxX3OCXSWYopSMn7zDc2bqxsPFV68e3MWimAkVqJj+6G577tUMqOfiqVfWm6
bOvmxSGy+ofQTjdDnRz0IABt0H8ZxH+HTKiP8LARu9s8jB5c+CxK2t3x0t4Zwp1ENlcm61M1ykWO
EOWGLW4gTYYM1lAb3qo1/V0/ZBvy/aOatpuu9k6hpf1sIt4yUFuCuN1kqEdl6Qul001IMqK60TGu
zcfOQA7PWJlGv4nH4GAi3ungzo6mxjFNgk+Av93yTqu2Q+rfI868QWjoaIXJnRrne33sz/YI148a
DoRWdKyqflNW6kUmQ1M5un4AVY5zg5n7MVGeQozbdb97DtTq6+gNC5fXXGwEbWCp8NqxVJvatvVD
HXcpgF1RDEGrUUkfCACCg7g81HuVbHrnU1oGyUFD2qYS8TE2um5WRJrbxecA6s1YZSd28l6XOqFG
VunDL58nawSaKzONPfjntSq/xYAuCy+BLqgfuqBe0b3TciAPlYR7AHQjYCAS4cVSogvK37vb98bc
k+/6904S6b6SXaI15AqefDLGOkEsuueYyvHiCzqquP3CRTX3QLgecJIs8wBKyMkgEAm2JC8EM9jq
jLPY3Ju7nCmV6KLLjFHZlEtM0AmxJkOMTqCd8OkrL4uvkNmpOKaQgReba+rRl9WhHkSq/W7Lk5IB
0TFRjot57FxpFF/pf0Z5lxC4ynAcQ2/dygffS4kJ+nnsfH3chspxEXgwe0ocyq/gNaAQTvkVLsS3
PBW8YM6HRQVrKLe8gMWBTZaSlTl2jcDfcUxk2HpQDz6eksqp/QL1VpQCKV51T0RMyMHkLHwrJElI
FVZB/AIuDQtmj81RLknVzm2O6/EnGYwHRrMvQ+ZK2oxyFf1lyX+4fbBgzsykSQYsLahL4MCV6Q7M
5D53HDbhuah5Fsb1GwTrmBe5B5w5du2zyJSy9DkejU0VU4Bym7NWGM+2Z5yAMX8bCM3dICSbEUQN
pL+cQoKHkjwoFZ1q/aiW1S4r+SdbRvmRvj/q3yLkWiDH+Ku+7v2VOP5mpPLVjNbnIH8w8KnqqxoM
fL7PSU1r43WQ3cc2GPyV0rbrVCsPMZiswrROQV7fGykex3kffA3C9OD2IMml8Uuq2PfkWxLMhr4E
Aq5XjAZosXMOWpVssiDEA+ypkfNdW1UowVf7gWtJc1sSQMrBObhqG51tPAzxq2ByXbZ2+NWJ+Utu
cOfqLOyieRWKcvrAvdUO+aXwUVKibaugwBkGeG6BFhQNtQxVJw0UnGMhx9Baq1FtuXTTQ2mGnx2Q
fAndNlvxvtWFtfI98ySlqo9W0RoAjYLcTSU9pqO71+Nxw+l+/6vcyisZU8myi57KVjlULaq+unzu
Ynk7hO7eL4utjlN6E8k7t1a/uN0+cotPlW0/S+jt2omxLkmdADMc3DLdIiLQlfjo9fEmg4IgGCJV
0r+/BKuafLEDqZx3J8MB9I4IKbDbLUX5KnkyKcs0o/qgkg2MmrMVwOeV4QIPk8c11Oas1ValsY1I
XTk6fEeawboVU8esjlaf3ZGP00XVn5MGIwplXFFicjFZxGCvAmwT1L98BXX8IPmrAW2DxoAzkGUl
fCoTycigOxdyQGWzubcb91ii8NJZCikRaXTXfMqin9jf4kyirgKr2sRNdsAG1chfjfEhG1ocf+Lt
YNTHVFbeZyb738CX1RlS8swzgYGiaN9E0TrRyhV6HjvJLX+UnnSMeakEboZvJNsBG0bPWWgczoVr
oRxH15D/G+89oatAWumtlZoOVT5qRrzQCNeIlCzCqGZDC/hp8SYU8qST0OJ7DsZGDaEFrzZGIbRY
xo/boWUuUiNdS5SmSmvhFPkxenpBFNmSSXXeVwqeRi8DjvdYfVby66JKxuxQUCBNhkPUdQp3Vwsr
pLxAOgPj0w4uvH6YEHQWkuHbc5pdNgPNK8DZghE2SQuGMkmdosVwjvBGPxdRA3bN7SFmvz/4NjgJ
PL9Q+/m4bC1ma2MkUh2ZI+zELUaCxt7Qyp14vNwearb2RGuRlo2OUizpx8exbE0LdCXBDMrgJQL4
/TnUMW3Un1IVXVcuHd0P1n6nHIrsQaJYs9zhnP1wVz9gsg0dZxhyzwZBo/k/pdZYkQIJSCSdsEXV
ltl1pccJYg/gCBP+OFdDy4cqNxCeVtP4UBCcS7Xclempb6P/0hcBn6LCy6TFqEx71LFhRWHbwVUc
WuOUkEajC+Xnr8LeC4fEYyjDkaTrh+AIkptLnttzS2rhiQj0iePA2n6cp1Pbwej6Y3jGAtQfXz3/
BDya6CktIXHmwIp0qAD/wKIRIrGTA46ZgtsFhdAxDR74fhBeSY/kaBOsbGJomG4HDbK7jMdutE/6
BwzAwnRvqSdaQ5hdrMBrw71aRG3Pzv/qV02eCspgNHmQ0YTkztEpcxyK9hKWa9VdeK7NJbyIAOGr
oEHA/sNBUEZRUipGM8LqhzaQcMFSjUuU/ATTBn7nu+2nC6d1dkCslJH8M7CRmtazWksb5EqDrtDl
998RlUJ0KB/Glf59cQlny5VojMEHEehJwI0f95AuOXrQx4JyUD4g80yngtdWkl/wRaG/hk2NSvp7
OxbNzg6fCgRcdF5C0zNTN6nf09iDzey+yMWwgoCDuMSrhq55heGzq8YLp3R2n1wNODknQz26nuzK
fL96DxqRc4I8Am1xe0kDfDbKoofze2oiMl3d6JTv1MDSQbVT9ET/Oole6x6JxpFJeWsBAndw/6Ak
2FnbxdtEzGL60L8eW6zC1dhs3ERRc5ZVTd/Q6SCrIS3/+//26cSnvRoDyp6jVQ7S1Ny+knGEhL1G
9QCFeWyNMoy9b482p3uL2BcHwOZGMoDdfhxuKOWGFWW4nPzWBgbUobhAtGlJTqv8b5B6Ps148QZI
d7L3l2Hka3CYR8+twZaEP2//mrnCxNWPmao+9LHaSxlFTbbtyfFeUKFtCirL9nNg/TTlTbZoETp/
Nm1RMnB4tRl/lIkaP+15/7w/Ss10z1sbU9Y2FOAn3qGSeW8uSlvMbiIhjiOk/XGNn2zgBlawW4/Z
u0y2mVd3g55sTa07u+P4pZV+iHvNaxM8hNRd3GfbKhq2Bn0krsCTTvXv9orPHyfEnvg93Dl0NT5+
f7f2BznuWIC2eCDG99YrT3KSMfYc5RNeyBR/kZqSi/3tgWcDxtW4k31n6onf9/0QCOFcXuO039ni
3GD/CTqIJe0/E5zuqTx189ROKTso+FBmQ7lRiuSSUoeKKm0jBeHCg2NpQd9hzlfntyjhZzpR+G4S
Q5e6akjVPzsazEbn02CcG/k1rjDuROb1P6S61xOdXDOlojf6kJK2w/hTqTxjdRWfOndz+7vN3ixX
yzlJcvOwkZTAg/RPQiRs8X5vFdGtXoJ9zg0GNsMQwo8gY+xJvO2VuDYkQzCYZGGvykvETtekPWq7
XxaaFOszDe6Ogr8hTS4KxlMh4AACfwcQED1L8ylIYEthZ5nBzVUqZ+Nm9AdsHdsEEJ8avuu6/ldP
f+r22r7Lmf/xE1TeD0LzWyB5Px5GpGf00SjJNsPE2I9OvQ1yXCQaf9cp8lpL89Xoy6uxHjexm9/1
qNPaer5Ri4zWgAdesaLd5FG9e1Gtkg7ByQnAdMYQB4U7qOK5u7qONiHS+ILmp7ZInOTtJsU9pC0L
HOwQd3TZN5a88WKUgM1kPZQ/htCC7d7RIsrXNBMeA8Q4LKlYK9YTnzsqpK25SA6e++y0tv9Zhqn4
Ev21OC5dvgSPdiy1XIoE4kkt3es01Rj79qrP3gEsN58efCSSCpOAHPvUDtKwDzmbR7WueZi98sQI
CckHOb6MiJIsQVlMkTb/8aF5UbDVMITl2v34obMccYd3FmrSZj80w98B9Tv0br5Nxmyvty9ZP+x8
m76Akvo/lDwVPmo+1NQsOcrVI2joTezwCeP4UKvFLlTGPaSdjcs7LGvDpxKh0DawNnx2KlHq+DDS
KlPsfF0P+Dzn8k87bp/lRNoOkrVCJ65fN1m7DhJkYr38IEDqqaN/McZ219PWpMe2UfiPbSjTolXT
aPDfc+9ognSlfwOoKfkeom1ntsZBrlCVpLqVvw65dmfHbK0Mz86cbZeam5CHzO1vN3eLiJfZP+s4
efFKeCF4hqS+36XwF9rkqSDK18NTYy5E19m4DvJIJ8RagI/eP+lVXO9xXGzBWEVn8wVScIu6H5SQ
Ym+4W30XgXnwNwHR/q/b8/v/jAo7z6CuYFP3+bhRSs/MzUCjo6EPq3Ij/GNSoYLm9eskWL1DwhHi
2uTSwrrOJWJQU38PO9mfaZnzqYW/HmbFK5eGfuy9lFF911EYdAggJCZ3o7dE1pij5wpG7O9hJ5/T
bkO9kHSECAa0UX/KF4RL4F9/zbq1+st6i75XuD5VC1OdD7o8A4WKI/mPPrlkIGmZQkQxOsfqG96Z
uwbZENUrkU5WHgwE7tz02eORaHMy61j9q9OllR8jWa721GvNS190j3pv/+JaXHuUVyO9fyW3gcdu
qRs9evCj8gnYJTXlfo08o00wQ8CE8Ayi3h32sv3SB+VK9EYjPfiiIlwqO4jLdQVGIjDHFHWvITlO
RQ6ewVNpxIBOBByh/nZ7p83G3KtVEP9+tb2DRIlkLWSjQYuyCvWYtycJfWGyiN4LLvSFbw83Vz8S
wkEahHBETablTNN0FV93hLVviTmaaKORrDhL2sIz29iEUilEzZma/W6qdzWp1vCarPDtULylPIhj
EqVMIdnkHEV/nQtl0SdlZl6MaIBrFjkSPciPy6jbrp1qEZsJWAxprdzavxzktNxQf769gDOvCOS7
BJHWMoU4zCQwDG2WRUOKgEYriao2U1rsps4EV54EyDkIkXS8biZDBCpaFXUSlefUK5+jNL73cETN
9f4xdrS9DYTk9oxmhwMOjuEE4gxQTD8unetyPzd5xa2PXAUJbJlvaUnDAZWW/C3mtCpMoXpGE5IW
LlZ2H4dK61y3+2QIz6NCuwn0JaSpNo63YnN0friG5HHIG64+W1vBI9n3pra1QLgJbEzpAEpXnxII
o6h2I0KUbDXKj0G9FJjm8hITawrKjipCiNZU+UeSOJLgzsNz2eN7C3pFuFE3jbz2CRI8yxqabfTM
KJct3XUizk7Skw8ji813dW78wNSSYaRfX7256qnQTxiahfUK+mTdrpW/1F+adorHVUNHx7MX4vHs
Nria9SQbk5VQB8VvkoY3ew1kApTTSuvpO8FKWmIizF2vTJRnODwECPh/aFKA0pOLVsN1xt+o2T0V
AAp0iAkR9rB6GJDLrS+s9OLRmh8YPRrRX6FtNE1x63ZQK7vDrU3rmp1Zbxy095pBW7cYpeVfMbIl
HDKqFLpPBWK6t0/aXFhUaEcgfyJi1XT7a+Y4yP7IEkPz8L0nfONSDOnedJ/O79odl2q7c1ptQBlQ
W7HowYjI+HE7JSYSRgMg+DOZC2jAXN/rf8dxfSfl+957IKkHcILmR9xc3ObNNE5GuMSwn5/xv79g
sqnSPjRNKecoMePUfh3716HZivIkaQ2urcvfd/YEEcXeZfQFh+/jlL3Aq+EQsrGoqaBLzq5KgKE3
PdbcBf0KGkI+reIfAR0iFucdkLfYUpgDI7C9/v0Rk+K90UtFaUVyiHqrs44dBGLRYwvGJ8Q0nlyr
xQW8Rt8k/NF1wGc1/2S0+boEOqg52e72jpuPZVc/ZRLcfSWVkWdSuIkrQS4a/U8w0+AzAVGgxF8G
p3QRszp7xqDlwfdTLZ5108pPmDtlG0aMaY+XCH06oJh0xLJmj+BKoLxSfqfElwIYkOWFOubsysNw
Ubk0Ycgq0xNWxY6SNTEPeZ9WIE59gITGrbhNhN94ldl7AX8aevK+FKBXrF60Oju6/PvyE2mONkHr
CnNOjQuUYzjJ5SOtyNukacAgltukrO58uKu0lkLzVfGe4UwQ61ztlTURVtWsiN9b6zSEChWvFzE4
czbGH37MJMP3i8IdPRFwhzH5HlOBc8xuV/TKORRZ7UAh338Dwb1qvfLgaSTQdFKVcAVpmybOfTF8
wZhjTcqy8YroWKQtlr6XEj2/yh93o9zuPHxAc/ClTesv3EszCTJEIcR5SescOCji3rq6E2tNkhBK
Q+QRn6gofyu7N6CZNAOhTyw/Nueyu+vBJgmKhsOAIqGYfnZyf5fV0qopxjWtZBMIbhqPW5GshKm0
RsNsBElrOfUuZWf147jBwWjhuhDBcZoNcDuS0IIYhXYz2UBhozldKbIByjE0J6GMQKAHrfEfQsT1
MNOt4VlknCnDpN7G9U4DrrwPCJeqgCF3+rApl+yWlqY1uZViVfLswGc8WEtl/UCFSbxsKaTdntfc
vrme1uTqSfK2N7QI9Tm5+glIP1ERvmre6MlrFPWXU7eZypLwcbJJKkC+/qHoY/Wp58V1AKIru49Z
PKs/u+lnC13QzN9gq4eBoK79VO2vt2c5G+CF9hNq7dBwCbkfj4fl1rZd2OxYvX7SUmjA6PYq0riR
ZemSydVGL+KTW1sHxLf2t4eeu9sRQeWlAqNJ2FN+HLlsMW4E+A/sArCU1g3rsNuln4lqUqps8TPD
qPn2gHMZ6vWAk2uVXZNYRQ6mRAD80SU44Lgsuo5CUWSkyvp/G22ysNghepocsn+Ueh06T8CLSJsc
+hf40d0eaY6ByrMLQV0c+MDQWpOoY3SukbkW3KU0W/W/muwNaah1XO05Ghhtb8jV2thaRf9pgv+O
Kr7vVWB1Ii5vPQZKAngqQ3eW9LuAvNWiDsI76/YU5z/d77HsyV5RBk683/mcDuWCUm+Cd5aottAo
btuH20PNhRde6MBA6azRX5/sEvzUXGRC6PqT/jEUzBxfvSA0dHuUuYviepTJ7rB0PJrgWEDL0R+o
RmL9Oi4Z3s4FMERP6QKjfUqLdBonba7pvhZFOcVelUF+ALDrIJxox8aRi6C0/0NRV6is/h5QrOzV
huid0ZL6gQGp2lTDk8E1C+WdbbjUXpoNWtcjTe70vKwNJVbFN6KaLmj2oxBZ0w3BLpJa5yD0aAKj
X25KKtrcA+F66OlZG8j+VIeo9Q7P8ONQMLhUNT9GSMcoJb2b+i4aii0N2Z6ia6EMp9xpwN+Ou8bD
PTvZ6sFwX+BsEsQVMNJx/S5kAW/AASwKgEi28pe0zh4DGgOe+pBKwbEjich5t1Po9CJOciw8yr1H
0jGh9b5W4DFlbvOlGbHEi6r7Uu5tIBYPsZJvswSR6IpX8aA+kMLXUUdBFGPYvHvUfP2uUFVvpUTm
Yej0fSk/9059J+NUMWTdBU/Dr144fhm74n5srUepMjeNbz+UTvRDS/tPPnobPmaurg3nRnhuNf3n
qo1fx4iuFT8Xfd9XiXjXlSGcHVFIVQRIfUDeXLTihnpvZ0G6cs0nL+g2oWX8ypi2AVTaKbMTwPZC
tnZRn21EjK6z4TN/j7raRhnzHZDDvu43tXtPm3EXZp/0XN/2iXY0RXkj+kv8RWRq10IOv+S5Qtly
18fNY90GuzLK9qMB49iQ/EsMgahs7XsEZX7FYSdYcg+2Hl5CxwtWdaqBvs0POh8wNzTKSzA8UvVQ
SOWbU8gP8qAtGZjMb21qXO+uONQYJls7jpTSrEwAORYURePOfDapV6Eo1a21N6CPZra5HYhmX1ui
qPbPgJMNbUYyjVJoYedUDndy3B5xFD7i3rdjqyFF4u36MDhIZbjqY3MlZ8YGcsztn/DeoZ0mqjx4
LZ5c4qEz7eBKctXrAFpI0WmTtjKvK53+pm6ucsnapIkJoL1/0MBQ6BE+fmxDBAAuyFOiUY+jTAd3
HBw9wHloOK9RoG1hyiNR0GIzo2y44yVF3Vha/UtvpaMCqCqXgl0MRytNEbzP0/xTbXprDz93LQrv
hVAETywjEkxDb43IgDhtpl0eqxRkpkJaVi05Ms7dbvQT3z166JdPRZW1VtcAuyIpy0tPg3OUJg+l
8pM7oeJ0317r2VxBWKAJ8BDN0ykwsk0SSlgYJpytYReVPy39LI1vfbsLMLmq3NXofIdRYC6JVcxd
qnRq0EizeINRKf54NZixJDdyA3aGpwg8IrTD6IEt3nhLo0xeIl6n9U1eA0NCzz9AK5WqgYwyxqLP
8uz3YioAulHdxt7y42y81FXqpBJPSv3Vq54U44L0Giw+ukYLX0vkNdOTQQFERrsco0XUaz6ORGXB
SnJQMHh14ttMMEVvyVetldBcykxxUIZNl+oYvSaPt4eenSPFFwc5WNykpxCOjqJb0RtSeG4deD5Q
45I3oS/XL2uEzb0D6IX8HmmymsApfEsePcBjyrNwaf9/ImHZtnXhYgyvlbaQTM4OCGYAZURo+ESc
j4sqOV1at9xyZ2xvuGFjyIWgfTLk4QUyH2XvBJLl7dVcGnKSK2up2ftZxZAYO2wiKDqRjacFRMEq
fJ/jEMcbZGQWLNYWRp026/Lc1ySKxuEZ0QTeH9QhhE4s0r5CUAEyhREsdYLnRhQ9JwiVgBJB43xc
2iyvlFRSKN1VaXKXwe9Jxwu+C5tGg4hKPw2e+AHluYUPKv7q9JSAyrPAgnAYafJ/HDX0QeZpCfPE
R2HbJMMRgVDZHhAFCg9CBTZApf/295yLNNcjTs6l03t2YUmM2KQOTsf6fiyiDZitQvkvFXBR79cs
eGk6mvsf5xblEDv9DviCrZz+V8uTd1bjP5vOk+m9jOHzf5jY1XCT9CMP4saFcEdmHTyiUUFoE2II
/y2Dv57WZKO0kdIPssS0LNnDsJki2bsTMVxfK/lEUobY//3i5OaU5DBbBp+kyRqVlimEs9QdwJqa
j3a7Yn2OJCFCmt25Vl1seqPc4suyz4bwc+CrW9+J1q6iwRPPUnI/mpnt35aqfHYVGI7QUPAiWY3y
Q6KH3yxveGlS+UHBxLS19S9ebN2ryKut8rZ+SlFhajX73srjg6W3T+6obKtxwIwuQXYi29/+enNB
Gx4zIv4ymsR/yAIqjZyGFT6f5wJfE6HC1RoutP5xHdACbOq326PNHgLoP2Bw8dgAiPpxa2ZDGraF
zzcUKdv/soMFJGJRy3Y2JyZ1+D3QJHomvWH1Us1zD4T1Sk/fhP4NuDJ8pnAOwWoLMUn3P2gjsVV+
j2lNKg6DGiYyREUAPDzTmBxuOuX436oN18NMqg34zwQKBrnvQCjo7nbwjA7IojjmbIC8msyk2hBm
TtTJKZMRfD0jl7ckygJ80FmbIu62y2008bP/iMgaHXCE/cggrMkXq3Kv7cgGOWgNhIJTb3k7kdhi
fajWa4FgG637AOHfxQ7O7Ez/HXhaKMrGoFLTURQ9cK7o1L1tgxveI23qmnh2bm8fgPdO1B/TFEQq
/kfHaKqE2Q+DP5gx7BffFy6pnr0ZQyEZae9wN74UIS8YWX5IjeYLsBKJ4ljh6EjUKfvKgLYCOiCX
sS7Lpc9D+Ewf9tAN7VME2C4yre8pqhpNwUey/xb3lwScGzOLVhvxhEq/Srzrh/61b0IahJCJm7em
Vw5J9z+knddu3MqWhp+IAHO47Sh1kNWyJdu6IeQg5pz59POV9sxYojnNmT3AOcABfKDqKlatWrXW
H7S7MUJtLlKkU4VzyfX5zjaEcas1RFuOC/7t399VeGIJmphRwaPwwRCqbnjwAEiFOSmM/6rydrOY
uQ9HV3GlfQwEPl3pISInTDyvlsxNZ8EgGCzp+hvXEb2Ij+EnsiTPV90GYN+wproC9CyIVzfOl9GB
IX3X2Rv/W/pjXIPZ8qUjPeOi2lfOzvGAfNxWN9dXZjbwCiQqsqgkstM83TfHYPDQRT5Vkv6r08Jb
rfwn8Cpl/lT8q3xHwCfJy3G7nBKTVCOoWp4LwUmky1aTbGiz2Xa4ilACgMC6KAEwG+hpSZCAAEf9
q0eg5aFdm2Q4pw4/GjkRoF66sU6w1KqbDfRcXQYyRRoSTdOEFbiOofUSpIbcehGnB34pb+GUglWu
XEQZyE4ui1nBXMgQglyCN4v7zxRHCGjG7MzQot2c7uUA+ZiVpkBB2oXojIcLF/Rcfvx+LPFb3h2g
CjrkEEiMFeU2GCDkyg1wu4cAdYEw6rB+C5dzrbmvh2sjWBWeqzZr+3HMTHb8vA0A4zfygbiPHlOd
vbrkINePwJwjKT401BRgQhKspkBbX2q7HJk64Vx0y2H8Zp95rnprdbwpA0qWD2p8h7BM/4WWFmI5
Trr1/I1nbOtxa2JT6m5pehXyBol6Y8kzcvYL0wCGuiM0CKecQdcbPXkYkjdqR+ZfEPfOINmXqDM8
EkOvL8PsaiMBgh499YG/dHUVu4+iBvWfUxbd1s73INt59U2nLHljzQ5j0LDjqOgA7yYf1bGpc5QG
RxJhbcN5jMI7C3/rRbrwW+lpesNxhYvQ5iAVPNWsg4dfWWPHRx1QYTCKL0b/mbjTdBudIrG0jaN1
GJ9L+3OoXZrxzkWpgDuXMrSIu4daX9hjc6w3893PeQsg786PrEuZngZUeFzPQfsmeHSiYC8qFF40
ftWQcTO4Kt/kneEWjpH3mOAwaRnJIVTAXdfD2ZAWvvebcMxfK4R9FkmOaRhoVH88XsVolxlEULiF
rbf1kvE8Ntkhi2uQ/tVOV4svAQBkuXSRCzJw8TE3ueOuFelJlf197aV3qiQjUQXGuIt+eSPWhr6X
40Xe7gqsE2S35/NWl8bqYQtoLZpd6t5PvXXnUPq8vnPnmMyiNkf9EU6d+lc+n8pJE0R5HNLaMA7m
+EgjcbSRfSqsH2YRHgDl7lGmdCDRuJsAfIzu/HTwPdHlaO/4/b1u9FtRb691aevFEiLBeAip1l6u
tYfrv3QOby5a5AJiyboTtj+uuZtoYJxLDpnhZyuA9kDdV5SNdr39olnBKnIB+rc5hqbNOgf6qVYL
nhezp8+2BOMICqI8tV+gm+AiHsU7EjYN5nQCWQF9YREGPX8fvhtnkuJ0UVIPzUChMZG8NY+QzlhX
0S4G92Btxifrt7tkZz1zP7EBwBqhoQ+TakpbKMLMyiu/S0+eeis1n2X1XMTb3Lt01cUJfofjUud6
abxJ5UZ3qkhSR+ooQULSmuFY3Z57tnk8/sTScMBgMUVi/th+dW+qHgDRcInzl8K96xC0u/T+5+v7
auaeoDQt/MvpYYIBmzzG8gFH+yEAcUWVOnZvQbqR6QAVksblHubMFrKAuCNyp5macN77uIVlM+wi
L0lTgWIBVoivIQ/ZRcnzmbyUuhE0G8oBoCineWnmSWYWoQsiQLnA2hkI8LxbHBZL77NLR79fSI8I
ivfkQ0pa5kjGCD4MqANZG1VxtL6FiIUSvC6WxZcGm1TfEs/sassCB8va1TjdQg+AvGRDeaFqlCIO
fn1bzOmpsooIaGoKBEFoXx+/lSsPkWSS1QtygBdcUoQdTeN7CH9OAM+DvL1NePpZSboNFGuHbr+G
AZ0oQMaZc987zWe+zlYuGhQC+1MTU/Dymh2woggMyvWfOtfesQDUvH1xG89MsXTvLkiLRlrqk0ae
KoSUihQ9qcyGEhg+s0YpspBaqZ0Ek0wwXZY5/uIrT+7CD6NP4rIxon0HxCYQ2Akww0F/LlB5xX/I
6y98oVLt15r8TIonZBgXnylz4fL98FNwduA3mZd6VNlNGvAxIB+9elX8FwWqjhsguoV8o2CZJeZm
YdVnNyS5r3j7ARmYqocZHso7qeB/mm17VOxXvfa/BJWxU7LnBHxsQce6p7Ug9c1O6WTal2fXNz+L
2n+l99sBJIsmka/Y/m7hh83UYYTTtAZghf8Q0j9uhzaTeJe2UCQBe9gvcb1O2zUxrfrZq2c13wZ3
4HauDzkXcYTZrghuAiI/GdHsQ+CfIXiyWnkN5OcgCs5lX2wdCPPJqNz+/wabBtGucRRXLSjDaxcQ
jpT96fVHPDoW8XlzF9X7aYlw/u5cjYHkss6MRPEml+9MA0vg7CCepJm/t5tDvESBmsvGELD5s5CT
u5/6S4WeW8VCIrspimeOZ0H2DddW5pWrIkv2XRt8l0R9OdDOXfo41KA+GlhgaXduQdsGFJIMMMFx
3a/VNvskdefaf7JC7f/5ESYhx0zcKh6LnNA/DhceViHS0hrYAQkN1kVCwPz24pmO5IwBe2qyvZxQ
inWn5Tt4yu0zugPGavD3Dljw6xtrNo5C9IMPhsWiILp9/N5uIUeU6tnGdo3VrKsdxY0G/KPVTCxo
sn1AAazWv8uDcd8jGbcw+lxygFgYSD6CCRSXyZK2na/ZbcAs49rZCUWokTyoi8dbqaz2SvPZzrpt
MeRbK/qt4zURYZviutXO915rxPyEDOTCDxLLOg3sIDN41VP/EYHu43J4WiKNSpKFp8wM1wX4HqD5
CNVFJZdMrR7hZWQgc3yuNSt01hGqyEVjriU8Wa//EJKxuV8i2hvwPqn+TbXHkswpfTWvKJjrUXeo
HPDirhTL6zCSjhosNMSzzB14VvrICkCRut0Dm1R4oDS4QcqBujJSp9r6qXyotO6l1FUuCi+9UbQO
yyDjW9UXB83VPg3++Eu2869h7ISbKIuejKrZhAFHzKzRSKytgWpiW5+8tNXXRTHc9D7Eo86I7xUv
VXalGf3wsaOvHfmH7iAp2YbJUwecfyVF6rM+VvnKceTnqh+1DdpKP/t0AFwzGPEuNGGN6o191lNd
X/d6XMDhhaCdysNa6U04L1begHam0ZiW6jcI3pdOiW8bR7y6S/eot+CEKg9p7OKbppbZRkLle6U2
2MerXfgI+eGnk8gHycS+06V5s1bM4uj1OXJxLlLRbXZr986tRuc09vQfZFkZmvEtYo165a8aVepW
gWL/7kuy8yTnNsc8KI/Q0h6b49jloJXH3F4ZSDAEeXfjJHqCAQoAGrgMKZi0OF91ErLzwMfycviU
GvmTNw7qTnbVb21rXDC9/6L06imkR+HnzX3Mp3E8/9jZOI0EfvditOVDAgBjnadDsOKeWUs9VV0z
t1xA2VG9y11f31Zu+rXpottEb3dRGF4iBTQVjxsd3X3lZwjiAJlSt964VftL9ZQ9tC7+vFPDtCc5
iIdEXvl2yTwk+UUxXA8Kr/JgpTEd8+TiOt6xdewv4Fn0bdEa9SYpKedn9VCuSqu8SVJFpcehH/JI
+gwu9wBlaz8kxfMo56gAtl80eNmR43/PwZhjK2ecbDUL14o3foVYHGzrKt62tJfBJfenbiw/w14/
EiOw9XLy+17Kv8rF+EkJpRY/newBncsXrenuEnoGptJ/i5L0zBbFl9v+PYwmElLl1xaJrlXkjC+B
1b4goHWsspaEwBJsEUf6it14s6obgmmQOb9wWFmXlv/LG8JDH2qo4eu/fBft1YjPC973W57CZ+wT
9XMOaP1Y96ymYfr3vabdGnH8TY7iFIHUdouE5+ew8l+7PHgA332JzeTJCIofOQ6pq7GTT6gyb00z
OQSZ9LNvywazc/RCwvhittVPPYspIqXKF0sd7qxE+mGPxjbIwn1uy5/ysf0Vte7PuktQmFejHybj
9X15DEqwXFUd76RatTZ5mD9IpY9P+XD0wixYZShpwOWxfjXDuO2z8LbzYM9lPFzQ1ah/GAGWcJmz
y9R8PdbdVhkxDu7SFJWA5Fhp7a3mJT+RJu1WSj3Em0Y1622h5GBiOnVdZ94teCucL938u+0NR0ur
7lJJLVeq2a8N29u7nos5kmSTrqS3IhkUGp5FVz0MFVZHmfUVVPI5zl99bM2zMLyPFCpoASANubDP
TpE/GSPP5FAaonWT4hwLwmtV2/rXupcvWM7lK7/tShD7doC+KkKvrs//XZKKfRHaX6M2OOSt+eBk
yTl0iRZJUCDnnvhrDlq6hq8abowkuiTF0K3tMUnWrhs/pchShDZCsWZSLjiazCXNsNzgUgLEgZ0j
Uq53KZU9DoPh+FGIVgGQWWyjSvMssKRxnN/xaizMy/W7Y/Z58G7AaXchiY2EbRJwpw/VtqVAqKrG
3mrgRnukwpm0BRIjK9GuA6h6fejZ+xzgG9ZJAt44BVNBFBtHtaQET2FBoLCbVwCMQkr2+jBzWE7y
wj/jTPIG35UbK5bcQAAJwcDp6jknedDxPwCKDBpuKM+2oR309LxIA5pLzFRQFfSdcEmnm/Lxa5a5
6sqh4Ydokx/cgItvh4MGWjZ4Dy/Nci4FQCeckWwdIvi09p2UgdyxyvjlNfpW7bRTmj4DyPNoEiEe
nIxbhJriEpMG8/76+s7OUTdkUfXDcmv6msrlsB97jfo3RY4mJYDkh05W96jWLTKc53YM6pz/PdTk
ZZNUmOn6FUMhNL9y1WOfHGvkeKPu9/UpzRX4aVf+GWjysKnHFJONWvQS1UtmHtT8XoJFMqqrZwzn
ExSbbkI5Rf4ZWaN188tHDbrfJ9KnVDsu4zzmXqvvf8vkyaMrnpQFLb/FbV7aYW8ZD7L5WUpvqgdY
QSb9GjPD9mJhO71psk9zW8xfobGiX4DS42TnqlHXGVC6oTbKNOU1GpvoQKMfeu5EbDS7m5jKYzzY
W6ur79q+WvVqusE/Y1sHxGDyDq33KfjzC3n0aImyC+Xm1o2sox/kO81Pb6w8+1QX1Y0l/XYz/CaS
8sYsG5qLS+i7uU3zfiaTR0seaKmRtPCACmPYCDqE0iNVrtlfCz1YeqLMlXqwMvrHLUoGQP7xvHuB
Mda5jNZTQtJwX+P9ArxQlfNV4t/wtYQYEaixFtEVmlL2kufhXAfgTZLTAOtBvWvK6tSH1imSvuWF
VGLxrlaPQIoDhJCaUgLY9bskLcU35CbynoUtaMtS54tv0dlHotAF/a8fMQm3ZVE4aa4iR4GO94YG
7EFu+nWvJV80QoJAmKNhTc3vMW5o68aLyP25R5kwTMD8kUjIi+jjJ0CWePBMjA1OaL6g4143W3QQ
wubibJtund457mfhGZNJG6q9urZfCByzG+Dd6OLf313fetLmBMSO2kscX0gecVOl0kXTXk5pTaWa
9BQWYOzhgQh+tJCTKrzhvAjmnb3V36+CWKV3v8OrcHq1NYr2cKOlVBLw8iEUCiSWEEyr99y0yzqt
czeBxvMcySPsJIwpN3vUUBepWgb9T1QTd50GLk36vWivPkc4gpn5Z6jJ/BJbytPKoIQnZ9Zj1cub
1ICHMJ6VIfySYpyBdhwJYljha2RR+NKkrbBagnxVjvgVxfaDoRBB5ScJUDNwOSG0DzlLo0aQluEN
W5gXkteusuIgTAsqTJhCx173Vr3PA3/doVhVGfornlVLgIH5M6yjLkHThfLktFzbWoNjxEH61jNA
qKSPL33zhFIXIjLWSgBMom2lP1Nm4E5flfHD9Q2sz25gaCf4vRE0kaj+uHGS0bQ6tDaCkwpUbFeo
xsV31BtSjs2Ih2qEkmCMgp94cVSR4Jj4L2FQbdPyUtcpvgTJd9/V76hqtwhEKaH32FBLKLzqUFvj
qaMON2JQoPok1ciHt1aBoB/eWz3iJBg1YH8Uld1DLFenstA3pjQepLGh7ZvuHQQabbAnqEqto0Da
KNFCFiNSh7/uu3fznoQNKVE7cxwpLIpWjXGmIbQM7xV/4+8x0L4RvCIg2ZNNi5WELlUq4TmnCe4k
YGFzZ7VD7U4TJ9NpnkvzG1F1LZULXKL5yf0ZeJLOZJ5mu5VHVOI7IUKTdo+YOV3fOG81xunkdHpc
Mk7jAN2nGMMgwA8FP3nslZJk43njS5W7Wzvs7hWsUEsT07hur9bPQWs80CXeSFhk9EDC+OhrKlc7
NzU2fpgcOuu35b5GkX/w0JFGYH7PpXlQ8c1d+L1zHwORHPDx7HTtL9mYLAlkO/FGUjzkBnB4BCqH
OoM+3Bb0aKqRhx7dK5XmA9JeN9SNtsKkSjUluEjCO/u3bRS7sfiV6E99YFJgK8p0ZQK+5aV8uv5T
5zQvYIEJHBYUApKxyY06FnZCDYQ3IdCaYIVbGk6ole9tik44tid73Qo3deyu2zdFufJc9P2N2etb
vRAXcLnzNbVdSfWS6O1c9f/9z5o8VeHOt+5o8rix4PmMX8j7kdmFwaQEF3QscC1dWIa5RBjqMYw4
wA1IZk+WobPHYqwSOTgl3aOfA9INoGj9inBK9Ay0jZSVU8qbRvrRafkCZUT85eneRk2Zmrd4zOlT
Wem+9Ux7lBg56qhy5sMW3R/cQHdsgzb8jUfO5vpUF8abvuV8bD4cyKPBqW79U+wAKmkoV0DFifC9
tWlS9sGidPbc+9EQFp/oRkE8mmq9WUNd5pF4xnkRdB/i/FBkv33OoHCjk0xjl3CGO7N/ddt6IXa8
laen62tiBMcxpClP9vDx0vE6wv0o1TwhNWo7wAEfQezvS6n8kjbRniQ2LpLb2ryUWXUMS+tW/Jy+
sm6FSHomAwMuonX5vXPvUgKqrRwlO96I0OGgApvV7qdRjfc+SDC9Be5kIVyEXBElzcHaad7P65/u
jSd1bS6Ti0Qr4jTxNeZSS80pspJPJh1WyhuybqwKo9oR4Dxucil5zfWzkFACplrbxo50NEteuxZ9
tnj4N2kprxEw5/hT89/Jj4L4OFRt2wcnPaUBnW477fyPqL1o13mvPE007xw04tzyHltYkblz+35w
kXK8y0U7y3GVsmPw0n4UbL1UeoxRwSGIMS4uWXJ10UnJSWmuDzx3ioA3YhhAiQlAyeS6rWspoezb
BqfBkI5D7GNViFlKd1LpF6So0FS+snBuZ98+1JowPudWwTFrss5U12HtxmpwKqQag5ZuAzJ9azYX
dP9wh6HG6iMx9yoU4CRo3P/36QK+IrUAAkYZaDL24PvUcUMOMGx6z//qGWJnuf4Gyq8waLk+2FxG
QRwG9E7IQGV0MlgVKXrbCbC12j+iaccnXKRnzL0mgBaZFsovQGedSbjX4iCMcr1jz6rnYdhX7m/T
24tHS2AtbJS5CsH7kSYXWR3LZWGAKDvF9h4WDdQInkdVuXAI57bjn1FwVPt4DGQ98EqvJuEgw+Rt
GkG4R/mJkZLYW1v2sHBdzk6KlM+mJEfPdPqFNKkvhqgzSDYhJhj4gN7D68Z09fo+mMsBQFBhPA+6
SZhwf5xU5erU3SuyvtRwvwJxGkM8tiQHoy5j5cXtPQpcGpn+9UFnK7owLnQqdAiioePxcVQwAIFh
lWEgtNCUzlghSBcih0bpmC2vWRtE+CqTaqu+6pckSuZe1jamNiIbAJ9mWuJkvItmMQhnO088uIDN
GnRF0Gcr+R6LCdwmXfd7Va8XRerfGtuTK+XDkJP0HUS1W5k2wEq11rZB+Bp6D+Tg9LD8lV47a21M
15ZX9itlRM+BbLtXqpVfwYPuP8lle1PWr2GQraQA89YQxGSQr80e9XVIfi1qdf59OaJk2DyOY7sK
VZxgpWgtD8mN4f4u0NgY+gcU9yDTuKcmUYicj+jfrVCAgT2SKD1p2Isy/Mhoj7Y/BrpCsZ8g8LuQ
A88EA5aAxw9AekzJpliiCtJup/gQry14yZxRlPPz8ZndtWjlMJeMcGZQusM2WmjfTrZ0m3ZFHDW4
3Prj/dA+RxrLRTFhkFAsH2v4RQ1V11Miq6jGp2Bdx1VqfRsHUWkJcbAjPY8kfzOY/ro3kjVPEN42
8QZgvdtlK0AVt332U5LQsQidbW61O1m5xP6vLl46mvM79d1EJlnVCG3W8nKHNXNWprWJkpVPfYM7
d0CJ5pdQcQaZsHAyZ+76D4s3uReCJHdGV2bxOB0tkvvZNtUei3RN6DalDWh51aX+uhBZZzfHu4lO
woE/jjmWxUwU6joFCUCqpDU1bG4cOK7Pbw70CEEX9Ikp4P//OGa+O/1yUPe5VwoHtkjfV8huVu2X
AeOIypG3VWXvvDEEdSIk7lwg9+DqRCncbB1K49F3Kf4BnmAXyfaNN/xSumxjyXyKe0NhdZxku/Bb
Z7/Fu986iVRFqbt21VGILYJ2C+V9hUoWkjHtSVI/A1tfaaa6HrThbCtfk6TbNsFjzgNuJFVVoo0K
PS0xH834pQJlVfnOxkn+zZl2BHqGBx1vW/FZ362lIZWto9n8Ph1D4VTkyDTjhCz4kleqNr8Sf0aa
pBLE6GrAkAzRSC89D36DMw4CGFxT2JYkbrmjLKLkw6bnzCIhKUz1SIotKd4Mpbu29QYGe7vzIUwI
eUJRuI3BLYKr2bk0EoVDe++iPSqPW27zQcqPgXrumqfGH+6vf1JaCazJ9CpA4hkPB0NHKfttpu/W
TOkSwJYtMwF2933orZvSCb7JiP7Q4fBXQkehhdCpxf3d0KgHIUOpWP5rDw8fDDupYPOLhmQES1Ef
1lRqd6afBDd6lSIhypNSM9JjKCW3eWw8Dkp18m08QeVA+6lkSbiyqvhgxu5NVg4PwsJMD9sTRm/g
sFo3XJV1eVSy8T5ENkWyVQy08+8pOAc/jnByBw3QBm/mr2aQfrFL/+RL47Esx00nOBNZ/K0JQBUM
ddiuQ1c+Gml7j6wS8nfociVJ/+gWuLi27k6xk6OSu0ez6r/j7HSyW+OlyOz7No+fgg7Bq1gbP9N3
pSsIZCHo85yi6XAIyfv9YbBpYYWbNHOPtdGj2Av0KNK1703fNCtdppiLpM3ORkaEFPspxdU6rvWH
kc43gfQmNcMje3nfoMCBf/Y5w/VcqrKjFZUHXcl3g9McyiAMVklfn1w1U1ZW6X5K2WaGOmJA1Jlg
hRrvobSscqXmyV5K/MculD5J8oAyHYuPNevwCyjTF5oFj57SfU01+dHr3EfVSDBXH7+ndvNpsGHR
2ONJCtoaAEUBZhg1psSPL5Ld72hsqRvTGe7sPCrWBX4aGRTazErPUFQBReV7NMLkVSAFr4oVnDH4
/WqSoEUmKxZK2lMQxftAq39HVX9QhuDgpuqtlqALpfv51gDChrGhvSoK210NGcLpvM+7WKG5DZYo
6ui08FsiBLVD5LOCwjx6VK/WcOPQNdXvPF8JVpDydr2X76Qm+dTblbfynJ711j45EOEUo3u2HYS9
0n4Lz+VmsMJ+RV3wWWnVk9yFX4y6OOcWBBw4kWs3tw+unt/GuYH4cfOlj+WaWVT7MLJ3g1dg41FG
L0Amn+0yuPMS9ewXxg34j2yVAiRchUie+44B9rvrcJQLADjl/GlgJChuZU9NXP8yBudn5OFVrxSJ
vcLKeS2HzmkY3IMdFXvFsNZ904+kAjJ602p1ijTjvtP077YZKitgPC9tEzwHPs4LreWcs8a/8dr0
UMnGHvjVhoYQ0JUBim5RxjeosyRE5fria8XRKJKvnt4fnQFSYumEn1THf3Ec9VPKHbNqzeFGCB7L
cfA4oEaJYBjEl2Y0WCyBG/EeU6XCoBMgkNu32MSGnwwd1SojJ4Pxk+fGj74ZUa6sG1Hnj3v/Njbi
L3lsYRfcZUCeiBxtEZwVediQJq2bLt1lfb9LY+/iSrStVHRwNkmV3Ci1SX+lOBaN9SCAtqFPNdQ1
20sxli96Wz9LiuauI6+8y8woXHcj8jJhdJcgJ74GR/dNV5St6TVPXmE8j4AIEQnfW2rtr1JZfwqq
8ag1oMD1Uv7mycotCIcd+mKHsk2rdYGqHf9iXcqGy97qEHbr48+10x/8gET8euyde3QAcPgTeiep
TRFj7YsyAfrT6h72PuJ6KyycQiMTikqR+RvLKCAWSKx76pJQjiJKFX+HfQ1NUCqQEC4mqVxRgW6W
WzoHgnpGYSvElYZAqT9m+B0p2bZBa+Kfpw+W46Z7ay49kf+Hi+fPL5jM3s5jW1NsentN9xwUT9TI
uSkxmMM5maclj7T1IntmfkzouYhyoc0FIOpjgjB24ImLQFx2/sqqD6IuD75M2EFBP6IPJhpHZbz0
upx5pzPUn1EnM83SIHQr9NOEuDc5vWacgc9DToCJpC6V0JfGmmSuipdZTt4wlhBGjC96fkFJnYEo
Pqj5IhBqdhe9m5n493fJQ1xjSGho7KIQYRBDK3ZwudyCsmRc7oxaucEfr/GwBzNuY97VyWEgr/Dt
14VzNJvCUB5TdAymbTiVH39FlIWqmwkIP8Ao1NUu+vjIY5IvSuARgg51uV581M29EACxCDU/Dbr3
NNWMtaZDqiUh1ZT3iIUJV8RyLZK1dKkwNlMQQUvnz0iTVLN26j7oLfqnMY5Gxk1gdStH2WbfEhfG
z2PQqavryzm7gzgemgyfhUg8ea2qkRS15DMUYKIXrscOFL5RjTSshm1M09ZpsoUB55YSoSAqSqiw
2xQ5P34+rO6dNK0FQBG8XPWMfx1cA9T+8Tu4PrPZgEsG/Gaiwh0tT94HJh66g1PTX+pcmNWg9gah
8S7pZwTe2aq0TFGX8/ICU5OloeceDEiDCwVosabTVpNfDJoG1hQgjdRxm2J36B8VCh/cQPS2GT8f
LW5qEFC9vflX0wblywscENpU9zGrqgL8ikVjEj+7Hi6NrNWnAHntpryH9SwYNk0vbWL5U+13SFto
S1DCuS2M6jU6v7h0/W2oIbUEXarVwWn0H8Jg22hn/Cwp9sjmrdI/LsbAN1Ln9HIDLmJo0KtRoZpe
bjqeRlB6zAAPMrCRT6LHNmSUqZ70L6XX8ZIW5gb2T9BDhEWZisJSo2CubI9m4J9fMAlJsR7wrjdZ
chh6WFwgHZCosOPIRscVkd/ufgu9r8WoNNfYtQmChAv0vqmbTM5SoDSNhLMCcDHaIlymPTo2vDxL
bgDD6DfyUJ+K8rE1uePbhGrdtyI3j2obH4SxQh1k64D0+fr2mz3eqAsiiYE0kvrXzgcSGICFpw1I
C7CUjgk2cMZvhImG/Ov1kWbPN2cLJUX8rMANTGaf1LLmtGAM36Sy241v7SHSimSKHjKVG2ihqAif
pXtv/Lkw8twVpKu0woQ8Hq7Zk8RCy1W1TzukL8TxsvwYJCdPvwBgEM7r0VYgD+rgsPi959b2/bCT
baZkOvbuCR0AbKWBYdjSb06VYiCP9HR9gnOXwvuBJmlFG7h+hWc29XFF+JNgicN118lgMKpno1uo
iS3NavIZbcXwU7NlVqMtbE25ywXd0BN3wvVZLQ00qWfFrhOng06bhkoREal/u8EpFi1SZucC4Pvl
m9TbWzmX9cRh+cgAcRRKinQztBe+FbuySs6I3y3E/NnvRW6NapG4yt8U+t4lZoMepKlRMqDxrcmO
+GT/U12ny79KFvgFs0m1/m6syeTQofQjlYArROOHbE90b5K3Uyf6JtC5UI8v8oVS5Oz8UIRQEMgy
0Gyc7Meu8d0oSBiT+ArhPnl7QFG/5/5eRFnN7pJ3Y022oxRTrJd6xsqbvd9csmiLKCTNmcWB5uOX
aE3CDoB4Nw2Vo1TACUzpfZFUIncuJRfmJqT4x0ck3YQnTm7hkBQeuD+un4TZC8tAAg9xRQrRJNIf
kzCI2ylPvpQDDpwTg7GNi4mdqWLEhG9xbN4Y4bhtGj4wbqgOOKaF4cVJm97Y74cXB+jdfs1KvnHb
Z8lpkOR7R0m3lSRvynx8sKi70KgV/gq28apZ6rnSkWNHD6Ak2e7V507W/sWF9e63TBPgyHFGMIsZ
CXB5ISUVLQ4S+w6G3rKAnzgbf80bnTe67IgIwCn5OO9E6lIrqRVMVkz9vkfHgcLyg+MXu0q1Do2a
3zTUlZXS3PvGs6OXEPiSfYrTXuFpVCyKfQKl5vqnmAtVhvA1pBFPZ2x6k0WlD0myMH1g+heborT6
pgNpRReVspuAvyxue0McoL8WwWbJyf+xgpii0dy6cpu67HwCyIUDFqXyrQF8g9sskJwHjUJl0GyV
MtsljQ5b71Ypq3WuqXs6Mw7MRLVTbhrNWuMvQsELQbGsek5dREXqT/qItyRvemnAFDvCNAPbJPHn
nf65GIOD6sDRkp0tEHiE8hUImrCTCgXh/FR+aMCXllgtaoNy8tG+SxP7jOzUBllviBut/b0H+F5Z
8sEK+ge5Ac+rGuc2Sg5e6MNttL7+i+/iQKIlqbR5wkyikDrEnUr/hSQ+eq38fkPByFR+OzIJrNJh
U9DsW5xI19cHfROimX4aBHiBYdKadlBs+bg/8Q+myq4FJG+euWvyHp2LVxO9mACvg2zANVkBdKrn
9r2nKRep7mHAGpvQ8H51ohnoRRcD1UKz0Q9e7D7EQHHhd1txvq8oe1q5egAwSZ4UO1g7/Ba8Rx4x
5wLLTtfLHpQsvqulr2pVPdGqPTZyeCyEh7C1U2l2VtJL4kKUjJq1AxnbtPqNKylcsD0d0ovO40ZP
0LjGzSHwLpn6Xfb6TYl0CNYJtNU5SSjLts7vtEs3TqHDntXOvYx7i5UviBjNXVWIYHO+6TOLd/zH
JRyhp6hSYvminZt11tbFVKXzn5SIohOt3BFpyesfbe6+ej/gJJZ2pGm+KwZsff1T3JDzyv7aw/gH
GGVD3Lg+2ly8eDfaFKU7+mnhOPSmRbwQ/k3ocNTpwUQkps8o4wINXkja5geEIE9LHe0gfRIyfbdP
KztX/FOXj9sykXaV1mxwNViN/WPI2dbxylDYVdenOb+of0adHIQiaSJEPlT/PxPgfwDdPCCTauHr
zWmv2Ry4/57fZL8AkKJnZWj+KUFd30DYz5RvxOlToWYLT3s/jW/iwt4Iyzw7P49hctL5n43R7dRo
XGuEqutTn31Ow3HlUYW2oTDU/biDsRC3grG2/ZMWydu+rtbISt4Kx8DMpUeRYaxmIVXmePwIPT1p
/NZwSNCsMw489FDWXEoWtJn7ggxJIa3llqIC9/H3KKGmSpls8HsULFHU9LOQB4q0hGbpY+MLFwkY
Kdk5YetHWnQsKfGKFtf1VZndhu9+xCQeD6OiFtZQxDj1FdwZZ8TJEKxBmuBnHN2k4V5NFnbgbBwh
hoAZ5luAJvk4a5p4Q0B+6IvaNVkvmEcyUV5heNxRor8+udnd/m6syXM2zwMPVVrdxz5wi0IdhQvM
rfAKW7QaXhpo8oAd3Mqg6kD0COrkNtKRLaCbmqvlOpKdu8pI9v9iXshrIGdLVUh7O3vv0syhTmmi
5nw0kkcI9Su3u1Aflofuf1GKmUlpHVg3VIGxdXWAd338XpIOHi+K87eIgT18UqPNrCobeY3SQ/MJ
JhOkKep+ADmVzIXkeFg0fPk7uRTvI7o7VMFILadKoUZQt4bjmpQ7I+ezi17XGL8iaLFtouL/DGf/
ONLkM6LECf5WBxoIT4+D321qTFwUNVhbrnxvaojqAHe4/in/Pn8fh5wEAcjfpiIZDGkSD2F6m4O+
QgsNzPeuMs11Re8/hiV0fdC/t+vHQSeHPsJbQe11DQhk032iYhD51dqmxKO2JnpBw0KImWFuwdoi
+3rTXxTvso9baDTrLtBHhLbkpL7/D87OdDduLOm2T0SA8/CXZM6p0ZIs6w9h2TLneebT30UXUCVR
CfG7jUJ1FdyNPknyDHEidqztJVwQ4qNQKG6uXtfqnYmyLqxv0+At8TSnkkjM0xe4ch34vOvwEzBq
1wk6TdwtF09c5JWJ1Y+c4pF7pNzPuac3x9zYkbWo19xrLhQlPw42L6l3y1NP2nJMGvQ7OHi1JbIN
O1A2YnIdCE5muYmAx9SmRGbUH4pg35orM+pCImMeXkPcTerUBHz0cXifSzluBrQAYiUoqbUNzI8u
R+jjKBs38T+uLMn/907LmFCRjZmCBNR6MY21NkWwxC3mnAMJqTOcPES0IcJthJiXkHxl/7v8iO+G
W3zO0PT7QhgYDnkUosfIuEr1Ww4RSh/4ICGYX3UvuLRkaN0FsEWWBk3vInhQa9UstZIRhcz/3anI
HCOXW+wV3wCW6I+v1+elTYH3OGOtyYCbxuLxEoT7Qojn2Px4dF9W+Z1Psziv0+84WorjKuzi4vKg
LXaG0lJYWubZmiYpspzu0Dljo8p3QX0FjE8g9446s1hz8rw4GJEhwwBkMJYeJVbpeWmObmrW41NG
QRaV606OJpIK75rC7UIlgYn5brD5u75bi31UpgFkElpvc3MfTM1G4IaV4CJiscVDZ6yUR18Bs6Jb
7gwDbuHB9Gr2iD/MRtFqOiTk/XpHwgWMwsdftThU4b+b2WjMZVe4OgR/4LHGa3G6YS7nNL5Mx5pd
sPaOleEI3b6jnxUdBxfBTnPxRkjXkiUXMnb8Hkqlc0yGnGupIlbrvm3KmNolTZZTs9MD4OIp7KvD
BKYr2ovWT1JHCFT0fOUkunS20xBNAIpqz6SN7OPnafNWlPBPRzvy2F6bt+HDsFKxXBtgsTFliaIU
PNpsjn6kqk8RJUQbLT9+vWAv7g7vHmOxYHWxVPXAZxS8LGcRtr8PXrPiNKxdGteeZrG1i5rayJ7E
68rv/Tv1pjpO/8vO8+5BFttcFvd5Us4PQorB79wSxMWpiA8kGAjS19wL197aYm3GTVVVasZg6Fw5
pCr9Cpktno+rqbmL++m7p1ost67Q4kHvGAjQTUGX9gTZEpQZzV2p5XBg4Dr69XyYv8PHfNO8nv6b
1vMPerfr6G1iRLnIgHMOqL+b/HW/1pWXt2yHL8gDtlnEEHFySMBJJTfR8EuvZ53nSuZnbaTFLapt
RCvUJUaiPYyLFA2IBKh4pKwG+hcPBuTjM1CZSGJZNwhNPTTkNvw7H2DnYgZDxxGygpjO87W27AuV
Aj4RpyvuTnDqKXguPpEZFFlczWqbFGSdo9U7lSxFQlagvLLCK5zkIBWK4srt9+K7pA/NJAZj5KXe
RlTqpLIMyIjItrLyiEiMixs00HBtY7000Bz9samS8VD/xuTvZqBk1IMh5dSQ8/6Ruhn7HmW6MNxM
a3fsi2cHTfuIyLkdIk5cvMima33YEexJyvANr0vqPnYOR87D94P6MXW7m4kDTKm3OlYOXy+z1bEX
6wyFjJmpskD9zDrOtmCZ/igatxpoEYyDqJbP1yfUGTolJ26mXw9+8Q3/99zLBThgHDaWyJrPslAd
0iK+n7IJZ9s7Ua+doFq7RF3awpg0YFuQRRAaLtImgVnGUxH57CjGrpxeKKhxhyGex9o2z15Wd8x/
0M/LLez9gItVnyVlUtC/z6q3GGj4NorYEXe/WkG/N8L4NJPCjCS8S/370RqxUpVP8z/pq3NUQdyJ
JMU10lrsEb4l3ITA/udiV+bfA2Ynx2bYXthuW1V1o0i0BTLndSSeBaF/FUh3aYSCZTc4kSVsxZe4
pzer9zdD9Zzn1V3NeWT4gtMmmKOH7cmL0tsU+GCQ/WzlW2TKJ7/7JjbYM0rRtlRCVndw7cmK3erm
i9hRAZGSqzhvN6PZP+R6cVvl3dYj8Rpgh7YNMu2QyfUuzKrNOPjkB+9G1cSx6SHx05dU04+J3DyF
emPn2e8OZmfhS05ILwu2PeLou22NsJ6ebTfV402qAxKSQ1uW8l0Zh26l5o5uPZvVtNdNtPfTsxg0
xyp+hR21Gbsns6c/pkNZhJK8lkTKY8WmGnK0tJOTtPU+9NMdVy3Hp9UqRYZSC8HvVlSPEZHr7K+c
E9s2o3U3kML0zqpwp0bhIUG17CMGHWJrgwvhJoXbMoYThMt4VyYWxdhY2Ce1cPBLwwl980Sf0t/y
6WjWTxxeVuGdtek+TYuDV9a3cfDAF72fyuzUV/oJVVAVkkadncKEt7o9+2PoOwO02ZxTCeLR3Vj0
t15hOIBrFbtUfXaIadcG5TP5dYH2dWNKbjUvf8yGaheP5k2E1+XsOBk35pkLmTOYys5vsNw1/7R9
flNKQPYN83rKjHOMnfPGH2q3EHo0156TGhhIe+VdbUb7dmD6xcphUj3HUtOHGfLUFPg0l4l/G0bi
PpTNKzWvnc6sHBxn4S6lblE3j3Fq7nQgg1lRXPeSuc8sbVvHP7OEPCx9EZ2hXZmD3dFkGMlQUbvg
oACS5ULuBM1wTkPfjYO3rhYf2paKjFDvK3x5aR/gAtfcAD238Z90NDVyTK3Y9eoY0X7WuJVm/epK
46wW9C3E461S5odALPgi+msvhztxEq8HHgdlGuSD4OCl3r6t623hczsU9B0HiinQn9NIZK6GfZL1
rhcJb60V7GIB+JxQ4gShHRVsNtgsOyR6Zg77LomOcEKR0gW7r7fHC/3+nD8YnGD+RRILzd/HA9bP
LJaHyo41t7arrezOK3+C1zCQX8a5fL5qzQ59Gn0uRidvYUEn7dQgXO5PZQPZBjzA6CX7vlrjE1/c
ueESQw6hwYLc+8dfZlUScNcUHd8/2QPPP3K7Qd60qmu6FNBQcfh3oMUrkPxoNKSWgVCms2OrKQn9
4YiSOe8He9Xn6/JpiMsJYQXOV9LyRFJ8q0kTBb2gILiyjCeLU/Z0vO87HIBLNu+j7tmPxRp6/GIk
hcvBv8MuToqalH46BmZITENMfSjvMm9r0L9U2KF+b3Z2f4j6w8rk+ixUY3K9G3NxbxSBw2p9izCR
ldjn0FqdznMpvPoy/bg7Pcbh3l0Zcn6MTwfiuyEXN8nIK4tGHPmYc/ZgdgEWFGSonIpJaDoiS2z0
Xj1TPindS7TatH7x+EfPMIMqyJeJi+ctE6wKigZJTZzR27wz4K2OQWRb8oMKzdrt/5d8Hhrff8db
PGzo0Qyt1hrikRbFAWCqGWHDTWl9iVz+kv+NtLg6K2NA9xI2PGfBew2MF5oRbZ3kd4USQcS43W5z
605OgPMKsavU2fVQw9dFMGOVz6qXOqXUbn3uCH7Qn0WBTcaPj77f09jjOYIcHiz/1Uu1F1MbDn5v
kix8Gk123qreTuOw1eRmI2mohLT2W+DlThHJO0uP3QYQhdIfR1hd86kwo89UMTmIWuoqub8xovQU
8z+Dun4caRiSQgJejAyNKdzPWTNBUW+nTgDjXDjZnEVrUKW2uTN6xQal21UvUGGLVJqv+gdatTVV
+t2nfYxLTXBVhsqznCtuARwjHjcmit8gtvZtiUAgA7LTiDQiac4IiLhpzLVNe/6unyc5nmxIu+ml
XFalVaKXToH/CKcD0zUaOgFMoP+EcAbFiASrhawKHixhXUhYsTobLtRoWdcYw5D0V0QYb4t5JzWB
RKcC85x7oGOgnulEoCyxRh8xClRSZbInEHOg+zVN7E/LDX1btzKmzR7dhFhMrOwzFzfwdz9nMTkz
KMp6oPJzhHqjDlfce7lXUOpq9ZdkrVn7Us6AjZukKMVg5VNRz4QlPwpzTlAzyE7OVgXxT2Fcrctf
zIhiA4kuT6PmLi6VUWVjpl7XKSnQrHirjz/Cqj4VIrc0qT/MW5kqR4do0E99iqTeGJ8FWbyCRL0t
OwUvg+kgCt03us1cpelB6DZXBKwOPbRb8r1ulHTHQpXcIkvBg1XXlhFLtoKVTZGXtpb3Pzwcv/LZ
2VszdmRfIcAY4MTtRBZc5HxXGA7OH3wkZaKKFE872/Cu6uTZp0U3O4WdQhI0fzLlapPIP/PM39Sy
gA1gddKio4WezOvjfaSPrlGUL9SCwNC/tcHjkF73QWEL1jPXB25tDgmuHU1bxOxP6XDITTC1ZbhL
zf0QXiXJySzknVLcB55/onfL433ZbQO4tFU2vg4us2sOkl7c61XjjKNwCM2J/jptT5XUEbX4aGSx
S0/kIZXGOy+yXDpyXYiMhymPjkYzupUrDjfcw72B5lZYn6X3kubnqHwSi2xTdNKdKYyHOaLty2hf
UE8xxfhblQFJWN3mL+AiWW/vJsPiXAlCYZqMOk7PjeHZvtdu+OFuDI2c9JXTZzpl872fKN8D9PT9
va75RzLFbkz/iVMO6TZXG6drfFsiNm6tjF3pLfZyKOJzO1r+VOp8PLhVRelMlX9WG93Gn5Zypx3Q
lBdK2dGSxG3b3a4c1Rd3MTgobGAz7HUpR9SbCVsZDZEZ3INJ+aOLu/m8JnH1zyYmG4+VdAVJPxBf
/gc6D8Vy8Z9a55wdWGwZel7LfdkQhJFw5tgkoYR+WKyOdJZ9/ZSX9qb/BoI49DGK7cvOEuKJgczC
eCDjyOUE71qv3itNTnd4ba+Cei7Fze9HXCSHTdhNeSsR6CHdmCtT4RHaiBc/roJd1h5tEaALqj5y
1BNqkRiGcW/WL0Qf/8Toq2NdDF/fP9UiSNfjCvuQjKdK6QmYXhSwOWLCJrWJ8qM1XenJS5aDfChX
0keXx5WkOZiz6OJe7sOJnFaeNodYQie5ZqOctdTDpOdnymihVx1rNYG6Hz+WFj0/pCe+nj0XS6i0
GnI/w6OFHp9F1D7kYV7V+TxPM4AM8p9MTR/ptGmhHQy4zlew/4VSw1SgWwmkL86idwMvthyOhVrA
liecy9NYPvGiW1Ja0v8BKzovtWUwY2F1MXP0oRQumRBeBRdxlGewVFTspVol9qoKB+mnonZwNhGS
QKeoE28HC3K0tfqPIt+NRgx1oXRW3vb8UJ9+Cj409AbSZEn5/eNiTdK6o8V8JB0bWNzHi+NgJtuJ
Lwv7lAJ56BQVKtEBc56wdMX4Xgp/ff0LLr517DrRXAF8QxT98QcIpBa1ce5u4PJv1aaDmNsx2TBm
YTbwws3Xo/19tZ+f99/hzMXsEuWiM8UR3ptZyo5MlQV/6u+eQPc6KLa9lYybDoNtTIwfeSs+HYOe
Y0DOSHvocAonj9p+k01Mwo2t1wcc/GjX8+4xGY+kGvazMifohJvKIsEcR3dt0D6Hw3SI8mrbisPZ
116+fpwLNkJ0PhOUUiKfb53q4nGmsCsVIWGPkAvtrvVEuxlMKMomAZJxqBXlVsXgySyUXV4PkK1/
FUoN98rcDCLCGmwG4AGcPYjKhjkdphAJ8VpP6N/CweKFzy0PkPUIIFnViy2zlQOVA7kg1WDkdzgP
UM2WrjNN5wIhPEr6z4liboJklw5KO6amXBjDQ9yr34bAJ81o7eM2eGiH18TQr4GxIQQntqq0Y0nR
GWv5n1UAv6rOnRaySOH7LtX9E07yr0LzkCctpjvD/YiauSfNGip7vzGP4E7sMZXtyWSSq9k+FscH
A1Bxa6XHDhRMYpHvNf1tiCl5O6cHmfw8lxP4KZk5w6lCC/dJ2r0fJ8XjknYn9aar0/wnYTc75/Lm
HJE0TnspJbqAfCCp/Zk94Kw1T0moH2sJ0b9UbrPc32ph8r2JwevnXF/8uD/4WvlrNJUbdZierCJ2
69DYtnH3VMc4XxSdepw/moRxijol+6/n0oWbPGBApvtc4iLIXBw3VV2OTaeXf5l6dGbQacQOyPHW
l3fcr1ctmS8cpR+GW6z7sjbaQjcZriTMT8TkUYeBVmM3oOP+PucaQ+zLv37CS/qnWainKDqKq5lb
+nGvUaVKLdAJZqhJfLfJXxDqXOsTKX4wLOFk7rwJnFBbO3SvzjxQLZQOqm86mSmv/ZIL9fL3v2Tp
4aIGiT4IAXNWQ+Emi8m9WUCmEvST4kdbWJ9K3wL9r4+qCmm7HK8CJuPUvFSBt1Ux1oqDbq3L7MI+
PHdEwYadFbDIXz6+m1aSQllKU54aH2TKoE/NjFjJ83DXT4Kj1MJRt6ITSXxobi0QfElxVfWR8iCk
OdkvSI740jcSyIeVb3Yhu/Xhdy2mZaOl1AkKyIGErbRF1t1GUg4E6dx98A5Dl6O1d6sOoBdfxowF
NWgIwZt8UdRSR4SBVJYBkWbXaI9RTpAe1Rtu+/qKDORSuCMjtab7g+oZPK/FDj76aly3KbONzk/Q
nFw0Kb/ibdnj3kEnWgUCqFiL8C4c+h/GXEQ68IDlomxrlnoeHkOr3xhGTdd25hqRusnat1i6DWL8
p5v8OFjZXmAX+PqrXlr8AAlkSRKRQFlLUqg2mW1JZxZMqd7atuNVZ8DEphAh98N+zqmt3kkubW5M
7rk5f/b60Bd3kgJ0W1CmTTCXtwtAaXzRMp5ptlNYMX0fV7soLl1gueghDoZICFtqucLZZrTKiOvs
DF5q+tVBc/yVixtNJpmPvNyulW0g2dPr8BpTVTK3kefGb9N9hKnu6/hqmRv/GVxS+Et/5R8DzReP
+msx47bs6G1as0y/sBvxW+FgikhDzE81XOLC0LNS7LJrPXUio3GDQXX6njaraRWNPr/pRTxAMonc
panMgy37rEDexoaRFlhzK9aNrvW3CdX4YbSgljX7oZDs0Ae5C1ao70lOilzzg8nawXVSaRCUlXBl
/V18dB37rpkZgSZhsRTkoew4b6OcvGJ+F2MWX4o/RHrMI1Fd2WEvTEF08bNMHEtERfybYXwnfMhC
rTEoTKaYYZKJuUJBklJHO0AOyMxztvJYFzawD4MtbsSSlqk5bfzpGRcGQBxUVNkyZfPwf7AY/bt2
Pn3Rv2oOOOComBc7tFgUet/R6X3uOccw6XZI1Nq5pG0ATsE5kvbklwC8Fg9W86eyEJ/Vf8BLnyLJ
21V0ZHZCSAYrvWnw9C1Ezc0moDKt59JjtW2GdFd43/DJcnoz4NiDdqi1tmRel/HPUeudon8RAB4k
fWO31LdlBVh1zCGuTvD1WldW9OtWmlwAkNeFpFIxMDed8dbC8BIxi6tTIHlBH8BhA7vsm1qEECCK
bV3y4BeVxQ+vYelVXn7ALczV+nxXWKQMw/40afIpMtNdJHqb3rPsyCPT2xd70wtVRxvlo5VILnOO
9PAvXU+40ZAZjnSKqa3bj1DqRv87PvEPUTuR8xdSO468W6vBmx63XNRfClQumQ6+dq8W0e9BaK60
aDwG4LfspMoPgzS8hW22bcnSmYlFRk91M/SQHonIOP1t0bRXBONmMn+11JUTmQy+9hiKj0KJYgHH
BHkYD03auqaIA+WcCOMQVzjyOdhJ9Z8MrYGeisyh7SkRfDe60hnJdgQ4gXc9BmyqjV3kRtTLB7qK
d1XiudAE3BIDAyFVzuI4biyoPfkrTKarQO+2WZNsBFmyhRKwXS0+D8mj3w7niS8utgnMu9HFgHRT
NVTQ8fOkz3E79MkPL3kOeZXRINpUo7kUV9dxbrxV2Db65Q8yyLZAwUHuSAf334HRIqgY18KPCxk7
OqjmmxWbOArURdZMiCXP1HIxPZdDvFUhr/midlKVfuNNBsxkYzvA+tAIEhEu8M7A+Qo5zjRrKGr1
woL+y18yNLTsn9EbwEtzyExDSlImoks5BD/LNYLfYfjJoUt8dCGdayVaYSth74Zh+zgDaCyawyw5
f7TMFPGI9qsOlZ2XKN9CX3gYUybPAdprcOUL7TbotJMgZiSEdVealMNseq+kYKbqcdf68t6K5Q3v
FwnVeGhN+WagK7bQyg0dG1DyU4j43oM29a6YK38Cen5jwvjAyjZrlQ/twgFizRUg9MAKqvClMlec
as3qyVKcC4IWIYPoo5QOrYw24JBjlj3q/e1MAKbrey/zKeSQAuhwsFpvE4S7ovmjCk+l3OxYW26Z
NK6lJhtzSG5jf9qPyGY04xxYr5EZUxQzFfhlYo64EJuTCDMfSmHCKNgAVx6zQCVRnL+EvXUSgFHK
gvajp3Haw8qoB1coevoxjGpHxYau8+7Tpto36c8mM8hFy9/ioN8E1f1Qc+mF8Cx4f74OsCTxQtxM
QkLibxEnQ1ofPsbz5JcKWh54TdRrHMM2bNHRtpadHeZ/s2zL5vPa/d3Ty027y53SUU60PjrGFkWI
ne5ip7NT5+1esoH2Ob/6213pEK6cBjvc7Tzbs9Xtxj6HzrRT3cb+9f365/X19Y+fP81t5cj70fZd
wS2ceBvYvU0hYSvaf1J+R/70ROzFX8+nfPM72MTuY3nwHcl59J1v7UqQ+RfsvTiYPryCxdmuSn1f
J+iuzqfi8Mr+TEO7O27i+5vB9u0Dp8xmfnBUgTxa7YD+4o8nO9jmzhvPPthv9439vXV/ZPaPn/q2
um4fYHAf83Nm/7yGHel4DrKqfejGLoRmO9n19unl9eq55V/9Lbhr/jBzMuf3Wor00l4A7cnk63KR
JWz5+GnLKdfxsZaTmUrzzzWdSij0t1Xz9gtkbZM3+N9Ii6M9lSvwCT0j9bp+UEJwCTk02TI9USXd
aY24kTOEY9EpkPJzHLPCpAgYivnYS8bJF9SdEk/fZeC8rYg7L36oJYmxDjFQTi6lE36NVewQ0WmR
v5WqJ11/yIaUTfUatO9OyY21S/dfPtGnCYFSUYHDi+/Rsn1F1Ka27ck1nJmEN43bOo1rXjVu43Yu
ufXr2GapX0PQc2r+en1FS7UHdmon7vxX5gq27lhbyS4dfxO5gTvPntomjego2+3Eekmd2CFZZP9q
bP3Q8fe95x52/u7t++133aZD5mzynywTzYnsb4/BBsnEydw2TmU/DjvopvY8rTLH35LAcinguSK6
GPsY2CP/zZ8/v7/eJC5/3nfvY3ErMusuSOCSJme1jw5jBUB3MLaWNbh1Kf8w0upt6LTETsVxI1s4
NEc3RvkrKhuAABhpG8k27oRtVapOU49uHs5GveqNF0kPiZVvmyxFMVW46mTsgfUi97nOh3JDuZCy
uOLo4mMQe9uvH+jv3v/VB16EvbI+1egkeaDK7bbqTt21m56/OBn5TP6+tG8GviKdb6zxYMs2t7M2
0r1yr7udMz4bd9E1NnFus5kcfJpcvosTs42F24S1HjkchLbJv5kbMhCOuZKKly9cEOB3gc1EHU0j
4LI4mGYFZ0rGYota7TprTfxoIBLGIu5bATRydWN1xKel7gRZ+DwmLTTVfl82TDpDdScJpV6BX0CS
X0Eyppsdb2s6itERPusUsQcvcqpcwVo5uVH1xoXpCOqwcYckXvkIl3YnKBo8imUpEG8WB484ZGJV
iVECdZXc54A9kDRpN0GX3hiVtJuyZGWb/3uSffzoc5mKKE2kEj8HaovtMPVir6qS5Jwjzxn8WV4Y
OrXKLZlCfhdrh775I0ODqPE7jWn0HJLExYjdnrjm+VQA0ly/517mBnEqwLtQ3rLs5R9K60vZxldZ
2t33cr2Nq3KH9viqn/SjmcPPBs5JkVHdQsB2p77d0nI8B02jZziFFO5DELtCkmP2wHDpS9L7Flhl
rIS6c6bnd+xR564vHBXI74gHx+zjMFvsfb0iLqQ8oYoo1AYUU0FUsfwaRovpdWUN8QzbAXNUTy9Y
mOTKWxcYLh0t2AcBZqSBj85z6m3dmo/d5zlt0ZiIs6cOVUwn//Lx2/RIVPU2CGP6t7JDNgQYcct3
M9YZg+cfMATMAORzOa0FifM6X04JgDcaQBAJXN+yh0LKQr2uBJqXARSibxSkR77AKt7s0sPN/ldQ
fGYDTW2x20xqn1YaSv4zWuM8ORaCa0mPzAJeJ+nyyntb+ZafQzpGIx1JB4+pWTgHfXyZIb37Vjw2
8Xlug+sGixLhLN/ywVdwTGFdUGbCdxHmJvY0EVPr6+H/XnUWLxUsAgktiYVGwXCxzqakqis4OOG5
a8tT3tf7Orzr9Wyf6PW2k5Ntk6b7ur1v+aNg2upWsoPYng7TtWTWBzwBTwW5Ab0st36boFDrXVno
MccTX6pacy1wjcpY3ioN14kq3WaaeNd2kdtC27OowrSFf8UaR66MvH+K910gOfOfhxEYdNXDkwPB
7tBfF029mc0+/ex55fE/vX0T3qSkWMTSTGcm1se3T8NyPmZgMc6hqqBnsOqdqYtYY9X0olJ70/ve
CSlXq1Z1MHANFjsyCnMaYTC4S9VOXAwHuap/5/7wo/OCh7HTHwJtvAmFtDtA8O8rLtlpYdP64zTl
OUjKvUd/Nu0IvlONheKURrYNWyA7YoJhT+EOU+TEkeng4PLUpfX1JIpUiGNhZTv/SzH48NnZWGkZ
0XWMH+jxUOYb8ru8VWPKEenpVju3KMYzT6RYxjWo0rrHKC5ldlB5791bXO6LZ7lM3RoBv+BlV0PT
uhGu0czZP2aW8sHTTSweQ6m0waPZFtUNxNd4/TbEhEVOq2sQ+Ds61O1MfokGXl65FQDVtsAeo0x1
uj48mVN4kBMQl/hxJGO5aTOMIKf4R6bjCtDBZG+NkXqJ1j1lpWJ7AG7sIhLO6TQ9S1iaDKWyyWTf
hQjwB+PHg+H1P5IcgMRQW3YcJ6863Q6h7hHA+6GbNWsg3r9TZPkqqa7NxAHWz6era69VIiYLunou
S+Na0XexYuyEWL2p46GyUf5/K5L7Ps9sjDm3c/+8U5rqE7qmgxVqtZ3XGcZgIWYBkmmPgYq9arP3
1fouLuO1Dkh5Xsyffiokdw4NRSW7tVjsad8zEcVKxctLROzR7KOSQKTtroSsfdGBo2AhfxQjyRn5
9KJ3pDVY0Qt7VKJtK3QjX7SypRz7hEAO3SEdDz2Zo5TAr43X2rbVTxkBZigVqX9/62KGFhYuP8mY
q2cJW3KvkDZe0rnVNO1Msb2puuCH3vXXM0ZmLDPbEGvy7Z5dybdjiC+CaTqYmhyH2iBFGmzbrKfl
s6LfQuH/RvmW68l1NCVQsUi3JPeDQYLcpHIQTd9ifBsCyTgoOcFj/JAUnt2J/SaWjfvE068lvb8S
p+rGEKy90l8lKsmurr/XwvDUlflKvvdzfoh3AOfAnPUklkzD9MdVqo15L01yq1JRkX9OY3Q9Nujl
Oumg9NXBm0ixm8WOxNKj2dSF0xi3sQEFLoxQnQw2aVaaLv40pNCkLnz0etntMoCA2VuqkMGAixdr
hM2dd6SdyrcbDABk7XvZBC4EoQ1sw9klyL+xevk+xt4gAYMsIrbE5yHG/0GdNwTRMVLFlsXmoOnm
NzHUSGQG7AhNu63HNZXHP1iH5fSd78dMXCgFnzop1CGYyp5Ox7PuT5Y96pW3y6zK/FW30ybqU3wW
sp6MkddYzACl++0ZuAJUEV09aqyeDMznMRyX+frjT6/GGIhmCdVWWkqv+qT6mypMuPUg5uMsUuNt
qk1XpS/spwgDSb/eINs5aDiBuPJfXK1lvrbTQIqwGBRbySLLiQRWrFUI+amdSlSqmXoeVPVNHQYB
BnlYnppBfQgM7S6WLM/FLaR1fE8cMFKIpZ2ilco+Q1JxgHwWHRpqxadIqXsnNZXKzVtso2KBHiQU
EskY5G6g+j9az6deGsaCU9d1vFNG1FRBPx6HEQ+ODEmnOckH05eurb6A/0euKx57kVwzOcJh7J9F
PZ22sdzk+yj1DjjVfTei7lAYdN5afmdsoxI7aL+swK/JCMBVceCqPM10uCKdlbvxcNSMmpar4hkV
auroYaXbVa/M9vbVNXIoDjrPKo8NbXtph+9dpnXW1gC4ZZtR1BJfJ+ZVqZSPuBAHrpl4t1UZ/Zky
5VpM6aQr9T7e5IbfbgQ/imytSTpbi+oXsiS0E0kIP/0g/jmgGydHHF4FBpS8XPltWV2AaVr2ZoYq
BbrJf+lr0g7KFOYHv5F1RwnUuz4Fqh/rqO/Uun/jdoOXRyi3MEvawi5TzQC6LBfuWAqKrffJUzep
5lEl40rvmn+neHG+jUv0Iwb9SKATZLILtXL/dXDyWbNHjlr727f7D1RykRJKjSocxs6X8Q4MD2KK
5vjFa69QS89BPoLSJv0V2P8D1RTK+wzol1VCfIw7FxGw2KiJVDczwHEimZfvIlhZ3c5oBSfoGhu4
jk1nb9t8t6LQ/fqJlxVkSDHQckjlYLk+V80XFfqgiYQkqLryHMsayEykNMV4V08dvmXhySv6H2oh
rLhfXRoSbTqwKQNfOzaWj1usaQ5VWI55cZ56ya3NW6l/0lAfy8FPbHmyca1IP1+N3m9h8xMSb3GH
1nS0IsuOg4xeu2yyoOUE0pNZ6ztABD22Fr1TNQkF0tAxO4fWaTOjAvaH17wqE1heb/7+AII+XO0R
LH/CW3mhpcR5k3GvrrhJZ9tGgOjYXAntn56bsyk3B6+xv/6qn66ryzEXYUchoXeVfC9HhUJoYYrP
XW9eZXn5o5fLb4rVb9u6OeQ9jbv626CmG1WvyUX72W4Wsf0Pv0WZy/coM/BwWdY1Q25Cqpp30Q1a
rqnel4MjidfRSIouflA1kCcFIBK6h+26va043ec+4pWfsLxzzK9DgQyl4KINHnQpxY2Ctp0orSbn
OqZonOLVM45OOcp/2rCj3jjdIYO7zSZ/k6HUlK1iZZF9wsH8HV+Xga4jNWalL6Z8HbeaXilxcQZJ
bOfjZKu59bMyhfuiwLOoChXbNILSrpPhh5JP2yZM3gqhPgoxjkKBmcEr+DXqxr2FN1SJfPhAn/DP
r1/RJxf7+SdSCUKwhuEsceDiJ06ThKsWh94ZWi1A51FpnaE9DlkC+U2/4/Z1r/r1LSHc97qQD54V
fxMGZV/m/l7g4lFaJsqv5PughseSfpEkS3bj8FZ0SC2S3B1p3Pr6935qJPr7ewlVMfzl26L//biL
hIYQCvSEYQwkMqHTg1o+FHroyi0JmTq8N/lhRfYLwPzo+S5tLrShGrdYJtmGJXxf+S2XdjT13W9Z
bN9118cI0cr8PGk65/iLCTfdAMSJQKX6ORkhDO4kb93/R9p5LUduJG37ihABb07bspvddDPkzPAE
Qa2G8N7j6r+nqA2JDSIa/+qfA22EZkPVVajKysp8jV/daUKPtgswGlO/ccN/b1PnJuiDhyCOdLBg
6AIZabBd+HnisE8joI5ml4jy3C9TFFYbx0le+1hTIu5BcaXqoERnwAyUXft7NNemDVU8ob80HMch
W3r2zowtUKu6jrG6jXHk5WeK4gZNpi7KBMEKTBYyFab5O9CfF6Y49wXIUxnA5HRxr1wOY5mpUpcZ
LJtRSu7conyFVPxYjj4xrt7FXvjTHMJnSFEkmsL7MbNugUdsLcfbeC1PfzP/NrTRvg5kez2q4fv1
Xzet5Iqt+vnHTbcHAouSn8cZ0rPtSnGFOB03nW4d/bJfCLbz64AAHEHGEvDTy3VwuqzMcHDNTo2y
x5JAHXIM5QoartvROBpR8D9icf6a2T/DTb6uNXDJx64P6id6h8tk6yhSn+T4Tf9P0uJotL++jmKd
pvuY4vTfk5u8Tx3FHXzDYDTJgHcTlVvEPj0uFcTil47MlLQ6nZhIKj4VaywnGRutz7OTFYGSgKmy
8j3AM6odbul9cWlpwTYZs2OudqQS1b+4rxQeoBaevxR90Wu7HN5rMtr/DQElqYBpE08F0Kl9V7V4
VwbtdwtZAic+phalFUCIC6F1Zg9dDD6Zu+8XcuJmWXbKnWNMtcd+jNx3rxKGBWH4P0oPsc4gNlHd
o4ZEPXYKC8Gpz+2khqOB+yXGIA0EWJf8rAIcu+TWMTMtVafKLDAoFB+n5Hkvht6U+Ei4IoHHtABl
18pb3D9F8DOoK17fqjODkfFZGsFWBpw3LZzr46CHvuIHp9yk53cSatOwH33nIbFohizBQL8IcLKM
F8NNqha+X2d9mwaAX31ABd1zbv92BPR8G+C0ojxChqMC2OrpRuvP/7tn1GT06RsCkZlGD+AVnUit
hUNJRl6d/JHJt1axG7rdaFB+7l/CJT7tzKwBoIPWoY5uUMWfSiD5ZqA3eDklpxQ1Ah1kt470dBPd
KX9kuLK+QfXGZGclIy3SkHI74QIL8Wtefzn85JzUg1pbTauDDQx/GPURUXFeMpZ+VN0zDcPOfvxf
txTJjkERUXB6Ad9PYi1224HZyyicduldCeswdR65wkJbXvNogThzfbS5yanUVhW4TPBiphvYDjPP
lIARnCzvSeHa5DmaRNtR3ia6iWL6fvGV9PXEoCCi0FnTaALRGJhckmoLNb1C6uekuYS6vdnv8+xH
4DzL3YsUP12f3EzyeDnY5Jlf49XShh6s2NDeNyN6Lil0k3HvKS9CLLffE4P4hCjIon3MP5GPW7TU
mJ2vSLkVel7Yuk9+QhMnUao4AcRcSZgHJYNg3+MFaKJTZv2LrfOR3v93LPFbPt1mdVd3bhCxtlVM
1VE6w/kv4qcy2ebKuVnapx/H/fKaZnGxhhE3NSXDD/TIp9HoGptyRnFKSEtwIopE3uj+LSRZILqc
Ci1JVqSfC1fm1xwL2DWgPuEHAuFgKnAaGaiD4RqTCOs2lpPoPlZPHAxj6caaiTqXI0026oBFkhaZ
jKTmsXgi0Rfln04sr6gXkdpFEoIK8lrNZYElWjwnMxNFvpPSNMUMXmnmJDXoXUnLzJKgV1sghyC0
7qvgTki/LUGfv9TCKOtejDSJb22ll0o0MhKGEDGKRpH+yC4tIfPJQmsOc+a0/J0kC3v1a+DRCXHg
HbCa4X+n/Bl3MELsXomqzO+vJBZLIV9FnenoFsvOZB/8gcvdejne9Gy0fiTkdkSgS1Y+bvBtYm1i
8KH1TVn4eE635waIaGf4dyk6Yp1b4h2ib/1BA3lf0uKypWMmKhj4IZf5rcVNfz1YzSyIEMzgkYso
MezESaDosI4ujJq8xWvedPWRB1zSPar+XRsdhVNp+359uJnjy676NN5kQeTUNqVKRb9/6EcR9oP2
tezekcUw0r2QSNeAgCzrgojba/IZbDyyOL46r0UEMi5DFE1HR06xkha3GybyavDoUQLGRqLVvqsI
I2TnzF6ZMnJDL9fnK/7D04GpyjgkhqL0MUVWBKnaRA7w17soPHbJtzj4pQco+/8iWJVLGcMXASeO
lCgB/T3Y5JnqKWNd5FJr3yneFguf1rslVgXdDdeMpRylZKMWW6k7VP+r1cp03EnMct1W1RIDVxBy
Xz8EpSOUBYFyLEan2dXUNdE4kymjT5/7hannWZ2MwiLp3KUYGX0Y8BXJM99k1bcL3bqZowFkiZ66
bQBDhOR+uWn0VA+NyEYwBjaS2DHYZVMAXJP9ke5qCAb9i7QItS+BXgDKrhEfxTb+dLeVUmNEdasy
ouTeULRZSxhhl+W93qFik4dr2f218JKYyVXAP9B/I8FVeAtOMzE18QeKN0hgmvZd3eESclf1r0Yr
bQj9lK5rB8jtcONhBY/KXf5eI3O29Jr5eufwE6ifIh4tnFGn7YnGB2Q1+g6vmeAJ6spW98eTJnQb
gwe/sRfi3ZfB2DkOQUAMpoF3mkQC2ygLLW89XhNK+8yAqHqQDPKKiVJj4ex/PY9sH/ryloNSHCJu
U+RRnwHT6GpiHcbemMSs0fOoPUApgjm16hqK0ijZobwx+K+N9nY98Hz9sCDKdNIjvIFIeom5l3tJ
BaMxDgTb22pc0/aRbe+uLm+Dfcg9WxzTZ1v4c6m7VF9B42PD7a+P/+WoMjx1XnSILMcWPqSXw3dw
pavCNVBbSrdEoQhVxtjYI8LhQeMDCHV9tK/1ZbavySKDeFJx950+XwYrbWO9HN3bSG+2cuq/Guwc
q7/zSuQBgGRsKHNsa2hquWYfCkrxkjFuLTt/bL3qNtSlOyeIzyHLCJ9Ae40sbNhHIRrmfnesAi26
4dD21c31H/21jcKPxhFWPIS4lXBbuFyjsfacsZIG99brYC2kEKKyt0i76zXkO+2XVtmDmDJbcj3I
NWszhe1DG3PhN4iQcnFBUTQV8Y22pgrbb3pBYeCTl5pWuLddEex0TIv6yF7Zgb1LurfOa9YlPtER
uUsdDiv0am6NpXf2142CgxFvFNYWdMiXL5eG2QCXMHdujcq/8bMcqorL3eiseBmNsJzcMfu2MOcv
5TeELBzsPEQZDk8Ya3I0XD3LzD7GEUbn8DVosEndLwedNrOW1yB2V8b4HCTO0awAZCwMLT7p5XKT
hVBLoPj2seqTT263UZ6WWhWdkNHaICeECu1bqBVPdfeKduq6D9qjwhWtFD2luKWP/XWpxeC0oMnv
NYUG6eV+C50krENQXqceRIkWWz+lUkVFVF0JXyjhUJ9Adr0+4S9gKl5FZNuAEWnHYkUxlfGsUw9K
ZV+H9whJHG1VugsQd4CjvgUVchsiqlAHxkbv5Bs5TfcBUJBMheNSJhud3xnULvDDEKjP2QvUW3Ko
BuqgvyiP+DUr5VfS5aE3zhmw6BheroxXJUPVjjgiISrjiSYKktrJE3nTmN+ZP9PnVF2wCvp6DWGx
YtoOK6IDCpi27AzfzFvNhU/ux1zrIL4DLT40wV0e5wdLb35e/wpfH1vM7/NwItX5lFjkWgfJO+hi
hIgp7XhvPCmZoqbtrfGcF/kZKQV6We2o7q4PLE7SdLt/GndqIioj0e8FOrIxJGxxtUejVa4eF4Xf
56dnA2ygooQ9z7S7qI1tFPdqHZ9q9Dd0f61Wf/CQsQOqgq/qCPq2XIP6WbjhPvKSL5OzKfXCAhBS
tZMwMgLOVhohE1bm7rrN23UrgXQNyk2VRLtUSX/6lXuoy2hfSfFKKp99d2xWSdJh4dO8BoOB/GZ8
uL7eX9T5xHGDG/73b5occS3De450KjspjUSLNeiPCKoBXWoyb413y8mkM91F3rrus0Ouq5vQhkqR
S1uN2mYdZnsvlxG1Nu9LyirXf9pc8Pn8y8Tff9qCUYd8jNWjEMEjAduWWnsmkUbL9v/FQvhjX137
NJP9HsopEqT1GN9Hg9mslSo99H0MCfOPvNM2AdBnuiI7swDABAavgjGsUeCoXEVdNYPz5MYmhMMO
mXB/p8XxuPKkZO1CeA+xZAM0eKO64sLWsps0srBXCf8g5cxXceKD/ThbLbjoVN80I4Aez3mU+7us
ReEZ28RVU4EdVnI62r17n6r9zfU1nt2SIpf+wBghDjNZZNDJOlIJZXyKPSBZ9IlFyxgZpFXS6qgt
4kQZnSTT2+LJsA57d5eDx0hxPNLbXaFl4LdbfeGB8QX2KXakiWUqmpTIgpIiTL57mDZFZIwYJbjK
yUI4FX6D6ecbJ0uP9ohvi+lvPT2/6dJyFzfmygqgZGcxQJbWCFYIerhIxUvJsJKN4VDguxEU0UEW
8jM9Jqex6d8arnWLvudm8LVdESUPTvfs5cVKHPzAgfAFxBsj3DvcwLcKmvJOrN5YVnpnqO9SYOGo
/tqF/S1iIkepBd0eKMdR8xZWYfaC+bwKk3NZuXI95i14gth7CsFKu5n8zfTbY6alBxvJ+hhwX4NS
bkbf8fqemDt3n0eebAnD8Q039oiNmJeACwrJMuj1JZLIxVtoAtdHm58ozx0KHlSfeftcfm6yZzOo
MuhLdfRqq3sju7Fgfg/yztW39XAeqm9h8LIw5lxSZf4z5tR8FVBkPTpSRfg3kQofB7T2UbrVnlXD
35a+6aywRNdotAoVHystF67y2QWGfsnDHVtb2lGXMzaDDjhUBQCpRao/dfem8UNWfljDFl2YQloY
bP6Ea+hDwmThrfPx7PsURlW7NCLd9fITmNVTLyW3me0kK6UGEguDqZDrt4aDVDgRKhzxLvOCXdpm
z5ENXKSOeG/6gm+uqwuNVvFVp/EWoNXfv2pyyI2iLBRlhE1G/uQ0exA+bpwcgWOwyWKFzisS9tc/
+lwCZXJj0WuluWt8pASf1mHwanIBDZYNb2vBJAP9Qj0eC9AA947rQ8284wlhqI7AXmPVofRcfmE5
CzrPkMpIeNGK8yMhTUOFGV5aZa8Eys61CSfUL93wXk2sJ7NVFxTkvrYFiKJCkJSpIjqP4uPlT3Ds
ppXq3I/omp8lDdC+Wt812lnibNlYTjjUioxkRBDR37vSs9M9ekHw/foyaDPPJmGrQ3oseGqc7cvf
4GZJbKCbx28w2UdduC5ykH74FpQ6WZdzm2r5FnnclxG5xDzD/EzEZyJ6IMSz8Coowj96kv3CC/ck
1z5vrzI4VrZ+IwfYhI3P4eA+FU24qzVMVs2N2qqHHp+B67MQO3G6Uz9PYhIORwPJXDlyuQZZRUk/
Z+W5TLljlmKSeDF8GYcyE3UfweibxqTS9ykKQQE9VfmLpqAMxEUsERDl8KX2uJPbag1UiVRYgu8Y
gBnMcmkdc2Nfn+78xsGmQKb+LLqSk4+m6EHtd/jrwCxUt+gxrEIMrBInuQ9olJk5VAq/xj/TXudR
RrBsdkLLLPffr/+ML6xZkQXYvLFA5CJdh7zf5d4Bahg3Rmzw7kW4uRLyL9W2rn0sknXwJuRDaKuV
j0VkbVgVM3lSO9RLIHRY3p0iv/NciYJhNVTVTe503/gvnSypwhjFPsjRsO7hsSup+j2U0mfHAhoU
R0uQ17kg//n3T0LAoNejXCn8/kx55DepxJnuSD+1qc+LrfjZO/TzYGJvfYptTqUXlerq0WmMMDcs
32OSnSao1JUMgA5xw/3Q9qtxiM7YjCzVCGbqhjQ4KVHoFC9Fp2YSaXToemGvg9QcqnxD5rzOk2zj
kKKIJE2x/XUf699l7EGksD1WfMK4lZGFhI9DMjXi4XN958wtPEIiPJORPwXzMulpVH1gyxLw/FNb
PBrtmm7dUNj0w/ZAuRVv6TN/XBvTY0tVFmCN4BF+qUUbUp6XTs1wPgIuvKU2HwXbqLypelyK/rv8
kUjYFIQ2wmIhWZstl1CYphLBeaEoOAlPNRYw+VAo0clwns1Kfo3j+pag+a3seFpqLx4zbnz5UfZV
1GNeNGRVooPhFa8a7lWakSL6R31Z9ctVyVGixrl3h6pZiilzF4GDACWtEVT3SEMu96daF/YwxBEU
eMAL8T5jA8QKKgjWM6EbAFBsCSWjYmHYLwxyEUOoItH/wVkChuskhshjmJqSuPKjhI5piiduEkJn
c25Nki25PWsan4vrBFPI/WA0PyV5QHLKOpcdiijmKwJbsqMHa3TrXwkcTvWK3asaV1t6vybvEqp+
eo53zPBbR0IwSGCp5OVhxMlzcF0sj8p81UakeIoCKLnCvjUgfCXeq1WGb8aAWoFFtgnVt1XLDfWU
3isRK1UR67uDoYetkLsR5Sxe57vrJ+Rj3l/2LKknfSohkDZNCYMsrsjsCBe1isROHApK5cGr7srB
2RSUHbRxU7gsRQxgIqnPfqC1wi6d7lwq2TdmV64GFd59dcSMdidJz7b0m/vZCfy1gimUN/52Ymc9
mtVNwuMkMdy12cNmUFXMicyFa/Oj7nVtLubl1pJbu8LErIU8XTvrOHMfUt28110MtbRhWxreaVCc
pyaytq1BX6MOyy3oMyNM/+yUP23kvhPktbIQg4DuKC7TSn4xoWP6ifPmYkUfBLTWIQBhynHX8oEb
2XzzEXGPra0d59sqwVIj+o+vPyi2ukLcel0k470+LkWZ2ZgGskymPyOgFpND3vtlFCQ+ReCsfkMz
u/XDnSK/gYGMUI42uJevb5CZ5Jx4hkwmPX6V4u+k5pwO5ZiaIQR4YZgbvvnNY/3Roa2M3176TN3v
+nAzs7sYbnJMXUXylbK2wpNjPhOxqTNKkvLA7S6E+xH3W9r+4uqdbBmwKiIgoGZBu3ZyNWedk3ky
IPBTqD+pETxv71su6WtTyVd+XD23iKl5NL9ax/jPiGhwr6u3idPvXAeZoQT1YkP5jkkW2mhAMex2
Kyh6YRMdNCd/0VF7yMYfpuRtxxyzPCW/NW0tXSlpt+2j5iDpIKq8dtiDQby+iHPfDMkXivSAZAx9
agNgUA3pU/TwThRr0ZNDroIQkliwsrNwRLjiXMtluFE6KorXB/4izkKUFTaBf488uXCtPHfaTrZZ
TkPdhwnQxlEycEODr2ubv1xlV9nlUxRWxzI2KC3hgqByEJN2W/joK7k1+YK1M8EYaDKsiCFeS5Kx
U1qEOzhHqofpHiUbP0PCiqw4pdytFv19BzLXtKOVgsdj4XePVUz0raVjmpMt+j94DK8a7THqn0pL
v1d52gz2gCGDsYs1nh6mslWiZAsN8SXDG49u86bO6/uPukpS/Xl9geZSBOQqgC1amgFe3NAvQ1Sv
SXLStUl0cp0H5F7Kbt83d25oYeW2pmcHsg8XR4/JXx9XRL7pNqekAnQG8UbcbSbb3DcCSWocMhMq
SBC7k35f47BSLSndLg0zmR3qiVgEob16AuHL5cGcymE5RswuoqAt4O1GzxHQyuUi2kWiJkZMCQPa
nGi4gAQCGxnyEqAJUhi/IctRrgthuF5fxblz9XncSXCCvhO6XKXcldK51ct9V2+0pw+g00531XW8
hOebKVPASvtnnpOvlhe6ixwmy4n4SKU9ArRHNDgwfMiQC5DapZEmH25ATZJmBDOLlCOrCVRwaEDU
nuVFCJf4L33ZiRRyESGHzUrb9vLb6VWIAmEmhafCVXedBHqVrAq8GPRRdLmRbzuCJXPadZ+9KcGf
TYkaXbVQBpv9jOjUCMkcKm9Tw/Exsm3dhIB88uAKd+mTKMJoGowU/86QHlrJ2SiWu7++deb3rCXw
DKKDKn9IcHx6lnmuHbrhmEVCA7rApMbJD56L77u253Lje4oXPLKyxIElxsbst/008mTXOlGUBD6v
2hNbSK1f9e5IAlvaD3369v85x8l+5TIdEilOKY84AjfM5W1L+JxZOeooW4DZEfWc1PCAiD8tjDzz
qFDhFf29upNdZQ9hDfea1eVkGg5Sc/JbY+Q3o2z+bJViG1vdU5F1/kpbfPTNhjyKI5Ys+KOgfC/3
c1x0Wo3QUXhvFAe4u2N/UsxbNVwgM81+Q1717BvCATqll6MYcVUNRuEAOpD3hAFXl7fgq+B9m4O+
sFPnMjCucWhxNFz4M1nKzjcNt9coFlI6gTcAzMDlRSYoPXjK/ptKF4A8hIYgQmsYkE1Gs11tbEYH
/l8IrzT2lFM0OOiUp/I7j1aUaodf7jgercDdDa7yOPS/BuNoG1Wyz3zz8V9sIq5mSgXIa+AcMMms
pTzL2gw7VdwyHgu/3ySDjhDuHueSTdm8VoCv+oHVX18fdi4afR5V/P2nwMDnpqEl2WS8HjoUL0Ut
fyQ63GSjh70g+VGGkvn1Mee20z9jknBPxqwTtwp6/HdKrH+NRwuX33RLOt8sbabZyYEPpnQoMOHq
JB+MpMxP0wIrlkqX9jEwWa/oVml51ga8wTO0M3g5N0s+53Mld5V+wt+jijP7aUmFToyXQIE7OZ2z
8RT/u5aX2apQnWKdyd0vEe8zP7rprMBYhRAPK0WLyVSqzfVVnp+8TUVGIIa+ED/9Tu9yZJ2iD6QQ
PtBwgNeZNfI4QL23eYT7ulLLfAF3OtfjEQB8k6oX1RVoZZeTD/JIH3qjxe2nfmtDYUsc3Cg4xABV
EkU4KzX3aeAj/4gMSaqs4Sm6OKPwe1we6EWwtAjzH+PT75kkazW2fpVRIA9nhG99W95ZtNeyDKVY
2VzFPFnV0Npy7YomTxpyP1TJ7vpnsGZ3+6dfMAnRo6h9hHUW0FCvd55VnxB+32ehvEmsjDXIMQXe
2DzwPfk1CQq0umWkyZBPdLaUKAR5QrhJVzTFTMSDjLhbOYWKzrW/88xqYyvQuDy0qSoeIUgGRBjx
pIhx9+hkld5LrUg7yfO+x3bGgwuxykHGf05ehdjxKpW9j5DSGtvhpwpCzvf0Lak7Oibv9AUfMue3
QRlldDrsxZ1bze03rZ2sZMvfmMTIhDoizWrXsB4G+VtlyXcU3iOnODSGQmmJuoyW75u4/i3+z7lP
IaZ08P8DF0bM3RYmKuzwAepCvzUL+YeoU7AHhPrz9dWfq0ezH+FRCk01C/rU5X4sxL/0qyA+pTZC
5ir5R/Ktjx9hFNE9gVEEO33j+8bChfkRWaZ5JhcKFUZB2KImezlsLo1o3npxeKKptC9roCJJvqnl
4Ewxr6wfbT2+95z+1gBJ09Q4fjtx+2RZ+brq9RfHOw8ud54fULv2UJSPt53128aQRZejYza49wXP
V60aFnbq3NULvgZVfzQuNYwaLn+zmSgxD3TUOJzB2ldttIG103bu1hN8IYG9yeKFEWfTUmQjcSfR
deTTp8pvRq+1Rldy/zp2vULJ80j5ZdPLZygG3PeK9WJgENm+iFj1b/bFp5EnN7+upYg0NBEAUeVI
vVrGABc8iUjciseaWMUDf7maNRsKxAVvIK3GpTS54n3Ak24B/1VkqORR6JwkDdT64yKqbPZTfhpo
cqv7dd6rlYU6pUTMoKNdxM1BPG/QdGlATYflsHDZfFFzE6UXzRHUK04bVZ/JeppFZXLBhCIFjqlq
oJ9fm/uwwjQ40sO9WnL5dZR5vVy/TZN3sZm1GIcGAkXl4C1K0myG/g+FYpZdBbeJbtFCQ+mMKwJA
xs31jz+3OhT/wZaDJAVIP1mdMPMDPZCp8nVHWd7DU0DCKsKaxN8ub7S5T04qi8gBfWcbYsTloZKj
ylESDdOjDs6xWJeItR9AbLU5ShjpEtlvNt6Bx6bTDWcHaMF0bl2e5y2U41OQOWtPPZNBVrZGLf2M
g6qtH8Hytf3C8312Pf8Zcxrsqjp2mgB6y0nS32XMrgpTHoloR1E0jZrshtTsz+tfcHZVgX3S6xNw
walQqB47NYbvdIZdt3rU9HIVeeFD1qgHFFi9egkHNhumeLHTEidQAZecRHNJsiqPWEElhPZvXaIh
SaYwbqKScirMRildW+Et99eiCMBcC5xKAY8hJB35oNMA6ZSJbmR9E4qXZWbZa9E+MoPxDsrWwUQ5
zJQOoultWv2mL9SWoqZ0TtDxuL7cc6nk518x2cRS3MghSt7RqbSfk45r2zzXnFrmXmnPZnqOF6l9
80v+aeKT1F3JWvp0Lbgo3ghAD1rwZUOHRDYBIULIlcY1XaICE71F8vzSZCfXYOelMnKeTFaU2UZD
TJZswZXRZKcwCuSTYvv15Z0/tHxjQWKiIDQFXPSl3KIxp/EMrY8p4m81uvA11a9zmL+rVrIBE4O1
1MJHnT1DsCYdUiP4sqr4+0/PFBeorD5IlMK4jAApmHGxNf2QBK9eIRezuT7F2cGodyHZTfWZaHg5
WGMWhTo6PDOBIeXFsYqKLbRnvfbRGFuqOM3m/OB8/h5skvP1TVUlEjT2+8Z9iJLN0CVbaiOh8ar1
r0oEetT9hoJgFn1vzQUI4ew0oUoiZYV5CJYgl9MMUVakMlt8ZBV+sAVqoRlnitDZEhd4fst8GmkS
54PeisuoBbVWNmvytLGqdmZ3pIZP6qQFv4cKi9el7thHtJlmtQRbYP+i2IXYwuX0stpphrEc+Ip0
UocoP+Q2ioRcaByVJrT2fFycfB9yrVwJAEDTYj1kpBuxn9UYrnuhYOgCIpazJJKrnCZv6TuroD/n
PMfp78mdfxM32XYY1IMhh3/EUvir9/NyZbXZAaLUIY9erm/M2bvr05QmX8zTRjcyqjo/YTagueqq
x269Waclrgv5AWvW66N9tEe/riDPEMpoSHNMN0jduJlWyHkI7r4gDTvIaEmCpK+UX6WJpUMRoj8d
B1uzU9/VIMLqJznEEiuYaIdw9PeVn98k9Ia9htpthTE0wCcMt7e2DwhqfG1psgmwh8heUxtBA81a
V611UOufvjM8ZeGwjxQVf4zmNqXTr4CwVOP3Eef6At2csdRXTe9uHOs+MZ6Vutioo3Vw2h+lW21G
98+iuLVb7jkcVjMFiR2cV7IXldio0gET8SmM/bVoA/tJu0FaEKiWvK6yfBdE/a6tnuTxB89FdK2f
ri/q/FlA58UwYaVAGpwEFxmqlTLqwLQTdU9PGqpix4PhL5jwX9n1cio/hzUS8h9/DzoJMtGYBXmC
/RSosGe92Pn9Pu7W2Xt4D0TQkX4W0p9WulGI3UJGcWc7Cztpdt+SEDgfz0vEJC6Poo8oLb3jMjzZ
6YuqPtKsNqxH3f/oP3ULpcnZqAbfh74JtSR8kS7Hypsy9ny7wcRD3lOlIH5THnQBki7Dx0Qm8eV8
YOwAzk4kd84k0yipjfJCqj9uwr9q+JZxVNN1qYmuoVOPKHULARktS6G8/UnwWNhL4rNNfwC3MK8Y
2FTcjZNUTw10L0t8IjhoYDV9T9sjMH5eLMlebbeQqgivCrckhMPrA89lHZ/HnexhRUZNmgQuvE/z
c1t8l0HuRLeB89QjNdABPF9Sn1sab7J929B0PEkGWo8qCJejkGEajeNQnJG9BPaziI6Z268Qigl5
UJepLkw+bOS5eBNKZOy+82x/YKAwrKYaJCQ23RxsTvT9+oLODkhewx/SDfwELjdtZ0dqqzV6JhJI
3tp9bO0JVYbxqweOoJNGXh9OFWnhl43zz3jTjYNQvd4MrYF3k8eDvqW4WiB/rft0ERw9XGUtepqm
Fr50rYyVl25hrqIgJF7qaL6UzXc7tDxkAPKTl7nfAt1CsV4KwBCPZ98LMP2D9xQPCCEo7u/ATW7H
wDzYkGGuT2I2cxLJ4H8Xbdom7A2zBULYEtSqY26AyNK0b+RSt2NPOA9rF7pJpKzswd6aqEbXrfyw
eCHPRnNwebCvyUn5M8m/M1dSsrFL0WQcn2E9r5o4Vld1oqzH/lmg2vQ83gjFSnd5+rN7hqsZJA6A
TeDyl3vGrNGV1yNuZ8Wv/pAVCYsF2qVd9tvs+wEmZ3bTpscgB78hop+XP8Zdfi+enX5of6t1fSu8
nLM4zpEBWUrXZy8ckTf898dNNxil2czVDE6Q0LaRjXUf5ivbfSnv3B+KuY7qdbt3MxRY1gW87/Yj
B7i+O2ZXB0kxXtx4+3KOL1fHzXHPqAo41di4KO4ZOCsYdInKNZCewBqXIrGItF8OFH4YsJxh5MBR
vBxubKum1jsiMbJXaKcF1bOifmA6cqCkz6J6vPzcXhpzsvfayHNsaIihMPEljWgCIKvAftL2xUr3
6CtuYYXCd9pfX9jZ4hlUUxu1P4EylydThWQaViTF4anK3qlRV232MPbOxtQTMI00CRxcTbpoV3fv
VUHr1YKPQKdEG7Be5EubpbxFs2uTyvrZHn4LoLwTlqs0e1v4mXN5AAGcJ5yw+eEFcPlFXAV0QKmy
ASpDRjb0V8EPsDVMx8zXvJZWrZ7tXBtfvr5TUetvN4LJZvTZ1mnQXpdfXf0H1hQrpX3yA3PjSupN
GhJiavPGCWguhL9TSbqNAL3KVrvw02fkCrh4/vnp0xd2VmSaXGAlBxRbpefYbOq0bjdJPH4Lc1ok
tDgl0f3hWKVmdIeWPQsPPs1x/G81eOXrCzm/jqwgVWAso6f9T4+6ZOLnonql5G8u9qQ4xa7qCoXx
IX6Ko9/XR5u9mATsA6FvuIxTBlCsKrWvy/QBxzHfpiV20XhwZvSgpHJJoOQjE/xyZoUiClLSQld3
cn54+MnNwG4+RaGPMh7AtqJ+bxS4NFV329pPKXBrepJ4CwxrVWV3jD8KyBGVCWNCk+8UIEbma+9r
e9309zJvEa/QNlKL60evAV7OUfRqTngD3PX1gNZS2QEYpy/ejL9Se3gasz8teTziI7pK0j8K+lwO
8vRd60NXSQ+ln+/kMrkp8VRoHG+dZ9HGUi2K75QH8Nspe/Uons3XV/9DXu3akojN8KnMojYKYNyB
Q9PIRyRa0X7NNp17l0hQeEyQit2PcRjOfqzdoHGBJwIKKxpuVaXlwIjStmjc3ETluG6wqPV6vCQH
aQMwfK26Jg7S3hohwns5pAGIvCwVyCHPjvA6Clx8qnjcN1K8QZ9PELfrrr25PrXZFBKogmyBZIJ3
MUkhE6szrF5sY2YGlF5B7BXLqFsuBcA2dYkXKNTc60POJyifxpzcQX465KVsAj/mqQc2RKJpPPjF
qyjQsSFg0blc0p3GKzM3b2yYZdfHX5ryJIvVmhZrjAggDKbBMlB6090U9jPDwhwIWw3BhwWw2Gyo
QNIStJhqAmCY3AypkWQNfi4f7yFECAqjEGl63D2HlOuuz+3jmfxlp34aa3J4ba/tSgjWNOOAT4IJ
Tc6ERfoHjn4UKEOksRGvWKYoqh/X23RgIVVONAQhirDJ5RGxh1zyhbzHCR0LgsbwzS7GrV4M+wHw
VE6Uoq8g2IFVMa4pNW8F7RpCHwmY/UG7TrzqIEhXQo49sox90Mg3pDD5qoL3XiDO6Q1CBd2GRgok
OMoB+QW1thokQ0LTWj0IIrZV+/9pY+VWtXD/cvQb17YP+MjvdAUNDwuYk+vgqRvID3KXfYeA9C2T
xrWZyNsq/KPJtT9xdVhnbEEPt58ARoWawggDnZ9Bs8KsdtBuUPfZYHe9xuHILHajH651wKPs5jef
qCPQxwKA4JBbWy2lWObhh7SK5HOTSTvLrs9W2W3V+gFouqcftcHd4hy8csbid9HTLm1fBLBEbuud
j95rnY8byW3PaScdxrxYS94bYMrGjs9DVq0801gJmxCU5ZDuo0iHm3LlI5dqqx/3IHeQZwXrqHx0
S5mSGML13q4pqgcDdo5Bzy6UHgZviOBlHNm4/CoJY1bKgI3xDReklUjOBAcDMLGQZRFog7GAAyeA
4NKrGWToQG7L7F0QSqiOCs6KOMliAnp1NiP1xlfP9I231L9jPgR9eoHXMWv/Xgzna/aT6A3TTdPj
fE2ds1SwueJtAAHGhiqCTjbSAMoqpWMCjizQyn05KmsFK0oUq89iQVhXPyDN8u0NCulrKQcBYZZg
L6XuVAKCok9WUJ7MEUl3o/gQse2CKEVADK+IYK0b0psGfrKqU+ou1m2Y1ffs4U2HJWlsVVsEHD5m
Q19zVWfvbpA85njZGly+uGoK4PdQDtvMV/eC7p1wrgS7f/SRlcjjdscDHOgO0XShUTf7tvp80iZV
Bjfp2ecl4TPl/QLjnKIiRWPMPWMORWrIa6isLsV/YJRLBavZ8ALTXWXnQs8DF3F5yuEIW0GdgPoK
0fKoDTQQYuS1NJF1dVuhe0CxvHlDBXe5cD33cgF2bpGXmDpd6kkURR7IV60BQmunCPxilr0BLqaS
A4+qbxbC6NwV8XmsSRT1QfL/H2nntRw5kqXpJ4IZtLhF6KBIMrPIzOINjFmVhNYaT7+fR89OBZHY
wEytdbfNmFUZPQC4OP6fXzSjildIN01bqHzkWVw8V41zExYnMcWh297eucWf/G3/pDHJBsr0Zwf9
/GYNdQzkPtTCex9zMFy5mGDmvcZmJqlrnkjLbxInWS5mME5/AwikuuD+ooQCHvvPvYyuA5Bc3p39
tQNp8U3SO8cFDiROvuhyryonJYGmkAwQp2AOZ/Yv26kEpstyEhpG6sRVH/QlBaNgXiLS00yw5LlK
rxjNLg8nqNkeO7FAtOlrqCU51En6ZEBRGvBtNCVnE9AIHPn/AzaWrmtfAkVz2c7yzjtWtf7cOATZ
19Fdhm1FMAYrZdfSJ4BogYmwiogD67PPX5vdSk5NEw2HXSVuX/V7Q7K3nX4QSj07Tba0wG9Pr8UB
4ebgHoxRxG+O7S1vgMKAGR2pH3wKqTvHkaCq1xbbNR2826MtVTyw85GY4XWK4/VsrTayVfIU2J02
5rBtgc+kJr27WIzQRRLhKf9iONPSKWPpvWJS8PltWtIwRGMNPxAQHf4rYG8OJUd5W4W2F94iEA0u
EzR56YLas61XzSXfLvsJYoZ8kFss9gP1CNdImBf5W7X6dvuxFtaOBj+CM5JwE5wfZpMkCdAeW2KS
0JLL/LeK+wAuEwA1KBwKxE5auorXiAeY7UIMyUUTYaCwX55VcWPm23okSAKmckavGnPoa1Pk/oGf
KpOFuDk3C//O+pXVsDBdKOUIhOBgwAZ4TlqTar3x1ZJRnSjZde1T530DQcg7If6M3dsvdWksgb4Z
Jj4WFMqzJ8x6pVe0KoZLOhGxVoFxBC4ecTtea40p0e3Blr7g9WCz+WL3tR6aRFneqwhZw3c7+p52
f9J2RSYSNcL86X9/iAgF4n8/3GzGSOEgscogxGWBfaLtoSXeFzKgyE4sV5rkS1UIMBfyUfHVkD7O
Hq3yOjqKmhTd5/ZIhUXbkQvy0VSyHflxZCW9F8SWhPrLulBjaY5ejzx7yKGIPaeiqXyfdu0vNnfh
6VTLxY+oA8matE0TPAgvCepfraxOtz+oLv74fIGQUqDR27LhLM1bIJEROdVk8EUd+z2DvwslWle7
vZZ2eynQNhVOImoHR70lCNOo9pCOXC39wX8bQsDG7L2MI/xsaRA70nbEXMSBWj0oGVG9IBooedp0
fPRj7U4HEhFXI0JK/Ljci2K89RW3UX8YKcc0ulCt+AVxJyuGvW/UJ5+cW8xbLq3b24+8OIcxcJVl
AqyFzuLz5uqUSWcQMx/dDzJs62yzt70PD84bC8Y6Td7H7dGW55Xw4YRxS9EwrzADbywLXwa9reLi
mOffyStyhUEHUSZ1Iu8C7gsZwKhFIbEy8uKnJQ1c1wXf9zf2oxFTg1lNHwg2KaoVSlnfx1Ap+LMM
VBGhB5m1V19UdPT/SvakoeR00HPSNoWG+fkl11ELljnRLylrb1vBiCI4UNymSF130o9Crs+4udwL
/yihCl97cG1pUl+NLv75VZEm4UgTWh2id2GvkQXOliMQRrtxBB8W7htYFW+1GtOYKbxcSptI+5HG
v4SAVsjk69Deqlm1EbY83KzvhlE/+WAOwhxIKfy7Pk7Rqxm7dCTppzTvTGgj4hnBDAS7hnIkxMxH
XOgc6QXIdtPaT7Wi3gumpfgnNrdcf8DwQ+kPoqhLfW8rnFMjvlI95XsLexKROqdp3m6y+r2wZTCx
tsS5RGVZiGtS1/fvXW0cIutZVO9m6ezFXxR/vUlSzACtTec1+5x2Gedcpbx3PnasYXhIeRtelV1u
ojU7OJS9ADpSz7XHQ3+nw98Qvch20F/NUtpZufOgSuW91XnIAoH5IRm2tUVqmr1Ns7dMG7exUrme
IB7WB5k4a6slwQvzPpkTgr3FRTvliquvYM0KJFPsalSDvRQ8tb52bprkqIEN0BjQhnxbF8XBTBqE
qtKrqB3rsH8XfFwCYTfphD8TqMJ6W2epDLqerTMELdJrHAQU/GsxgwI0xFJI+D8hCcylbR4rK0j7
El74aXHMqsmRyKPAQX9xD8NNByKCJEEdJOp3PieMGW6AAtFywKVlY60kWnvWWW2pTF6LvWYbiNoS
3r8DRM3OJ3IkhQNVAy339mpcrE9QwIO/A6URFvN5LcZAOUUZQUmB0I60Ox/PXJagZ3bRyh134cJJ
J9+AHiGkFVTqnwfKSWuXnYSBSETMvexIc/8OwGsVr1iSUdBKoA1sUuORvjibLXaIc1jgoIkzKA7i
rD01MMrbFnfQCh9Qz9mMXXn0w4+uLh7asTrmBAXU6rhLccrr6pBew4uSN49iRUYAwmScb8Tun0It
Gcxgy9FUbxtnWDsOFsuMq589m3VkE0ddKVi7ef7IxBvzzX9gVMFdwaOZA0FWQb3WeMqL3/9q2Nl8
C4YCBUfBsHAsLOtZeFDB+wYeg1Gz8oiLU9uB7Y/bgrgtzz5M2qsDqlc6ljSji+6ccCNnREarQ39D
bXF7Yi/WEVejzd4nRqiFHWT05YsARVll79W22MrDS1EnX1NEdrX9t5F+vT3mEvWauffPI87eZhem
chornKvYfuXKQ9Dc+W8oNnz5zhDa9M7cyN97ZVeXa9Pnsk7nhSL5LnC7hIYQWvDn5eX13Pw1HxaG
pbUH25keW7m+A7Ck9bodhnOCpXlEz7evG9fW1X0RaD9aRTl5SX9uhl9N3exy3J3YdIS+AJ7exrL7
fcM2S1A8vjPehsyUXeOn+y52IDTrm95UIegVh6hN3Rw/HZjHItYmspIjXR0AUPuk0OClxqxTjAr7
X16GRN5KD3ZpuNNk0F9LCTdTd071CxDl1I39lijroyNA+uzFJPLQL4WDzzkKTDfGGUGzivNADSt0
RbF1HvqEdmTyY9DMB2EFpQwvVUCUVuOvzNulJXL9amflSpuFSRF6zCTCVFglUNloHTlNuFkldS+t
EKBWSjKQKw0Dxs8f0U+6QNMG60KlodjgoDPTd+Q+EGa87nVlrooZ8duMgVkNYc4innved8VECLqn
F11Ya74whq+oep6hLwqf7K57wUQaeK5vXyvqrdtjL77Rq6HFP78qAMsREWitcG8kxpQbDX0IzjjQ
k1V0bumFcl+kjy08q6Egfx7Icgr6PBNpH+yoaPuV9CILB0x1wtdVSsbaYOKfXz0VDfpQ+EQgUe5Q
7XbFthzB65W7tkwJjQb9s9e8gJbsrzV0dyKFGSE/bmGfh+yJqB/zUdTxxSsdOCORWZeurB60rVPT
CHfDFy2FBnNKHps6v6ycGvhxtUewVNFf/47Zo1cZO1rd5NG9Xwr8k6mE4oV62Kvf8FHAK6PusQN5
8emLrTLMF1/71TuYVTBK26h6oTA2QggTt1c2oil1eA9vor5d1Ycv0UKu3vlvSvTST8IkHRiv5ROj
k2tbDzIGjiDIgeFvnFB7WEV5FHU/FH5Jj3Y+Rm2CxXB7ES01R/ghWA+TZoHT5LwF2ln2aCUGCiMR
GU3bFacMnI4rzu3cgR9RHSIP7PWlsf/NziGC4dikBL/3N7+FrPFwCccIHsaTkMeGv5zYOig5wWIP
ZQ5Dgz6zWj/wC/7dGjMFSEm1amK6/HnCm23p04xiaKEX8MnjHaVgX3jGne2/0YY7edinrbzmBX4X
kLJuWGj/COGbY5SZ0XotarXwXm0nZlW6CUKAJ7DQVP0w02CfDeZXcf8JObxuD33p1M+3aNx5kOUB
kfK/Wc3celIx1A6d/FKlCS18tIdKvzehdnie/QUMWjg9YweDTl0Y+xlckEXrSOsLNBNoj3g/oifd
0jfOQ3Vb0DvUURBLfv0jqX41eN5nHNFZDA8M2gUXKrjN30iJjIWuh3tjqGQHeeKvWmq/jXrlXI/N
Lu3NZ/7ivp7KnW/nD6NdnYQIm7pZ7T5S3Mvtmi5vnp/EqvAry5VqcwOmXELMlKX+mxytEWmXzhMb
8iX4DUa9TI3Ps6KYklqwiPhECcQx0a6jdhaI56pd1NpIswKvn4KhsytGCqLMHdRyr7TZfhjfjCzd
DcSp3J4ASzWsbeA8DKuVGTh/LttqdVvqiYJla5OkL5ldbQ09d4P8EUmsJf0Cr7o9oPj58wl3PeDs
8bDflssRK+V735HdVvE39IiEx6NByPntkRZf5NWjiX9+dVjaEvcOS2TsyjXu8F66ScsfJra8dfqQ
ro21xLPGOQkjZ4x4aXledtKrweKo9P0yw9MD82xh4GBavTtA+JGxb7UgJfdDuEmjfGMoxQ5MyB/9
H9xMsjHedxk9S18/EF628VP/G+5eezMst7qB2Gc0SJDBJtWgtkZL2mrNygaweJ/AcIoWCTU9viqz
t1RDltJqB2cMU4VvT8tfuBqLPrgQqxCq4pZqTkIui48azcDhsYHBIvzhbn+sxTrj+nfMzvc4o5Ps
qyOJyLBsii7aCNioU4tdqWNCScyJFrHtOM392JpkrmIZ3mEZnk9b4bQcUFIK7nPV2Ifbv2txul69
ntnR7wR+10YOcStBMj7GBsnEiboTlrBDLp9uD7UIFF+9gjkb1ERnobU5Ywl8T2Xi0KNC+uBbr0r2
UVQvXPw2U/jz9qiLGwA2LPC4hPB87vvl5UoFN7Knfq12gvXhe/el1MB/PefCeSAVIPHtEZeqKczE
aDbI1Mu/kceCLlB7zalYKo7OPQyL42x6yZ3sEfxoE+kGUdCZt+Kmv4i4XQ8623YaOmS5bvOY1I5w
ufiMI5475vRH0/RHCw9zN3Z+hoOmun1nvQUTFAWhJbj95Es7Esoo0XbADdmcdwUjdhCjG+zgPne+
NdBHCVSotW+GdraLYuUlL3xWbniMg/QMpvpc0YeOzxoGi/0I6J+bCbUb5TKFMowWXADX23QL2JK4
USo6lyDgCXt2PkbNUPcOSSn3Fjf0jEqgK6tzxA0dhfJ7JqO+w7NJzC/Ziz8EFxwwUFhU2ui2QQTT
1jiKKF4kOA1QjeAEC1Jchj14nZM+lKXb1PM2iVUdmh4HYJMbvBHtCIwRxXgD/TzstHvTKnep/6DR
p6ucY9FVX7LRdGunbuGV/Q1T4xwGk6sX6QPnKaBJjJlWP40b+Fkd5Aj8vbaqlX0NclhAQ/U2lNGX
tIhCV87HRxXv/MiDEIyYMVhvUwtkanYs6jTgsb+0kbTJc5C0xWw2CWS24WmwH1AUhFh3qlP2oGfj
fZyMD5OBE6D/XkOgM9XoW+bJJNfykxGc/a/nqOi2Yg5jQaQx513QNhtqafAKUX58Fdw6n8Q6mNqH
sEc5CSn99mjkhS89OHb+IoGabMc5XTfyW70ZMzY9SUkjzIYVF4RIydtvstzd0ROInPwwVMMJ0zPc
GN0GDCdp+Wz2c8LzA1ia8MZbIhMkKTj41M9eEp3D1kYgY+36zHsQ8vgmDbeqTt8FkC6nHlWaYWsT
IS4KyyQsjiJIJ6zGO0WisZJomivc2QtJfmKFshFvMfhNAPQkdMVhHTxl2JdY9CgSxTqOGbdhJTml
/vuYRjucvc7C8z/B4FnqXg35b3FglPH0lGvOi065bHYp+tryDBKS+sZ9pxrnADvautX49r+mQjXc
EZN6jaOtxG0JU8+DxSMKiQWcYgBN4dShDu5IsF1NOssosYtQ94758Bg3aG3szngZ6rjYioKcUnuc
pOfEJIgqN3CYx2pFB2rD5gPa9zbQnK+h/xKYwSOJgStn55Iwm+htmbsNJGHUbrPLRdxEieEbUKWG
wvxm5/HZQj8cnMX5Il6l6HyJFjDemjqtqzSJjx5dpSL/nnuRK3iUUqiTYoS6siGoqFf+dKischTE
hR3Lbkg+WDI+W2l1dvxzyW1tDJPHGk4JyW/PURY9+pG0QhJYOLt0eCTcCumpsl5nXAs/VmrScEQn
TnkY4nf2VOxcoYPiHGnmK9SHhdOCsUSII5Ari3H29jzF7uTIqkNBlgng7UY/Uftw413nOi+NRAws
ikS4W0jcZkWONEzSaPV8J73s90Vm7ev+oUXTbRQfFvTg20t+6RVeDTZ/haksqXY/xdw4WHSd9Odg
WxvNanGp/crSeBCah9sDXv7ifG+9HnH2IiXbsOMgGcgGnyC+2sb3aGjdQGpdHF7fiVNSRwUKtHev
qzmV98ugRJu0c/aEDVUStmLeKY6fyV6S/L+iOF9ZI2tvY4Y20BiB4NZ0/LbuxYuPmfFl0B5a64jn
cVK83H4RK59ZFRDb1R3F60bbkSX4pnofbqgIqmI3hKbrGadVxGyploXygHu+CEmh0JvVA5kfq73q
8ZVz5RnLCZBR0ZmGKEmXiQHZ2DFKuf14S1eIT2POarwq7XvHGhOulklNNhyGdZxXAf2sFtWHUPWG
Wrmx+vJQGeOWFyx6bjYgexM++mjCggJ6D45Pt3+VGPS3yQeliKAjlF5Q+T6/9DitA8nE6k1csAv6
gNhKStm0XoFdILFbA80W8VhrA8RyymonD4i9T8j7LF+z6A5AQZj5vgsCj/gGVaI8qVL8tU6dHzbc
Bb2jNUbMQY/VI2jvZujTUylL+0ExCW+vjpVpPqDdsVZ5MUslD4Gx//VmftObVUabjVbHXhpr3ldb
cMgAMZPaOFlDGbtSERytKjz2Q+UK1nkikbCaZNZm8rVXjqx/8ZU0YezK3R0x62yLmCqvsIqCqYOC
BqIKV/NGe1bQWN4eZnG1Xw0zW+0ZCX1KObECgTXFHRsMiYsWvSioE6tE5cvV7bcZAbecNHJcxfjf
56mXWxETvWK0HKuZQiY90xnOaay6U50+daX501ZG7rLSF6jv30UTTq/G45D4tLHP2jBt1MJVI6CL
LgSJCItNarTUXZrbI2uIG+tnCBxdtg4p1OqWY37v59IOuehRJP06bYuRZb0rsaVPdA85G/GDqb9y
lixvMxoHsinje67Pe5JtLHUK/oWkocqjmO+y9CEsXdAGCVME2qPJYSA15PZXXCJk4wTM7oZoiJL9
N+J+6fe6LbwzY9oQgl0UgWRaU7+ReaG5Fn0XsCi+MT4unnku75pI/0Z+SRBmf6m1CMBEKKeqd6pR
nWLoNPhOuBIO0Ld/5eJc0/H7YWXR75vLOeO2rrxS4tXE/TuadRx/0AnhIH6QfDj/K4Mt771Xo80W
UDuyqQ1itF6XXaIKRDCLlQY7fF92xeAdk/Enbfh2IIs+Ki1X1/HeKeo9RfcfMYE8cCrr/uP2C1jq
XvCZ/nkDs9UG3cuvGgE1VoRud240oag9dT8J7eQizK9hcqwefItnrIGgxBA9T/Ton9dclRaKk8UB
E5Ikt5EedMJiEHGhCX2rSalfbz/j4keGVqiTpUeEjzw7XRw/p2QrPGjp4buApS/soeGhL07lGqKw
vNauxpodMAX+8EMz8Wj0/GHbE2VA95gTHXAKOxuxzFabq4tv858hLz/pqmLJ0skvPYshM/0j1p9B
AXXnBQYhU/j/6z3O4dvUyUBHidMVvjWCvMO73iUIGQRXUJ6yQxpGK3XB2qPNJkpW2TpVAY9WhF+p
xWReH0cB9whRldx+uCWMV5gv2g4RJLSq5yV3Mxl2X+Y6uFPlljT9/WfFc7sv6bMZb4OQFONdTYZu
CK/u6+2Rlx4S+3KEE2SAc2OaVZzoGkKowQ0E1HJyu5pLd2K7ga4A+601aJRLq2J+3IGhAFrIJGnZ
86XXpkXLVoK4gFJPdW0n/0M2URhrHLIk3gsFYejWtBAlwSQH5K4t7SR8vzoJsR6REq6NHi6PCCbr
D0J7KVwzmrA9IXsjSIhr9quEolkhijHGJ9fsS9kd/Y/Az7YxEW9uDlLsDlG+I6pBifnT+kcxYY2o
t3cCcBSeuorUvhLIBdHl2Q7gZqIzFMwTY+q2JrJww/ylxMXOSqx91zr7biSIwfE2qBZEHCeETNck
Qk24PEotDk4mKRDc16zYeOwCfgS1kaZ03/nlFQWm8ONKS3nfZvETJGjkiMBoOF5r3LRjM4J0M+xF
thylnca/QxRO9SiNke46dfeHkH1G5rhNAB4iFEYAP43b6OZ9F5ZPWWTzih+F9XsklQeJ+hY3lOqc
TiM6QgvRXnkUDmAW6JolKfjA6UdwEF8fjqUcfY8H9Amxo207v/sSmiHUE4W6WyKsl+zK6tKfIZZG
8MN1Onuj7BxGeKe54ojdmlyIiFTOmCy0YWr3wngxzdNXD0fiVgqfxE6bhf3bUPj7qXnr0+Gt0K1d
JaoDCJW2ApjQp/1+0DDbhphNmeDD3M1OIWiD0eZfGMKCn5roOL6a/HvZJHhjUl6/ZoOyEaawouUY
0IczJh3WOjZiwMQ614cuIIIEOiXkpkZr76qa/JWo+yJc5ThuBSlWNC5Dv3oPfe1LSODX1IJIxVhk
ds+p1OP/8MWKTrmPv0PSHORm2NUJIZa1arncQYWuszXDo0HQczDFf7BtJGl7TKpnNZF+FhTzFtm8
t5fv4gl6vaRm6zexyIYbApYUw8jaQRIdgcjaCnqsfoY8LNC4ls+Qtitn99LGwZYF/gHxxMDO7PMx
2sb1GFo+ivYuNx7V2HR1L7+PVe97jse0YUin2w+6WCpfj2d+Hs905GjMC0ICPd/7MUXRxgHuK9kc
ZAjAdtMdWOYy5qq//DD9PuTlN7Y8LLLpmBPCQE8GiH3qWMmQp6VOr7etFtxNbYPd3V0bv2Zt6OIp
EqnHoqTcA9lriU9QfdY2dVCF62RRZH/KZvl1ktSTlZXfbj/eUvdDOE/q4gTQgXZnsJUVU9kDYmMQ
gG5bZLqcS+HaOhzE+BPtUdM/VP0DMRIiaPD24OLVzbdl7Mw1eucqqRbG7NU29Zh0Qw/9sx/HOxxz
irL+lsfGKUYWf3ukxemKlAUaIgC6Y825SnHGK59UeDN8jkQeaHaQdIDWvbZfKpN2T8IepW20oD/I
aDJWTllR/vz2nIT3iJesychDP08hCntt6oQREhd9ahWgQTh81vCGwTVsME9fcWe9NGZ/Gw98Hq8W
4oNp3n0eT/OTQClbvNxLHGEECt3V2RNJYIeMWEXdCzdFON0X1t9aN2ytZDhJmbWlZj0O0ktgaO7g
31WsoykstlH3PfC3MUT/Ifbv1Dz8pWrD0Zfe9bxBgB/v1RB+KzSzzP4rTxCXIQkK5buIUEBCz+4q
7SyZaKX13jWRw0+a+S550Tez8A++qX+x1RjAJT0Zub/NtQbIFsmdGm4162MY2j0+mqek6jmf2FfG
lJ6cvdfLe9UmettQd75H2yjWXNSktEMDzEZ+ZOFz7oT7XM83Tqz/qOPWdzs7Ch4is32IVfUPET0J
QrxpywRnXp2TMtivzLSlupsuHloxEAxs3GYfe7JDZRhqVOMGVg7Kg3avqU9TkwgGILm73C3k7DnF
ELia3ki1xcKbKTBVOzLFm+GP279laatE8QzZGYDd0ecu0KHm1UFSGhdMgeWF/5UodvqXZtWdfvGh
r0aaPbTVZ7qftTrK55Ql9cRI7CCW9IR401pLoL8IaufTm8RWhMSA0szv2WBNofQl3mX0Diz1m+or
J9kCtJM/NCxX087fRhqbs1rcU4cdrME5ESZ8kuAIdYX3pHiAX7GMkRHBfqoIFpyehF5R0o2tQf3m
ZG+11T40DcER0asfPhMC4UaFfC5xnShrbsn2cwQslqveuaXP3+gDjfh4K7KpWhwbDHFj1d+SyP8o
tZekKR/5P5rW73RckSc+Mn/VyDFOlbjzgbCOTviUgXd2qv+d7fkcD3iVZjCnTPUYcvlvo+xhAmzq
dMlNw/ZgxONftyfJ4tYITVUXTksGnefZgep0QeI3GTBkJb+G6sMYvXomXU66ipX5DKkuotyy249x
VW2ytC2iLnboAjE8C+bzNpWrXR8GvqAzeQ8ikk73NzR6yXk2pud8/LXKLlh+UiEAEZo37h6zARtV
69ug1y5LUwve93ZyVuuXkP9oVG4j++NaFPfSurCEQF8BOrSAoD8/oi9LlifXEj7kxvgcy/ZWOK2k
3kc0ao+kUWVryvfFV3o13mznJ8jaCpI0vazDqD6QG+LFo0vTmH1GRwAAKr9yti128mxdyEMxCKbN
P3upepAWU1NhBY63q2v1wW4kKzbJ40N8pxVck+jVi4MW14VieElrwucB0kn1HjXpoI/mln9b/dbU
FupQtLVa/SgsSjpmhRKyTxY7Q6sOtfKhQhIQVXIDWB/J0kbUluIadHsxLFUkUNAoFExThZY+e5hO
Lusq9jmpAXt5fyDyEAtX23eXy+18BxNSYgxb8fkkp+zztND1Pnf6YCCerG0OxAjubXv4qRYh/eto
OggBxACVKR/q+0grt1nNYacNf4gEIFkuv2Gj8KP2BjIUvyBP/a9AIjU2vlexuXWkZi/+RYHX60O9
FSFKHpRw36wVl6TRTWkhtYz1pnBTRbm43cFTHMbhe237uziOj/lIdSo5wU/RbxNUqszPHzRxCUIL
qA32QTZzXFCfJqyf/f4vH0FEOPwir/TwL77F1UuarZ3SCvyGbIhEAFiFdDGMMH6Z1vPtUZZcKvF3
x73B1gD3iQL5/C1qZ0JdERH+ahYfIlWVjv19z/QrzPYnkRBC3GiW9quQJUKqbkg7FH5CBb+odop/
A1oD14HK0wpgVc2eWQrGjJyCkrDvZHOHPuE/5JxfZfTET2mJFLj98EsFAtY2UHxpWqNwnz17HkV+
mghCqVCWZw9oDZlN/xPsc2kfvKgELmxC3BY+v+Q47nw9axgIKhmgRQZIQSnC1cI0cqIoViDnpVXM
JoidPQ4zFs/3ebTUlys9mbCa7uVnf+Ay7Ltqd+jXOFuL58n1OLOnGp0i6M0BKwe83TJc7siVAIER
il9R2Zv55iMJI0zzXm9/tYssfL59XI87O7EJC8j0SpExLQStUWBTDTHLU23JS2G2CuW4E2hnhDRC
f2VND2BRo5Fi1tjuhboGO3ScYAmkji0CWeFHiok9huU+ml7E+WRo6e6y10C1kqBbqp23N3rnRQTx
kMF1nszvUXmyir+K+knDQy9I+n2uyl/Kpj4S4KLVOE439m6g0s+U56kd3pi8DsVZmbXFJu/NL6WT
noapeLv9XhZn89Vnn81mX5coCAexdLuzuGPpBzp1VNfcXW8PdMkG+u0DwJwTzrLQiOd0zEAblGaU
kuR+SKenQfugZ91273ls7mv6xyU+6qH6LnzFbNTaYaXtOvi+IhHEmYyjNlV3zAkNuYyA9xrFONa4
xrShhGDCRgc9bTrf2cYcl2qh49CX0emkUSA6t8afAuXGVjkb8o03eB8ItnYh4kIB1plQYESzdKp/
Sfm7PVlbr1gLwFp8x5pDrYj6Qih3Py+tJMgNKTFwrs/qnV1Aw/OFlWHsoGJNV66x9lIxI/BhXfiA
avjkfx6r8irdiGuxaWgfwl2OK4zQFqLsIc+YE+o/lkZFMO69EosjcMJJYCdw+HICjSEyhEldIC6A
WThhggtu5404dtBY7adHKcIrrn5TrdfJ6b51MZLu5i0F18fRNhEmG5ZMdk3sCqKVDUIn07ChzYEq
4VfcBntVqvdTl3N5Q+wjW+cizx4EbYsjtW/BoWLQ35eM4DhHFmQte9/a9gF7dtpMGQ0DMqXFVqH2
2cmUCdNG/SjQM5TeU67sYBxu+8beGJn50mXJs2CKq9xv2GlQqwnzuUH3d12eZ24V6M9KIt31TXwg
wO4hgUgeFXqwGfvpVea+MfRktDXPsTK4sdH/CLJm5ZK5/JXwO0YGBr4yB5CcErtWxaI/gtd+54lc
Mop4hJdsgSLKIFk7r5dYgci4LfK7QABxD/s8K2QE+ak+jLSuudFC4FP8V6h4LHZSrIX6KSz+Bz1M
saP+tuCvBp2dKHbGzqU1cIShPjJrSglsrH+VyCC+dGd6LBjwnzkgQSfFPcVvPHQL76sEp+j2zrN8
5Fz9kNmRU8CGDRTByUcOKnw7YMI7SgT28cwyxM2BHHcXVHrdtGPxtWOrSD+d2F6aNp9fe05wbwdJ
83KCEwOZYtQwbdWES2Kxw4GfokHA8ref9tIt/+21Xw0q5t5Vk2/M6cyQqgRxRXoRBpG9+mehvXvV
R9U0+w5bdU1P79AEbyTwetXov2A/tO1jy8017b3yyzvBEKywRRMn3KQ4O9IyT8IiAj+ATZ4ZW8EA
LWk6C0mwgNEF46Vn81WJt1bGaB/QpHDC/tmK2tPtZ1vcSMW9yUBCYKKy+fxoohrVAqEaquyXpt2B
mGTY0PrP9AluD7TYnMWI4L9Hmn25si+NITGZMtSTYDN4CYLQJ1BcORrJospaiIqriUZiHv7+5f4Z
dPblFPbuqg8Z1IJZ8J+8JgAw5qhJ6wcnC8QLXINp2UzSR9++coDefuqV12vMYG3VkgqjEtoF2hNp
oPHhf2KfiD2fcBe+PdT/4wUjlUMEZur0Cj5/Sj/Tk5ijhhtr8E5xi50wanuYJtOuNo6AgGvt9gtu
9/vL/WfA2RflR0wyXCW2QGiyDddlncABLiqcxpjNYOavNAQQVNFWydKH0lZeJMM5hMWbnWIvK2zD
qb1+KjqJHTTzyg7aWfsh4sJEom024M1XmYemnDbcUe4qsjZiW0dij4AY8us3EbVFt/MsVIeFInoW
kKyzblfnGjnbBIAlR7/GHvv2S14s6Qn6/L/veDaf1NIJcuTGOO7SphWVVM/dX1JhhfnFvyDyikzR
/xpqfqBF5ZSToMDKhB1Ht4CVifcrZGm2uNVPufJYc40ldzLZCkuIbtyLilba6mO0ZTddFWEs3r8c
ggmElSkMlNmhSWBUpoEI8PrAZylRgdsEn5oDo1ez3SrVZXk4SjdhX0q80Wz1ARXpIO7AKHjZUrwZ
aEdRN2zhoEhx/4N95/bkWF6BaCO4OmsW1+fZ4+EFGyWdjKSlTQ/dPqDLMYxYJ+XvXpG7YUBy8xP5
nLcHXdxhrsaclQSAvQWiuRxvPdib5RnLLmoAHi1Y9fVYPHqvRpqd+XbsW8SPI7WmncAmqiMxob7C
EcP68L+o7VMTrJmlLL1Qke0DhY04CzTA8yGt1KDM5IaJ5USXli9THbiQ3Vw9oH2GWjdH9BzSPTJj
e3f7tS6sCPA39MaMzQ+YE+gmz6Mh6SAyERlxI+ROro712+pLXfh6n4aZ3WNMNehJozWFrvqdtiev
FYBS3K3+BSLLDZElB3sDfaY5m5r0V6W0VP1LD4bMq0h/sYw3UnuZLAk8jHXG/vK3A2wxZbTbBiX5
5+Oo6DAhin3Br0YuCQ1jg6rWldRhl2o16pUPLTPOpvkLgsLKhW2JTES38Z+RZ7OmDyY7KsE97nMr
/FZ30IdAyoyyOFgRvv+cG51fPgk/oaKqNkkrHXBW/6tT5OPtKSTOgtnxyEGMq7BOqYoP0+ysKErf
o/XDeTwG9cOUeJuyf8hNfMw0jKqHN7WQhUB9ZTtY2PKuB5332rLGwpRVKS+kLS/eScUhHS/+/rQx
VpWZy4OJbj3Fow7B9fMn7pTJLj1TsEynB6C7xsExx3hLSC4ENP8fVJBikv7+Rv8ZT/yeqzo8BLjJ
AxO6sB8OTzE2FyJoDDPGbChPU2/uBbzRmPDwzMcONbOpv2ANEMnti9b8sJXCnSCQy0aPnC/CPpN7
bzVuvP6ZhBx/RNWDUQXRSBl25HV9zvJnrZ4OgLW45OXbssldjb+ZhXs5iQ51EZGmxiW6ql6jLKAK
UfcYGcv5G9JxLsnZxvedPVLEp1ESPJ/yYMLszzEUi/E3lK2X3lRow6OnxoogyKedzKUajuyxbqBb
XKbsu1VUm4ugbMq2nujF6fG2a7VtCqmjlc+C+x1RxZLpI2qgBhv63Mo3KcZ9Ai2PzeKETn8DIATu
pnb6thq7LdllbgrkqTe1K2wP0WttRl1wr15747WAfS2sh7yWS39a7ZvOwXXvWY+RPvlvGbKwMBw3
t1fJ0lXSFKlVDkkr8u860Dh18IrHFOV+LCnLS/BBp9/bwBWGkRE4UncvpDZQaNLf9++sUV1LWL2s
w99mlbDahP2H5ebckkvXmg4Ekq2x1p5rU77Qp/ziazLEZ8Foq4rhMbMqb2tafkFp29xNZvt3jAjU
xRaeLm62qzLJrbxjkJiiaqoaMlHCc9VW9PvDQ5fCNYYhpcikIEGzM7MI56bULUFHYv1FCbqj78uP
OZd4j2SVsriTYv6AVRwVrf56+2UvHDcY8Fqg7ISsCj+g2QJKWg+5lhRgn4Ezj/JA90AwwGkurfJV
l3bhT2PN0OEqjfVAaeE2p8XfzKc+lzbwTtgDzfSrBBjm+vmLo/3JdUhWX24/5gX4/O2TXj3n7FiN
2XXl1Ia6OtXPkXD5LgHjnBBrD+Cn/l2W3xtL/xJlqu/WU0b0Z0LLkBQWK3RjuFFFbpAQiqKxfavY
00Jcpg0pc71eeooRetQDnEOl2Y7OsJMqBSPI4hTB3ctrZy8SYwb5eZSTrd94m8qCJijd/x/SznM3
biVd11dEgDn8ZeemWnLLtmzrD+HInDOv/jwlbJwtUQ3xzJzJwJrl6ipW+MIbOhsPu0DbTvWf1G6P
aiNtx6n6K8IZKADgytGpnMLhr1kMLtrWVkQYHkE1h2wsSgMIUflJssfHDSXlC2lsFqO4MBi0E/4F
gB/xlpxpqZUtYCI9+tQY0mNZ914vgUgDHymoQyqlxxyMpq36e11UG9qfIoCynHaTyd1+3SX51tsA
nkvBrMngAVw+RHNXGmY9gPsmsSfMF1m3fhBKLeV5VY7oRrBGjwUeInxygWtavEN50/4Pax1pCzxx
wbOQ0f83uTzSGQAF+E/86JfV9riVFCsMjVAIaNCkE1lE9s/OAVms9I1eetXL7QvRx0IW3AEU/a79
63TSYM1aeNehP2ZhrtH4E04kyZ3W21+EgcvUlbsCCQZOLamNg7yNeLUELvt/zL0VcLSi5PrxuXop
V7z/YWSkQooDuN7iTGcgC1CI5KNid/tIEUfr/01gBBUwGVk/0Tq390JWpIyaSyWkqLkQxfWZ0A4y
wMTOGaUuv/qqBMZ2jqR9jiaO0BkOUHJJS6FYzz1a/MMZJgbZbIdA+AE4WqRtgl/cIy3iQFpG8UGh
UI0hMB0jOXGFvYiq1MBnncMgxQcJZG8/dNvekb3G5o3TG09cxk2sf+nV9Gz62kqycCvSw+VeY08I
NvEyuDZKxw+rCcm6avo6BebJSqinY3FjgiE2na+zFiAtGwwrod7Lbf3ua6DnhhMaoj/YdS5ucyvC
ydKekEkdIiCe6PCEP61W6YkOrKOuQYjHzqmxXaHfWivquau4HzDUEXV9oSUIXrakeyGV/g+cqs61
Zh6FfpddNMcizS4SfaR+QtQbXohY+zZAagVlK2GQbPLVKGy9iKkV1kqp8ObV8Wpei8B5MFqzMyZE
oSG1UybUECKdq/pB8OwcofXbafnKUt68QP53xGWZzipiCs7Q74WPIBcIhRah1bIKi7k5MQNok5DH
5GwvOkmxjV7CYDMxeLw7nS9j0SrrfThXlUSVC4Cko6+s5a0Xn+z5/w4pQupXIXMHjFRNNaR06YgK
JJn1RHGX7DICB/zx5bA2uUW+19fBxO6ASSG0NBT8yJtK21k68tNS8EmcbsFk+G+G5NOAbDIhui0O
AMZhRmv5YH7M7N6C4Kbl0t6O588tEBKgtE6bZCs34M1Jmnw+nBPo/SxjRS2JEuxpmaRMyMDexKb2
LHQ3Q/m5Nq1POeDdj6d4K42Gq6VS1SCN5qAvQhk5T6I4AgZzJ/XfJO2nod8hP60BWi2ucywarNEa
q//mHC0GpW6EYKq9+JB+NMlV0nHJn7Kpd/tidLVkK1iAuvowPa5MT+y/d3fYq8EWEWnelHWS9XJ2
lyr9LjeiDrxjvAm05NkG5000LYykGr3eVJrqJaPxuWmlld9wc75iccnlAI4tCxW24hfQS+ZQwCfE
9Sj2KsmakiQuYnEbp1/5pC89lXdzfjXgYs5R16hmnKjh3az9s1QfjUjgPvJPEuaqveZUSqBgPNiO
eZQy0xu74djjHj8joNHofyyLSJIyRqb9jRoMAUptW0Y6fB1oS80Yb4XRmDUYn5Ux8rI03IEs9tD3
d5G7TNXnrp6PaMag2KWdfTzAwyndIS0jbnRZru8yhT5M0xwzIHRZ7m95T2LeCR1ikI/e18effm3Z
F7FEDI86iUZeLxuY5U7VXUn+LfeXor4k8p+Ph7rFLgBHR+sJtK6uow789hacejP0W2MkblFEMIrU
4F4E7KwNgEQYbaS/Cqe3+Ck6+h+PfesCBjZAwVv8EwObt0NHMk5hdc/QVvBIp5QeMek34Snd0Y8H
ugXHAU2KcDGOrUKlZ7GgdmnokVImbCuD1grlLbnvPTmJHqvZ38dAI1rIOnzSBFiBFKufB63Yjbp0
EaiFoknv6yw/CIl/mXClrKN9Nnb3IooTsD1q7C+AIgAFxPBNMYiavQjOjE7Z9xGkPXYRxnUFCp8V
foviv6kuqsa4nU1tb5ZAFfD+MwHphVH0JTHrL+kUvPCMB4o2AqQkkmDKGhZyHg5Ah48X59Zm4wYF
WYxbGmH14hYdGmhY6hyKDeDvQ/azkGMkgs9r+9xW+lakRh+PeHPPAfKVdQxbeCyWWDNogE0i6VF4
p2QPDamaekW23w/+gs7WA3g3igC5CWBOttr2vLHnAMYISwvUAgSz/u2eG6AK9n1hOh4JN9A9Uawf
zoZyWkVBrAy0jJsafn7WJJZDfL1RmivJfQ1JMUEzbGVzvxyTxZ35ekpLOoPelKOtdbbjzTbmXWP6
OJJ21VqYuVqjP9FLEqZ0PWohCVej+VNVqDkn7XYOk5NWPqXk/VMvu1qMSyzBQtcWx1KlAAcxI4dt
XST1Ly3VKaCVlltrPl4SxVeNAmMx5P95QEb+RAEeITI6pEvSO5bOVgiR5QUaDfw4E+W2fgMyTUlW
t+CNXY/9NzrSGv96T/XWFN8ueFIhJ9dXIPUmh5tmotqqG9QdZCxDv4Cyt2vZ9SnJa8qhAp5gps9K
8zWzno21BvULJGbxDfk5APwdknUL/PvbbVln6mg0E/ofBZJq7TBuYYscjeZCD2TfRGix+RenE0xf
+6hG/wpul8q52MR1UvfcZfO2jscjZWxV/zsUl3m8Suma8cQtkYA3P3FxT0iG5kSUE+ihmymSuqAu
IHZO1VOdonOWuVH2s4gbBChRYBv2GjE078fU/4PI6QzXapUudiM6srFdEtpKIFZZs7crlimtFM0Z
BW9IPLPeuHy22LoMOpRgjHuDn/BAwRpl1ZnRV64v8UcvP5ZNzqGZ6OnbiBS8HTpFCSYs8H+8k+yL
OV384in3IeKd4nyj+MghuSNsqOZ7iM6YcFKpLvyEbI1CdmsDU9VhB0NYExv57Y8YMz2mt0QhRFS3
I/1KE5yWY6vTsMLTdw3QcKtkab8ebrFBNVheKXECL2iw68D4UJrPHllztATQd07sfzNO2/+6dPh/
QG/cuEqBf8soWTu8Uu9kGXCirEg4SNSqWfqa1FQXO+ik32flG5KEtXyn1j/L8nveJ7upLCkSats2
sncpb+4Us0VJJFc2wK29hzQjKpjo3okiw9u1r0rLnEIqlHd0x1wiVdqTabMZNLJUmg/GhTDGgRoO
jqWFXr0yuPjDl7uPpxPOCnoA5FqLgM2ItSiOtZJMWT5I3aHJzynC5tl9oSCDifspWE9BOA+fYqyA
o0x3y2Gti3hr/uR52CsLyBK39dv5Kxo+I/OQhXdTfs/jrWZgX8+DgRltAfRYd+HP2ZY49qsuMbfU
1XFVRC4GMUJgp8u8tjHKrAzHgKVHbTp54e/1GAMYz6y80JGXnyT8UUO3K8+YIgZEsh8v/429KFad
EAJ9cxlvu7dTz2NFgU+eUulUr7bTu2DzN01M84PmSHb6eKz394wjdEjgcCPG9d6dYJqDWkaJS/JY
42wSrhIQknAF/3iUG9HY22EWG6pJkpJGfGDfW+OnTDlp1kUOj2VyaX6o9bZOj36LqMK+6PYr474H
TYAORd5GIV8TddPFUg5jWzd1O1n3g1U9N7g9pHLmKYEuJPl6oz/yhpzszIH4t9pYE3n62zMkhkZT
g/qIYb/Dg0HV86WMR+U+ic99e45Kb+7PoX0e4i3PvYopjHoNEJKo9niHfTzt5QYiwibTApltaAD3
9SU4Ns8Sg+xBsr1swLHvrIdeFT1aE8dnBXKzfCBeBnIMHSYdYB7VWDyQdlhEMQGM7RUZbPazkqFf
EN8r6rXKvhbDWolreSuJ0SwNDVRRceJdXFwJDpoMU1VNttdn5aaXr7G91r5fG2HxAuFYP3VDxgiy
7qnOE1zAjz/M8rQtZ7BYr0RqHJ6Q2fbSnj0nPQz1c4SMoqKs1a1ufRjEESDU47RL8rPY980Q6KjS
dLanz/kRoMBRLn/Kyreqlq5dEO57O9x+PLN3BKqXqYFB4N4StKVlNRytjhhPvcb2hlrbS5O+w9gZ
P+4YL1xzX1ZGuZHyZzV71J354PS0c40w2hZm/ohzertmBvISmbw+fC+/BjC6RrlBpay0WOjI7NM+
cyrbgxZNC4PKQnHPWblzsPQxw8FTRBqoDXfxUJyhWTzrqXEu+vpZ16WDOX8dpvzExeFKRfAtaSgw
4umws0MFARW1SrfM4SG2gpUn/8apVWGHAvYDQIko4uKOdFBZsf2ys7wchTW1vJ+Ny+gAXOPusFbu
47WhFtGlqrckzVlreRAca/OivFjsptNZXpNcvLHhX89puQ97WgljXTfMSfpajDJaaFdHgoWx5gL7
UkFYfHCYcrhLA70V956Y8atCe6U5CInpQk0DNyFUJrah7rhD/eSo3R6XyX1Hs1jHs7gc/tGC31cO
gtOR6tmq9L0P/5RytXLS3zUR2YEq+w9IA+pz/KTF1xw1TBOCIbG9sTpaUvYJtNue0HGf0T9DMZHG
c3wkng7jz13ab3rk81zbPKYIGzZ2AkWFfnKo7MktPj6nNy4GFcFvS9E4pii6Li4Gu9RqILqR7dn5
5BqFfTdQTOIU/JlT4WwZeXNS7z8e8t3jL5YCBg9JDM1UksrFtwn6jFuqD2xBZayzbFPS50cXB6ni
5kfgHyV/p9anwC821fj0Xw0tGLaIMSDjuhg6ivTBSUff8mYr1/c2vXursrZm459kWLJCblyNki+l
EQEvQlhfVAZjZCo+/hU31lwId9tCdkR7zy11KgkHDV9GCMNuL6MNlReUApaobmgP1xGUTS/9+3jE
d6gellyQivkHJTcRRr89DpZhN11ZUL8exl0746W7l5PD7FytoCLt/6b6FzI4rD9XQNPi3licQoa1
HQROhFL5skE90sOkEpK8aIbuZmwZplg6GGBip/aUaoprWzUmF8p/vr6cNAYVsEMsChYf2UbQ0c/A
IHi0Ju9zPAI6fAOyCtOnsd7LzZXK8Mr9eXOeaOdT5ONvphX/dnkl0+lHrbUNT/EvpQaxjAASCzr9
X37ouvtwFZEg/rzlumKEQD4Csx6gxXK8MJdCM40Mj4zoqS24Pqzg2SjnfYK6HuJHTqQfKl9DqEre
aU2yjaJhpQL4UnBY/ATg8ETx0KQBVC4x6rUEnmmAK+8VeftDj8rYjYxgHw6cpnYYNv1oP2pjuHdY
/jrotlE37B2B77FnMD2gcaT2E0djS7axcapBdu0Y1mlt3JUFRAKj9Lom/iJN2il0zMNYU6CV8/0U
ZBuFklmJB6CU65/rnpamCtfOUqd9Peb0wPsZZkVxp0b4pMY2lewQjbN0i5PynT4+dhYqo0HTb/u4
BW4anOeovWbOl49P243zzbqwKjrVGrzsFle92dd9IA2D7hldd7ZQ0bE69FG1Zhd3jWsijTNV1veP
hxSB6PJrOCapqSzAn/ryoDUIbeWq0useuE/y9/2Y1gc5XUNh33jEEFcRwuxCBgEotshxXr2qcxab
euH3GkHdU5YiBAQyy/DHbRWp7pRSuA+b9tIr1jZXftZ2BBVDOygxsrBzOc8H6HlHJb1HH+ysZ2vF
uXe8UGgn5MY0dnR85wRS5+1vw/exN3Mp08QD62OPHcr5SbOlo5HUFw0pETVEVomaVdkjrxrsS8P+
0hhj4ipm9cWkVWc3ZrLRK+1PHkpbUokvswU+S/cBSc8dPQLzFBvlqTAtLwiKTdkn29Qg5hu1JN1l
XbeVo/xHjUwRukfnIIyRkR3vx0rZ+BN/7hSU/3zinSEan5r4nz0oXxO5vi9xa2rDaosg9rVMnAM+
t6Ej74S7t5FXuwm2p+q0IF0tDAmLT8YQHCa7P5RRcd/m0UbpbGyVzU2g4rYTWj/QMUGRRkpQoyyf
85nGojEcsrHdxpny6ARAbUNVkTemNpwtQzo2sv9L/O9KH2I3FRimmupGmeRHHLk+mVXxWUlH/pbw
iKjD91ZPTp01fY3oO+uA5z7ewDfyBfBLUBhpxIhNvCwxDWVadaNkq17kjw8ATjynTBC4zI/tULld
9ivLCow5fmN1t81rOEbp9Jh3uWt1WOEi9bTya94nfvwakTBhQgy2alkbH/HX7CMfolNj32vjv7Zv
EAf23WhWt05SupH/14Izg+zedrTMEzUTN3JmoDjzSuZ+e1le/RARUL86cV0qFbyguupJ03Ri55jx
9I1wd18b+jE3ZQR5rnlvbHJF+pc7tIkRvJsVEIogBcx+pQgtTtDbS0YsCh1baAtEEtYiVjScsnYq
MGfebPgUoeItopoPsw+0rcx2lbnypr4ru4kD/Xq4BTwHV41wVCWG63GyyM1fsjbtuzbZ4Xi8SeYO
QfZv/QwUIh4epO733OmA2Optg5zByma4OW/hscJljmXXsvRoh74jDdKketOsHANr2nX9V1jed00z
34UFrQgDbII+alujB+ytWHeTru+jKkRKLvsUK8mmzmPMq6XDx7/rBd2y/B5wRB0h0YHj4bKYBXTP
t8xKUj1HKo5FHF7DOt5ghX61cd80LBQ5yVKD0bz0c/yl9+edkGXITW1boAajGpFXx72bBD74RVxu
kMKP3Vgbvji9gWz3WD2EUGInWFNTaaI8XtSfwCqcBrt+jJVHQyUTHeSjrnyujeihseytDC6ln+Ab
l/L9ZKt/K+G1I11bs/gzSOUpqHo3GEp+KCrKNRb1znOPTlufxJtu/FMViusYwck0k5NeYfE01fs8
zDfqUO152H7RpdvI5hd/Hjd9rG7bsohdW1/T3r8RJ/N+Er/RooPrR5nu7XEr/CCoawwnPDXUj+bw
a05YIVsFCn6vxsaOWW/h7SJLhxmEFlorp926de3QWgJ+T7kZBOMirlNGKQucnNNuqMjmAfq5pOVV
5jPI1n3fV/ANjG2KZXKtm5+Syd/GDliTDpmIslPcnL9gNuknqzYOs966WBO6fY5gL+SC0Xd2IC3S
pO7ILqT9bGlbEpuN3ln3qV/fRbHxCYb0JmRY8bDPau22sfV7MorDbDWn2gGDBybBgXvV1WW66RpA
zE4DOaL4kZoJvbjAPmpF/d0Is8MwD+RRrds0zkGSClfPpZ2EkLhcfC8j2VXNp3DsNkmoU8zYIum/
ieL2IZq/FL3OvqwRPnD2E38fhYKtb+Vnx+fW71LtPDjjlooZAeJape9F1ObdYXq19IvQxlLiYuyA
I3mFLsNGwc0nL4+m7DzUkuYFVGvlbNgEqA/hh6BtqqQ8Sfyf6nncR/N1yP46OisjjcdCVdgZ807n
Tsjjs53epWTWZvnQSUhpOsmhte+NCRx6cs7gWfslgrT+oGGQqsK61WMI7N2mjMeVrQXO+8btjY6b
jmcoRTlIdG+3Nl+9wOc51hAXtn4bOee8UtzORqBY6TaBxL8znhU/+NU3HO10jjeVw47Bxc5WCtev
hk0l63c6Ml16on9RyuGkZso1LYNLDuZtlJITXKBdruSbsR33io+qbY5IaNID7DHMgxUNyqavpM9Z
/7n1+0udIXk2GNueOn9focpRhZ5AS43Tr3rq3La/k8ySvdps4ghGoRn8coRu/vi7LmwKE7CL/eLo
mDm8mb9mkF5pFP/sO4zFE/WUWcEhqZ2Tb0eSqwbTfZFgKiBrrmTN0AdiUND1bpSqU9cH3yQTaetO
Owbyt4I9F9TBzjCyrRleKV64TSffWzXEpGHKHoxB+ZbXuJKWX9vZP6S9hOKfuvfl73OhfTJlPrcm
nevxtz2Zu6bt4h352V1dZAc/7LZ6/jhoxpGK3qYNhHymdA0iVKNj+2D4KiA7mv4Zl2ReNxu/RQyw
uOuN6aCr96bP9UxW46BBHPnDxmzyjQzwAsfXT9i7H4zqq+ogKGJJm1SkSrq6lfDLc3UbyTDVeWhx
uUI2awOsEdOSFuO09snJoksuzfezqgMCj7/LOYz84o8t99u6C3ZtKIEa1V0q/VvHCd2wf6xM52yH
lMxoQVlafozqByBtrqL1Gyv/F/TGoeyuaH6pzi+zsyiI4umm/DVQPub92TfSGlDwRh2Jy/rVjl7E
RoFT+KY1D6qnqcVDX053UWlco0HDAivzyr7Za9Y16m2Dym4PZbTSN42+8ga/T/ypHYryNrm4Tgdi
8V5otTqZJQBCUc9MYrzgx3E3UsgCiLPToH1Rtwtdi9LDx0//+wzzJbMUmoWiL7gko4dTU5mRJCse
eyfm+sxHt23vK+oAoOey+fHj0cQ6vr0axWgGRif0/AVw7+3NIWe4GxtSp3iz/tTr+bk0z6Oi3Tl9
unZJiQjy3Uj0jpDaQ0MJe8C3I2W8y1HZ1opnjfdkstBidSlAKP13I9FoDu7H6aCSvX88vXeYXk1l
fraKZxYALVtb6p0FlUllbECuluo3+KxIxnMtvteyYz7NLoSonAp1YHUrOcb7qJLiF/pyFKls8NLL
XBpJpniSKlv2JMpEIQJQWLZCjt/YwcRbN3gfT/L9RmU0mnIqn48c6yV7fpVH+EOedpFfKZ7knHWI
CJg3bxpxs0TgZLAmxnylXUNnvy9KiDF1up14yaAOI1bg1Zi2Gc91qzaKh/Q4e4Yio7FWCbt1EF4P
sSi1RI085U3RKp6fGOe+xziv6FBRRc3emvfUATdJu3bkb343im+WDI+KmvniNOh+o0UTLHjx3Zpy
OndNthlaapnZNUet/uPPdiMgBbQI6ofGMdcM+O+3a1gGwzTKTa54HmDMhM+k+T+l6jwaZ6mot7Dv
nzr7P07zQLZAFQMBCuYcwvTbIf02AN/fwNaBHUnbiQ6J3W/w0Fhv0ogfvzjuOFxBqNJF84FuwNuR
Rrr0PfZaiqc7zaa+k4ovYKuQ3PWtHRMM51ML0yjg4bxIsbuysDeuGgHMpUiHKjOnf7GwVH4yX5Jb
2VNnHtc638oVdQ9/dIdqwBY4veDku6uTGbVAbWXsG5v2zdCLR8OsAQq0KvcN/Q/I/3Tk8/lRDn9m
zlUuVzbQOzotl5uFUzeVQTqfFDQWj6Tt54Vudmwg3Sh1lOfmjTwRrjdytDXy34NZ/bAnrFk6Fezc
SFiB8UGqxd9rHdPrwbrv9Pnij/GP1LnawXwKus7csG7QjSbMxo3ss5pF5yQPPboI5IMYsJqPap5h
VTvVnwm3CN8oktlh9Qt9QopW1SG3+1080cNExrgGRRSvKcTdeK7AFFOLB3RNv3sJ6bTKMZJmJ1Y8
cxD8tavSWo+lf9cG4X9eoUCOyaACT+MMOMlLgPLqgsukSIrCIeQZ7iFuyXL7W9fhZ4TcO9r8t6oM
Aj2c22pH2aQtQurx9BCnEQ5z7TZN1tQ5bu0q9jFCJwjnI1W72FVty+MddZrsyfGRdDVHYrLccXKB
euTz4ePTc+MOJIdARIG7nfkvJz7auIVWJmPxYiK41kUe+sxdjSPF2hLfOqavR1ocUz+R8s4Xs8LJ
1JPL5MkGbNb2tdsHaKQbwzfNLh8ttpiSqJuPJ3l7QRE2o9glVD8WCVMYlGFAwQ/fXPvAak7TQdZ2
mrUt58NqHHnrngdrSBQgMELA1MWKv9pKeTBFdmUNshfcp+F2GLZqDSfbD84Ak6rimkHTXYkIXoLE
5e1Ll8yx8CCQkb5ebBg/Vps4dWbZQ3XYlTiVc4aXCor6ndT8YuEPQLRJcv0jRl3bdvQPUXwGsOGk
3S/JTL5Gg0gJBAfxaszJfWL/p1A0cXNh963Tr3gxG1/cXGWUhAX25opXFeU9kENLaV14OlStspUm
+M3VJ77VAIJT7aWB8Hb1C3JJWfF12ctExGdUaJxfQEkp/9KC8FOjt2VdGntvrzCLbwRl7C2FQwQR
hZB3scOSnH9MRaZ4aluG2067zMNTQdZYRemDrxTbaVJpOKxMloj9xrP7etjFwurcQ+3cTIPnAOVN
6nSj5NeeYl05ZJSz/1Z65KVtsw+p4LTAJObyZ5FXV4WDVnbPYzR5oaHu5ZLvHv9UAcj0IHAjpz9a
GlKmyCnII2hIDuyTk/s73VddJPG3Uh0fa8ve4Y7wqel+NhVyuGnmtlT5C8N+KOX6l+kgM82Cm6Gy
qfzejQrjpzIF27lHpMNQO8QVbc+hXiAFD3mI/1JGbwTI0MHSrKO4F+jw9aG/9aNvhWxsDDW+L4t+
X8XqxpbizWhYrjT9NeT2c5A+SXa8MaZfcya7Slbuys4+xlKwC+e/IoOMHPNU2n9xGtjQfyWKdKBt
PGXqM0idDSpWG2VsNqVhQaWZDxVnRmkTKFz/gqpxZaPblYXjalJNPS056P1zAq2gNjveQvRKrE9d
HZ/s+Hs8GhfW7LtBWp/M07VPi0OWGZdOMzfc9F8Mq7/EFTQdyEJJJR8R/tyGIwY6bXfAzGJXJQe5
kreyHx8i2TzQLT3bSfSJxKmly0o9YYNP8NYeHSGUmPJhsrw6hm30y5RkhCaSrQmhUDblbUbv1UT6
r8r8vZ1Rp+sLTEHmh9kIDwbsttEq93zrWdMeHOtZtLYn+2dTXP2q/KxnDXQlPB3N+cxrgKLzlv+C
an5XytMmpf1rVv4uydsjX8oN82IX+c0mSe1tS0FThigiFjnCC2HukKYfgo2FXB1qa6ewQcYzMQ+x
X56Rc76i+TTN8hF/612fNBsHogi7Fa1qNy/QaaTb67fjxqbVZQf5ubEMt9OszVSHB3vK2QHqUZ0x
Tkq0B7/JvUb+G5gtj/NfrQ92E/XQgOIuddRdXkQPnV7t0mbextRUK9XADVBGY945BZh3qfD3GvVb
Uso4SkX7yX6eo1zsyTgMHjo8VFgj8f+BFZGrltdl+n6oxyNU8O9WmO9jQjBC6Wlu7id9OOQFlHlI
FSWrCn2QHnF0FyHaV2aoi4dXdGwfamskV4OHSJsvdurPQyz9GJKA7R57YV387M0fRSJvHAeyvT1t
M2XYwCA4tS0GFLTgNc7xxy/jjdYMDDoAHYILYb1H8Jh6PTu1FCkMn9Nx6E9I1+8iKz/KEM38cD7o
9GeC5k/Qymc7COAKTHdzav8zh//UIFU8Erh+AKcllwYDuri5zXQclK7lEcvj3C0yX9mHVX1VhvhH
DYtt64TWndysyR3fijAB4RswusiPiH/ePhdNbQy+qfNY9359mIGgV09YFGvxKlLqVvTD1rasF3kH
eQmyoKHvKFWTk4pp5cNgxKeqwOSM71nZ9XHUs13Gd24yc4es5kr0c/NNRCyLbh+wf4I88Yq8ikjU
JgiSvpVfYjyTXgMBAkm8Ex0Bu0vKpY7/sYuNtabWraDr9aiLeK8yKDaVscKMi79yulM0ZH2SXZlR
lv+n5L9X9vGtD/l6tEUINMulGsG9lL2oexTXjk+CPfrJtku+hRB7ul0w4OdNl8wHuqJrQssPgo9A
MherbBexaZbhmA21xwGWzj+NxW8J59DRKHcTAdJam2l+hDs6C7kJtWfcEV7XY7rp78fg+PEa3Arl
Xw+7iEEaRUUYaCAPJtsnH4X4xbTxd0mT3f/fQIuoI1aDGXd6BpqxxCNtGMT6phSh/5uBgBUhcUfm
C9ZyMSOId6Za+BlxLSrA0pkPCagSVLG/9slu7VWG4R4gdqNHv7h7OqONw7pnIBTmf/YWIH41Olpp
5Fqm8b2RK09znj5ew5sjCn9mKs4CI7GYmjaZetybnEmgdGJq+dcsFlh+uT6v9t9vBae4JCOxrioG
amCLk+g7vey3XS97rV7vBE66LbMnwfQBnO437fNMO34sf348wRtAbaQ6aaxQMdQAyS6ra0ncG/Fk
jCLf+1630UGGNQo9axtX051fTYhCGbT/aM1lONjo0XQs48wNKBInuXFA3wo9tWD0xshxUXrps+E7
3imu7ad7WrcngbLXyuY/39iIUWObDOiIgtKy3uAoedCrEMY8iQ5e3V7Bi1B9gEecezlE0o8X6AW4
vLgm+CDg6qkLUg+UF8colAZ56PJW9Qa5cMt5/Gk442c9/2112Z60f+qC56hqaHXRnfTp5DqA7RoN
00tt5ClmrZSnJHAus0PHySeypbmGYvwRpdQteEq3SvEYGPJDHDunUtH2vHJPcv+tJK4QhZyM6ygw
69PEm1rov4do2AmM1cdzvLHzmCJ0XHJv5KqWZUE1IelGmRHwjZ7RG228brqEgBs7ut8+Zj8+71BM
zPzxqLfaAAxroVwCD5hPuXjVk2nKHS0N6PbGn6fMOZjToRyeZN868T5vpPEqIzoWAU1cGVccpPdf
9H/HXTy0tp7GtVHQmE3q/LMplw9Tq+/zIH5oUHAtiPuaIOfx+YWiydaoL5I5bTK7WlnzG0AjDjrV
I4UFV6htL2ZfyaOD8B7wOXnCcAi8E95jGFaqj3n4KW5/+s6xGo3jOGp7u/4+OfFRGy9+/zOwVquj
N4IeRzUdNJSA81n859vAI5z8WiuBMHuVEpyz/GREn50MzMnoVsOfcMhiV1G/WRm+wLlzP5Qh7jtf
irw72YBAEVF8cPCXkudfqhyeUive1Uhx2PKEAwP05tjAgpAG/2w8TTYYQZxz4zJHl/MpMRRayZHr
xMV5kBDImv+GQ7pL/OloVOpenaqDnY34v0U+9ieIalEIrfyjEACZAJOmA0BTaXzMpmwP0dtx7TB7
bu3qFNc5EliPnT8jQ+/s0mL+05Y67eTgT9IBJCiSiyUN6Awml0hVUdZVYbwfc9k8FbI+bnwjq1z+
jGwTluWnChkJva3POlgISYGWRM9YQq8vk/HVS35b2cp1fCvQdyhNgKYEViqenbffAracgQmao3pl
a23rkPyIxvkEwiPutuMQe6X0PUtlN0GgBYHBOyDIOCuGOzNdw2fcePmw+0AVkkoc23R5J/Rlg6h/
b9FoNX8hYcc7xCXQZ6ELJ2s1VLl1AWm05oQLHaXzpasBJoJhT+NO9UYfEYLwqhTPU3AM/JY4UEE6
8aJTivr4FnhhHixvAaDqNCBxndJJLd6udOGAcnNsnwlmvlfLw1e7Lb/5nb4ZlekZRc6zeLyKgjTY
NJE/nEokdKUHJ0WYLRvum0RuqLKr5yksn6TCeBoK9VFtjObesny06eIrgcOlyqydPPUHm4h2NjpQ
Bs1BKe1tVkeHwSow226+SXN48Ktq31Q/TDX7WkrDDC9h/OFM4adcR7a0NY9FUB3Gio0KUEC35z2w
hq24pMoq/6w0WBbG97kRP7Y2yKMu7f707SUFRFUX6CjO/c4QVkMmf0mLd1ad4Qv5lJfVbtD+UWOx
4cYULUeWooeWNBe09siF/RI3sXBvTvVdWhY7bcJ/qAxOXOJfJnUs3NQIf1WD4ZZq8g0NyH4T9Pam
glJjpcqn/8PZee3GjW1h+okIMIdbhorK0dYNITkw58ynn486M6clqkaFPjDQbVuWdnFzhxX+IEbT
rRqdW5Encgf0Y2iT0WXg1Fy3/qdFXlz1OaYGGkhB5vV165Wy6CqFsv1+bRjLLvuyNmjdIhRKI0dd
h32WVhaqKej0cIZpY4I4lLPwQcjFnqNiAFMcPNa9f4zU9AYT711sGducWkYvSq5SolYI3SmxkLlF
LC4meKMbm8w/FeslmpInvVgKntmeZvRmCgsKMT0B3zbK0nsqwOE47UUhPA765M2icN1gyUrQOaG8
iyH7din2FWSky1aU220zxPgKPC0oSC2ilaS23vIWDTpFOAdtY6nA5XS6N6yeSlHOhA1/m2G4Bta9
9eUKv7hZfaRK5hkhijioU0MicsW89gJ2m0Z5J5jeBiomfVF5Ziv8CFnRsorJ0fezfYI6trgKQdSF
pgQkYA2rHGqhp+QDrMTA9sP3fWcJftV22JQlDbBB33XJcN3CNnhfw/Lw0EcS9K1LSneO1uVOVvdn
Ikzp1IFEPmMQmHA1f2niUYXxp9iv5GOYTFdcFbZMTSyr4Jv0z7oKEMiCHag7aplsBn/eJ5V21UXs
8ZJ6q4GIbRt7PHBqR5ARMB0+U8Y+GTkBnQO3IcK2o6H7+exSUHgOjLqXj0v+rFmPUf8CtsBn2qiw
4vjT+0+acU6w6p12v94VWImIwLPh/35Ro6iEPM0tmbgJiOxONKmHgeZqou5tjpVbairbZPiVaIVt
5KC3OAmV+SIoYjcMzE2mCRs1M245HC/GxLrtVQUx2gewi0Aqx/1UAzgTfkMCdVRUmpPsd+yP58K+
JVf77uOvcrlYFZJp0CPlqBcNzDv5nkqEo2itbcrBlc91K4jDTh+jvZJHdupH+7rW2J75IZ5hAcjp
mWUvnygEvNOXiHxpnn5BOTemNmpBS2KRteVmCFG+ndDUozYqxqYnhINrljmQ2GArjiqS1KoXcghz
F5oV+LrgF4oIk1XZYifaGRIhbta0TjO/SHrsxSKKoKG5MRBRHmFnEMWcOSFPxikAaUgX2LmQ3VZZ
UYxftYJdLSmDeRVYkztlxqNaUnQHWNdJ4fu93cGjTMgE2+nSGDH+ozwbnKOkn5pEkPGUJEVkBr6I
9clob40B1bxjnZl3GJG69ZztrOx20vtrX5N+nTmqTq2hj8OtNl45W3oQBAyXJvhRWuIm1sz9IiQ9
/O2lFLvgYtMBadCoVo2ZvkFYmjXH+T5wLNx+/1lOHVFkDuhzUK83v3iJGHOpFzKJ5rE3xUNGnVso
O9TrdJfWuY2xgBVpXsXq/X5UemUnttHHcZfs6kOZMhhzk7XM2aO0pLQ+XaFIwkZb+yOO2E0XyEcP
eMTiGG1TNXBo1RymUQCEaz2oSY8oW4OtSrsPRI2iQW6nYXIFhBY6DDD3sEJtLRp2KXDQZnrrgTtn
ooD963gMEgsRltyZWsPOGv65XN/VjeK0jeoZxmOALHVojRfLgTyrABLlxlFn5SLUrac5DVwxqY4y
Pyrj8hRizcFuk+bMtZjNh3ZINyDO4TMA5p/gocIlimwphv2WBVcBZKEYY2l5Ml67TP49XyliBf1q
2sHN8lRVuwiFmwgfzapFxcpsHF37E8+pEw0NovUvKD25fSnvxKy7zGOY0BXoDsmym0p6NhMkaiXM
rWgnSbV2qDBS12hC+wgUJuq4WwwkEz/eBBndYpyFlDg++nV9kKRHSvPulOCKGi24b/8I1wGnddkO
O2XTiMa2b4MNb2Gf+LA2CuDFg1G6hl6+Ys7o5G1zDFig2Wjdn1kc74X49RlLZe69fY8ho7E6Y4cw
7VM1htctU0YykeKFXZvzzq8gNB7FjlqG3BwawEfAG7c0YrcRLcwldCxn36EClbfxXRq/jcXgdHrt
DLXhgJJ03sPyerBzv9wmTXIQoIvPHHxDnF5p/msTTdCu6KMNJb70sei2+MpHcvGjj1WUSm9RCLla
QPiFim6f/xop+tNQzp7fSN4QJi7W254MGJA2Wsl9LQehK5J4Ev0Uvb8fOn/TFSjAtDlUiD53+AlZ
b/0IUmVTYhGsteM2FZpr2Ogvs38dDNIho8Vk4t45hpNnYNSZSE7kd7eDGm7e2caYiLcwKaG02Rnn
SEbiP+FRNwbI0efwDwIMQvLEoeB3J5MD6Z18H5jFDkdkyHOYISjwKQcZLgEfBnbdUqpJcv0CbSJX
94tHTQVMH0tXKuWmuFIcVXwx0IIwYIPZsa+6S219BlF0owT6JtRB0sXyTVbkVzShe7hF+No0/kWp
JLs2RUkxCbfdImBB47YO5rckwwWzMzZF1lWQ4fxnED9JQwm9M4yDWvQHCgYM2x6WaE2qDCcnohMK
aTcqgwsYmsJO6AxmGzpyMh4U/iJXC3eRhSf+1UJ+0JTWG3+WdzFIad3P7vypsqH//Oqa6QIeiWI3
0WsVRNs2kw+0EzOhBKPeeG3fHcNmaea/s+1ocwKbVvuLYGwbh6R9yWqAKEUYRZK/5AOlB/nXwkud
AbennUig/7yUNFKI8GMxHYr6HPD1FAIELgA0XvhDtM6M5Tb7eHYWqa/PUKyOSa9spDzeSBmqo7w6
PJ03o4EYH1TImW0yxTWwduwUjPrBjxKcNKs9PtQ4eNS7qA12iqC4QxGmdtzNP77fxKfuFWpjKiZO
lCDEdTTO2vVbEDPvwFWy/gYOEGD9CIwGFe86v9P8v98P+EV2jFeGiymgatoiyNCuJRFaKCoUerhU
gWQ6+RziDdrRkM42iaxtNT5DJCV7WXsCJBJeq9xy349/6oFNXOipBIBGARH0+aXEYjEMbCnpmEVE
7gZiX9ajpTf7sgHZz5ktI/vV4r/xb0dF8omUB6wgHLcv6LG4BSEc5qBrRiVzsUmGZDi4fZRdatgk
Z+R5RiK7ozi43w974vqmcI44EVVXJL2/BEylqfiNPBI2VO1d2iX7ORKvB5Xkr20gNYRwpUU0hHIc
yczoh0jxoIJWjHWz62vGjkPC+/7zfI3fPn+cVUCl1EVotjU7oh6e05wrYEHQ0fVDHeH7gU4+OHEL
2YtKq4O3/fk1i1y5dbdcTVY78T7HrdqW1Car6kcWp8d8GK9icBJz9Hcwxd9IQGLV/KdIoYLpQCri
oT/3eU49+QLmw6uVRfAFIK77gGRh2EjQp+OXXtO9Tu83U69sA8y8OuIZVZw8kxaAKIe/iPeHOH8N
aR4Mcu/VhrGhECxjY3Eu9f0a3pHgUXhErYNCJEnq52kKjaBJFXUA4F1chUN107dcVIZxLlL4WmHh
aEGPhIoOFAfOw8/DmFUpzUTMILFSxQsBeaiFss8tsK5kCqlVbafwztJGRwPiWgq0voX88fsF8XXb
L54B0LJU6o3QEVbrIVMkKRBmSBZBhx/LX4B5NhdQoiA69TImV8M5qa4T7xvuDtsObLkKlmM1XlxG
WiNVtBIXWwKxooQe/Ap9zvSyn9xI7M9Vkk+8SMgqINlhVy5o9tWx1k6ZLw4Zrfaljhl2oe81XfA4
KdOfxmyeK62h0okCcpSk2yTxD2IRe0ozXqoUkuTF/FpHevNMzfVrBQ8lQbqpC+VzWWGrj6S21pRJ
IjAO3Wo8qRQuWpZ5II5EYYL7/dv9Wr4GZq7r2L0ZkDuVtXxnXGGg2TWQPSpcmeUanQb9YVoiGFBK
Qoo5b2s+fT/iqfW0yAWKtFB0gPzL+/9wt4+tkhao8YtHylyOaRaoXRveEFFrQF2mh46GfKsTW+fU
6k+QsnhSkEESE0upcp2JY5yl+EICPWKJWdtgWV/jUyHggOxHntxymwYG4Kz8R6XidZf3O/7+zHv9
z6nwOe6ncwQtGmLBou77pTOvynMW6Xh5HfEktl8mx4XSfJnZP3q3sH8k9ssP/pfZmj1v+FNmv0U2
mItNYVs2tFYH0Wz+/HLJPyrs6+uX5T988w+ELvh7/vrlZflm/k9Iuansxn67fnjYvFxv7u622z83
vXNxs715vlFt3VVdqPjOzXj3p7e3mfPnBvCOGzm/+MredBOntS9K++rxcHiUvMPPi9dwdxU4nnhR
uLlHjd8JnCvdfo3tQ2gfXmv78efhPnL/HkT7/u/t8e/tU+cdM9ulWmPnzm6XO39397vvV9IJJNAC
pef4FTHxw2pmWWoflpIwF6UkyuJwnKcrJKwgJtYbrXCTR/9a8VM3Sp0hVL2E1On7gU9smo/jrkM/
DMv7oJHl8ShjeFZsu3GBpsypl05b6VzX8UQs/Okh15iugbbM0BrSyH4h7uWOLYCONe2V1eQuokmd
EOwpnIf09pXSi/NLvxm3GgjFPHpesHkINexkJdgtJSUpeft+Ik4UWD9/OPnzG8jLONeKYhwW+SbS
wo48KCrvuRLHCsOonF6YtT8bopy4IcA1EAxwXMOzVJY+7YfXHslSOsnxAOw+3vHoQKIp6mKG2aZn
Hu/EOfxpoFXreRSkIo8bZVzYBIC9FIIcnBeWFPj7aTz3QKtZDAvEPmDajgtrEqoy8qZ0K2i0tvnd
9wOdOHt5oMX4ESIj7KZV0DIAPRRniYGA6ZiT0y0NZk+v9khCjIUDdvXfDwd43aLuCA7pS3dAVgsk
h7p2PCJqOKPkAO4JDDCyse8dClX/gzDu9yOeqLdytH8YcnW7NEXYRSSz41G6Vx7iB/1WcmX85nWn
Nxzf3EYP6SUa2aZ15klP5Gafx13NrK8D3S38blywXbgw971OaRekhmhrz11+5yNVDm48R4Popann
M5f4qfXz8aFX52Acqh1aeXBR8PbFnD1LAH4edYrxyGp8P7+ndsSHkd4Pqw9bj3avYhVtwwKqniis
S5gVIM92Dr/2HgOsrsmPb3ENLx3R35elnNmUoZurguD2tEoKTjAdMTofhDlkUWPxN2vuguYvthlu
k5uXYxdgUBdv1F7HEk+5//7RT8SJnz7TapMKU0hcZLGYmWRh0KmC4aByzgf+3PyuIr8sN7vMyBhk
USCE/trDaUN89Exx+sx6Wad4YaFrdWfyFkP/FfENkknuL/g8Z4mUp+eMSg6ARwL6tbVtOKNMVzQ8
TjVv//Msk+h9/1pOP8t/h1gXRbAJz8tS4FmoPPr4BXB4MpJR/s2TM4HruZFWt0Hdkge1o8xdhxJi
O2xLSsNLCNs4Z9VIlTMTp64WmyTXBvQo8f3mWWgiqQ6+ZrzsE8BF49+lCLr4IiAl4SDX4uCQ4y1U
k4V2UqvmpjbU57kbjn6TXNIeBZGg2okWOlUuuabyt55uJ8G6mYecGmKvXiii7+ZD7UpCZgvjQ57J
zgz1QYuLq6gdz7yv0yv8n/e1WuFq29HXbGrWXpjbU3KF6CIt6rNc4XMTuMoiw2hoBUXKx+XCQYFg
LLaJtv1+5Z2KAqVF+Rx7DmjJ4upJ/KjouyRJud3SA7BoAMrgE4T5pYMcbJzRqzy59j6MtXqcOURu
oFGXseQt5+44wXY7IDqgTm/fP9TJ14NONkmKSXL23vD/cMC3XV0XcQulEdQ19xhTR5Hp7LlwKg6h
oPD/RllfI1qgUzlrE873Brav+thQlmbX8pY0erdSUqMqcubMO/1gkG6hoSok/KsdpeFcHlU6CyKM
75abhOHoOoYAdL+fwJOrYpEU/b/jrFZFAfAmlPtlApE0t27LWrZjEibYRESPxjlWwsl18WG01brQ
/ManbM9TcYxz8lGYiSLSkPMC6uemb9lvH9aFGExa2JU4XUC8Rzkd7AQab/o5RbNzoyxf/zBKXxVa
02qMwq5dEjrwO4KBRKp1pid88iUtXg0sBINkfJVBFL3RhkWRkVO1+cOUQnZa3lRPJ464Ar4Z1PQz
Idq7FsmXkEYHRAdlBfjOmg+UD6Eh5xaK3sHV/KONbLBh0g+lsLVdcxnfYNHyi1raVjkWh2Bnbs3L
tGP/eZjKVdpO7KAx28rNnL1I4bZCwCl0JcOO6I34j8FlsM+2zda8MTzb39MTPWhXIKp6B18i5Q+A
URfIk63v6heab0/iJrtQrw2nc1tPu0yfEMrzig3O5Jt0Vx80p7uObvzr2E42XrdJfusb/6089FfR
z+Cn/yO+C1GP/R3vIvdcTn3ySPgwP6sYdujK3g9DOtjHJg1QjaXNKPwZy1+NetcJlwvN7ft9enKp
/TPeegloZq93dc/OUfwDHF5kHZBUTou7/2UUujUQhmkTrdnTk1E0lR+w0DhLkW6BfYpmhGKdGUUS
T8/eP+Os0o8Oik7bl2Fzaam/W6G+mIryZurfMuQ+sd+da//IvXs5q9GTGfiXRiRvJKm/1QJjI9XK
H0VVruX5tRJGu+u1v0VpvjVSel0V8s8CVZ2qcbt49EJFeSykeMYlu6b53tKFQQrcREZI6FwBjdUm
1bZDe2kGxWUgdeiMJvedgCKpImFhMR1q4M2yVHqSOO4jWsl5mu2BGS2gyl2Lap5UvzV9f5P6E0D3
0kFb96kAxEZy+XMOkR9DEjVLUHzyBXNHY/3WCmcnXhrf42ybc2yHoWInFVzKZN/DQREiSMPy4Blg
RgML/UHBhK0pOPWouXTz3CB5lmok4JJyqwfFrzSavCHTXQOtKoB24GOki0jqd1Mz7UdT22eIRSNN
KjAZsWA5vfCLNHMT5xdJr7uBFL81reqYfnEL9mtj6H3m9rqMvpd2hYi9jSqS0w6Sq0bBtdmco8S9
X15fD5d/Xv9q81i9nGt+UBPxaeFdDZJAKjqvQ2gxN8tt6t/2uXAx0h9ZTC+GdrLHJvUm9L2jRoKf
Qi/JrO8VnW56/6T2gmsWKkZ9luuX7TEqQWYkpdsmNKKlxF7IFj0wyzh7M4P02jQKeLRnIGgnVzOV
YVwRUCO31gjWdKDEEsrxcg1sNLTm6TVMW6G+GtxZeD5bTjpZxJLZoLhYQZailvj51ol0NSjLnDIi
MU9gupZwCJrHrkfCtnjGOctIp43qn7kPThYM6GghsKRQCYfc/3nQQY4XGqc2HFFQNOseOWmWD5jX
rJrRmDHsODJ2uTmSW9wi3O+UWDrkaEV/fzydKoqjKwVaGA2WhWWxunAjOcmLQFWGo7DQzVvLBtB/
W9PDzoufAfKN0Tzs+67zJmyOkQLYxmJ55hw+WcSFM0TPeoFoEZt9nghTSGTTD0F/jcrfanoVB5/C
7XYUvVnxN/2rodzG8eF/Ct4/jrp68CytRjxhJKQGAE0gaveQwdsZOA8ypd9rSbFVqDp8P9mnbhxQ
oSj3wuUBv7+K1fSMJSgtsRrV6hhGuXYg8TkrPHUydfw4zGo+l4rppEnRcFTGEQMTFDICqLmdaWeq
4YhhuIMQbmTGFixsr96hOyDlxUXmj/uFm79otEdTz3K7rMe3DDtE0F+jRrGjdwEmuN0g7xPo5wPI
4qAsXAVpwQr9gKHrHB1WjEUzvp9/4mTgfD95p/I5DEfo/0M2wKxy9VQmakkgNKlcUmhm8hbb0NT7
fohTpw49x0WiB+AuIlOfF2LQDmaTI2MAecXyFr2EHoDOIgmfisNBUPpLM61QDNPODHsqhFcWnAEq
K4iEr2tdAgLTQYlc51L8LabI0fHWRexDYQ9MZzLWkytwYU1jXAuPUVtNIjQxIyiRzj6axRUVGarm
ZFzqOcDl+yde30bKh2FWe8swsnxU6nY4Nj2YeeXJLAenAcdVdS+mBeBbnGwkFTaLvlVeNG6OtkO1
WJ5KT4T/9mwEGzm8EufnaRovLB1knlCfif9PzvmHT7h8/UOeAcq2tNIFLkm1FqvfDqUoOAXVU1Of
mfET7BnuFRBCGNRpYHfeGRQfRupTKZul3u+PQu3m5kaUtshcZo9A4j1jF+2wvf3lvwj3VKoP3av8
N164K44MlTCxO09yaePt8s3sTofwwrowfhdvwm9UFDrfLa6HPUS3N9oFrrkRtthneJW/1X4K1WXe
7pv+wrKuld/izBKGFDZczarXvzX6Bd1PuduVzZXgH0m7Iw6JiYt/l0leHz9F2W8jPwqX8sZw0y1i
bttkI1/UT+HT1OEXIDzL5g590Kk6aMqZ8/E9BfqybvBCkmmRyhg5rt5KU2Bi7g/xcMxGpE6zcacO
1bOvKVdmq99BdRrp90RNsW2U2wWaJhql04npfqifhDq8QCCRCDv3FeywJVdXWElcJT3RTgO9J8tf
dL960lPhueur+0XmI9D8zVIJoKbnZvTOan3cAw88tIJk11V6GRg6+LszK+9ksAGM678PuQo2Gr0b
LBmq7HGYdob6B2aVq2agVvPilxIUW9zkbcUo7kqxOzO9p3JeYAUQ0FGQxv95NXDbxiiJZ2ja1fhv
INaHPBZlJFxM3VTenq3wvCtifn6ZGlccjlaLCwi3++qsGVU/MqIwGI4VJ+niACI3jyL0RbAG18v5
tmh5L5VNqUIkAh8DRcC9VEWqJUG2MM6jzQwiINFmXDtyr0pSt5K6u0iJ/2hU98PYeu3Akeut6o5p
43VjeGDWCBOa/feXwon39fk5VoeZNAQ0lMxEOnbtGzI7FFk4Nvs5t63hkTOaiUub/kxMdKLn+3nQ
1U6Yq1EQ8iYbjuaIrDyiRh2mCpOhbYz4VTd8px3DLUZpUWdugkW4BqRML1uOOWtXA5pHRv0HOOA+
nh+b2KcMIJy5jOXl5X33cldrKQ7iYRhFoict9OaLBmvLaxo1Czc3uJHSzpXizKE9Iu0EZ8he4795
ewcONUfp1/SvDR3hoAcgTPLCnnKLM8mD+fWW+zx5q3vc6iexjieOXH++haNvAwJ2w5+CzYAOBW+H
CoaNVD5QdDEHYpHwa3KeSrffDIdw3x2M++GQXgwH/XI4qNtxM28s++0PSd5WvQmqq8gKjqXXO8VF
/BReCbfjeyllduCh2CgZ23iKOHBh7NL5C+fIhTqzt3aZ/TTZmZu5FE5cxHK8aCPbP2EcbsVN69Vn
QgrtHT/+9QWxzwEu0hPTVgvINIa+VnqrPxK6e41nPZQuBRUHGMAm3cSbygGu58i8O+lC2wQ7bSO5
o/uOOEFn0vntO74zMC+ZPboK10/o8PV95jXbeAMHeNNtMw9E90b2VE9xmzud36uv2iZ0jE3CtTbz
00RHs4dD7Vae7mkuv/bGHi4Iv8dvZg+E79AxzdGVvlV+TCBbBgfCP4iVh8zZ26Nt36VHHHqeMydz
yMm8xKF/6iD2YLdHwcPP2DU8YM+8lcJ5gIfgljfdLRpdeIxsRC84Wnx4ze2c9AedtAuEureT8wZg
mR/d23chj/QjfDC3/lbaKPzK98urrjz1ls640+w6m7dkq5tw9wiudjPYg/2U2deSfR3Z1+B2QN0Y
tsEdDY3LFp15ozuRHTGplzQq+evZFRbwTmRD+3j/nsh+qezNzPDi/vnqotlfgZnxbhp3i2WQgwz9
VeguX10+IlyHDUouDlB3O7UhKdrPr7n9fHMBxt3GSMmZ3NfX5QvPRPb26KT2r9Rm1x3wFXLRJveW
1Sg50kG/hmXCr5rvI7B3FoCPv4Fu59jb7Q2sAxv6thu6lcODPYCnZfC7CDTQaP8JN/u73nkN7cfQ
Jiqx5c1r/dS5z6rd8FNS+/n5F2UQ3seN4fwxHOdPvyv4YYH9oNrPhQO100Pny9UdAmieLHP6HZYF
vMVfy/8aV+XR/E3j6rbJ55j5Ndrb5197JMxctK1s1XmbOT/49ymPePH4a/sncwIPJTSAS2hZ8qGV
IyAfu79vnMZBHtked5mDXZ4zu7P7YP/xN8vTZU50qYNn0vf9znQFb/nWP3eBvf3znDOFJRNjHWo7
92o2b3WfewHQpmX6TFty5I3iKI5xwC6ACMs6TBfCX+OgPMkXy9/7LJHS5psV73XcDvvp3qSKKlAu
VS/Grb6zAqe55xC+x1zvcrxsrpvr+TI/vP+6La7TQ73NNjXFWfn46HjM4dW9cwBmCGaq3kwO7EBP
35IVPMGE0ezaJfBjm4Dgd83t8FTvqf+y0fTLzqldjDY8IrvUy3s7FO7iYT+oOzPR+NkIex6CDRG2
Y3rBJtrkW/ywLjv76TcbPdhoZwKNrxn9YtELLkdZ2MfUN1aHTzDE5cTdL4LYTb1Besn738isiv2R
31Z/gsqTJ1c+UwL9Et28j7lYY0jQninifI7oRaRZ0IRgTKkIN/J4WQgA+uRfC7dCJ9dO5XMP+eUK
ZEAgfODgF/YzNf3PAyZJV+JrIVgX6gG7acvJ7xNsAivskdz8TZoojNphAv3bFQM0GM5cwCen+OPo
8ufRU0woElDxwSUg5Ic4ip1mICJJ2bjJrRT2+z4gZ59DN4k4PeNzLkSnJtukeQcsGXV5UpvPo1dm
Ksp+rM7QrCIw+Zmbpwb5Gzei+lNqCTzKZPd9GHZiRAVRZAaEK4WUzSqaROpIqITJmI5KzBwjCzkV
PVwL4b6TZduCOJNE1ub7IU/NMfB3y2BNUZZCfOXzU5L1B1kgmOM7wru5JAEh+OvxtacjSklqoTeD
/8CJ8vtxl8n7dHUvAg94TFuo9oP61tXPwzZ+HsMANsBMyMgLBi8oye07jIYkfXTO6jZ9DW8hkkjE
CItc3OJ7udo3jdATKuXRfIyU0tHSArnA8CJj8wTWXcQfDa3xlLndDIa0/f45Tw4t4/mLTN2yeZVV
p3Rx8ylzdNKPQb4IsSNMnKE9zKZFT5E9a5GaaaDa/4dRl0oLY6JuDwr38/SiS5dqScpKQlV1T8ln
50sDeg7oouCopvLEVjlcCsmTaORnhn4/91ZvdnGIhwfBuwVTv1rEhRVksyYLNPH99kE1gNxMgKwX
baYwOXZFsVOixyDbJ1P3A1b6nQLVS6HGNulzaCd1dbGQxtpOKJ3CxNQ9ysqGr2FEw09gPWYiiF84
KH0n3gqCBeaNEDZOY9sXA7jkcEiTTn6RMAvqBuIks0KrKA2dqYl0GxrH99P8pZbGsgJtTb+Usq7x
RapAQrAzyjBr493+9a17awxszkrHr1xVux6sTSD8+12DcSt0Kw1zeKZ3tZiyqRbTTg+npe0Onimv
CcSlS1l+DZVzogLLBly/RlJaSEFcbipEus8rqBbDSaos1GZZtLTdaXrF1jMiJc3wQNW6l7YU1aze
Gyo8tx5Qfv33M0udkFlFcUHiEP48ulkmYhlHy8wWN7Oc3VR5htAH2rZ952qJtPgJY4hTqec4CSeO
JcTwF80Z+I9csKvF29ejNeSVRstceUqKO+QWmd9Kvzx7/n0F/7F2ULhRdR3CNgfvKn/rJUHEWUfn
rE8GIp0CO7uy9aQkggsxw7Vo+0h3s3BECwHQHzeRaHdVQeOuPsxl3XKKpeaG5Lm2K6t86ozM+/4N
fMkv3z/fQt1Fohpc6+r9o49qdkXWTscRDy6rOqQt3oQScoFP349z6gJiFEhv0NBwtlvHNNHUdGEx
VMA6iQGRd30KRrBMAqSs5QpC8rhcIJD185lhl8+/Wt9LFRzheITjYBytLiCJHq1vQrJGRBR/577D
YmG+NiNxX8Ielhv1j6CrtiFFPxuYx7rYulJd/vj+M7zfrevPsJjIstRYCcq6JacNcE0To5mPRhAe
scDyxGp67hXtqhHzHQDQt3QON4mAUlZAE9+plehyMseHZgKMx0bwCxaGejsp8UGR5+tCDlxjNJ3c
sn52Qnbb1ZY7YEAbos0zacgcD2h1qf715JOYYzepVuatKfh7qctwhFO3/YAecZsobiU/pwFaXLFe
b+SIIFyQLlJVfozwpy5TeOg4SP+Mk+hXMsfHwU9381xKnj7T2+sM5XKqLexWB09IAMgLoVtT6vp+
4k6sTShDGC9iq8wZte7n4bOZpULAuxuNR+i5mnCUcqSo/jWYCqlKGIJL0IANJdHR50Ooaqnfotkx
H4vJg43IEQgcjcD+f3mYf0ZZLcRMRep1NhmlFQ4cOWV4OetOfo7Id3LKwPGJPAix3prMoQl9WrY9
wWw2eWK2OF4EzXKwff8sp6IdRCg4sAHCgnxbtzkjv4iEMhDn5daIx+7SzFE5MBAxQchc0M37FmmC
LpNeDescdfTUOfJp6GUGPvQgJKuU0z6R56NUwuhEDrTswh3eNIdOx55AnPZgAe1a0vCzrF5K5RyD
9//z6MiOEAtQfF4z+moYolprSvMisMr9Ykf1q1m8AlGf4otAuBbz26E/B8M7EYAsNAf4XugvL3H0
52fGiJhmwgwknp4+Mid9HLpmoNiadJh0bufJW7TNv3/FJ4fEeJpomi1Bl+3zkAohlpCW6JJW5hUZ
Sjk+SSgwXzbCpRSEJIP/Q/xMJ/mf8VaPWOeYsnUhLEEz2iXylvxE0A8BZOgEJWQ8Um6or/77J0T/
kriH1ARy5upmTi01Mke1Jsn2kQPZ0qmsml3vAVHPt9a5HPfUvpQ5/aFlEq7jEPV5OsHKtVUVlvD0
cg8zGvRkwVGev2SXuGV903wcZsk8P2yOyjQ7aWp4pmVjDAW67P2zPExeJCs77PtgIj7PfUsmj9eW
YcJoytEmldMddA8nqM8ZWZ986CUhwyllUUBYbdWoTREGKf6jbQ3mhZsepGXUnQlhT2TTiy2rAd4C
DRppvTmk2FfqhAL+MaIoTcsZRHHgv7YSvqfo4525kk5tCwC3XEjAS/jNatEowIlnNU9QPdbH65lb
2JxbLGByDDOLq4WgPcfgmIf5zOVxZth1YuvHadopKsMCGLDIkJBHgBdjxT8QSXAyAd/3M5N66tVx
UKKPLWuEhuuwVU26SJr6SFzKBUY9P3Z1cSFFtxien0l1Tq3YRVNeXlQgaCqv9v0cVBiYweNaBhqE
v9y8Z9HzJ4/sj2OsL3hhJo4oKKeJXelq2kVjmtcjEj+NQE9U+Vs2KtbbvpuU0c33R8yJNGMxn/vv
w63u/CjOx5k8ZD5yonGcwUvRKFdCUDlHM/8KfSKGQUQeBDBlJekLoqQo+3JqipILeXge/dd82ETW
k1I+hTPGmFdKskW5npPt7Do5Obc4FFE2lJG0RSr584kTzvrc9GM3HxXlDo9E+taSep09Stmu2SvB
LcC676f0q0gfT4pZEJAPtErIHFdHHBFtabVaMR+Fot1rveZGhUUfoTYRtcCXolbe2nLyRq4LNSqA
32ZPiIrEi0WvTQh2X6k4qpbGtphNgAe01f3Q/f4TnjqPgN5xPJgqUNl1xhGUfTjMFEeOeb2rmhZS
p4J1pmmXVDIjtd9X7TmjhJMxEdVLS1UMlCUIFT6/hBZZPhVBEyJYcoO2bo+pkexzI7+IUMUpB4SB
sjn3DLV9XOp8vqI8ff/Ip9a5IcqyRjkIG6n1Qd8YGBBOMYrgE21uyULUJ0MkWNftMtX3/nmhxpPj
UWXTWAHQz9e5ZJiJQe9XI6t9vmrSlChUwvhs9rDTxfwX/zUDQTCTK00Idv2gGwhzBZd+W9uNZLiL
+FRttMdxNK+/n4avfE3W5qLyw32HjiiOSp/fgyzN+Je37QyVWnWRcr32+9muo8ktMvVGaPu7Xnk1
SnTPZIRDR+QWIkm40Pk8w9no5uSa+D+cnddu3Nq2bb+IAHN4ZaikqlKWJb0QTmLOmV9/GrXPxbUo
QYV9YMDLhhfENMOYffTw772sdqpYiZUAnHO6AvpD8Zu9jjKwgwRb9g4r+3baEpm6JKBceAULxLqu
QJZxL2P5ADNLXC15dTaZeUuEylWpwKsO3xohvM9n9WwF15Omox75LefmWTDzv99f+Ksd0lz0zfA+
GYNrlq3sW6U/BOO0kKAIUV1yxFqECbJ6bk2nHq79S3GtX03zJdGBuBD2SBDYj9+6MCZZ6aR8ukq1
O7ZjM2YF3FLfNIlz8VpfPtw/11q/VFX2mzjiWnKOL4ul4x7e47tpXkeCYueYxke1vMOj88JK9pnW
y3imNAYYEi2RFX41nkVpVMpK0MAh6RHDMhB6RywXumdT49GunCVMg9LNDAkLm0fKre8/6Zd7C5AR
zj2LJxUA7MdXLHT1EOnGxFJPgqO/780DumS3n+5Q6srB40Ld7OYL+8tXn3XxYJABq4jLXI9fXSpk
dVKYNnNK2gORU0sWzGjSc+39rR7/bLEOu/CYy1FqNWUWKyB5qScXp+PVSKobvegLtZzIN7wXmxon
X0JjA+UUWYnbq9Z9gsNrgeecmqlg+drmwuW/mLHkZAKCYuAIMrd+y5ghwxCWsulKlStPqumH96/i
XOLNWLr4BWxCpEtSEBzm6lIP4YtlnP4XmxYYJJF8a8eLgM06lrV0vgqDBIZA/VZXP/KqvBmEeSdf
TAJ+99Zfv2cmKjuGyPU+7RpyVOr9XM5gI9FwQpS9K1vRs/TsMaSK0DNa95jSzkGyadrsOLUKieMW
+Vn1c4tQ1TcT/MEw+Yyq/dCIRyj2diKlbhCKXi0mbsHfGZODYW37fgmT0myVaIrUN39Y2fSiYraD
EPxAj/EppAtF3sGWpudfuTA2VVc/aaLpEvVVGfWlOfxFJQ/cCvpJP4wdet34Sypdyi2DAk0T5q1O
bMpigIv1/uNkJOdyis5aoC4nCZEMoKJ9ENXaFk3lsdLE+r1jJQrFhcPMl5+dPCddRC8Al3RVrSgz
cENSA4dy1B+RYNGIpNWQqW8wBf8PY3thIS8xUpCS19LMukuTSA65VJL+0HDPjzHPU60nC8pexoyq
skewsYs6xq/qgOVq1IDvtNy1JD1VJ/zNiHa7ytmJiGd1MyPdL+r/CWgI8A7nk4HQieQpG+QtoOAu
zo2BoAWcyWiRff8Ovtg7jAU8wn6JCc7p4OMiSiHaJYZWzVdq82tJFm9PCWIXSPEGnpIQX+MLq/YX
11uavUAcvHhUH6vrCdJYhENMxzeppR0d35l0u7L/Xaat28C97xYvCUv/7x+S4heLO5VRxeq9QquS
GJOtOZ9wGiif1cm8Mjrp54KSpfHzILUODViUGZes6b/YKixNZelGvc7iuR5cfteoQ9+CRLInlgMx
HtEVxzuSCn2OepdOeF9djOKeUx5WdmxNq9fam2lu+H6IisiaN6BjhNA6oYKnLcN4JJ5Q/j91eGl4
AjcStkMPf62ejoI6HwpzQEmkkxQtwlGq/2h+ditUyq3RsSsQdn4147VrjjGcDTMiO02u7KVPkWvV
ZjCXVj8msH71WuEE4SBMVMjSi3zzSkbBEcbtsZWsPVEIzzCUnQav1nkxkK3ok89i3Z8TuSv2mZ5s
9UK59cneM6v+SDkGP0K5IKj+atT+86zrbxlkfi2nOnjHotUdwRshn5GbJW/JX1lChC82Bj/7qhP3
QcsBCggp50AtqyFbwDqRKViHq8jE7DuQ3xA1PbZ+dSuIRbg1rO5WaIQb/Bc3y0CW53JXketpZsJu
0nzbMhNPaIiuSBvTLbNhG9CVEaX6yKKUOUUjeKJUOaL5isNiNwRenl0XQZ5eKF0+u5lz8DcgZoLI
W0Dha3JUnallrMz0bxEfHSUKQqW6SokKVWcSDDAzb/X6qIbpVT9YTpKIsW1NMHvb0XwiIPO1Fn/G
HVFS1fA379sfYqd72BBcV6Lp4bX2OhcGMq3tIKL4Nd4A2y7c/X+Soz9WBEtytYR4hLMzKJf6cW2c
A0HowNWw24gHZAWBfBQDSfHMmVYCjAPJnmXjRi/KuzwK7/Ue6ZHRVlgXyySl9qEFpdKwZmeWRnIb
ajnyJl08Q5o4tWn9mCrzYx2gJIo6TI4HlNFmktl9Nau21HW5XcfhiymgHKXxetPjXDTr9Z+kJzlC
JwzHtPyHMTV/+ogFcuLaE4ufEuTdvFG6YF8oqluYnOfK8F4OpgBDy04jWTwhJCKMyKAYy6OYTHdE
0Dqh0bC9YoarBckZGsA1jbazoSUYNFvwQwl1tpcZ6QvTQZ7yjST5b6yv5xHUQMElxo1ImbkaBOGm
CJMHdSiRM4/C6NFlwtctSeOzlCbxSc014WgIBKBjUAspo9BqLy0NdFpj1G/mmsNgqvmpHahNTYOz
/EvIibypB15JWU4HX+xfMqQyVjLe4Gp30ptOOib6PG2DtDVdRfX/5k2gorRpf0ZVhIQkNQgqMoKH
rhf+GsEExG0RoCaS26kHLEIjCKad9nFElZUS/s5KvW2FUbGJjCVRXTD/kPVwqSv2eY2WCc+hkid5
DobVmlUglkTqZhKyrmxERZbpleVEsZU4OV8SinabObosvEVVEtmTBC9U38+yeasm0rlvUtJsYThj
iH4f5AGGdJXxS+3+fF8LrAoTMHJC3Bb5DtUQN4klxmrA80GxjWjDszlARCBwadaMU5T9yug8OVFm
cYcoVWJFsONJteuUGVvBjLc7qd7SXw8vzcCPZ4//vR+wAlrz0D+gEX28H20iQl7Qy/Q8SnZYXnOy
9LtTQ+IdBsl/dOxO0eh+/wo+LvTvV0SIS42gAx1x8Fi9gXqcy0Ao9Pk2KFOnBTkcQ8WZzcgzFtlK
ljoEhdmD+fL9VT+WvO9X5Wi1gBOgwdTiy7//05dphsoyy0zyz2YyelL1oxaUHYZQU1Z7iRBcKIZW
0M//Xg3gkXoXlT5dp49Xm8Q4FnrZ8s+TP9hx+VI21iFv2kMlS2epIqivOhQ5jPmpvJpoeH//qCu5
x3+uzhRYwl1IOaNLurq6YY16XonBNQfGbQ19KURlPuVgtBj961b8EiaVO8zRTlXvoxI+shFvyYDf
+IK+ifvxFsceV5F2pYD3l06EkTBsvr/DFVj+fofgNoDVmkrV+KmJM3ES1Tot98/jpB+qLD2DyblG
2+C8/At0U7F7hXxi8LFYjLccisUxurRULAP7/+88/7kFkq9wH0NDy3l0deZvmxS7VWGIj5miH+lU
gwjeymqMWP9h9DEwSn9OerhAlUelxALJvCFueDvPl9pZK4jlP/eh0sdWaJ9R4q2XLFVpskYx6/SY
jpJjMETCN1NAUFF4bdbYcAesxOvTS3XDe/d4/fgqHUER01Q8x9XV4ytDbFlRo0THbJ6u+klxkEuL
Y2rPjeXO8RMvQ2iyH0Xadnbrd49+FjkQ8G41bJ+EaIrtca6caQyISDADhM5PtD01THAKNijV7kf1
HBhPmObvVHPc1ppET2L2hNbYy0nmiYViS+HPIaDaqJ5C9Ju63pa2NcuHxlKPgZZcZ1PpTVJ9Uwrl
Ax6Jg/7aliLe97dRywmmG57yZWkPTNZ4NA26yDDPHUFDyaEeloR0IWmwXxg2onZSJuqzIdnJAkR4
jB/iDO25RKGhYaATnPusegyGYBOb8B3LJ8K6ty3ZsBYQNYL11lTcBRaRxmNU8eOiesfDVvWjHkJz
DMhuEvp9J+o/RbN+s+q/Od9NlJLj8k8X5syyLn76YiacEh1/KM7Sy7r6zwpmabHW6XMVHQdVdBLA
ktRimKr6dWc+MUwE4tuXqrMRSSJvLvEf1pXa/45T+Nkm5RMe0u8b2z+X14ZaHauxSI/irB8Zxjsl
m+2hKd0uj49prm4KXd8nRvxXmuLNPFGkpZX2aJCqHrKF5NJtGovHrAC3QR/aBcQU6q+h9RjK4QZp
H4yDYA/xfKOCCklquxt08SHORUclgHUaDuYUHuljR5Sj5L5btNFuVUC6OmcU8F8rf5qt/l6oq+tK
Mrac1JwEIX6fA/5XWLbyA2tMWabXpfg1qZvYe/b+VFM/abY0aAQglFsJk40SjXba+LtkzB0rLj1B
pH4rs1PFDXdACWGOD6lqbNIpOFREP1D0wby6aVpz2yeWM6j+Yc5mrxTmc5gOm7mLnKbQd0blu61c
3Y2Tv6m7V7VSj7qe4XQoOYUmOmKXvQWjeehD2bX8ehNphSND3km60TbE2U0Hy5VS0W0IOVGzzeJo
o9bya5LP1MNEO461p9WTm0cyGU7IbnQy6DSOLklNKmR0YXtZYdL/bySgxaSWMUCHVxu4ju0b0ReN
f47UZLNkIVWWvq+nyFaC9EYLBseCwSjpJJUbTq1i4q8WGx2e+/fz4XMZgYM9Gwica7KQrDX7OQ6N
POZg4p97TTg12VOddK6esnOMuRso1XnmXBMFxoWd/aurggRC7gLNweRjtWzqeiKoRZUJ1O+M4lzd
WaO8CfTwqiwGglVEolAkN72UDfHFJsGj6ha+9Vx8qV8+zn0/Qo8RS5NwzsvTbMyOJXmjcor51q1/
FmI0hzATw0v+0iu8dvnS0JH5HUwcJJ4C8eNlrSQVOaEZKGnDxpECtIyydccW4Ar129C126kCMRQI
9Khv1RnBpmgcmGaDWe6F4Kdfv+lRtxF1OD3taOOUvq/N7mzGBduc8haFze3ckKQxVNtlaU5TMhBN
wS0LcyOJPyFF78KKxxRIQ6yjn3kvH+hEgOVxehMLrwzGF18PLgCjXxRukJGgOy5UbJBDY1UmikYl
Dz4ucsdofpRafEAz69kUrHOhGBvsJ3ewI8y6tnvCihy8IrsLi7y+lGYfF3nKIeoAajeWWWvduu6y
Yeizpo6PoX9iKUQwnp8SgB1bzt9U8pwiPdiUPTHR7QFOWF83r0VVb3QKBtFkp8uu2xJ3oOG0bFa9
0TV21KU7KRN3bVu6cngw+mzXE0eZ+tJfaRGmy/QUBoJxYjUn9dMPfqU1mr5um0zGCT2yOqNGw9lD
L9EGjG7eB240VHZXl1shCnHIHDH+Re6XVSTISc48DkCaxr4M85d0iH4FHOZpBOobIdYf4zaGMlvf
xqN6JaWtbTWkXsyV18rl7vu14XOxD2V1Md0AHAF3XfuEprEeBlWcGeec9NxmLp2shWJMxkw8ak7L
Sfz7y73bZ66+Gp8NrJUDBseaNeczCZpZ7iY1PJp9tatbohPUt4bXABrhzGX8Jk4+eVWaJ+bYJ0iv
Iz48BYJ8XWJXyFqCZqONRvpRnr3FEytYLnBwvitJMMp6j8DtXYuqP+JImMMhqTk+dMZZ0YimjKaN
YImE7LQbIvY24jBBv6jtUsQNYsKSic0tZrYmhFOOyaX4+Xda1+qpF3WcwbqAGyir4cfVoaRKmLRa
gHucZDsc8O/EQCEpqTJuRKNjhFZsQAvxoX8EiJ4x151ghJDeNEgBKSugNhbCS8HyZMX3ajV7Ferp
pQibv6nJuamwvMGwzkIX7bJswezlm0lgLNcqkeix8Zwqla0H2sEfrR/ff80VWfx91Xv31CMtQeXI
+D5H/6l0xD7AqMvU6zMx0Tsxyraliu66m7dpHz3jQrBXqogu1eCSk7Mx4fI1KkWOsdAkHxlk+65F
k51O12L6Z8jOQTnyzf9G5t7ye1sJK2h+4y6B8M5HHj1zwEVaVP9mbf5bGrHtD9S7uIv/5mRZFXFy
35QaCVLGFSY8DlqK+2DCsMaUTmkm3hZNiJkVIXBYlI2kZC1Fp67GVySl20MqbYdoctIqJp3uVROJ
8knVDbltF5asL+aapoP5Q7hgJ2bt/DgKJD825EBT4iMofyGdWv1ECUw9etFx8yO2w2fhgMSRGh46
Yw6sc7UZDTPhDvpQZg/dW3OWrliupNqOfvfDhQf6fHw2OLMDSIKIyGy5a+3PWEvYgUAyvK5RgQce
kwpgjlPH7PgR34CKjOQul6BupyAY73cVelUDJO9oqh1dQkjfLdQ/TDJuZqm00JfxG9X3x9fbGdyN
ESPMwcRUkmzK0Sl08pCcB5LabEV2G90OLGpUdCws4o511V/pD3NgMxXnzI6f4hQU0Qlk2+QkZzpW
6GRH/z6TiX/DxsmmgVrhXwDmyZ+d8jF+TU/dLzOziXmbBVvB20OxEWZEF2bZO2Fy/WDoAxWCQhZV
xnrNHEM2G1WapmuzxyiqlaQfARlhhoh/iMbNLflkDd4HlmHXjexhN3gV0MKDxvXUhsYhTkilS0mZ
E6LDzKlZ6HC09Cv2Mc6aSm5spai66aT7ZNLtCromAX4n1ahJVTBviil0Yx+rQoOk2Eal0O/V3+QU
bSvhl2AqW/qGbg5CSM6ZXU+yq8X6G2TTI8Ghx2JUnTJW7ypRpiPwojbsf1XtxvmwN/kGKihaxCml
0ko7IdZIaa6jbn7KYwwGpkuUVPkjc/N9RliKhhMQMArBZtLy7/8sVEYaK0kVCvHjcFB+i3fF4pRw
rzo6GHRuN52bqnv1pdmQNJcjSD+Ph5TsWEx6nPav+aNEhnJhH/x8MqBKhIuzTBtagOAKH29o4V5L
NLWHY2YSN1fZeK/YBErY5L9P/FViGxrc5kjSnYBboHYJS/lUnHN5fJOhwGkqAerKaoXwBU6KSZvN
134WXweTuEnTv7GmnIJO3gI2b61ZRObYXpqjK6Oh5TswMXFlotqAQP9JoK7PeR0qZtw8CvfRuTwW
9ngsb9LNg+6wLz4sRgS53eLcUDg/uiP9tL2wFe3UyZ3W+1na1eYt3e+6ngyUGvn8pcCPTzgXZoDk
q2EJtihUoUR+/CZx2UgdlJp3D1wsxqnpLmyXn0ch2z/dJ9446mJrDWBlGtC5WWIPTqvNgzeagccI
vwc8HaGAEN/Ru1rWOIvVuFRbHt09gw6TClV8yb8AvPxdpEi8M92DFu/25Npm7XwsUUcNWucOQnFF
2dpHvj1qhi0p7UEzfodi9IoK2JH1uLP9bL5le3LbSjo04HhKnQErjx4xoLqc7NHeNo2cON3seyHJ
jIlWu7IuPDeKeMbt2Gsw115MbuYER4dcfwYM/RGKJZXpTNqs9XzhbfG2P6560ADYJBE80HWEMPzx
axTVWGekjYyI4R5xI0bnd5Fs/bkug/kIVwvcma8N7391RlV7MQH/JvG5OwCcnIKzcS1cU6TH1bWF
K6NoC+dJsKfBVvfini3AOllk/ByF2/TMqqb8THfUNFnlWTfxSVNs/2+x+/4lfIZ/uUO6S3gXY7TH
hr7UFP8sXGx0UR5KfnAyzMeqJZUzerTyU70EsYq/O8hWUwNDQ+yhfom2mF7iB688DZcJCw+HXwYn
BEbtWlozW7Sxk2KU3rObgILsqsq8KJZPY1Zs+lp9FHIEN0qk27OJn0YeuME4cr6FrBnj51iwjtaw
KUK5+yEnhU26Slclm35ID7FFnFl/P2Lp36jagxRKO6rvOx1EZBBGt07HR+SOoYOz217H0DYLNVuZ
5QsMEOXzpKfLTAtAAiMBKbRWw6xDjUUCVjo/jBvCrUlBPoDSwAXeYO/hFNt+R6P4ros9gNzppj1Y
J/23dlA35lXoGfv4hL4ouE8d4craW3vDrS/A/+8pc6tZoPPW6QAs2l8cHz5+/07yyULLkTYFUXiT
6wLHVd23q0bqN4WPk9wg3xMq8cMPs2eibXciHVvSX31y6brC8PD0PiGrC/XS0c3uEOfpKYciJSvx
zmh/W0p5DKX8XmsTEr2xqw7mbaKSSSu9JkW+73BOzmX6k0ZfOJ2Z/mGksMMXF7bCz1sRk5ttCKNm
NmakN6snjHV5znuKFoHeeSzjUNjc4rA1hXd5WNlLeJIVv12YVctbW79Vi06GxRdf5L2rWTU1lsg5
3ZSWMJXGkjIHIf0DicybmoU11CxQnMTL8WJQ899GaP5XSov3OQXtHP0DoBi77zrOE7ftmLvFmhp7
3cU7LyX8Ib2f+5dGvbDjyAvT5tODmixwFtKYBav5+HJzOcFpgDf/gGvSSXKvQTwrtlcbU62b47Fe
IsSIDht2lhu4T5fMSr6ouhDr/3P11dyqUxlYNhu0hychJytt8E7X2AXZD9b572JgdMRf6ff5/Lhz
jP2f77/wVyv7h0svL+afdTMXjSkZ4HA9uKfBu7Z+PSS3OCsF28oNCvuHZ9o/nfvbq/lmsG/RkOM/
tNv9Uf5cYg8uFcPH109TkTMfTtny0rVaMKx/7iJO1CaVRjIkCRskDLzbLIYppDf2s7gzTZn4kEuw
mPx5aDOkUO3JWJVjkLMGIudREyDsxdKp8YRrC1thjM9MZz4O58GDkPREcyrYDh1GVv51S4ic4TYX
6ElffHZY0GxXomWxgX8Kh0sNMew6tVIeoADvnuJ9ge3bidH3sA1/pLX94+jNnnd/u/O9qwuf/X07
/PjCmVJYuGjLpUV2rI8vfAzmUOxooj3Um8FpN8/Pm1+M+T3xRftt5GyP4sY7OI8H9213QRq2rBir
C9MehFnHvKZVutZlCxyTidhOxuuxqTgS3aWFee5lkgYM/6BVr9+P7k/DCpo5NEnkg0v8CUZIH59S
VnqcTsqqQC7wGJnYgoHt69FjP52EcfAGGL7fX+/zoCKwDBCfBRO5AhD3aiInCLZUvVTHh8R2n/Xt
abPZ7/e9/dezPeNAxuCFl7letZbz+0LL5Jwmg5OsSeb+TGvE0sv83NC0SrLankJOa82pV4of3z/Z
evPhShSADFXJROhKNuTHN6lN3Tjmels8YFW4n3e981K4OPBceH+fmhL0CNGXAD4BkWnLq/x4GRQz
hSggxj520qvkl/tmsq7zvrHH3roWKeDQNABPWq5OsO73D/h+sv13YC6XxgzmHQaSIM2vxkrf1EKt
J016rKQT7t4ZxhUzgGjH8Qt5zWYO9oSybXxK3xd8cJa22vc38OkNL9dHcYLMBdIavN6Pj16I1PF6
ZSTHhMi7/pA1r726rWrcSw7gXtElC+T1PORx2eVw/sXHxESosHrcvEtCK8XA87holyOPlvrkI0Ft
T5N/6at+8WSYCS2X4yCPzG/1Uf2hN+UiEjml9bRoJVwee/4g9iSLxLOj1F1pC6FAfvwlKcI76Xz1
TeFB8FI1i9YLxMyP7xRaV5Jkcykf1Tk8S3BNJ/h85MM7zRTTiB+BCwJ6oIWQwtEorrpavE66ZJvl
yb0c1g9SFtyEhXjhQ7+rX9d3RbQhZ2eGOQvw6tWbGQf/DKzhCELtdhgJs/k7coqrrm84htJh1KjV
pPLBPjaH0g7a5zTEwGw4TuK5306T4KgJB/tq2s6ZgQHtqasu1kPLQvXxHlHgUQsZi0YIbtXqzalG
OVlqOOonX+5f6xLXS6H5UVuveYpB5hAzPepNISi0iPAz9INtFNPBAmTXw51SFHDwjzl2XIo00r++
z5u7ZEz2QZ8frb69rbLb/3bqMH6RHgDTIDbG8ubjZ9ZqKdMbw8qObfTTkgCIhjrbdD7er11qy63g
KRERqIl6yU7hizVDoasG5ZfoFM6da1i/143CMOc8uNaqfW/8DsRtNh9kwV6sj47Y7EXJq9hvkegm
5a5IHvRL/PFPvcVFg48Wfymd2Ms/i/G7MPczESpp0P006ugtKHXSMpBrYtthytJRqB/LZjjXnNjK
cNp8/9q/fHxkHZQQS2TQJ0crCVaD3MsiFqnDbEcEulqQC+aq2rVW6RZQIbJY2ZcF2uX+eSENKKl5
PRmkZ/WNE6jyhfMR3ePPg5Yqemlp4+3Cr9U4aJJalcKgT4+6nHl9rm0LkNtEyq+hHsV+vmnHAB1M
lbl6I3l+fc/x3Ktwhlk4EQWLYKQW21Ibf/G/KwppMsvUghgi4HQepIUX16Knt9HDpB0YaBVa/T6A
RAE2KhgwZoEgl4yBopm3mS84CgfAFvm7KdtFqjsJdBUJUYohl+44li7aujrBeLaDJabPjhTpj20d
beUciu3QuUXcu0N5Q40KJWB8DNQncSpyLxSTg1JTG8bzrDqyCH1ESfpf0CL3WYNHdp9s0OiQrDvG
/Kt2o9CwXHpiviwYNtGY0JBfU9ggKpSnYQLSVq1dHzc8XyjZhfjKWr2t21sry38qI3CZDuaQzDdz
nHi+iBu4BJ0u07YlnSNL710VE2WpA2pHUqexogo5FgZS7wp00TNf2kx02pNxq6aviVJsTEu4y1sc
A/NLGSGf6iCmgYWrGswClbJrDUhWUaaXg6WlR6GDsURzVszLvVUbfzA/m6aa1d1KiWOQpavIeiyr
9KrogivND6+l0LDlSXQX4tGFybGcGD+uoKj+aN1CzX1Xp60GY0haS1DHcXTETQdDJ6zf7Mx/a/Mc
VakrjY8LZ0z3nb44JuOdCC/g++t/ngtIC5Y5sJRRcC5Wm641DAxQg5WBwYxGg/69KMOYaLbRxdjy
9UkKV8alK07BBkhAQb3az8LS6ORCHJNjNT3msrQ35Vc/e1uCIroJbL6aXJqRAKZ/51zfff+U6wKf
S7Po8eHgKaOHWxdN2D6GZTjn+ZE4pes+h3wAc6sT3xQEh1DnCuKf/usLYsyzuOMDEyhYk3zcauJp
os5opfjo50+qXHhmTJhnJntYrc8GsUSlcGGR/eIJGUeALxQEUKPW6G5djXEzdVDVjOCOVYeMZ0k7
weewIZpf7Idqy6daDVrWTupPGLEUhWt1kFGmjaEpeX6mUCpsoQCm1JOkOQda25L7HCE4KNIXPyrn
U+iHP+W5OWXhQPxDXFwV5jxigyP8Gtrwj6GOujubrVcMRubWXXHslWZEPmKex0C7jWTtHLYkW8RV
t9PE/leuUUAMhpjZRhKG7jTU6Yb9/kGs/QDeXU5eaiHf1lWiemogW3DVytArSSPaGn0rXGujRVxW
BCUgafLxWGWjT2Be/NiEBPPGpnlkfZMf2yQiwXGssWibXrqW80SMB/C2HYv6Xm6z6ZTk6sv34+VT
/4oRyhtFD7SonUXaah8HzJD5egNr1DxHKWxocsAyfT4aS1aRiTJCULGfTLzCb+05bW8j9Fi6RU4N
q/H39/HpZLrcx7tVIaGWEM3WjazJypJcFnj9Sae7bbNv4hu2JYBlfRuyFQ8SSEf95Is4scuuWv+J
DbKwX5qpeFZjDZWXdlStX1b1GEeRIzSX6C4rR0XOPYj8kO0wyI0FkFlb07RBncaJWRtnP7tSpBs1
d+th4zOCNpgLFuENPB8l376k4T4r97HpVaR+yvvv39EnIQVwhMmXoqXFmgkitwgb/kGhuloNZ8uf
/JNfPqnNUy2ZZ9M0nZLGMPKP7gFKXo8TfxC7tdQc8/hPi2L++3v4/J0W3dhCgWSesa5p8sd7MKbM
L9NQbk4Ip/aKmO9pbCCVy/Z+K5wbM99F0NezXvLMJPCEoQmhrPyJa+Fg+aQzxsIuQoQsZ/02p2Jz
+kzaJ8VSCF8Crz7tL+/6Nrw6OFnxEt5TZf55V2lqaCVcpOk2nuE/x4MbQSUYI9nuBzzMykultvpp
iyeHjN0MHEcxIA+uS+08mTjICXp6hp5s99p0q8UY+cvalUz/t9A7t5wn2+8KV8WRaqpMuvbJi5AS
/Zff9GnuLeWpNGEE2GP4zrGgCufzmN7SLaupF5Ri2CTp5Bm54Ixz8YQQ8k5oZ1tWEGKK8d4szRPd
vOemDjdzNdnLiTxQf9WWdozjfEeG1YMKQTpPzL2Wdme9hODActdOl1ymP2GG7AVoYi2GBpRCfIhW
G5A85L3S+hnt4ITwvBZee1dIG0RuDYVmnVpbGbL84L9yUnKK+hxg8F6L/q6ztEcBglzXy14xY9lR
VDcBJuQlLc1I0D2lUPZqgmYxjM/Y9FzYxCgbVxsLTRls7lCh0cKnQF8nV2Vgu4M1G+Pj82l0K9va
kFMQuqDcrzORCqeniMOCHe41+1l0QHrsea9t+uNrY+/jzb6xT5vBe+asm+IyvGl/X10Fm9sr/fG2
u0qdq9OGSIZ+117d7fmhpH7Zyq8QY/38x3i3bVzvpTsebZsmz/n3jXba5vZZ8jy65zdkC2zvSs8+
yh1W+p5Xbc5ePQHVbc+e4p29ocD4X9yM3jneHUQbJNZy7+/Fo2irVwmRpdyEy5GPNIY/TmjvjJfd
4VHxnLfUub0A9ClrTdXiwrS40AB2g5sClH9cFvQpN5RKDscHDZKwYj0OxbQp2oHRThVZEXKoSxDh
dE4ggVfNREoWvT2RWBlrzVa35mNUYLIZG/U+1Uiy/BPpf6usPvSKsheUwsMY0CsgkBOMktvUG65h
XMdIpqY5vVCwfZrHy4OglcLccCEO4BL88UGSWNF8KU/kByxq94rxU5ynndIfdJ/o2BROTr8xIbmX
g/gUWvVu9nWvYr6l8iPuR7auPEztS6jfFvu5qF0fQpFgV/19GV0JMOQVjV7fJpN/kF9pN6ILQ22T
5GSemP2pKyw7z2VbDTEQl4lKsG7SurNjvBPS6gQtAOTTs5bNbXwZLeNCNf6pPU3vTKRlBy+J5oYO
YvDxsbOCLkssV9ZZFYejits+pGMXEPG5GYi/qXS7GYcHI4p2UYQtvhrfB/6lHssn6jX3wJkZpoCF
mw6kitXWMsxpEqhFbcKiLxDBjpi9phwV53yf57FjBepVrnNM6IjtxW+nqNK33kgAp8jzFtWdMmfb
hS9hFamXCdpWylPXJKNKzzobl/Td3EoUFeYN7lBeNxJioQ7bxXc4CTLO3J1b9/G+1NJT2KVnIfe9
sSLDRsk8KFP1RmsN1Ohy44ZDudP8Ib6ADbwj4f8WtigjIZUim2NXB61YayTbUOuqMVenhywMHyLr
Zmysc8dl/ERDcCsgwJjgvueOb4xuJ5JkYcCBLXEGGX9Gc+LURItqU+kkpeClBUtQ2+y65oc+jg7v
Y3uhBljX/FDeDR2cHaeJhfG05jKMqdXHxRizyOjFH8uPyEvoMjtq/4ez99qNHNmibb+IAL15JZle
mVLKlMwLUSpD74P26++g9sFFKdVQ4pyH3buB7i6aZESsNdc0+hau4qFItVvZkJbkS7EeZ2xl0NnP
MbrsqkNnJHzQgJvIiW+aPl3l9V6rBxbOsE4G9i199izKejeb61tRQNRGGHMr5Pg1LrJrGVFf4Fec
89EWgXECzKkMdi5a4LkM47GYo/Smb42NbeCs3ifrSS7vBTC3E+Jfp5nbwNiVqeI77VvenLuaMJ3i
LVeqc40Z2JXiCubYxTFEkvbCLFKw61ysQy5n6FLFstMaYZzbvCFbLFk3tX2MLXltzNaBxIoTU0hf
EQihLHY/qfszaISfWe0pl4iTtKMaDDZGeYLkSEfvW4eeXOP5Idl3rQxVU7ce5sb0JsyA44xe6L4K
Y9+CdyjPlJNC8YchA5fZyEO6zifttxNhR1D/RLO5puS5lzpEzcX4MEgxEmmdekbUD71qrZJcuKkV
u1IK/U6BJNo/m2bs6gYETrLLKu05lB4RHcIwMt0SoXFkA0KG5EPKP02DpMhnaXoKks6v09DH7pI2
uVuZvbppY9JdIuVOcYaVnBvrIb7JkmBltRop7T8p1z0FRW3TyZC9K3ihP0d5WofTX0ZuboJ2PzOy
u6p+kiRsV1KCtpQJLmOKLzoWQ6PKzsYdOhH0hBmHJSdu/LyqPRQvXjZd68wvW9flpwXqh59CXaRg
W/B5h8UgtZfjSoyHZZrxETLfiiscmMsa9OMSNlxElQHY0qp8vkRQVHnY5AOXEPtg2gtst5VNq10T
Un7pGbmOzge6mEfRCyAC+HydZjCMLi6T8P59uk9eDHM/b4xxVe7iXzrpdNVmcq+UF19wZK642FRB
UF6C9/j/z1ckbqLJyxa3U7s4QX21bcgP0V7ku2Lib1ZDsJMm2w2vRV18PZLgl8uLdvrDDZw5zefr
TsYQDbFcSYda/JwgOPXmWwZ2SAnkxbW8rirpiWnC2HqBgcj/NnS03C0saS3skhUY7aaMAKSE2yxt
2MYZdSV5nvwhy6xwbNbNvHUi8z4qGlgjPrjNjZKCXBTaWiWAMtLDJ9N5itHk0fntUp1IY33e2J5V
1/W1AuCygOPnpLMFn8SZgt390rEJpHwIwzQxT1a2hmhtLCrRcz0y3QFBPijNDKP1Sq31palerslQ
Ajj8f2jOxfdqTVSJotfsU115lnPb6vt4OsrhHh/PqNhG8Tpp1yRvFb5c+aSZpweMPa/fxZfTzLCX
AQE9PQwX5qvLqvqnU4yaJJWrVAQHPqx5Qo1l//kI9I6lzWAG+zL85VgtmbLPQEW+ku+JxKSUAiV9
BGZ6auV+16jP35+wXyYXaDCWyI/FKBqAluHR53tKGt0S5gI3mNOxhK6eUTDvIE9GOYj/dhg3/xvb
aARWVJiurq8WY5f90HIDLDNnwS0Z4F/eACPLSQ4okE+m0XpWTxbKCP+jfO8Yk1aatOmMp5zhxfeP
bSzN4acqaLkqnqLQXVAx0UV+fmytktFXh4p+isqQdYOTR90OdxWgucqmPRdY7005REL9WMFB7OwB
lHHwJUnxAwvEf5zowBaHcsnPtN+VnrImzyJt19jwbkVW7M3H0RuNdB1X5ylCFgUjITbrGxkbtSYO
8ShFxotfTVHCgkRhGPWxn+FsoghCVGN1F7fUIzgnwI5E/iXAH3W3Gt9xC1k5kPRimwwrDUuXUaxz
dC6xQ77G3FwpFb9WLbwkyA4YfpLsAdH5okMRnZ2YzNWgpVjbjKNMnGfcwwNmBDtSC2yxiQi0EVvk
yvMM0oI1vWdr16wEvi4aXJo+2CvU6xDQL25CJV0zp9wwT3nuiuKlEAcYD+qwC/qjHGm44PpR4xnF
/aDR2q9H45S2D13HtHpddlea92WXuPhokGYzCoZsDe5yiQkPTtZoKYTbU87oTjOEO5LYK/BAbecB
D5ZrSCX8+v+4IKIL/I4JWcFH6eIrdRIqkjYOhscU+zz1VfjqXvgv9kaP0X27XNz0aibjaNA850Xg
Jh8ealxX7+fdIfL6hzLeO+aRAqRaM5ErPdrKENfYcBWoxNe7mN94zaFY50dr9YwKMqk9Z9Pthttq
n9zXv2YvDG7zxKcPllbOmX/BJa0Q2eS46k8lghB7+0wy+bEnybBp3SWk3A0AvNaR7pqn3zBEFL++
qzZB4ymkW2iudCNe97kL2Kv7wkCnSmix3Ho/JnHoSBf1pcod3nGw9q9NDr4e6kvwBdUDzGzOdDa7
z6u9ksOoxr02XmRUKU4dt0O5av/UjUY/58XtsSIZzgmvfC0ff+q/n8tSH8HsQtbPJIjBxUWXGfaL
TrKPrFNYPLTptltF6zbpvLY7NjSAyW7ipVZ+aG5K7ba8NhC/XDaLoxnSCUgABFjgj3ixbGDGTqHZ
FdXJYQgaFW/NiE7UfJ1i9ngDF7JBv7JbfFF2LUFZH847eMbhzWIvG/0/p1tmKU2jEB1xqhs2TK8i
XD738PKaCFZM4Xi75gCcjw8mqKPXtjvxc55hy7poFzRGgdrm+y3+y4++3I9O+Uh410LXvhR3ZYYw
LTQyuPEGHC6W/VBI9k3f1F5fKQ+KnD3nQt6HeCmjji4p9PUrpeTlbnFx/UuauNGP7WhKynDKdMtP
7b8CxVdp7KSO9Xpt8vgFDP3fxSCqINtXTJ7588vHrkFWIkNJT3oLSV4eaNxGI3jAU+9Z7/4kQ712
sGxQjWjrDPkmSxmbaaXa+7GdJui2KKsdJLOLpDRRyx9GhgGInI7buoOBo8a7ypZQ96TBi6NnD6He
XJvRfgH7l/vHVEpdVIHs9pcDhyIttT7Aa/4kpPUYuEpM5bPSnDXTDnb4AKRaeJI4dQaoFCCNP49u
0HrAEumMqH09B1vU8P8PH5BJVfQxtmILvlhCiOQrZlm9egq0fE+K81rPUnfM5GNKo2qlm37K1xqD
trCJ6OKu6a3+8/sF9qBGXrxr5Mv1hEWgJsZm5rQBEh7smyk75MRxk2/aIvu2t5p6rJPXLP7x/WN/
AYj4KZaezmLyyVkGpeXzp9R2cjvJkTWe8sKfwp1uEfjbvqGGRXAkVX4c3mbCc4qtWrla96OQViWj
xHmf5rsJe490o2W/IsNwTWjjAVvB93f3hRf5cXd0twsbnuV9SXCwxgCOF/aMpxqcLMvue0X5I2Ll
wS6pUAd8R0xiyTV2HV27UjN+KYeWS2OiuHRptC5UAZ9fTJVWtZP3QCNdcAc1Uqr3ea8fSDKfVUyn
qqcgKw9T8aq1T+acUs5Z3mCWbHmTZ4jhys18EaFc3sxFk6/K+aCZkej5lQ7SbSEdxU7JCVPOcejx
MT9JNlq+VTZ1uEEMKP20GNDvFKx/+lvhIr3sN5S7QeASagV889TI3vhnSh9bRB7HsL2CFnzBfD9u
lmEm5RtZ9l/YuVJV1abEV3cazQ3vq043o/0Yd8dKgnS5Vpx7U8lcIW7t/Erj99+v6Z8rX+yLDmEA
UWnU0wkRf+S1pHqPfgL9gypgJKPtZL2k23SfwoJeoWrr2W0eMY8V8a5p1nWznYjMzn1GwdaegfVA
ZPi2GT3go/h9gEi1ra9N9z68c/8tGj5eFQI2YABaY3R/nz+yutU6CZsK9TSZ8YMsYj+H4xQ62GKS
vlKo1rai1k+aW1uLtnGhuXKTbRyMgtr+1RAUwvn8oCXZfZowAHKkVQLMVtYPE01/07z07eB/vx6X
2/lyu/DumL9BewPZ/Hy71ZiEcZhK1WlyKi/oh1U9wByVg1VoZOfvL3XZKC5vBoqfAVYJvwbric+X
ymc9E0pqKqeG5IU46A4RimxR/Y3lvyVKRa0kJr1IrygT/uP5OJSgBbMTEp2mLGXWP0VNPoggZanF
t5guATgJ36rzQ4J9QOJIV17lF6UrD8imgi0CljuQKC9Je8UYNfD3m/Ek751fKImmwh/6m6bdKOqq
O+Iii/JmXDXVllpKgRFN0B5T3L/giXhpFSWR2k+p7MKAlavnkoJ63Dv9DmKVMEjvgTTg2ySfq5iL
ef0bccfXhIeXFSdCOLZF80Os+wELfn5VKqMMLTMb+aTyHdbd5NZdcNIp+gZHdXMcHoJBulJz/sdp
gHE+og2+CGaxlPafr5m0s9kbfVKfqmi4TfAqH63fBo6HSRturX5elZX2JyyFF4v5yq/1BTjhcRc2
NV8FvRlUpwvAzi71yMilzjnNmicsjGg3kfHUqxhWyIfJ2Tbpc4aizvKEelCm1zq+rZuH7xfEf2yr
fCi4lZLKQVIb7+Dz04+mU4V1ptYnKcIRzKx1c6ei/fbGWPrZ56k3FtFdbt7ZhZmjWDdXMwd0rl7r
c74IPpc3Qcm/oHmUbgBsn29jnoI5yPQ6vY0kbCOyp2iy/KLBu6u9xRAgynyhrLvyYGk3pdEzYyy4
kd+R5ovgsR9/GQH1avQ7kzcW4JtuxG6kv1rym2Id9LDyYu3HPO4EzEXbvA+tW1n7ySiBwe/e0q5h
Ycv7+ryZMZNlokxyNf+DT/f5Qfqh0hT85MtHnKZWjovM3B+38aZdUxqvzS0JBld6lIsls5Tr2M3B
nYOpTZlpX/T3ZjznQwR4c1SnN7YEH5H2xjLexGBRSP0xRH7li/nw7frnCZcLEq9HZBm/GTqgyyeM
pWDSy8kiM3EaO68wG7cp61VSdK4sEB30RHEmLV9LgautPt5WpfYzrfGL0wY8DhB69BQLYc040zGx
nDGfStXyzP5oOxErnLNSSG8JYyClTHcREvBwwdOsjdMAD8XmqZSxLiM8LHVow8lqsR3scUW6rWWk
sl0sbcMh2hYMRRYOMqgfaEAD8BXioIxfxHht81i+yy8vg/EvM2g0ILyWzz/3qBp9gUB6vmtbaV/I
MZ0SiBuT9Bb/v1BV3RnDobCIbgXcIrUhUKn/v3WI5QcBHVhIoywhSspLEgAJIKg/RJUejWDNm3FS
RrJYHUt/bOPGbBFDJ6vUuqb407QvT/75qhdPrmhJYM+OGp5tZdqHDQYkuUIsRX0OuptBq+4hBT8n
8o+SUPpxKYVwusuxFZ6CnTbNj/HYw+l5GSTTbcTaqopXAFzOpXhbMhhObMRJET3Ce2tph1EfN4n0
YLbJWqsq7Lv1bU2a3JWN8KLV/t9bXJyuAdaxrLssmuaSRmkKRh32Aj4cSMHllg6AybSOD/RoSa5q
J26YUv31u779pZBjh1tFrUU3sSXcJP0R5faVpX0R5LVk9YDnocJezM5QuFxm2jn1LMIBPS8uKomv
jcX9MmyWRLJKKoi5gVgbWQEFWd+GYEJF9tA5rWtQWFAiqEy4h8cQyy88+HATo5mSzGvv7OvewzeP
jg18F5CIY/vz1x/mpSWcaFBvwtqr+n1Sm16Uk+ohv/XDpsHwqBAFvcGfqT9XolqH7TFy7qRqLYDm
UwPB4pWO5vI044WxI1H20v8TowxV+/MN4aWRq1mXBEf+qrrwy97KvMfTJPIU4wxfVPYyXHXrpeE0
eE0dI//0Kld9KRg+7wnLTbAtq1gTLQTRzzcBAVRkoxRqN0ad/5YgeDROfkjL5aeYkmMtM46uKtWV
8xFxv6NeqTa//iYLL4yYciYx7AiX54ERdCOc0FG5YVC0UmH74HzwqDl3PR5yLZxiEfy5snL+43np
oXnZzMeYen7sFP/UtxlEmyaC2/pouL2v+C02KgwuViWcru+vdMnb4ufVWJtokpirLj/yZbFCE2ZO
OLcfE757CzmFaafbpiw2mjz/UI2kdsth3KnFbSLjZFYQsGatbSpdQj+9Wr0RtvPcNUXpyqrEWoZW
UxR/Yz7TsGtvJ4dw67LazEp5rzAnWxn2wEEV8CE75UavqtfvH2b5FD9/JRgZLqQUaB0Inr6MpYs6
AOjs56NJjrRrzeE6S+WfUnjlc/igIl9cR6fKpK6FMPU1jBdbHVXtesk4Ng4vLMuhZ8p/K6HBkQ6C
zrNsTHdHZRuob2OY+YXdukler6NAe2qy/KiHP0RYNhiHZe+m2Z8tNCmhkq0cp31K1eYH6aWILt77
FCSATIIi1n/GSX3om7cQJcvC5vz+rV2CfHwCVIfLNo1pA+pOeTmW/vnY+rxMVPLeGUlk1a4KBDqi
6cayu20gtR4/ritKHdUM4QO58Ef7RmdC3FIHVorl6dFBxyFMDG9ycm906g16fa+xrmxCXxcg8TSL
eI6RKPvRZX1EVucszMiZjtpQeArho9X03nR0NI6fGqFr4D74/Tu56C+XV8LYn/EEJOLF3vBiVZhl
Z6mDJKYzCoGT0f5NSDuzSwVHjvQKHP0f+6sOuZzdnoIH/vDHP//n7dfYBCbDHCjHNH7R1Jvkzq5/
K/KzY+5xNUwptWtpn6XsOSK/ctZYX1/rIhSB70okCNvb5b7W92FZtr3d4rYJN7ikJzVMPJt0/hJU
+YtmpB101eC1U2bNzZa0rCCJQqaeDbYallup0plibVOF5T16rYMzBfUm7PONUsmbumyEP+lYUZr2
epZxEldomGfygZNwlYH4SHOho8yM70ykGTlgkyGPN3kVrKFdOlgi+q3A3a0iaEROMcLO3H6MTl11
38ZO4ZV56HXt2Pgsw9twtGB2TzqnH/9tM8cPUVdLa4YQa8WoAzdObKQh8uOchOeos/ZTgGusjgV9
pQ+Mfax7sfDNsNqeK7Cuwn6qwv6trYq9XeQ7I8o2kSqgKDl3SmOdzancpozQtGq8tafmSVTmTh+v
6MUuMBU+P464BdFEjQwX8vLMnSB19UXT4+LVaCvZOKt1eWDxrZC7eG1Sba3BWU1VcC1I8r8vS3UE
boT13mXaj952CVzCwTpj+mrp5BOsyxHHUs9qH6Lb6cnxMhgwxEgeyvdEOzQYujDs1lv3WiEMV/zL
Tr68gCWmjSH3Erf5eUvKy0Gu28Dojz1IvztE8y9+m0dTShl4d6h3rYpk0zaPXJrtt3I0zlIvHuLO
Ocyz+t6V2mOCV+5qxPBoZRDGdYAHH9IlmbXbttlZ5LBx8n74q4nsNinsZGPbTEn1SZs3bS7DI8KT
twmjwVVno3JhbqJmkuTUU3VGrFmORDus3zsTNoAYxzfWVrcS5nhOOvPc5Dhtj41OtIn50EvIPONm
3drNtpFg8koSLGerZy47htoalfSwGfoat0In/t2W8bkwJzTJvbIuG+zrzKaxtgmEFbcrk0c01mLV
Slm+Tdt6hTK+w2M4JtckLh67Ed2cNe6rQcL+duIoNovoLFU2QerxXRNRqORB8gZvl+WbE+foGNO9
avVPItIUZjfye1yQTow2KhoryRd9976QoD2SXXED5W0VTZfiv2jWXho1d+VASCAn5IsUYoE9qmrs
zkpTeEiIXvsieqzU8Xku5JtglnK/LIu7MME9fgp8R5eeQi08jmnHUdJM3GyLIeFcZu+5FbyOgum9
0Yp1LYaTXFaL7HO+n/qZGFHJIjRBfhhCTfKmam7O3+/4l5D0/1lz//8nZ16UmAH8xoqiRTnP2H7w
PC/01s62xB8SJyxU2mdU+ek9xdFwNO/wmlx05o93bbouS5fpezCuzQfcWKzKc97AhvVbe1s+IzsV
bJ0v39/r5Qzqf/f6kX5kQJX5YguqiDAZ67zjeFKAXiRcUkfTRVcCbRK7FFmsAtFuxiZwwyVwI9Gv
bE/GBw/ncwXE+vznBi6wpSnRpd6aHOmIVaNftuFLotcHKZBTZk/mwYwTRhxlRoILHZw71GThgLM8
l2qKW0CqqC4oe+0rPV10nfyABLCTcS3Xu/ZsmnD49BrysKRCymGXPcBEOjW0FwvBE61e6CqF1G9q
vk/MvXRzj4HKr7YJYLtGCZVTF/8oU3avIa4it1GY6pfDr3KURzJXZDKRDPVntdgSSHnwA0OA51S1
Z19SceUurCTzuwTv06Dh2FCjGQvqqLi3pPiuFbLp2VCHUK8ruPAqDn4UTfGjKCPMb/Xh3cnyx1bU
lJ6WbwfzZsyjvaRy0BQZKLhdOQ/M5jn1YmtfZNZOziEYxLn6YA7qW57Z9yINO28UNvlHvfpcWe0v
O7B+R2Is9qSVd0ezlklGFJ2+DnpA276dCz+rnH2YqwcrH34GxazcTFYTHKJeazZ5ZbJxSXaDtUDw
OhXGW50DlyQ4SRC02G1UkcjYXDjHzpDvC2Kv3YzCa4FW4Nlp9d+yVJ/lsr1VEqx87Tx/hOH7e9YT
ZAuO2IdhsMRENOVqWqKZnHl+rIuYcFYrReMTZpAjVZBGxZQwLm2sH6HaqBuzBaAwMui6Wo2ApjCc
JSy7eI6bGmeJyGlvysQw1gnTF7fsg7eyILmpmogIaor8KSmtt6kS9xnJsOt6MB0XkkXqWZn0bFWd
4+Xj/NgVKS7LQcMG7tTySosAawr5SPdKboUgN0Bw74RETeDgMExqw37UggCisCO/DxZDQcUIJi9p
jMiV5X7CkaB9rcgG8+ax7d0ZtNmrpPbvlGVgcn3yRo7DdpDtPXnKG8XIen8O0RJgScYoHNmLJKCU
WYNxEEYIBxt3Y8JUo1+WOnZbM9arja2X47obBoVokUSOjqUymedRD+HkdHN9M6vFyYj5ImQFyZQd
sas4BCx7galjtozpsGREh7nMX8FZ0I70VOiw5QLhN4E2p66l9AV9OfhhIcZHvGNeK6QTu7hpAW0z
s17FTb+cMQV+28Xce1FmHsEA3lJ1kNf46zU3UYXWA+bkuzIY2RqKbITOAIaK0KvAt80hQNWsv09E
U58KfKPdlm+MgxCFvjVr98zLKF5TKd1kDVsSeZhYgLYUtE4gFydi76RVHlWJLzm8byv+yNxp8Qg3
O7fOp+eJsKi1Yccdf6wKdSmMbA9lA7xf3RjdOFY4yaLueSASyxWhDvHAYHrYFMpOGEnAQAhpMIQJ
zLibysK+gA2g0TOaMsjeZabspDh4rAqBlhV367kLDoFVUWo0zr4qoxtcWRyQ8vS3oZZHxZDuIbFu
m0rpvRC9XizKg2EaFpqUNHAxhZ82TdsmgBDRm67j32ilhSD+ZdJ9u8McWp47ct4qg5ASKKRE0+CX
VncoI8vpl5CHeRPCF4Y4lh45pRGaUbEEbb7j7n1VMh+jenqxO6RVvUIeXDS7tRmxumNtIxvVvqzK
u4JZKKDWQe5bnFiD5HWItPNQ42xhjLjYOOJZH2GFazitiyLglU64ASZh+CAtOoB2jO+0OgRpUFqT
gC4KlcEaim2WNT+llrywkSmrZvdrp6Ia1I0Wh/c0f8RxcxPaNbubttRT+A0WTfgShvHPYbE6JR8k
Y07A6y7S4imOqYuUQbNRr2jPwpyfJU17TnXl0WzbVUaKdZm3Z7sOfiVd90T7BdDvGBC9dQyR7eg0
x0twTvRYR/HvOel/sgh/lUUTo1GyHBwqTOZo8fxDmc2THAbBKp+k2NfsHNvj0EFyglW9C7PiJS4Y
gQWQWWFp4leBGJGyTkvugzEKabvFYxQVzBVK6abWlQe2bPwtdAcKXKWeKXGSTRvKS/6loa5akFSf
DeR31nYVKbb6JtXsx7SUcVsJmALaza9J49tuyBtzLWm8nSMhPN1OXpgSQ7ebksKNUkqJYlG0OUn4
pysG4u0UuyStC+sfOyt3vTEiAGPcwrgNXW2BZqIb5r+yIvQd5R+NutT6Ug/LVIMWA/vGdLa6NoRe
bZYxybNlworEpTeciKAgSYGdBudZrXgUox0jNjUBJzQr8ktN/J2ZrO0SM51XYoi1rYKBT2WU5yjr
j7mQXLtxbktTBButixPfKqtpI9NxQTEhFylASudaVZWv1S6UcAknLFOW6d5ik05pmqKdKbQXsoRm
EKLU+ZnJ9gHWEhk4hh8GxnumBS9lI+HenVTBKWzqvdpVA3i/pQM7NZ1XlTj0cIYNbj7g8Z/2RYV6
QyZNwK4zkgIGVLdBgSQyTo9Wl/vWDAtAdvLxqbJjpCrTxBzBJX8JNxQd1xHKbUdyKQmEAzCuRQQh
q4tQVkJlZzQC9/AgXxmzM/sC5expksG/mgwnVD2w4lUrkkPnOKuwKtZaa/V+LTTVTcemcm1RMeXk
hXu2YvaMCzo2NOQkawdOQJv1GzWEp0pTrtwSfcdsra4spDxKAnm0ELj/IsMJEhw9q3F4Isk5WZkR
RJ9s2KAYDtxqjnOYP6Jbj5PyzkipcoNMPcj5vNUHXsDURuJ2qbZSnPRrpJVuMDR/OQzcsboLcKCY
rNiHh1j7dZxs1Qk60dypBbjyeK/k5VtCF+CaOp8sRCoA3TJ6kyPnPjWydy1QO85nuAsB7vhry6oe
RM+QO5LZNPt+3wfGk4lDqe2oz0NjP2t9up3bATNuy9XHeWdr1W+7TtZO5tzgwbANrfq+1TQsb8bx
tZ37dqsF810VWbsm1P9Yg/IkywH+KKriicAh96VIfgDIIOVR4pdqGO/bYdrpdvp3cuxDaTgbq8i2
qiI5V0DSS8ro/6m3FwYAzr2YEyyDjn8wGqONZEPo6njOwuLO6ctbo+mRSansZfgKxfW2KCWs6bNX
abDX1oiqTXSnELdhCZnH97X/V2SKynuJ9FMBOnEkuBiGyipTXRP7+JMkq6vJkFdGV0G11n1CL65A
U5eWtR+PDSaM0zdubxjxX6BgUdzE0gTue4xEgp0GFZFsl8dRQYLek1IqNE9T8M8hSTqUSN+dnf3s
aOhymz+dKcOtJAZwuIvQpRGV5daGvOW896MpQ5KYw2vGvAud3ZYKet0Y4cqoo9Lj/F1X0viujfKN
VdSPpqH8osRdx7G8zxaZDflp37/QS0uR5Snh8aG5A8MnSfNSlzWnjV3IU6sfU+CrXrZvFjhRpdFT
iZOVh1+Zrrkla9gojZuUkUymkb4WRatg8Y8pQchK5OKpvQmRLGDkoUEBJyGRgNHAVws045wrqfhl
JY9R9xJisa9Mvxq73vbl74CM7moc70pH8qpI91spJstkPEUjfUxN7kJar0l8glVTs1M7r10gH7Cq
gtGtMtebfMrCfZBmNT0mdsfG7TRXZy1wUL1Knk0B8v2LulR9fXlRF59D0VcE0hak2NvK49CjfjCV
nVwbroHFGpbuipuma9XACE4/dznxA1pzBbD8gpXyAzG80ywdkTLCmEtLVMkZWlQcVn4blj/6jvnb
/LQEranNtNDFFcMX2X1MdZs+6fW1p79ceDDVYbIgfIVEg9L9UnURaGPW6HUensbgfVaCs22Aw3Wx
Hxb3mvpOz+TZWEirTn02wCWtUKe/hRbbtczHcBQbr/ldf/k5lhvCVI7IJBBCmV/n86YUIW+0kzHA
4KLIt1qsYUEibe1pDwc0sAaI3ikqYLwMa3uTZ+rawiViKqJrs5DlR/8XCfi4C+Q6SJfhLagfcvp/
tsZUqbW8SmP5HP5FtJ0/i1/JTbMTN9atugpeg8dGEBzihnvaUaGszEf1Uf0d7sjlMIIVjnuPUEke
AsuNqN897VX8aicP+Ov7L/cLnAi8zgcD952NDDqUcfGqOMcarNQi/RzmVG3roXXNfVf/0LW9iumb
s9aH81z6Y7XBYaNo13iVFvPZGbfiZEErrNZkcn1/R5fI+3JDBp0TjuWQiL8AOHkz9aYa9SktVkPE
1+Au7lt6o7iSLBEU2PqW9Of7K15ysmwFbizpPlx0iY4zvuj74kS2EujMB3XGNiQId3Ucrzsip6NW
Ylv92Y9IRcV4irX6yjdyCSsvVwbN5tKIC/FmvZgvoT/Hs04d81NvP5nG61TlD+T94r01ulF8xkHu
zxLo8/3jXhI2eVwsdaENcVbCmgZK/7w69KxH05/r+Wk6yxlKdK/qvOBtfike21M7rEA9q9ZL4jVc
vfm+jnzIt85fqXEtKHnl8psnf8Lgyv719TtknsRXiHxL5xT/wh3v2pwpodzlp0Q2XgdHxxuzWrxj
+3OQBaseW6tqSg+K+tSFKehJeK5nYxlxbPMw2qY90dVC3M8di41dbzYx2sigJF1/eZfwOy8PpiPg
+zL7Z2u5qHe6sWkmXc3NUwye2KmJJ6v4KnCIxw2wRlP6zN/y5jQ2tl/nv+wFcInjfWTId0na+3hl
uzJjuUz60Y71TaEEe6vMdld+4EtyyWLIBF0KCSnDEmqtC7xWNgujYN6v31jK6CO1JZOmXtki34D2
3A6W7IZJ5E4poShGfKOr4Sbskp8l9kilFnFmj7dqYVFSSrIv0yTOJnnlc7Izij9iCI6FVbty/GTF
f2xRblWA9+/v/oOg+mnbZDFSWS2RGAs977K00mWR96kszWc6MQl+njPdm6O2UlNEh/NzIIPAxN5Y
Cnxvs5U0b2LpxVKDdSZz0GIYEoAAadgnXbmrL5s5bDZG5ww0EH5aeJ1/XjRj17VlF+szY/2nCByU
bFuvYEUMRerW0jYZnsSkvMXxkqiCwxD47cTw4vubuJRcs3KZ9yA64b0sxP7L2auYhBPWYYtn9AcE
Mr2MyrhqZfu2seNjZKqbkrWi5+2xS+FSOsZO2Mam1d9wY8kk+NQCutT8wuNtHJOwWGxye/7FTteB
PYwZC/PU+EGoKCfCrik1t+iMe7MPmV2kL/YS3hNjsWQSfww4BzCW8P0OXh/J9NKALo1crQNhnUtx
XUKx7IOfvwm6Jn2x7cOBBbHNUoH8c5SGAlQga6X+2HTkn429V8bzquuTvRKRlGyRxabKML5SvO9s
xnLMvmfrsdP2Ldl5s/ROX3gak+44ydr/R9l5NcetrWf6r5za9/AghykfVxlooDObbLIZdIOSKAo5
Z/z6eSB7PJtNl3pctbckilQjLaz1rfd7w9ZYWHsIjCQcFbrsTIqtK87ZqUc3OAlqwBiT7jT/BLL2
HBrRhRdsPcA/YL8ivNOjevVj61tvACxkyrEdv3VZc6ACoGHV74QqXjXzLhzmt0DrPUyp2U2Oa6DV
TaNYB4lM0FKy3JJIRYssxmCsnUQ9N5h+xQRJ10UAJz4GgZFoIFmOQGdbbPOjMAf30aB+Y42yJfk0
B+3esgiRS5+H6dJptWNOhp0yM3cwAORSfjSD9wbkz/RTGuRHgjVX+rRENssHC3VdTLiJ3aTNutcL
d6hlEOMKhsu8nkgro3Ky/bxYDSiUiqh0VLHxsqw9QfF7bphILDDWjqK/zZSNOaJn+vMAp7P/5UFT
SRJpCqGBzG8a8J8f9NAOcqUFWnwOfk3EquZScEzZzRUK19katAtoBpzUmAQysetXRh4Qb9hi9qXp
/Qkd9BkJ4VqcTCpLOgduKWq4YhWJN6rs0LSBKK64iV96jSg0ZDjs+4tupiAFNuigdAJ2jJWHfJo9
uS5+zF37qkW0KztSvgykZ10TeUIq0ttt2NoHTZJANEviTTOIZK8Jg+Lqg6E9zDzc85zV+k7OzfZg
CYlVLJ1HGWFrQp5jgg/ZTOoxHkZHQzUOSYiXC0zncZUmzU4X2/e2Mx6rllqnQPgYls1pFPp+3Ufp
4xjkb/KCe9WW/6z37dnsgmlrGs1bXgEz+IkPkKJWh75N91VLgJoFHz+ZXukkOJIh7pM8coO+eyGO
0TVG4b7OFf8O+vNOCrTxvs0Cn5HeNpcWii+2u+QR6kfSzACGuunDbLrGS3FDcDCICtxS7zAd08o7
vyvnA91dQDPMblZWJ27mysgcJcm8RCS5PS7pXPWqE+RQp+PR8CYssFohMGzRSKs7ZRx/ZiFql3SW
LlIWNvi66t9KrQc2Mir6REtccm19kJSkO/XCLBwC06RCkDK3rrLBUWvF3EYigXE+eb/bepwzV6/U
cjeVRu35s6p6vZq/dj65GACM36O+zwDFm9omlec8lwNEhtnYDlqtOlFfH41a1HaxAMNLFkDUB3ME
Jh3S01iW60oT1roRUybNj4FCeopQ/WBSxn/d13O3LcBye8vI3NaKMiZJ493UgnyFAxPWu8WQuaNW
40WUpVv6Z/V+TGLaC2qQ8hrKrtCUvm3R3XO0mHDLbJClO7zFvHwyGCFZ9R3Dvo/OKkx23MMaUvI2
Lf3vjSjdJ1LyLrExtkElXrNUfZlTQ2fLheeGPpNWqOnSk0wb2hTjxzxMX4MwJK26PuVt5A257rY9
60EB4ulX2SYiUacool+JqF4ktVqbE+y6Sgk2ftiA6Y3GU6gDypcK/gozJOQhf2abs9ZK/eBL9HMy
YV4RDfaEJdpO6iNx1TfBscBeXC5o7+t+tbAjlK1s+smqM6DNRCofxy/juqmkB/wkzVXa0y/SSWdb
0M11PkHhzvwhcq0ge+sjXVl1GfD5KKjwFiYmgFEUA8fP/G8W89sqLPy5tjGEKp2+9Uc3aVrmYxK+
H3N6wyXIg9CRECYWBADV5UpI65hpeXwsIIo6eez/HH2fnccIEiiU9+2YBavRSFZx2eZbRv2lVbK9
DAaES3TePuBRmLpILrclyRxuLEhrdczwgk7H+7FQqKTqqtqqndi9DDq+VWEDkzzVKbMidZlpnXRg
WRnGB01O3oNCedYBG39qbTUdaQwCvc86VuxTm9rgTPRU2lF3B6gQjqGO34KCmbw36dWYQ0+zYG4c
2Zd/quqo0EoOkBHjHM08FB1mKXytlP5sBka9DhNxAFwum/04lbUtgNHagL5k0JVzAZkWSLGM2pZe
TBytAUx+CRjOk95GMz2JcZVRxaE+zYLfP9IFjT0cWjMnjOJgZSWxtkuMqfIauTRWo8wnQZdwI8W/
j8LeUSYiMouYaTaaV2MPk6DvJGLGRhk11mycjCaVN/OQyY7c1CdFKs+znm0rFZmKpBYPNTALjkzy
Y+kj1NZotHl4v+zNQFuHCgskzmX5qpjpE45iMzvNSCc1jfQdb9bPPBi8KaovWWyt0rx7kZnSlcx6
l0Z9k8t0WSblQZ6kQ6TlJyLD2OUu1C/feEhoZvZq79RWjY7D1/am1joaemwhk4h+L++YyQ6GPnhF
Lj9asfDTH8RzFw6nrgIVbv28Wqeafsnq8oTB1S8EujybtjhrenEpK5IZJ7JMAXanh0BncM6yfqpk
XGXSIXvinrxC145Xfq7uqyinqCS/6VeCKx0dY26aFIKCS90mMqHwJCb5mEmId5V86gtufRHFnSuS
izCq5V3ZJd+JwgtXgxWt51Z6MM36wTTmE4wBRimhe3Yxjk9ipCleM1Vb3iJ0ykg75KpHjTmx2IYV
3Vt5iJlRel2DlxB/E4Z2cqsadl5Cab40vUVf2Q9TjdgwjuSjXAXJLtbqjFaUYq0MnJf7lFEfkPvc
iqPsBFNFu1AuYYpUKWmmArAgDKrWjtKQ+zzq1ZNcJK9TC2SYFtI60fPvRoYejPk/dv0ErmWrq3gc
m1Nn6xNJbIOC8izx5UfBKJ/6vLmbiT3Am9jrw4jMw5wswmx+Y6f/phjlRiBfWxImugaadsyIFbXN
pt6VlI5ChXCbADpiHkAk4HPJW0v2L37vs3yQOjynQv3QddmbDzQ5dfUuByB15pT4eUX5Pg2QGYb+
rM4ozKx3eiMGxojJaxxrJ6Ej7TDrxm+izB1gVI57Oe425tBQ+OVqgV0FNmC1qhNyaPpPbUZHZGDU
VXnSbqCPwEzKxm0wprtAynCxmLIHKyKvTR192n4RiqrQeIiExZapNreAXS8Vhg1citubaGiypKxs
EHm82+RF/RLOHDW+CCUbQOJS34U6OcvB9KaJyi/FCPZ9Ku7UiCgJ/EazDYZ7lesL2g9U8awe/QbL
psemR5NDFnZvh2lwT8/+BWL6HVvR2iFDMV9lVf1tQNQpEvtI/TBkjtyW2UH3C23TW+z1QznfhoaS
2FFIHxdp4V1QlW+hOGMfNRS5V2WmBad8ylayMu8MI7sPQ/IaUtygGnzry7LLN2IKHXP0qVSnTJ5p
Zk+S3VcqbApgdHuw6sAO9HCNFxhNzji5rzU9X5c8Gbs2i4Gft964uTVkjwmKZittBsn0poYeUuJ/
T2odrN43/DVc3J05smNoYmp4WCw9DVS4fwODUvUl6mS5P8t9vRHCfhcQv2HjtrFOI/lFLXWk8KF6
147Uka05vJsUL47asI2sFfJ2M/XJsNJLG7SxLVZ4ZMeypIKVRkQR+Kmw6/L+Xcvip6pBT+aH20Ju
N0o9U5WP59IfngeTpnRvfgcawKMJnmdpUPRUQ7AJZ+paaVJUrzZwy+2L2ZOH6iVWxTVt09aG9ugy
hXqmFpKEUBPxElIgSsKYOAGcxthiSzux9Ms0sPEhPBeTdckk1kG1PCdKdQiK8cdQao9DZcU7o5Qx
0SvTbSFaXk6odagPh7ymBZ+GsGH0qvqQesTUBpqpV00DMImtky8HN+hYX5BpBS9ouNFASzgyw+D+
vJ2YBUw9uzrOzxKGeVL2mjbTVgx/sFzcwq++4AN8PtYHKAVAhXiaV0heo/FOhHJR4NHNRNdRGczW
XbmkD/Om9URBRhpEgHZ0wn5cEUN8Dvl7Uaw3HYIZC7aUGOH9q8E6fBa7iMiiCd+ReDNH0SlcJGuA
oH/ea31p7ixg52+EVZYBFPRrGDBkkURMM5rHVD1D7nNLq3S18AIa6eVBd1SbcD3DsBHIw2A2hocf
b4XsrRRqslML1zKYrmGAaqCEgswIDtTvgY8JlW+sdEVG4V3hszf87MlehD+1ITeMxUV+KZKoRWdr
OqbaPysCunagJvIeMY+X0nVassNjERX9CXZquTJIbDSIrM+E2Bnl5FDm06oUwk2rkigs6eCRxJ2H
Asamlldg3aCZDXuD1lO04MbW9CtITEaLTn9z2Z7iYWZcQRA07OOu6YT4MLbTaxxc6j734HqChf1g
FRWT0i2z0W6Uy58f05cRvBiMgTWSbaVJuNFfHdaSfEDFuS/vuswVunUpXITxW1PcoHj+btF8Alg4
DA6COkEQaC25xs8vSlWafTNIpGrECgqGaPH4gmoFWhlp20Dx2UN1qyZLaOuYsA7DtUq3zowjJ4Ef
4cMNbJe6JSocHybdOF9kubrxJl97WSw2VgtyDS5AmxklxhWoGc2xkRVInZ4mtt53+oPuDGs4ZE5q
ozJaj3hxOrX98Pznuy9/uf26ruCmQmcASAKx45VcOy+7LJrnYXgqXFhx9myHXu5ZDrY8HPhDhYVx
VFczSc3iZtir52KP1cGxcDFJujHBfMF0OZHFPBpgZDFfvs5J8g29M33Q8z3+woQm59Vu1HZh9VxP
N4bCF8UtjXNmMa6Yg9DRE+WroaCpYU4dMT3BWLWPeHp/+6Er5FrRiZUQ74CnOZWjvGCJQZRq5M72
+WC7d7vYfnTqj8fQzvmjapwuA33ulTUcxc3CKrJXt57NVyr87zNdTpF7gxb1WtCujDq+uANDggjn
nexq+8VMZH7SJ1fxKmdexY/Wvjo2dxGdDrB3N9r9kH/V99Y7k8Y9eul9cZw+ZIeyN9poB0CV7gwT
6BieQMtiW/nhC7bmjbktu5ld7ZnWHRSmD/FKdCGU2LDi3RBDMjKjHf/B8NJVv2lWgG64qFAogaYS
WLxSzsMKlueb4rLRfikeqRwJLrsvXWsdYC+LQEDmgwucYOzOCVbtMXoDUNwMrS3aw4ntXnfQ3+dn
SL87cn0c9aWGBmkPj8QuKs9seJLH4K3ciT/+PO6vFfILewJfUTr/JLjC/boebn0dDhpW19PT3nik
v1Fvwm4NFccpvh9l1/OASb0PeJ/n9xfr20uRojcnYv7QHSTnu/H94kz25sb8+1vI9PcZSuZ0tCVZ
HVY38NI1F2FsFaUdEqU9DQ8F40oCgXfFd8R/rDmaU2HpOvysY2eKV3xDj/eK5NK1NAe8McGoQaft
4lWuNyNxUews1C1ilRFpa2En7X7utxW0UBXqW6KtUbyyRiGBYPH7H4sKuQyVJj3NaQW55hdhkYyb
tRRmksrbtX89noir/UYO9NPJC1zSOw+Hg7J7uxQrBzupza+boZPXzVWOjnSSeYxAE1PG2ebzu612
ElzESptILtnLTJjY6iUCIp7jPD6EN90Jlin58yPDAIVWI0x3mpwMo89Hi4dAKIfEFPexJO500OmZ
UC42XxlbBkmsf01Bb8vqvEthf+ll8/rnMfxlxUYMh7RaX6TqzGTYcX8+fJfoemeNggQQei7VX4n6
kE07VHktntsLpDkNz2irbhz0v7lmTeFgyLox7+PaPx90novQ6qdwepo9zcvcwrEggAxbIHU7uVHB
XS8JXN+nQ13dXrVT5a7r9PmptJKtLwFjlc9TnoDoZHYh34qw/jJ0lp4xqwERvwbDSLsaOoCNgdaB
VpwQ1FDZPxDPRbzTOkHRSUheOq7/fCO/9LrgTKCjQNGIYpVsl98cj7+1fNA4gMOo0fhU/Zo9kgIc
c52uiiM0yMh+DY/lyuLv+hcIRvyOfIb1eHbe2fw8zI7PtDjeqfvalRw2Y1vUeytYpffBqrsxLRnL
8/w0xpEgY7YDS4qOHK4qV887b/SS3WmqnNIt1Jat7pprcw0wcn7GecdjTVE67C2VbbhrNoWrPwO7
Pqv4I93F9yWLKigqusbwUHqGN1zGPUx0L3oYMBa2o+OApCC2sVF+Fc7BA/Dizvo1hSvlV/+cHLp7
/x3J20Hf1Ltumx6nw+TpXuYNe4xZd+lFP6MmuDHivk7CLAeL4QgxO/TB0YB+Ht1K3IQVRlDiE1KF
51eSl5nBngRbxHtE8r4RCbLdrjX3/Z3qsE1XKgiHc3gxJvuuWO1C95HQDevnTyz4b8nivvDxUIJ/
OrGrvpGfVY0+Mws8dc7rkdNqsJNGqWTjDrjC7053iAO42x7iu8PdnWzvcEbJvM0vgrGbfbjW3m7V
Jv/dsKBOXeyXVKZaUbqqVvUKTYXQZ9ElPqgPFkNWOD99q1d9ZxMfNXr5tnGLPdZ0YLrf8i1huagH
t+PK3xE8uZO2NT8B5T586+6Wa6hAK1zqCMe4qzeYfbnB1ngAWXRFD5PBrWxjw2Hrp/hXsyJecFfa
xgN7JFf8+TK77M0Up9gEq9AWHi7Cqtr8+UX9Oi9oeEOzNBP3rhtUy5+HhBnDh9eESjzJBMKKvewU
BAjheXci1mBdipPbGsaNWvh3n/vzS6fjeaDptIQXYtXv3czf5gaphKU+dV14aUevcfVdvlUJKiQn
yO5fYd21r9GdorqAH/oaeNFV0X2ItuXmNkK+86ztypc2fiollyUJQ30rX7WbcNWt9dHOT8JZKlag
PkNMO+5YvGeHWNyoJ/0V5HyvzI71bL6UH3DXwh1qp3hw80t4pHBQjOdMuszdFqpbfJTu/3yXv2jw
oI9xyTh0iGQ/gTBcT789wR9hHyhPz0eqMPt08rbx4/bHuD3ZZ31VkVl0kB9f1qV9uOw21hsItwNZ
2XRjJ3//86mo1z1aTgWDMSywF98Lgp2u1p261AalGBuBPdHsqU7ijgfzu9DbZ+2ApOwNodFsz4fA
7VeWZ0lu7RrPxGFsiXV9UQk7tUPNjh+aDYl7nrUDp7XrdXcwdqJt3lqMl+noapwo+DfQLce+AW/Z
q8m5tgqt8Ot5OiXTKR7vUhPkKQt29Sh5ptx4iOc9BCSwzHoYm/XOtN7+fKu+WEhwq3BCwEcCCAoD
m+vVofNREmSx3FyG3eSobvdRQf+xy1W3qVzMhO+DvfIDyqwtOaLXOxG/Ks6wpbDdjk56N94lj7dm
yi+E7d+nZIFWWZLKtuk6dlE0hKkRKmQnIZ6K7/U2uuhPwKJziKO8I76b7xrDRt6IovPne/ElwIN6
k807UBwbaQnDlGuanTRMqZUZEc1lD0P751m229btAa9x3302d7ITH2aPufvor6PN5EieFK6CTb+1
7HoF3rzOfTt+ap7F51G2/V9gtpOym557ecVPP6Pl+WbgCEJB62auuWMBQKZtwxTaTa/lc/pdCh3h
2HDNroFhSLEt7kU+prCHVe+oq+CpTwlWIdqHURnd42Hyq3hKfsZ8Aq925YiHZPWdtsOur5xqG29c
587fM5blH/2H/jLB1byFKF4nAPy+XTwncoeIxYCeePWaGTHeIYRgk8Y8oUMyCPkIMGYLNSiswq9w
yo7EyJ7FXj2OOqrraHDaBoFUmDYPQlqeBQkZFDC/jSH6DfL71xlfByciHAZoVYGPdHVirTZYhAe1
7UUOiBWiJV/1bP5g2FaIq83xpdJv1IJfK3m4oEtUsYoJBDPPNYyrzHVipYM4n+IIz1SyHnwxJV/Q
9ETpxchNTxF+KSDteWTeWGl+W8d+nkHYLC2JoZR3C534Cv+prFJtBg1QvvaeDVsjzKxytufEOeML
fT7P9onWly0eT2ScoWd+zyhNn44DnuHH07w1Nk/87FrgxV67zcFef2zTx62+Cl/E7bv+6M7Owd/c
2+fscr7nFZRPYnnMyTIr7ne4eNmP8QMV06azfw5ICewK7sE+kRxqyXUd36jsvvAvodtinM/GkI0p
vm7X+Sjt2CPcLyzl6bg6qc5pG7lslI+jrW7Xbrfd7X4psa3d37q9X+ZnshS4s/hskKdOUcn3/7aO
G6kWtpWa1fctl7tENQ+K4kkG7Tn0rUIk3lmh7GAOcGsqut45LVm3VLFESPBw+W/5/t+OK1bNCGVN
HJ9CC/Gog3uHtkdx1hebBv6T19I+w8mSPmm+eL8f5p/CDTTzt9/O38cVxRK1IeaYS24mE7H2+Qzq
0awS5KywBj3t0Xgc3/11cVTutHO0DXbFOv6R7qW1sFtWWNi3u0uwqj3TGVb5moSfG0/h+m4YS+OC
bsAC+ei82lf7ZBn+n1B1aXo/0gXGk0iCADZj5UTg8Cj8urEKXO+POdhiVch7TLIJSp2rC2+zMu+Z
WIp7MnFD/T3HIoDlsasxFCPtyklxjl4ClrUbK/HysX+/38thl1QeUA8yrb44Y5t1bLWznBT3U2E4
UzsiequEHygob4Q/LCP2y3GI/4S3zmIHhPr5udL1MC26duU9XMskvkujY0N1o96aEJePuT4Mh7DY
dUJFJsTz82HyNo5asa+7C9nXrKPjtj/NG+M8nSZPc+bAIebN7g+rckdE5q08wy8LE4jrYrat0Owy
oTZee9flkuGPSlW09wWmpZB9hEtdGvs0E3fRom31keal7UUosjWaRieUQVoKUg+D4M4PddztVPiq
teiJ4XhjcH3ZF3Bm0AdF3G81+KKECHy+LfrQ6EkZpcMletbeCVL0+oPlxU9SYedb3ENW+g5xgzsA
2/LSH8u9edBXTHGrDtfMdE8QxwE5tEsOpGpD8lr5G2lnPpknjGq1tXpCheQVR81tPG1dH9OddD+/
FZv+MG1AFLsXttx3xs/xZP1sbiy4v5f6z48bWduSkg4AQ819HSo3ENcQTbmCVL0FcRb1FTwk2KY6
oukz5ZydmjIsoWqXzmxxKIykDBbfjKXAEH0IExhDY7l/fo+/GDJCVCH9hpHOOOCP12HaUdP4wmxK
w70WsgE1VWIetU1ezt8mMim1mY2tZWUrPf6wanp8VkV1kqyL0hzdyjA6N5fUTSGSglqlmTPMH0XP
SJpGqD3W2scNIMf11Q2kaSsI/UFDrpvJ9dI/9AK41/mM4LssXBgR2MrLN1aHL1jC70ujzEAgwYYL
y7TPoyiLdKnsfau/hOF5Ch8meDVii8FTRZT29x5DN4scnAThfeo/p8O+wqwpRTgecvqjeFYQFuXZ
gyB/m7GikTYGgXXFehrvkMPKxBEakEGzqXebGLn/9Ea2zmoYTkJ5aWnv+bHmjNkt3viX2YJqX6Zw
0nhUjKBry87UksawN6oWLTwBJ+Y9zeS7RP41M5B09ZJhZpOj6/vzALl2G6ZK46BgoDptJCbe3zXd
39ZY0sjbTo6y4LKs6yFl86TfK9HZkr28VBH1YuMof0hkIMASkUvFMbhv0eL+cLOQ/l2kfXp9OBVA
OipWHqqF0ubzA83lrOkydq2AMSYyY3v2Oje5m71VcD5iU/gcbBRvfkWPvMvvfRpIA8hMvIUX7ob3
wR0yzDuF72JFvXtNzvlK2kv79IS7JIjKnXmf0PXc0h15LQ+WHTpnIvXOoydTF1ZO5LZ7zOzXso2j
w1E6YxywxwKDtd06iqt4n27yXe7Gu+hEyKZb73u789TtvKuf5df6WX01oOo8UYior9MW+uRqPAr3
3Sa/1BdrK67xelyLeziIzi7cwe09lR/RY+QFj8OPYW9s//xAvwwilc6whN/NEmEMsH2FaGXj1Act
Ioh7ds1OWKarBBFQ3iruoIcrM/hmYBvSVMHmz0f9UvrTK6E4ZBQtSWTg6leHRe2TRoksDPeiUJ41
mDFi51/wdSXGKSetAG2/9SoF46UQbrnt/p5VPw2bq0NfzQO634XEatXjfQ5YJ+MH/BAAbfWSoxl2
+6KIjnQHPDvcI4CVHweAovA77mcoZtBMqbT/Ho237kelblKVcUGv/MadWQ7/6fRo2CuLCAlDR1Qy
11uTcBwgryvN+DTLP5WmtLOGCGE1JXFdQCGDQ641b5CVwxpQV7lco1AAF6yHG8XjF9dYbKHQZGhY
HunYbYEAfn65JKuzWhXmzqVc7TtXIuvJeLfYJTFherrt4sy27Q6j293fGBlfp+mlnGN2YQUidh07
/88HjkSc2pWuGml/1Ph+ZMK0wjUMYuNUgSwM8+yVIfZIQ/+WklxnZv2bKaIYoyFsqs5CFOmNvc8I
WhNFvI9woxwGeVMRUIgYUo7o7DeETxEpa5Qpsux8/tEY1V3UQL9v3aw2DzPLVDzpdlaB1z/4cewN
RnTjIgkG//KUmT+pWJcllmiT3936v02jLTE2OXuZAYdvPL7ZECS/YDI9DjskOu/xdtiJa3lNVAS/
i2tWXYCmXbgNt/lh4kfktbpODzFmTevlL5df5XWHOvhSbTT2kSFbSvDvhd2wU1b+tt9E635jbpM1
Cgl9W2/yH8E6WhuuutL4H5/CdemKjxCF+Mr31FW56UZPc33PcPWngG+Lj5qbY4DoRut6Q+7bGj7b
8usqfgnwJS+pnmDK/Ne/J8F33XnKWlsnW2NtrIW16skrytdV69RrSNnraYP56pYUIq/YLycteNVG
dwVvOgte7UU/pP/pPMcUR6uZLf/CvGGX+HlYWTVERSURoktH2mIURfs0/2Cb6siYTBAw7k/PqTXe
WCz1r0/ZQgvDIsVbBJL+W7L5t6ccxXEhy3EwPcmdfJZNmeQOvEc3WGK0CBn0YlUk82RnkdI6szwe
BxM6oC6Ge7FI7kYtszN902NNJQ9LN44WkQ7bek5yL28exfQ8qo8xdvsYlDgNdkm8JYyUU1B/65tz
I2Fr3/hujls40sl1YVo7FAfG1CE8QROsyZRvKcgb2ptBKPaj/FMjt6IxN2r/NDSaPcAHiVO2zVq9
UUIkRIVxlys431iYSmWbEXVzZlV3ErndfYGKsDccbM7WY1lhdKE4oh69CHCD54hsdnIfNOutNPeT
kd5IdFHVLy/ScothqcMioittLFjx326xPyflrA7GdAGjgRBpewTPNx8LkQErzWIjOFqxa3+Y2Xcs
R/SDtM7tg/l+V93jOWDrL4+5AxCTtbaxigvPzPlifPtZV9v0df7ZED56a3a/BtkNIGvKaxGUfRmN
19OqONGEqxR9PnbOsmMZQJHkrUQm4ym7sbv4OpFaGPojVoddBHHRMK625DHjPUqmYDq2K/9B/TUf
OtElzgrnmCO2vU53IHIncDP8Z+77LXGfqj06wgOeFQTmQYLBqvQNeuPKd6zN4EBi8aq9tbn1Wl6D
FLwd6MJJOgAxAj6+3tpZLasx/ZHkTsPRIFT7Fd66O31UvXgeVnE+3RBmf9nkLsfT6W4sdD8N/PXq
pphGPMT93AQXhRQyP0lWo5isEqlxpPQBO63XcSSbHnjYb/E+lyc7RpA05xgNXArlo4dSZLbqjSG8
zDx/X/A5JUPWab5QiRECcC3rTWdfNockzu7a5Nuo1pdmiLaSMa1brKssIjnbULwxF35Z3JdDUsPT
5qEIk8XfRf7fXpporpCWSdp/AHQ91oNBp7iS+a2DNj8jBtMiOijkkmvGQ6sm3pB9UzREmtHOoN6p
NeEtM2pnMgtHNR5ulD/XiA6vMSJYHYdgtmrAO1fLf1sOeWGNEgG5qjc3m3L2It3rmzXRuBhkpfXe
kHbkbPqZNw9uK2w66cYrai5H+PQ8WJMVatIlyQVe0rX1MpVhWRGwJt4L6pLXYjgz4avD8DMw9E2C
NkoSk0NbdbscOnuf6m5HhGQ4WHfkkzqpLv1QsBbSQprkRbofRn2xjSOZDQVaNB9GzLXynlJy6uD8
k+iNvYkKMjiLb12wTL/+po+tNzxY7wircZGqPeQprQwpf/KVnWF15LvFuyTN2GwqvVt0w0oK6ICM
34H0kXHCa5PAZjTVnivVkZSIBBh1Y9R4bCWdM/QK0uFoV5XjXYFKJg1/lu1CZQjWBGZg90ePWc+c
ohjceorcDBauzC4yDLW1MOVONZv3FX7GuvlWab8sMb2rWgnbVQCJnHBgSNGa9QoF688j4ku9jmcE
+zxJVzA1YDxcJx9VnZXpUy+JByu2LkTbfu9VeeOruO8PlBk6C5gpqPdWIP1YfO3awbwQKH+Rovat
rtv3aKwPUJjAfPLuSY4Kr9HkB/gp90EtZk6ihQ5CpwEzZXnYROgogiLc0rKIb9XTX8c1oCgsLTBh
TIwApz+vUwHmAkOc99N9hTfY4hWKnnWtVC9hsc1mvHMWT1rbNNeC+drRPOxOFtTbG3dyWQs/j2xF
xUpGRqC35CJdS/DHUg8rQc01WJNlh4clLiXZD/P+wz/4B5NElF3rJk+sRSXuPgAKJKF42n2mnOb2
dDtf7BpSBeaE7sejkCB6ssm4KsiMNJCkuhHwRfS/MQG64WIy6g+uPruT7qFK8ehbFj+m6mLkRwka
Xx1n64HiPbWijZwmm0CPsfjd5vp9kBGFqF604gcKvHocXDQgN+7db2bHp3u3rBZskRfrBXi01tW8
pEw43mlpMD7px+Cs0BGXty9oP1BzrW/1cq+rxoV3sczOIkgnLLfrUlVCgDlFldk/oaOlQoBpGji5
+/PPg+F61YFyQMQF0/9v8gF/+jwejbDpJeaFRXjuKub3STy29XpKyGift9bNSI3rORXNNygVeCaL
L1O7ejX600AvZTP2+6d+JbxKgLN45NgOux/74fdl/a/38X8HH8X9fzyR5t/+la/fsdsDRgvbqy//
7d+7pq2/p9H3/B92V3987/5R/PrHY/u9ReAavTf/unzYf/3jf/v8JZ/1n8dafW+/f/rCRTSL/333
UU/nj6ZL299nwVktP/n/+81/fPz+lKep/PjnX+9Fl7fLpwVRkf/1n9/a/vznXySr0ETCkp/2GYys
//BN+V9/P95//vDd94zP+fcf00d0899/fG/af/61tIGGj99/Mv7FZCDT7xVxVlvMef76R45HffjP
vyTxXyRaRmQkLDxhakhmM3wwlm9Z/8IcYgLY0FCCsI4t1F//97w+PZ3/97T+kXfZfRHlbcMHf54F
luuEs0pcDlZrvFqczudhOAYaYWzl/6HuvHbsRrI1/UQskAzam7nY5LbpjZQp3RAplZIm6IP+6eej
qnCOcksnEz1zMwM0CuhqtWKTDLf+9Zvu61yyO20tztOmDVQb6wKClMS1I7Aqp6yPiSIjshVzSzfJ
sGgdyqJuvXtFGAJVjGiRHrZfK1W1VbQZU9m6IcD7MMdhuQjH/f6fTzJAt/Kha3/86K5e6rdz6P/J
KbUSQv7nGbSNcRL+dQatf/yfCSOcv3AvXG9CJp0BkCkAq38nkPUXHVduSdhgQXr+OUv+nUDC+Gvt
BcKfXHMSudXy3f+dQKbx10rdYQ4ZACAIMNz/ZAK9rR8Ie+PvQCdL4Ye+ZWUvvJ0/Q4TtjhB4Ok1U
wd4kDty6TnUDV6uBhN9/VK6su+J/nwL/Dgd7A4Y3BxfikbfD1UXiJe3i4m/nwhrTK8TrHwKA65T/
fQywIYyrgLXPl4RjLqj2fS8OVrR64cZnhs5rdEoP6eZmQpzCztk739vNiUbD8ZeP/u/yfLMc35an
P58PBhhoOsveWilpb58viWs8qsoIT2kkmuomj8QmceqL1Vo7jrXQ0q8LGMjuh7eBMzyYgblnrxsN
uwHcJXyO3g4sZVKWs8bAXfUl1v2rKvYuHLG1RbydsvrOzO2953zNzeWf8+LNcfHrE/82f7iQOZBx
KDnoksOeejsuOFwVY7eJ77/FzjENZL+gHd7mw/BYCQE304g+ylN+e/Kuj7qGz3AHXNsn0IHO5hCu
wF4R9wyp6vmbmqaBqsojOrPXbgfd/dTCqrhXxYc3mD8MC0pik3wCBIbi6mxYfRoaF9l4EiCjz4zN
aJjfZNSrbYTJ7CjHUPgncBTtn63yf3y/vy0YXH3QIUL6Jr2U8+zs/TaGByltjsljRnUmgt7o8qc5
94pp9/7MPT9HeKnMH6gH8C9sPuXZPrC0o5r6pswC2842TWXskBVuKr28wD3og6vg748EQxpkmn60
zUXtfMo4WWK5dYNFWNcO2KxdW9pHF8A/jwAvCoiIg/acxyJNtxWRhjYSEyY0K24UGFr2kSHX24Jk
nYY8BnwZqoE17/X8jRXonNt+wPinXf0AtGGqufrVLwKJd/j+t/nTSOAtnCGQkVY2/ds1ZkTSs5ae
yE8cagJPm1njeRB36oMp8Ke3xnWFQ4oKB0ets73L1Upa23WVBWMM98ZuHwqZfTDEGcvyn5fGRYWF
CzAAS+PsUbTR6Gt9Wr+Mos6WkTBv86iBLdBWD4teYI2JdjSsxwggC03/ofXnFpuOXr8328EwiTug
y4CDZbV9/xX/4dlZYbxe+mkrA+rsd01prRZdb2Qgl58eb3iq7Ih8ie7fH+YPXxKkinkJUZhT9bxr
V2iGiFXsZSh+6D3AiCacZWO1HxqDrbvCmyPwZ08bazBvZY9xBX47Yzq9NjqVdjIQ0/it9d1ph27+
Ufdzm2gkW9uaevXDdyvni13EDdA0fbGN2fQKNTbgTBM36cHKJht/kTro3V68dr0guj7H83rRe/3v
99/K+nLPf+3aiKZ9yp2dLeHtr3VwPs0xl+OtzA/59LcbXeeBeTd/JBn+efj+No5FSw6+JCXiz27D
L6id4S+DLychAzw6Tn09jLuxKaZrr4oyjbgaRTO+VWhZNrM5jThXTajQpdlvWy2O97MmK2er580H
S+L3Y4VLIag21z2mnnt+rBS1MvW5VxygGmbA7RzfTv7wgptFj01dMWqHssE9+f0X/odpKCCOMgeR
YPDazw4VNydVc8gIRSM4DhSIOB3MB06ltD6A0M9XFcg0BzRbJMcm5fL5bSgzNNPoCz5sPcfajZ+I
KOxHU32ASZ8fXeejrL/il8+6yAqPoTJh7VaNGSYiRvxcLc6FSetnmxdt/8EXO3975+Ot//sv48Xd
qMQw8FRRcmUZF0vz2Wwe/rMP9HMIFF6g+muP47zcr/vaIpqKIUxucSWOKF668Tlg3h/lDJMBNNdt
aGHIRfBuhID+E8n95UmwjuxlVpJSZdvxeKmE5uzzqJ6+DG4yXGPCoF6UUjpmVjhKFdMtiDfaIbrr
6oMfcr4B/PwdSDhgoqww5fnjTtiRlMqbMdTAXGHAGgWTvp59Sbe3nUkIZOZXH8yZsz7Gv4/OLWSV
c+sg+GcbvodWA4uGgXwVt5/2Vl1Ed9jOlJvIERBh0iF7iJRvh7OMLFQkA51DzSSmNMFRjDwSPbte
yuYg3Du8A5rHrok+6Gn8YY5ZkDvYvynMEJSczTF7sSiMrJGfF43qu+YJQqN8xVEYRVhNvT8N/rBK
34y1rq9fZkE2t4XpSLbFpTKfnRmSwqw+mM/n59HPD/zL45y9bd0hHXuEZ8rVwvcu47I+yTSCpmIR
+Jnez2YCM6HqX9y2ysP/g4f7WS9zT+PSfjbyksrO1kTLFHe4Zk6tIy9a0+s+mk7rgfrr0bIeKaav
w1h218c8b0v6s9MNWmZypakwiEmL4jBT72FHh2Vd7exajDEqvGb8qDwNPQYirn18/zl/KwC5s7Oe
HX0FpIgV8s52wVgrsPfDNCeY4vhvlyZbLvIHvcLaEUe4G6PtHvXeDFWKxVYbfTD4bzvw2dhns9UT
Uav3aiCg1H8aEYyYWkpX3aT5t/3gKc3z93w20tlcNdCUNiMQQtCMePW4PakZ6UsHtrJxzPqEiGkr
h/nY5P1RuBpeBGWZhIYa9u//jHXSvPna66+guUVfeG2DntcXzjgNZtfxtcXgXTbJcEo1bUscx4PA
Z7ZYuvmDFfqn97tuA6vAn3Cic7JLo2LuYDOOUZ5TX05w8B2mlGPvhr744GbwU6l6/mgrqkjHG8AK
4OntZpBgqKlUzKdsRv9AmhMWzcOd8tNTaTV3RuZf1U5bb4zFvazTyNzU8Ew3c/vh9vzbeuINQ0jU
+adLw+X8ViRTd+zHzsCtIimt/rFT5ro/acq90WRjtZ/JMHhaoTaNzG9NnAjTmPIdsQtVs5vyobbv
3//gv22RFMQegBsIHnUyqpu3b6VUk7Z0HfdDuYyX01BhH+YkX98f4w+TyuUssm2YY/Txz2GNKkuL
ypz0ln5a/sW2IQzUya3X+feOXj13pIy9P9wfH+mX4daV9suuP8pELAkhi0GmEZi1SIxThv6Dbf8P
8/bNI529tsmzEkCHpV0PWchVY4tyxN0OESuTLeKDBwLfP0ff1rac4B4DAiZA387XSWRrRJ4V+B61
ZN8FkyIGJrR7Q2tfe6zPkRPmGjGdilDQaAtzonqoqELRxTq9LUjJieqZdpTKbHL7vKy+8WLIFU9J
7Nn5NfmEpXuq5wFK0qab7eXBXFykk6OhPc8kGCOBJYzrq1JNBM2os6qbsaKwoBcYVbiuZVnG8IqE
ZNk27a3nzgX4OHSlG8JtS/mpXozdMFfaQRN6O+Lh1C+X4+Tfuxl7qHI195Pr6cXdaCajd5maavQO
zjCQQJoUuZvgtIv1UTMykjHqN2smV4S/6TB91kdz4K6yePONpRfFcaLNvdUbM3pNOXWf4zyur8zK
cK+duJcbJYV5MMwOg/nos4swxD+4lmqZkrgCzwHJmnETTjiWAt1YutzOeYyv8GxSPwYll/1mH5XC
3fR1Cp+65BBYUu9W4UubRQl5udJrdyaGFqc2r+W8HWwdR8N5UuJWCeOLXvtmh0yivERKD02CZI8e
5l1HTIXssl2ORcjFaEfRqTHkQEw3Jkxm0zpPRWpW4uAidD1Wljvd+1MhQqVj1NNO03hoieu1Q9l6
O9Unu6jJyuhoKN8NIrNKtuNYJt1Bq6Jq/KbsfC6Crq9GNla00YVI3Zt26Mxbt9Zp6Zu9P+7saoYC
NKeT92BbbfO4UqyHzYyXJZIJaDrFcfDK5cKQWPvKxiwOliy2NFnYMmh/4oRPvJxQ+rqyvb0siaOX
Ai5CWps7QjEgS2dm/ap6ZW1nDHcNFZuBlc27HiAKi6P6TmH/H7B4MMdp+1fPIRWnSiQYnZ6UWgTd
k/yt+WTqI2rV2S2+G6PfWISJF08OpocyW3ICJUdIF8uLMEFqA0I3i2uWlXlruBoxAbHT3Uxk5xhX
frN8s/VlwbeyFJiRxTmv3CodrGG4jwu/fBXDNHMX9m6rFZWqNCKwsqTYjJVlBmWjW09SLd9ckTpf
slyUl4Ya621Urr8zlfVxqJz6mFbuYgROjFiiNl9rYbV2IEcsbEm025LIu+nXrDY9vqm7e1HJhMn1
6NTV0VtZN0lv3UfJD39WKJj1eNaeJ7u6mSv8QNnRjE0zi8dFtLjRL3ON915BFt+skY3gzuOpXW8N
2hJ5FzV/1I7q3sTPW81UONUcLH1SbctJN3aZMdzQxTMD5cwYHxbgA6gb8MDdLrn+SJTCQB5aRrvB
jkHozAF3IzGlX0uieTbKxumhiCgS53LLys62TZrXV75hLCeuYfImZ0H+PU6EQgXCScjmab8ueXYB
wIeFfOE4i/uZNkq/cVFmjVFxk3fLp8J+rqPt2Bvjp6rx9PLO9JIJH9Kxh9iYoxVIFF7JG02W8mHU
6PtsdKMxH3r91VrMPCTLM3SSNfIn+bKY5kusYVA5GTpBFmRPkWohu0cJTnYRD49IQYbHKB7SsMz7
eQs/JMpPHftjM6R8Cq3Z9ZpjflfYX+7SRvmYAHu5v6WNHBhUr5mteGA4q9quw3TAInCw2M8JHjNG
25+EJ/eNSvey+5LiKvuUTs8qx4zTdXa2OVNx6XjaTeHsTGGXWtUWv8q63s7pjRj/lk1lvnqLNzDP
4iLIxuIlr7DgM/q9wvNA7QxxG01EtxAOnItbslP5woRLKd0OMT01Nokyp22U7ZPu0hq+LAQqitkJ
7fSOIsvr2xB2xa4xLpOCBAsvIsvZ/qyvgR8ZpFIYM4l+5VQmxtzprsl+DNpLUr32Ir5J+y6kdbGr
CpysZlf/O4uEKIMp2isDN2mLzog4TZDF6v6QiWlj2CitdfxM8JnmxEJqWY3dYagd8dSMpFSUpXpm
ew19J9eHkz7HJwp01Mz68up4JAOmdU2krfu5q6fhOnOgZcfOCuAvcoJoBTD4zdCxSxkc80abouZk
tdZypUvhNLs0E6O58RYKvoEU4+8qa75jAHm36Hl+8DIHn+kO/5Cb2uoIGtEyo906pfcgYiaUwgzt
JusXDd/wlVHet1FzP0m8HUNPELxezaZ+axoQxAm0lN+WxWUnn6O/PUVwaVpl8tHKIzxpBAhKGV12
ifa5tK3njOBUdpktmZ9fOi+6ncxk2rpKHGatH24Hs8nvXaFhANbgED2XGsbmcTPhb+jGvW8c7cZo
i1M7TzgaEQixMaYIv9tk3QBnl5NryaOnruSzRV6fwaUum3E6RdRke3+I99HEjkL8dP9qFTVUz2xO
5+RRYu5+a3b6spfogi7NkWjJpnT3iyrci66UiYZL8UJ6rSosHCPNE4s8vsS3mDjwlhYkyandmh4w
dh5kXsP4rvrpSR+g/57iATOOfhij7747T7ApJ0ZZbPs2Jx8JrKGQ4Shr0nWqGStrkhUmFoIwQk/O
J3gHcPnqbVeSbZAWVoC3UtDXajqk5FBBT81V0RKaRsktRZdutbjEzTkt7IG5nJetda9o+/5ojYZ7
WT32W+7hW711rgShskA8exWp7UImFFmTCLzSAYY/kGTtO5CaoVzludWqYAQ3ospzmntSpPtTnrQj
6a+Cw8kY18zKmOS2k0pIHdxYNu7mSYEhSDv7hJU1eH+iwwPrObrVsbQG6zWq0xvX6ICBMw5JfTW8
J5OszP0LWA4L0Meo9nRB6pl9vURZ3y0Ke1TTO+FldbTz6FAPcH6mXJ8DJY65qnbrEo0FCZx8HQ8s
x1P30VL/0Fq8Rmv6YehDY2CDDZ6w1n7Kuzbf9Gakdple+AdH6Yra8Wh3l6L8sbhXmZa8epU13HLz
9Eh6TdFCj2juB+xOnizjENWLTqgnLKyZGex+rW3vtVw+t87BsjORhh6+6GlC3vP6JdpIPajYcPfG
koqr0eyZAElWOYHREMAOgTYe6/tpNFojMCaOsz7xtdDwi2ddTxCsNE3pH3SzSU/tQFRYoRPCmWMi
bzRyJ9a+wmXqXOmpuQfEk7u0iA4Vmo5QTUX3zfJe5PTV8LPugt9/5zmDfdRtFW0sTx1VYeMNlRrP
SUpKs9TQqQ4XTY3WTwl1TGbcFbb9RV6bV7IZSE95VDXBCWGcnLK6Jj1X+A3Ho6tvjCiTAenORpD2
8C254rhpfDAbF4uYNvYxeoJE+7Vp63FPIsvic37bUxyaCq/nTecTPEwOqOA2kNvVk18SqpU5z8qt
nVDkGvFX5jBddqZ2tOvmYfKM6mvq2t0+txYs1B3NgKxujxBc03G8Lpxivk0Igdukuv8kyHi4ql3t
MJUYE4dTYhd7t5ZmwJ+Kb4wJh//A5TTUBLYNBpbWZF+hXCb2qfik7Gxl9o21Hs7Y+V51BX6GhOLG
z84gIpyFKtfCIg/IFFPibGPayxdrnq/LSXnZwYnFIfHqQBMxghSPMvIWsmV3Gckp+17Mogz10h89
Jvp0F1nRHiviC8PumvsqidNw1qUKu8SSh6InpKD0xiPEZmGADcfbZSm+tFl/HMu8TbaNvCsi75Ec
Z3XjR+5TofEt4xIxH5dHoNzJJq7cKvAxlUPxHCMx8C9yNch9PeREyI5LdK1wjz9Yy3DjF8mDJ+0q
LOae2/kgB7iWpVPcC4P6YyPZPDYV9Qles/jlZg2qZs3RcMWeq/bCMxP1nM/TfZwbxAxOT9os9qOb
dzFBwWy2ebe1RYmMuPTm6CXKqmnYRq0gnIF4jAxZJKKMLjq2C4uOAGWmaGZrkY+de9l+G5Oyeeoi
r72vKUZuGlV2waiW+rFf6osZk6k2rFhDaerjftJ1eyE7N6yqWr6SRrDvsSZ/rmsXUambgq43ufU5
sckasXXzhZC+H0WxTJeJOcUc5KkdnVq3vyIRbtwbEw+Bo72+S2T6WYiqClvMjcNx0hCZYBex6cf8
Iib78SbOM3PP5042EPhIl+mJ9+tac5uNmh0K9sGHZkmaMEuniZCsetVQpC9OmxADS9Taxq5rtlKy
YW+K3js5qdzWZKgCIAQOvAOrrzQ8GQ0Xi1dRXY6GKA942w87x0vUwTG8cptgZB/6mputKba6wAhv
CaqVoJw4tzMB4IM0mys3d3I6bxIzLZvtYe9LMIgRnWoVmHbD6k+JkEjI/+BOWbQ2zhBuS5zUsKaj
63PbKPTHekGQcTdDe6FQ/N7HLiQye6R0aZLxaxtx27TT+JtjEudO2AhuCom69/3qa9nMyXbQ46W4
bNp23LizPiMpihJ5bHujv2pqBiUCGfV4Szi3Z5PAvMt8DKmcXh9kmEqdwE0JyLvxo2TY1oazayz6
dlZqNoE7tS2WFUtUvpoCOTbEdH87ZE1mcWFwk26bCRoahd8CJTZpRZRWsdI38bk0UvWN2oxsnSh9
kj5yjmwkfxlWKacWnvf1jpAa62C6sSQuSlKHV3L6XFrYjVmVdh1P8rUy+/auy/I839nOTP4k+V3u
AfeagRtlj2lLYHSAZ6FD5nYcsnDKl4VApeYEthHhLL+YdXk5lea8EKjVCAIbEfH59360Emqo/+Mp
7A1vyPmgzUDAslm5KN7pn6dstrLoXFqKETEPoV9LftZs+NK5b0HbxI7u2GCE6az7R1sWBFSY49L0
G6FnfROOMB38fUYnhu4xfZRNgiB82+ezmJ/S1jItbK5NUQe02ShpO4IVZFf65CaXslqeuF9O2V5Q
VU/7whPTq0AS8dI4ET4umZRlTgCRUX7KvAUN1TjN8ye6MFLsm3r2f8SmHLpwgB1yOWQiuSXzonsg
Uaf/0ps2oTvxMifTZZ0N44k/aWhfibvBaidLWu9zUizDHMxVPolvaVr7txR22A8UdSbEDZcvd+SO
3MttYrtX/J9a8mQcU/mfB25G0U1SD4pEunpy08usV058XYmZUqEu45q9qKg3Q+p3l8S8G4epHe/R
WCxHrWxsLrjtD4In8C+3IXBu6oKidgNLoRUnL0rSRIBFtRpJTUPPVlALfy8lscMpV9DuMC1pF4K/
YaVb27Hcdp6v3K3SuqsWW58r2BIvmTIuZO6M5Fw0Jue7BiGWRJJBfh/buP2UGiMmiS0BuTE9NPa/
Ho9/m2Dx6VM6CHsccPF/1PyHNG1PqQN5v8/YUIg2dKKAI2THiVcPCakKEP6sH2ncPLTZTkQnkDbz
ElSEFE7+kjC2AA30vaHf2cjFwinW8wmxp3AL7PNDcsfjlJtQrilyqBMcCRy710Nlpt5lNHNf3pUE
eQ6eWMqQF437R3QhUntb6/OFaJ8s9+u8+MHSGukuEnN1HaetyO/a1kR1kGGD0AfLEsT2NR6x1V1d
knS23DJg9TyaRr0bh+yrzChy4sWgjr1aoidCBjOdl+pNxjae3OfEdZtp54zaLbXc6wBM5hjyRgFk
JxahIWVbXtYqvXTjAZ+rrvIER3hUb7Q8uqI8StmWGEPFqdnj+71EbgD9vH3MqX5siQvwTNtwaC9W
w7N7YRrNZ3aXx96PiTTtSbIcN7Xjwb4PyE0qtM66NEVX5zqB5yqEeb+VpBmRJxOX7OGOr+2IK0jI
TyFa4SZ1nHljpj3C6Zayrp+QmGvfTEyWnHIihabDWpB9tVz6TUa4+SzLjRvZdxqeCxt7NsB155y4
VBKo9BE7fV6QK3IDXZ9VHG1/afAGbJ0CcWmdIkuUcQp5uHTwdtALoe3SdpT9VZGP3OFJb0ys4rsb
5zKsTK2WXFAFHkHMR1QEbum8lFID7iorNW5aOiflpYelfbsDmE+2RIqkIf42qL/1fFbXsWyiHSrt
KApUovOrubDl275xrcduni6KYui5EDpfGpV8n6R+dNto5PZm9WgTqpg5f63NBnVAnzw2sAExgXSt
H8oS+8JVTwQEmQRHF13ighUmTujSWr42ypLkPo7lrWSlPE7wXu+5Zu7s3LHibZRE9lH6SRFo3WLc
eLNS7S7X4sbD5awYpkfLqcjetBTeBQSPjKFyFcZj3eMEudr51ht6dJmRMgPSlNqB4FgOzMU2BSom
xa5X7hK3jLRjb2tXUipjVyXtaayG6wHpLJCnf+q1Gi973dpibmaEc+8pGdrdMtRxCKuwISXAiyUc
nEKzcWMRYunCLtaYWktpX9UNafeJM9QvRjRmhCLVBE/PY7yfUl38gFJFypPVTf3jaNTE8bmoFPJ+
0ItLbOf0+NpLDVxb1KJSakONKIIsudREI9Nnv5vwcPCa1oQ8bvaNxvRq++U02Eq/FDDgvG0UVQqA
oyXDOoXBiMFiPWiXEjAIQxC0to+J9MfjkjjJE+ZJubUDtPO/KzIh4NwM4J5bhHLFauk9xNl+MWd3
Phl1/KibpYmPOnI/DGNrZWP11Tnt5yHW3DIguyZljVqgmexH5BYhAeyv2di6mzzLymOp1911pnXG
TuYxSHoM/r6PPAwTgkh2FSWfUK3xZUZMZ3sY/LlTU2IO0C1T9w0japl7eAYsfjI25HjXFNRfxhRa
f/mdDvAsTVqqbuI/630MA8vYxUjeeFG7KIektlumpKqek05TO1EasoR72N4KtZQHWdvZMXX16sFI
kty8nlJ7di59RUQ8f2c8Jb1wDvAlHW28RiuW0I3aLIr3pOkYf2GxMI12Toprk8+H95tB53QDJgww
IjIuhLWw0tyzrt9QNJpflCNdPxC7FDwQgGWTmR+FRZxzndZhTGsVc2M4BZv1rHtrTk3nWwP9INo0
XeACdQeFkT3JxHnCq2IMafYRbDRYH3k0n/e6fo5rw8KHNo8G6dwkNMHXLdZymIRDUeSUxLG8Luaq
/oAEcN7AW0dBm4bjA9pH/nH2EuMOF6KElBxkuCRwlEZACn2zW1xvVxbOcOwGjqT3P9ufngvvdxrQ
Ll1JWMlve3g1DKIyGmnW9hxpvuJqVjgfdNXOW3jrQ9Fz9m045aipzsWDg1WUcBVXEmZ6BJKnPNr6
gwCP/kjZ/aeBfLrOtJ0tWyAwPnuW3LQKc6W4rMmjsRbts1K2pMaUzX0aZf8hYYGnIrXEoMOMHBID
75Wv8kvzMyMfz/TAewJroIxz6oBbMdqXoBAfWUP/xrFah6JljzyZVwg1Y10TvwxFOukcQ9xn7j37
NyXeHy2Ro9s66TfEHOZTuvPso2N8NOP/8DbRSvKITAHEFucPmLZ+HOsRBUyukjJMVKM/TREBlaXM
qzCqMu2DF/qHmQjVFAGJg7xvFae8fcp6GdNhWZgmtND/9hZd0RL7yPTjz2MgqsJ/grd5rgC1oyyO
ppT15ToUx10j7dBoQGfeX1N/2Aox1IFHAzvSWSlpb5+kjwcjtQRvzu/sTTn+bSX3CcO9P8hZmDOy
bGY490ELBRg2mtZ5p7rTW92rs6kJNMvZ9Zn8rNLxJcf3a3Tw+8uyWwhTO6Hn5EL10YaC+yAz0Ge3
D0CIPpklOV2asmYQXv9W59++//P+MHtYhhBx4SK4UDjP9pWkK1TTc9wDExnFoS5pKwxzTYAoDKhA
wOH64PhZl9uvpBOXbv1qf+syVeGGnxtxoYAY9KFhjbBTk2Q5B7nnXWetvxH9fCDhcTcn7bcoa779
p49J+gKn3qohYb3bZ7vAsiTW7Li0tycv23FqhFOXrHjn1WB+lD3++6xiKMtGOcKa9NFzvJ1V7Vgt
Pe1D1ocl8fYgKzC5aOaP3Ep/P185CkySHdYNGyfJ3+aus9RzvXawKj+gmx12fU1jftmObbLGtm1m
0Mn33+FvpGqMqPAb+EmFQunIJvD2yQjCFa3mcqb3OGRt5snYdwlR8xQt8Az0T8qQX1SlDjFQfKNT
W0qgNdHdZ1nSfPBTfjt/kYYjh4b1s96RfjtBpC27dhqZRZYLEiDuqlEP6JluREsgd/rBhvfblF0H
s9kfkOVg6fbT4fqXbZ12Q623lUkjY5vfkpRCpI0M5qdu//7r/dMzrdsqs9TyBQ4fb99u6VDpO1zv
AwBrajubREg3mu9rW3u0yzQNPFwI/u9GNM9GLIVXmPQYA4CnTZuj1MgJMhAKHLHbtRAk3h/u7D3C
MUBRz0mFag73TBT+b4erFog5psXR2/Wk0TnRtVBFWFNNgmNU9AsWH0NM85/95l/h8e0/W8uZqvns
v/6v/Y9qFf/+pmZGmfXf2ubHquA//x+oU1eC3P+sTt38yOO0L37Vp67/h3/0qc5fls70Au6Cfca5
+l/q1L8ghwM4QI/2EDqh8fsvebNt/GXT5GI+cnNmDawHxL/qVMv/i4nKPUfoJsbmSLD/E3Xq2ezQ
IcCvClnuhatUDPnQ29mhI0LJm8KxaRVYZVAk7rVUNrtZjptHdfIz68HOoUUqpCq/vJ9/J8ivssaf
sWm/HEn/jAxITrmClRx367cjp1VcjdnaZSViniDtRT5mWvZoJ4qGHTQV/ZgX3aWdJ0D21udoFPR0
55feWm6mOIKrfypOKO85uY3h5Ivx1hXjzYW6JZX8ylPXvWkdrGY8xv2eELk0IDcdCMQrb7E3+fL+
g8DkP3+JKDw43biz/DT45Ux/+yj9HEeOHkHWXCwf+3gj25UTKeQk5DxlQ2vsrN7/RkFtBcod/G1W
LEfllNpeVeJLTD08mt4GSN0PHPjhQYDvBEVqJJ+zIak3VM6vQ9e3AfwZg79XEgShpVfQapJA1N4h
IaciIEiUDMREkpRnbC2RX6TC+RH7gn8xZSR5jUAdra/CFXLYeVNOVGnn28Gsj18HRCP0RbeOF7/Q
LM43TgviphXmpeYOnwD2xbNd3o16+R2ZNQmp3Bm63tbD2ERUJS1+cNf1ESBtKkGpNoNGUoxeaPTk
tYs+Gm8rR7tYeiv7nMIRv7Gy/qZX36ZOJ3s2N3CvUVAYtIImuHAfvB6DmrHF9bL2X1lu0IyXeF/G
WhrKxn/yh/ZL09vZSfPS2/HeEkVQqKIMoxpfMEDQk9L7MVBDfgWZN+gsiFJ2rV9A6DaBAQ04agVR
6hltrI1HhdUB9Ab4q67TPjosXcP3y6R/ApQbSYYvT+TP5pumA1mswQZg/KS7vE82sSWtfb94MTas
wxJqSba+DID+XoVOk172KtYOflr118DtwF1pNO+tYvUqwpoHBFwnVQVyHrqnPQBMRI4zMUMJeF/j
GAQNZfnz3NM2rSniArudTVrRJC2l3+wGYNoX8YPfYPoKb1FuqCdvZTIGNMMVMc5R0BYWTaauQQud
XJut2GuV/jSmMNoqVGxh6+gPEGhWO8bBOy71dpl3OzGNxBAXWhQsHn6GceKDGRMS7A0ePoNTrREw
Xx8gN2Jj40TudvbtnW51RDYbTRboNXZLtEuWR/BSgEpP3vl5dQlv8ZuU3hdkSV8jWw/0AWaODQ4U
zPZ8qO1XeOZeaMOMDQfHOOKKcAff4WS79V6b+oOuSXFN5UWHvMTmre/y236aQPeSbGeJ5FrV8Qn2
4BG2Ytgv0xxGTvNQFx60I5OWQevOr00Xb93J4EqmW7SjUIpXz9PiGBs1HR1OQEgfGz+ORuAQzE4h
iDmhMdHWhPzzv5k7j+3IkWzL/kr/AGpBiymEwwWddGoyJlgkIwhpMGj19b09663qzKh6Vet1T3qS
g4zIdHcIM7v3nrNP3QwTQ9yt3Bd9l92lrX1ehcdVW2UaDRoZqxs6FBrvN5OikOFX59quU3FYGOu0
TxOycepluixkQgtyCSxYzt34XrpFH6W4qdGqZq+5loPaW6oPq4djZo6KPwtxY2peFSBqekuHLsRv
TjrH3B9MOemnrizPjLD0iAiUN/Skd4tj98FiuRyPPJ4pUWX0lxfrq6aiD+w21UPVqd8rhpKmfdoG
kkZqEIOh1B49gWBvHchhL9z2Bss1ZQEKjz07FO4KlWlY38HcE/gsWoZribvNsbS7R+Zg0YQFLCpG
z2QGYu4MObp+4SmbXysWNGjejnKRnZ9oSDYRWu2ck5zsGxogm48cAg1l10p/ZCrRA+ujGUd6/Fo/
ZiI50r393tKSjCJT+1mh0A5E1TJARR0fjHmXhu3UxUZKSCgcBQW1y8Tlgya1JaQhe2bdBwVCLaGz
KnoJGV2VQAOZ5I+pJMT4OiBO6g4tJjzXBKCUo66PvSKMQzeR2QhmlSeDyS1NzkjDJUWlMRwaN3+a
5ZIj3zGgpSRD2MsmpLyC4QMPzy40mmoNz9hPWak/GgXmQicG2irXsF2zH+/6tPk0jISMbs24RzxZ
+bBE+nBhVheYR7PaXo2hNoKuUJ0wg2uXT5+Ku+kPtu1+ZAWvdZE85yY3WDjXOFxl0HdNZ+80u3nu
FLvfDROhQbV9zgmeDQZ7uVdNpQjFG7r/LXTprfqpLndGy6UiKoy7Iil/K4U+8riVb/M2FqdOxYvl
aPflKl8tR9Ij7VwQwUDLCRQdQGMrGeHvz1rDwwUwf9a8F2G43NtVfmDpZedoOlKGqaIFn3MzmsSr
D4KZOLGhMtDcZ2JMl8AGgYIi0v4oNO1lrIBYJwUDTW1ptV1iFXFD3xoVVXPsXGvYteryUDOqr6pW
I0OR00c3rPtKAh6rmvfOdsO+kcpNd6q3JNlpGeq0uVafnaL97o3qrl3FYUtzi0Z6xjnBFA+tFAcY
du+jUhl7ouRAfpLXMdab3JWu8j3n3lvBqgGVZXuspy05iEYasZf0W2ArzCN6HdFRb2w7TCknd0vk
sU2aYsexDh3g+O5p4HZVV6HnigBGEeZhHGBaDiWSHrMF/GGgEfP6IRBy+iGFXA7ekt3rZeMSc5zf
rImOMGyDT+8imRVnJXPUoBsZMuRt/rqo2XUlaIerZXtXpHPglCWNalE9qPMy80KJne5COs8UxrJV
5RcyPaGkCNi2JsV9YqvE5gDarZoOaOlCk5khlPaCGOQG6zHkc1bY2YnBvwGkdo1LwR00W9e+N3u4
2PaIEGvoUWBU5ZrtNBMf79oXvJw9iYaS6cvY8wgxGa8iQ16sZVr8XNPqHfpHRvpt8uA6yueQeXlo
r4uLLtB56xfnsV5dspVFfZpwBHrTC+c1fkuzhsgeeVxcN9TnytttbR8Kd7pNYPgfWrncS/RAzN7l
c2azkAzrFySC7YBUgNfIVm/HdlrP+cIIlsGaGwNKG3PrTSudD624kZM6nNu0/5Gq2qVbWFfIEL7d
EL0Enr4txLLrX2nelEeueTC3C9fDGJNbXRQ3Sj8f9ISBXWZqFUOH4VtJBh+7m8X+r5RpNM9sFu4s
OvSldAT6IhvOKB51mLcrowb0ro/5oj8nKkQ+oV0PLnrZ7ufEW6gCzSWuK+fOthrOuAjACgN4nlv2
jFCcMHHTJ1xEj0rXuP6cNS+NdCo6mw169OHFGV1iFxLrc3ack9L0O7227gSk03kZvjRnSaIUoe+Y
ZkjOagu9QVn/sBYPB0HuMfedmUkys5ShOjUPLSWpPaM2667WwUL5cEfBa+mYDEQOKjhsvzerOihy
lntwkA+WBcZsWet40vPb65fR3STO+iVaLPVlsvQ7MjBfu8Fd96102kuXGxxlyM6JiivHluagvsMc
EHRrk54cdsi4t9nHVOMxl+526utkQsncP/eGuhz7pd975ZTH1ZqVezVxD+jl16UZd8ls1mFcGJ0X
Zi4rS0NjFncBnMy5tB+7NkY5jTjGUuZds3TWIzZD8q5QNZ5ZSR5RlbMgawn5jM2MEBGVNYft175S
x123DewLWvuUmTq0YSB8Z1ugJFmTLTvp3k+AtUYI8JBg4vnqULPN8ahelccd38bvw2xj9MjEZK/2
M8pMMsfQZARkhSFfMGozNAb9J7hn8bwm3/1E5kktJ/iM4wibfeDl3dLz2lrjcSP2Uhnsmgk1+ndl
6Q/zQEL5Eyde7Ynt+qBPOY+ataw3G6YNv7a2p9E0lFei16Mce8mbaSLOJIik36322O25ZOi8SpvY
SM56WZFQSlmBUpJb1SzCRWVQvWRe/U6oAsr25RV5rXebbxDXNT4t8dJPbwQKvCbtV4Fcb18bWxel
c0LWMJ4bVIvDpSJ44aSU9lkp9Xv2u+2t7Ru4LgANraYuogngR+CmNkESg34rpLrEywJCXPNW3is1
66OSlladLHOwZtpJRYjDuU8C2lbbD3U2Viq80T1U0uAMZMyP2uKcG12uu9RCz5mOLmr/1CQf9Kr3
1DwuIFGEbE0OLGWcC8iD/CKx9X2aG4/gRLezNQK21vQfEml5vo3I1dTU8TPDba+SRnPfgpf0l2r2
oj8SgjYX3NCof62z2QdNkY6BLN03w2R1atph5Dxf3AmZnSjymHGfxVC8WYllnXAP7HWj55iqwuIw
FQ51f/zDXk1YCRYD9GQeCRhX7ctUAm8aSjjHrbUz+1Uia303hx4pVbpSNed7T5XP1TroQJgH92Qh
X6MI2eJp1d5UCoddmVT81k156ppW33WmtSu91YuVevWbsXD9tTfF/arZ6TFNaZSjVN7JrmSbK9gL
ZpVjkluoil/Krr21VOD3MrUfUB0+97V9lJPytSyZfnAU7MbVdpo3+0up2HZSRfa+OlWjj1p7Y5VH
mTTJ6S4X60+FrqrftR5nui33jtPcecd0c94ML613DbpI1Frd64JOWVACQFc0icGG/zta4oTIikQ0
Dnn15u70qx6lGEcvghoRN23SUjgiLphxOMnEu8gu031CHtjn9eZkjqWBUjxX417d3sck+5Yrp2RJ
Sgl1HA6GjaOC7AgrqRC9Nmrl+kzaSXntZxKeBUkhuFGUwDCb26JyGjq9ybQbh0XjQLmNJ2QJU6yo
OhC4K8UjdWrjZKXNqcxr5U1dsjZ2lAn7mWF0SEqzLZjyUhzyDpHqWFCwmfY4nIqxyKJm67B+6FOH
dn7kQJ1MaBa0Jk5ZjW1u6WiXPQckb/XLycDoR2XSDQg3tBU9bpLKW2uaXnvPuOi8k2hrs8uUQsqd
BSd71Z52wlgpYIfuVvHcJ6NVIGWln1p6YjRZ+NWKDcH0XrU1/zI3lfgJDcLt6ryMxdAc2q+2admw
lVU9sA3yCte2vyXDRfFktneFOFET16FXkq08tw6CasQ4A56MdjpUCByxE0x2PBrYRPQcG83wVXLj
9THjxDc9GSbOU454ua2Pp3FVaFeC8fKqiibDalxst/4YPCcLJqsdAyQB+mM5HWZV9tTXng9d27es
7XZQszdrIEWr17Ub4pD2MwreWIzVjdk6P1EOkV0uOHlYbUkSu2atkdmo2AS2wzI5ZaBkk3pbTrYR
ylytdjJHh2r33pNmlenJQvOGorCpg7qwAQR5DSjxEfGIqE6iKlSMW5wYUMYdMGCN7yLObDYivGpo
Ecq93QI2WObHKZvRlbJnZx1mR6ZkcMQQdAsRGsaYBegdr+CrN2SHdETajTLLJchhwsSCt4JzfCqK
GNXUW+3UynmbR18qRX7bFENJb8aBfq31x81R7FOSYwpSs30hq18pdu7MzKhtutYIiEzFlVIXOfxm
kyvUAGFxOEpygO727lBTFdZ3ZbuwPZQJ7QDtnKALrqT+2Gq6G0i9+LYS5UlbSorR6ztneZ3Cq9pP
N/lBRW0EkC114nzxmmPbFrfYMfs7MVh77Jso8DR056M2pc9ZZZBX18JM1jPpIrPq7HiBav0wNdo+
a6V1am2Y+3OD6tlgvG8B96HMKDj6V+OTzKf0qVmGmL/TtfN4cTvFOnCxSmb0feNvmBdOf/wlSU0P
BmgEJ2JoqHimRtz2dR9PkOFvJcE4yJ3QiU1i3DXKGGL99y5lKvoQfb0bNYPz5HSedxoRN6t9zasl
NO/Qm2Vspt3LmC/i8vd/JObLgH4xIGRG1QkFAW3t7vPSONXz7N5tumQD0SuMlZMWS0+FzGWY2QFz
w6+5NJ/wRKfUyFaPiqZ9KHIn86ElpUHmLk/ejKUHdxhjWydqvZzUV92IAMO9NQYvvyUW/Dey7+4W
OdysxXizeQuFt4m5u9ff7Xk4W1mpBp492eGmsY2X0Iiu5x15oiGCv6SxKJKdsFWr7nZbijokXgsF
2WXo7G9J2q219DN++BGX2oBQajMu49ZuMRDMh74+Fc1IEo1j/iwbYQWijVUjP6cqPT25zgXOrkWE
SU+cQrqVYWdyiEmuJ4kPBwCHf33Da0fdI9RhvNNX1JZDq0YrXlEK1m2XEvC+c/smj9KcKyRm0jmB
PMWmN2OGtBvHx44cbvQJK0H3D/Bmcsole9ckHY1TdI6JZnKUqB5qPDI1qj348d7YFIGYyqOoKF/N
BqZen6zvDezRIBMdsH0944uvn/wJ6r4r09dpEdkxfPMVySuSi/FTWTkmjDUKpk3AbbZWf6kt3Xfa
K8cav21k43RBd2dZTFwjRPof9Pl58TibNF1W7jy9e7Cm9stEfkJP1YzypSb5Ym2/YAfFnd5Mp25R
cYAoRC7IuY3yNsBEUu+NjsrNUTJxysW2Kw2DzoSl/6ybj5qPvXUwAPsC7SnXFW50uVF80fO4VGlx
pMGp7gjyI76EbaDygnbuZXTSlkGGOZ0kck+iZeQ1Nnl4Ok1VdkVO7wEj50c3knRelTaLf/KwVTVd
LjWHmmdB5W/GO89IsHarJp815pdsW89WUSHXnVcr1gsn7BmM2pYwXtzF+3a96bMOoOG8F+S5MZlK
fsyLhii00fSAhFGBSyUoxGT5WY0vs7te5E7YNHcbEeTNNN5jgD0OgzSPDSpEGqquey61Yd8sQNm9
ho5kjSs2rGi/EyxIrVAVzX4w6sPc4xbOEWP6tl1Gll0MV1W25OHSTzMCfZloNUWMc7dRUDQeRmcb
llpvtu2V0c2ZflSOi3xes0wcnY0LTR8+bN2rKxDrrmYpD+4AB9YAN24vLsTyYijifhriYTPHmwwi
OvZ2DB4tWa75RBxsleA2N90Aww3Kxj4aihchqf2Wvu0QzM2xWG42y6UhQ1hUnub3oyoeJkcSHFym
R5InppPdxMOyfM6zMQV2sZ4n2VM7lmLdG5im1Nn8YdMbqxBmh5RxD2Zdc45y25wFaAKxPuc0Vvi+
Ta9tFCXp01j7udJ8Zgurglcsd046A87KQYpWm44jciO4hRu52VA+S49Uj+y5dFKSXErntq3w43GQ
LIR1I+shyrw+LvSsjrvefm2EF25mz5HSaJO4qm6MXZ5LdYdOQg2qrjzPZRfNieMesAi9VZVGrP2i
8GIbIlz77GSPKwnZLDpFe+cM1WOb9+ax38p7QD/VvYQ0pnQq3D7rS2vHW2SKl34ojwpEhD4jlT0V
HGHNcZ+U25mEHuUs65/6YK2xa2ULatLi2Kk2YbyKQ/KIRv1voJ1kIR4Da5OsIHpl4jCBx76mHsx5
uojDSsYIl2qG6LHLk/Fr1ETsKjqrgEcENcUPO7qZsyFOl3nrPcTBJSkkykwqHaZb78rpk8XVQrgU
17YrXn+7ZRIwVY7gXg2SdpIC3KDLT1Kz8HnxYgwuKSfGVz5ctcE49mjFpH5n2c0ewp70HYczt7Rt
LXDQntKPhxxQ6BwG0Ulp2ELAxtSzT1AmBoMEMRut3t2UjNc4jbPdUgJ2Lp2B6oq2q6+aNyMhNnqS
295eEFZ7HAQLsiWbOmN1l+Izn/N2x0b36kmpULx0XVRn9RpMU42AubbwHZDtid7zni3v0xrDpAP8
lm63okVxs6n1jZpzWZVsfOiMrQg8dqbOfFVzCllm4qwCtfnd2Vus5GUe8+zTbErZGlxya4LJdA/a
RoEqZoTiWuH4izmGKGtQ0ZpjTTjY+ug4azQmLctdDwcJBW7AgI+lUWxGpJpy79AOqD1J5izPcuA5
03QWaf9aW82RQyS3DxIks1stWNv9VYYRlGhd2USQ9xeaJjCtAV/rxru16W6bZsmC1NzebV18G3gf
OlQhjT1jd3EoDnQv8XFlkFBlTa/erL2MWRMx87HiOe/uekqzehheAWIBfNmu1taNaQ08d1pIe3t0
DhpDDqw7EIiEmfAyTnpATO2jbcnnEt2zXxg/3UzrwxUDeFxa6qW4FheyH2eETi/aJlaMnFvkWVNY
FzzUVt/showyOcVDSINTOaZK90NzBD28tSrJA9SxWaJVxZJJWp6zameienZUTjN23zyLVlPebmJ4
2xptPYyqekg2a97Xtfqe5EZDmsuB3ia3YaXmbhKFXDp9uMhFy/x81srI1IvPbsDkqRHCHJq0iFdM
jxbyZKNA0Fx4dUAIiMWzRH/Tztc8kK3yY7XVION/dMyTaFUH3L9jBuODczl0Bzu2nPnTduaJ1AoY
7ibO/tpKR44X2bNSahl0hMjQ8u+u0bw7szb3xsxHiyW9VTC8cIrV6dOW5h7x6RPkNge4N4BWxfPZ
C/vd6C536cBcJElGzHer2YT5Fc1hzFxo7N7CH5ure7GnP8R7y3jLwZIM/a919eMqXfc00Odhe6lo
xkZZU7xMy3bboN3eNWX6prSNd+fUC2Zji/EimurzaCrI9vGu+ELVIztbnoq1eSg6fcP6KR/qPHvI
J876uqqEXrE96UuHTLysmU9M9mdiEtpAX4QvIZ9lAdgMMmkRsp9+17ZzAarBu1gvXCgq+zmlAMkS
e4hLz404i+TxDPU4UNvtvlmNKPEoN2CTDIeNFGgC+W6GmXbwzPwNBEBT7lZRhTARxyi3RRuZrtCO
K6cL3JsFFjPUx11nfOpt+zxr195CnWM7sRceKGEfN9GEi0cG4loYewYLl0wh+yKtqe2KhSZwSsYI
7j59b3nyiiw5qWm/V2WV+SLF+dC0N42Yu8hwaMfNRpRvqxt3XXPSBqKdQJUEZTc4+ySH2LW8ls4W
WQR5izJTQ6kQNFUnxckZoNgig48x+V+8uX72ypqgxcQAYyBWHwoHiZFlxgF7TybhA6O8EV3beA9l
ow+G/JmYo09VctawF9J6PLugEWovQVMlZbgZhRs25wTTx741toRpDsqGCSoFKsP6gef4M3fT73G8
9SS/oMjI1pUGXaU2gc9AQefXrTw1eCjPq16R6om6MRRW99OpiLAaEDWMg8GNdeUDmRmqO1z0ccqi
rZ5f1W1pwg5fJHsPKSLnTswN9t/5ZWqthO61cz9WXHwn634SBYbnRvhuRe+lXO23dmVB6zCObNYK
V6JxyeQAPM2FY8KvlcVLtU0kvnmqBfhNHsot1XcJo/ZdvrRHWvN0StjbA6ceqjgtNAZgGfNskIwH
Z7G7IHVKZ+cW2m2lAa9822GW1K6Jpkm05ExOnZL3nopqDVok/OHQ9y+uGH+pBV8IPyjZE8Pyo1PW
R0EDKli9MXnFr0DrRuNIprgPpszy20U1j/bCsJVasfHpDpa7zrA9sEH12/2Wqpy4Jo1Z2grKR85G
sOVdbC1Ziqqg3Vmd8jz1U0OJYE24953u4KXNw7AMd2OtfbTXXfsPNcn/SDj1rzVRf5FNnfOvjqyA
7+F35dRf/tZ/p8C6fpt/SLD+/8iT+EP3/t/rqx4/SGf4XzfjV/7xV40Vara/i6wUW/2be9UJuqaO
XhDN2z90Voqt/Q0psGtAv0QTrJOv9Q+hlWb+TSP1w7xmc18lWDbanf8SWmnG3xzVQeZoo+65ejf+
RzEA6L1QAf0fwdNVgEdmk6WaV+oaX/B3xBlHvHVxCh5kq3cxnGQvtP0iKpjyR+Fqh0xo4cgwDwPK
nVVnUYELULhWVHUqJYy14Pou7cuwlLGuJmG+NNLvRfqqKQ4maI1JmXseUcwY2rdOgrqSbfvrFG02
lKhPPVquaCq6gTaUctwyxoD6G7y3nUm3vQHYZTQM9bETTSVS+RyWjO692awWolJvjaKNM1MJmvyr
3X4ZKQZcnNYmJsx+UsPOasgapo5MMn8AoeGxXjETAk6T7VyGJbjuePPMq3DmmDQELDpOTJFI718J
Z83ard2tM5uBgHC00VIHsLBQb5ZjEdPPJojqZdteaMDCLJ0eBsHloaaczI8S1oUy2n5rvm8Lwh6E
sVx035BkQM0TE8KMDhs1RfnAjMQYnqr5h2uz7iNnE+kjYiV/zbeooG+VXi0QQ0yddm2h+Csrfevk
rCYJUVlKqJevLc7dNMGD7sBYUDb0Wegrmgd3zGNNgvTC+HTN4eqkc+Zbct6S8cIEtLesm7JcOJp/
eOaXwH9ZbAwjOHvqeX7p+cbG3B46lAR1iRCHcTljrXPPMBG113FjTGsUNEvTEm/nEspVALYZz6K5
JOZ4kmUaOjbAjDJmgBL8kQ+VxIP2IutPCzIVoQCIsy6TUZJ8NQVN+rJJ9CvOV89AwyrhRvAQaYgp
FIHmRT+111Og0A/Kmu4dUE9Tzce790qtct+VCHX4PnWXl1YV/soTYDR7FYEbDQvaC1QgHAxQMPkK
KOcB8ozpfCT9u+SnJq6gyd8zQxmirl/friiZ2X4v2+ErIQ5szNJLo5gXdxXvRk7Ap2feeel8p0zF
bhgOK5oyBeVqWuRQsatoGLxdwpKMPApNSEOHFd5H8XYFt0/2l8yHaBs1muYoazSVy4WUXh5wvNzY
+bEECMoO6G+TCxohp23I0UF8jV57B5/CrwtUY9uLcNWgpPWjWb/S1omanleNoiplkje4eiA5usrU
wPJqnQYlO6Td9RjG9mq2p76iA2/JG7dx7znjdAA3ZqegM7Od22q5DMi9TObyM8qzCit0JnCC0/HE
eL6XrhMuWwvjI2cfPfNEUfcZzDLU0KLnhU6j8uJ1nMixfNvWOzmy2xF4DybpSbQXS6OzUvziafId
elzr9Jmnv3LulFKde+NnUSGc7q/Wrw+F35/DIBpOXUfNT0PReyhWttf8R1cml4TpnDCXw9r+Uqs8
ylNAORlynWtpPz70/Yme8TEzP+z8s51MtEEdPSProXSU2NEfNdYIMUHutdeT5jDvzzMkPJcmpb2s
7UX7Y03pSgwyIhLcb5fjirO4gwu2cSd2lVsevBHMUK1wyD0a1v1oMLtaqx3DrmBUFmQ58LOV6bmt
X6HL+lKX0ZhxDZqvhkkax+TLxu4hn5yUxgESUN6Bq3xFXDx6H4r5nYllL1RS51b++yzsNhFm1nZc
UXoN5jORXvCbjyDIWZGN2DA+G1p5KU+CO9H9NO4NY5+uz7lzWCi7TZaqrj94mRPAaIgMlHFZ/qE4
7xbnVSDdXGQM7Ddb+54tImaqvVu1iV4kwDoma4u2RJ5DAYzCA6yC3qIUtVCnAhoqp0cYHZesag4S
1oWHUrsoHuvsydusqCPmvV0uU06ziRVV8Fxej+eF2/FHK2vfVeoGLGVrQUD0QTWIc52jTXTfehpN
S/YxJ51fcANKDekDzUTIhf5IXrQjnp3qPA8rJWEszWK/Ogy3F+ok8TDWwLGLZHhi7hXWCd1BimJv
UP1NMVlix0BJ0SJuRmAbT7Kn+W0zE0Z/owbOuIVN+db3I23tZ7qiNxRq+JR/JunqTyvtrkHdz0y6
N1BxEsRY6c7wFIxjRXkJWS1U2qNnUXHQ1bsawjmLu/mt19xBmiAL5TXr2IlA1xlpwzo37LMKUGy+
00btB1lAcOXTc+r1fk2jA3AHy3ARjsmnyTLouc2uTh6lrCLbu9OsV100gatys4eBgIQpOaosn4Mq
Ild96ds6ANkHajAlyBo+gLyvdPKbs2K/2eCLmvXVLBjS0uvfDA5sDUXB4PgWjqbWeVTn20W7HwdG
iTTDpop/mRt7UadBokFC9N5d7VdfvVTWekkdKxo955Q2mP0NtKt9W4TaVe7LxpJk3YVq504daQnB
Wp4cN2zt9UcHD6DQHZ/hR6QLO/IKXgldhrUJeQ90hYGdwKAdhf4/ahz7wZ7yC3rqMO2Le9qOBxLq
aFPRcrn2XXuNY/XykStDKDfr+iDdFQNjJMz+5ZTt+qL/AMpy6RfwtJ4XN315nFeWKcajpKuFXVKH
68IAXDGQ370YdI9U80c70tbPvGDt6qNrvXVArfpxi9vVZNh5p2ufVaJBry+QONBbZ9a7bIq/Ev9Y
5zOzmjUukGFVy7UuiZS++dLY4lUatSr3WhVqiM04bIc7U7w4YkN6QVnNg0F95GuaFRlFukvHNm5Z
W2rzPXVXn/DOS0qY3LWhuTkTrdqHTLxa6hWFxSyfC5fYpPnpQWmbt6uj3DZyDPTM8nsv881Kja+3
t1VOLsSkBhE1mzgIwLemel6rH3AnmT+B77Pyx217W4zqdpK7RmV/NHjjD0QnxSr9Xxd9ctYyrZgY
uYMcSLxfw/hjmWaKR8Wv9LdGndCMFQQlvKTTXZrq2OZZ9Yb3sf/RrfN51qqoY47IjQ4m923rrjOb
26H37g2lB35lBIue3Ew1GlvW49zd4BSBv+u8WJ3p46dbnJoJg6viPq3GI8QbXkl55teaBsQDuHmT
2wcJjM5hmCMLJ5Eq3EOnHwbvNbPZ1fo08FSVVZAgCRv0n+kdsD6dUtTfLpuY8m0zeGndB6HOR4XB
5dxZN9W68o6MYYtCzK8QlCredO5G59k00680KXaO0OhTIwo0UnGHCsivWfIafqUhrTMMqDtrBuAo
alSo5akHBrL2eVgM3luiaBEy1dBc1aOyOUAioQ223gU/3Le+rje9N9yWTX4xZz2UE+JfT13DKcti
cy3OussPGDocgigc00SL8PXPvlJYu8pq9o6AtJmYn4XIT1m+7hoaHSYKD1j/8dVP7072fToLWjLl
zsl4RpHZE0jrClZorkbuuWG9qjtYPa8Zp1yxoI9qTtWkxpnef3pbd2+wjNj0JddKPAlOCAWdy8X2
jji4d1U6Xzy2GKnIg5F3ByRP52ZNgmHl+eQuzctPpgyXJL3JafU4jAzM5EYrzHAwXnQEBPkCOhBY
FdcpZ9thSMUG/o2AjmiFKtLZY8yFRlOWveSpEYpsJcDW7d7XXg/GrIZP55w2Gde2FS9q/zW0P1uP
Cv06zO+AfBITC6uBiZkIXfTDfQUHseuOqGwCVWUoZTZf/95r8Ycd5bcaSsNMbKg2lG6H6La/Oi20
1GR7docqRJkVmkEdVgfjYsbp3iIt3a9OydNwAiipBLbPfCpwXycZcFqAP3jz77/Jbzk7f1RzGmMv
WD3Qsx3Csv/6TaqttKCuzddvIj6cN2eXH+mh++pX/tTcEgEa/6dgt9/A4f/0ifZv7vfcKzAig0fi
EwGFBtp+2td7lMY7iFKh9/Qffp/xz9WqhtMPA45tc/T5PeAGSxilgoYhwSadO93D1withy1mmLcT
u3SnXf4fP+83V5xW6AghRj5vDuZoIwN8kHuqqunbi5nJcm4IDDv695/5V+vff11Q7MG6hR3eNH+3
O6uMI530WpALbd0XCjYDJD9kN/m2UUQFwJ5//3F/daj+08f9kS/wJ0OjHDWbdjYfh9LBT8bVJ/VH
zZT/8Cn/+jGh12hqhkNm9++/Ssksmq6YYEL1WF/GuIzpih6Ju/cbevf/iSnwmzn17z+K6ZqFsRCj
keFef/SffpSK6TYpPaMKp13+sIXMa0JcC+Te+F4s4beFyf/FTfvzB16d1X/6wDWHHLoofKBFuo4C
rhgcV5Bwinftux6c9b+/Z//yapoAPXWX5hDtm+tr8qeP02W+qZBsqnA9sgX7RE7/orQwffjIu+xe
yP/gDf3Xn+fqOCKugXTu71ayqdCr6n9Td2Y7kiPXlv0iCqQZR6DRQLvTZ485Y8h4ISIzMjjPNBrJ
r+9FldStKtVFtfrtQqgXZVX6ZDQ7ds7eazNyWx/y9kXs2kP3Wr1O2+qDCcFN85eLZd0v/7if2v/y
cn8whwZQpRsf+jo5jlOYbJlNYLJ1DtkxO3t/8dH+bPn/60v9YcNUTJuaKfUKJiY2GeEQnbLHWjz/
//xe//cD/XGTbPUETnLmAzkbENMh4OgwPns77yB3ydn5q9Wxvud///ocZqqr+ZwUpt+vDrM2PMVj
uG5alGHfrE39Tl+ORJJ9s2+f6R1Q4W3dN9RTcl8d6t9MtjRn/zya9s++UWgQa8YOmWfQL37/6rVh
+0k94ukR1rdo4q5P8wyjy198o3+2RDyspvQvAdf82y5ZNoz6bMNdP+MYTlduQBfzft6L0H7NDn/x
Wn/2iTBhc+7gSfX9Ne/3X582nHKyQvhehhhKpjeTHxAD0S9caF9oDa5mOLynf7mFifVk+f2P6AYW
XltHYq8X/7ZhuiLJrairyzB9iW46nCwf4xVK1BOj20t6pXSfzmkScoe/AvPao2o1Nkb4V5GNf1JP
/O5d/PF0UF3WY91ooVxy/mXfZ3vz26OY3qN8PqZPxfY/jHpZ925ekhyStV3uELL8h2KqM2zVBopy
uLiuX7W8RCciQM72vr6Dl/jbYOO/XKzW75EX//5q68/wLzuptjLTSUZeLXpfSzfvQmnxnYhRvll7
jxn+WJwxF/zVq/7pj7sGi0gJjBsD9u9ftc/NbqlIcWE/0DtjQ7skHC/rfgC786H97YH8j4Y3/91S
l9cS+r+eu2yTj89/Hbis//Y/UrolIcnkTJLVSnqWDxPin7Z25iYk5AphcmAG4u81+j8ylwV/4jCJ
IS2KP3VBwPyfYYv3N6zwJh553Lgu4Hnf/U9c7QgEfvdQexzXkEDAv+CY5H/gf37/u5NOp+zWcs8D
WkA814ha/AViMcbF6AYkPmJQg5wJ/TL4liF3BCg0Jf1GRR7BJSNfst/b7sxgMokdsaAWQdGaHrAI
azqoTRR7QXngbzKNkXandBZ5zOg76RdZwVPNUWYOBrLWqaN/fsujBzMOb1Ua5N+0OZuo2oylMEbz
roncRCKYz6ln1v/TsYzXTIL5eC4BXbs3vSI55L3rXDLTttaM3Oh75FXCuzPkWKM2ThHfqVuz9kpE
SW2vZ/0C4WlcvkqIrOOvKo07CVeY2EEOd9cy6aKMeuofaG0LXIBSeM6hwf77SZaoJRd0ATXEYQoQ
Ymu2lZxaQIZOlopvWrXzcqurNKeLlgzaHN/TXpIhAt5xqqb9xOFuQpESiXyaddlD6ebaRIQuXnbP
OPfpaHQ3LBWDgB8RtLm4mlO7QhZR+ca1whFKYAqWU12bqJ9cOVbydclRN0UbUfYZdHNLDQ40yL7K
R7NFUioH+Hx4Rht5x0tkLsElZSOemQtO8ynmTO53Ta3xnivECMUh6mH2KtI5emVe+gSD3r4oRwD0
+JDsZHTpMM1N8V5HbmFgGfVajwyEuQThbEk79lZrr+nlX6JvczfadYDyo344dW2ZVtjf0OLbwXhn
zRCamI3FRlVM47upDFXlP9qURBTlbLp4WUA9z4u0c7lpo7o0CgxU5aR8lp4286AQB26a6A0OoBet
zNgllo6Xd2GJXosLI0A08wnoJBZDE5OFtpCM3C2ruRENvD9xrZf2WlhVS9eIGIs6j2/yxStMXXvD
kmzKDLNMUozdKpprEe36bjuVLdMStF37rupMxmrItdFQ687AXbG6CatyN7tWZFq3UveOZolFiU/b
z+Gi0eE90ZZ2MWBI+nWQI4uBBmslXJ18KEz2NG5Fm6XzrVxUkDAqSKzkpjKawr8xS8c3D2PnT9GP
mmQNde/mWYClLp3cmhAqe1lu2ylaqjeRi0YzNVGeapgpWD1c1q1V8exPoUxrTYifysax/YxNs4ot
VO50modtlvMWxQbnBjR7GPqLA8i9q/LK3+NTtFF7la7fgiAH+jKBXsqdqR7DbFpKK96Xma6kHfoI
aiUGDY/oleHGdwkA//C0SMdXX9BMvAE62AFKTAalyt9uxP/RYfL/Nub/73bkrLXPf33k/C/VD93v
x/zrf/DbqWN5f4NMRhCgWDWha2vin6dO8Dfqt4D4NuoZM+Ac4aT/x7EDMcVEr+VQV0Kks/xVGfBP
mIr7N+A48Ef4GbnleZxi//N//K6m+Y1q8+cFuSQK6/fnjgkZCr8v1YZYGVTyj0P+LE6HxEdCv41i
bLqsx3Lf4IldjBKKd8SwdZqync/IYTJBX8/sVfMqFJsu0chUxnXdY13U+IVax0WkI0OGZu8SMOwB
gOxWFj5NdNytntcrgEVWsrXQMm/k4pzsOIKA7T4OCm9z7YgX5RTfTKKEBnDB2yRxzZ0eJqKDKrWP
GeEqDdwokOkDAMKHaZljIBa4O/JUXedYf0T+ACZcow+bxvzdh2u+6dFHby8ryea+LC2XnZNkL4Vq
YCJXCX0VYs8pf8YYC+SSbBdRq9eiRHjajQi+BZBREk+G01DfVfR1SreybklWxo0UAclOYc4HEvpE
0CBZn21gC5U3JMfJhF0f0Au1MA518TO7uuWnj9peaQZ3zFC7PYkZ5EsktKjtdpd4RA/0zfJIRsWN
6ya3k1O+EEMSHaw4f7MSjjc5vNkgwXcGNGv031GYO4xlCitbOaKE7GBz2Drm05qIEXpMLQ45wSZl
FP2w3JHwlU5fncZDwIGCOhxMpQCAmAyFsUgP3dAxdU6iraPxnLrY2TZVRXcXG9wVCDROzYGcAIDl
HGdpdUzBsmSBh85jhRWPvo6vQxnRk6aPakrCHRZSimjEzw+QZMGJy+WaJoYVlsNnVczNFrvql1yY
plmTYlwE9jok+oMRgqzF1UthjIAO9sMlrn6mKZ6lOQeVECUktmFa3RKOlG8RqK7B9/2yk9O5zSIm
/6NYTkFqPkscaCFGeYUNwzpaPaMZrm6CdipN4tFlgjD2vXE0/eDYoWDuHGj2iwEGd86IzkpOILJt
pqfkA3kZEpOqKse1/ppurST7NkXBIwT1Rxjxa5YwKQfENjhkHxzVcoyFjSfcc7aN4eLHmT0kHzEx
GqIK9mjnzrWU8bFPCYEE2YWweYCJOzOMzsgo3tYwk3e+m/+KRDCfrLhtEX+n9s6wahy2aQOuJogx
51f23uDTb6AcOAiYGa9RCO21wGNoI61F2Re8l4VDB1IN1nOwZK+J1zOKjlJrF1xtQsx3gd8zUKVM
CjlhST6z7OI093o7gbmmlzjIc5sKRq0C201ECnm7EWKJQ6MOc8zt35PU6Dm4bMYFtfEIqABLrbsU
MF/ymukunOiGCeAI5AcVzYrQGzmWTEIFJpw1hj9D3la+DlsHYj5xLgUZHYB8+oQnp/82wxNQYnhQ
yvcPKPXCwSr6EA/2TyEqeiPueJRulh8XvDYZ40+Yei65EpiZao3yUkcaRfSad6LQydQmE5x+0NEl
aAa666IAzQxxuzGWJux1VB8Ew4h9SyiVXyJXjwhWWbrk1TXz54yfLyREjT6kmT64HeJZPAaY/hfg
Li1JIPxW0Krt4xTja2fY0x0Mf0IwWvn1LholqUBKcJbnclezDYKSEOHsNZAXfG+l6JK2V8FK6gvr
IwnKgsSB8rNI8YRX0KkRxjBFVIEhQhmcAZX0NJKZN2Zud04Y+0B0MO9IWHgcWyZyZqLhl3hcELLX
TjaHvMuyUyOST4LDLmM7ABnCDYbBCcOog9KB5vE3YSgcqWwNhPhIcEa+e2uVOJbUoEN/1bxWQZ4e
3TR7gZYQcSrwGPk+Uug5z8jjGIqzmLcCUaLC6HabCmSaWWRg3pr3fEioA711l037QI6sMoNSwyJs
fgNuujlwLLwWuZCotuSWkKUupGT/UJEfkLznMROu49c2Wc4W/vwtg8nHSdUSY0OcXmFHRQjc86y5
VKZw8aNioVJduu/Hqg3rFqF60ugK2a0SZzKeLiZXGlLqiKbwiaYYmuzeaXV58CofAGpKhVQMydlN
EufoVZnBDoRp0AMP0tveq0V6yQGPqMez1hIC08DncIwtcRCqs6JjgcuNP7FuyqyRZKaN6Y1V3nVu
64cAuxgeW+6h84H9G7Z9MCO0c6lJbLdT9C+p++pAobKLQuDiaSuEwfkhLYIBOWd8bWeG1yKzh50m
2UJJ57Ee2y+zBaiRDqm1yQvzOtogA8oAFcpk/KidYA5jUE99NhysxqFmd3oWUqDuM/X3lVWcTemQ
/Ud8XdXNwFc4NoWT3bnImlpU+pGx3BLN4TzpATh7ps5DNrNchcCk503ol1AKLA22qwBe/4aNYUMY
OPkoBdbeVkpM/AbILpwaexxh1vAu42mG0eTFqJjo7NWyvONx8LFJyq/BBjyvDOs76Rg6lCCd4755
SLtlR0TRGAYyi4gsIE1FegfECyvNXKIZXji5ndUoMo5vaWqjDRqJBSEsoNyaBjOPCNFZSsbgCfcB
HagspBQZkPfhF6+4OyXNd62m01A4R6s2gkOJj7FXfhCC3MLXucrWBgQ3uqifTaur9mm1QmLS9DGp
qwx9zYio1kI2EuE+xWcRLmkD0sRjWfu7lNL+QehNYEzIcer4Pm4zaNVYfkr1bGMg2MsEvZuX/JAO
OXpRW9VIxHGyJWNb7m18l2jTEBbZzhV83jNVVm5krzOQjY3mF0ioIxrTWq9VSIdN50M6xbTmoH94
K8Ok8q8T85njZBtH3XqnLoUvIIddlLYfYyKufWXU916fXIfaep2hKeycEQN3lfunZhy8Xb4ahuoK
dtmAAn6wLlXKHqAjCBfOQDDkDDKgs7kQwTmot6OgBTFPd5NQ5BcOlgjHLMzZB0MSNuLjUNT7Ubv3
wBQgyaQ+krvZO7TJzOQoA1Ewwc2rJhV2EzoAFRdg05RIT8aInrrviGdF2HHESPVivvouzIFRk2ca
uLB883YXkUd0dRA3hZCDXrrIUti1yFXWWCCpYbINADPaHFn6ulAD9Su4KImq7GhYvPGUKziuxy8x
jk9xrPVeyPnZ7HuMW2aMwIkcoYzQBCUmfhxTvy269Hcyl1iJ2ma4mTVSpaKMnZ1tJQArWGCzGJYz
5k5jpx2ybmTGc6ltZV7JMnOPiJDim0qAKioQ+7tLtG27pNlj0NXUGwU8MThZW8Owx0PhpgTDlOJo
o/wOy6x3Q8bRGP1sg57PjPZugTclSHdJGostJJbBYxSRAE8WKdbQ+GUAIzSYL2QZxufJOwVDle0z
Tb93zeWsyJQ4TRZ61onJU8FMHKI/kjYw5yifqOAbmkzUkUa09wNMtYo9OCzGAygj8wCD5AVh46cx
xVc7m0aQ2MgHJsJME7fgAFkgBmQGcvfW9ZdbYTdoYYb+ziD2pyr7fXmgFTLfERl3FxtEkUxtmR/6
MI374tSr7lfc+NeubgCOmdBaMvejHMzo6PXRE3G2BLHMREqY7nE2MXNlnfNqGilxvKpCO0jcjNNA
gJHLQrFRkUhYHBeneK1JU6A6BbVodnYNd2M8BDENnQCSg43amEWb32DYkumAG2thq5V9i4vYSvp9
PqFqJS+Q7a1Edufb6CZMfNAc7jRHvEui2Tlgc+DFintxxjV6wKi7HajJGLlXyHnx2eYZMU0CPOVG
B9LgGrO6vrzuZ26naJuWRd9VXBVSF/9Wxh+VOm6PmA8b0mous4kVp6etBhdOspe49dnWDvkgzVl1
Oj7pQB0NAe+mo0sFA5AvLZmIAaZABuXjZ6g0k7faPLmlX+3BH41bu+q+MgeBcIoE+4RENtjZk/hy
LHo3xIghD+3yqxuz9eUKJN463S1inuyqxGCa20hWvPnNHMtVEhuhjaPDQRvqkGLZiSvkoIFGXZTO
GaZWvoUgSc9WGnkXAIuHuKr2upU/B8P5Vgof1l3J+/WMAOHZ8COH+bvV1lG2RPHKMvpa6+yuHb6K
ykjYa3AfOlB0wxowXgggQJEShh5SVHvHzx6XoYmOQjMcNpAyJ7b/Ilp0pAj9zt4co9NsRm5s1hOt
0mpXruEcM3CJ3PhS1fA+tfEp437gYuQ+yEbeeuUFxwh+yvJa1GN+nMj+5Ous0UpVh7ITfEvS/gDi
7yO880+kZtn7Xtt3oowfpUc9O3aY7Xr94QfLlx9NcLomxF9d7W7qFGmrqqnAq7rRXLVwmUrqwdTk
zJr6Um5cg/wW8mg5JJb3YjSOCFKL3ayss8IXm+usPY05hKKs4Snromfo3tAIdEYO3c2I4Dyk/TVC
iJHg9xG0V7J97Cl9wnho7hLatEeioY+163EEdzhkTWA3Lu9GotMfU37lxHN+TXrmdcuA79zS3l5o
bw4DvRC/26BmL+dkOI1EX25nuqXKCvTF4Vob42vaVwQFo2wCRBFnn7AElw1tpnE3eYkN3MN4w6JK
8IZiK+1sjqKcv20EvBYPD50csLT69jWv3dsY+9VdIeGv4VfD0YsO1P/GbhgQokVc7LwgdfZzxIJ5
vKLrUO3pUT9Hf7f8Q3UhmgY7EWRPyB4zt+JsNPNLxwxyJ9T0iQq8PrijuLUGJ7+UzbAXYzze91T4
dyA8rBgqDW3Lb5oFtbPTDEO0nH4qz781bOu+74BZ3C5QU87SiPhZ49qCt56yg0b6URrmsz/UP2WX
6k3SsqcotrNoPBrmku46p3vqCh4ev/R/1h4ufad4JjCe/aZXL5QxwDMFlYOTIO3FvkWmTIA01J5w
8vrAonRWAepapjsS3Va2R3SA5vphcM2QQh+dpDlmtoV91Sz3XcGPWi7pxvDmO1yVXmitEANwBGdp
0tsUlbK3NWq1Cy3WZbG5WZUIzglh5b06/XkSVXOO7Qo6iEKdYHmEQncS8Td125MbBcM26lsaBhgz
8CJ9x5HSnGhrlrss/WZoG5nxIJ9ETRfZKqPQIwJmh+vs3LNLHGE/nROzsW4I6fKmkhi0m8wD7lZX
Y7Uj3fuaTklD69bDgHUGzSJ50IeHNl2sm2FGQAB/ahOTwMxGB0wyhXOw8JvTPWpP5icw3XQfZ7gB
ElzPvnF0E2iCco0Nsh0srDDogMOmvrOhDbVu1tTwfo5XlHIGP0HebBPd3JhNd5GDe5fVWLkwhL/m
cwuUzrNMDsoEPhOAe9qpmUU2WUL8s+/tsQtTFMsrqo+rzMRLMFNJzbRsOoxpm7F1uR1kwZW7yKnn
F9i7Rnz0+YdxCUbMxSMwqAb0LqT93rjxzjKK+KyAFSQtWk6ngwS4cN5tSODejsAt82KKwqJFvmzq
7m0BaoRBJc2OJB0jbIsQeO8Nxz4aQXSDp/+rJyvMNol0GmHvQdgZUPGXt8U83jhpewIXdFtiPkXY
vTAZHhruUln0RsyTCX0ywget55P0zOqUzcalcIMPVaibpZ8RR07TWRW8ZagmCe1ObGvda3mqI4M5
leH/ymuM1ynhiHBuaWuYNF1KOzgU+KmB7ND+c4Lx0lsT8uw6O/urUthj4sMcSBy53j+r5Zb74rH3
SyO0F+TI5ug9uCksNbYryAhGuV+69k5TAAMCphL2rEnsnHgKu8To9oRvggZM+GiEXODu6EacJNYj
OW805IoKuKtgqJRChctz66l6yCTLqfayd7gc+4Sc87rynSNhNPQjIv/7GFfQizjjornTOy6JfVhN
ayRZV1w0MIwIEvZmCdwPxzlpqd59lWAkVs8u1xAqtfSc1dbJQ2iYLrjxglKHqueJ1RzxufV3iXfN
7VB+llykuJtAK3ujX5RuOpOo2Gw68/YInYUTjGecW/H0w581IXHgLpwBwmTCWuKiBTCsEGE1svMm
pDi6hndjGI7e2E5+x3oNcGRBQlUuGWGEzfVG9gaW4Gt2ISUCl/wsyTJklIWe1ne+DNs7G7Tfpsx6
A11FEbmgv+8NRL1TEETh1PiwS4IIuBf0p7IgBh6Jqd8M0yYe29sxgX7a2pXe+26fHMq8I/6NA5ZI
JKSief7oYQLYDEt8lsgQ6Zs2451JdbxM1Z4oHgYkjmxDG9419SBq/MGyH5UX31U+N7lmZYKOVo5c
KzEJnvIj6nE7HInT3Da++ZFNEPFYMjQmyA/rVuya+OYZyK6h9nItRtWSDBX1li8uA1bMrTGT58S8
5eQs6cUZg4cCm/fZDvTP/F4UVfUmKarc5FHSjgqbDvNRm5RPaghWk0F+UnP0Ymt2BijbpP7l8zb2
l34TmC2di7hZdlWP06HpX2Mre3DRLITa9+s9LvyTTug3c9CVlxGqGF0+HBDgLM6RE7wrCJ8OthCz
7V/EGEVnArEUvb3WWh9PN/n0vOoJ0N4PW0GYcHO+kzI5q+Slda+mjMzD3BqwPDAhYA1zbszgaypS
l+wc9NnjTH+MeDBmhfYuHlh72BekGFERTsbOZlFdGXaFRsY252EZg1iQL3RVquU4KGsbGRpIS3fi
KQbqbPjfeTvdgR8fMU99qCMKdRkHO8+2TjJ3P6GlGkkPHdGApmAoqMnVSlLztL4MMe9PWv4VOCfQ
iJbVnNfNz4U8DPLCBqgRmoPTmj/zeGm2QSsfrdgl9rVRX21JNamFiDcpk2BdzWcTG9LBGk0QHUuF
JczHPM34Eiez8S1Z5A2O3QvRehYlXvA5x5LMwbE4YLmjVIyIxsZlvfESUz8UXSfOPOVY5mr7zae9
cEta+5WYefjHFsbHINjmFq3B3hnbc0ksZj/A3pjr6qHM9Xcmlu/Qhg3jBdxXYGh96DOjOvYVVvb0
fjQI3Hbi6DaLsue4pI1aQGGRvAl64G+xgtPi+T+8dv4eTxlXgzx6zt2XcQBRnJrpuCuc9FoO6UOv
JERjQWpUEFSMJcnEpp0LOpXdmCKPp1WLH13zK0ok3ZWBWQFUurVzEkIBec5UzXha5zYhLt9VInCz
Y9iKwXEce2a823jUMa0L66EZzM+Wfn1pCwbZVXpfZ4fBWK7zaD4mXbSfovq1t9Gsga1EiOPGECkt
8jy6+ASletNWDD9p2jJr7Zj4DJW+2Hwb3+wCjHXpFJJf50yP+VvBuyzU7OHUaCG8J/17OTncHzzS
SeuAmw2GfC2D5TLr6Mxxys6AGmCTp2m+z62QqNlXErSscxdQ3loixf7nEkeZAzRbf19HIOl0p1sa
FMvWXzD7CxfiRprc5NJ4FCUZnhHbCYPh8jTl+P6V8+A/TfUakjjBrzMs7inzu5PNl5JNx8nByGAR
DKog5vt/0i2h25ClCksfCYS7llSiUtmHnNZNnTs+gI72tkdxHsS/1v1nab+K2tp1unQYTHAhpe9y
cqzuIjizLBnc1bn44RoLmgskcqM17Cf+cXon3vVQ5jbjra7ZHvLyYMxj/TRUPbakbE3ajm+L5Iir
hc5LTMPDLL8K8g239BOu6UBOHzfN4pr6fFQ9HP2mNO+8xf8ejVATYg3YPkeJd8w4PwTdlKdKiHCh
s3aQ885w+eYNGHwAmXIcE8Ed0FAdJpmr9lh05kdV05+KKW5aGr+bcWPRGbj0nQ93j1p9yhZ4hnK+
R8awJXOwPeVm+bxEpvfoV/Zj58RwpsRw39IkPxcrpxUUGjgjb7klZdqjse59FyBKUblZh85hEl/h
jCp9BiJjn33Xw85tnQMbC5G/oDUvpc/PZM7fOm+Ur4hSaeyOKgp7vgx0FEeG/E8RltBt0Dl3XkNI
di1sGNDqfuoVXiSBtx7BBPSEIDvE3+n4E5teR/QQmTWofPqR2O1XbQlzo3rMeZF+9bs+9Bv5y69G
aKk4z1Rr4dJRyW2cFSokiBAPSm5dSRH87vXNTQ7YcFfE0/viR9fF0xQqBgaxrDzS07DoeDK16+Cl
0F+bj36Sg5qqp7u+p1FTOvrQWNW4KzMHHFmbf5uqILlvyCzfTJzoR5rapmnOG+Qf0WMLz01lNeFs
gic0v8Rc2hjAusFO5aUT9knn7JIUS61zb/s0wIsiBuUa2DjzfIujfh2vyqM2nZip07NdGB8zIw9L
lb+MyMN1K48FSn6HEcfBNCFblpKaqinejJNs2xhblueEi6/o347w0lrW68i068cTulC4vzm1XA1M
ryra3VAtyYZY67U2sgPOySnUQB5w3dIU5jC6H7MUe0JM9gSgOE/FuHtU+QA9o9rIif82ZvArycPd
On5y483uY6GMblcPMQf30MidahtqvoG+pGV8Var+wEsjju64bJOixo6X5e3VLseRK5UN8Hhwac1k
/hE0qty2ybhspCt+gp4cd2kxi4MRg8wzvam/s0yP8R6ORQKM/V1gKSq2vtekJTa7sWuGkOjognfZ
uExoFw1WUjr5R0D9bpXdAcorzhqa8mpMP0bM4/RgQHamdfYqaK1vtEyIfSAKhH3F24jY/DnX3qFB
txX2qKQOlNvX1gFGYxZOuXeyGqt1k55s7HqDA6GxC/gknFVGiJ2JdkLJHpibxwRG5pG8llApb9+2
UXob+f6JENxvluO/OnF7tTrQNJ3I7pifbZSKy8fBMW9LeFhXwpTO7Pld6I+kU9Cu/ahc7Vxdu7qp
7QSArOTTW13GKDl+aweb4j4CahsYJ9uJCVgk99cx+ivXy/SEf4fxqul81xYruFOwlgni3LR58cGz
44UCE26sAdGjL/i061awVqs7MLVDzfpPhejOlcJ657rXIOlHsGcAdbx3rE10qSQjgijNflYp2eqQ
w9iYdEy3wEqf0Gn0ECATlpkCh4bugpOHNAqnsE+Vs0Jug+mQFY+MK16DATZVMtFy8yCFMESj7Y1I
DziyIbjsVDRrk7Iut8TWr8MOyiRO6WJDcIjYMYkmSHBpIVzKq4AH/VAmya/ggXyGIB6/VSn3CzMn
qNgoR+yR6ZORpuCWejc4TOT1Ogb3F9aotACEmGSgomswX0ffT8N+ohkaMz2wkzTg9lBjCBl694Ey
xNKVRXxg/jYjtOaLpzybVw58WYHrDsQbs8RgN1gktRbpI8kkaqdwJ9CLgCWG6+tEi3G+jjIuuLQ2
LQPGSN6TQH70J+N7F7BPoLiqtqIyVxhv8mDSwb5PNcVeboHeTnmUtmnylerlfYhQkmhfvoOWUlfX
Myju4upjVBiDl6ljarSglKAj0oO4S8KJrzde2p9L4KfHIoDMaTTOhgkllNBGvgWsjN6G8txxEU0D
3YZpg2IuToEw+U2IsJyRvKfMULvcDgyTeXSVrlgaEM81cbW0Kvrs7Pp3fYpzeWjApSTzvC+N9rMy
KcUyeHmghrJmV48rPyuZ5n3kVtACjJaDLomugrNrGfOdl9IZMBlNF3WTXDDTAcLso13ecXeOZrxm
yzJRdc3xzpuG0M64eHqtu/eL73nukRHUyuyg8uapiwzG25WOtqYKNrD1nWNCz2zT9iQgJ2L+JqF1
gT79LAu33QT1zy5W36qESpZKpwadRHViVyZg1sB86l2q7H40diPYTTYMAGXA4cFSlPTzTMcpz75b
d2EzMQMvBuMZ0LcEVIo5ei6Ic8+Seoc+ZeWtyWj47KG5a4URLdEUVk07pbucBI6wHWi7u5FJ38jv
BiaVxSnKG/cgJqbqzoERJrtKNqwgg/RpbjHNull/4DIojhyFzlgCpHHzEPPkZcYvDwTt2HU5Rw7R
vbhFF1BuhKccwH0sGxEoEzNhvOytoD8XnWHBqDB6+vPN0dAVJGdDc92dA/BlDXWvirtd4jASnyvj
nJtBvq/BH9L5WZURNp3HJONyXVXNz6BMnTCxR5feEIKice7pJ9t7omH4a6wZss46e1yTByIwH/RO
WJ8+5YbLfQ4+3CayrVedQ9Nv0CPs0ykutp4zV6GR/xpcS58tGLjM935EC2tyqpeHmhEP3nHHupny
+SEYcgrySzIVF0pgBASp+5gG8tcY5T5zLOsshnO1ZM02K7A1L6sOYShbrusFFlO/8j4R9Ey4wV9T
w+Bbg+7oN4SQVDOCyFadhq73z4OgZSzHZWRAFzQoaOBo9VZ8N4soObWl2s0dVdGUUN4oHsnMoP+/
JrnCjqOCmdJtsw7I4wYWGE2mHixf2Lfzj6AGym8VM9JMipJCw3msjJ9LVQv4nFReCboxMGyCW6Vx
y0/QXsxTY7PSgoTvfhmBF+RORWXLnlxZ9q5vo4902Wb1gD2YQVkYkPnImp1/kOr5OnrDCO+BOPmm
ATuTjYAIhKl2YprEBhSvOgQD7lsmeWrb1w+dDRLRzOvz4tjpYSpWzcga89FkHty9mm1qKveso/04
u/2O6VCMab1/TTgNQj/KmHJKmT2UNwTNGHbz5Cw0gPOY4HFaemJiFeQe43CmmDItDNrw7ltMdNCm
aDo0AAv+I4dLTQMxGlkamNVJfYCHgCBGDAWrsyvhMFFX9YUbEh8/bBvdVLtW0NN+JLejf6rb56kx
rsmSXG2VLbsGPVnc3M1+6RyQ5X7Rs2p3S9TQDZYU2nkm9tkcfZadLTjp9XMOzWS0UXy0jEXGBr4B
AhEy7/OZHyfnCpEkb8J1uotXcOKTxugAPj4MjmAFVstwaXGrz+OLVUSYF00Ka1SuwyazUueEPuKM
/WAxKcfihUWaEjAlB/+xd7tH0HSXDEzNVnG27sDL9XQCPfapfZsYxy7rgpugpkFJHO4miZsHDY96
P1h0ergp0GGps/sgMua9xbgPMglTQfm/yTuT5biVLNv+SlnOkQY44GgGOYm+jyApkqImMEqU0Pc9
vr4WQJV4pVd5n+W4JrBwhwOUSATc/Zx91iYLqWQYsBeTpTx5VQoDga2v82HtoZuAQWKVq3IdIKrA
MhKfMNXQzgKoMt4AzrIdQ2/tQARqEfptA0vctfjDEsFoCKD4gD54AWlZcYya8eyV+FoMTWwdpC/h
Yg7xfUFh6couxtdApMPWB2ukRsnJx2X7gsYQECnFLrH60DVOdyKPukdXWQMVDcFj6kRjynA8j0Ix
pqmuXVq8+AaFdbVLSXpVq4doKjjPWD6gqJjSlGG7tjUX0Qn7KytReCqmr5ChEVHD0x1Jph98dRIL
M7kKJIhLgTuSckBy8UOeez+GBgJ4lrRiHWq5tXQbVCT8YW1Mfb+g0vqmKOWrUfBLVlOdqTIqyero
2auK6Ks3fH0tvBxloPxe6VG96jMAtoob38HrDbYlD1HEfE8k3zjj55YZBFFZ8lKxXStkUrNi2EAu
AKQ7uZqMvuMTp8ECvs+ubhxkC7TrCiDvXTwk90PbwueLN3EXfu0NkA1tQMVxhS6U9eqS90a7ApZ9
KCQl3VHlHqPwgvcWy14zhPWquZDz4RoI0iq4AwXaES0/q7aqlWtEDl9ASa/I4MKmzrAm6XQCyy4O
NjVsZoe3MSzdIF2YRsnMa+aPomD/nibyoSmbnYUMf4E4k3Ss3jlARpC5NJCMvGRjOnl6aV2oa+jH
wPYoAFmFDk094m9ga744RkXHd9/UD6F6Vwb8NUlBEyPK4Yj7ZnUsBATGnn8kdijduCI5wOzrRBWK
CLK6RO2pbA2MPcncZhuaQwSKHoYiMDielQa1vA/0EC9g3iMqfSNaWJUlJGYzqrHK6te20y6OJMbv
p/pOmK23bk1Ce0aXUj1heI9p1q1N8yDdLN+2sDpXQTOBkMx8jV+TdgpTnYe2b6ky4aogkGz9dHFp
Qn1FcSViz1p/MYv4INEAI/36NqiqslaTfqumhnvIWbxZ5sbwtoVZPxC6BXCjEUdGZVnhTrKvouYB
sSPAATdB3GQ+8wRUSz8a35ygv1le81ZYEbkHVfX3vXXEsjw8szlTjFWsdiAPi1RlfdCdw9ziqffZ
JQoSdRqGi/CPEszhTPz0RjLllIKjviQLXUcnG38Z1gTtiqzJVRHk1zQjOFU2yRa7ITgepzvXC7+G
Y7skNGpgXQLjwA+1YmFG4KhFvhpzy9kHHYHP3mG+T0GA2DX7jGVJRGhVGUW/jqfNQhOGLFXJJZkl
PidZiTwZN0xi5Fl8J5CYjf5Q7K0h3w18H3aaPfD6wBCm1i9tztYb3caU1LJeozJjDTaiVyDJy146
Ub+aLJSUlNI9ZcxAdQSvBEi7o1/ex8SdZQV0sx59e0HEbAdlXF8rDdO44Xro/MwQUIYD4dPHRwps
g5ULzFh6nm3NKE6jEq4HeXbj8VbEub8Foo7/EHYO+LuBwMo9/1D5OmyccXiMbbCULWs0JlyBeUM7
SSUC6zWPav4K+MZ0xL23ultINpUCyGVOnrY2s5MYDFhZRRWtG8AdXv/SYk8VZ0q7lRpyb2WgElPp
2k3NnB6yG9tampGsEdcuqjxxz1Oa1cIewUQuggdIgWSI6SxT0uZTPmUjpQOfSgvLFcu/O8n8vVIJ
QZN6CI6u4yuXFNXeTm8R9Mn4ax1NS1IIwEsYneBKWMYthQEMN5c11A2NL1aFUq5kneOk6k4p27vE
sX5MJ+Iw7HdR23zvRQ8RGH+Vgy+6J1yHWkK53qpOI307QtpY5BFSJr7fKzti0rCTpZbp35HSjlsI
pQhmLOzDWCIQr073ZB8R0RlxvTInVZDtOxfi4/Deugg2KzTpmtQjhElRAgIxg/azFuKByPtmlfGk
QlrTTlVGWVGdGFhpFLiWECmj6HrQzwGkN90mkZHGK0Ul8TkOcHI91NJgldSnoO/BvxTsvzyKRvQh
Z6cqhbFpBd+WIPfOsV3Fm04zPrkBCtfR83Tw4eJIdD1DESp0YguTEUsSsL6sLhg6kGlxLZcZ/wAi
ECcO88Er1XU6mpehJjmAK3dDTrvZ+4hLd2g/+M8lIt9khqpNmEsquEwLFWX8FmjbWJTRvoYOZUgD
ee3Y91s73XU2dTWR0wDI00G6q5a261MIJHpYfzIxy4uJ8e9ytIrLwGtgeKTkJliX84IoVo6vVsdB
a8TOKuQBvx9y5ixAFxiBipVPLqp3RLwp2/pBUkK1oECm3uhy4G9CZUBWlBP9vH1Gg7Xz2MCNVcor
YiiJ22orcpua8i1KzWJfCO8pDtLyDkhNLeEIKkSRlyJSSeXZzqtwVbHKlZZJQEuqQ+Xq6yElP9ki
tdhgIJTBHz/x+N7hcQXsyIfULgdnk3Wp2OUNGWRyC99cCs/W7MWdZWmaxZnlLFKIkAKJTockIEOy
Mw6bjdq0vY07glBBal2QkfkWWvdGm3ypawq0pJeSyVfuGv6CK2Sf45LNCw5bS0WY9i6A5i4smDiO
3cKUdxIA6qaLcgS3Fx0NWWntk9nSBVAa5SCKjzttwLvc8jaOmdVsx+J7JrF4nZvtevDyPXbjB98C
RtWHn0uhdYh2bKayYiAzT2h30YfYVoq4fqqpmiIXRarOMvtNRtYEH7KpfE/caUZGCUL7JEh6Pzdo
piynOQOGmoC6xNippXluJnnAWO57pzkZbWUh3BBiR74igfCjdmtXJfcCXn6NLPeFfcabGuc4wlgo
ZVVczVKS0EHSR0hQxpXTNGSi4b6vmURYERg5HJZkhDTuZHjNe8gHexVZMRvIU5eTiSJ3pxz0FDC6
IZ2HVCmTZV7s2ddBtSypTQTEHxkNADiboCkhobTKNgIK7ic16o6dLm+5kq5ji+DuID7p6GcWWtVj
g1CzMqSwnUyIWaaIHoFwgYVql50d3UqUx0t47uqSwnY2BbyZamSXXth9qSOofBgkDAt0vovJoBTj
NwNfvELseyGJArg6L6q0elDT5rmU3yLfJ3zh9comi18jG7TXoBXbPKpOgeOUh0DtCWN5w1nrsdpR
o5Ob+TgPiPhrYuc8PkqzNyuwnmSICkJMwLSyiFjNCIR5mZWYpURwB8iV8SpITPHStKhlXSTxZob7
pQy/ZD5oyYhKA9R7CG7rEYcf23bRkeIlaxYriu37TV7jIDo+NjoFJQowMULRl662kw2VHhdN1RCs
p/b3sGv8rS3YRo8jMhhfOGBYlPIIwdzFhpkSHj17wwgrZcOXBytJwJBo7ihWMp6ImrExACZ1r4MO
H5LUkCyrJ1ZLuGzhwUwuEXE907NeVi30M2xl+VKyVw/Wvocks9HGT6KZ6o30nlRZJ7ALC9pvBLFg
oAKbjzUccYqsfCX/DfXLeY3H2Lzr0mRvt2PHVEJot2mir6PiIidR/BfZ36m+AdISCU85MNkypRx5
wvIrwdMnUzc/CyGugV28BEkRPUSmAwGU79i2ikiKas9eRwmWG7BNcrGbyn08FAOn3HQh+nFnIOvh
Vl1/ZuPgs20NAvNsuaq9dBL8T/qAQkLJxO1KPIyJMqwyL9xFiMT7ruKpjqx0LYlTrurR8Xfsz9IN
DqZExxCgIhWrLxgi6ytNBbrt2JRkJq4ebAu9b9jf4DJKvJMAbFuBiLYU/ApMfrspMNXViPSdqpF+
W00hDmesIfUMulyxP+GpigXCPqObdNzogHsLc0G2whmhpK9mbJhrJQ0IrPgkyQqH+itNqvU+VdJz
EBE5jwyDvWIh2Yz20QrZAoGwYnxzSx2/IgPcteKoW62Or0YcFSQF1RJ3ogO455GZlFofrKUSrL0N
7AwxgSy1hdml+W4kJZ4owjvqPXVLqdZkmw4MWRF8FThpbasmIBogq3ApwwTbp4n0qGvpBRor6YkI
nVRjnbJez456SBK3dTvyTMW2Tdjc+5PdrHBKZ991w4a8Jt+mvo3XMg9/2LAWt20jo5McC/do8Kh2
gXWtS+u5EFa+LrBx3jTetLOreHDCMHxyPWqj4Eg/MKfQg3q/brAVins9AZXuE800gUGC7hNVUxz1
q0aAaTkV/nRJnuzKKaZkZA92YY8oEpI3yUMq7TgGluOw7bsOgxbfPIW6AFcgKNPC1QSJtdQOFovp
fKmU+OI4vrngVUC2pHnSzPLWx2p1oLw6Wnlq/s0IKCoJXesBzj5kwihcq52qL53Ride9i58WKDEE
eTby3EGVb1Tur7qOSMFQML0YKsB2X+nxfNC85Gy9GRI4JxYVy5gUzJbleDZSOM80NmZOc4BAe43j
AW/FGA6gq6qT1xbwQKSjvDSyDWHJ8pA7/gFLlm6NTBSxsRMRVm+6ZFHI/kW3Y2qJoJkv/AwVO/Bt
bRdLZdWnqQPl801VkK16LbloK2rTe2B3C7spWM5HkvoCp701uoNL4hCDPA2/JCRdP6njvoytu0T3
lZUbmctQ6fahy59YOBnOOqjkqIUh24/UcVeHncLU1bJW7LPh5LXkA9PJRLlsVZL5OC0VFG8zARfF
UVPCDYlV5qsKO46GErOd40LDipIdIZH6FJOd3YnB/eaFJnYMIUlVvX/zCt2kDrtDmqujFjf7Sd1e
oqpXLYzu8Da8ZNYoSYq1EPBk7GF2S9ZGaynlsgv1LLT+zAL80SuDW56julWJUi3rAgKxtHzCx012
K4LkbNT25P43GSoKayuyhyQEbDdQ9m4iFaOIizVUj6yhLx3/xB6NFapXSAL2hrVs1GzHJFW8Ezf+
o7Ll/4sAcwcCxb8vat6W37+n8Wv6G0xjuuQnvFzT/mkgtReODfnGUvWJC9V9r+p//UOxxD8tXVU1
29SkJQgqfsDLbf2f0kI9iE53roVWOcWeufb/9Q/p/JNtsmZTQmugZaXk+T+oa3Z+5xxJoZHJVtXp
RmwqhGZSdf1XdgueD4OjyrA72+NLXHnFccj1/DgKIm68BaEnF0XK2n/qnA/qEOg2KmfaftqAO/x1
zdzX/Rr4cQlZ3Y2gxvCE1iTfYQiKv0yfDqSRals9vn+swGIcQzZSC2pyh/V7U8nVo6VIRs7tv3x8
vygmWbbspEuOCze6jRk7RGFUtEjzQU5Mmvd2UjRNuxAEqJMoHo5xhLcqJR62dVKogoVRSvx5vqao
9SE7pMCE9sI3d3/eB4GO5If15ouJ5QpVhOwoeZWgBVWakl3KsOhggRzm1nwQddtOhq/T2TxvWIZ0
RnlS4p8D1amVlzYn5jFympzqpj/KfBguozBPodqeVY86voZMxxfXCK9DFPifes82j5YFhb2utOyL
2fRfrCwM0XBipd5D11h6UZscFdLzh1hivYOH49wTsfk9/OVxv73jlP6LhcMNIX5d/esfPMy/VcZP
zxCUREvj8VEB3enz+b/wfywpwwqTO+1sohzFiNKtD9F0qBqhs4jxSdTkddoc5jNzc/6ExRkaetw+
wDTY+WE+iFjND3HksZid23/5OLedLDcXdg8PPPF69SIjytC8+DofGiaTK/Ro/gg5wnAh7YNdM6/g
a3yihsRC/qKcYqzqqgWUWKxhmr0NAO5LSHGORrLyM/TVaFfFqtw0pDQfIbpSI9S8DnVkbDHKDZck
Mly48Yl9knZrn1xV2qeP5txH4kxS0S+e59bHyY+xihQDGWcCJFQo7FMLXatUGyB0doxKT7p86T7a
GvOqoGid8++n5lFupQ+HloDrz6H6dP7jovnTX8YQR4r36PMoAzQNNDJtcoZTvuJbb1wJ0mCuhNtX
vUWCJHB1s/s9xQE+CyDhX4ex+26WWnk3TyzDFISLe9M8fhwSKwT49KvPsnLKOIeK9cXU1406tQx+
nqxNox2B2lJckjaQ780YGHMdEiVtpwOpgBKjQWT1ZmhTvpBa0Z0/xBiteM1wBwvHXtkBStu/f3SN
35kOPLk4NU6ANWhCti7ZYf/+9mt71XJ7qcdnNHHOAS1GtZWReyxbY21akUFmIkQnkQ8PUT4qu7wj
halDNViQRWGNpb8WsZiMWVNqTqvpI5bjyW50m7f3PoxEraDUHjTtzhuC8kHVU7kiRky1sKk57MU6
ooQjerF40Re6hg8ZWY2+lPdFGddnSkT9Jx/zoCpOLizvW2RuYe1tE8vwzkGiR/uoCc5ziwf0738z
M2HuA532/puxNBA5ujpNUX/OC/pQZLi6w1tvB2ylsTw6ITotMRmvqfSZjpGl5ae2VPLTe3v+6KEm
i6KoJPiRR+swo0TbIkm4MIaguRRh8xU4ubfsB/Wtz0xeY0p17BRqTLxRx5kThFDsDMoB3zXlUJoJ
6/L5Y0+mSy7nj5WrkmmfR71//MsAPW0pHBzwZejHfqnYeOFSPVBeWtGxqO9FiAQgkMemKiYJGtU0
yGRMNo8OaQCvdXa+g8N1j7FjHxrpyc8jsujzx0Bt0pOWg45S8Z1Z5KWX7f/+1+1M0Kq//rpRWVMX
BWkTYonkN/7Hg0i5eCgMu3MOSMRIpsPgOnwcclX52ewziFCLj/Y8pp07/xj+PnLu1CXsC3wrdh9D
5k9/3Gaghvz9h1b8Y//6U/LSwva51vU1DKX6hPMecISoCLG7bdUKBQRr8Y4sJWHrJGkPFWEexEtV
hG6IM+EwCb6lHcQ/B/Xs0faWGeze++arp4NBSO7nNR9nao8ieyU3r/58G2u+zTRaCRUK9RwYKYaT
UQpfCRTJJfhrtOm0zekwN/lKYvytqcGihSz1iMcSCvL6aBYD7pt6ZmNNEJO8tbUxXTWaJ57nT3Nf
k49P0IDCRRugPjP1dTGVq5RZh/N7F17nljJNAvOnipK/9yX3bxiav86tzp9TK8+FzeSqQcWBHMrW
7fcXVO+ghe5C3Tp05ZCs2HaIG+JjbeHFVUReDs/auU8bCSBiMwzgmxw1vg46Bgq+g5wikUV+aWwW
RT765mhq1eydsNudPmYodk4Va5q09fJLB41pO2bej6RBLdEUnnecP8XShYaeTzZyf5xpjZYvaYhM
3UKLsqegFxWfmQFv94WFANjubLQqk9KiHEzrYOJNTqV4z6A2e8Yl1TlE2KccFTN3jlUFml+IUF3N
zY9DCbDjfchHH2sH51gG+7HZU3o5kJ7tsCQ27cnjt6dEUcfbbv5YD5FibHLKa/sxa3iF66Rw5DQo
VasInajxpezdcEsB5LPMHbKq7ugeE9czy8VHuycv+X7moy/0MQm3MHiVMXxyddBAb9vISZzcTe6k
3vgPbY+XeK6SSUV8QCm54MVTAINY/f3Lw/pzFpOmxnsaBCJ8TQ3Hoz+IeLE+BMBRdWvfmFWcDSsc
ecrJ2AVRd8W2HKZqQ6jUVk49VnRIQHDT1i3nadQaeaxQjPNGpxladbNFID+s38+mBYpJXy0IHbcG
2uyxXGWlXd6PhX/gjZpe5pbStLwbnfxpbiEOr+4HiWCYsJog58f4+cDeZj2QoLlQU4EXne2tyjJx
bglbgn/XqlKjvCumA6M76Cg3tdNX7TA6T4m39RtgAVSsUxVWd+nRxujwjhQ1iQm98r/aavcWd7Vy
n4j0E5qak4mcAgxFtMVuAwu46eAa0XAjfP1iuXl9+Og3UyHXVkcuj/qtcP33fyu4VH+86dkD2pp0
bIjQOlr1PxfLta6MJQjFcZ9HQ47znkhOmWfzgp0/4rXDR2b59CQzbBDzjC2RPzXnvj+H26Ewq0Vh
5ynBEPL3Gbx3Cq5+v+d85XyP1igsFoEYL47TzsMYVX03jtFJm7cpc998SLqgo4JwGmP6QXXyjUrf
BXly+hgy9+sf183t9yumu/bcdW5BrKtOBERDPKL0dYiC55KkgvxcTPAfs3C+a3NzPmOaTnQe4h9z
o8j16lJNh7mpoLneR7K76apfv3d9nERF7W6SvoNY8euCj+vZW6IYL0OfFCy3m0/M95ybg8jRwlus
SecTWWti+O6F7SFrhb5CQ4P9R961z0Ngv2Rt7lwhmhC/SX/MvZZoyrMF6oJCRwYFieNv87GhAm9q
lkatLDAbjFYD1WkHYt/WTfSEqKjPg5DH4pZyHKu1wPejTc2m0/OYvDJSivIArxhYhEBOIRyPOr7Z
K524vjfnMzWVN+dyOoxYICOmCZam2zRYYTrqaT5Qzq6erE6zULgTRF902MZuQg0EkUuOJRFucU7V
jJAuKxtqrxL0JCiD8vV8Zj7UGat5rEcY2U/EFplZX977Bt0qd5oAgRFTrH2H9HYzIvn4NA6Z9qmV
AUit2LufW7lJhRn/ZwzMp5OxAg7XLXxKPaemy4uLEDPkj7kpmhe36Ag4U/YsNb078k2xKW0rDbZW
Y4OYQ/XTG6VMU2dtvI+BMJLe5hN/GdcEBNyd8uYninsqczKgpm8rT+yX4p0aVD6ORDSd1qfSm4UZ
hbE0kSqx8JSTa+7UZH9PwL7t9k7n8j+dpof5UMzvcySgwVHxP5HkYMYIBPXOePqOTwEilyFG6rIP
Ck0edQQnFLg0Erl+S91AHqhfsYKsdm1qldem634eUKcir4muf3Sjqpuwmpf+99F9jgKebcd8fdx1
Bx+W4WHAlPssFN06h9ohNPhKxUaHQmDumk96aTOsykxaS6hq1s/TmR/zlHEJBKz4PI/72TWNGULl
zgcaxdqhP4/S7N4PnknTkGW3tfjeCiT1Bc/Dnrpk/ue67cgjFH7+5xg+o5rMx1vZUIxTRZp6Px/U
vsK/sexGxDD0uZ1RXBumyaqopzyMq9VUJQyoRwD4JGglzE1Rin5vWKhSs+hTUBvu97Spv0uDvRKi
iRIxcRmc3VDDvL60gVnLbHxA4fq5ibAld+PqOh/AulCWYKLk8A34KHMffzx2ItPh48TcN5+dTxgZ
4aKPKzIENwfHAbDwKpwqo0DXJCCe4Me9MY0OO0wrCO1trFKclfqvgUrAyUdvflGtMrtgTggQqDeP
4KPAI+XT/nHqG4vMPGYUB+gorxk89SE9N49za5guna/3o875/+yHNdjmfywmjAlyyJbY0DBPlFNs
8PcVpyvKHpFXElJb5FIqiHRbGbWvhKvl3ftB6zQcZkp0t4aO9M52NZjZBhEZpAgUmULjUJiHDKQr
83m1sJ6qrhTHj1vA36Ha1MHecLqrEYJTTG1b32l5dg0rzTjovqiucjpURVldSbxdkx5DcJCy9XvX
r/4ABxf64x4Xn/8ZO/cNOsS5NtD2gea7VyFL59qok+uvUaDom5ofJzAH26hKq0z1Fs5VUDCy9/L2
QW11iOjTAaG/OFZdGnpQ2/hoEMQhFzY0N6WyweVNfZFKSCa8Ka3rvQw+JWGROwlmpmaWOFAFcYPi
f12cUlGVyzE1/RdHDGSuW1GdPKMPntqM5FBZ+S+iz4cdjtPqer68L4aTZb6pQCYeFFHXD4QtVq0Q
/c3XadkmJmrsKpG+TSOEl9Q3ZJrr+eTcRdkzntN9k+7nPivGpyYqgf/MZ98PiX9XdwlV0dMPkIOS
bHUH4c980jWN4gGIsNsCQEkj6gOlCPCOnH564Ic67B95N490RLo2eQHfbKl8GVlJsU9TJfn0sNt4
LPBXHU7oD2ZvlNdY6w+Qbahn5hv7+r+NnS/VRfl1JDm6gmCcbGwjEU+G39xjTxG+Ae5/NJwhePJk
gICCWMChtKLwFg8KnovTCP6PrdYZ36b0YmSi3kiQfI1xP+4qxRh3czPQMSJ0STkhK/NWVWfX310N
CaY5Rk8Z1U9IsE3CtNOBf8i4nk/ogf81xDh43wUeXplRQEZVo9TeVwgiLkkzIikf23gzJk1077ZB
dF86wXPqUiQ3tzRlbG8UCC08j+LJKFkjChjv1EYmD0yLe6U29GfPVppDn+J6NDfVaOhXpgbtJPH8
CxHX4mhQ4uze7FZRKYPHVewHgogTDlftQ2wCAR7s2NzNzTrC5C8PKJntZOnmyyrNL2D5ysvA2/YB
wAn2R1YKompqiqigTHRKNM9fqfmLiE5V21qYsPPUs2Zf/9n22WVvG5YokDr+53sbKZkO4MMGtpvI
Y40Q7qa1pnicWiYRv5tMVf0RX6b3c6JM9flczlz8fq4e9P/guvme6nSXv7tu+unzT/j18+Z/GZN7
flXN5nWU93aT5l8JR8WrkVnyjGzSIB6UwGztAuNLjQkSe3XtmxdQ59+Gtn2rByU4wI9sNy7U8CcZ
lbd5RNVnb5ZelJ96qBTUnMth52t+QHYb3/R5ROa0B6tt48+GQb2PnpePY9AV29Bo+6NShki6eJFR
qutg1zkUxmdjrJ9EnyEd+OzaWeUtVKk8olA1P1NyqS4Vv+/vQkU6G8VJxuN8G7Ox3ffbFIY/ObL9
vA07U25z/rhNVgKqpabWmbT86jIb7L+5l1MmP+9lK9nT9B3iXpWiUEkdxixcY10/x4754KP0epi/
yawGrqNilkxfqXwQIRUNriVdtA41hrQoavxTEYT6IzWxSIY79WdzPjs3qwn/wiKyxZe68vbwtuVC
SAgXyzFpg2XpJ+0uL7L6fj4YlIR1yVcDcbYBYJh3ml8fzIGFkJcrxkNJnPVBZUWnAuy+78BhPZRB
8hICSX1tq6EBSBOpN6eED1eCKFjNJ6Iu2LWKUJ5GSBsggxD3sLJ0PjcO0+F0paFQM1N07smUaXh+
Xz1oAOAtUr/zCuJjpaHTbzD/8vLsmL3mEwV4HtkNwIoUktlEt3iTK+i6TCKar4qq/MjbNLtXHEhu
/tgRnuFheYjgTjhqFz2iaYweQ2pMqWhIIdKEtGRxth3hXucBTQqzo/JD7zyfzIYCWmRil4e5qYBc
hRlAvSRh70rcmL/YnUAe/qaQjUcIr72mKY7jCicJaRQmOuRcll9CaudSMzK/oaBTgQK0+h1g4nLv
GjAbczvNHkWYvswjcLm/15P6zIKsfRwRiS6yJhBf+l+fPKn8mLt+fZhH+bITX351vX+4RkZlXsfE
9h97dB7C8vLnNM+7cw2Yd2FMTUmh1TYbqbWccpXPdUOFiyw8Zz/VUo1Sv8C6KtcO0o2l0hbTUq3U
wf7BqczTqYwtDnPzolLMNMKwEAkbu7o8I+H4ecgncgmqmuNHf6zzC59HfPRV5ngyVXBbbWJPO6lf
14NvUFCTqT94rbi3+YDiBX6O2iDelfXPPsVtlF1qAS2Yh8wnHGb5sxr7+4+u+VMefUWWol0p/3Zu
88jUdJ+KuPBI11rPbRc6B8cVE3TKPBgNk0ceZy5gv6ZYprB0ttjes34riRGs69BDQjSdngfijUnG
oUDeKHIDs9PEVqpz4EY727Kd99sokEN3YQxI1rWpa2qbWzoHeGhhXtDc4t9aFHPj9ss5R0bNTdXC
6g42fnXXDhd7ZJEZKcJq783Idq4FvgG3aGLtN51J0amI0tt8qKRjHgGCnFRgMmWuL43K0j4h2Kju
ZY+Z89TKcfLhBZzsLL8Xt7kFIbEl0VIwJ04nUyszV7ETx9u5Kaw426nE+tHwFC+up08oXrB8XlT1
SKxxQFTy8i2Lyl0v2urF8XRzRRxTOeHqKk+R4vEORAz5Irx0Pw+lWu97oyTyk91ayiYOInNvB0V9
cygJWPapl76lW8z5QvTWutgIJ+oOViW2vhaU8B+mZiH0LWKkHg1z2Z/nT1ReUjH1a3ChqxXcwsRu
DyAT3wdrRb8xisE6lkK4l3w6uC0mi3gxmMuEGpL3vvlTWjQ2GfgAHs1v/XNTGv5TH6n9vq1cyQ5n
GvJxJ/BPymXuez8BMOXjTgNqK0qcpNhUrfuaZL37fdAQxAWupIaV7VJWJ+HD2GvWJs19m8owqz0D
wUT40hfj06+LalQ0NQ/nN5gD05TBRTYZ/E3jI87njfSml6p4CoHE6Hg6fw7iMDuoUZuvMsMYPjvY
JiyDuJKn/2WYmIYlvw/rel9/ygSBgKnf6s30kDTes9RqKplHo3oaoWgvStAG34BrU90PgWehFRUK
pTR7613SDWHUe8+8tINVk09a1tEOt5Yqx+Okwzwi02YzPQa1vRoSGw5tEd8CKu5+qHm1orDS/DrC
s4QRHocPvUDORVqlPRoqNcIiL5x1WOrlJ7WnPsSP/OrNx5PVEUX1w/SqZ9XPxHOXwVVok8C/hqGh
bMy0p/QuGjZpIYYvtvymxqr9WVKpuhtCt990XjZ8CXP0v3S7vvNHd9/D8hj7sb5HQlhNuItqh3VE
+rnESN5VvPK+GszkzuuDx1zI5DMOp2wTocht5ibhecru2Khc2qQtMGX2V/PVrTfPPtpUNwlLyElU
XHHbMDtCPk7vqwCyNl4QxqEPc/0Z2/HtCNH1gYxxclcr3b0MIuMZgKG/xzxOX4VW+oirhzxgrhGu
k1RXloYlW2MhNC3EdjTWd6khvs+tqmwbAxv6uD2jwHofMZ+YD4SwoyuGe+SphuY4d4HBiK5zfxv7
KoKNDaghayjqQ9AEw+fcf/N4UT/pVT+cirgOl3N34/m4eGVjfWjjbvgcDdih/ptRo2v9vFcwfNM1
X3lKha8s9RLsjIgV686zbH9rsl+EkdfwA3LK/Fa5L2GfzG2IlcDlChEcwOxad4WbWnfBUG4cMVVB
TV0tlffXrm6gDXAuHQlEWeN4Uqwx32psn4+12dZHqDQZLDRvuNUAJFYF39InV0NJ7ReZ883sgjWT
Ao87O8h1TpXht8QCfN9WOxIRyWMZ9soqULPskiWeum+heexG1ms3cwTFKJMu/hxr6hPxS+NHmF8l
W244YiHIFXAxx1Ro9V7J1P/n0/Dr7L8dp7TGZ3K/1UNQNM+NOQL/TkJx9jOg2L0YlJd0VncmsXEp
xjy60wdYbOSHXgZBXaESq8PRbULvcdAc9OCMN23Es3pFcUYojeyljjee5Xlfcqvwdx6uKBvMXu2H
Jusu5AFg9fw3Zee1JDeutNsnYgS9uS3vq71aumHIzKb3nk9/FlA9XRrt2X/EuRgEkUigWjXdJIHM
XN+UvE1zpBzMiEqyZp6dr4Xa/ozTqH6k5sLikeiRVq2HLqTlIV86g5ueU3/MnnkXfqyEP0+8bM1H
z/sWuNa7Xv00Q8X8inZyEbmXMUXFuvIDE1SM4ZBtIGyiIYvYPAZ+RfSOnhy0rebjqqFAahGBOdxJ
2y0clMJR2wJDaG8r3+fJybpBuhTxrDJt9Z1ZTs3x3nDPaf93V+Ng7TiLRs4o4hTNcEEY9aKfLgVR
Z/5LX12LVBNifQnAIrp1btpLR68hcYouaOx8Hc2UechRizjhpq4hrcqubsbuzlVcUG12nr7yzcfE
EBKDtyOxsviMtgh+3nrV0HH4mxyl6wSUiAocNKSFZ5qH2WtCHUOgl9YGUY8SplpXP7OXACfA7Xwn
u1VThOfOKt5kTxceqYW6AGWz6lHagGqk+9xMeZeZCTMtLaPZ1FMdPNxmVF24CSo0eckEgYzhJeoV
ON2T6UfeezZ49hLipPrgZLm7jeF/Hbqg08/N1Jag0Yry1UmgL+WUX/wy2DPKvxrNcH+bzssYxWoq
7HA5XfH4lYcRUK4tLeq2Rs2flxKF1smx2LxDaxwBptXDPogSZWmJbjZ15ob4WbCRo0ZtjavYCuad
HO1NEDN1qulHOVo27XuRh/VVRx3qbSSwUprNACzI8F54KV0MKjvAqp1EpjLI7KDmh5ahEK0ytW3m
K+ra5l3wS1xRcAhhrTrK0RlQZ0CC3jP8hPpJ50hAmiP0pA8k5FKQKyYFAHPXs6KQYyOiKwXxZupS
e8qdx/QpicP8ABAHvrI4cpLNPH/p8mp8kh3YHtRrULW3kxvQoJw+/CMqkmoKhL+MkT4+Qa96HkK9
UiBROeHe8wJ1DaiGNxWyR8zLQHLUKZ+owb7bFB5Dl0jV26X0NvlCL7po5ECNQO2pMayltGt9hU4V
cL+hCvOXsbUuXde6l9po85egzKJV7k8k+IrBSoWKlI6cFspRRD6sfU9F3AKyVHyMYHRtUqV4nsGT
HKUJVaqPK2m7d30PAuttmjT+25Sh0NXdUFP11tcvejRoX+ukLXeuViCLLbqB1h/72C5fwjFXT2U6
U5EQRtrXLkAuvJrUicia78MHVL7I6WB70mWZ2A17KDhdRQlmk1K09JjMuvFFTez1UFLrM9at8TAl
86t8mDtTpO80ZDM4PsNLTnIbOznK0f+eJL0yWKeRSEAAJW0eugwt8c4NrcO9K69qMSqv9DBIdram
baWvVRX8lt6d/++5fywlV/jD5vBUQf+rAUfSB97RoiIPFKC4dEd3hvIkiFpZqe9tnobRypfG29Bv
EzJjQqut6ltwD0yVDTHVuTjfFuwQn6M8130qgR2o8RQE09oiF2jRROQaLCaPSqAsBDruetWWWyUc
8z77MEl7Y1K2ZQfFz7v9NjXsBFbK4T5mtNR3rcquHC4AO2RHTnWMEIz9RMZG73t8WP25MpGB750G
AksuelvP0EkvnAL9KUoC7uQtvy+JpyQX4hAzIFfSTybfAE0genJANmhK7LU8MA6R8L3bHVVLLllv
/grTLN6ZctbdxebLXaLM5nKi+vkR8hIN4R6mCnHJu/dtNnsa0OZGS4GhXE1+Qk/h5QVy8tNgl/2i
s4hw9GraPmXd2D4ljXelJIP0OGEynCo4Q2t5lGPSFGpE9+WkFhRNuqw758oBdPbHhFZMlxPswSzX
reMiOi4+QNo+P8WOeZmJua1OxT7WVHMTl157rlL/naqsaHfrFTnFf7rAMMp+5PDrUySs2ogRaZNN
RoYvulUqxYiBqmdLA7mB34aldyWmkKfnwjFXvt1WlTa5gnSJQrc6hmm8kvbfXORoA85kAfAIFgis
H9NwOgGHa8++4oNR8jkdOVMj156tafpPOfHrITUEDBLV+5UcnWfqetoCKSY5Im22k8HqkX1yC63N
1JHwcTPK8Y/FIwJuM1tf6TgEyRvZ94TPgql8jgpocoQ4YHmlJWTAECamQsmlkmdobvTlyzzXnNfL
wdFJ1iQZUsBpWVAErXx4IM+KanpmysX8AYZQYA8kSAqbm4QiLzN5k4Nykq+Q2qnU722I5rmManm5
w2Gf7epfp8bu939EtPrGutml7/30/dP/tzXav33vbvLq034/iJf2zHVua8ve7eegFM/tsmtUZfGJ
l7D6UZ7CDHbz+C+mGaQW4Zy+eZSurdM9SpPsyZMbtq//NlGuJVf+nJj187+uJZf59LovLz/Wsqrb
8v9caxQ/1z9NcqJc6/Mf1M/GN7cS75TijOnTLD1l7/Nf8C/r/a9v41/W+v/4gvpRzY6eHX63+2Jr
tY55VVqyhH0PIJgdAHaRL5BKb3mPSf6XHJMWC31okLuDs5XdHkDCuZimF9mbiVM91znYbGAF3e0N
teLYb521YbjkaUwZFAd3JYfpwFPUdoQEkRunJuG3UY5MXd2cbwNtS9Cd11YeZtI9bbW/Z5K2P28I
G1ULaczFiDsW54Tq/5NW2Oo5RaMVSq336ABfe+T40t0pWaULcu2HbUx5py9LLVtLFzlQ2yA3+rCx
Oa0T00RDQuex9MrpLHuhy2lhBSdJb3X3UU7SW3YShNl/3E0jGQMbko1tUJ24yZkdgKalmpQUfX7a
ZvOJAsBz5wb5VYajzHl6kT0ZqvrsyTGlGW5jMnQkelWu59d/et5CXD1cPKiGWfTSpP30LXKNiJL+
2T1qhSb2GBGCrd7v9oSiRt+bk7Ph6vGlydScyktq7AKtiS+yUZMQPS3ZbYsWMrFZLv8cEKNlHfH2
bZnff5sg7LJbeiRTziGVhf+2rrB5jb5sev6k5A9ycwvS/qgQ0iwIWMBshaR2mBuYs9yjJ6jJ7Jg+
LqU1jqn8XEqvCBquvZaXN6t0CIzaR25OSHW0A5pHYilIhNicwOVQpUE6rbcd9yibJk092PVq123u
xjxTOG8puo3ft+qwj3Ju3NTwRbxOBTN1gQAKhwUH91hvY3KV22Xqk4CM1u2uZbdwqUubfWamHyuj
jp1VVs/dtgudatG1jWNvEyf7VbJd392Gx3ZqD0qonvtCd+3tGAA1dAN4zrfhtkr881wfS3JpkZaV
61fAQpFLcPiDHJJToQ/RxndAFHQijVnasin7uFJMHfpHoSbvSTxYUN+0cEexOsc6QZbBMdSG8JpD
mzvb7dffTGQNhteqHl+6fIIgIrzGzGFCr04+KRmiIBiyVWmjmBU47VKN6+4SNDwHLSPobo2Z5iCr
dAp1/xiQzq6mnBM7QtTMGEwNmjILeHphnpVpL9eQlvtqjWWHe9U13wanivZJqL4qjWqcZRMUopK7
dKYfeqT4299s8rKeyApMqFiVPe9zmuwqhQudoSmAcTe8QDucSZf+HJwHhLDOiekFZ9m9N9JNj8m3
FG73xmkza81dFt2g1q0JGW5R5uXIA9XbFPxe56zJDgqf5eAwfgzyDSBNGDTfU+RKbvELnaKQq+je
Qh2yaynz710XqvJvo3/MhTWz1Cj/WrT8fR+I7c3PBIv1Jfi5eKciefKs65l2dHhGL+SotA1pc0wo
vrtKUzDb5hogK4Eun/mImnTXfqj2d/8MjBpEHhUqllhyML1258dskdr+q8UBPmXbHPhcssopLmhZ
pKsAjDjY+JHufUBcydE06EGXzMTLVnK4DyCUg1jGKHz+nPfPBRPiUcsQGKJQoVSMDeqKnkteQduv
0LtM1rd+YFXTdS53kWZlDzdT51DnKl1k8MfK3QB1S0Nbak7IDrNSmp8h+PhNFYcNdQdGfWsCo4gR
qhCqmdUQclZnoddoV+aXOc+dTaK7w6ZyqFzxZ3D7JqpYZzca1D08jnqRAnBdxnpgEr5NrUvB4QO4
6Dr6EYgk26Ik9D27yS4KlGY7QFN68fyfvZtMR9mYUfdx9T9td5dOyFQi7fddtZVFR5aS1bD5+fMN
UZ+pdiuNW46UfJWTDcHn3+xEFTKQiH5+yAvvHNtuCSqW4KwH9v9VI/12RRKKze9ONW71qaaMM23y
I4d907aF33VFoERfZT6h1b4PUOeB//adaPQljCnH1iIgKbUGFDRvrY08mbd9iEZh1/tnzRmHL87D
bbdO+ji8QnBvcpcu57T82W0isbW/zylKBUD0hROxmULpEvg76rIn1KKDRUsZ9UtX9M2zyom/6Nwa
o4ICGzQimsB4FegQQsBRqByLH5Dj1leJVz4GrtE+9vrYEiIvdvIHjTnqPmhQ7JbyRzJHck6bHhyA
7ELsv02KprR9LmFdSDPVpx+TNPbcpy5OwG2lunUMjfFL2LrB0xQV4RPKC/OmogIUHXVssolQnyWh
1kh2d1vpIDjjje5ZzopdpBtIA1jfFwJKr+z0IITe+LmQ7iI5UJc8aO62NlX/M/ceIcJASO31Qbau
YNSfOLcLUVubNJQSRZ+DdxgQMQG0qcsj8sWFERhNM0M5+tvJKGFE2IXpI6z06aSGQcEfh/CXnmHG
o7jg5QK9jPFbY5TdEcHeIQQkmBxll8o99jdm90pJIny0rMofZOPnWv6QgVTgMGdABhL7XFvtIRiH
xxK9Fets54W1Cclzcw1gTkmj7SKLIpcsrHWoN8SsHPe1aIz0a5mnyY5Dyg9zHr8iH87dr6ZMx1E5
Gc20J4pp4CLNqr+3RbfvFPeiTMlOerT9tQUFcGihSlItjwzysfmjiX13ZyW90JfcouGEKrPxlz28
tdz7OeOc86sPkeWbnQfZklPdk6qMKClof6mjUZ9lo/AOe7sKvQCgCiBrhDHS9jikZMKRJf77DRfh
z4Z01XET1318yht/OTm9d3aHEy+q6Rk5drPb5jkgV/Qfg7UcLE2jUiF7ad0BoeG9tCmB7fGIi9CY
cn0ngwHuQX0czG+dWyMk2nv8pHodPBGN+VUEivlt9HiHJMuX0t0sJ2EgQqhVTogFaxc+WLDMOpNs
raAF289rRzqgdrz87E5NQAg/hRUkR2M5KrtWqZxv3U/niNDkYzDEwVELUOVWI4/imCFYj26lvXS+
ibgbYk4LxI20F7dxigdPddDsYTDoMAVNtyjH1n6SJiisvyrQQmfZc1vS5ZlyzFM1WiFYORIcswPA
dV1anJy+gfglL/tmO6upcbyNkuWPymCEkEye8Mge69g+WWmSk2FTfZfv5zrJfste2OuePHJ0GIgb
GAPfgx9PoFlEG7YcDcU+Kt5yKHc0a+D1dT6lPokl/O11+zaI6ofBz4C2Abb6Qch/oWkd4h8NNYaU
9hSErCqCm5++OcG4JY82V/pWRme+liqHlHnTQnsghk4i054DlP4bwQNStfypf1DLZNhFuevv0L62
r41JgBqqev/o2w1BTrKyENUlv8qw9f6Mgk6IImD/0ZWjwMf026gPXA/wm1Gdo55MiUpP6o0S2cre
p8j6ceY4kDrdKP9Z+M3BMnwDuMp/e2Sh5V2KGeVBeQyeDl/4AohNiMNy2cjzcAuJOMpcUHX6Y0Ae
oI/am5zES1KI5pWYqofhxwQrIt7Z2sC2Jxkernn6Wpb/0MBNeu7zeZOK5wzy6T5ChNTmxaKrjJOz
8iP4if+cZBiZ99y0sJQ/J42U/6G3cy2HqX60mrJ59Gwyh+CD9avQivlDqIL6v/tKCmRdzhl8Higc
kgIgFLZOdKXtvo7AsAq0koESQABi2mrMS9mo/iGs8vHqOVViLyrkBo2hGM5Kie02oCDKl46n2yR/
cIfrYDjhaUznXRTWdrSegJDuGy/82ja1E60NTRm3dQIxRDrf5tlC4cboYuJdYmWy1Pg0l0jbivTz
EP0EZEylu2yCTnsbs3lHhgAqDOLrkP9IVY1QJCbOQ3Ed35P8Rxo9JH4NluDNJp2ln7TJr0A6a59+
t+9T9g0x7/5d3efJKXKt/EfDLR1Rmuhk6rV9CjvNPgXTxEHtvS+v9MIuFpE7AScXjmOQVR8+8O2y
sb3wWtfvyfF4VlEuQMDMtvqLLZpUgTeTofK+nOSINMqmIemGylHP2NZ5Mlzqru8vt9mG87X0mmZJ
rT7lPaoevdfdQ6M2HgmStUqRDt+/NKOxAta5rNybF6f4r12SKoQBZ+UJbu1RevVxme9nHamKugbe
HvZpA+LUNh7sMDMf+sbTToiFH6QJEJR5s9deth0aIUYmXGVTKi7g2XFst0SFkTGJunlDZVHHrbtO
AEbA3Pcihyj1py0Zs+YxE420NSiDbKWLbJI06RFJ8CF/ukFlXwSM4aWKWpVCj0Y9F8OoH41wtNZe
XAxv4MPeqsKwf5VpcyDxIPv6P13LwX5TKMv+xd6UM9z2wzUAdfbbqlng9G/CtRCr1v+9atkOHvSO
YmmR9fCgxxCunBolvaoseDcVtmKK2l2ZKhPBmL9ttjc05wlQBGoZH27SN6pGwPlKeals33lAsy04
jkXyNM6Gs4kT8CgpilLnzCq0c1NV80TxEJfeNHhLQ83bVd35fxszTeVkTLhPMdmPnAWMW+ktbb/N
7lJinrGnUaBJZI1EbLFuqnf2odf0DVEd7WhzpPSRO+pYJ6hD6n4M+oPq2vlT0sb5kzFUPmENJC9l
Vw5oOnjgzoDxJ2284+RPqXZke9g8SiJTUTrDIaYGCRkfxqRXGnjaSu/AeUsXOZCpypOmetyCxEd5
iMpeMnvY3D8dIs601cZkuH26nOSbs09xSDvt7p+uQjsbkMI4qF74Eg76fJYNSmQD/3NI7kVOj9N7
MaDzJfC/whHFuBEUBtmdxkC9TYkbxd55c/gMYkY9NzasDi8PTl5nUPHdW4c5nMeLbOzOGy9RQZwA
OAnHYf+w28iyqFHiAHLgLFIe5+Wx2YPKJDtUnvxFftcfYRvyko0Cx2lUQvuki9tLV6BQfe+iruSt
nAhyiLTdB+5+d1tNuEGfYXDdfXuxsIv8CJXrqM+n1K9ZHFIdatMOn8MhKk5tNX67nVOIw4pZeAS8
KByk7dOjplrh2Qu8dh+FKIYVVC4/mLkBSC7M5m9VSxqwrunpJW0bZVf1SgujHiq/uyBDE6SK4bhn
x/tLdpoxTa/yyrXt9DojIEGZc3G6m+TVXMT/6avQ2P1hdwf4lYpvPOpVSO42VTjEJUvul8hNl7L4
htSwHTpU2db26mpZW/DKUyuxHmyofQ9ejAazmXkVkj06OBDXRJLGr7yTdJENiYQxJY3DVk8DinEM
Y09VO3tYieqIREGVEUdUXvTGvoObB4xPVlThLG3SLSRTctUlKE/Jo7S+re195Dcvf564RdW3WeW3
PHYm44lkDWTAm1l/A+PjLwfbVB8RSi42cYHqS4im2L72m2CrqjU1PzMb9My0fsG4J4o/6+DGPpsM
feETmX4e6Prm6vqGepSDvJ+qm0iffrSNqx160QRgXlDSFJf2NH8YsyzVb11+aIYnHVltJ83enAFF
F4Pj/2NTV3lN+mJuf1x69VeivjYUGmr2oMME26gaKPfj+9L6JnlzOzjEbmR4lAW53qurpVenDvof
Xsk2NWuS8aGCoXP03YTfeLesfyDrIcYDr7ZXztxax4KAA9GmYNqQpTCcetXqT0X7Ne+n/ugNnHXz
ZMTU283H4N3NVwDMhiGihtLlPhCbZ1Qku0OqRPHR9ev4SFZhfLx3pc0WA/JKNoi6kgxBCjHHoxFI
60L2/3AaZoi1WZ0fOUoJnmC1/6VOnn+QvVns9qmkQGNqfpSWoe/VYxR773Lo5hSz0Ysn0MP3OZGR
h8uhDjjUEqvKJtaaPTHz6CJ7qu3ZqA4Um/tC1Mg4O2qRv2ROs22JZF5r0cgrS7zQEc8ybwNIEUBu
nZN3ct90Dupq+xqZoXOl8L3dU6z084/pE2XGKyefoPMI39t01zAeQhMUycdqDsiLKCYHxAjg4VQR
VfyroqnSjawvVqb5o9JYcTPtdO8SUHoZUTqKcupo3cCcV7n6y4xV7ZQRTDrPnHHOq8KFGG7xIFvL
lByvsfxLPk8fRWOiTASN3y9z6KfnhC34lvueqPOYOIvuCl4Sm+KH7MkmdTTkeuXlhJBTaOvhacpd
5Xx3kVexDjPTUeZhrWswYaq5eTeV1npOJ7R6atd4tEWvD1GgHyi02cnBulUswDTDOe/HZlmWWbXJ
eIVAesAFSMOTz9vXlkW/yRQSme3+Epmt8zgG0Ccr7q83Z49N2NFNEqTOxWASOY/sXFJqqqvn3o/e
EodC2YWadGQXaOMXL0QfeBK9MI+9q9vk2innt4B6ijwj7OINa36Vg9VtmvTJQvVfp5lTvXVyn52v
pe8rX/fY6Lakzfu1jnySuNRNhSz93Nr9bpPD0t3RuB17OXBJ6S0bPyAR/tYvc5XzmA45hPuwQ6kM
mRPEL6hFP0ROl5wh3bs7ZyIFTvQMBbVieRWI7kQEg+cXzJ1VSL3nUhrvjj3HqzdvOS/uyeTrgtgh
KZPJdz95lcO85EnH3Q8KpnVUClEAPcNYokSJwiJzo4TmeIILN550LeQ37rObh6BRSXq14wXpkf3N
0RPD0sdK86wjXfjvOZaPuFs6jZzfq0DOFnLJlORgvyqu7Tx711ZXX2xr7g+2ViALKJqpicuToyd7
MhL5Hy5tvZlRdt/xXPjN2Hj6S8ip0KEXK/3bXHJvV4oxgIW7xI0KnZ/ajFcnzF+NjFpq36qVV2pq
zzBRZ4CTOe8tE+pZ1ZQtZIGkPWTo+3Rp81j1Zr1Har7YdugbvdSl/kt6UIl4JIyWvYeZ16+RYTWO
NsBXThpsx9zVvtfs1FaFejeAc9ENn5x52b9dSmtNTDFfOGSO37z+1d92Go7bkSZZ/eE4x061RrQY
YSviONu4tX4oFJWfZeOW/cfV3dajHD4mkLjupj98Pb9Cc8nUf8jpEWfsxMLFmvfldH0g5RMWqLTn
/nBpxg5cVVNqDy01wSv0DpO17FKCpj1kDgSa2Ki+303yqh7RHqYi+RJSzQ7gppj5vkle2YLyVx+k
S5CJWwC7u6XsygE145HgooEsF4fpvc3AMpHmlyv7KI4fLEEI9MRrLBRiMu9Ew40NgC/BWAC+bakv
5LB0BGZ/yMfChTgefJvCpNpKhEHmuNVO9SZOqqAaTAJyU0mqQQbLnMokkbo3htZ46srwvSGqdIZw
27/4QhXMmIdsVyET8RIhqrgtMidfydG8M/Kznvrf5WDF7fGkKdF3rYaYpCt2fDVFM7Ap4/Zvl6v7
gLwa6ynfxRN/27LrzdAQ5FU4KvZp5nkqFwFFRvq+XApli63iADIiu8A6d/F7mU/B0U2d4GiLRl79
m+3fXMa0o7Iwnlf/99SxG6gl0PV12oFKagUqibNp5XDvyqtO8pHksOxLH9lkwvs+5WZT6x7Gk6Yt
7gNybqxO4Djdjqq/0bAKFEHcYh/2BdlsGXBipE8y3tmsWEHlo8qO4IIydFK4msVIr7LZd8jh9jS7
AWWBxnLlQKJY5XmqX6g0E6dqWZ04p7ILQSGU+dOkTS8KAcSviaMZ6yERdasDXQ7j0dfyKgrt+uBo
ZlGCUtPoPeUzqmaJOx9r0aBfOZVg3rm0BrUnkq4Pm2hAytCRXemkhegTbKTT7bJu8jfDTqa9plWE
A9PSJw4/JA7pBipbkTnJ84eqyeDiWP5xFD1puvvJrtVZ6VKx+/JYZu6+Ka3ujYRFhNgiUWDUmP1X
UKTsG2L1+0AW6LpVa+UQITvwxPf+00u1+XvWIu6lh2P6QKxpoeZN+DA7PqXuqp7nyyFQZ4Rk49Mt
atqKCKkMd8YFr/8wD0+yJ+0BWzTwxlaxbAxHWxp2kO4CRAWeC7WZj9TrxotM9d7jaEwQa+QdeYIm
hhx93b5xuBARvg3QtxXdZPaMTU0VCDnwqbm0XMTCUlmFpSJFUeRZu8um0L9Im7zKMu1LgEw3okMk
FTviqYMSOqV0pudeLX98S9EFPdzt8EKGE9JJW+lQAmDZ97obL8xa8R6RGYOVbSY1B4XBsHCbAUyI
KKptozDZBabylYLyqxkrpoM8TGSfNAgzRBn8ecMDI1yBy9Zfy8KoF2pIAZM1t/rr5JObIbv30b53
25PsylHZVVuqbboC7vV/qKGoqJrI/Z2lCL1JUdQJ+31YkUgUAwWh5LOIjB9j5NZXLe+SL/1uHObi
i62ZyPLwmsyj9eeMps6DJE+QnEo9kjlv7miKlmAAdCvyyocpgG5RelO5JXJKeM1rrRsBA9w2SvJB
DM5IEi7CukY4PRzmnVzHSrn/BaH5MMYeUtID1eKBVUav5GsNy1nYgiAYl/dReSVt6EZQAeFQ+pjo
KFC7jT4sp3EeN25f5v6Cc8FuX4dzhOiVQt/91ZsFolvmXJ+IfOr7ttM2vm+CnJW2jNqldpGVXn3z
kUbNAm7b4/iHfaidmJxl/ugBdsLn2RoCI1A28+Noh9068zN1p2ZOeCZ5KEEAg3CHEqTR2YZgPizg
HkeHNok4YMzrfpNnavqM3p29UIlP/PCUaO234fgfzzGQr/Fi8gwQpZefULkUnRObbHcxQcRzrKMq
2bdhvoLgB6SmTOCpTkR2kJw0DlMakUFmi2efy28EWd4+LDN3ugxulu9AEycIBlDDg/hYbSrXuG2V
6+iE71EeJwfZk/YwT+xDzM4VWkwBesWz4ieSGZKnOQYHqI3k0MxQIpNl5L4YqaM81Hl/CVRL24UC
5pNYNZtneflbExZfco99890ELtWCTJYjQqSnR3hk87UJubcgIzxsLTXq4nXoTo8NLIhDLEalC3sr
DvjUkJyEjjzn1nX2ScA5taFPKsGxUKV0Y34xUbV5DNoNN0vl0QwU/9ErQDwkuvZN9qQ9qyJzgxgu
OpnN7N/crB6tI7RJ+63065HRvPbUNnMzd5/RT8j2cZhpG3Pyy/d46jbopvU/QsUndBWZ80VB+OJM
9bCylNv7pHcXCb+NX5vCcdZGMGeHLs26I7Un7wHqUpRPjsb3Ilb3jQydpqh3tYgT/UL9leiUXwVv
WmxqSFq42TXprG4396W5n4xIPyij8dqYJtKLmi0ocWEcH1oyPRa3WIE3cRL2Z78X44opYjNJwjmY
nE9usr0uZz8DUEjcOdLSi8uu5JijGuTy8uvr27omvNQhWYqWxBgcbuEmYJDPNpXI+7bqbGdlqz1H
w5WNHkY1kLqnDdmqyyzl3PFCxiljW5CwqRvvZmzsByWLf/UGh1xtkCUvtRJM24CEzH0Wz8GqtNhc
OEoobqLjzJt4ZqkH2ZdXOfHUD6PsywZaVrwmn+daUXA+FaZb3xKnzFItVooWx6scaVgQ8e5VZSO8
V+2+JStiTObDIBp5JRvPgE1lx2GPZlQ6oR2rcWjZAZ83BR5poHbrKq9axNTZbgbrWB+a6ygpBZ+2
u9vdV6xBqoBLqmC3ueMiVTVUUEcVLzyyufVDu3HXStL+tObJPlRwIfKF3jtosYm+xuvIQecL/DDy
1dsHv0LLimI0RMd00NGpU2orcwqHa183w1VexRzzL8l+QuBV2IJKDaD1q9O0aKnX294dpbcXFj/z
Jsn3f9g5aTpXZm9uA29+KOzyW6PlLZvjwHh1yvxbwcZ94Wqdv6krrzkGcTBu0ynVybmbrZUSRsYL
+QRkQWTxsB16JFiCLka6hfjCN3mVU0h+u7rbAPb/bTOQ6eH3KuZOVmqPXjJeoFE2XzyfWH/vBCY5
53SBsRTrMInjXZ1ZzReSKBCiIBXzIruGT1JU4r55bVZeOcD7JefUhs09rHbtlXSyVDteBT63O9lt
tO45I+E+1Evl0gLMfYhRQyFNonmXPdnkTe6TCWig+oRqE6x00zukovGIKfJg6bcUKRDA55hr48Wl
SDzRtBdzap29a6TJUo7moWpd8kB9lL3bhAvyWv1L6GXF2kUsGyEazXroSMnZZFQ7T354JcmIxOTY
29Zk9l9L0ehzFO40ijMXow3qe8EZaHk11HjcN736nkllUGGqcs/bpxoiy6hAryYTsVgrqyrS+9Th
kmpohhHAf5am3p9AkrluePBatJ9NEn78HplqV62ag2wsy7S37KXBpOTIKNbll6FW+w1ZQg3ysMr4
AFlgegDY+pqXmkc9EibZ8ODq1oEVNNw3/raVdWacygQFIjFpFo0cLJk+ZP5/TSdcUq84i2SbHCPr
1cZGdZQNsHqk/ZDCaBYZ/8PBNzBC1huKmGjBM3RzkGaH081eJ39S1hN0VsKTBeIFm9C/2T1/DPQB
tdKuoeyHrIkUSqfYYcxNVPUnufmQ+4zZqFzuRHa/mFrO1cosWaAhPT1UDqJnUDU58LYpHF7kCLud
rRKxjsmJQLv5/Zd65o3oFkosZoqGrVQxvti8vIRmab3mlIEjyav8Jc3qzEEg6RLGejbHaa3lYbxS
xRl+Du1rR7HoV7hvpNeEn6Q1OWCn3VfpJu2Stiav5KDLoOz9hlcT0+UgGJRlMLU7JJaGA6XRw6EN
go8rrUPo/d71+oET+jh6cuvZ8XboySfHyK7fwxqpw9Tvp4eyfyGG1V8d+UZnR6SHzdXM43dyeZrZ
zUtT5pG65+Cx3sdVQCiyMIZNR1IOTyYzPlCmuif/IDgOWlQicOYPD0Xnv7sUWr6TKTltKUrhD6/1
ovfQ0cF0J1lIaWLSvlWkdBA3jd7dwpuOYxgi3iVmoaYzrnqXRNopCl8MP8lWkz72x3ksiHmJK1U0
d9u9m9Y5ckL3PvNdM9cXMy/7Td5eEwXh0naosp/NGC91cxq/cZgVQ/NzSbZRE17s+JNPOwi9vk/C
Qdyg9560ZNZ1GQpdt9EGpGyGwKgclCZtiC5JamUXnyQmpF6suK62FLkjMgf1u13oRlCtURPVjrJx
yCtcqqPDZ07Vf2IyVX+SuPbSqO3wWhSk3Yygb7eObtQHX2C3yvjX7NoJQFwv4LGHbiaAKOOLMXfD
NjNyIQsfR2sPgN2qn53g4f9Rdl5LbhvbGn4iVCGHW5JDDskJkmxJtm9Q3rI3cs54+vNhYTSgadm1
z01X9woNSkMCjRX+H8LvBgzOV7vxYKaO7Uk7Jkqb77spCz84XY5Q7eOv1agUhPFwkEFLTeVi2/3H
5Q+ZP+Qxz7K6zi8w8w6hEn7K26k4DVn7e0CR0VWrzVPjLl9rSWHJ8K6Y5dtf+t+zXDEHrOuMh6S2
5lStH3vX+mN92pdN+Y3rJOdBo0aNxo6/LqucaIbZlODg0NXsKLX1bC2DzBI3tMhrA+8M/Iy1T4c5
nSHlRLgZ9i6kSCFVliK/MfFU2zlRO/mHGuvWs2hvTHqtane1DVT3pglMMijjzC22TeduR/BZfbLG
8nEs7PksK6OfXCjeRWEADcpJqnhsqOg6c8OPnyb11NZV8ZzN1FNnGgXNPl3C406EIE8xBelpfBqj
p3UlisicvgKSQekW8F0c85PuzyK5OnZV/xE6NUGn2Bk/Aak6nHw/ss6T6ULmy83r0FZp+JvhNGfx
SePqY1JW/N6G4SH1kz+rbupJlPv9p8Rw/8iJpVxFZBFdfXFt9yyrKa6GT74NDBCkuNFDNTbxR93+
D3W46ke97v0HjfzsQZY2p8qdYkAEEHW6/zF65oBufUyW+TjkylVrzZMyQs9l1NHXIZ6hb24GfvVl
38E0plkXcsbNcYHOBNNO4aQKv5WwkUM8Tv41cV99ICUuXtHnEHjUR8vSzLOfRdle1fyF0rlt90U/
zkQFo/hZTWgI9R4bO/oymU79kC35TOpn26fZdyFqc8E6obLGB0t6eYmSYV7ekLblJgua16lMwlWn
LVb/aHrnXnnkNMtwiaeEV09xXhxPcbmDEwBLHqYF2T+ew+JJZnlhkMOXNfVlxRPv1vPVyS+i9FuP
qsFNufpaBm8RlvL7QAd9HyTfNLgFKO6fEs6abnStQ5X7Q2bnXym2fJW3AGD2fnH4qn2O4pwC1yD2
zwARtE+1AywwJPEgCwfc3UGaq579Sem/5law6/rB/twD1ffa9dOvYmWYjfcYO6DQydLipfrg0s5z
lmWfUDzkaOXHyWnpYpy81Yp0a3202/BDHgBYFhN1PNutGb/kVRA9QJ5rfeZQRs1nOeZ/jtXPPPOs
/7rx9Lmq3fqXGn64AyRA6eqtjqpxJnwTv3DMfPOu9SjlPh0Ui3eWAukR2TtzLr8meRb/TLNyeLYy
WFFriwdSNoMqSu/yf8qO5n+n6q0XDczJ50RzQwrqUDT8ItU8KH6bISsHpbOsL45be4/jCMuan+r6
oZrM/jXteuVUBM5IACApn2z4fI4eBSJQ0/rG3rJ0/6uT1N+owqr+DCl7X9F5RihH1c6ILkYwLbAq
BWdkG86Xaz86w1XhDYpE8HyWlUXtVkXTTRlDavpus65XHfwb41VUjaYBPRMCECDL1Uh28UvwEZrB
g6y6t0IQkxj4NYUvNsV2bpTD+M5iE4eUJryEM+gSTebqpzuFGI9Grx9GDxxvd9nNsapMJRsVhec6
ifuWBEMbGXueJs9p7FpfgiKGrDKgY2ciDvklNarq0TZ65yBaD0ivhzKevZNoo7Z2dwH3iatoG8f9
oHeu/qHxwFGOwiJ5TBy+NCVssUmjh899eGwtQHkoDQqdB6+lmzRP8v4pKOtnD4CrYN8Zpf7qe5SC
VNHHTtMigh0MCSgZMeiWL6tVbpUfCQ461yhvaN6eFWAxlcaIz2IsvrwEQWHbmuZx28UgifUw9Lp9
sCdQ3bgVhXD/8fXfkwFsn8m1Un+0BLHmIXUfYvCZH3yADH5y4rH9MAX9A+l7cPsmiwxYOrj6WYwV
XvUuhgqKHtzz9pNf0kANXsYfrVOF563fQk7Ki9y0+b8X+XZ4fpdnQ1dfvdh9NBNTu8owNyFpnB8s
AzPWeelxs91qZ7VQ59xPbxw3PYw5+gPVdtlONlcL0FsqVfUgAvienOC1CuK8MYYs8j3xMMt7+ZaX
+PFa7CVbsSYzZK1m5pnue/dcRAFpX4gcd3B9GM9W13j1aRqddqcNFKto5HKf/USj3UumYgRLbJDr
VBbX6dXmRY828DdAveAL3O3p3/DzqgLYPN22Wlqv4NneAPQ2T5HRsD8fi5EfrihqFWKn0Su0c8Fp
97WLnM9SvVUnDY8Hy1xXontfiW6xlLIvUFNXS+n+fLeso8x+oMLCe5Ce3BBouamJxlfpvzXSoTp6
RugdRGnDxP4JUCzRrQM/rr2hA5cqrbq23/fPvh39JErxSRxos3J4Q6/wxfzGzfWnLjEUCvubt4Gj
HUHy5lnEueLbKvFoTYUksm0WrgvlWS8MoIZED9rwcGwpJODotPJ53ARkhM/jZn0ToBGVrPPlK7NS
fdzoZUq7h7+bgszmHNECMUYoqgKvsqk47O1ji9eZSLMBl4GMzCkcoiky9SL4yDp1WkpzSX87rd2C
tkLGPeExqE8wlL4DCAmU0LY0FyyiDYFI0SimSpPQ2YuJGFPN5lMzuNCYLp3eBryRHwzzWy7Yg7KC
U3Pr0pb8TlD8sWITWm/W0oL+F/87CXus/X+yI2mFTnOBwVB79xg5rUNpg+FQk8CsSyIXFiX7AlFZ
dtnkQ2WBtz7oHcwtajLuNuNtA23ZZfElfpJRQfF949zr3J2pEuXMnMx/GWa73JPNosl7WebtSDHm
Msu8SX2Es/NPOt1GenYWWZq3e2qFw0vuBxGk6qUfBi9BZ6qf0nxOd7zE65eySrRP9aII1eqpXlZi
4ZqTfkhzHyCsxUEGUhq7Ev70D/2Yuvs67cc1CGI3+uckgLqmKEMYFqpM7x/UyqgOrqqSvKBWB6xE
rz6TpCDEW8Ac1/sVhVmCTbNO+b+JV2Qbgbe5R7ER4R3SjcDb2DQz7YuORrV2H0BnHIIL2XJjKYwF
I/H7anZnezhAopNxyPfc9b6SNuYDr5bWRW4hP4Lz9OKp3bcUZB7kpnN3DxLZTIrp0S+cn2WFafn4
Rs3ihHqyu8EBFe95+mBQsfQk1j/aFKRbbZdMvbfeKxu5IYphsoCJUrt/AeHoGU5pevKc5GUrsF9E
xSJaY+jLMlSG5EXNAJT0o7ilPT5pn6a2+WPN72n5/NhpuvUq6T2TZ8kBVELexSG2o5OaKqR5qUfK
JurUcu2zSDaxbXbewi4Rgo6EqQxZO/0+q7DZSwF+svzt1YAeW1lK4b7MZFjL89OgIvqv1YcbWV0B
E6aY0Ma6MBWBHMZBYMkKyDIs0uMa9H9frjkCh3bYU6COgDG2/NUmU4k/yWBBaQK6iKafUsqIVplN
o47p1cmLWISGGb3Qe3ymkcLn1DbG/FZoKOcILMCbPPbVq2HQkiVfqvelk3b+oQcMat8oWvgqgzEF
0WsSEBIuHN063inyNMyOIfzd9x4D6CeEMMhivO+k0L2080YTcND38JbdtBcS7vNFwluZxAEkjuWi
iEnAnIvhW7rwd8hAZKVeZ7IM1O5boVAOcyeXZWaq1bPpc1YaBiq3f+RfT0W8nxIiOpQNBfvlGPLN
8aHHG9Pp18xKhwdNB/OJ5uv0g+bk/7OF6/sHu4DvpQzcZwWO4uuUlaQWe5hEL76u7sq8pdcrHlNS
7DUYo+aCmyCDVVvGtW6tg0p3wyoSOWCxPX50ltcavHXrcnOzS+sXvzNocPmrm7bgLoAbn1DwaakP
m8NmV5hB+TCQzdiLVhSN5n5wKZw8b5CtxWCTpc7iy4rsuiytyo8u651IUF2DBd+V19ZVkUmDmchE
63smsL/l3htyCEqz6gLju/5c2632XGdwl+7mCnQxMHD3qmsgWxQ62KvTTtZar4WnbNQpiusJHh9E
L1uYKozStQv5lhjKMBZpNC1wN7+Ec1HzGGEzUaw7rutyr3GAeTCq0Ttr7Rh8sl3/Z7cc0l8L0/Ie
9HEsqKCK0l+nIj9oJFuIQ0YxDF0TOVqIAo6ZWqanqgiafdGOyhWeOvvrDAD6gqkJMq4CXLHxpTPz
j6NDYaoexXALpNV8dvMqguocmQx+qLYfTKBpWyAFVrlm+9+8gSShGGhTC+G4a9GAQhhJaHGsIqRR
i/MS6P/fZTIj8E8sSQpaZS2Gvmu9Gd5Vut45b7vqBAvPGrB3Eq7LtwDdlP0+QFdNszRha1FKCE+W
33VrtG+zSLXfx4rSdjHfxOKITvbbdH/fb1Ah4KY066SZ7ltgVKKjskxUBz5Smfqtc/QbPzyPlKJW
xy2M+iO/TWup7q2bNSa8vYi6rQ1a3GTqm9H44JL/gPJlIb2lNbV+Ekpcob+9ocg1E+IK1GEWR7ER
9WYoy3WwlS9THxrHkZgpQW0GPYCRR2ZAi/9N9r/ahVR0gZRhn2S7oHX/mB3LPVLRkj13DQeHnUxl
MCkkLDQIgUvby543ucxENtc+5+8seBTRvb+YtJENfD/pSxJyXGPzldkgl+Q4tUtjU71avHOQCgPn
zp3mQ2WkvCpQGgiECTMKV7xiJ1MZyCqAsQJ4cLFoN/kPjWUbb0nviHrb9R9lOmSDOzWiFm4zFl/x
KAwtu1j9Nw6hqrIH8ma+hi29pTFEkVAsUwLWLXViaanN5VmmYqPzlD9YFRU49QC5Ai24qXpd1RD5
7GigLR6WpuyLM/jGpdK126H461K0d7LNTXYRkztZCikuqYUMdKLlGqpPJzmMPn+/5ra14tbFA9gF
w85ZUDAsxXgMMhDXq9bNX6jyWKAUlnqxatZXxa1sseka67FpRhcQ0MVsEclOMluUWjhC9VHv7D4h
BDT0HoHpxG6jBYk2uVax3rxN0wC+w51RLrlGI6SHtIlBU1CBF1eVCfj+sFA0ynZyIOyycZxOtpH+
B5RpNEbNSdlahjfLJlRoKoJScPURvWPmIDsviHny+ZRotmnraW1gZv7+wUUL+KINMCj/IhnMacEc
MSmsoJ4fzbre/sXbjveaVImzXUw98BHE6vZaNw5wtEPSrbO4VHT4Zpf1OhX9bMew0G72itX90Vpx
ehStyFcTWdcDZBT7dbrsTr9Cex3d+DxNY3TpPCc4BC6s4+MS8uhHjyZCRWIctaZfjJxEnmi6ugfU
cImAyBK0xunsphzFF3kR0U0CcuZDpQ3WdRss36JavU++UgwTnO7k/7ikxN26iquYePiHFLCt/ptc
8RzwI3S6ZIc5ARY7Mnu+A45Vn+q6p5xWD+v4lb537xDxP3i4EWqkHh5T2EJXG8ij4ldjGXRyi8/B
WPH6ia/IbQVa9yDJT+v93K0s8kVknFaWdLltA8fVPG138RsKdI/eyMMUK/H+7uEwF7zMaUVfQaBc
jk8GFwAPoLJ3HlnhC2BRC+3nPJLzQWtxXswPsqaqwN0VXRJDR4xaZDdqMR/VoDyl8fibaPOG6pUS
NFHBZsoX0CaZUdc5NhQXLQhN8zTVez2ifYanZJFwaqLVZydmMgiiE71k+d41dejPFI1KUDpCoOzQ
lOAqs1nXgyv5rQW8dNHcTAs3jynzFS9xUAKz2TUq7dqxQ7ODuTROLHAz60xkcxb5l5E28zt5uDhs
XuVoZDSRpeDG/1UhJpvvRG6EvEBfPmwXG6wyfqQJ+Tep+WnUJQ1nD79IfRCNLgMcXItMLeZfxGKW
mqF3u3+UyQbhUmVETPdmT3GYUtA9ANqD4wo4NI5988+tOg2AFqr/lS5pGFL8Y58M81ENy+gXHwSH
XakRXSbwkFM8AO0jJOe/KEFgXsKusYkFxMrnHgLadGEi4OVhGUOOR/4y0Ifwp9qkxoOsVhuHvKK1
F8E22OIoaxL9b96bWmTr5puNkvjueplNFoPHcFJo5heRBb2k/7Be1huhLNutc1Gm0K0+TrZ9VEoH
ArLA67SrscSSZSYDbD+/wcAzH0U+2MV3uxuXv03fnVZ7cbX+uu92mRsbuWLrWb+RqqKMdvk4N3v/
0GX1HrsgoEXxJ92h+EpRxp/zWg+eQ3J0ezfTy1/BzSGBbmvWkznm9s80WT+KPPcV+tXd0T1A2EMt
0G8DtCZ0DVNY7fDCviCrlL/6sfuhcgHGBc6heVErDcqfRW43nbP3y2G4Ws1PqWMkByWP1YsMbtCo
lwgK0Wx3vxbVZrmpE0A+3nw2m3WPbS3mjhHBxbztcacOtuvemFdJ4O5DOhj2gT46sLVAnhz4Rn4I
7MYCtRyZDOVCrTy4VZevQlmLRkiXZRZqcFrd+2xbmC00vvfqH24pPjCzUE2kEi7Z/LarbtveXFU+
yp3Nqp5trz+TeNtlQadf0oX63ORVy9jLtFV1uMiHleJ8MRCrfLES/baUWaUuVOnvdqufWPvaeDC7
xngUNxE1AG7wKvzuIkKnsWqq7OA1VCnChPiekNMyyEwqMWVWWJV22ZardSmFm5uPL3usunvbbT/Z
altu7s5snKq+Dqi7pj50Mwt0myy+Y/b7iXKaAkZRikOP7dBEVz9WSoC+ey262ssgQi0aq2IH6i0o
+yLQiSYfc7P/7cZz86FOx3gzXPe/2bmkS/FKaYpBicv4SxuQ2mqc6gM/5+KZnmJKLWoek7ttnfMj
JW4YKcdNdmMjO8DWs+4gJp6UaMhUhtmnWJa7ig8DChdIm+7PrJuqk9s26TNZPRqFliZAWfbaPLcH
ko7ps1HztB+zsyy0RTI5LsdbsVPTIKMX0VBAQC4njsmoVcqqQNvU3V1bqMXzGBGqHqzR2m8fXGbr
p5fPsoQv3NR42j7szYf3c0op46i19jfCqamq7pBnp2mY9Ccdkp8mH4eqPNI46x/Ifk7XrO6KaidT
GSiInq7FJpS1aHZlbIzXzejOR5arI5jY02ooQsMIymp3434jvdtk9Q+0jpCM2v+iA914MpaenmSm
RkMGcykatIABWhWlkHHWABjdCMWwXWR3ik0mJtv+Yao9tDNdBaXj5hRLMNj1/DbQixy0pNtZE+qf
aVpSu51fZcVqM2U9pRubOUCV46G1tWSvyznth6c1+vkC7uYTDTfLOU+OcV33F4jObUkznHUmeG+b
j0MOxUVNCudposqH74KNt0yDoeVo2JfAnOZ1utoQw0ygGf1uLbPVxQTeu9kt1k0av1nf7xhlVTkd
bVouxcZNsoqOv2VLgKZHmvDaz57d0RiWa5TERjVAwkHvzNCLll74MnfdvNdTOkxDGJDBR8uK+amf
Ass6EmlpCdSaNFcEtgGqH4xzT1kXYqXWLanKof+ybiKaNre6S26MC0okG8s1RFFmv5qg7QAYtuwS
LSx9U1qdY3sE4GAZes9IqIyjcruBZKHdifBmqjWdhtSnc0ZTic4vPkVRvHknvIkBDNhb0AksQmN8
4binXcVMlG/+i9t2URN+tcc2SK7itPqL9d32fQtGNOwGRwoFyaZnc6lfoMDlifLXgWSCfqmt4E1R
Ze536393ES0VUCZPHfFZ57Kd6G6lY2JebafXTsZyIy/Slht7s9zjZS2zbdhkjjwBRLP6bCpr2Wjy
SpcaoGy3yX+0jcj+B5Oby/1oGzcFZXXokv+K8sb4x9MfbXHvqcrTTKT1kPo7b+hSvkzf/2P++T/q
5pJDTads7pbOLk9BXKHzubtYEGqkIBcCJ2G/D/ShINzWYjnBzg3f0eIk7qKOdOD91+1kLWqZbZfY
9rnZ9+6KYnMnu7uU1pXO0apBeFg+5/YR/vGSYrJ+QHG5ufp2ufXff3ephkw9GANqYwbRzlDM6hGS
YvtqL/GGWR37s20NgEew2gYj0miPkrUYt+8eah+h+avfaq3OhOGPq36ViJVj9OvugZ4X9Y6XBGpA
fC16WL/KgcbpR6YyFMvhpFoGXb4jsp7liLTpqbMLH/R0qFfHadujaGGEP4plrRWWvd+cZLbuJJve
7N9TAGPDgrU3KodawpjslAyVrb3N/l2mVSHAm2JjjP7/5PK/bn1nd7f8f33KO9+75baVCoffPopU
9WDHwZFAN03Oag84VmbxtACcugCmLd9RAQyCthfTGy9TsUnApnqcB+/nOQH0atdPKSntxVkG24JM
uGmAfdpk667konuYqnT3IHspgaNDYCRXaPL/EpLKD3kE2cNyepShWc53ayUwx7CaOhz9T5F1i6KK
OfMcLOs/HJuhrzciGnKJaW6NvvYS263n3ieLBEbEohQLVQK8DRgmTzYKMROFzARZWbz+uuXaRvyu
GLp8PhlD9g18FAK6y6AlanNsGvsXYP/hwVFyAruiKPOhj47SZLBKDSVMVx/R+9XVryA56ioj/Il4
q3IelX5aoIVBjwot55SAanECMCl76ghYPQVKRUwyzXYU2/FdFplo6ap7MxHZqh4cL3nwB1vfiY03
KdCubpuJz7YUx3ku/9MkqXsUeaIShOoMiryH2KFC0fDS7sUiXdaVc3lVAV1/cakkexF50Az9kwJa
951clKrlQsgWQT+1OdROb2kLVKt+aGg4OayGy6aOZV3UIAQR+K85oy1dJIotjyRL1wTllpovgHnJ
L222d2abq5Xlr3ARtqewLyvQAYLqqnTfZ6MdgBYFGdLPdpX5R9GK3WZyI2s5BrvQBRujZtLP2ihH
Xe/9dam2gfUqCrtoMpDE8+koy01hVOZ5SPXgaROpTjw/uVA6khbdJYXmXiQAJjMZJFDlLdEqmW2K
O7vAdGcAPhdDsblz2bbZduWAEpIADEuaDKSd3HCV8ih8zAPQWc+lrQFgNEAMr/sAUlB299pVekrE
IR+OSueZl6SiQEcvaL/ayVQGODqoS30fxJBqpDfZ5lfUEMvU9RjuRZYrZMV2m3rbi97q7xrZh/qD
4lJG55pHwFUGfylLsN30bSky3dDrYzFM/9Umw6qBUcNEFJvdj2Tvbv9uu16RsDcP2OW6UNd1B6+J
3KPAugdZ2T6VefBNVoL+TlfKqw2eHwiV4L5nvD3yJq6GK1B8QhPCB7rdV2+xDzSqR1XFGi/iUFVx
dK7iFmySxJ5/Smd47Zy0PEFhl3z06ad9jXydeDgdSr+CV2vsm6DhY8Gn89mtgQYYcu3XJHGnY2+C
UiVmvBnsimKsv5pN21FnddCsHrrt934dSTQX0UTgUoRDaHzPJd+klakXDg5qplZ7MbrR/G3Ke87Z
b+zgbEG08iSD8T7TtSZqdxRMw+EaUHaxKLRBb1Nwqd6nTtZCOFC66r4Fy6TdBTWvmjd6mYb0Q1wg
dd+HuhW2O5FVwczpVMzVioefCGc61Hd6p5UAD7DPaqN26Xy2hrqizh1mwmev8qhEiXS+qwveVd7b
0ZEqH3sFuBLZCniVWKn/RNuAiGS4A72iSySGb5f21xuErP/Ppi4JZPXQauHvvZdRvmUOw+e8TYtr
5Xsh5ITLVIba5ld9s076rriSM2v3cB5Tlf5uKApZlj4QTSn9Cmu/iJ0OHn2CS9cIBUcx7W/V74pV
Wd65XEDx2mo06O+afdhCyzhaDfNFM1m6Qzs2jV1P4i2DS+dpRXX+aRa8PTGUfWKwJo8adKW7lYpk
FjKTZVgZTua0IfgnvCalQ/cYaOM57UDohatkVct65T4R8zdX2eWdIUXsgdT4TpvyL/a2A85faoHN
o9XjRQbT6j3aSxpqrSnMTDL+qxad3ahvBpupyCBIwHKzWdcLyaQ2gOy1bkd93pu3Z+mG+bAa/eOe
d5fYlusHAsBwvACIqcKUMpxzeWVeXo9lJsMgL9PbOnlXN8srdC1vwptaZumyj8xAJeLlekp/B2LL
WPcXN1FuW915yXIziWeoFZSig2nUawmuLSUHql7OVyk2kJkTRUS1bFPzTrbaPd+ZJJPdv5UvGJk+
KPt1o3apZ5i7ydw1MchosRFa/Ki1vgNDY1Hd2spVhl/dcUlVy8cQE9li+xjTlNnA4izOIpxiIEQj
M6K4WzYX4d2HM6xMf6grkA9qKw+NhzKKAYU3Icp4zRq7vfheHA1/iJQ2IWrLDYsuSdNOxwMU4q0e
vIqOuqzuopm9d56UJuwzyqhAvbn4ZWU8R5RAPLclUDkljdErgYtCdSQgXAyAloE9q+vPQtYSCb3L
atOFRgitKretIbDgoI7iC/jIO4sQcrkzHL25wtHQXLVlti3v1WITaekIo5MRAQuiktm7v8/Ecf81
CRwIrpfbzHaHubkzZXI/0q2g3G16zyg/g1ufncBKD55A0g6eZHa3jFKeuXHbzQ9p5EOvsNnIzB/I
MR42H48CV3OaQP1g09Wj48yD3+Y9cJS7ltNj2w7qhUyfCkhDq5wazzzJSuT9u3KTyexHS+K0ALtt
6h/Z3Mlk/+0TbL7/Lls/ltbB6WCoFJhShgLTpERzJZArYV7KjUAEUV9EIoPEiuP8SqfsvIq3ADCb
uJDCvPRFTb2AVl/kLcFJI1ohodneKfKGsb2LbC8Xd+8aLZnAXZpzqLx5kbl5c9lebGo3NK6uehSJ
DHqSglcGnpsT8SJ2FwwP46w+51VCt+4/BN7FQSL03F0W5FXgg+QfnlrFZ38EvE3+vWY1kCyvwnqV
bf8/on23Ffn2f/ou30SwidYnvYMgCjB99aqn0PXu12mlBtVZpkObPoXA2TyOTj3SU7RYjk5lKXsw
9inVqPzvUr9cpkBl2HtjKoZ1p9AGgHZcCrDEE47iqDoTmVwY7mf/kbf9+BN8xQrYyGn3OC411iLr
jPYhKer0VVZJY0XPqeK/yArq7fI57Omd9ybnme5p51lmpmJMF+iZ2dVznmE7fpO7aU+zhJYWMCir
e+ejZ6ikdhYK4qyjunVQpvZJW5bccT+ZupN+0GFD+qJZ6i6t7e5nTR/9n4JQhVMBo7RN4bhRxs/i
kg5O8KQls8ELFUrqe8BbHcb6IFrTnx/djn7/AmTHfqc1rvMEkoLzZMe8kUYx7QwsRGzZdntrIZqO
KjCQZfz+YXMVxeYnM91SiscssT7Jyl423czubLXEgdRHdx/vtjQj7ZKYkHRVcmR0cuV5jkCCsSo6
s0LAUfNFJMOgQXpvUBxwFFugTOkXkilQw6Sn2gbklfFoGHH76kYOcBFeWH2ExTb0u3DfKvBmW2r1
exLMGtQSHzPYw6yTG7rtMUtBOKSzYHqRIQVJCSa0hJh3pzfaSZm66ToU2gXcdeuLXdTnQPWLT2DN
8GPooGKP7C9uGlqv3ax9ERuFMsCrMoUQpvea9WV0vfLUmjqlU8sO8J9S2Nsq/qNqqa9jMCfnfEmI
yABeVQKemPak8hx9FNEg+Zk7E2r43zxEEVrzU+k4HZxv73I96sF0tglAWmpf08dY5Naza/MTqwGg
6FOzOawAANLd3+rto+3rw5OAADQLEkBa5e7jRO8SuIwLJoAIMxeQc9OlM35DBjDy2XkuNAOeqUI9
UQ4IYXlUUNNN/0NylaFcZn5aVzoULlCw2pkS7NuRQqjq2+RYILySA3LdWedA6elXuqa64CDTeFnL
TNSNE7pQOIpRwatkkmrK7kYoRpuPVfUQ492vczP4uTHy4rTte3etro69c5UZ+6lNiuloxsP0MCUe
h5B0pAua+yL5oDUROija2YAPLKOWiFw+74lM564wLvfrVSXSG4ebqajE1dKm+gEMhHB3s9+NfwMg
/NsFjfTBgiqAonF/vhma5fE8OnqfUVyO5m39I5vvsn83MWHpWff/dzvPt6hJWa8J/MDB0+HI+dFH
kA0LDeRZI/V/MhonPaZRZjzaxLse3Miy9iovwhTmuS9lZL1BCodLm06f5hrNTGBhtX34mKZmhhUd
e9KmJzPIpekBkmmSGLSyxSdrAZyP3PZjRXvIs6y0qo/OPJGoG1uU7xZGYf45msN8oIs7vG5InDIT
mU41DxA+7+q+6n6KS5P3xr6drm4Bn9rcmta+8x+DhsgVzUltt5Op1kbPkAZbj0AyB9EFVpqW3u68
ONQLa9UUNR2gtN5OVttgLrxX/7gUBd9BIDLTngrDaOmJAocCkMMRptbGoIt+cK52no3Pet8GFzqe
IXwbgle1zILXtBr1kzmovAS8y2SmWFEO6fXTnTjX3fBBSwFHkp7KtdOyaAd7n4107K5raceE6YwK
wqWrVyzHoDmGHmd0gKm7s29RE05O+lmnMBE822W6rrnss/XbjThZqJijZRCDlIO9k+nWeROJhShF
ppdKCWFloVF59n1bUbRVGz7VafDFjn8n3kVnmBt4r8as+QfF583b6yYHHNtB3SdD2j44adsZ9NV7
zota0uU1lt6TrMQu6qP4ERAt7wAsnXdqx36+VGbKBR4zpSVZ0MyVypOPs1OqWe6DtvA8pAulhigG
rfX3lunD2BKGGvW/lXaVmU1rCXdZM3rYZKKI0oK/UiKjCDJnPLWleTHN0YZ/qjE+gC0bePaHYIYb
YecW6Rc/dIOryGBUsCk0o4OVANbBsVXtoRdQFccmQKH7tkbb1AAdmk2+CFxAx+JHRI8jv8QJ6IXn
2j2RbIaje56nr3C5/WOi6CZHJDY362SE7Xp/5wlmZ3JICyOA5Q5YC0qQ8ydFT4ojbcoJlRvfZaKo
wYJoKcjHRgYrqosnQwuotBnTx2Hw/Wpn+IBATzLVlqlZGqCvj4AaLqVWTTPzii7TbUiWEi0iqNRp
LTayNCbAAjqPAiG3H8zd4IYp94Qg3nNmNPZFGvDnfh8MoKvIk7+vZWZ4xXwBG4BDYqN/V5cw7kSl
YT2GmtFcFJUhoaYdYAqlay4T/7yLzFah6MVShKEb0fW6Tu/cxSiSnTZ72Y5fOdtvlwvCo1oQpPfr
ZLhIckxm8meRWfieF9wU/ygTk8Ltw7e84J3Ltvyh4Xb5H6qDxvX2lVm5FPd62qPiUKESwOO5lz+T
aVaF8yDTSirvtj/ojZX8MUVTSwndD9ck//hWiCqTcr3la0A0pzL229oOKS7h3HRerUWx2tw55smx
8WPnOthZA9sHvAuBETxSozwaX9+XShJE7SdFM3/T/ZpmHUuNCTq6VIQ5hkd8gaFX6ZZY10Ee+qtw
inSgaceEEI7f8BjczHPwLep1rdQxRuK02ut9bB7dofo9r/19O3XQXdPh3u+MBU1/nVYt5Ak2mEQp
eIZnWSkkq54mN9F62LeZijDuy2TveIN/GH2lOgLTmHbkMAdf2UtTp7Rzyiznz3e0RrjwNsXWCrpp
N4Az6FnKx95xSvCHoU8dx656CFV3/JBpnk8cn5bA3NdBG7Onr4IcPDS+RSPdAiesAeqj0cLyVBfl
dxl3ZnpbO/pBBGzYCM1vblvTx7OAoo0LPFq/DDIT2d1yM1F09qYjBj99wVHbdthkQZM+9fX8BSLk
7gm0GegkF8aRZhij/0RZ+/PUm+PPNuh+x66PnT2I7QV4N8qvA8/aK8CMFATEBdWP8cIQIuttEJvp
3dCEZhdolXjcV1URfjypPF4+ytRR5/AjHQdnOt9JEC9abxFFdfMHT/6srYsTh3jD+9TaLtRvxNGa
wtApdopr5wjsffJQhUStedQAtbm+b8d+cAibjHZieb2WN3MOSRCqv72fL6/qq8670oBfX7YTgDz8
t2OA2agnQ0+rxzv5iuuw2d2dHgTW4c5FZF10ylsDODrHyPW9UVTTBdyRklNkME/ASOQV0ehFKmt7
Ea56EW5DFoFOs1quejF1xN+ZzPExqa2DyGSjic4UKEiX7WQtG918BtGoVm3uJxX6YoL3bTNTbbBk
L+2lOLqtm/9j7MuW5LaBZb8IEQR3vrKbvS+zWRrphSHJNheQ4L5+/U0UZXHc1rnnvCCAQgEz6lGT
QFVW5s/eagvNvNu6nGlIDeM+D+ov+IDJk5kbWvPBSuNliry4mWJBmOPQieMFCwyXf7VdL93rlVtf
gD3Y6AyFwUh8A4NTRUcJ2AGNasdhYGyowHpK3ZbJHePReHYhYyMAGLjg1uOCvR9HI2pSgyt1t1Hb
0jCUSW/4aW1650QAVq9OS8vBCakqYFSLydkIYG9yGxBXZEyqJ2oy10t2owQ9+GqTBdC5cgSMWNPv
ZNbLz33sdZexAYGIPUdukEDfA7DYobkiCtpcaYJ6ZEMmYwTO3MW3Ch4Pbno7jiOEHfr9wLIbFBTt
faTKOBKq5VB0slOTv+DgV2OL39slcdAayheM9vgC4X86jaihjdQeZIduXb/Jm87cNiyMLuCg5zMK
bD3kHqzphWwAgrHmSt2wsKF5LuSp6aB4ZOaIM1NDw1qCKgWHsO9LpkA6wPKpvERlt8CEtwuiTxko
xfBhDMlo/bSMF19aRrsMcsJ7FHyN87Zn4Y/MtN/zTvBPYHAvz5VmJpu4NLRPvTa6+9mp0kC43VcT
PNYX2YHxb+R/GAOKxmlQgtwN+frwDxo1INJ6EWk575x2QJhZuZMtGhkDVUzaHCKteLOBeoH0/ATR
ScFzP4RA4JGGpKYIdq7clwn/aSOSCGhT/bStnBFTYb0UwunBbMABfsmj+twpLtFe8cPZRCW6jmma
Zn5n84quKpctBBs46u71fuMRUem6Ztnyfx7TTAmtZ0ePjqY+QIWgYQJsxVoU9FXabJdx5TgJBK4N
G5LBat5lqGobxF23XERd0/AeowgEpQSxME4pdS1VzEljapZhrRiYPoyVOw0/LOdMtw8oQd2ufhCy
RVVOHb6EzNQC3iGXtOTq/40O+J3NpHS+TJkWNHlT+YQAeHS0i3k716AB8SwT6pPIvEucNqGHsqGu
pzj6UD4DhRIaJ64hTy5zjTn44Dq5g7n1wBazaVMO7RahDduqlOYnG2GoYML1bVeDGOspQtjvGRIX
kZ95AEUbdZM+U5MPM/Or0Db3q41Vcbk1IDMVyCl2tsCXehD2sMK7lbAKJe5x0NqC3clEDTii2gAU
AeBbGyIX+g7KeTL5U+GCso+cLU/2B9P2HH/sK80HeU1/KVW0r8nYhed298xLp/g0I/qqQoLtPIBv
N9aebRo5Mjt5Mvwjj+zANKzp0hbqwPShG0VhDfxzF/q164YnKBLOF25UsOGUN1881ZA7DeuBfRmd
DoTbv+wfdlz2SjtQ8FiNA0g07f2wz+LvgH8iSIcEIb/111r8yUA/d2YMf5oMpX2rz/q7fPjB+g3c
ZMiJ0z9u/dUyW+R7AZ5NxBuHaz0507bTRh0FIwJ0N2RcZ6Dyo28simMMOPgOrW7swDTZPiEa0R4b
m8c+ONK5BwwcjPYwnGRutJfEK9onXL7bpybHGwmY8mJLNmqMPJlvZewsi0qOg6Y/DiCDj4D+3q9+
7aRBxDgaYj8BYerTOrH+nF92J5f/+jlqgklgmmoQY6DgekBUX4Z/SSgav6aMTwc7FuN+NuL+j6k1
38DBk//IO+e3Dil4my0XrJaa3GRjb/8ZJUjXg7UyerPNKdnHcwTi42rgdyeE7FszGpofZ+COsBIV
y3YRnerquN0lefOdRqudhtTEYYmaC+oiuF5sSzsEUZLi9QonZ9jWcc42TKsRpF95vjzI259c00Jh
PPxWO/XINuvTXdeL6WgWstjgjJHuKJBMwWVU5wCiY0F0aQbrLJmKOKlOemp/ItManEY1stxw10Aq
TMWqaTYqQu3eDJslXD06YDxQcbh/U3bSsJrrL6qUG+nZf5g9iYZzHVLvYelqU+vrDERhq2lMnHAf
M6RmlWhyrs+W0tndLqQ/Yx5at2HoHocL6U8IzV9yplefmc7tmSfGC2UjaiXqWwocoB4zFFDGfh0y
YzgmJsqBlgRGm2VI0DIcaibwg9hggFkigFLGIshGtwAMAN8xAUaoreyzCboKwPjoqgkNcKngCA/a
YzVcwT80JBiQ1aT73q7SCxCA2j22QFzYVKBZpeHkzPxOPdlDwsZCaNOJSn73VCPLxgMGqZ4ab5PE
CciIgX4tgUFAXbJRnJsGcEiUSr9pkkdvTI7iFvPqBY/deDENdXEUBZTpEOCqN0lf2AGE5ofLaEN7
kdQVY5FBQisDFlNpNZKdGgEUAtTPcJ4FS/rJyIfONxJzOI998en/nzCmxPKkCtmqso03WlE02w88
K6tw4ORAENTN83lLJC3ErkKNAPPwHqfT96ioJAoiEKae8xgp5n8PP9gY6IkjJo0t2agRwyB2njuA
FF0dnIc0U6fneggs1PiiqATHZZpAJs67e9qmt2MQ+XuNAI0UlKjWpk3qwIttsF3+slsMwlaVocSh
R0hYP0zUjdKu6gDnoAkni9u9ZM7ge/VQ3U3QQQe2A6hUqIsKRPaJU93TMuO7pJds8SFH12mqANXI
E159k/Yyy6zdVF09B7V6idVlpF14UqNuZx1TrxuBSW56yG/ONG1rOtx/rdHL+McwGXJH10W3MDkk
FPKkQ1Evcmw4MlgboeLOpm4ik0DXxKnuvEOsTVsL0dJTFA/jyfjVoyFNkG1IWoCX1jFNr0vWHVYb
9VoBHSJN++vBvPo//ERtiKflV6EV67J1BRiR//lVHnxo+LvfkWy629lHrb4bwsM/VDVa39U+lJjt
EJfQUdtwrrUbqFsiYQxtg9dYFnj0jrz2y1ibX8lWmzqIqphAvWOjvQ4zqJcbZyp3NKlFMvPr3gWn
NtOyV8Gbr7xNp28uDlx+A9KjO7j5NMBwLmauawB0lt9ns2MHgw8x2Bj+aYZQ71B1hkq21Ua92Ojt
g26GP1Z7VDrx3Sxd74boAcTFDkpowZ9QL/XErDZ8aoeegSVE48gI6wa6tVMGeMfybRm1JkNJSD4c
7CIHA4Zyp4WQEp0utUwuklzIphTncnzVhtT9Q6Z5dqBQ8xqJTn7FpC0Xj+BeB/+QikiTndzSUoCr
mcZ5oWibrci1cLwDV+zYZiFqBQEnjrRYPlHTgrT3ZGTNJ2/S88VEdlNdSEzE6g8hXnIgUQRtAZRm
5KeMN/Ips9PxNEh8wqjwQYGhM9YnPFEBl0e1+TmbvO/pVObFxuwBAl1niwmSZJ3jBk5Y4dgKBWjw
OpF08Np4ZpggpYlY3GqL1ac/qEdCIVm6fZhoJN5GjRl+IvswGvHOrAQAEL9OHevpAjIyApzGTWZv
swq4d/IpdWdcjieTzefdHCZfuinOz1MFuSyoatSpP8b6FEQkKkdTI8k7tEo7rlcNvk4XUFQC9Z6q
Bzao4W+OAh5Ix4zA25zEV6jBddFeTVRWiAQ3T9tov067GfRsm+xe6qCdAA37ZG8NuxzPc1zuraj2
oBvX4STlmVa1tZESBauirc+3Yi4PcsJ9c+qM0d5qSBccnAEgQBrKItZufAD1KIRl5a4d5h4ixGod
Neaxc6z+9sGcIrgJuPewMXiRHfFXmO747sZbUHOCLkCzrhMvwr+iocHvP9pfQ7cYN2lv4cUBdTH/
Ax04dYkrPGtBvBxaUBr47TQZiTy87xHkCyOxM2S+daavrlnOn0QVukil5eXRKpj2YuklKChm8MFN
cVZsnCZR9azd1AFWBTLw1tQuI2rCLm2ScIQ9dHDvexn+3n3ltj4UcPpLa5uRP4ITY+d1eX+pXBeY
WDWx+DjKSDOd3RYn1zMQaoJptdOK39mgFQc6uQpcBP8HZ/qReBxspzGuTg+/yvojqMc6YF1dvf6L
Nz2EB2ObvSXa6BtgLDynY5G/GeByC7xGaoEO/Ozb7EXJZZQcpxy9tEHfOPk24muv9t3U/CRx9ANj
kXhPKwZAMQSabOSPdpDY/WCHGvEAkJQngRw3s/LznLcQrW1i0AhCaGOPgHt9wB350zLkbivPzQzV
9HTOf0Blxo+UhIwJWJaKfXtnJ+nBeFQaMzTTwA+5GxunO3ej6M8AbfRLb7XVnlaEyEeAaUHXoT68
zszO5BxSo6nSv7MR7O8ag4SW0Vrhq5XaT9A0m74OOq+2ZLeUHeHOxQ7F3J/20MgYFGz0Q1hX+5o1
3dVWWfiuZcmx0UGKR6rxZEvD8Zk8yKSrtD3uPsynSWoir3828R553GOC/rJpQyd0UuHDwokGMOg5
WePbcdjvtLQFQ2fVpTKYPVRbI1jVXD3VGEugUHX7BBQvnR2eYyPEanuom32fVX/nBmBK1AjVk0lS
7lAq1fuo2wL/8zpNPW+W8bXwHs2Z4kNtOsX8DJmxwvc0l+/IWFp9df2wVab2z9T+tB/5UG9ZHXVj
fG2tx/1HEceAVUBjZylQeCDFs0aBUoV0jPdgHIjAjq2KGB7rGRanh3oHGkKXaF+VkFGiJTIXgO7G
7tGtwNcFQq4LLmj8GrFYv3bE9tjMXX1EtOue1bEJim01/bMbRhEiZOCJSJT7hzXklCh4F7SBoz0N
UaAGZYwc8O1f0NmJULJ2OTcBb8G4tuJlVx/qUUPA2geXB79lw9Xnd1vTNg/raBj15VfIDZc7Lxcc
gqejmZ2Xbhp3OaJZpYe7dKk5m15NLd1Gves+WO3KCBEgVw7m0Gfnspj7vdSK22r6z/Y01dDOS1ft
OUIFG2gVtdHy4yCwms6cQ6bgn73zxLE2UdTUmylk7TlD6V7px2nZnbnrZHJHViQTonDj9eWpRJHi
oRhHq/RphpoP48WTrKnaJKX9IE45b3CYnzfLeJ1/XP9hK6cD/ZfJQABSaikDeyfEC0TYNDcGrMxN
xwuf+2EsOt/So3i/ziTKh4ZiMO71bDlHWlGXxs+1NMm1L2WHKkqaW1d7M7PPiO8Hq2n5UazJ+QH3
0a/rBP2k0EKxVYw8f6IDRa0Ijc6Z+Z6XAE3NroMwhGrGX70KeniVv7gBelz5NE9j6iUjyATiMbmv
S9ZtPripHzZmPaKw6/T6GxhtLbbCLfMNzS6ONE1j2mf5TdY1nTVkG0Cw8IKbUSXscSDISa15EWaG
gqeOsFu8tcO6uZBtEW/WUFJxaPP0e2pY5T4UFb+agxntJid0jnbtylcjMn6A20h+Z/WgMP02cLeG
xU99mIIwCwGyb0YKBjg4QPUZ50LB+bkoJRjtPWDyc+3HbE3WWwZE4stgJdumYdYbmUq92WoxuFxp
JGYNoUQju9LImcdxY7i9ONastvFOrlnAWOMFnVqOg5M8RhXbtDj6n+glLoTMAi3uwNxbxfKtTxMb
1Zc28DjqnW6BWfPFst5pQP5JPvzQTWlf6J0/1nEWzBzqauSBiDIEAnt99GkzvE+hZet4PjLg5WfD
lYgIMejdIfFoHRLUaR77sghvZmEgmKAN9qfG0v4spnH423sqxGD+3fX2NxtMx8tayLWU95RF9oe1
3B3nreN4y1r8pwx9IEIQsVSo5wTJ52AI8yhYUc+mDdQDLtc5ysB1SIhWTWB6+fRMC9oRdedpbX3j
fToDPVd8BVFZ/B3KOCBD9cbkGRdyHc+X2ACDBybq6D1tavYGakVjw2etfgXlh3eOSvOvfFAqGmPa
vMupMC8uUPOvmgHt7BiBz5++yqa3rp93Q/WcNW71yqIZ0QPwYAW0gOP08JSKOrDCVmwKLQwDq5y7
i6OaQRVTFeogST2yhbbkm0mVXtFE6npQZTCj0W79pU9eyHsfp3wsj+s+1Fv31mJrOibIG+I3Li9J
ieRoj6dPEiJUliW4elG3z3rRQj19LC80tpSzocvIT7sG4GQ1JNt/1tAUqklxyrIQYvmwWq3pxh4q
ba1+IN494uFD9Up0ph7ZVpY+bnYlpP2c9wc7+f5u6YPNzL6oU+q5BZH3gGC6ibAR0O/+ICrcoEwv
glaDl0BtBAzZy3j1IRuPM1z5gbf635jViH6t67xPyJeGO2jKJ4AOaiB8NzUgNfNJnKLUgTifus9S
wwr2FfjI/JIZbgS4pi1OYAj96eGwbK/ZRSW+adDL8QvgRiGcWKY4XdX2Yb2N6JmBwC+Nf83SNQXa
1ZCAiA0X///xTYdc605HEvSJvrkRaxE8HXkBxnVMpoNh7iORZQD+4SGhhwO/AUVz74HCbja/lpKv
xP/3jWjb4rg8A/A93jNRZduC2xA9ZO2pSPTcuuLMEKR17+wLd957jus9UaMZNYi72vCLNo0/TQYQ
b/fM7H1ygCwYAhusb/eeycDFrVaS7whpGGgye8WxgIzhstsUigw02rqL5BeoCXI36QIqZqKSJapo
8iyrwklQ264m6pGbQ4VQNNbwGF2qobQUj7DejsA9EzVQoAvTADHkFLdv8CeRjapr5l8TSzkJ1dbY
ppkGtQ3l6niQm8qu5N0TkbyDwULehwEyB20EHnrDST3TL9S0UYKjXMr0O/khQosJltf6mbXRcV1L
vVzV5wh3v5qXjaBNvM2t2brQjutPZSx/TSB+B3FQ/A6rfZpl4xvcAj7010Tch2LPcqgackNj51yU
XhCJNkdZSc3AtA8bTdBwbchGs2SjYcfKaWNGnbchG0qwWL1sQ+MaOkk/x+vCCiXbdVs1u99tDXal
Lihzbh8tARC5Wdrtu+5qySacs+mtTbwOsf4oeTZwANzZtedeIZUtofU+g4sERSyHkNf3goeOXxq9
fIq5lT+Bj0U+2Y19NnB1v5DdwsM2gBoSBLlIzc5TtOSRoaHgGIqfwWIUrdUEtQbAGIEjOhTK3MQ/
yFO87d0bCqYmkKsCU6xGpRMA3+ksGitQbw2SYf5GOiqrZsqH4YP+Cs00M+Ix+FdDewUV5gWQM7O7
TRI5gS5KIBLZl2OzMSwkm3u91m5ko8ZUs/h1escWi5kcJJiQb6AGABEpGEL81bbspvaoYgQKBVQz
yRegxWTjIOuBSBDY0KiZK0+Uu+aUTnTVNtNy1xe4Abh2mYFOuDNvqG5CVCoKv0EHxjqwRJi31T6H
QD8KI/lBJpokf+q1c/TdUItWE7kVpbFzHBuyCir0lasgWB330dIjG/44+0KAApgmqVl9aeiV+me9
6P/Ei0ge5y4vIM1nbAstFa+g2jqBPsC+RMhzXRCp7Q8N509kWu3UY+OEczz5zTmUPVMbnEA0M0R5
BRCi2mZd40RGf3A043/bq6kEqkjBcLtlTJ4XPOVsoXjJntL32kSKKxpDhE371M2fRvA96yFYWiYh
5VMHissn4TjFjvzKWUNCmfyKzlr8QItgbUM2qVjcP0wYKzsGnnjgxHhgwaiGsgrCMIQQo6LRWNcR
PQZofV9EiNqtT5EAeDLSm7sejZWxjbXCgpwo7442HilHF8ITKGfi5p2aWXFm1AbSrhVSgduHCWa4
33Qtmo5kd3hl3osctbQdvr2T8W0QjO0rEydYPrjNC9CA7YtmihrIcyvck42aiP0xiUg8g19QgAht
Tx8FfVJx1IPs1YmPZKLPjezVECaA4c7/8QW/4OI7oKANuHrhQQbDyYO6i5qDXSfGZ4dr71BZL55q
3eFvUEVFVKY3Pstasj2K6SF9Mj11A0QvLCL2RnT7urB5g6AhuwIyEO3nFjIpi3Eh/iZXavI4RMZ7
hPrbMs/moTvVsjnrlhFfcgFFyBj1gO9F6FnbOBLiWBRJ8l7NCjReOi+aPiTPbS/+IC8ggcJ9yiGp
TEOjKmZQ1XXDtRcj3kksC48OlyaALaXYL+dsddgGdOga4yB7pbO2axruLW+rndDDDqrSZVscqkje
pDfcwB4N6nO7Aq3Fepas62rWdnQQFBB23XHNk/56gmwFS8oX35o0yECSK6B2voxs6/g/MrwQ1wsx
wawuEzQT2FBpC7nMav+dL9l6aNOFJejOwbxecvPstAjxGiMoxq0GKEAEepxbbxjOzYIQjQ+Z0m4/
FYl7owlqqlaIA0JN6eK8rmjVMnBvogjDVpK62IkaWh9G3g3Xp7nRNxogl2j0JEDNAAoYSwEJNZMU
EB2lfZhUI4ecOJm7EVqJZF3GkIPcOd2UHMlW5eXP2WUNeZNRg6JugLAc4vQquufZSXqs6/wONrpZ
O5Gtl+nR0ef49CFKt3R1RcM5IJuzJUenSBB11dxXHZe4rXBYfQTbj/HZ67z7WPT8ue+5eHXScjFX
jtacBnMEk4byyqby46J8dO5enevPYVsuiyJWJD4ECPLM24NHacMRVv+CwrXOtxvTBdnhUL6kafzW
zFr5BcJaVmAj3nyYlZs1dT7kc7XnCEnGCafb0Whvwpl3A1CbX0MwEAeDY3FIkbfDJ8mnn3YH5FUo
4tW2TWyZp041fQ51h6XnxtbHoZroH2wPw18uD1v9H7YnF2RrG/zIvZUO5p0ajdnmvW1xOhO4Vh0e
JiLjz7Kr+ttqhlBSdRpr541MHaKhd7s6PEh4iEyU+1pa7ysf/MIZv/rVtRIKkcAG7Y00fCfO+JJs
1KVGb/u+9alLjgN3FsdWfasa1nf7mbXxMz5962bOfJPg7f08KhP1EnCrRwh63FeTayTPeE9BkvKX
q9BM5GSEi8iCslEzJaa3wVWm2NGQfko1DW5QdEaOpEKfRRtUt9aHzka5rdmcmt4+92lX7N3Bja5r
41R5jEh5hyvinJh/Rjkv9mQrbBuXQ3KsC/GZ0peUqqS8ZtoAVKrVIgY6AZlPmhgZkBxOm6GuFqZO
Y3gNNyXOqmlVx9AUVVlPewIIGYQpR3wZMB3O8Fz3Qm6qvraRvuUidy+eqlIw3d69xEnZQQR4eOmK
4iBtO78jjCrv1JvGLLv/uRqjbMiXGW329nMDLPNqIjegQH44VgjctNqJGvIYW6ScQScEIgc1sa5K
onjcQtdi2q42+gVENg27uu2jzbpVptZqth4ewsb6MeQWUujkDGCRfYbYyOFhk+UfYHYdKtnG6dio
yr1ZVfO5usNufSVQ7l541cEQvXsozeatj4EMpSZKvBmHbMKU9oQfNRWydHWY9ONox0WmITDEUQtg
FuJ5gPrcAWoNuHWmmngmm61nSnWmevd41p6EMH8UyhUlKONVhOJgNV763MRT+txHTvfU1geIrnYR
cIew504IVHgqNnnTI2YGxFpvTqBUj4vbWgxCRSPC+DkXGs95Un+yK9d+Lq3EearmJzPr2hRQBvzf
B57lj2U4hJW9rw0pN+Rbh9J5ruvI2IZlbwQ0pAlUzo5Il7rZ0QDZMsDXWbEtuo7fDRv0wG3XtJBi
wJAVFr/HJRp36OZtwzNja0mI6vAGxB61qp3Iw8hAGtN2gWRRY5yh8kNsDC/A7rrHxJ0rSDSJLNf9
KomaM7BN44GP9YFlZXMGvwkQPrq6sNCYGvJr3XEslyW/m15tufZc5ihFyCAF0oWI64fImF0jhS6X
Lf/Zi5JsxES3YTkoZlCQilng8tAlnxrCfLhtO0e9AcQQGllfUBoav5aJ+BzNnnPy1JHLmgWqA1An
N49GfbUcoxt96nI1HioebVxDNAGKkjBDRuQkkeVSDVid2A4aYAKlkf/YGlP9FWgca8iSyXhDAwAt
gYz/5UbD1IyRRE+mDLdCBA5KCN/7M4/7S17U/YV6a7PaQKsnd4nIURAJSKDUs7+BP8DBJGqs86Aa
6jG7U0q+JTCB0kgsVA0KM7AQ4MG5SstA56mMS0PjZXkbY4q6NNXiswG/Q1cGVB8YsXQvpaL7qwYU
l5CNWyEKR6gq0FOlgdQztW46pfie6jnq7lfEiyuSeQfRQwDoFPqCJhRuPoDkdrrl1Zxt0jLRDzjh
x6+43IVXYJFvVMvccOhrInMC7q5wOoB3KwXsNLHPngT/aTlabTDbBpRwlc3MGXDp8krvfU9HCXfv
9fxJd3RchGNQKIAxffpKEw6USaG2lOzbxgXNnVCUPTGC6yiZVd0isXrntQYu2p+NLsJlPmZgn0XA
4LQ2U9K5oMdUpVRkxLUx8SXnPRIuZXEu3ehj05oJeLpW44NPrpbMveMC3w6cC6rR5lNmOdMprtoZ
HDUYrjZod+AToXEhinsbo1Tkd36rTdSVcSzcb6V0umtbyO6qjROuUzSuUwTY7RrUx3JE9lk1eDPL
K+hngalPJ5SoR0Do1DGaeLxKEsjLgJS5hoZj7Ue7eG6Sfud6EyQeEta89jgtQHAyHY5kA0qcnZCl
LlDgVgYZhE6vomUQSDIS6GZ7HUD4nrC0JAgFTt8j1BrrfKxvQGAB/Nf1md8aTnbQeIiw4vSyhjso
TIHKufpkz8b1IQJCw0oBgMZRO0wuYjkV6FCQXc6H4o5am2HbVLG2HSYHf2BvTK0A7/1hUxc26vyY
KY9ZzqwXS7rRNiySDBGG2n6x0kh/nvs3GpBDCmB3IAC9COq+wgveA+ufguumuZXjO6W6sULoujgj
7E2jfVpNuVWDmjeDDu8Rd7Ed8YdSEwvw4i7jpnTfpBeJU6rnKQAEqHmCgnijaEN+vpaEdAFccOs3
ekmRnct4OiQeNJu0aMAlpgqhI4Sot5jwaKJem+nfLKMxjwAdeIHhga9V75l4hqQp3otFrm/0aPiK
uG0JGIoYn7ltDs+OJQ2QP2a3lnvGAXWBw0Zqdr5zGy0HGiEa+B4s7+HRY+EprydtY5vem+fkvQKx
f3dNR3uXFSgSep3xPcQ9s5cwEWfoCfOtBB/OVomy3GPVTHHT3yHsgEo4XnPAVGBLmVGeBUP9QJ/y
Y87C/H2aATFyYltctSTPnpvIEX6s48wMQhNUrUjzUlSa8aFpoeVxCfGhW6ZTn9dJ8uURDzs/H5wK
ug9RQM9Uz53/1rIQyWP1hKWHIz1bJ3piro/Zx2nlXQv7ZvZiC61SvtcjN73NRS5u1KMGN12Ukog+
CjQ1aww1UKy2JfdIRo3XYsgHnHOBzmrpSyjUF45kKesapXAG78J7KXOV3p3DMzXuCODQkbrQaAbf
vLbYE+URrpOoQg7PVYTzaTem761WvlFZaYPjNsTuBLRXpyLci67nZypJpYbsVWh4Gxc1oQHZpPKl
CdSmGkfTrt/IPjbG4G0HbJKrTchj3WndpHL7baV57YtVcBR5DhAghD4s+yMGwvqSyGLyczVEFbJ3
kgz0oY2VzkhrgGIH0IxRNdQzgdwGUViaB6st0WR2KVCFAabMX45kzEc7u1Tm9IwzjrOnydVOPVPD
45LVKGVGXK7boHK+34KEw7qIFAWvGggSZenV4LtBQ9XR1MN3/2/XZXz3YMf/5qH1cRJAS1N52n1x
hS7369p1SWIbwchR2UwVI9HU4wYjiwOQbOOVTB8aUCZdyaN088NiB6Zqi4x9vV1ftfiPhYRxNJUQ
Zsbrl7EsN33NROFPp+nnAQrVJhIDw88XM3PSYFAg69U05ONXa0zqozVC5ynkQ3dYKwWpyBByvz8n
KEBOszRBK9D7uWKpPCSjFxb/2YYmXCfPAAXoPagwKbYdY2VfpqfjSMQ8boUYIzD6IPGwHTx7DYG7
Au+aI3TQjXM8e8aZerhr2fWuRGQVbFz1gWw2+CTqnYX/sotPLxN8aAhsbKgQE5ByLUD4w/GXWsuH
6sxSltAFF+AnCcskvI2VFyAeaJ2gGoT/JlStSXWbeWLOftYAQopT00uk6+XB6Cdk9ADjhxpq3ABv
mDjGrkZl7ZHSDqGb88syS2qoNKaZf/t9yFTQ7LZXB5vKGY+on9Hw7cnzk/zco/Z217myyIMWoJUS
GforV0LSpCadukZ2hH4ZoI7kEhpRv9EEoJ3kkzkQWfMnE8FnvDZ/u66qPbEdarBZUr1I5pjtNWv5
cakIoSEeRcelfISGOKAfF81ogFX/46zW0k7A3vrgxfVnFeK2s0k+aUiuVbNT3MhETV5UbqC1lrOh
IcB5+RP1hjL74Ev2tDAgbAWmJkcld+gjWz5v9YegDzmtkQ0v2Q/68NePnYaLq/rT2A0YehwLeS4v
/B5DV/E6TQV/myrA8yPmzAcaOtCogkbNnAQ05GEdAmw0IpoLNMibxTTxNAwt1MMxIo+5ktCKDO/c
qhE/r5PvWVZuCryhvsx9OeyiLMuO+OPObyHP3sgBBCi4g+mVdzflzerBkbsmWSiZQk0EjKaZ4bS1
ZlRGmQOJJEIWuOYYX9KmiFEKYwJMuI7jEJTkTfcnTTJW4d1O3cdxQevSIpObUbN84DjB02zNwxOq
EctNnGbZj1n/wvEo+9PBA80vwgqEkxaLAKn24teZm0AK4IAS0AUtzSJ+8TxWCDxbM5SFKCB1T3Ve
OFLFGbP2NKImosKudWwqeDYNY20A5z1qhTaU+OE9TuetZ+IS8d+8EdlWtwEP3jVvNCZetAeBNopt
etZcunB+nX5JmaPyoAfnUw6W+6EdxAblgzoCZjWkV5QP6ZsjHgEhQvHMtSK7DCrF7s5ZtdEakR87
NTT0wtnzyEvBk458fFJY1i3OmzuNdP7FSnR3nwox3Y3IjLelwcsvY+teHRaxv6RbH2ZXOl+LOhk3
CJKynQd1auwHvssS9MaHEaV6eIQmyXhwER71q8lC/SAZnRnFRxqOE1MewgcKTvY24Zm7tbqufQKK
tHuqdNwRJErbct4EDUO2QKVOPzSd2I9ayC6l3iOa5X4uefoZgpPpe9omPRIvdbrD2yV5T2bkgWdA
aG5W3uafYiQ1gUNP3hU3/DkHnGtDblk2dVvuoniaZlNvPPQRO1uZa275nDzjXs4vYEHkFwCAEYWw
Ca5NhihLqoPyAbcFHqnLPPmHIIbOcFmC4o0HFa5ZXDyRQQI1G/TkBtIkZv5pGvzemHr0ZBcAObv/
j7AvW3ZU17L9lRPn+RJXCElAxa16MO57e7VeL0S2tKIV7dffgZw7vXbWqVMvBHNKsHN72SDNORqi
sgN8M62XokBtX4c8I59DPfqYTKbJjzD0rWSFleM4L/pKXQvSd+AsjGRDLKO+uh1IvT770GPQBqyv
SRf4EI0LSnEUEnWoKMwXUChtn7lvNbugBehVh2FjuJdOCk9HUcXb56iEVMEIZhoaXe1zb0Wp1+Ch
s/7VdeamwJftd+dWn5klpPQiiEkswFkadnB0Aj0SxE2UE4D5MmB85wyLzPXVLISj60EfClGWB5QC
Wi+EXONc5wj+wYdhOjxCnpn2JrOMjc7rGXrwjxDUnBscdH34NuO+esbjHnqugpbacqzxwf0xoENf
FhDxhDlbDxypKmIvyHh2DKKGzg0zHt9kGKIvyf0ftoCRH3ZrX90oQLUuy5vTkEQfHSufh+klqFXY
yHSWJ0UGS/IhX+jcYwDK1hs8pbL9PU/IIkk7cwNdDXM3cgXUsT69x3VIdxYRgECP6STNgSlTKign
08g/L/nz6q4EJdsv062+hplBupgo3l5eQ3oCIIePGpicZQJkxlqHAZr4rX8LalquDWLky5Q20Uci
gmXchfkrpC6GLYR/sa+a8jkfn4PBKI/ROKwqHpvn0gf4sLTRXCRGY56NVJhnDt2AzZDxBLvfv3L6
DDvlBgZWZ30lEQx7w5yAzJEUc1UFsDiOlbmdBFe+YN2Ewhk04J4syN4tTcAV9xBuDHYFrGFXVpIU
FxnYxMvMrJ0T0AA9/cFgeXhOKokOrw3HsZI2WK8MDl55UwS7mXTuTjZjo3YYk0ErF9CEAydHG5Lp
WXpc4c8EPnAo507M1LyRVnBsUlLtKt8PluigBK9lw+BIScV3UY5YUTvWra/cX1PTqKrg15ZiuTZN
5b55q5KinjulqhdqEoFLJzKeSUJojMjagsvKdGhY63+ORz2up1LK5QoA5JOe+LhED97n8R5u6zIO
X1zD/ZEabXbtx8jc9Q02Ro6b1F/6Wi171y7eIAmSrwO3n2xXGbuN1Yceby3wKHEv6GBFrXoOKv9i
N2P9ZYR/gJdU4yrOuALxZvwmoHG5TXtZX7SYZpTQb4MvUIOrKrJivHNQPI/gKxG7mbPVcViQd0rj
dg5Jz01SV+FptNvGn7vDeqyBQL5HgwI0c8ikwlcTjw+8napDPoyvlCT+VfVZts/hx+0Z1DKPtTN+
09UQfeCJxNeUopL1KJhEqaXmBRqo+OAB+J+MgH3t/qtP1eQNp8/wpM93Q/Gkg6Jo003HrReVm+xl
SA1ozLc0+tm9KR7VP+OG/CzhZPGKhm2I59vgHNqGp1ulxnFVwUnvEjb4tMwkoh9dC0DedBEYIOsR
dhRf8HnkXtkG4mL5IXh7GUX7tjBgVsucGpQlByz0UfXVWR+cNrJ2GRy3c9dv3JnOgWgUoWpalpu6
c37Ng/R7Be00SCQ8cnpy7EvY/Y72/pHPio5Aa9yE8kIpq7Me6HLydawKwMKgH7DhLXDLMQRXn9wa
xAXO5STUR1Q5R5f0pak4nRUA9GLnEcpTXCYTmWw01oBphCdZJejuENt/bRX7ZrGc/By9zMmN17Ax
oc4OVWhUhOr6MqoUYPBB7gwe1BedpyL7lALnrECjBdrUus1QD+bcbVOYPsYJPfnTIQmNYW+iwOfy
nImZngaZQxT2BLqJep7O3Q8pmsZhygV+z7j2PjnlIf5Pu3aVd2DSuSzBnjjpjmXTomAswECDCoO5
ybPoikrKr9RjsCLwpLYhJeKNVmlAjPf3HLNFiZygTLhquITAsp/80G9p3uC/VUowTfUbXB8SeH8C
HSairQ5byEaeCbVmOtJXlTD0WIHH8fmqQkLG1UABAVrLkbMCDdxeFWaSbXo0lGa24PVVH0Z0Zry8
BLaiIam657pqHdspvegJ6KrLDR3xBBSgGKaeHHjqKZr+uiAd4h9xAdN5ysJJDG6SgPt0WkzygPdY
VATcV+sG/d7xKhXDftcm6bewizwQBcDNI+o9xDoCr6b0TEM4F0EPrqAolCtYj09hhDach9c58+4/
Su30KKcfbenIRZpBgA3m9MBQ6B+uqYeLGPKgfWZ5Re/7oHJl30mDtSb+2OZxEKl5xNfdPKKC0Cx9
MWIPOuXuc7OIvNhOeXZqEx6HeFCAgokGWpHb5yIsBnRfKSSSf+d4UqSryg0u1BnVqkNR+Y0piEI2
dvjVAr/PYyFhByhIW8egqCEKadXh18IxdiWkdL1QKXdrlATbCVJHJ58a+I2Nm7hNowUeOCzx4IYC
9yPRQwULO+6rzFE79YtLNQU6A/usCorZCZi6JSk8OAqQq/VzpGz4EVsQD0hC0T1DOTtauvhxeT4b
ZHc07QzqwLnVLJXRyU1tDB32Bux5jAjA6QU1UZVoO/A3ovd7NSXiUAwJOOi1dyVMVEDDmekP/z3G
/8jV5wDKiNhmezEVSMe6AB0rUz3bU6ijSde3tsUU2dj2FnM9R8+OHSwL7fELx08X5RlalNuBttlG
peCJ2Qa2oWWVLwjtoRY1hWUDlo8+0weS9lhf5ar1rKTMj6ZvQet7rEDAFc6wRkUpm5tuYL3AYfJz
qELIijxGQ9C/F3EzfGnaqp11tmWdzShmZ5n0wamH8sAjZU35suRPKHT1a5U64mAKK3wp5bIkDn2J
uiR6yeWyngLYp47Xvn2p62wnjMQ581HRl9HI7xFtBX3JePop+j1mJFbyPIAFkQM9VVnGazEU9kl0
qL+QJHhr27DZOmaLQu802OVxDrGXiC3BKv5KG0fMAbM0LuB0fyN2MHxwZkxVqC446Lwok29J637O
jy5Yf13vdniQoXk2fWhZkBlXgM3nNCT0ZQhsX0cgb2LnMo39nqnHpohi/fpCUALbj4Ozanvb9JSD
BVAAHNo7WVeVUu9jkw27AmrAGOqHd6YSE7IHvAauHiEaHknSvo806ndJloxekCbDOzWwZXHMIFhZ
tYENHlw3wK8CQmin4xHfj10BE2o4UUzjn2JFw+cUbz8491Q3K0ryw+NAgPf4FIIQcVNBiIfo3/PY
UUV4WcCrUL+wUIBrwSYeLdTn/nqJPXKPt9jYQ9jYznqPQQ/kVrmT5wStvnTQb1w0UVNtYVFvPIU8
f9ZLrrDsco8IkR4hYF0B4B2ImR6gofEVjrLkKvC57ogPxr4/reHgl76IfeusRmAKFUqVh67hvw4m
KPeHuMKOFnSQYZlWhQF/Pn3Uk/JdPgTkfoG+tLKwBDLq9v5I1Y/dlo7xfqdPHwukT8/dT6dl4mJq
Oshfy6jHfA49GJsweLQEzk1GXXvIYzS6ZMhiEJNIsC6n0O3rAGwX1Cz0qIicBu3W8EMPxmacHdhA
sDjysjGGl5gN96upRaAPrda4HCtUfbMRu88OnduZHvEVrJ5YFIcLHeatsoExNMCoYqT3OtbG64C2
6VPuZOGRZeQIGl365KIr+OQnyp5FeF1udI6PodqPQfKBZsCc16Fz7VzAF7MWhgVG6VpvQvrV0sb/
xUqHoOKDsBoMwGuw+B2axRFcTJxyHxF3LczcPRFXEBuPlbZcAMcIg+Mp+TiA0foSGJTNoxjq/JZh
2YfIVjYACZFzP0uzkUD4JrHnXcnhp6CH9cS0i98lNI69WI7pvobQ3q4JKFuCWV9fOWRAvZTz+AsX
1sZmOfvpy3ZZ0TL/OkxWslnZE1CgrRaqyxpwog+JRcxNy9vzQ730gUZp4pyvO6P9KYI8i5NZT+CW
3dZOJY4Ag8SgaaLcBspye/HHCcQzFiXfjmK8NCaWRHngputyHKEPMLFZfDzIEjNlJ01kMVy3Xg0D
RFkfVBczh+0Z/vWncCLD6BmZJX3vLufw+/r73RitV3+M2rEAgQ9NMu8B4zVMNMVyaVVLDeG9D4y8
PQR9sXhAe/VZCYmZ+1wdGmGj1sBetB78wUCfwWpxFnUReRIo4587s904TbzrWF68NvZYr/0gDVed
47N3x7W9shf8iwhUM8e6I9iPkJC9BHZVzSBBFCwFKnTzeqpO6YqUPjgy3oRl2G4epSs1iQroQZ17
hNPcFCWNzSOlp+lbdpX5s5LY/qGVPfE6igjWc/BysWe+DYoDBxGMz0I3KFc1TwjWP1PsJlV1gpUr
W8GHU91DZ5quB3JDZmsFD6OZztn6kmgwKTZ2Ivh8CychcoPH2Vc9Uf8H9R1ULegGZde3x011PrNY
tuVj8HS/p861Qwwti+6Eooj8CAsULwAa+t4wrCNa7vMnrpp+hXVAuunbIb+g/+POzDKqvhO1NRte
fkOlrgHtLuMnC3qlWwMKOuCSkfbFltVHMN0MG7t9J8fy3T8ZS61dolVLRscp1wo18ofqySfpbT0F
z98MyBuU52YhUNWzzoJI5T3WQ4Dyld4wunxdpsOTwv/D1Vahf8h7rJdtYyQ3KCqlnpHZ8sCdoX8K
oTCq8wMFPCSsJVtDAcy8YQmQmxmWoJU4VTWK5vr53kxvgvtTX8cQpvmIQvzSHq+I+9sgT1xz15rO
/bJ7TuRiWXDi74tqWhMYRutpzTit6mbmNnSV5nwQrEQ1yVVeaOT43LS03DhWfAvMyYsWlNPz/SyN
9kYI1uaEL3ocHnYAOvdH+Mj1VRwCL5q+OP4KIoie5KomZ1Hk6RFLSfjB2RBowd8Ji7/fZ90QeAIc
vf0f+TKl+TFPoY4wDer5aeEH5kyfchviTC5v7wMV642FZML0gGVPjpHP962V0sxLSkWBnSvpquel
e61sE7uYlMzvowVk5eY5z2o8ozCaQjf3OtigLiK4Z4qeLXKnChfGFy3t0k3NCH24hz3Ecu/icn8M
6zm2xWvQH9x80Rqw48b7fxdOorJQGLGPhuEAJW5CHcqwgTHUOTnp0+qzKEgb2CC5+EZOV+jJekCH
WW54NsRl9klpAS6jBxojzuaxE1mgkODOrElPgxLOviglAaqo+MZkZ16DhpFrQqAy6sS2vdJhEFbi
EoJjNI3pgwV09hIOMukcQB3zSlxoebchdHZDNlZ7FUIjFY1SObW+dUYffJ9hAx/aw0uAFpsJHUwC
XSs/Ltqd4WOdp8/g7TgtBilMJF0oEns66Uxz7lpqj1iY9KtJC8DOdNuGwvcH/Lh83cGyegOfNEBZ
gAeGqw6aOo+Dzv2eFsbAN7DeLBdQ4hs90qDJob3SHh5q+kznKhhSkRgoA53Szmvag02HjrLFemyd
p0eeFAp4ckBwDCIDaGWOw7GDTeVrD8iCSTr/2YHEzrVHvXCY0pKC8Yk1EjTGprAArXvl9E67MApA
oyLf6DbVxC+G58weDFH2NNDaWbLUIvOyr/hTl3XGSYT2SkdgffGnv88PbTj86vl6MKiEj1WKe5+v
L5rmJ9P9dfSYb49JtJRtDqubqSKfuU3RzwAY/Ia5ZKVzkhHIeEyjjIFjMGsowFQQDzJnLaGI9dDj
IDoQqX4tA3O+VVnG0ACKh1/lPL1O/RTfqwLgM0O0dJqqx+9L1hGQnwSNeeihKujKAFSTbwSDOHzA
4zbEjurvserCYoOndDVTpsD4Y77fRlhgW4ZYW1N1oDaD6BAwCAFNUZ/i7zSbijWpC46cLieUwrfP
aQyO/yghyqlzerKrZD8nfa8WOtc75iEHTO+sFF5vufOCDyi79EBZYLFnvDakBFa1xxdRh2SAzHcq
Bh/cUoyGaS8g69aF20EyAGgHVfxSmK8ghohl//6hNy/1468NgI9zISL3B7pYr/GmQS5Lsm99mq6A
XEVlvo8hxt7VkGWfzvTBByz6nusz0q+iLjw8Bv/Huf9qiuPm/TJsEgmAjIu1e1OA7BKRel1EJqpc
EIDcdySrlklRhNeGAasl3ax6DyvYlvSK/mATG6iUcEQGAnkz1o65YmFNt27nQESGDLeydeDCDSVn
KCda9XNUlS8kSKKvsYLHmJW55Tn323KfxkY11wM+Vg45kcPNgtHDsrZEDnZLrB5XOswksFhE1ayq
Sbk1+GTfTAL5kRXqpOygDmAc8gKmLNxzsux7TYl6q10Rz0M/r88VU+aq7w2yxX4ASnKhsQ2ki4Zi
nFHoCIdkF3dgQ7IaBuBBpLpNEcBqqpjYalFCcOBWibcUuGw6pw9p/awyPEfA90EbrlEXiEoHiyoa
KqhhRViAZxCnWaDI+1f8GB+5ACJMJP2BdEDL2CaeKiXterhhimzF0NJ6j2lxHfLevxTQSMYX2rnp
9GOWgvTjO2XV1RhT/yKi4RjGJflWQSvvJCzinrn35PtV8AqhpPJAXex19e7fRG1gjuYM35DO6uYp
6cad6siPEPzPJ+YPKLnUbr+KDaJehOGCr5vIb/9ighRsMkolqKGjzrcfUgfs2w6ljKz1oXowhXrA
6gayT6X7ZpAYpnh+PywIVvBgKxP+JFtpH6Avf61Hmz2NdsafRNmeLYLvY6GVogiMutYwxQ3hfOMk
9QxaciHwYzgwMw73tPIdCOL2bP7HgA71FD255Q2gEjqGvke+DSwARksBtWSQano7CZdul2XPCn30
XUBRx0sSWz6XQrKn2PT0mM7ImELl243Tvc4ZJBwWVFYhWnyY/7j8frdBWE8j7C6sRj6bcdM+RfEC
68Zk34b1EtJiw0ZOG3p82ZK9zusQkAQ8cmUPhjD4N+2snKp6fU3bOZ6TjQd7HrY3DeDO7yP2VBK8
x7VjXQASK9c6p68bdJnQniqGOk7dPNpyoLr1bXQq7CchPNg2zIsxAxisNHxI+BVAqFM/R0cgTC+D
AnqzwTbxu5VBvq7tvtmkUV42AMgSMICWxsg3l0FoVi+jlXwxgJH6XtT1DuXP9l30pVxAMqvao9+o
IDUQn32BDefITIBRy0TdoPWWQoPlxokbr4cCnTMdRnW4jFHVe21rxQBMBX8tnqZBHfO9i+wU4MOB
HxyuAk/PB82UTn5r49EAnewCpP93na8KuI3GNCNL04yx2c96wGTqsd3A6+LXGZ9ykEdsN1AF/N9G
+TRP34VwdkhLCpGWqZ5VZ/DEiOMeynm/q2BgyYeQaXvE3VcFDuZeZ5oYQJ9MFMFeqtyauUWqzrmt
2A67GjGPE9F8vdm2X39VRDpz7HQolqI5ULkpyOR6mNUuwKmV8QKRS2eVUgWY9qhQqIydXTao04Aa
+VkfeCjZ2UnKuWmrAvX6v/L4lVlYrnbh+pFDCbmE7mvLvLaihyIdbprWl6bBW5wLfqHoKZ5cw4SK
7kTrc7umAIm8pVvZjvwtpTedZrK21ykV3UKH09XSTsUFu7DqVIK5/+lqG//+rVt21T6h440XZv2S
2u0SaO3y1hcxLBOSli6N1C1uXaZ2EEcIIFPNgHevAuhPTPm4NpVnW+hc68tBbUapFpeXsdN8uhw4
+h2EF4Ln0ayxKkbhIDdsaJaQZJUMVnBzKnfHUk6eakmLYxaVYCRP+bax8nlt+f3WsDv2Xn/VWWkP
cuuiADDXYeTboAC4pXUc8b2Gkgo0xXRFE46aziEuBkjy4qP2sGZxDnIYV49app5R2WTFxwGMB5PN
ytwpoBNJzwJKQTtge97skk1kiLgtdg6r3uqMVZeM19VFp3ykyik12oU/A+MHMKYG5AS7G/Kdy0Ow
GPRpOvp4aJv17VNOT/wU3091lsukcjxnsPMdr8dZzkCocEdBv4XNnHRD9C22SseL0HE/BpBH2vsS
hABSS36rTQjqNxX9lvv2MHPR9LsIqRSAQnW4AvnKeFbCg81XBbAwjy9AywXYAQJOlKaKf5EQURyi
gL8nBPWcGI08ADTCVeOa8oWS6ApFvOKr60Dx3g/d4ZzlpdglAjKUegDflhDA2y92n1Zgm038IaxR
L7HCp6AnpAm92cx2nvAPqTYRfpTLuG6Nd2U29ztIvxae38rhAAdoCMj6ZQVObHW08eRdAYYP4jyH
xdlqKNBUFLJI4SszxTxAu/AeD+iirqwpvq8C4W8GQHoPZl5TOuBv+eN46ohMT+BOmVhBoo3wGABU
Ij3FfmPOqrT9NcCSYjyl08AfV+iBwLcxUFQmBOjQedC3ciJlzitoTmxSar4MhiFuJjD0c6jeoCCF
ps0bA8rGihr71nRFtYq7PFpF0rFv7YCaIKzbXisIJG8r5ZK5zrOyfy+UH1zrMkuPIB+IWVUM4KUZ
RrcmFjPWILwNXueU5rNhu/TA/OSmI1/x/okADjUN6UNhuXt8/ORkKMt8ziC6P8tjF65geEluGuoM
09OxP5it7e6EA4j7FN31JkEZgCEVeA338O/zGDe6AyxO3+phVMe+i9g6mngqBGSedxNf4Zms2m5P
pxBtMF+5kJmAVyvI/T4Q1lMaEIt6gVJVudZh3zmXUNjVEi5t7UpqJo3G9ENx1cPWvdu10uzyVZSD
fiigOQr0GbYafrHLCPBABOW5awfuFeT/7fyArbm5wVaarZvSr494BhcLoDfTZy7gByus0f+oY+Ng
u4Amz6phlRZFfU4HlEBBAQQxsvWrs3SdYt8VST0frSH66gsb65tovBmO+WvtHdSxdZ4+hSEAXyoP
TaBD8Lk8DkFcDvuCA3+X9/h8+x6EepHi2zudCsvBV69LKzSdMzUzaWNcFO3ZxnfBIHUBLHijAih0
p7K+xlD5lUDTQDWdPTdQ519QeCzsKyOQ+4aO7iIOpf3spnk26yfx2J89ZJR/uFWYz6ghYIweAoDV
F8ZrGvjGK7h/7TZP8SXSIZxroGXYxdZSh4nVQPs9asol6iapR0naLQzXiW6x4XyRZeyf49Ydz3ac
fbcoi2+xUuXCRo1tjbcGQnSJ7FbGbxRfZPjaj8zTV7td4cygEtYdGjtrnnv713xVWWrVFwlZ6stN
kp5KvHSesq6iEE1B00xcBxQcr2HbsmsLYxmjrcVeR2WQgyYzQiRah0aDGb3DHLyw2nCjr+o7G3rm
zMFj4a97YL3uzg0FifOhttn95j3cGipZLmkYQiqOje/x2A0fJMq4J0Te7qEgSK7pX/lhyju/89N8
3/GHjx5od69Xw6/5DX7JKbyRtlisV/O+VfAlYw40t63OeI3xFvFCzsJdNv1N4M53Rdt/PDdVObwW
WHFN2RwiSafBd+5/t35oj2aG3zCHesxb45AEBDQKDAAxh9cshgYrtd6oWfn7uIlASJrCqPCB/YJm
Dpy/EVYu6AD/w0WN5U96zri1vog3IsdbpPhXF6HlIZ58015nzmCsWh5C/yqWxqktA8vr8AL8KGy6
jPq4+QHl05ei6eVbE0cQXUiS9CDzaNzFKYuXdUKjF7cvo5mFRv+PxEpnTWEYC56FaJEYNod6NQ5c
tWIPcBdIaaCYeANNxd4NqrKc62EyxQaxAeUH4C5iVCxd1LeuY9WBTwqA51c29AsC2AkUbZNjBSTi
rTJgTdXIrj8XPEvXlsV7YOxr89jlHZ25fnxx0qw6SdsKNlC0N9c5KqknKGOH87AQ9D0xYSVFhvpn
Z6LBa8v82xDjQp/S5gktLjwhUESemQ20iIY6cELPTntvxLMJJlRTmNjQwCsbmFt07YXTKr9A94/w
5hIlaXuxYMJ6zvwAW68pmvIxgZ2OVSos0sSaEad6BlOveq6ZWkM8pjzfUyPw3QYgXRs9GDrw5wPI
yp7rUWZn2EiS4KceFOC9PH/XAzBrrXADufOVv4GKqHoNzaxb10ZsT9ouMDnqarAh1Pglg68tFEJM
f4uNBbsy7Ih13h0l3A36IAVekSUbgCyg3KP653u9iRBGdpKMv8JCtffwXq0KHXTqpsncgbpN33Vz
i/v+NiWDuY+pchcJ7Y0nJbASYaUJnr6kc2FBMLFw8UNjVfXhOnCOMMP8B+yn81ntYOccMgsSF6b5
ZrSGdZ2oLnudz5ti+Bga8eZmjC/tupPzIXWx+YnFRwPvBtiV+Qn2/K277OBissPyt4LwO35EFnGG
J1cFbMYMQq99TGD3nrlQ8Kaq3ZnQ+gKpZDpVk9zyIEEvV6nRzNrcv+me1aOF9QmjrUcSQtQchNXG
0+Fj9h8dMh3KabJF48+TP3XYaF1CdzKuPc1204S2ooWq8tRBR1HcqI15D97jnf+mh4O8a+DJPlHf
smmOM83pTAnDYdEnHqoy1jgLQ+Ee9KFU8AY2ErtfYG/tH2JSYVifNqZdbyCYff6Uu58q1l1RlU82
f94MC1oGmkMWePreaTF0hzZeGJN+vwWhHTirlj+0aL8+jApO7pUTgshguXeBf50vnWiRR3F2fEzt
Qlj5FFksNvpm+gJpoZprp7xY6hytGYqoElLy4PcLcB+njwA/Kh/rIOw0bat0f5EG9QhLjTGaP8Y/
XQQlZu7lTs3ADWwsrK9rf1eQUJ6Zy/gM1JL2qzCLgwXVi1dDoPEyQCZrzarGeuFFctYTFGidMwcP
7rOfSQjXOL4xr9ufgVnTBbUSZ9lXFG2+mMDgWYxbApDaVoc8ZI5nuvHPohySWRHF1ktPsuSgQx8/
mWezv6DsA6osrLXmZpSFtzHw6xkUocTRtjooMEbm0Qdn7NZVhVgqSuRKh0nboUuClQ/xYU96/3Dh
hRIkeX3/qPXHyjKQpVAd8zfRGPNJL8Nh3uhOJkQ6xr+dm9Dq6wcTvOUsSGFb4dueSExg+qecPph2
mZ6COBmWYe/6s8eAvgJL22SLHehV532V8VlTZcOyxY7nKDjfgjhibvsp0il9Nko4Fcl8roNI9uoY
oXB61GEnY2NToB+k8/cZvwfxydAlfBQh5f47p8/0ZDzrkrmbQVj+kdNnaQ07VwP/kDmsAbKZgDjr
SiMpiQ9p4xnKcoBh2tnMFW500ODL+wAYq3SD9uNlIlXyuR7BbZIFZzEgtS40T/75j//7X//vW/8f
wY/8nKOznmf/yBp5zuEwXv/nP6HE9c9/oKE45Tff//OfHPoMUDRkloulMicg+jOMf/tyjbJgmv5/
DB4DooO2zbJPw2FmOaR4ywPQiEOVX5saHH8/GhexFPlbAkWGvV351qzus+ItUyJYQcIsWYZtCCMN
WPdA2xuGicBZvoFRwDYQzRpgU/NXzq1ytgknw0WdAuukhsBK+ha5qbHE2+8+ptO/r9H36ZT965rf
efRH2eYx9Xd+eh1sdGRZ9bBODQhuGGgboBKn0hkhMr86CTDkLtR654Psk6UO9QC3+3NrYqNkOSK7
FhTfEqgMr3WkZ8FVLJnQ4nDK/n2jMZx2gTKQGz3Fz5JnYjpiRdyk3OmDNgpUAVwjGhCZPdlxOdcD
2DSUO6f2Q+jcT7NlKMaN0QEEOKFBmBOBwFZDlUnDPxi+wmgtDq93bEg/QGLEDHtwCafJUA41lhTU
crgrKjy4IwDmal76F94k7rwwx2Ghc3FDgX6Pm4lvUfKNDvUA7D7maFNUJ32VhKraMWdsbeOnuOxa
WczbyfCqqZpyj6bv6f42/x3qQTXNSB3rPuP+Ro//CqGxV130NJ1yRnpidVFfehiyoO2cbEmHnjr6
Di5Aj7nreMBrQ1ZBU3rvQzW6Wvchnaywa89XOll343NLxo80HkQB61I8u7FMCkaBJiv8NOrVv//J
WM6fvxjmcBtoZcFsk5rMpH//xRTcioYmp+2ygbjokuP/Bc/ovw7haBwaNwq3MrBcCJt1qErbwakG
kN6TaSquEO3NlgF84KBzaqG1ovofVptEr/iZz+Dv0UGSRUlsmRvwS+d0Ul91iwT4U8diexeitnND
OsvOh1gdGvzmGwTSvie9fYIUc7R2RNtf9CEIvqATXJxRaG5mGb6t63//Ibj/7bHBXNcmhFNqUoui
pfj3D4HjX2BjWVQtLRBCjHnljJk3dGG7DQVrgPqOQvR84Vka52zcik5a6zAnC7snzaEt4H1ViX5l
p+Bw09AS2952DpUtrTuB0cULfwaUUbtqZLjhfHQWRisgJt77HfSrVQfJYCjxoa3keyJPXpLeHTYj
DX4Ewu+whczdPZ7YNxgep4sgtNtr7NTFLB/go23XztU051HfhqjRFdYeyGq2rkPsDyjAI0FlnaBf
f2WZQU+cGs4GsvjveKNZJ5qZ2KDU/RZbxfxswvoULPd0D78sNa/7gp6KMJcbkCA+yrYfD3Znjwc+
HfyyUNjEqWRGc/S+s9o33iDggj8uGmPbEp2jd1b3q7bBs9YaQrAfEvT1pnRXMRMWymDx6osqC78Q
UtMeBU0je4OyjRSdge0UTFssVPjbggdPqhxnRpPPUsugtzS14X/JgCH+9399Kv74CTgCylQmXLWo
9f85O7PltrFs2/7KjXpHXfRNxK3zABAgCbZqLDcvCElpo+97fP0doDPTtpxhn3MqqlAEScki0ey9
15pzTEVVgBL+ePQNM2vLNpg7b07E3BtX4P3890YvWtNZEqt3MjnM7ERuE6eMx8bVb4mOk1FAbrBr
XTAoL/+1kSODQzdZr1WtVqSFVqldKMFTlxJiR8hUdF4CITybihSeGzXJ7F9/IH09Xb8fBU2dK9ok
VkI2GAoVbf3A342CXaawgKTp4zXLBE8tl5PTbRPFIegM5P82J5ru3Z6b0j48WKLu4vkrHmo9ajZ1
1AdeU0/5A2rDHgtMvBNbK18DUcbjXMClN6HEODSWLQi1lnHS1dI4ddZsnJp1o+fJF00CRiUJQGhZ
YanxKRv+WOIZbq5omufbo564J6qgJi339YXbBiwIiSazZcDWWn80SshRhaXLfWLUovP42qoJYby9
Pl8JZTMPHJLwbrT60gOSldr1kNcPyL/R83LSDNKA81Yp82MZzHq6uT28bQZLJTOQ/IDvnltnFPCS
C7gwvz4ahvHT0TBFclRVbmC6Rm34zdEIkMIR55ARhayL1oX+U7J27/JVmXvbsN5r3HJRC6eiH303
dKYFHH7y8/XDiTM+D2MRS1cXVHBFQdsqO9WcAezpmyLCxSOPqnkwu7gl2VDngg7i0Y2q4CASZbwT
89iysVk6g6JBp0k2AuayjTll+TbRJuMxScJ5G3WowCiJS7uwtQS7Wu/1ZWUYu0jqXrpQUJSvz91e
0BpzM1h9T/uRtwmU5TYpDU/HDOFnhXg93DKV5VMmVINriGQzxgx1ePkwjS8ConMWVza1t9hpJNBp
RY5KLk/H+4nUKBvojLLpSWjBPz30910FqdmICB8T03y35J3sNqtipJMCRPWzzhATM1zaWSSHtsXq
m1ZMby6bZD0ns1n4+OsD+Q+XlSkx7ZBl8n9FXbPWA/3dZSWR6TVSwGy80Ky3iHitgxTqcsME0rTg
/7Df5U2z5T7zWA9JtRvTBGba2GToHYDMkNTz18NIThr/9mRlQqeBbDtvhIQ0p1LFZ3F7dNu0gmV4
AERPYaSjnvz6QhdpW6valbNabSO9kndhw1A7qwS0oX+cLg3CYbq2s9vTFz7eNpNk5MexJB4W8z9y
cHEfy/rLNHd4PMqVQibo4nCMDDa3Xb1xO2LEfEsy88O3zRIo6K5DjA/c6Uo7UIZub9HoNsZA8WtZ
Wq0kAeJpDvgo4+AkWnHZwcHQfjNeG2/Ha1OHCCgzYJvc50xNenMkVHS1Qr2ENbU4Ofb7cCH3TAtw
9fYQnjTBDO8CxRzsRNLIH7D0lqgU8I0agGwV6+BZaAOuljCqXUBSIqPz+iSO6Oxc5g0d1HHQHFY6
i6NpwrATWSqQ59G2lGAk810mShrZdUUV02/gG5XMQveGFWVI/EB4MXKpOov1Hp5weaLqWZ7yBe91
IVOwZV22IclwfJQBWD4qRuyzsmGN2evFV8fpdw7Tr37Rm3X09mydcTIpeny4mZPVudmaLXWvKtb+
9DZbUcZSWJrer3hiw769berKcDNkCneEIrEu3978988bzBhsQj3mLbiA8pon4unXV81PcyuOlSaa
osbxokOkKG8mmJGl9ols6WtxAvsZedOBJ83q+NiXS7jHJzU6y7qbhOGJvIvdbQThViG7wgxTXW9K
+wZYnVb8qqwgkEE6k/uTRRvOtDBIdS68R+FBh0S2GxI18G8bfOGCPyk5njWdgiMWX+te0SBkEjzz
EonxvoVCvIciiF6bMO2WTi6uFsjjqtU8aRwWJjTdJhOEZacPiuGbkdDC9+gH3zKy7zdF2ll0Nv9+
8vaeoIOHjQttG6/zx2mdSS7r5rb77TnioIwMFNtf7/n2ctalX6K26vfRlJj0qhjTEH4gcLBIL21z
zECySvhX30lD6VnxRlqjVI04LTYlyyrXpJ6y77Iusm+rFJaXgWfG5ezUOjM9SaR8ZIhFcAY39SHT
0CYzMTH2YmVK93pKqnpZfPr1WSDp/3DJssBQLUNXTUOXrTenQd/M2Wx0Zu/lSRE4Rtwru87AmefW
inkgshZJalaVJGfoqpNIS4S+ihSfZKhfb3Pk0oybtXPzSF726EtlNHHboyqat/M91hS4r3PtkxEQ
+REQp/UuetvEctl7Rp1+jIxuOncVX2EKmwTZ43IysyXn3rUeuVGMfTJee7XDuyFPoT3o03LE0/7n
5rabKyN17QVCZju2x1nP2yOD6jUS4nirTwWkxDHL7ieJbAfAWrE9C4rkZ5JFjPEiv9AInVypcerV
vAMVYUPPyNqHzEp3bNwF0QMHQt+Z3MGyOtN9fV1P0GYI/XCh/D/RTS/TYfCVXBxO+Pm3cl8tfkgT
ZhMGUk5Dx+rdaYiJTypwLkVRSQ8JJFajiOnx6/OL1G8lNQidIE+aTR+vk7N1nSvFwtEUm3zfpd2U
b4iKbgkyxKhdwDLb6mWtOJ0oN1SllOLQda1QwrWiv1qE8nEAhFqXEKrnAPQt5+M+D63AL0IABkMk
RpjD8sLnDyw4MkHuS9aMuJYZScyod1DTEBFkY3TNIV33B2NW9k1H2VMz2seoFj4JQVmtksv2sVnk
ZgPYadmGlO1Q4KOPFTjKh7ExU3tsWYI7SduA/hS7kyjpzcPSAp4DIWk60NRJ8jHHBxHHRDOF9UOo
Q1TvonbZW1CaPCQ9G/gFta+sm5h1in/btcb8jsricJqV7JlSJXbV1Ogeu+ipWHN+OVHRdP8dWc+0
3qBzS/JmpBNKF+YyUwQ2ZQKB59dXlKL9PK00Nc3gP2yYV64L++9mI2E9C01laijC2rl9rdTlnlYN
i9V103RF7992w+mCh1/Bzh8e26l2RTJmt0s4IFsGt7AlQmq0S9IaT9G6ap2MwTrddqUFXJgArWoA
HHMoJnkj6/XslUbDRK4rGrdOtMRVxWR5jA1MEP1i7eJFi48pU217qVjuV2IgOqbzm48t/dPHNjUZ
SQaTAN1SfvzYnVmG1J1xy+LdHDx9UUc6dkt8TIzms0q+jFbUTq4blLbUWXcsgfb1bWOsjxZB5TYn
A64hUlxdF3BRJr4gqABqCKDdJ9pe2neTbL5bQAQgpuOkZVj0u3UmJaUZzpFQf8ZwmGxlJB7ALtiE
RMX/5lOqPy9JTdMwGDYNomtUKqg/fkqjkLsATDuQyEkStkqmxmdt3dTzYGzHmnEvSPvjnEZUXwYu
1NuuFBJDVZrKuSob0VEQb97snU5fjHcjSLZzEirCLjcQB2rqIu6tBU992XYmwAo2oRIdNBrsh9te
1c9kBED5seOszt+PsAVi1BxnpbfoBzZab0cwJ96NLEXOi3hpY49p93NXyPNT1JqJmw09w0qMflSq
+Kehv5fnqLY1k1bM//yUsBjuOCEUMhgscx16vrsSSiULVcEcO0DvMnyDIiTaZ92Qm0FJitKLV8DX
8CuIfDZuT33L07CYDLfCbHYQJ9R0ROjCOcyTYDMpg3lVezzBvEivqz2iVA+2sSLV14U03WvSEI02
NRwVVSudSuw/mMkHVdHmY5+2pauA68a79JvPqK7D449LemK+RBYe1ChEzvw3FSqpnqrRNKvOC6hk
bWXEDBrNwHp02h7VSNdniNLWDQQcOuE9n/nbc8RgSY6oZbITjnl2UCZLcjn9GGypJ55WN3lRU5Aa
4gDywXnOEg1/o44mHax4fAK9wgWA9POWEUaF3LJHUjvIMQBGL4dzvQnCAl37qkZt9LLYTEbfuamO
m9yqu34nr2bqKMx2ZVqfQzVwEyHQ/hfXi6XzJasa9RuRL+jNKZCmfTHNFuYelCdHLMzyUS3BgLe1
NDijIV0WoR4PBIqXTmbo4VlDj77rgvw9YSoR2vK8nzaakteASZeLqqkkd0pVXtDqHDQ/NlNkSqZ6
l1eodbXptUwq42Hq3kFNmJmL1LO/EKKGRVF616aA5RCydjtTEvZB1Lr1nAUbQoKQ0UWDdC3G6WNS
a1Swu+xVlQr6sab6eUjLcy3TrK2M0he6j/ScTcPO1N+UupR/qEVYhsZdU1ZVaBFvLxWQbnyqaGw9
pDoh4Sr8/apKsry4fojbo9tz9C9WfMFI5GDq6yDLHnoMLcztrc1lCdfJWbosuwJH1MHUMzdgAeHf
gtSwNCG4FnxFrGVabF23GzPVrxAWHypil7dqWTyiVNR9SaPsaIyxnTUIHBah2smmtVya0uQU10ni
6whL/c2yUf7502MjsESqvJZoGkxDfzxLlqoQq0ajEjOEYNBwRRu0ymdEV3J6WXN2H9Dk3UVpyhRI
lct9k5eRLyjEGdaoC3uJ5L6b8lltTcjv5bQNyiE6R3EWnVEtn8Ww/zLKiXYs2n7YRRxByAgly5sM
nIs+5cLZxHTt/frmdxsJfrwx4K9SKPUxTsj0vN5MA+JFiht5qVoPSIvqdKrporDN/SbTlGNblqZf
YtWfqLUdOxBSFOK1PzdWRlqHokV70dBQh+bCdF0Q6VybNpZPQnzkZkgC42wdv23MXnMXHRS7DORV
tMgsTMlJjcg5wKqR9fbtIX7wCR8IG7I4EWDGE+0jFkGr8RGvU3hcW0b5mGT+UPW1E4f9SaM6tbv5
xtqsNTa9XKJPatTyvk1hqzbpcfU2uhaVLrssFFQJreFEQTeuHxUKuyjIvhAYOYx7eGRRrkTnVJCg
S5PlZkfSGF7lfkm+bpo+epVoz//m/qys0463h0GmsiOrpmnyf28OQ09cBlwb9PkpX9e0SXOQymSq
gezNAOUOr/IyfIiMRsA2JgtnS2WdKvTmkfoVPsF+Qh2wmPuFwX4Pb/JloVRzvG2mvx/1FJcgodWG
q8lK4mN6RxDRJ0e47ckxaeZHmtbJCTNMjxG9ieyuoNyOhMk2y/ruNyfdP3xaSTclkcmnRdPkttj7
bsRV88joCcZtvFFZJKcJEWX3ljGiVjJTLzzMRUDigpV/mcPobi62Wk4fLalp0s+cCQI2r30CFiBq
wB43xn4Uyvy86PpAi74v9y0M+GAoCyfM9X5Ly5fi2ji9N5KMeFuCbhwaNY2zDIO1tZQ82cQEn7FQ
FFPW9mxodXXkABCjNcPo9Md1g4LO8owSLWHMauK2KdEJncwKrt0yr3F4FVmXYwd7cZ6xxzXpfUhQ
ljGaw5VUBH1X0PLYlOuaQbfGbqMXy5MkE+cdL2XFUlMe9nokEB2gl/FaO9XdoqZQnWJx/M2Zpv48
AabgpqxfOn0qUdXWmcJ3330VsQZVCYugyUwO+WruEhdt3EW67s2llTlWK9GM0uG0SVP12hnmcIkV
6Du66cHhy98XUCk3dSlRt6yM50oplXV6S1ttEE/CglQNHCo9OWS8lla3thHMbiiI836wrmIcqEQW
WntlljC7zz0prL3Y+wq6wXoolZ0mTIpTw41RNMudS52Cepbz1Qjqpm70YjdM0ev//FRcO/2GpCsS
X8rbugIpA0NVVXnj4QjmDyCqtcn751StMVvK5HFmonkMgzC5SEEmOcB7zK1pmcmD3g79sSHtLhSL
3S0ZpKvqaGfkN8WMrh9bi/X0shSVM+I+qyu9fKctoM8Ihw03E3CtsJhfOhoxu9s0gPZ35qPDn+NZ
8Q2lvLMyDEusk5PGLi3I60qaIe3pJVaS4BSQCLfbuiUOos3wugYynbJ1djnOyqcAwoh3q3fdIojq
Kc23mJ5PcTUpPiYwwYWSk9pWLQBBlKV5W45UynMgkW5vzOY9ZlDzfknclnobCwb5MGDBOcG0r34z
7dJ+bjTR1FAlCX32et97O+2yqmSmsCasAlPMldqU3xth80c+gc6J+4q7dYReUkXre0JjLO6VQDw0
mdrvWkNTbeo78VVrhkfUt8c4tzDJxTlx8Za8E0d93IFcptVm1h+0Tks3jGcLnc6PiawqDwUX6VCo
L3mpxac0FK8aSt7NbOKjZgx639Bu9ofMSJAJV2SXhzVGrUolUmYJKR+aNFrDmrE/f1GndMLzQL3D
SKX2aM6hdViK4SHClHS0KJIYiQrGP8hTPGhsZGBBlIwUhEAy5Zlfn8u3r+vNIGLQxFHoyDP/5kb1
46VNy7Wv6cJzaXc6y2laXm4PZqTv6wVpGquwuBY+T2b9sRylhPVHwjc8GJ1HbRirC8dYHq1HlK7c
kstapgz0FGYJbedlQIKDtEXi5zHrNdVOVd2W+e4maJrgQ86yyi6XmmkYbChFmiJG6zV/uZv0S522
p07Bgd2EEkcVb3ncJIdff3BtHR1/+OA03y1J0RS6ZMQCvJ2YcTWV1TRwHumL5knF3B8ITVZQqBLL
W8ex1yFNdNLRGpx2HslcrLg+EzzcNOnjdFNPwLRA+SgP6fy4oJTeQt/Kd12oXLt0FO0RQwXxThns
dHkkEMhKUw8kuDcZ5CnViAPPszB5Ce0BYpZjzZv7GhEL99OOXkeN1BZqvGXNr/yD8vtpkTfNJDtI
cKbXtjHuiCIQoP3NSEvSeHAjYSwecs2W12yUwtRyX0VyOCaWRyArxLU6coOpZMk5NQrxIQkRbaY1
UHsqHxt00z4iC9XvaqP5zeTX/KlexNpYN26Xq65x63mzglw15wmui8wLLaodam2dqkC0TnrP1CpA
IOfcdpmZSFRTE8E64Q9QTzJOUt4lQkhayE/m4W0TaG0GX6IY3a/PAfJ1K2aPTqwlxV0h44oNBK33
lGwo7m7P4cBD58ya0WWeH5x6CTXERlCJhkxKzD16XyzX1ALjwLxTfFVDHz4ppbp6UK9WpgwbLD0R
oBKidMROtPxhbCz/9qiflktq6sn22/Mykm/ofuv7Zr39Ig/qeJkZQmzY6PkDGlrN63LB8rGjdKdI
I/680JbhqQj7l7Jr030zJgiVWUIwfsX4KCpp7l1BSYyneRjAFoMH2TV5YDxBrcfzOcjtaYim8oiv
8MlsRIVWU5E4mWBMfoHlCRlTVp5MVfMry5QoqgzlCZ5Lmm45SpWXrABenSYsjhK6R7+5qUg/r/kM
emS6ZGgiXhdZMd9MTSFYVoKi57E3z2qEDR7xc1dn73GXNkCjcbHNjOsf9fqdggno2dLzhUZHE+wr
jAGPQhxcW0VpntV2geVmyuJJzpdzNdHUC5KILJGyBaBRG4UjEYH+kZXj49yEaWhnNUd6NaKY6UKg
n6R90qMY160oh49hh73KEKzqIGndhkJd9RDBxVLzuCY+lj1EgOXWkjpQsGPZXJhsekhKcF4LuRq7
5BmLTrUC5whwB3sn6KGbEOsjEXL+SNlLebfusVxKT1I7vJ9rIX4cpPTFnGBkfN0bpZ5FbMCXsr4o
TIN1IP0ktW+7o0nFrM4Hxypm5WopYRAwK3rW+mi4hLnCHiaaxlYaK8aiJeDjpAr/1cusZSPLkiiB
NXlzMFsUiOxhsc2ll1Hn5eYdURk1RQht+CTEwqHjvP7SC8FGTwXzRaFCgN+a6kLStoKbMpwfu4C6
nBpAEjAgQb75cVrn6u3Ho6S3XtQW+Z6ZB9kub3UB/X6M4jktwmsTxzol7jY46lYR7uU+LfxxsaYD
93RjC3y7P9fGoLsaaOw7rvVso7R99S7T4BTn/Vx+RMbyGqFhe0W9vud0IA23548XUIbyQelqEpbz
OdDreyCgzVFX+pe8jbIceEE8+bHUTDTseJT+/WgK4S/8ehSR9J/W96aE+pPpIJUyybLUN4XAQo+W
wVDFwMUeNW60SMM3FIPdvFHGvvLH2hglrs4siZOFQtgmQ31ERM797S2jPkf7ujYf2zVT4tumXnct
S2l9VEL2t+dvqRNa9FesxG1XBhtWf33Pbf/bu8cqiRxcVt3mzQtiZRk2KLB5063ImeHvzTfM/Zvn
MiGU/ap/HG5MmpyItA2t7ucskJNdQ/SZNyQzs4Squ5qyHNwLRtacdbUVidLheY1qp6Pk8AeUMZzO
1cwgFxYSKQZlM/8xDoo/SYWMkppz6jVSwnJ7W4TfNmOvg/e8PURvSqBUK7dEPLFGJ3ap8uOWudVa
V+/SonMIDEAdIhuN5qfg0UEhQD9fbtrIWWXxMLPCa70CvKcdhPNTKVvFcVghqEFXCmTQdgfqch3u
KJ7qJCIf5w6uWlJJ8naYVQtwgLKbiWv9FMRAC1Oxlq6sANtdS3lhrzS1dBmSNNwIIjeaOumfsXa2
uzoWn8TB0FkZilVhgwVBsaczPmcdZP0ojBGprPCCvHk0+1J9xgcmboKxC3dDlGBJU0qqmUxPDWqR
I5dXl7j05kDiK91f2fKrzrEMjQnooSG3B2nd3F42im5dbK77Qxb5I/j33e0FqVlwyucFKmm+dILl
FcFRJl2pzpEZ48HfDDQfLK9TGHZ13awpoucZWCTRkMbGrlbh2deHEpH0KGENb8kTXtFT6vm3l797
z+1hlsZBtFEmmgGTGtbu7UltQpj966vy5+HHlBSEpVTcFEPXmdj+OKllrIzlNhSJVtfExZWggVwk
iHeqrRPAKxaySdOO6uvbVI/AVeRA9rJa6XfAqlHBrptUmDFcCwIThriiUroETI1vD4GDR5mNzpli
NfEo/u3J26NJRAu2aMYmU7MtqzJ6m+sGFtSRbzh8EJM1RirQ5CexafINavbpKkHk3N6+iP/7gzq9
vanVX8tqbojK7N7s/tdjmfPf/7f+zN/v+fEn/mv7uTw/55/bX77pFL82ZVt+6d6+64ffzL/+51+3
ee6ef9hxi45L4q7/3Mz3n9s+6/5S2a/v/O+++H8+337L41x9/s+/Xsu+6NbfFsZl8a8/X1pF+Wtv
628R//rr/3xt/ZT/+ZdDefTz27d/fm67//xL0PV/YyOgn6FI6lrYl5nSjp9vL9Hm+TeaXVOxyLg0
JHXth1D26SJ+TDJ4iZPNNOgI6WRAoOdsy/72mqb/WzM0Gf+wovHDJkrfvz759euC5Osh+2e/AWjg
HxYuJImapsi/hLzFZOGGvu/Hk5tpF52mSFsONRAXgmiEoNvIVEmJZ/cUTu+7jQ4MA/yQbzxszE/Q
NXdGbx+KWNirueQ21rMBBqLFogA4xnoY5GaXo8OLUmEXycB2EVhp9bKPaVYpGuAKbY8JHIizrPjo
V3B6pmCOqDeIot8+W7uuvJM/GccZOU9vtbuOe4Ec7+lIbQdpE86Tg3TPLjTB64V6G5wUFh7h83wn
raCLY/Cuyz+m9mCGu54k+7aYbUMFTlsBq8JUIkLiMyPZN2vI8Rsu46ueLq6O9JeJnK/Vj1nZXBWc
uV9UTfuglXZ434/vRKf/EtdOndnaYx+Otnjm5nUqXWBI6TnQuiOgiMnr63KbVKJfNtytKIsGn/QT
S6Or+akT6EhBBTQuMNXrcvSSHNK1pqG4Ejx+OcnyOJyMF9k3iAESG88sr4Q/+BnQaTlu93xZyWOD
plWeaaNqW/qR4cushu5SGZunJY+OTWie+mU46SxZKNu0rpi1QMazs343eYXQX2szvUNSe9ey3oya
Ykt/KbatljTP50yGbEa8slltR3d0FQVxTgbOQtrho9vF4bhTLDKo6IF24v3SK3cS+ZX1xwDQgsFY
UlqO/qUVqw37itTv9BnIPA72ytqOFmWd+ziWkCfFe2v4MJcDKiV1mwH8MD7nu+KjMogu1TeWk4ZL
RdTLXeB7rjz17r5OFDp8GE41IkQRNndoiKQJV5LuKe/bk2SNJykTTvWWypaS6NfYryocVNwiScST
k/aupnWmX5dDSQyiYodYfe2+GPyEad+k3beVdG/pfpCcBVHy8sDcR8kFw80da5xt2TMWRrEzWyTy
TmQo5V7fMm7W/CrEaOqnuRm2YgCiedkSJbDtKFSeB/zqOVNKeYtjnfBZR9zrx6Z4Eh/2eqEektKn
XRVSQS4OQ06cKxXG5Eh19TBfrixdp7uiTbaGpGxruEguQZpO9N5knisiEBoR1xoHOw4x3He7jv9B
vdpRs94NL4XaP0mV+W7QYienSjrR3Zyr9LF5L8jjw5iH95KQXZu5Otu5k55MzFhFZPlbvCmDFB6V
YTnoQXpYxMWvNWGfNuNm4AN1prTrjWD7OtGbf+0/gg7YxE6hciR8w02grN7TDxT6eW+5VeXKV4Wf
4awy/wjfjYBJHCvGRA9iPjba7ZJiKFJGz05eAgwHGTXYYFXf3FlNe1btyhWWaW+9W5ljAwjQ9s5A
1QBoEH97rQCxeIbcbk9y6gEd8xQuoS6UAORo3lF9TZ4xKcc1zZFwudohHbg+ttXXdjQ2cSl7Wl9f
pO5odskjbveH4WlyIT1ycCdXkOQNRPNH/PaP/XGokfdWG2SPNZi20g/q2JdbbV/VloPqyF6e2r0h
nc4V1AcCv8vwZKbGVZ+Ta2Hll+q+exZG+T4R5kOgPklP0X2jtOfsLDll2T5qovpQJtGDpET3cA/n
zYjANTfuIfWjdz2p3lTCHkwttxklt7NqdzoTAyoJNI8MbsX3aLEqM/QDpgGu3CjUkFQ3NZTLuXsy
EsQ5UAxAuxwiWfCrc2XGB10VfUmOval4yArK14PdaB+j/nUhvDfe6RpGRy7YzI7U/DgV5MAULsIl
r5Rr7xkJSm3Wp77dVPfa2GziyrYEfV+S6RUa/Q716FaIHe4n3qISktwtF3OY75ZkeFAPKpdrxOU6
fC4vjUHuTWSruyJ/HU7tAyuW2uBsM2M0rOElskqvNUCLnIBt74S53UnVQA73sksFp3iX0kYxQ88Q
JhC+NAeKYWcmjtarh7DChPmxfZG6eot2UEpqF3IcH0jxEhLT80MUz771KAl2MDyBU7aVUNhaKTUN
iqsUUZzAeOwSzRvVEY/Wu6RH4U2QlnEcPtam6SeKvKdqelSa39QxZPlHBSEODeoYSDxM6qIy4slb
geu7xocW14CixaTnL1HQ4Yzn0YGdInaHQe2PnRQhge5dEsfPRVdekH5dGmG+hgFCjn3ZZHTGxq1Z
/YE4HZb16IxBdEpj42jq47HskOKv557/aQ5Sry4CtxwkaNR3RKPZrZq7/D0bORA3MkGLVPKaEOBl
eRDnheNvkyRzLDxR4louEzrKrRfI0GAgvUwDlqoDGNPUmUvNrcLIW2xUmTOMjPFUO6yfDxNM9kSI
T4lknBZEitJBiOoz5/uph5QjiJfkYeEAZ0+Ep9DoOJfvAkrCnfohyMIPadgyCaY6HC3vipf7+89i
/SndFotwH6rNXUvdK4JGCjPNfp3Qh8VbwTC3lUsuJTgLZ0vPEs106VYuOZybwcd8qu3eI1a9Y5Id
+QmFC0jaG7W3e1m2j8h3Q+3I/Ook8DWvFtfyqGzHRbkAAcCcsLSKTRHUX5z3UlNfkLJc5kG4RE12
dTkhl+5DpJvvqRr4NR1+SJRP4UfVW57yay4Y2+k52g2Fdh2iD8j490SBn+cgObUarnqg+iQX+Drj
GIrqzAVo4bHq9IRy9ibd8For2i4Lqnxp2C4qRoCHeJPcdbVdObtWKS61JV9YoVxyWb/EunyhXHfp
1YT0+eEcuO2Lie8hyzUvXJmszkbNzLNYGKeN9secAwB4+oKWacqesnd3LbqruC2OoTebKBVkn1jV
090YTLgFh2viYIE+pn1+ILBpo/ItB0ay/26C/Ocs9HuXqyz9WC6/XQnoaLHtIQhS6DC9MSxxT0Sp
mk7dFgCSszwkVeQO0rHFgBenklunodc2trWTC8XtwhK7guih0Nye5C3QPLeXUu+D1k6s9rnm99lx
EMRTMCpnvGmXOamuH4jwIUw76fza2NQDyi7tXlUqn0kcKI9z3sGovRiCfq0j7RpgK4lhhD6JTomr
xKBOdcpROoxHLdqs7WBCl5KWhVx7V3XZKgPYC0GxH3SNmDoYfZW4DQ9TRV9VMG2gSjvKV/u0Cn1j
CQ9CS8uXIMZ+crJpPBQX+iN2l9SEs+r7aY5Y5eV+/XmhzlTfI9i/L7fVSM/PqvY5KbJMsgNtH0fi
vlYehmHCPhLtyWXaYVfZ0y3yWULsK7igy2jslPvPFZ6V6lCBImscQb+TIt3N69GlZubK2up1ohAg
15tOJECHiwH8t+a+5sNDZ7+OhFjZBalk1bwzhnk75vlubrWdcao3S99tTdHYIpokJq7yaTj7/ass
p8dMjk5Vp584oOc+wFhZtRcu+rL0Nf1QxlDhWUM0jd8ZlU8Jd61TwHQw90k07+M/qnMsNDun3Zsq
w2uANqK4083dkloPzX2MVWPuhB3BDruitbYBE7A0QA6fOdVaQi0mDx8Ymgo3Fk3uTJVnVLPHgPJp
kkQvJfJ+jhRHkz6kwrgVK2M7T+FuJpd7LJpdjEUyea+AgSoYbIpkuseyb0/lc///CTuPJcexa10/
ESLgzRSEJeiTmVlVE0SZLHjv8fTno+7gSn0ijhSRGrTUZUhg77V+uwO+fcZx96T55w2r2aMzxrsB
yTqEslVRnP3gPQqWbfGriMI2Gsn2EmwdLalo/De1k2T9J1dONZnF6iiqqBSQUlriP8WiRKNImNAr
3cvUJlq0/ZQTyaBsOgjydCWniVBizT6DzZCScrDY0Kz1HfnbB2wQO8SgD6xm+1HaxOPMt7AQ7CQe
i3w/1uIUJKYT+2czS++0XdzmU13V9x99mIjFxzArz+bhzFN2XAgve8VWzrCPaRHMf+YKM4aauvrh
qk2SQwugK56vMT6f63Dnhd0FhOBcKJpAsMJSXUonrjdfpg6zqgUfH667NiHWk8McjxTAQJNq1Hdw
77cFijZeUkRbyrYEwNdBT3+HEH9oovKu1POz7g0iQGzbYsZDyGtToumuccO4HL+aRJx0FZ2CGwFG
nSe1Q+A0ea2r2nLijBOSwKHzBEskltfy0qTyFQ6gLd59vdB8/nThNFlwS+yWDsEonogE13XNWHwK
d+Fet5eSHJvGeJc4MVXc4+rfLgETOm7Mn2PPwFgeU8MKRwut8p9p4NWVHbUnWkoVjgVtJfi/beKD
0vpKX9CZ/PiTNo1Yz0eHfEOn52PkjSGZofRUszxIvXgT4+phdt3BbCCU+XjsdRc9XE2ePAqe2hX+
TIxcb7jr+krS7/19m2HvvWYkpFAuMerFl4xhSVt9siEwedD/ZlBDNIc7YWU468iy7Xy8cb3ZU1aN
C6wMDDjvecyxxVv/Dz36D/Do3w99Vfzn+KMolgW6/XLRiDoSxxf4/W/jD1rfBv9YNgdKQxRKFSE9
P6TUwk4ADMvRsuS7us9vWCh2ZaBTYvMytuRa/aOgWRGP+zcgZo0IV6KIuAHih+6bhO/knnUdcVG0
w7mJWcVP5HHZpi8fl3Lxv4nchJJyUb4RwayRX6LnobwU7qKqBKfMpKiOpzL7mdSpT92K0GknxBgn
snmBcwjYkb3l5zrXN0VrroItYyFYfW+SQiBoOwvS7+0CqOfFx2lVbMkZnxTPO/HLSqN6dTZ6smt4
wmqSRBAH+gH3VVHrNtSG6Ob5EOADthFnXFC7nOoeVb6jBZIjnaRTujfHrXZ6FRXMgNNf9utqCuhS
eKOqJZzQABuD5JivkPKX13VvKb9ylZ1kfWYI+Jy7RthT6Qy8bWWVBxyVRwXZ5yTm7+U1bPQp4iPI
fmi/ai1sCns4ZFl1fQq/cPkclvNw31TMIe+1EzMP5mvpFS9bOQUG9XWTEr9+K1yqjmOpjyTZTfrh
ZiFrsKQPuRs/Ee19Dor8WX0po3FWphui/If1qDXJLeAp/XiKDxTr5AfhkH01jXQ0hvqYoy0hNzvU
HU9N9pMur5FVCYey0+1852q72KUhBYS1f86tb/vJ0tqxl7D5uw0qRuGFCw3OcsOWcWI9PItvsafV
ziyH1k/hI0Fj1BVeaVjuIg4el1+eDRGfn5JrUTERdiKHo5t+DPkPSdmcKrNF+av/K14byO35YBMG
6iVUpI7L6I8a6zkmT8FbvFNKa1yN9VcfH/thdAccJfboCsNjSH4y0zXxdEehJJy1IQ+log2TZQxX
cw2RDRLh4g+15kur7tMe77NFzXZSGN6ydI5B+iO754ZLvHw0Ya7bB8NX8vWWPrC38HBnspOV/c1M
95vFP86q+ZZOr6KA9Cr4QvVm9kKoy1zHIYaHMGNMgRsP6hLkZaj8DIogFt+WmIVT0b3kGyKtcBal
47QvkdK1p/Ywr7Zcpw5LXWX1GCwO0L3R2tnjOzKZvKPaJ0Fvv900U6bz74bOVozDzT5OEv2u6no6
8P9VpvE5i8N7l6UfK98ULhNfuP3tq18Yf1G5nBJ6G3+sFRr+LCdcgGaDNQ73JMHrQPwLPwagDDrr
MP9yunryS39C/zWUhd8nsXcXwmn5QiNxWazkY4re9FY4xY1AQrJ+kqr9VBI4WlzESjzPwp+KrGNL
vWViGeCz7XPFzzn4Oplfb5i8aLLH7BKLLyI4EDy+3BdL6zl/2uVQ57yG2dG510t5avUikv7M3+s9
Za5zCpyi//dcjPrtP9FYVcHFjyIOLZgoqS/H9X8ekYJmqVWhpnWgEx2cIFybBcYRffSij0Qjz8Vq
bCFSEemvpezWM7uaMHmyr0/Kpemtqxj3YVk2GBaEO+qeBwa8t7aT39R0PxbMuKbfDxz13FQolY7N
RTHqcHP7kGcZMq45zqMZcpKG5FDZ5YTLirZW5M/+xIMzPWJWx2UpuBzbS7IYzLRtZAW4ITHhOvGg
OhpXb4JFZ7TOQMfLsf5mMH9rfemOvy3C+KtS8jvQL/UusEHGvMIslrfXL6f8sUJ1kUJRnMN5aEJS
VwNq/qg/6KPc17BwWN9xjYVISy6MlJdszc4WKZtFtH6fsxtNHWBrPiWeh4EYny31TF6mhnMPs/Cc
+VMy+VZleZpNXLqc7QeDCCpldhdOBfzBSB4dQgy9l4gQ27qlB21uXaTxFZOe3yojue8dWU/FcbHe
aPC9pUBNVqzfFCG+NR3t4Nsc7YwExJ0A8PpKnUYkdhO4oCkUEK6KVxfxRy2JVLilT/Y7SfsQBSvM
u+SSLmjfyAlvlajYv8tq5Y3i7GYc6RaKx2V0jUR2TQ5iwqo9PfvaLOLYEvU9nq6TtqBM+G2SAtdv
R5nY3RXdU08cE9+0FOlri1mSvB9retN2p7ymXfeBmPKj7n2akzkG2EXs0ci+iRuxvik0+AuGiflg
3udB/NS2+VMrz0QqBry8wTKaPn3f/iAEWmUPo3XamsldQNLiLNr0jqzVjzrTXWNY3VFo3BxFw4wt
VbBn0L8Z9G9DZUEfWyUzdrsAoJ2hOVo3k2jGiUqJwv42zsajIiCR3yD5yu54la/7LzXJjwU/vfUc
FjLntMbjXvEooe6YVVHbCk0aGrsREP9m44WSjeVdaeYns5OIfK7RHhJ9F6QTs9xaBe1n2qHPs5v6
R76RkRts3+XpzPNxmJr3lgAyZEWQtJvLn9bQyROwVD/PQjrDbeVHdshHUDh00XofboWXkfRFOSSC
XdJ/F/NUJ2dS/IMEy+262Y2w+9aWhO7mJQJKzUU5KcfvNA2F+8FtF+Mje5KD5quEfct47XW9D4yM
VX4IkI4FetkGfVkG85IF9UWACK8t7TpbFA3Mi0dc1OVwUuLPiVx01i6rnK6iSioKt7VsnnAlLE4r
uIYfX3e1sVPdPg01EOi50PJv4rfxrzK/43+IUSR2BWrMy2gehpfOdM+Jrf1ZqtAvRX3W+FuExhif
lCk+9btystiKy4e06/68u6WquVbl4Ldsa3qsp/rTmAeKxNAs6OP7+nPWqpMKSdD3WEkz4wh4hJi1
ChfA3WaLhFLyVJGwaqnzBj339HbGSfx3egpHQHm4hyJoEz5CgSysy3tPq+r7fG8r3c9HzscAhp5k
VCJKCVafThNC7O5tquNboWaPTjMeGk900ejRFlAiZKf31H3BKv0X6b/IuV+WtNYB/nmprNDWqCuh
9+Zzz5OnECaOEcfPZJifJcVAXEMKnw61IYuGRjQ2A+k70jETzHXIIwm9k9qCNB1UqY2U6UmclTe/
6N12+S8COMIk/3E9vGT5FpmMliSzDVrmP66HtLWkZqzkMsh4HpHoxV3CPRmHH46IgnwWzUMtV0RS
NITldPdSdTUbBMNyhzJhxNgCtpqh0KJ1u1i1cJ/E+FGgVuxZ9McuGMw50MUtYEaupdbNLiZ6rqEQ
T4aBkjSbcV58TroVTrEY9uGr8EoAAFGDMX/sicglYJfUIZZcET/1gge3TIN+jX2xI4QA0fFD8hZN
dNSVNOL0LGux19EYUzNka+3sydOp6Rdkj/Kha8s72+KrlOJ6bW+CqV1K4ZdSaGer/16S5dhFKraI
rVZ9VUMLXeb2njTXkhAbtG23DFAtaVrHaBSnaq1gz7rQTHqy/wjIVZbA3JqQvukDhUIYA1XUHH/X
TQWL4dwqJ/IDlltWNzciga5geg6RXw9z+j5wLI20FWXv3fta5IGiAYKDRRSkSqo80UooEf5FdFIc
gskpRpAUVpDYzeTERFusv5IfHb4HYqKQXWpOc5aSzmmS0e+VnpkN3wnyTiy9rj4olCW0Ts4/z+XK
F7bNjh2GlldKoPJTUoewaSq+e+RZKNCy/Hf1Fd8Sdhfxs5uaT4p5PgQIWkWE24mjcVuOQ+Mt0nzC
4n0T5uxCdVI1zr7clX6MVHSyOs98flX8hSryGw3jaeqZP8+Sp08BDkiP8BtXFT2ikY8dOiGRCRVN
lfz2mZzSvLsyuaVld60V8yZt7WOW5zeyz3if7dwAzh+F60Zuem7lBwsSc2titoZ7z/miz2Twwf4a
tAXmlhjmw+8hz+8zJYry2jn0jhDjp3VhVZ7or/O0/YAR0pfM2NsbyVM24B7dk1IjrBQzUKTW2xQH
K2GwK56gb26rsLyACS0A2OSke4tZ+cuIG+NFP7b0rsZPfudDvTbwA0mYOWCz2AfbRAqoGgsRHYXd
G68Ti8djC1Vl9dexx8uR+Maq+KWb9tlV6dQb+QeHiaXO6vY39dcEvThN/jgqvmGmwbA1QSeMASH/
QVOBWq/3tLSCtuNS3Hwh3/yA1uWcTnbRmVTkNKldMrn0ZeObgFYxve1j1hzSrQhowg2kbAvyXQlo
QpSL/inI63OVVlhphD6GrS0Y3lKHDhO1ETx6grxB4ICUZk9Al0zDj0fdjytD7mWictYUsmjG2Zbn
3C5xuOmzGG73/FwzcS0mGRXY+BJai53BsPc+8XX8kxS8esMuuf/31Mt0+89jTUdWgysUD7iC9eef
x1o1CvGQxkwWsbq4Y5V6unisusylHdUljNKtdRMGNNSuKGxzkVj73Qr1O53OmkQ1qEWL5X1Wq/My
KpciYaBC8J1J95Qc7lp9rFX+1P2K86/xl4zpLGfxStJgykM1xZYgJqQVPFty6Qz6EjI4FnBWmiF3
ezJQXteLnz1MX0CNOG9vRfJN/juehGRxho+J2lWJxR3QOZXt+gS5m+0oFMrTkmj3+ds4aBfVx780
dppNi9BpJOSwHTRHeRNOooAq3dQcM4XvFT16waO5tdfvDREBY05a6HzpyvVUj+o5GbCCEl/7W2vq
aFGEaOsVUpch/Pllobc20e0AwfpXvXhDrydYz2RvOhfv7+FY7ruz3SHHAllaQylDV7TCtOefKBS6
HLZzCaXf2qsxGlLSlqT6XK1ypLvLfVaK6CPKoId0mimmFvAEchL4vXPzUyM9aTBS5iMfwnJURstO
pp81kPyGNHmi2osKXmfFSsjHQGDB+s3i0Y4B0L6V+nTLu/zR/VXi+Zony5W0PKO45wgUdNQNYpho
SijyI7VamDQDubelU057uGU0XrYtnYv28iFtqy/gByka6dYRDq3dCojORaLYlTMOL7Pqilbj07Dn
awy2+56Go3lkukQvOxxVcoxT8PjuoHakcXWJM41NJAONmK0UNe1PBGFep5OItqjRMqtRhVD/acSH
59DkH9U5wQ0mGaFe4FOU0e9zqMwJ4UGdO2kXonT8ShE5MHZ/Jb+BNC/SepPUjnMHoL9CT7FC3xMJ
O5M3NlEE1IhnrcfCWHRuL0Jb6LbXqCACBYFJ7Nqz8dlnXpoWb9Wh+pqKleGiD6u1DFUSEMjEKs4V
HGfh2y0a5RsNC4Lc+2lFupLHJnPc9+XYQBagEC8niG+DYLzi25bKTmlmwMCr/3smkB+aDM40jKUS
hNK8MK5jK19nf+BHFga/MSyb3jVbk2BJ5NQn/tQTVUCy3IkBJeI/OqFDxn6rSwjanpxEsgfWE6bC
0wunIT5QFFSvJH4Dq119n8iqN8M5qlU+LZyQquGqtAQlvZeNlff1aPP9UZzlvbyKDe+CJZ3HEsj0
gtqA/0J40I4bGUVGoM5p4MeOyCdAcwnLikaUY33/Mh1K2HbjodfSQ26wlpn3zKzviCUFqOKEc3En
02ePK1cifkAhEg4FTFxj/BYc1VIcmepUqaqcTKqcRUdnZPAElcwzDjdAOFUTF3IJ+XmgveYkKOl5
pNWVCf4MSzAMYiR1y4XWgktZhFsSH2kCwWcbJIxEM/NzbzBig2tusd9g0NG0kZ/cJ2yXf9lphtmb
1Qw3iezSCNL8KAMcPxA2uS2xIl1m22hcazJO2ipE2chCp8GG6pgYzeZkiAyikFmdcRQzX06zkxh+
6QOG8hHIsDrlmhZZMSLC/kHpO9/3fq2LN6NW31YTbnYUPxJ2klgDNGkuOoTOnG7XxlwYXQjoyrfr
uHbXCrjJmKGwV/O87y7lBEHWpvjnLrUZgYDaMyn1dQ7CpHWekZsuwmNya6NYj+ERWq9drq2qwomu
B3RuB+xR6H1eQ0fhcwuOBsZek3AwJSh5YBumwtgzNPCQ2XDTsfB6MMlkohy0Ur0WVFKRvXjc38tJ
OiavUIOvf7VbCIfiGn++ahTqI9Gmh9F/qw1KWxsl1Or2iCzjWP7YBKyFot9qbwqkt2E2TJjuS5Pw
t3A04IVzqvRRI1rIqaeTIllgTM0Z6tiW9fQ1n53NTjzXfld1N2lMbgAfdroQTcCemMFoJP2OT3+l
msrOuX0L38ozd+mOOTNCsSVBwYyQMCPwtwniUoaZKq6jXIai0IabMYTk29m1phwSr+Y0Sa/lF3Tm
AvYcWJxNqiFH07ZHVYaKoDlp8+wXJV8cXZWPhQUmP+8MsHN+yUzpZs76VU00m2HRKzLxXIyQnwTw
U1gK5J/rhiMU238x7OOi+1+3u4GaHRkjIS+qKImv2//fYP9hM6nMBc8KE3NyVGAiroI4HR0GXlf/
MZJk7iDayY/LFqzKIyn/zlR7zNtNRoXetfRR5kGpbTf0eo+Vo5O+Z0/E+5A2zwoqUiDHctHDHNzm
m06f7VV7U39YKy+58lDNIqCF1TfeKlbgXxsMMnIpXBmGnwlFQDIALtUgU6yA9tWwSgeA0AL1T3lY
+z0kklsuLN/qAJJ/O2QfkdGj06pdVwD7NdPUQp7QogKPt172YSgtHMLqtyjrkjTKxS5SejGqYz3S
dzPi/jmRDRlVRiSIt44laM+gnK2dbvGKoL2PGf2OaGT8r1huppIcVinka3es/KelTUGn6f5yYXZy
UnguDd4tq2Mn/+2t48HKvQTSdpYP6vRjzlBojHqEXuDEjXhufoxX+X1z1eptLSkpryRvtkLEUk+O
JDOwmjTAIO2brPPLfl+ppNESBAycDnVO0IVht73bUh65FYo7KJ62ynddcyAjiNGRKAGR9j9yRyoP
+QecYc7W/dxryRYLfg8ux1Xn5tlUHvYkyoQ0Yu7q9DYQrTTCsYYccj2QQHNI1+64WdkRhybWpT8D
JhOlw2rQQ0/VQW5Ru4jxlNHGz5EikuZAINWv5odFqFh13+jznAbP4jQYGfThZsql9LQmtPruYzi3
qS1IENH9TjBj5fHlPzrVeiSu0iVR30x+bHAwchKJy5Gt5anW6M/06lGN0oOSxGVNbh2JjTpPAk6T
YTYhIBhNQPxrhYeDKqtq8gu0SARx58sS6CFoEbvGcgfgII0j/aS15p1T+GChyUCvI6zLWTC+m9XP
cvqS4A9zsEvtUIuLL6XXBEX/ntfETDaBti6AT50NtRkRUvLM1O1gOosynaVidFVkg1oP+C7zENSe
mV6UQfKMHhEUlWwbtTk0B28HWRG8jDirbo4GylTHPVSgMnAyIp66WGfTmu5N7wjI2TIkY9URKTtS
xf2obh5P/4zslcpwSfsWp+l3y9+PmiVFtTbDbKyjQewMw5hq+CnBt4hTCf2BMPhWyV00dkNUXtQr
mKbTb7gK91O25OdCBoCXbXVvHPyPRw5KVzPKqOPfALyyAKuKbnBKIEyraN8XZJsWTtFezv1CuvUT
+VnwLEs2swiE5uBOBBXS4ZLMMdVUlt8MKEezEOqgGl0LgdTWaydhGk/NRGnSfjDF/GlM26P7k+vr
YW4lr92Ey9yAtUuEL1CUOn1uFpLTTvX04pBWSdjJB26zKR3DuiLJLEHjuyTRvOAZkZ+VOb2rsTNK
/AVJyE0OrcZnzmad12F77t/7TcEewYwyJYHwXcrBBHiUG/3w92XDkbZQKFdsamuoAGY68q+mIwAm
JTiZ5XpxxQZgxubNthKGyuTyV/6VcsFJWgdcur5lvHZJ7tZnUuY0xoZQHeMo1r64hbyUlqvmtiwI
GfedsT8O5oEAGxkx5g9883CP24uhdJRSCjNlD8pJDHeJy7NUIqFuabzaXs0Pvir/Utrm0vtbwrVk
qtdhATttutsm2huQteoz1+YFjJuh+S0/O29F0e+ktJnM1p+yBNp8MBg+c1MLlarnWDUC01WQnwoF
OkX5qIW1YHk7a6igYsak3mgT3AxndHyd9vYykc5QeAVReor0Z1xXW9gHD/5A8FD8nDvmHxotm+68
X6U/MCuHFbifKJPL/j2Tfm6FfljV2l+UH7jqD5KQ/5f0Enwg/+t6e4XjKsSq4ngGmfsHq500zFly
S/eLob1k53pQZjJfK+LteyaCd93Nc7mvdomUK0YpxGUR4/1eKDmpRJBNrfAV4P6hGImzGwOx+TN1
vVPQTM7yC+MNamn4RpoGpDLYSyv5SSf5IFcXOi/9atF98SAyGrYXh4lPaT8pkPiQvLNstkejd2Z6
Py7msUu2sOuYJz4SY0R9Z73Vt2GdroKZXwj/Hm9qjvO+WZFbl642tC7SL2Fl4W9yvyld8sp9umt8
k8YvTtlinAPjl1RIl3Trr0LmkUVITOCr6W5+zqCoJggVD+kpvs3lfLXW+mqsKhbl+jJGgwzoUheH
ziiPEviCuWah+qerQH303MV/46Q1XpqEq+Raw4JvcEoak0ISfrZ5MCDnQA/kL2YSzEj8GzMNAZm7
lVPnCJbj6ldSBpLN3YCu5aSA6C1Oudic5x4Fe/mox9ip29ZLEfQjwzcQGJTy3SSMr0D3EV83T1Eo
9Tx818ED9N84rjnDQNNlsgDT3TVK+Yiy4WhttrIiJRia4wLburZ/B0lzDGp/88oIBHT7MqkmSpRY
Ikl8exhH5h4N5Mt02eAkXN5FJThNXVIQObs1UncyF139U7WqR2biOcyyaNKrJ95/CglWToDW38ze
SQmckfhFUfyaclTWUpTHtDWj4FiG1amaBJm5dIzx7b5cWM9cTINiVKF8W184kTvPkFz9krPelZD5
CcuR488iudHkMilNvmblx0KuTJq7yyb/N/HrP7KHqdXEQa2RYqDrkmSS6f2P9yQnQlX7lzcZDxPO
5wT+REPip9XPOd1DyCy3T9/NLsOU/aNbEHKpgtcMpU3cmmcmKYBY50vW7msE81fUlM99OGUC6+Bw
TeP9iva8+2BMrhIIUS6uhttAoTO+23Qfpbcv6xs39Ejm5K+kfmtK5axm2Xke7sX2TkrmsZ+zYzy1
oRwDky+PEWsCzQDu3KXEybuUkbrwTUwPeOpZUcZk9XumHwy3IU9fOCsxY+i5uCs7bSgo1EqYB4tT
PNFLUtXaU3POHalUkEL9Ug3tjEbjc0dmWzMrwWnbC6PuUtyqUrwZKRxG+rXu3fHZnZMqgfYqnl7u
5cL+ZGppAhLS/KRV/OYLnxyE1tJe072+7itKXwW075LcC1n0GcX9BKysDCdTCHbRgE9qOYAOc2AX
DFvKqFKFfChRFG5gIObgy2JLUjef2+YgOnPRU9TZ4GXTOckNt69md39IZY/4mDK7yS1IamrSxuu+
oVU4J2J3Ma2zVptoV75rHGVw3Afd/uzRSaSM1HXXHIw7ghGnF7coLfKTi6ukGqJph/tcQcco/pIW
A90H6zQ/Oj5cgqFPFUzM+prQeYBJiV6rQGVpxucLMDEAQuS+leoeF9omg4P1rnY4UrF50JLntMpe
9yqZDwaLVESyCVYNPviM6otUwNGPudvYwmley/LiSsXuTS3iW3rc+ymsmzVccyVUUj3kIgzrs8Qn
mUmsqADo+wZJlAAscyQNScDOF1iT6GFUBWPv/MSJNXbzHFBiCuKmeLO24qLptz5unluExIphgXeS
3rWKEVZLvxrAo6yxkEf/3LFfryZBt6BHGgjxoKP61hY/6T/R2B3KiV++QiE9J36QxURN5VfDCYbG
vAxaezELkVhYlX5XXDXydSKtVuVPjpa/Eb12/Wbq5n95s/8XK6WrusxBiRZaQaAoYXb7zwWvb+NY
pnuiORoN5SaO+a4P6aXvjKtgbHc8DPQbXuNzGmLLOcdfWmy8NIe3ktDhSdZP0T2u6FRhhluQoNem
Wy1c9Xb1iUT0SPpdqCV6IO+mpw72x3qrDTGKoYFxy6Ds8o29D1TCDFDaxQ4ONRlCeZ1xm2u29Lbd
i0o5YbOxK4tek9/71XqFJDEQd3jfiREV2C1VLRp6zEbg3NrG9pe1VD/v4V7C+5WcCfd1IhTi0n3s
q+rKx63TImaB6JW2x5rodDypZCJclHq7mHPGBQ7Vxiwu9dK575Iz9ovTGWXq07wvW/vJ6XhVkLTJ
zTdFTQ/9tJ0QZSI8kyvxBHPxO5+HqzRZ5GSWaFL2s9c/S61x0u8YFn6a3DAVN8yYDpRUWX5OuC0A
jNdSECj3CXxnRk6brTgKfFJtsiNmnijMnsSxJUIqZDzumwiuYpVBd2jfJBIshn49SLl0Kh2KAK/i
MF6JSrw2mnrVkJmjGrkW7xTtXCrhgYYyJGRWWfxh6HxzBHbpECPuM0LsykPA5A7t4j4MN+M6n7jO
c1N15AZY/KBi3+tQed/KiFItV+hVFFtpg7sHEcvMcT90lqfEnV/Nsr8e/R0Fcmc2gcouqe/+LiK2
2sgMw3lkVYRCD4pbylukWjbyrXQCbwVGH1KSUgavtxI/Of0G1PEIRmI3kE7Z2l0+5bcNRWhh+t0I
ODwQ4tOYAYKvjW67Otjw+Dz0Al2DXl20H+JbTz80YbOHcsmPxBA5CAevrbHcBkflz9hLqOs+KkTR
hmLaGDxJS/akuPIk8v+GUvY2QfdSxjgNkqHSsdetGn1XEZHsZfrM2W8KHNxrkz4hrd6Km3FvjPnj
Owmv++h30+rXr8VLF9fz4ky1AO7xma6mYxDppLS3SdJQBkiBgUEv3xHp0FoG/6piO8JCLpCivlwo
8DxrAv4ekSYVoz93ZBDNte6MPAbZfe/XR2q/JbBVZaL7EmJBo6oDE210Yfwo9cGpWC9yRDFgUlyJ
oIz7+yaWH9vnBn4NFppYYbEYoSFg6UxA7AmsIHPToRXD7fdvvZRhuryM1vIgxeCe9ua1aMfLKEZ/
ADednWm8MMyjCgGY/RdCSfqXKvr/p/Horyagl4gKSbps8Z9/JZD9G+SEalrPu7W2Qqknlz5BcDnW
LjvDgJKq+pvMfASq4vdE7GzaHJRhjpZeD7Q4DYlpaTS65gAcuYqMmkgUXvAch2rCAs+NlHMjZWly
Wh3TVGCNwQLSMtxKIyB0Nugk06mkaynznI2pL7uNqjtKDZIk1A4NF+BfpBox/GFedCp3kha3w1WX
Rz3aubmfTqlF0wjmRrG3MPcw6LaV3QrorVzaam56V9ywjgUNKLxc8aYOUWeAw6rt5Ss7v3BzGZpP
D4mhTr7TcsGhMATaA3vkS1Ujvc8ww7IQw4hcq6V5UAnWmdel1C+aGcPmHmYZLCbjbzWALqhuKpLD
cFCr7wSO0XLxrTcvE/I9XwVrXvOYyko4i4aWFF4iadauhUbUCtIzjVdXvyVCd69L6d7kNXpCpuRO
u1uNdJ8IpcFjE7YVTyqayvLZkPZl9ePdLNRrLbqjNFDZkMN9zedFwPpy/R++zmM5bna7ok+EKuQw
RWgAjU5MLYoTlBiEnDOe3qtll8v2wAPyXkn8SXbAhxP2Xpt7zzN6VwqAPtq08r6O4y8wOEcBkIuw
6Rcrya6JmV9r5ymnxk3149PLOmSnFbuY2iwR8QqRdtPH8dJxf3zUwhbrb+pmUdD92Ikk1H2c/7m6
Boul++Cfb/JwI6nV5iG5EhM3tNe/ka60ArIl0lKn73zOws1Xq6CwI8QMrp5IbkS2lObG3IL+/w0p
o1L9X/Db/35PYx7DgqVh6ZDwav8f7cdoFeDwTSypidH5qZEEBk6nsUNU+lhAe3M/hupUeZr+mYc5
PKL3Zrtm85uZB/et3M9gQy/oeyG/5XH/mnSkqf9aBiRJ+031mRL5JS8n4wljCgtRDwcInA+j2mXb
6EJJ7ng34RmMjNc40qCc+Zo1e5bqxU/ZHxJwGDuBxtMC8PmBiMIpm/OwtYrQ4gO1FdcHoRpkSExH
VTiVWENIBBEEt6sicDGbX8OnBeTtCtwhCgSEisW0VTa8acwO3cak/8+w8yaaW7zSmQvyAxEsv18/
HWvZLhO/yPr3vDDfB7QmjXbSN+U0oFRKsu7EhQJWZ154y4WSkQeWNZLlVj7nrQEN0GE+yyCHvAGd
3nE+GZLF+FZ0G8AYc2O46aP7pUuQgwlRAG5anpTdbbXRLg9n9ANHM3knHewwLe1BxHjXWg8EjehV
ZC2gGvZGxXD1P6Pusf2Shv2pnPubPAsXAjXOeCks7BOIKqv6bkI7rFdCbCrLXWkMS6R/E43hvtyg
aVhaHWGgOwrgeoys5hRRQms5KHgFRJm73IqTvKKeLbHppNjyLovUXcfwo80TvwXbM4eGgnwjU0Nt
EQJpTIPDVc8oIfJj3hTX7TzLLCFWPZCSMRRLKyz3JkBRVC3oglOa0R0Zpluv6S/2Ir8mdCsLKUNd
KtwLStcf+HQIGorQaCRnUZpXtete5KF4ln9bLWENPeHmVhWQLOYP5MRTEtwGienQ948AonnCI5pU
y1mJCdmZ0yh1gBHsdW13iU3MsIVc+I+MAKVOaj/XVXS9PREbRkCEF3Tivxj7XWxbR8a8mpmcqro9
rTHN8Us7qdz2kf01r4XRvOLWDOZf+oibty3dUUS3ps6u7tAVMe97hGwnChpjphzVDsB3cmGXB2ho
g74rwgx/T3YR+vUCL8HuCuVgmTFolkP6IIStuo1uQdT1V2N4TJyrD2FKw94aQkWbQ5Umoq0QPFEl
0UeU3DIb5EI6GLHKOrNKPq5DyXCB+ZeanACUR7kuR+Nnepgmhocmm6OUR9wlwU8jrAyhhcMYTAO1
FxodRObCxKNOidgcrDCp6ghzZJW+qS1a1wM2Z+Qao31brBrjrXoa0reO1UVOuRJrn1/7U7s+YqIZ
RbaoZ+swfch1dX/7QuBP+dERklq8bfg246rhrmgc62Vky42SZvYfcU8Mf7LS8GZa5BzRp6Il3kOQ
H6+UD/kASNtBEiA4jLhjlTYSi6h1axPzwnant/H/3akk7udORlRphTM3iczAQ2d+SuLNVC1uT99W
iZcif1oL5bZ5bNQGEkWZ9ZS39jVhZzo0lT9MJpN/H3G1Wyodvg3BA61FE9V6SIKSPVgycAZwy8Yr
7D7WUDee1Iw067kkf6f0GbaFgoa+gLzcsascGAgQLc0qiP80dTDNhWugdE3sNkH3dCEJxhfkmotN
AQsw0ox5dypEoivHnHtJXtFFivm1+ZWgaZi9ovMzuY207yZGd+oVZuHBJepI8ylH95vb0iuLRExr
ua17mHp5G0BZ23/nTseirpRR0ouR8IoM3Jd+Fwy1l+mna40QDRzszC64p6qrTOFsYl8X/I5ckjjo
Z5XUvB+2SUES83a3xd4hRKTHjcvxZA3lyQrYKFABlTj14y8eLL9B1/NWRhPlSW0ZUlKWIs5fhToZ
TuMg+1jgmRVwLkua6SGthDjtEy+DUi5B9y0dl0JigLu9CLn0THLFk+n9VXrlpUqKl9IZPutBPTJC
ubRCYLGMxy0epG0RsA5kH/opFKvTz8ahQo7fL7x8WLUud8Jzq9PGoGYlFMZrv0odb/E1axDH0k0u
x5RFHCh5TYYCSWEXMyjKM1uvfgysvjJluHblQk9eZlV8fWeulYme7EcP8xyxAQcd7CRTkwenqMcP
NuEHq9Let/CDYTFCzfOYznaZr6DRjZHGqFMTAAKezzlxKJ0d/IWlFADkdvNZemuUDr5Tce6S/rlp
sRSi1CrS9UWYkPORfzU9TIZOwwUugXOcOvMNBVNu+CCKfZ1+qsOh0P0iT+hkWkPEix8pw7WLvifl
miElXoClOsnQQbHYQzTcLNGyQHnltlI7rkDm42y70cO43roMyurZ67JXclO/Sa/NfuWOJNZnUE6V
qNjrbSL3HHF6MAA00525eUpPFn6sHp0Q9jp0/JWHEYuMNIPnq1MgcwBe0K4xA+oBvxw0mLeiKwht
m9nmYeCKrfsuWPds2O69eNFw9+Dh6lj09J91/1ABoWei0DIqL4OpZxY/LPMyUeZVla65ikp1Ur2J
lNVePuWNk8+mrZqTrYOzSKlyY5Zrj5gPNY5ys38qku4GCfva7cp5rB2sAmiNe7AbUBIUkBrulr9L
3/GyO3mB89tC/HFskcMIUBvaDzKR0uGKNu73qp+KxgjL+Ht7NCPth1W/xVwm8nIiP9LghGtUf5HU
QL5MKWrrkU49d+L2hRuvlrE64yuKxl0sNzXwhn6aXod2XGfvkBb+yqglXj8F7MOYfaVwxrC0m3+N
8g/4z0Ag72vH1e8s06Fm0yE/jxw2DUtMAfdBbX9TiHbFO1TdsDJea8RdpgVtBs6QK8+06gpsQ3wS
R06MTPUVexPhin6ls4jCMOwsVxMP1fgzbWNAfu4+QRhHeDC/1H1HTOFs76vhMy1lQsXKndQR9ufb
yhBsb48VZVCTPpvqIaWgw7fLCSESnahdy+F9XjgDIJ3nrUmOZn7JX6uhYUw+/jZyhhP9k7KtiMFy
m2ltlb/0Wv4s1TkiPFZG8ElVp8uArC9tlFVmVHnNtrkxie1USy43etURMjXSTlWQyMHK65I64vg9
r4XfqaZfFxOOjMTZ+8YdduSNVHSFk8eHfK9uNelBUu4owWMIcNjNj3SyG2KwWrcXXoePDetS6iJz
FnAhuBkoaLD/24XjrNnBeaKgs7D9xn7PPKBkHtAw/4GaA44xfRu5iaYngyW4HpM986mLaCE3tpxa
e0swCZlonkUcJdKcXCzi6drxmDb4a0UBsAImf4w4nnTH08YtzZ2B2G/dNdYzsCksJF9lwzwhSoQv
s0YZ2p4q87rylHaWn8G/hkGHLEU5qcS+UbMVJGxNMDHQOg9k/SwFrQcxOF0djDBfi/nejdYxpnIq
XJUhVtlFyYNoBwMI3WuvLyTByLY2KJAVTF81SigyLUb1MSgw4M7dW174f+Ws9KwO6SALhpTtKMlw
aKUF9WU35UvmgkpN9fI6MHJOiztBTq8GAXmz9lwpjSMqpUNKmbDYSfa7nlxerbb40rv9MMdCgFgl
wQQhnvZ6PyXX5LozS+0QRjVzHBhkRrWSGIzjECwEEFR4JQlGyv2ZXhbsIzonXL5J5zW8yt9C0V6T
X4yWpXgJh/zJRPkooADbq84n4YXU0pj9EU4iXpvc4eTJTB0vAyYKjUzZWbA3xFvEbinfGfXTBMLv
4R2meUsVRkXq4jbk5z3Ep1Gj4IhHAaCfy8HDfkddYwX8B2ZphPhwwRccU0mP0NNrFWSe7l2sLzoZ
15Lbf1EwKPVB12g0xcM3aqqNrlHpMT/+bgEMGkjM0u1dgDkK6M8Wn2sJJMceMVBnrEOuA5EflMad
ci1Y4DqWfor7KJ5jr8c9C1rPzqo92OsiyD4NtzDIfEk4/Vwze5WqZ51kPR3PTcxEgYiV7kPlW+Vm
7UwI01J+sia9yHXl7hyKd+pOV8hcc7ATPfNSZG+cUanhKebfUj8tPJXMdKM+M9gGvEq7ZuelQ5my
AcLi6SnmnWk/o5GQMaFIYi/MIYcmpH3nto3XKbPmi/jI12y+LNHVdeYTarRV3yYTOu5r/lTThMxb
wFSAaVigS69oPanyJ59m37huR8MIFfU5H7y5Pb9PjoKDU5e0Q1rRC7D0Ww80vzVRGwct6RF+RWlp
Bq4ydPailxwLT4Ta3KY2fSaQ3mydfUSKNuI4QchCvBerP1vj7k7i4GPY02EY1vko1M0X+QDZ78vI
fykv0BGlxYaJUQMPXCFDPqDzO6ZIdQiqIdRaC2f4qvR/OL0sT4a8ImFChpOpr265HdTpTx6SOxUR
g4xyID2lzJVgNWWEyXLYjNtB5GkcIsC70cybz5nY7SrvyAV9tE0+qcHQ03kXM1qeZDKpB8kXWWfR
2Fb4W/oeBZ1vLNEoqWcgbOQNCg1qTbDqgvy3TUVk4RbUrTyYsjLQVWaiWh1ok/ORPBe6bdnqZm8A
2g1Wiaro7hLxU9bu0SbZCA22cXoiCuwlS63XRS3vbeGiLEhOLzhn5Ah9/2HArXCUq6e6ypwEkzQ9
o0TPWM2XREewK29hr9rKm6yal67Xb4StRLr1IRizM674aTnb+zIJc0/hhwFtqCVGy5/TkoZ6PITI
9KtY4tBOj6mnVOs1c1GPNQi4yCXYsbilR0NHaK+XgVbUwYq4iPtd5oopSTjnVaRnUP7o4njs0/YY
z/VRsQDBERWowo5QZzpAqwoZYtKtzopxcxeDgruBm+QMkpNnm1/gPa3Ym23mQ4vP+S8dhGl9Reml
4y9zImvWzsN6Ekv0xdoapFbsq8yjReMgPs9156tocnQ0OVYvIy4HUrn7MW8n2ccJbbREf2DZhkrF
FW+ya5NW5NUGI++H0qqhHv7bMzhPGYusa+/F3WeP2onTSz+Dxo/kJD+VY37eYF3DwrNzjjipey/g
4ayM5tiT3Oavb1ECgfs4PoANIGeV+9YVIkhXSEsAWu9gkF3ZsAcaO1BfCg/HlTrrNBtxtM7x0Tp1
/6X6n2HoMKuRnwUaeRwm1nowTj31Cbxyr6BG6TCT80UDMr8alXvcJl7FMIdAVymnEJ3+CFr3xOv+
DGfhSjfPf48kemT+GoEE8x51a8zQIaMPGQZHrlZ3AUfS8+DxRXMMT8LmEafsdeBfLBkvt9Y6ovau
ozYX2swvCKAvw0eabUdAjIZG05jPWiWdh3u3l69gXlLM0juDVF60KjgsaIq6qXpO68kD6OIN2nhL
61MKzWNy+O3jQH7uaA1zowomlFidtdhGfyyQLu6LxGUau0xckTBiEy4OandgkKNsx4Lkmb7vzuya
CRSOsmy69kV903jIhhDt2f4kL66O1wqrKeuNLQDsF3CVBBpawPoB2xsbZ2dGurFhpcFVHkSYxX58
bKQq5PJ6wNp5SOlyLTaexgMzwAjsOofjzdAKUgU/FKmIWuWGPHTPyogNAW28FboV0B8jESKo3hFa
WvBFMx0WPLjZgwiNYg3vbaYHZA0q7l2Ny8umjSdCCwIy+fy1e2fCwCx6Ym2fJvNhcRS7GRt/UxQC
g+FWPSRxFTEo43Y2FNqwBUPDcBILbOU18jpocadFlfydERAleVyaHqC/PU3cXoX84iXSfmFIbQvb
zhzQchkVotlBjsIUth9RJTGikEBY2xixBJ4dSt+5Fo8oO9nrS9gssHzfZhaH3M81JrYZjJuJpF+8
RMboyB9jPh2Vl5WeMW9Snj5QIMp+wDjrT0Yf7ml57PFqNY5CDrWs2VB6uFsUd2jnQHOkUPp+NBlC
AnMF47CmIGh+Q6fzK62ec7gSoxFsVqQN8bEVmW6mw1n031taZQV4tjmei8mM2gFZCgc7sHTOKjhK
PBR9ZPJlu9tzvrRB/NOQHtAXg99/SdIpSUju0lmToXxNm/ZlfV9wcZe3IS6I9I3tYsDhveovK343
EH+YkluEdT2FZBuN1hhZFL7IScDwRvKUBaurpukTfpqbNsK06JbrqmkX/D/YRR2zNkheU6P1ddwj
9c9IdJrplK8KQXkVZubkSMcg72uo1sqpo0H8LmUt1PIljHVWVrIeRa50nRie2fc60Q5WsO1zkJds
RwqCteQx2obqBAjDLvaHx0E9zwqIsPvaZG/ioj/PvSvXxttmCG+ENlU6xtjGbsM2JFPbMruLlYpX
/NTLQr1QW2jOVL/dV0YoAfmOKL5ixkB180ia5l6alIde0L01mzyAe8yA2pabzv5qwmRaRYSogxCV
mXkqOvmsqOOllpnzrwUb0dfygBDxhS5MifK8O4jmfBgE+SBV+UH53MSEErPwxbX0Odj8gxQsPxIS
qLKenqwlfhL15hmxt7C8pPHywprrUm9ArYwIsrX+G+IiT35kbFWUW9qxH7ujbsihjgCqib9nxkw0
5D76fEsnNALwxGs6M9SsbJ6ipg9bdBqSIAWxrPl6GLcmygA8S7nA7H066Ard++yOHPAEObkpw3QG
C7b8G5HtiEDG3RZH1/InsPTPLEHLUb8Wzp7Y1U6URgiMeme3+pRI7C3Te9OyYE/vbYTPye4DRfwj
PcPjMBOPUDhMIuuhxDmhyMmhNRRPFh4Vm61+b5Bjeeo2YQllAhXxDyZI7+aRMrs+FMymtOo2qLvf
kLJAqAlZCLU9o91+ANo26V5uNoHwXXckXiWm2BZylhZVtBK6BWfQqngynVEvAsnAQz75JuZm5bmT
XDR3kcUBy/JYomNlnKCm0llWvhMzFE3us4A41vIZTfRUc9Xl8w1aAFMgAJbcojuUtjbVubOQwZsg
MMdDFa4LMa9PnVs2sDt89SVONBYeRbCODHJ6MFkLwc9npkMQtXu/yegKPYkZEXTWVbnWf+eNNct9
+h3PaK1GzTPehO28L4iduebYLBwzkGV0rHg+zvIrUg5X+Kmz/dwr61V9YSeJmvQYU9iuZYI5vDmU
JYJrxlvMpKTm22RR2RYtbTLxyhimzMeqmOyHAw2yoygaciDu72vuScV2Tb6T77zQbtCPbyU7IYQg
F2//U68VinfWWQ1YRqzWGw5HMsv2NSBUwBcTk5pKDY+iO5Lk86e6rcJlxaCbOAtxSd0mI3liHzfJ
zpa9bfLuVvEO+NcMRu9XU0OcyIZXUi9ec86fCh+X+i4idSAncF+UA/roU6qakeBPJxIzgD6uQc/I
UWeL3aF3B7nZ66M/EomxSgrSnocVZpUVbwGsUGA6VzKKgeScmGkEOmBVr9BmwiXhmeibkAaLdymx
DeIm+nsPOuts0d7OSBXUMHWbVPPGfqYSm56RzN2at10x7/ENxQ9vqtxe5PIUh1b5PoPJye94kuYm
fmrahNzM6pwaH5W4ITF0po+Yscr2Nn2IXfJU6doz8pWfXKYgNZdjeZjG7aiKfcSuqHrK2VIYSHk7
e9VgcKJgQ0iCh6c4iWKBbkq+SDFTrfMeGHiRIcDTWlKzUrem17FXTyC9T8VqcGjY0Og5wfqI5Nwj
MN+jykhwrez5Ual8Egs6cuDDYo3SeYCsxGLGbrv0aMbMWhNf5rBZxTH42RagqbX9g43clMNlLEMu
7FAa/xLzRMpUZ/0VyL7TH0f5UB+sP/kvjUFH5ujuIHzVkTzKlzqBC6AiTNe2MpLG5aTHRGuwZmzA
lDJX6Qmc9dH63zQoVJ0/dewcGJQY3vJbbB8n6XQQQ/m7ZGegWTKdO/dsxJ7bdTPF86mybBIck8Zm
SDRH3VfTicccielbio2RPvC45EVErDPqO8xph7W3bw3XDXpHr+SiGbhorNK1JWu4bV8rO8QVoBRX
6na1KgZinemSrUKXnDEOFmFdIwvJc80hYAz93ohx4WcW8YE5ubCe6984F2kNWQKCjcLTkV/mcaYn
10MVrFCN2id+SmruIh7O3oYZU+NxsN4oPpijrD3jEPYvRBwUNGr74JNKehY+R27zBnRkczxK9msm
ZOGob6FmPVVHPeUVLDpXXzDay1L4uDtNmXXsPgX4fVWEzZ7H3nPeXZqCvyblFUNgN3fH3XiQc1B8
A0jNMQN1v3RYGLWZ4UYECaWNT+mkXh8dfK47YDjwHoi7I6IZ1YVATWzltxH/zCqlQutZ39LixLHu
spZfJuah8uKXfYlWxBnm7xZBIyK6jnHMSoK0yeYonETL36qChDlX39A9YAd8srIbW7shMG49AuAV
LLch4epw0reWFKNqiT2NNigQus4nB8UmHNWLnfQ8qJmjhaWf1oj8tXOGS3ACbWxRxTrTgOrIQH++
Z9/pB6goeTLfZACjzNYlJvIl0Fie8TfmqgxP8ovZoAtTTwJXvilxenfZqaQG5h7ZJelbWXcvMDKV
XALioLm9pNk7xujsEyctP+YwJIUfx++MRgoZGZsALk1B6wvTzRbZTIAodanm4uJvXHrqmSii1Dw0
FmRqNoWtZ8zN81g9j0r/1KX9lYF9gsZ2Z8CZ6kvUabZG5w474JTtYZ4ZTwD8nuMzBTsQvgRxkIVu
WnjVi0dxRJTMFOB0CiQ+KloGAPtm9VidF7bEbCKnezCNOhj+tLhj0wVxmMr2RgR8M4JZSMaDCqlM
H78WqMLSSQUJm7LsthZEyVLGc9S6InNZUp7cmh107S448EJTkE/yuD5XavFaL/vb9GMJGD8phgri
DbJjv68extfup9zgnDHtw97QAIK1k2NW2EnidG/KbEXdxs2xdBtmM4R1SMNd+TUriLY1OEGFUybS
hfaN9N4Kna7wnMI8AIIZicJfbaBTAH+mANDO7AES1/627Pp9wO2H045DW4Jr9KJFE62xtp6qpwlX
2XjGZfPZi8nD9BC010Pt1pLp1STH1i3I1poxm7Ix4WTd0wr+ysJbmPcgFdzcbEG2aufd3vExtaCy
M+BaeEStxzub1QY8LREXG9nv+klAhuesxvxfoeMDRIW5LJyHi8dcd9NJLPNd+xetrHOWyXqMDiKU
JJU5CTy/heTiYiScRIR0bOAIxpmIg0X5EsW7Hh/U/igzzdGIqNFqIpupxjYiaYr0axXfCPHjX37E
/LNF9Z+9KttnY94RnBJk/Ds1ubv/i6yBmJoeFMMeRZtt+Ni6esUgxDAAnvbG+mAKM/pby5AKogEN
Hw9evyokd0bIo8NJtlOYHQvJWbm0OT0UVk7qsX5ol4adTMkcK5GlGQx7s/m6T93RpCkUmKLr2XEQ
aLjypwJpYJU2Ud2PR5Pd4ygBSiAJhAPST+fNChYxvcdGzak+tcUNo3lxE9KJnaTQuErDQFRcXtbd
ehG5gczoQ2er5DjADrzIkbC2J76JL+InAfxxKqTtZhAa4EIboNlWjN+SuvKz1DJ5iLUzIRCTNVBq
LCmqdV5y9MObdsAP5iayjImNZjCDVgFoey/KQyYrlTezNTMSybbqL2ziEqbEmKt2WztHRy6akzrp
45sRtrAW/WkKY8Ddu7zkE2VJwvSPJRGu6MWRcOZX5ub2+LG3VW1fZo2FT5v1xI4x+j1I2zk1Lzlg
ITUfMMLG7SNnRTx2U7jF5A9ksAL24VJnr12DBC0h8f0sS4SRkqd+2Nifclq1USoibGhBPMi8O6SG
XBn0/dn6rmmNcYwlKoh//08wmCGNlmsQsl4Z4LmKiUqL5M24vTWNfqkNLCEykmc1Po+wNhMgIWXM
VKUrr9OI808U0uH475Nh4PFFRyKIx3Ufjt0+9udayntML+fcvNTWbcirJRgYDxyz2FK8TK958geg
cp03LkMWLZYRmuVvy/xVd2OM+bbXgf+Ytoihjms0Ho9V2deuRHyphKxX3AVnGPPDfgFMxKbKeI6T
nb6XX61SM+aCJLBhgpMwIO+NI5ncs9daOTRMO+iMxRGPy4x1Eai6Ol8B1XyV1TdJaJ/q9DqhSil7
8RtW2Y/IJMho72m1fqAuS3BFvGiShPzCH9P4XQDkt/T9HV4CJMQH4tnEin3KJBYR7C4EFoZd/JNS
dj4YK2o9HsQbbg54La7hFE71sLpAi7XJ0xtiQj3d3nihOPCQu07cC4xOeDOM+isVu3e6HmXfGTzq
1p8iHv6mm13k5k+qiKNbz3DZE3ljKTQKTgwZpxiNP2IuPCVphl+bVcYCYDPX9hfwqdEKaGIrZNS4
yldCjLQzJeJsD1N1Z3Qt0ZzryUP/xywBGwZBVQ5rEQt3f8d4DRrCa9XmHN0yhWBh5KworO1VgsZm
d1l81XthdpJ9gSRGVMA8Us3UBo2CMvCq1YQ0ZHMZbdxhRsgz4T4l+JwtM7GXdDmkWZ1HQsqnKYMm
JuXMUJWFzmmb/se/SevMMdaC9hny8nlbgJwIeFQrrA07HrleRfP8R270yisnBkObpVInadjPHn+a
ELbi+7cX1FQx0ALQNjGS3lR72dYx2CRKH11LCq8ZbvG02d1adrhUhTyQ8C5mlpASbSGxwRmbYyfz
vmLd3Tv//piJ8bnWOEX2kSG6qZnHQerNQ0IT3whSc5Qn5ZyvuYtEY2SNFTcw6lTWOv8+GWhg7JTN
WTbSaM3tMdeTHCcPb99/3/zfJy1bAZGoM0HBJDAeiQ6N8RqWzeCwK6upUDsYmo9PheV2MQi/f1/2
75M1z067ZiL4R7M+/vurPYFdNiPhKh9/tdUKGGvtwQ5fLHwQjx8wP+455ZSF/77pv78SLYOzSZUo
l/mCf5+GvXckPKZB0tA1jdaEcE0jLHLfpyJMOQWbIauP5eP3iuFmkzZFP0rYzNHM4oq4dmbx1LtI
QMzmP/9e+e9/NAnR9GsdseHjq3Tg9q7+oIhI6aUTjTX89x0GnVJ0JcLU4LEV9hh/jah9w//8U5sZ
uadJE4KDx08zdgGsxsZ7TjKU+lilC8eDNqTuv19ozdmNFv1drFaW3UOg9+L+YXXMeHdwdfotzm9b
o/gZH/v8d1AN8KT2MHxIuvKmyNObmH7X+ZUnoUsyO74RIX2HUR4v9x8tu86yxSKTIcL2vrOQNyDQ
9cDvRlMHawlC8airiWWPDdAWlYtcVc5VDOZMyALeoE75iP/QnEIlpB2LJXpVODbnfOKFIyv0jXfL
oVmerNbb8I/KI2Srx2Ip4DdaOKDVOcy3Uytl5137ADjE+zgQ6aooClkD3XcmEPv7+Gkt3ym/vv62
rqTZs+7spJeBUi0XHPAGC9tY0wW3CdJgGXgLL+IXBRs3WbSjAANeySY9tXWHKJeYr2q4UcYknR5U
iwLj5JIkfweManW7H/Q0tw1M9xv/u8M46bcvPcv49t/F2F7L3oqq/PZvPKbJx2xkI8MTJiXEg+hP
jVlfYMnTtP1t6GFlUfMHLfNHmdMj79iQdoEGDA2d77heG2O97FxRWyE85cZA8uxw1ijbYp1lVeYL
rWNul3nN/awusMwNgNzEyLTbMWP8ALWMYanBh1mkQVurzM2+l1Zjbqsdsu/lJGfL26yXr2Dtn4dO
uGmNjx9g3PTNBrnyBO2dnEpmdvH4IlhI0IWW9xrpQPg10h6EVPwgWE0gslZbHZ0mO2llZqfCqYFn
1dI3lP1nyta4x/M2vRtvS/whk/eGOrvgKEfRx4qFa8nheEMtBEJ5opJnEEasWmo3xexM2ufeVqe4
ZuIuESVTxqe4C4cBSc6Ep7cFGrMHFmbIhmrU7EK9HNxNm04ovbwcj0WlOIQ7xBojDB5Xic8hTh6W
/ev4t0Xt1SqOoGoEPzyXmwYUU3wkKNkzuH7MetgIXYAew6mHdfXRYyTbacZLoToMouQorIKak4Vi
r33aC8nn18rIr7b6BJUKfQEkp4EHyHfvLJhAmy1aXBHYCZTJkYfNqxkl0t940H1tA/mbnH9qLLkr
cvoG8IeD39JaZcM1jxN3mLAH9udKSq74Rkvrl6K7KggDWk6m0jtJAyz+Ub91wAPeNjbGgjyzHPzF
umIqOa3VQ46erLUsb4WhycZgw6/USaCO21dppfDYrrJ0Z7l1qStflingnqhgrLcSukKRCKH8yGGP
9mI8DXALTivr7UWsw76990158SaZvdpbqlcODGh7UhiC1b+H9Rfm6Nj6I+en7X3oQ6MiukYizMHZ
xfwYJ6jyqyDTetQbc2DB6oOMPbkKtz9ILVXeOpV4Uwman023O0nILQVkCJE4pmiJTVsfFlvLoRXJ
f7HKfra8OvWGy4d3Foer2ZhOcZp41uEwIf6f695VuK9CqAY5ojhxTTadFGEQZoZ8tFQwqRnz9SsT
Nlsj7EeBX1CAjqtQhQ+5bSs0Ktl+mhIp4lx09O8eokPN1lWMuYxZmRBOTzk4TsNL33rLoHKLE6/T
mn7h9GToyQvFGmbKGaYAJsJbpBAGLgqcUEVNG/ahhkOJHKp4quf6Opj4/5i67IwTEgZr2VVQoAcz
HURczPA0WV7nOoxDEAU66U4ce5BXhO6XhVllySOoeRRk5ZZ6poCEBW4VR9jeHNpU9o0MiZK0kDuV
YUHb3Fb6tCa9+Q+mzms5dSxa10+kKuVwq0A0yRhjfEMtbKycs57+fKL32bWraRZgQEKamnOEP6yD
9n5iQlzpvXQZreDQC++Tvokl6ZNMN65N+uHyydSOdYraJaiaoXYMDTUEY+Gnd9Jm7Knz8RYEb7iy
eGMx2yMsC+FDThDGLNeC3n3kGXgNkDyqgg5SyNoHs+v+MRSc/qo7yEAMBw0uvR6uUeSP0pMMuzBV
ho/pKsygDH64tTL9fAd98ZjVgmMqgieo5ZsA89i27gkqvD69ScQb8MACIpQwwJJzmBYolXjlLkhP
uU/2H2wFQdynfY+GbDj6R7FGgAGhVAPd1pFS1SbOqkXhv5XJz5hqnhgyLMKBaFk7WzJugqDgBQLn
u7SMYy8YPrGX3nRl9zCp3pLkDypgj2gLEHgjJV9rBVQDmd9G8PFmQn+xoqg1y0N18/PlQOpngUsW
kwNCNOtSEjx//jcY1kX7Z1nwLttdcG/eRODaORFG+EE3IQBxHOM1SiNcJDi1wPkSEl9H2pA+xJqC
bAl/jGyh0tMaNGlVpqzRwAuYaUMJcDeiq/l9XEpghUcq0X4z2kOzfugaZmXSd1tTByJfSoChFh2V
oXIfDC3kAn7c9Nmlb+XQUSxSt0UPIsJ3ItrNo4bTlrGiyb4yC2tN21ZyYdA7fke0QMnFl7w2WWpv
UXqYZEekcl0ou5hAiRlxNLfE8Cvlvky0N9N0dYWqWYmDNPoA1bNpOweaPr4YBECwDxSEtYGvmyh+
IQFLZWkTFDefqvyAIJEpfcAJmSieduY/lTmxta7WEK0ENaJFudCAcNOrMU0mz4uou5NGCyq9Ib/U
zAiqbhuPwU4p1y0affBWvE79GeXcrn7uxllVIbw/w4pJc3TGWZ6q1x1Znj2gzlm5vnfg4xSgYHRD
xAoNHsOTwR1aT2hTwLQspx5zFt6TssaH1S3r/d2E+ysfxgIlg3FVKD9SiRUzZ6h1RBAN6YyaIK3P
5y3VmTcEoodAIM5uoHlREEQABTkFXNjk9p8vWPxtSevmqKPtLFVrxeDgkKfJAFlGW8Cp706GWCP2
vsV+AYkT1cddg2IpigQ4JEJmYRrFbARyzfDF6u3/k3yvimpHHFBNYV6VAmE1Mx5L5a0fiNnok5Cv
Ya2D7nW2jfDzwhwDdh0mTtcA4ZX2LxrOqMB1NQRv8WLJn3L9Jo0Ru6TCDHeHH4OPN9lN5+V+m+OO
Nh4HWefg2gYM2+xQNdpqYh0dFtIEpJPZNTCoClo7tahA/L53lLpZZzNC2hpPH9ww4mlcJvJbYy51
5rxWug3Kr6Y0nsn62+OJ2+a/o3Sr5M97+0+i1BFb++mnBnmn0vGN8wVtTtkAqpyjT9U6EbT80HRy
6YZ7sZ/vocnmFUVsErgIaDpcKr335vMv5z+D9ijrowg8oa8gLF16kQ3CuH0fsDQ01EcivckQdpVq
2IHOpExJmCI7SL7dyf+HG3bc7kgWGz4STnF3Cx/o/C6g3dgRHdFI2Xfp6ObaxtSxBDxWIVNw7Jgy
vcugZ/UhsKP9jGgIXmoUxghOcwV7AlYOEZi1GRKNK/sUfJTfoCwZUvZ71w3DyXvVMQHr0XipUPMg
LkBkKx8AvN6fRZbapUVLQZoocsQe3DzPSGHuSfV7Q9QqIHCSRUt8uGyLRSs2FwNWsL6P9MY9sC1g
Rb1WuVokQ67V7MZPtnWNjsC2L+DLBySUnoQBIAhkZHvtOsN2KxscgkQgvRL1VSQwY/jmDWCPqf+A
0EsNzvcCeRHr31GDfEUacaE9M1Vx5vcHoDHlybOsqYWWASYcCZdhSBcF6qBUJ0P+T7j4atrUiH03
jDhI/n25ufNNJv+PMN5VibbYWwoRPQnAyXdeQ+kigQshm/jHcpHEBIPFpfCtlQDxg25kCIqjWZhI
/laji2VopAQrWUFRCOABCNCmOfShAoHjrPstsRGCfjXVR38lIhKiUgY0o5McAnnHc8OiW/4RGf27
Ka+kiQA0QBO08GIKrwJeu+GyA4kAKkOlOUhLIShxDMsvRsH0TayoGh8IxPuw2yJ0TeGLOYDCI1gH
d5XcvnAE+SdOvkjdF7WUANCq12F4yOFcZECyk+Ym9g2dAIn2uys26aZneA7dbLB3TBFFTBJtMQ5v
5gBWo8akzSS1xscjaNcicHJBhCpWYWFA0bFYynW0QUR4hGKRmYc6NhEXcUyIqj++RIOG5Q6bOrX/
0dHMVnciwtIGQgyqtVUMtHPlPYU4ha4106LaVksz3YfwUYo+WonDwYKzoY7ZKmhpmqyIKJh0C6bg
DDutKv9oaUZPwaWVLpqE3NKwoWYBj7Na59ANRspX7DRyJJ6xRnCvAnEas/6KyiwG7sTt3z32t3Cm
ddr/CCvREErV4oQ7DWGXK/g/bfMs0ZXluALJD0tMRGVnAop+RyK5cSaVOnvazyhc0BPeRGA9Lzjz
GjBC+Jvkpw4KFN/sZQWP3acTDh1L1ocD3CRoiL6jAhwx1oJ5GKtHJX1WgETt3ASRD8QRDBqbiPEO
0eeWxmSrGbY3+yB6wFEGrBMX1yoAPwb41eLYFdTTC0G2ByBFrQUOTXL8YCESgEqhI5KZlzACbkD9
u5hqrQhuST6YfPFY73V04UCUCV+xKHkpXahuxjItRmrFeoFydpGvJPVowBZomXfksF22RMyMgGDo
FnF99xpj2c10SMmNWnUh627RO3557iLKzGYJlhJGanfqI0fHzIur+xg/BPVoWu6szRtYyMpMhErJ
0airfSs6QtctZKAEprE3sF1Mf4ELx80Bw4/9gEVCRb5ICgYhOAk/A2YL+TzJ5wLMolLYsB2kQkNc
AjV89Dfx0vME64lZBhDF9GGlNE9Q/wAkluf4AW+rFL1iigByQq0Va1ZTutxBKJLQYUCApLaIGy/d
MFkq9lHk9sjsV8FnytU0lqmrYNcTltcE9JmMcDpElwoFAXLp+MtUoVEGB7og8weC5tYJy5BEAlie
OZFktuuQZB+gQ1CLS1Qg7iqqBbBKEl+DYuqWc1vYzLcFzg1tFiC/SG2SK3oWHhQSxclHYp19Yw4e
EO5PJqvqTvMGjDYSVsrgfpaeVCHF80aoU3qABEsHgkQLTIYYpUF+CiIVYkcN+igNMlNvPaFR/z0W
jnJuaWwBcRg8K9/B4NSRuMkckNSC+ScyCSHgp0FTCRHaEZqdwkoVVlsoINaHFrBIAzGg2A+a9ERB
tBZRfUWYB+8C8WHdDP8ZqGeVLk1E+i503rmhDZGPnyLC4QoWHfFARotew8psdOryH0py9FHzIyPL
QmU/jB9iqK1AKE+JTofF7evyaEpOVqdn1FFS4EzgsEtRWhdPDMxXEf9nAJ4iqqxpSQ9LWpeInbQB
mn9dChvAj0h3hYomXZurTghWUYwzAGh0Qn0Fy5wMpEGloj7V10m5MaLoG11FciymqRbEQj/fvR69
7sxOQM8pBQFFNrqlgoRMsdiT52UCoM0ZnzeA3SonFDalwUfaxBewGfH10Xk9ff2hY4DkDbXMIfWr
rdDHCdFj6ufrEppfIHL+o0yIN7IyiZcQHgU9gfKjniTdG9tGugipMAD6S+U1hkPSRebsOIZU+TRD
iC5TrSz2TRqlJLiIW2yodtOE2MpUXo9gjEtsoei44Qcm7wPdrGnWGraUiGiLWmGxkYeq2IjzXcfq
g7k7s9Oo6DHwLT1HORir95fLe2DFEdaUsyG8VBWd3aU6SsoVfjap/1v6hjOibB1l/UFJpxtw82Iz
+mJzzGtdd0YuOlwfKdE0IV2zJBbAgdYJygCKcKRdb1JCgTeqTVV3fN1JgngGdROgh/f/X9J7RlKd
8+uT7CHm+ofuN/2xStT+aOItz+xCBXZ+SZY7hIUKgu2wxHsoBhRl+62fYcIR05KpuEbGVxEYUiyx
lK6xf/qo00Wk4i2I+lOX2sxr56IwAFE+/HooVmmyMZzXY5Bo2eb16K5/+tGIYJwUixNXyFx4ZrLh
a2UkGDJ4sK/XgOcmeMbQSDU0jCUoUeKdLeY8LA0VvzvZX2nSaCxFpkcrHVLk++C2v/ZSlrJ9N+ry
Qpz3OVLwIRjl6vj629gN0qoG5ZJfXx8ooUiDx2Amv5shkbWOjSjHdf36Y1bq/NygAcIjCdNCmGvO
iQAsLx6U4+vLX3fNXBF/PfJFoOtNBSfhtUtJBHW9IZGaorvTZjIS9fOevu78iZaVGkSr15Zed//t
AV44si3J/qXp74//9uD11+l17CcZeWcjUbL/81Wv74sr87etgGvf44Kdfu1rYfpXRZ4Mr0vFmsjw
fzeeJ/LVsiibqwAS1XNkLbh1YIR0lBvfKm1ZqbhTrnKslvpVSfOLDAHMJzmySRFoye1eH+7pP3R+
RGEptus6c0bELDHHC2d2cBFtdOFUjWsjWf6APU7LdZUi2bADdKT6n3ro5ndCGCztgB0ui2yFAITc
gpckdca7FNYdmFCbZEYe4OR5yFmR9ub+CkErahq4SdF0oP9doAAFdT/Hj8DVI9f/xp9smqEIhuTE
PvxIhqoDVN2gz0KfvXH0zwAOH3pPI7M47U+HVGsMoUQ5sQjizTHgrU82zhPdUUdWeLa6ZjFbpNBY
yXBLm0pHI6EX4sm4eDU2hQmJ3kzv0JRDCAQcy/gbaw5mZIK/ONLhg0iZU5j+jK7Zllou+RQZAzdE
wCBlGZCQmLmR3Whs6TFf0Vf/u77cj0hp45CIaqmv2hntoN5JkRgf3UCkGksSQJ5qU95Q3pvUFv6B
Ka+BhCrkOnZwHRGdtxzKyhFoyBrlcEwonJY3c1ZIcOiBkVUAuf0pYYz+UDPvFZgnODNShFwDuB7g
PaZO7y/bZCEDT9W/ShphQHsA9Mw0IYRjF+ZIG/m3rzeTCh1pY1XvuvKeCgu8XCJqW9PaEk+VRKKG
gM2hqzijVDWXEdoA/TW3DsiFVyMNR3bbwR4+Bg/JZE72Krr8lpyoc9aSnrGvBYVmhJ9EmmOrclhY
4aoO4FiuMJfHqNNkAFeOQaLwYUx2LC3mkxFR9Ib+uvGj/SRd6NhB1ugIbnFk508R/nAwDN0yf4uY
x+cRtbp3a0HyEutD9VeZsNUw+zA8HhTqweirQw3UIwGkRVNdQlaENMozZoQURMFIgGSCKC0z/Fbt
+QUW2FICi+yAFcskkIzABl6F+b4Fg2QdFGOtYWEO2C8IXISN6MepINJHG3rzPT4LUDMpm8yFDzvo
7EC20z+4hiHUH/gCyObSIHK0A0rEEJlNqtdoMCC6yFdxBv96oKK5bX4TOpG5txzN7/KPLYwpxIql
INnhv8my2UYbODzDYZCEvgTcabi8BTkQmbgpgETmIlJGO1qmp8PgwwV1LixAnpVsqFLwK6nn+ClC
N8ARPWRH7nPXxWF3YAqGUKpG6DW2Wjg5X3rHToOS58qH2MTGMFcYIaS4w32TF596iivAVodguk8S
Jp95Sxw8Ki7leBAwTKQ6To4zM1JgHSzFasEesrdRQmAEgXjJNwGLpopDCCZgVECkD3gjA8Pt/neb
MFUBldnQYKBw5AE/p0kbpOCpln69MONNqyE5vURtI9TtWVjdMepZ/CRDXcNf1vKGP7YmbQ8vCLyK
vkm09uUT9aEEzINwVOS3UKer/dZpP7F8m4L3IlnwJZyOKuBI0Uvx2M6MgZ9WJrs/reUMoCvqTiBe
nTlNijmUno5Oh0WA4EkmurZvOG1b5g6xs27YY/ce/lEFgyr+GhMSMB7QpDQT8r1231XTftS3lYCM
A1nypgtcM3AwLjHQkgBHjqA2mROOp1y3xqoa9zuxfscOcBr3WvERKW80kLVmY3BAgx0N0hqdomA5
tm8UDTAjwi+TF0mgJZxQMaeEfxZi24To6poEVNMoCs0IQyE8KiDEgwVIvyJajrlLw5NFFasfMyLr
sjMdcLGNv1dPlA3wEJwf6D3XiFz17oi5O3Jv2AN0bhCp4VJCnlB1Gw3NXQfeB5kmjkg+Kvt/IO8g
bvxoP/qfRElF82DnTeliJPvslk0Hvc1hJ+mKqDGcw2VPxp4tM80LaJ5xgv+1e/GJ8gI94yogm2RB
YBG1DQTiUhsoQwONfHKp9mFZwCozNPuo/x3iE5YVzWuhUaKPutsJ8anvT2gZgUFjOexqh9ixgdlg
l98TSmXvRUHvyaYNGCQE0bOrOpuzWIKe/MszraCDCfLLtl7LDku5+lRLG+9SNEFngMtRpUwIRIaK
jE3t8PX5GmRy79HPwlpnfBqP+BugMd+HxsmT1Q7sXb3rnwn4M7DL6UnBmagGzsAieKV8kvskTTSn
QZbZ6bfx6MFDZvPmuNdV8hKno/jPHqPvBdqCDlqOaXrnhKJDQS5S8KGyzYnsAgVnBE5BJi507Eub
FZgwRkqrL2aDhWZBxg1DcvhF7SOinQmCE/YDfZknlhfA1OIZKrz2x6XZocrj6dU37EMToK+0vQ/L
Sdsh40rTW6CyOLkx4rqIpT3Ei/wUcb7jlEFWvlW/E16ZFSVtp8bLhfwJdhHb/BgvHcrOMmAVmHig
NZF7hN2HrsWSQoWvH7Vkp0dblOuAn3eTOxQblbl/2MjCyohPnXxp+9Pob0yKNtFB7Tx/3GRoi/ur
msgCYryJu4pHHIdDA2wflGsqiAG1PVhbMYOaj6aQmwp2hI0FCwVsKhUtOa/AMQWvSdHWCRJ0hj2r
Ouq9Tvy833APuZNUM35IVEREWex8F8fLKVyUbFp8L5SLlJzS4aRU1wSYV+fNUVm/EtW9hNQoQ0aM
tsr8q0ALe1hS4XymQOCSt9ECRSdEm7nNoE1iIDTlmy2OVoSyVrYegN1TkGFDLYblS8TOcAD0AZzG
LpiuoHAHILvbDserfEVUyMkgOOFkAAetQGnh4ceTvofWtshUiG4L3d8E6opdoBumPOoL55xbI8Cw
XTKyxsv8X3WuznMXgJiGsZc7WF2WsWeSgszh3ZJDXtRORh0bBSoRijc6nQ5cF+Bid41YzAE3GJu4
NCDHN/9U+lmYW2nhAmL57I+jH4W7w0GKZKRONkl99ofTML6teStZL3EhlmQcHoLYOD5OwjbvV5J5
4iezKzFOOYKjSA6jhQOCj6KvAddxEJ/kfCHMVXULxizmLcODHajGNw6LpawYWV277+IPbCWs6T0M
NiHRIiqe6a5FO4LekrDlPWG/g3KKrQrNxHu30okz2r3RAoo8cv5wptCNtyw5EXkE5kma3gu8gLod
L+rNQRRWyQhdb+X3q0TY0iBm2CposKvEFm58If1hj5piw33er5EZQQCZUxtArYxcy1zIqstnegc9
SXztuAX5qqcqi5F9COX5vS4uFn7H1ELVfasdzfZG85X3NMgYonaeAKfcYwnXclZwPcK7RKNn7KiN
2z26xi538TfzSAuIT/aYXTSRyh4QYf1G55F3t9ESsItIMRaKQ+/MGUK7ImQjfKVEHVG5Al4XbYsM
Ctoc8YJvbOioQrClko8C++TyiwGm6Q51N0ZmN9I828U9HdANVZsI1QauaGJuMDGcLNaXX2Q1NeI5
FcSlGwPcFymDYbhDUAhwxU1jL47nY8S1yBWZkDwAGyy8d74KT67/uTxRSmDWhLDJkOC4xp4/2HeB
WGzJ7CUzOdAMwHtG3csGlJe1dIdp51BDxZqyyAGDOhR+yAHyHwJxKA8mpUto7roL/KZtmfupozlm
64WqS9qU3ak0uGZ2ESyqr28CXbGeYsqukf7l1LfTNfoY7St4BSfEMR8e0zU75BtrgRrkb3fs1sFN
/zO+DMJDoCCQhRFXH7asf7D60EsGxMaKCGuQN6glhxWtAzqkdnKDPPdZ3ViNwDtWjRPCjDQcqsRT
tEAhLaALx6m9MHlLrBANk5h9L+zkwbksItD5KzIO8pt+Fvn2chShsnkK5E8NCiZgb7sVNlcGvozy
inu/80YKzgZBnHfHmRUq5ugSuANrJVGx/iWBg1inXnkG3iXYvBN4It6fEEw5IfYBuV3/aN/jAThM
ptnI4dDKtOWP6A8EA58bTtI3TPyr8o4qFbYn2SN78GigpJEvSJzICtBp4OQwPXNrNYov4AecynLl
1iOhyKjvhW4Nv3ykiUohytNlh1uxikQQPe5ApMLhJ+BBHQbwkQVFAMCDbf6av1FDyGtr+2oL9y5D
rH1+2nHqYVzAcRMddmCi/gxzQiBksf2dsRc8mrcrkr1H/GTg+To4Gtr1TogrBddKaVOnu98ClyiF
K6p8cgpYw1klOB1tDjeZoAalLofSO8L/HMI55WUdYaZrYy9jubwiGfcNmH4EkVTOC/IE+naYF3xk
VvSSi9aWnwmYIIp9PkGjU9CThglGqpxRIXYz2ZnDEWRZucHpw1OztEl7JnD9Mimiw1PjytXPTbvG
J9LY9pmeRAIZvo5DArPmKV2j83QFphKeyufsh1jY/oU2JsD74soTYL2Qlkjb5umAsU3PrJ+nhv9e
v/+CBNhwCc9mimByeSdRzXw42icsyVV1npfBwZnlE3yH3Q4c1blvxE9QwSgFZdDv/7q34Fh/0t2j
Bxylc9u3T11yhoocS0UbE/gwGTA1HTeBo7oXfpAbVFFMQsZXtv0V+dQyIHCjmNDbTA/CO2bpW8Ye
HcX0i+S6AEEPvxkHgxgwoh38abts1d86ZFNquwIJTNGCWO52/4ge+i9jg2Gp/yaP8Tbe9F/zg6mQ
fD7iuf4LlAdJzI+EekESOUQY6ISW0HCIhdhhqhYDKRXUFY+JhO2Cd5yQM028UbIxhxcpZfvuW4Pu
o2Rr3+qBiuQBZDmZduDeqU7Q3QcHRCcop6dqB7o9/Xn6D9CRHaW39bARD/JhOPlv0LGubBa8T33D
dvbIxRb89Ud4XWtKGVfxWG2l9+SaPASMShS72lIMERjlBKL9PAfyC8HAsBrw51/5d3pPv7Rvag9U
72BtYUePqm8C7oAOg539yYeCdve38U2BAtd7KeGKtI2dxI7cV9lKXKsf5of2Xmy7lbkW9tXD2pvH
brWOn+bMvk2fBAfx09qHFxVe6zV8dleiK/hL8yUEUWWex4l7L921u5pHYS+8m2us1ZbWvroiMUT0
T6kZYiEII9YqWlbVlT89wmcF8a566Ddci3fFw9grQBcptMynizPaZ6weaMswbJyywdPaZjLryVhq
0tH53KEyhvZ1YsyvUCADHsqsP8eIyMkx5Ucu/gR8hHe2CnDtNf7JEOQpexBN0paaSz1MB50n6fgg
LjWNhtkKki/BJf4cGfEoBFJUw423AuW+mc/ocgK4FVfOAuArpiumaySF+EUs/ky/Mz8MzRWAKm7B
qvyqhmAOh+XQvNwiycj1xUxhwpvmip5nDEBsS8U1l+bOOJsGLVWPtklOu54TB1+MMZ6x3DC5OEAW
0Cnllv+R5rceYAYKGeTvqQmlwtGxQB4Rq4Uu4VJ/mMEPX5QnKFTQUs7/SHH5mgJgIE3l0UkZCef7
P/G75uS0KB8uzIyUhcKirV+mw/2C/SIJNDCw+A/R7/9uPKvg0us7sK1e8sb3UsJIkf7B7hiM45xD
j4w9tvjZfbF7EroHrJTwdwKH5tX0Jf1kCM3hM2fMe0mJhKrEf4ULHlMliVAz5/WA8p7b4eONE/G/
8W9GwTF+v+rPsXSkwAPpZP4Vx+pINsjMWX8zCdPvPDGFvWYQu3vMCSdVILrB0LepzaW2fGO4zeqM
TsHiSroMJv6BqH9IltegCGazll6ZgyzWsydP4x0DM3PKCLFzl0uPCZRlBns4BqaFRFoxV8dYmEXK
gc1cEWT0EZOEgM1pGiC5MFNWqIpRMAMgxlXK2sSyCBeLwTr+MqEVGq1bpwlYKRDAcObH9NlYGNFR
Qp0H6Yl/M48AO1YqaoaNTDkz1vjbH1kzWUWHan6VwiNvZnnnMTvBqA7xBNdA4TjkSzkh4iN6KCDO
RYf5km7IMt6ZtwGGuj2srD0T/31tHofthKWjsh0v1tW4Wg8WLmb76lCerCtksINIbtHvqnNx1q7p
iay4v9S70As3pCWLYcXc8I5W8g5s5b64+jvxpuwLwxY+pfdX9XR6729Mdcq79F6t7h9zL4hV/CHe
6Lju/Ut4CboFlVgiPGaOOa4lQmV9piWUqsw+6YX+wLK+TFdWXzJ0lmHWOdYpkiTmneA8bLsHoW1z
nU8jk5jl6Ud1zfRPnRnkCFks2EQoEyQ6VM85A94wukwY0ZXDMlDTFOZwgmWEyIHZNsbTJfKCkryW
Xv+Cp1SHMZziKe/hPnnM/5kImQM3a7AIoMfngW6Akp0UHi9yG1BjsRDFXjCjEZywB8Cb+Kr/XuSv
hFA8JmSywBnNQAB3Iqml4N3iOWv3OEswmeDmzMrWz9WT4sqgVpkqYUQlRPB4Lz64o8DCEKbGInjN
lQmWQzAfwId5TJmB55o9ayuHayJKZ+bhiD3KnXSdHkQ5r6umxAeZt+7MI5VbvpDJzDyqtxlYcGm2
zNdMcZpv33/vv2QThGosSQbCm3cny3EytTm13FE5AskFEE8hVFiY1ibItmW1YhHKiYkTp1dRXXGC
f2BwkNDqKY2PlNCoTtk4ZRmVbf4U/8IP4WSerV3wiVRBWFP2frM6t/ypb8I/hj7zNm2AeSxXTsfV
ZSCdQCjDHpq/XOxc4+ymfuNocFnPy5ZK/9sOFkwL/ne40Vb5hnEtPHoKPK+ATX6ql4yfuW33YA77
f92HuVEW5Xv1UR379/aUb4C9lczT47M4xBsESTflheWOb71zkNbhDpXLPeNJ/rAIzHubAjU0aQIX
imRzNEHsTgY24+YtbBXoY1O1nFZxfrDu19LEF8vNZ5hyRLREVViyOVQjRd7cNsA00NmQoJa6w7jq
MV/oXHpxiMJCpOL6t5BB9j1lVo/Fu9CtKvjxuLvgru4A2GfdZ8vQyWEcACf6zJMFR5zNdH+0GDgP
PDRYA97Ms3Sy1TOhByqlCK7QrDjSx6YcCLyTVQllM3INjjXIIzjMjFimlTt6fK4i4wS5KVIU3QBm
LliGDWuejyC3KHtlnzxaBDBZgMMDqUrQoAHskKMyegIFkQr061a+sIJpyRKbDxtWTByThHgnKfxp
TV2H6JUbCV+AuG625jz7u1ydGzREPYR4XHNcQNwzFLm26B0QMxAOcrFzNYuYnWUwKRxmIR4XW3/n
X7iGwKEQSFXXZls8iGMu/4U3l+FKDkAGTBpADsr9xPXBOv3qGJU75p4dKnSrdkltsDmz5FAyu1iL
YsFiu+o+wDVyyy1AS+79r9436+I4rOt37c3aDuf7J+uaG25QWUce5UHegNsN31VuuoP5L9wiZ71G
3PqzON5R5835tOhBcnaA8NyxsEPnf0Xx2Zs1UyhCjqpdxY5FCvLk61qmR2pbrF/fyUHZ9pfigK/N
JTvE38l5WmGDc8r/he8K2FIUDgBl8aT+h0Ii6ym1fKRqGhmlGlv6Sv/BQqC/QeRekBKNi9Zw+wi8
vwN0kJsekECxwnCMAcjNC3rPV/wpP/yj0T+ge5J6vC/Ot/dT9JF1tvhX/qMlT7Z8710Ru116GguA
MHwL3bGSvMAdrCV4o3yfHMXP5oN0IiJteSt+69rOSIN5Qr6AuGhIRXt+xcL7oELvC7g+KAMAhHMz
kQ5jckOZfaXSuR7IepEyJ49ySDomfklIg8YtcbCjN2cBtOc827xIvb34EL7ogryBtT81LG/zUQu/
WVaYJ7vrtJ2PafxNkke+SEVZd6jldmiATahQeTieDjJ1cE97ZIeG0jTGNOd2h5AFnXzSeXPO+OXn
yBmhQ36YQxMiK1YkyP9zBBI+WYHzXbhRrpyxfbnPPvz3cE8016GraaHYP4spEVNZ5/RT+eHkcCyx
WV9nH8lReuv3HJEYP3sWMw5EB1TDMRYS2ZiJEKE9rJsPbIX+OCTZ3Vb/4toObnf6XB94QI+4SSMu
Ejq8IDBl/PafyW+57z70T4rhh+yAUToFyuGaXqprdZWPr+XuOmdS6lF7Dy/We/XAm50Fdxvu7i79
HhcMw5X/uDQfcyZKNVlCtXdeccgNuKcuRGLNSjSRIvw3f3JP9pA/maZZnlLwJK/ojfIGi5tBImgX
ZAYE2v8VBbhu1RtiQLPuyDVisDPjrOKtstA3wsE8obUa2sa5+opHtHJtwEmAUAKOY0YM5jQ3dWde
1O+YCgjW13/+J2xlGm7oTHZf8WdFS/HH/2eeCtBiyJ/YpLDc938L/z04Zh+gcvfDGwdz/LS+mjXe
s1yz3Tq7db/N7zwcWWFY5WGZTxT305WxGN40ALAsbuncMWGkHcrPcZw7ihGYua/7Tjukf1DZ6PwR
QtOE1Hf+Z/EjAeQUluDwysStfsK/5qff4EO2N5fpvv80N8jKLcqNti3O+clq7OxsXJkTZg1c7B5r
pK9hx7vtJTkg1LUQ3mXB5mrgWB7Dpbaf3smFuEUA+O32Fjx68uNi5e/ulEkQJ960y4z5DCUuBhku
q9yMr3m4CV9I0H3l9Eo+p7faIa9c8ZEr+Kw5zNDX2p6wiEiAaZlgh1iGW0PDCX0g2ui32NH2949q
6y8RJ38T/qkfhLI1jGPdmb+imYMXQg/SJK4LRhWT9EQWqM0LBkUKf4eS0t6cbTbI9PioTsgPw8TB
penLPJtn4zR+FaYTEcByepX5QWO4ONxkn7janoRv1kWVEw2L5o/8OPrLWKaxlPsxLtY//S24zlk4
uH2vP2q1Lf+yqUd21QhNZXh379aeiPl4X4ODOE8PugmgHgimeDCARJ6DAa5solYu79mQ1OZDAMFJ
HahhEZuUFB7BlFPbg7eD5DDaGZHHjSyXQ/bfK/yVW3attmt/R9gnNy7xHx/g+M1L4Ct8ZDUTSH+z
eaFTqW4QQvMO3n3/5Yipt+pK7HMhg5mLiLBi6b3B4rzNNJZ5SeOypI7PNUkIyCW0ha2xTDfatX8K
bF2yuacuZT20LWaSi5LJKaUjgXzzfC9RxmxIuJIbc7EPrlCxs1uJ0AN9rAktLIhDNlIv/y2EvEjf
0K9ojtnRjbmcGRrfUywYopvKMheyBXJetCWYO88thSblkZIOswMsZ8ydV2mVnvAlIM/Iv5l0iSH/
pxmnbBWiOOvafo8XcpKDsW0O2lv/3Z6s7biPfsynfBm/k5/2FP0M5+bcLqsDSyKXSXUOuKq+rQcN
Eipa3ItPpu35V/tzb46VnXvrIT4HXn3wlORceMjPV4JJoknUGPxQ2ePDVPYIIHlNfTLVy5cOI4gR
2Qxtq2yJEZxi0Z7un9MHB7Ep5ltB4vHJSn7/LG7D2fyMvqKv5Ed/Rl/mv+5oPucdH/fBl/mkV1lR
aRppXNm+Nq/+NDgJA0zGle9wz1Z5z2ttmX9W/8TnoRNog9LqAUJAgdfF19aYXF7nFfqSVenRpaN6
SfeFiZmOZSA4E/2qeTQ/hmv+RIVJtZMrI5IsaE6BwFRyzjnNXI/UzkhdqKBwqaLJgNsm2RMuiK+6
FC/ymIyI65SPMJp5heH6X3lxrsvSdGAE89WMVb6RXIcPzBkPmSlXEEhdcS5JMpjZRvZgEzlkiwoU
ElUcLyYshgHSuRkkA9+lRG0Y+EyDZEBed76ICbZFRugf/9Y/7Rc9AGJogxLXKxrOUBSSbWpf+nn8
yZjWX3zLmCk+AXTsgLWpvzAGXeOTdZpT6Mr2aTMSyoT4LIHRpA7jgJYh02bm8RGw4YQS7a+nGRfU
4s0AF5/f/kvoT9ZNok+liXoiJUtCaNRdiKLb0q19d9BdgnaKjJQRhxPaYut2YewU/FfslCX+tb+w
mIrehYHJLofsdY+aoxNW8z2vkB3wmxRCdwL6v+buUcRLQIAAIQG4gGfnrKoNwwTK7FwExFhIOWmn
5DP6hFB5Us9z4dFnJSKYY/h8o2kknrMVfYI3FLG2nHSK6cnV2JtrYz+n0OklAC8zF6sYJVuJ6SI7
FAy4gpVXo0bA4HsYWxQrV/+PpLPtNhWKovAvMkZC8ZWEKMpbfDHCEYWKUvz6+6zuOK57juPode+9
1pxzzUVF2/CB500xerhYyNDLEf6fcOixx2oZXOE6F1jwBkTADLVgtVlRa3muAQFtJevBe6dMMtok
99Vl/8YkQY2dzSGAVg5JhcB8NbQ1YEgZ2TRHxVT+9nu2tiS/4YKWfnfetHoulbqT67Q4x36xoFiy
2hfzYhlCsCy1aXv8JfTO+s2/9/LpHgDB/z5/2vbpftY4AL2XPJXXPrW16+42dZ+uNn1gvdeXbxKz
axaTziDIFtfxJ3g6xSyZ/C5dKKcet94g/sD6D7r3AevNAzcNimAuGUwKsiIaNl9el94+80PqPzDJ
JtZCoYPNNSbtgHDE0qSjbP8+4A04dVG0/HMBvbnNKo8bjUVJY90EkvWSdUXmQ/I+vlnwa8PEeoxL
5+1mlrD3jSMkBDwDjx7k8E1SfjLUx5reCgNYVlB9VldAAwr59FpP9wSiTEcp4MMbAE+YGvIo1luG
L2uvUi/FXWyg4NJlKqG2ickFu4Eh4APqDVA1sICybby2vJelGgINzAPHFjAB2DZgFVJ12CrgKf0J
wyjIuUohVlqXw5I80Jm4RbUytlOD90lntmVNPvcCIhPwW9SJjKtnNGD8HVoo5qE1ZTeZX5rENcwy
9FRgPgLyopE6cMQb3G1IGtqkkpWGLAjyX2jtJ7hGk63erybJa9aAZEArxKo0bGbmb/TC6JoqDepW
PiCRZsyyh2DqLQML7B8ojtfB5JhncsiHPxAOrgvzACibIHipIErqGRRCYOqjujic2zvOS5XiYV2f
HRgXMl4k4+SdnFbaSQAyECPW7BnzKg9eiY4kqE1HPUdb9SwXfVd5xQ7IY/M9f89MGc39zwXzuwod
0tyrK41Wav3ntOmk0+jYPRMXM3MSekRLmnKcOjN1+A2KjXLRLvdzd1Ot0vNnVc2KgFIbdEYozYlM
eRwupAcBfqaz36rwCq+BcxdQEoYDIowpvO6m3L/g2OaSx+powO79fEX8y71NMHg9Z8F7A7WD5rxH
3TtoMngxmUgiCR8/gtTi4gMDRL2/j7UeyWe54bdNJrc6XKBoEoaUMjFyvu4FNim5DRInfPe7TNfd
AVkqPvSEESD7ATtdBtI6nZi6YZD2NGfxON0RoZT7ql4Qf6tyj5HX/ZSf80UKNaz2NRJN+buXxLIk
QGQ70E9E42R/0iMAomrV8Ts+v+W8tC/snHrB0lu9oGPjzWy0e/luEqdaVavnjp1tBzxRVUmwc5ef
2X73DwCpuWpvSmIcIns2wDkh8zxI1EOfLJKxEprhNfit1OAK2AR08cb3zEhv+Mf3ObE6IToOO3hm
kZg+EGH00/agoxrlfXylgBodFiksZ7NrILG7UwgBkoO3Am7DiOF+Q2o24xYdocdo8LIn2lDEoziF
odLpUxEkCUjzMSB2f0Ca+LHHL+kOAkQv6jjoB5YNJlggK/SiX5JtEre+pg+0vcIKdsdHU5D+YkBN
Jmg/1ZRL+kTchBagM+3nPshP3T2oAaj/+4JosDfXT7GXOeniG3BEHIuywQRk0zupl4rTo/YbJ04x
15XbpdEjPxRUAevpqyoPvLfbh2Ek8D+aMsrm8fVCIYy6wURD1yxGtx8a+OFLNTQIBM7yrc8tyFXl
YnL4WDjRPP2NLR/AIjpGDB19Mjm2gGqPtJ8MGniDanjMcYEheC/Fg2AEWcBd3PLphPzimuNRBXZX
DKr3ELnhWzcy3YCvYK/y1qCHNfeDCdG4NWCAh93vEIsFZIHFJnYa886Jz2j5Qn2qcoRskCMsL7eg
eYIFIa0nv+c0xZvDnoQVYz25DFNOZUcflXdcVYSgUZiSSIhRcl7JLIdUy/A97+PF8N5vuxTIbe6z
EBdgZKpt7Mc20Uo/sbn7KiJZzZzvBjhhkTm/WeYJrlQ47Q0giM1o1DkuVQ7+HdwX9DJ3CgfL67ms
253pawnO5f62+VEPJYpjfiVF+VAcjoVfLkRcRAQIxd4ZgGUDf5PMgFkDkaf0zgI0x2XC6MT4oIyY
7bBZYqbufSnVlOfsI2EjcSJBoUDlTOJ1ogNy+wLBZWQQWJdCv5C5dHch4EsHJgKVk/L33qtrQuFu
gOYvIxgDCeKyAoCfQX7OjMR8hUGtp2y46ZldeDwXzzN3fPeSz0IvYz4E5Co27Yt6iVa9eW8ZbqDV
AAnuPgBByaLAlAr5xUxO2gmx0iCjwQzYuMLwYaE1aYM/kZYSHrNAJWR0o2tFuxHuUowDTYq7ftS0
0qgKpJ6WIVezndA60+CTrrhJPU16beC49FWQmVN9S0Mqpf9g3s6NTm5gx4zlMz2wbh+8S6wfaCg+
+si1EqAipJkjvBh1DCgIrNv9zu6hoNjEB5AKaMqD5WP4BltIms/jy3hD70N7H5ZniAdW8Uhq47pw
P5IQGq8SIQ4CF+PX6lO81ltNr3Zkl9N4foN/h+ffKtvnurf70oNrgM9lCNBN64RjZ5cQpXMknJyw
3zl/oCtYh2842iGIkdI8yhdpfvEiXJZeIyWFRVuNCdPrURlNaNm/HeOtWBL3D4TZpchOefzO0JvV
vLvu5cQNItIugMlDowXLjl6dpWGmDelPFhIhYygwkE+E9N0W42LcmLBzb8gI8Fpw0G0PDJgjjbA4
6zfOP2obkPQkRsUdhUtOv7lr7ZKt6jSmtNb69qddOz+pLq731n2lXkKPuYBloX25rpgKigsDC/qS
eYBHGDSWH5IK+rTQz5gyPOI21DAmuvBYo4uJ2SB1e9FndsAESm0d0A3Qk5QWX6HcDDzvOKoI7QB1
drSCjE3pyoFhBH6rbSImzCz6oEBhdwDw14WZhxVkEmMuvvd/sLV+6GCQPaThz4wcz31IQiw9+46J
m7ksftHpTVarQ8u1tkhkyaL1OvxW/tJltgePRPHzl7i1CJZcloSV3JUM9uqTRCKJbRyLdePY2EqK
W0nSy4gjJUaXRD6sH3vHBCg5WmZ/pAKZRgaJLWVBKM0tIvg42HOdIzzWoRW6xJ1getGScHWLEm93
XfLL2765fVB28bYToKveEVJxmljgrcZ3zQGROqQmlWHr976xxSJqWuw/y8/y7YbQnsQzn8ltmngF
awoSq5U8t0HHw+lvQmzipnN84EHTMcomML6b8JP72H2vm2g0W8c0HrTQzTznzyUG4m8I2D74O3gZ
liBf9DnwOiAB379sDxBA2lLKDrltIEsyAjjPh5WDH0AAAeOiQR2+2fLdpE30VMJvmp/BEaXmexRP
DxtB9CUL+toZYTl86agz7kwb26/N32IngSJwn1mlB4Ln4HAgs3TwXD2c0OP2s25eAXy9AX6kJmyZ
bKDLy0s6uwWhgxMOiyiANVY1TsJXOFUxZ888vpzOLJ/gtzVTg+7luktB66Lzm5qbQNnAa7ExnROF
YHPGguw9vO8GaeTiN+N2mn6ATuJxb5qaSF34F7tc19hNlw8323PzuNwWx3yZzpGROl3ruijYjXwm
E2jrlLFz6ezn99hXjXanLJsgpj9Z+74X0OqY5al36rrZBgIChB4rCIbaI0iC3kk/sbKzUkYAq+FY
G2DNIzwJqeYKO5ChPkaJsASBeS3BfdadMb443o333KafycHCKHSWz37mdRGt6K4d3CfhD7wUS0iw
XJ7us66d+u09tbwENeoeIQPxTXjBnpdIs8IEcMBUn0lujVau/2oBcxgPWH+qziLMARjDA4WSF6od
QpnuW+femUmUeazU+/ExJ3zfdRh35B87Fgk+hfZo4bFK+4QJfY06GZYwEMGq//TZgcOadfuJEAIq
nwR9//J/89Lltw2aGrOmrcMNxdn7z4lyDDQbDHnCrTbehU2DcIhnJoSDnV16TIqoQoCp4V6ImLhB
rqvWCWTYE/DtUnEjHCyuNL05USzO9TG35+izUIflqARta4K3Fesm/3MD8/1j3wRGvi9j98ZwiRmj
taINZP14n/+mjJHmNmPMZjY9r8e0r1rDFjOuBKqTVyDFRiCu3OKFXTL8+DISF7PhEb10p9z648zF
wH/8BLC+0aHsNylHcMAMmdcus3DdN8DJuewZA6gYEenIOxlclJ6CXXcXPeeA71CMpiDGtv9m614+
TreNge6R7rymzy0l4l66pTaXrKzOgdTdcwuahPht0nOAvNeAsRAYx1i+IaIhR3pt8V6xwUVhzWEc
nMPic0z+PsfQxSjXgvJxm8fW9jaMTEBISgDgyGNgDI48Q4MA7G2glRPthPwB2of5fR4xs4QWZ3EP
LWFG5s0VFimaI+Hmd5kNzDa9i0M5/EjNINutbXP6G7/hmyAx5m+b88f0ovy9YIrkCx6JswizxFXC
msuU19Btm5L3d+ACgRj5fcr5lglPiJAnZ7CwmUlNmQ4TzjtSDb4Tc19QASYloMlxwmTZmr7ZWkEB
A9tlkrwNaW5vYV7kiot6sua42E+RW1CNs26NSyav5ji2mhiv01AQgLPJ9X6zBwSm0AUyselMvwlX
lDmdKTCx9LHccSV7+LWZKg3QjmEMZULV81Q3sb7rK0PIE+DkgyV0AxP8+Db+cf8io4XFon7HDKcy
yekm74cclbsnHsvzZ0HtG6+1Zp9l4RbuFwyEPkt+4QoZ++7/jJYpBI1KLnmwXnwHGcui8Zm1THzQ
Fsqwwx58oFj/bxuygyA48T4rosjMS5kab9PS+U20gNx5SaOwaTzVoD3Y4IS9Kp2Kvf1N5AuR87jF
ZyHLZpvfIV0AmcZfE82iIa9ZDu8TjKlmB1fyAv10cPNZ7DTNfKZBsBxG1LaMRW7wYl90k43iWtSa
yRm9m3cTlmZOG1S572JknYhTWcYyW5YxBpiVL1lNOLkZ61O5l1NQuNWy9A6b0pMVBkve4c84jA6j
nh+dE+e6uC4k0OlJmkC+HpH5kof1Th2fXF29JMHDITe08ok2INPjmBVbLmUJfo5T90jwv8xmGCTA
go91TeiJqMKVYcFSu2Re4d6gsodjaQ8KlqiQDiNcdy/2sNfwOj5xlXJp+SCyXHLOKzcEjqXQr7dx
4qkBqXrm8YRkekZSZeL4NoNEluUDp+IVK0rTTzbXVdO/rvT5Y0MGmxYDzVUsLA85vvem4K2hhyGX
1fMlZ1YvsYdiDIyXX7w3fBhLToKcDGJ6w2kIvdhpW01WE/hPuuJSRMiKrFxYh8nbeDt7fF+BxpE1
+WRM1/NnxsXaXHdvyMAyeAdshAybjJqHAB+LtvWcZBs+gC2Ruca/wSPQRsSYk95ScsAHxVWsUESQ
5IHxpvLbbnZJLkS62K5aYVBcMOjwDy7NwZ1sA+1HhSnH+x2CpEwenjBxD08melwM+IKapC8lmCgn
QjdIesEF4NNVFOgrUu8mO472lkGhCoyiWTk63S/XuumXEPcsmc1TwU1AxSFdB1h06syX58p/DxtL
bmLOeLJ5bMiKNbeQ/P53ol3WXMEArc+yCnIgFGXq05kUKwh1f7uw0sYsq/AXASspy6SyzzlUZIrg
qyfNvs5efrg5rFMfqCF59SlLwvYKFaJVzUurM9fnt+DgqlZ9t/ROz9VnRtTjcbad16pl0phXyCOH
PmBDyCzrNc+XMROijAkWIia2Jwtaa/v+y9atKeNlrjOft8bQTGvIJRQTdBx8i7SZL27n5pHxVZdB
3axkAHLKEbmiMNvzGzuGHnstcWB3ZRrsEQ29mXAKL+S+zTwAMRbeMjhcGj6+NZd3YLYvjRM3Ag/N
4olOy0w/eBsEXAq4sXzF/1fooLNaZ+jgMcCXUosuyEjPB/Hq+YdRwa18Xz1XtW5D94mX/K6Fxc0g
XZROaxazmMpSiT2g7G+2RpNE0s7wXLJcve3/CwvH+4dzEbHck3i1PawmFVNo4eAQNaQgZExHsEX7
8mZDj4DIDBSbm/DS8e8rzXowEzBVcod9JjK9w23ti/1r3pvmSzy2thLffu03i/3b/cCy5TBsRLlM
3Oown+STjKn3uchXomQRyULTfM0eAcOCzWSBfuKuZVgyyBgm7+DLiBJi8DfD2xcLev0oUThbWEMi
IHKXFfk5h+0u1/mScJu8cXXfpWekD0JK5ovCLfc3oAo7OmX8NTMlNyEannF9bakcDPeSjyTcEyDo
t33Mj7KmPU1WUyYhZDrUeXBJncPoung4HT8DPhWMKKAA/yt7zckB1uHEJB7I4v0MrelkXmt29WUe
7pnKWtKIdczamEGna7vHWlCMmhKu5dCL2EbaSB78RyCCegLhxGvacp7EL/Db094QKSaBzupqfLbM
sXPkFxKQMKuK/EhSGYkjJG6g8mApsRcxhimxnKzhD6s1bk1p+E0qUtjMw0QPz3lhk3EOYhEfDW9D
Xl2LkIlmP3xqE5qA4YFuxeYDLII/QgCa945Y6vn5zZ3Dm9gcm7eLP5GpxIQJzxoh4uTx3jcbIqAZ
Mr6QwDQJLPgcghHJwzqEdnLf5ChIYxKQ3yRhzv/MP/M6VDQIcghcSjhTxC82Y5ewRoJF4WplIbm5
N4Kr37g63pfXOUpzwpPDpIJLetiHBfHbdU56Kcp0lIt/8mo1fawfNmT3nJO3JYg04J64A5pbDnmN
cG9wGyKKIiyDQEHKl3GEzBTH1rHgDJC5Lj/HwwLOy3vYDUcugPzDl3rH5ZyI7gXVvXAxAD6L+A+k
SscaANEHEAk2ggiL0ZqilSQ7oPi2VvvwjIh4G64BvSDYYD8BwED/YUIB12ACUAFEcFEhOnGhX2Dg
ELApuw7qOd7D6x0E8ek4nZaLRqCcK1ed3ze6rZwatnoqYZhW+aZtfoK2WQLen/Pgdu76CpTiSkfs
3R04LfIf9NfSqkmqE5IPMktaat8BRE8/8A1SMO/qtawHTZnuG6SCcG8QjTBs1ZdeqxTq0JVWfuzZ
H5YiAEoEXix630FxwiYIDQYWsY9eHwzQzU4tu3sF9xC2B9oHr8iihXkCsmgd4wQR5GclhEm5gy3F
vv26Vc7XbfPXf7HgeLyb33L46HU5RZwQwndL7uwOJKO6BqvoBnEKjjV4ouuhCbE+aEPc56IDU6p+
rsLEGdTWME9csZTARoKSRCo/YbuBTWtVxn/ihc3Aq6GFpvWeiCkoDAAj+gmxC6n789QVZRhLmClo
OfjGzIenAhKC4MMbifqo3rpciCCVPi8J1Ur8FdSwzXUM1whlC2rlKLNjjqp5MgQ4jHeeuReQ7q5b
6KGVM0TOd85TclImEDzUq/WQE7jNfVmzuahoKc2CdIKvhd+lKItjXUJFdWyaifhs+oh2mVtIIUmi
IyEp/OuMHumsbeKp1O9+HZiF+64zS3dfpwJLAcz5/hXrdBla2JMuke7ApelS+IkQnoLQ2x+3McHm
j8mztRX6toZHvn8xkSZjdFEZGC3YdDlxfovfLgV2nIbH14lFHUf1l3+dHGyJdL8X0n9q44hJYocl
XGPyhGaB/SHkYiZlGr05RBMUASgvmrP3IwiBAoQtDnrzByuDfqLn5AZ0IFq9AG5LYmrOoNkGy5BA
MfNu0x4wTDn6H38Xbou5Wyf6psXyInbuAAKsKQpxLqETxeSb7oiIe3JfSGgrgPfByryciF1yDAmf
FZuQmbxGH1dnFiBHVFunRxART0bEmqUggcz/2ECw2zxC7zMT6KlnvglCnkwnXapERXgc/iH2SY9I
cdLjbY16vdoWNnDWNp6qwX1HtPBhQcQeYPVbvVlHJKC5njs+kW3ZHVALhWHm/6Cz4wOY8C0RJN9k
G/6PVpAYlEGAYlM9FUB6QJ4A/UcUYQXEcHFXrBwI0OjMywd2TvTCZW/BCCofuoaLRJwFKilSOHwL
wbCn4BtgILyWwj7kAI6Dd0dQyy99FoDXwHKoEPxioYrt65Dv27r4eUENNfJBB0Je/ElFPwdUQchI
SMu1RP/JHnP1ORb1ws42qYpil3usnhRy1CgnWjegDOSNgJ4QUJ8T6CjGYoePwfYJCtNTtQB4ASrO
oZUF9DaA2jP08pAGtIZWBiDsKnZ/FWUOYpkqNi8DaBOiUenJfkeFP8BWTKuGfFrMPgKaSFNjEF4I
VAYW45mOozjkYiCBHOPUnPNGHnS75PjxQuWj72UfbBvTyE9nAFj+hbylhTG1quhcnJd/CySDylet
WZcxV4LEPXewKUTWxNcC4imEMJUIQHNqshVbo2Qun1zP6erhpRCiBLgXGrPASVCyRUwI/1fDzWQ1
xOKcVVKC+AK/pmlGfkewyBXCpKFIKcM1QnQxINGH4V0bN8jN6CSYmb2XlSijpj7C7wJHPHzanm+L
5o6tzGgxWz6GdJ9Hh9Iw8RiJf+PXC7OxYYIcAbyOMrcvlVZS5JOfnoxjSck+BHLIKwk1P8ve9g3Q
yQevSYmnhGYEP8qmcWqQXArlFJ3vi+uucEQ2/3UkgVY32ka0Xger4UO5/qecy+B5TjzRpt53hYei
enqg2qy7y9F5yuzIIoksSN1BjH93qAfbUsuH9G9FBSjQHYHzUYrF8uOHxb7CygcIWhgrwVkFGsic
ho/v5bC9eS1kmOXEy4kTLTKSPsYTExDOIcxQT8i5gtSMiJTXmG0Y4TJ5EPJBDP9XR9d8ZftC8kfq
VASQhm9hCbMNw4tRB9bJN3AE3PWMA6qXyEabYG/IBpoys0EUUsDU5Bzrcq/hPVu98AKBMxrdo1lG
fePbarPbqEG6o1iXgifGxy0gu2VklzjgCq1ITgeTyMdxY5AnFoOcocTqTM2uz+SboHes73eQRYaR
DCCxIqKomp0aADoyFIAgazksulcGCeMhodiC6BhciN8/uc0iUlcU2YgccvBG4g7p+/psGnjQfmg1
3Bo2VHBLPpmUj7fwgfCUfBA/Mn3Ao6n7cHsIMgREiBbfkvVVTBDIwxnZJCiIx+v5h4Tw8cUQoh+C
CO3TE3/PHkN+8oCKY+/Y44/fWD7IwrkW4Mibmyf0cQ7gyws1PB6tuGyc+5vz8dVRd4/cicoyDKcR
4a/zU2fetTWX6YgxFQfM3hUeQJJGd5C4C08aerpfbtIVnkT+O9Au1/O+FiYgGiefJ8kn2udPscHk
dklEHC+CBi7oiYRFvfDEFeEmYlLjTTl5G9y2dkHf0ONzH95zIUD8fXE/c9NH8qRseLqfkQ/zP6qC
76b6cEuxFf6IbSLNj1igQlIRffxhtqCfgwXwN28hQqc01mw4dXnVGqUWZQp2PlUZLM8j42Kle4Cd
/Ot4oa0t0K9YiYS7+x/0hyTFX7u3rTUSH4BWFdCLLrReem6jC8EJlqyrvYmIGJDcO9EO+CVdCB52
sEJCiminBKyWKylogGgwq4luCsInCC+ECIGBkMYZ2nnS8Dk51OghoA5J4G+GWnqDeShpErrzes29
71j/Vs8zybOsgK58WrVszV4LVBEyIwDAqUF07vmSgzVOSBhIihlyB5f7geWI+Kcn6xv2bL37gAUO
EEM4e5ZQfIVYT+r1k/r8A1Y2nkpHIikPoFjIQBEAv8c1/AEyaaJ5h0xhVvoG6kbdECvxQMZKC18w
SXT1z129Pwj5djdCQl5mN8/5QoQgBRm4YIJfJ6W4v7mS4qHC0TbPnRpUoGep+Zlf/ejEiZ9efaGx
3tBdj7EoUsEOnJLpEbaDlaOCt+FkGNLu8Dc7WHA4m4NFKdIYUNMDc0SPXzrt4dUo9cbuHseTT6/w
1MjR9CGVYPmWcJMH0yLRB1Emz7c/2HSUXi18OqB3Eaus7wes3QdabkSdkWi3qEX9odDCEkSodh5k
LEyjvyNPQB8Ci+Dr0U8wkinFv6dCT0xJNpWMGuyqOIkgC0Oqn29TlE0/g6r6Mhp1kHjyS8x1EQg0
xujEcPg6RMMflTuhRfMAnCLYFo4OKbAkLQPgro+Pvw9FAtoAj5ToNYoaAzInXiGp6olXLg0DpGJW
ZYv6kF/BMO6bR95GVX4HkS38PcW6EKGRYqCApXM1z5U6pD6D78tk8NhHS4L/imgXTxTZdQJRvKsx
l4Ai2bI/t+4wRh2HJTepVzRA0g0Y9ITUFJOVyU0MfniB2n9wFsxkyPIExcep9C/ks5vH2x5RJJQn
OAVxcwrm3tkm+w4a6u9f+68iGypEv6tWkqIgzlOrAZX8WOaFHwMrANhXKFcq+iWREdkDeYpcUVQI
SGPZn4MYdlwp5JH6vCvkwmFCpgvxEJlCJZBTDymlHEt+LICGUH1k0pZQAvgr2/pWWT/GDFiQCgmg
42n7T/0rUTovKYRLoACASWB94HSE5+AIoLXmjz8S2uSPyy/8LeWEAltgnwCRi276+Nlmf29S9mwP
u3DkxBwWOCAt6z8u/joACdn6MAEhxr1kSxPWI/n0EJFrDga415alnzGRMx8Gio9qMgq+fsEAdJ+B
itQnyIN4ofmRlwbdU8PtueFKd18gZ5eGmwZPNDvFoHt6bd4iBH1dyFg1LKBO903P1U7xSn/1Nb8K
brvW5nZuMOtf2n4C1XiJgupC/V0DKQ2Td69PsduAzfL+5oWEuQtW53yC3qXNBLHSUBlf4sXh9JUU
W/7MZufJxFLqoAmWY1EdJ/CECMp9taBha5/cEK/ZJrladEFIrK8jFMyTh5/4N5BgkmY2UP8x/Y1T
1ABfYnAx5MNzgISZIjXcAJAXE2XyEzZHFEoR6jZGSGsUomAEHrQcOWqrYkfTeESUd7TCBN17RcoY
+DQS78T/YU1J6r37n3nzoag60VBSNNDG+UGhShJVDsU06RFGbUGayvc8wr+QClyVyjjS5XoCQe8N
R8pPqN1x6mLo6MNujh91v1PXLkmNRkMcO0oKfxCiRDSUqfWNEa0ycOVlLhBN4n9ijhJW6Dl1h9ob
UIM9AA0pKNHP61oRwuz6FY6eBzJxnpGQcsTsNvuPv8GbWn0ckq3EUYHueyfWgu+FnFISixNSPTQ/
zzMG/0E36LZF3ICGgfKrLp4bIt5Hsq+u2wGOxjLLUzSFCBMNygm7KxkJXco7BTXO/q5dwYcp/2KY
U6v02wJ61WIKHDhcDX3+11EBe78b4F4kaazmwLyXAlpd2RwuYn7WRd5PPcI0tm4uHwV2SR6d7Skz
YD/QV1A6ONcoFJ81WTiIlIFV38CqX7sDxCkVe4I8w0D+kLXIZE497/7KNNM6/rbVMbbBtcDDnss7
aFtoVUem7njdXTD4p2wudgG0oyU10RWTEf+hxKC1yrGSAcvAZHDXtR6l/d5fT9GJ0/QlMgQeuJ96
NQGFjhs1N93VIeGkEqhldutaoIIwrEvVyEkBDV5/z809IvfKE/xGmTyn7XPTuW4X1yOK+OsWHKXY
KWdAnuv2512PL4J6RMDvfsnMNjvMmni45NSJCyzK1AGEKLglOTis2mNcF1TOJP3+n83nUkdVsToK
dUfIwP5BTEJJ87VHVAJGD/EJmpiah00HcFRmw5gKNYhj0MIfKTrGcAjWj3Iakcgu0TgkGAaARS7e
nlkgbmXShHkDLQGyFvoJr3NiRLLYTh2LkjkIIg9iTQT3RlQny3TiURMW8FqHCintomxeJPVvPqy9
5kLTR7UW6dyXAlD2vMMK+/EzAGD3jD8JNQLHDmJ4OG4vRybD5L6OltEcsSFSFjhXuFPaCFFgJhmV
EJLAOotwCvkBY5huZTHoeQ0vXsd/jz/obD6rvXgeQRQBnp7HdKvuCAaoqmA8UUdEOqXWpURkUww7
EAoGIhHE60jUkG9j3DyuSz6MgQKq6aXHw/m+5Y1Ufyg7xi4RBkOZB3/D8oSGHNQI7Ig54HUEqTuc
VQT9bAVfrXF31l61Vyo+Jndx6eEz2C0qlv7nduE63VIilh75FdrnOtW7b+v0ju+Bs7RdRblBi4Ws
mmSw6pQLHq/LEO+Rx+gx+myBZpfc0HbyVzPW6x9LMkHKtmZKqWrfSvEQ69m+EPagBIAWPhqsB9YX
6Y5BXmLV74U2sTFSgzT5ySpF2FQC43GQ5J3crL2AaZx7/n+dB2eA6YtD5n35EayMxZHAgaqwHQOV
nwkK/ggX1qyjAOdjGPz1g9hAJoJfH48JuIYH/64m8y5wMpE6gHW814/ojNBmbSE23IQFmNGKHgHw
KKf4kvHL2lnrFlh8QykYFbz64aLxh8rXt9zW6ItgaOcst+g0KBOiaJLqG64wiDLh35/MAai6pbjy
toZ8qIFp2Xtcryg4Y4YFDG05XKbuKtq2V/dpubtuZaFpS5nG4olRS3dyWFCp6sIgQIMhryLCKf6k
ggwtAdInMDkSFxV2Ro474feMsY7s3RHhJua7kGhcjGzPwULR2Qnioiexw3utU24FYIuircGUp4iH
46srP1Lf9af8oT7iCqB1qxvAE6jwiLriAMHMx9FyQjhUQlrKQiesQtzW3I7AvLe13N58HjcsDlVH
AlvICmF7kJBB1aWLmmnWAgpvLX1bLSt8Anztr1r+JjV0ej8/5S2ItfNz4WVWew37tSXl4PDoQ8iU
/doJp9GZSg0MFZkzmpCxDqQr9PHQzk6OTkFB1QFtuBWlwmfeXJVUeHHDzcP968i9RMWe3E3sI8xD
JBE3lRq3ShR14jtFWz1qweoz08KJap8vKyZqRO/Mr/vG8cvJo3wuBjbsU5CIKId7jz+iIpyJnjON
CvBNXVx0amylap0DhOddK3ZOEd8Tkdj1TEYtKyqTmNCsTGDOB41OZ8YpQZ9XjEomV87cmluOtQmb
KdBOkb8gmgG4qaYJTFd3cjUlRaUP/BC+ifZcIqORLDS0kAygWnkgXSwRxekogqR4lZmtzhUldSIR
gh69ofUQtElEZjdWAFQf9RwIsssVE0WRVAvKmWsRcWdrljl8nJF08djHuDkLJMSEJ25Fj9HBiP+Y
IdZC9EhQHINbvVC6kW4xk8qs+gIJTif3uiaXmmtmcsk4eXVVQKk/gmwj/wRLDhEQiHiYCgbWJN2X
auCm+XDE8ApCFvWGqDjCcYVyRf7/IrqgZUqt+wgdHPeQF+RsEcSYPPc3Q9vCEcutg+IR1YyIKph6
KS9lKuHrR+ggGh3Sf0ISFFcIL5vwgDQGwyVLNEFSbCUaL4ETZYFWB0Kwpmwp9LqjfHYYaexXOkk4
ns/sM3uurgt4S0ezhEjPSWATEIoHKDa0ay16kOp7qW4GmGOZJfMfi2YjneSzdCJn4DV7zbJNb66N
GvOm2amlJbIOJSSqIPIIzWnSzjml9Szqh9BrzCnHHomyRa6mqGFE9/KaVaYIaSug01pHgMAV9Awi
gJ/4hsdVFS7gJwIJKhRoSgZUm/RtAb8uIDjA2fyGVzonfgJiBdgB5AeDIRDkVkbOgrj70Aeg4Y5W
SfYFQfovxLiC6tX4H3/QO4Hc8P+rLi4gSBaIH0TvK9thI2z7/3N5YWOFvPRGwF9/w+/YRV5unpqn
94X9AZeDvdjoy9uG+ojuXoR8Hx8dw/JDZYTiXmeKm/r56XXS9u39Yd1apn5z3lrKK8j+KL3Yd5Y0
wUQBmIkXdfIFIxMs6+Ur7ueEzuLVE1wWpJzXwfGB6fgR9C3kjMFHUOp3+QiUxqufEz/GF94CHvZf
osE3CZi6//I77CKqZ/9zarvKqO22R3bXvQXUodeX4SZYGSQDhwh4cgGW4lGAj4UtDRF2T9v+EpqM
PPREJVCr5th4LykGaZsRyicFcwxWAGQ7onpS3ca4NYlGXS+ycS0cF1Zlfgy0XdDCNfvcr4yPEW/w
yeZArzNszQ24NiM2FOO2eG108qVJaagmno5maHSH2NUP4Z+ogf8O6DQwasw054c/vJ2OYpMWjsbV
RlbedrLp7fj1CiuacWQehhAI5kKX2kOrJHm1+GbdXkRbYlIKHH/jEmfSvTqk2n0Gcj7RZ6FCkW0f
oTgrhz6MbH2lONVc27eWql1gWESOMn2PdXxGFo0JHYjm+gI75lFuHmzVYvQRRzZBvhJHu/ChEzrI
j3+L5gJBPi1KIvs6eplyEfdtmxbrBFKLbHsfYWfV/xp3J6UExT2Y6VhddIa/0W3Ssj6bx+JKfDFt
WNkkmehW5GGMbzyM1+g5QgJvZsOPgZTYpeHvsOAkJVPFo7XeqDIV5gWAJAJ3IPEpobOB0JzfZ9Ni
ihEptY32wbtmiONpDdqbKc7Xbc25g3NfxWVwoO5/S9W7kbc5Oicn3kjFSWOscoqTY29yYx9aw3J2
W6Sbjvvh9nTxkZtSTthxKCodvA2a3gxbQww8Jw/jZvYm2TE5ZlNt+DKKocwoitWa98bNSW+Guv99
LMe0xhtoJk7XVjLTR/RLGSmzl/UZKePGIpy/t2j/YWCQ8U9ojDVmUGCQTLs0ozF7j0MTn1JOjGLg
0TSrrHSoGY1BVPP3OG0MSlNrGlQDTmiAYNBCxrxb0TAdNQzdwKaZz9EnXe9pK2Ns/qgiLaG8/YxG
C/2nE686Fmb63J2h2Zh9sE+dva3mnKFt9eYQcsxDEJ+jismSNpn2j3GRTHWjOyim6QjT5OE92OnW
b3gfvkapHbMKuyrlqDTnNKJRalwnH6M9EIVRE3MUyk1m9IcZPEflthjjGD4Jj6rdvg8pJplg2Dsh
AREFdnlBKKYbYqWG78XXai2/o2QajTgPBqCHpbu9fcwN8xvmg0bWf3IlihWlG33qx2yNFsxjmtQM
S7Q5KLtJh0c01UL7Enod5F2llQy7w97kO1antCwd3pHXjvPBdfgccR3GnQmOxUxGUISb1rw9+hFY
31im87ks0i2k26RwmC7lU21Ci5xx6CaIVcj+OASAwcln9wQuIHADs5wcynO4bExis72VE9yZtBbZ
GFN1SpzayOawtvfzNkrOpokBqttZQkREM5VhhLkfF0Ux0srArnacmLH5tItptG4tVE9xoFZs1f2Y
Cm+9Ml0U3BFOY6Z6+uxltjhjN+cGmhCOm33k2qPOP5rOrElVtNnCv4gIFRS9ZQbnoSZviLLKQkSc
FfTX97Pc0dEnzre7d5XCO+SwcuXKET2n5ghpE+SczNE1uvaNkfIx2mnR2YMUHqb+fthjyxhJ198O
LAjv+Qinc3lv/5g/8LSp4zH2FUp8/GRDTy4LEGWhLrLxdvikL4cYCRjVaQYbaeNQ1A0Y3RQigcTs
Zrf5awRdvx1jXOIdS10GLDffSpcMP3YcSATvOKDUZIUnfxNvB4gEQhx9cP3RKWQ4QXL02NLoEqWj
NnOj+nTXerfxHfN4HO7fdkM9eAfD8ICK+AxU6uBTO2G6vPgIkEP5PAaIYRVQT2EAhbCRfIOGyUUR
MivgpfeJ3rtbhYepxb892Y0zNpvtou2IE2HGyIGPkFPzM/cR64I9+g8EYbmYWIS4e3GyFfbu/tWL
GjxCOjTmt79shNhV2PX1sG03c5mmOpLVQP7PzzkU+A//FD052s/5GS9zJbIyX1Q2MyKvfqX8tH3M
mQzm0EuG9bslp2gTur2YAaCeEekXznDPWpwle04dtD1vj9vjJsDdEAvCdeYY3vpVtE2uoek/Br2w
HZpTes9HOB+8keHtQgYzRhAYO7oSXjamdzrCG2Lab35ThGMXBMKnccrdxfXnI+H+6+/DE+3V9C5d
kmugK2LCiTU+juBS0JOtpP1DcYr4cNCaWsNq+pwYg83QnuyHx+GBpgUMYZ+GMt8ImReZ1Mnpp7Zd
uCDtZZ10xmZCRx1LbfCal6j4kOdDdaYHdE7tHNc3tMfpVLGsCfmT0JbupeAc5B/WKB09Iiba+0gg
jg5xGXfwvNNmUlNodu7vdtLAqGObkrNLnTIwOEfZOPeOIRvJ6UEa2qvoO6FGFdf8iULx8PB3J3JR
QGP0b4x/GljDHW0h6ZSGO3jdEA4RwiiIiyu/O8VYzRuhGTMPw0FBKtAjWD9mUmOmtNooc3KudMFv
OOUu68Y0Xf9I2x1O1Br1BvSWbUKbgSDuMQR20Ed4sqS0TkGrpoPGr1wawDEB27Dqb5JNshvuhiWp
JXvBVWOcx5iieJ/SEO8HhuE83WJwT1qxOTp5yHkGd59hDh5o40dzWI0ZZhedw2J8PLhGjJy0i12Z
GvPXsfK0BA/uAopWxNr5KBttYubMTjZhxSJfQzyNJ25VbwpYDQhtJqbLqMhhFdmT06pcNWYllsQm
rj6Lj+IzRCXK3u7U7ZiGyvWmJv0v5M3fO0sbeI/Q9eXrdLepyYangfVTxu3kErdYhQ6FE4/G+/gR
mpxye9w6O+2xNa0JybLo6R15xB7Nu903I7hEt749uUTmJMe/PKYb6MnpUHQZ+7MYtRKb39sNzHn2
V/ZP0Y61LLx7aMKywqBwX4a04zUnzZjlYJMYCIC9Rzdidgd7y+HlmkEBfVmJQPnemXaGt6Tj094Y
HN29byTVwAhbTuHtw17cjk/RI8Si8XRWkoYi5aAY7Cl0MoLeokkRYrQPD3hz+tY+DJqXuCQ5yNAY
6XvEFyN50XNgzxmoHLbcNmmVWl0YBxK3vlA29kmbwOVqbx/bBOWwTOTvGQ3IEAIMbeY+/WZy/tt8
XwbMIiRUwVLG+ccV5W0g/2kb1Y35BbtiYJWYrh4fBvwTXwanmEjMYRCAj43zFUVsYsLx1lQ2/RpQ
qydebUKAp/PEaXs0QnooGblUdphTeQ5QXHApZnoCP5nf7hLhRr3FDTWU1tyMmRTGJlZJg3c7EHGy
ClV0xH8j5jLqJQDqPheU+0Jvso86fUBehTNB5yW0B88JFzUQgVvdBsrXyBndh98J70i3HnybWHvj
I6LoGyp31DAIW96ZSJvbQlC5GSK5PnqE1fRGnNMID1gze3HwGyHPk9DE/AxqXPw+ePbBIUNApie2
zu96GY5j4x1c02P0g0fvL7YbR42WbP5un7z7J/aCTqapReZYe4x+SRi3M0DVNnrCn8KY7VC8wV/g
r6PNYBPfeOJuuH/l0mjzzjWGEJrOhkvIajEbxOnyaF2uP5oSXOTNtzVGkXmexQYT0byHAj0M+KV/
QRJ4RSsoezBozHaf1bRlY65OyNsMTFS4qoSmUIfpMSNGKcLlg3E8MQKF0bJ3aLmLDk2xfjtRa0m9
oBDudcLKpdDsH13COpeajXf2bNIadVzsY/glBgeyhRtqs0v7ocH/GuzQPdjFxvgCh4SzjvcGGriM
SJ64o3VAWz9RTe51ok7AuA/svSu7eIu6mDQjsIm/N4Mmx2LPdDbTteeN5M5aN8EXDT932z667lNz
eguOct+wfmke5ivaNERIFIB4qg7OnpKA9m8zfs6hXFTJluQHv8lKVs7bN9ibn8dXHwGhPyMpCatx
pcTo9y861TISZHpcya2PLqvG+OufdNkVo/9nyyShOWG0B4nFofIVIMgSZpaLXKjzcMhxCGWPHpxD
xhw9ICE86TuE6YrX1nW5JI+QobP/fCzJXCILx4BGp/KqoDG+BB2HMrBzdpnPQJB3gnr11Yv5h4DK
y72W0xyaBNidgvVCfd4tJ7VPb7CXRpeg5ii0MOlIAOJZiTHteBNuSNpuyZ0whj0jwGqEl8RckOGd
Iog4HJx7iPQ6Tw4xc0Bo4zPA2uCOoGjvMR1xQEHy5iHPE26oUQ3M923UDazoPmR+cDneJBl54S06
9TfstxWCoYCSgDtS7oeYxhuffDOGvBWew7ZLic9vvpwueSwxDyYPo1y1osaMdNP2OrNTBEZLqF6M
nsGDzn/j5KXDG0hTD+paTu/gLdl9noNr0Bx3pkeyZa0J9xmDVUWXPpnyhPigNWt+MbV2VSElRhLY
dSliRuYpoicDsJtFpIgGc5F2ZQmQ3m1kmLgfmqvYQ3enYIYgI90YOHR/PgNoLQFrxT+5k3rINPQt
7+J9HJ2Pnivl3YO7tHlkshsCWNhsWMDVuOSvUuYeoRlouMiFO8ibchoYkoUh5M04G7h170bZMO66
lWsBZiF5ynNCf+M0UPN0M94JipJbkeVgDL0tjNQTrlL9RDQZ+k1nCTOZT0If2WE0BQVyXs65ewcH
Yj1iuAF6pi7MTL5WRlJhxgrc0EVfMjj7zKIKLsHJWyNcQdj/SDYxOu8uBUmoNHAOADAoyztX58dw
yxDZLH/BgQ6w0dHNVWKrvqWH+/77fXTmALAE2Se+mOehKIqj02KA4zuGW/Ax4wff3n7FkE+WEQE2
foNJVlidFf3HQyrRzkv5ARwIf4EkiytfTsMIrwb44WV+AaFhRTmLLKFBzMSEIn4Ho+UykI9OuGfQ
SAAbppe/FgEwyrGEnylMWjrrxEg6LtR41uKdaBegmcBwmcv8RfJDA6bhMy45RibMGS+B0RIlCQix
8FjM8qbL+RSuKbUGEwpKnrayjC6zk3MMIAZDIWzghjZhe3HmboGXWWibb+Lj4BW/M7BgRzuKOvVQ
Q8AGwFDzQZK9rmf4hBHeFnSGenXPP/bPETKVpCDaxBqXJguJRLT3C2ERpLXJIhxCqix4OGawuUhN
kXqi1A3KgPwEl5yww6V2TsQJVdaB8RLj9J1fVBA+j2RPtKM6rYQw8x2Lzj6r7a7nvO/c3gTdKIRP
1Md35ojJXdNRyD4iGfJ7iKCUevVA1qxKyr90aIU1uZ1aDOgV5e2atGjxcR7zRclOmjz6yTeIEzBA
LrfMe+D7kPa8emye2xtZX4DonMsnfmXPc7GN7ma+pceHhg6uh6z2/euSGNEWvKCmzfGwBB5ms0nf
SG9P/Sa5NeOQYlrqfStpTbcst/15XDwYWsIINuSiCh4tbwUUiKj4keExgIedL33Ouku/c9z1WO1Q
VDIUK3HnNPlyV4pXhszJiG1ORGfQRS2McfBxHdE+AluICgzSFUBWVBpb9LiwHRw7rjVpNyoPuCfg
h+DFKYmvfZuu3GJI2woXFEBwftOzQvHfMk4XXhvtFugLJDvcls3PUEyAdRNcHJwu65lHF44j68nD
Wb9dT6qj5KbK/vy9ApzKt7g7guCBuekhBBiHp8nOIbuFJ9apYN4pp87AbqGLDTT4zyA8cd1Q7nFA
ZowqRodzRiccP9YOIKfR8a8mmhPn3w62FE6D2zdgDX2axzH6xgBNtguXwbWcnrvesjcbl8PhqUBA
YM9vlc7nb8XRQanOPXIsdFB4DTcLrbjBrI4QISSu1pJz14cbzSV9Du6LgtZS5pUTDTPKB8tGT7IK
xHweMwKxK0C/aHvmYbqA4EXYteGwGS4MB50qDhuvApxgxi/sdHD9tDGXEF2GipPvZMYyuTXZqI5p
4Vs8GeASXe8uhObIcFTN2XMpaP7kXlGd5n3VsKlbcPEJcPGUjCb0Abpe1kYvSgtHiHXjBZAacsZr
CFMzqPMc04bbCRsYEcNZI56F1RKoIMNsAQfUxFNq/FWzEob1dS43r7+1nRPnm0vG3mrJaYrlXTds
HUwbzhAlBsVo+IjlEtqGs/qETsrVJ8bm8ioCl82SQC2kq1g/YUkWSVhpi8CW/DxqkwYp7MXvR8rm
6FHGCh3CmmN+jpojSO8hyhCcvBfywZ+Ofds9+s+EkJY3XqnBQC3FjF3l9bT67CA7vLyxSh0/5b6/
Ek3luAFC/fiAlkulhdeSX0KEED91QacdTizHjlQGvBVe6/DgjKGwhTryTB30ehySFVK1ijvb2ANs
YYzkAmYJyVhWBj0B3VDP4rG4GGHt/EDkj88+vFRe/8mCodX4+k7gdVIS2HDOpzatmK7+HVkrqbm8
2Fb+kd3chQIy5UuWC2JM99pH3hrvvgA25n5sydqoXHhSYWi5ixViXDjwNrnC0bti8q7eUh7J5ATJ
ZZ3Y9EXtTH46ThVQbnfWvBCV3LDHx8urEndP7y5CY5496wKYFe6MCqyzXn9cvM744sHCw0NpM9a5
sxrqOZ9jCA5s9c3tRfagcD75IFwWwh4+xtsrnCkFYycZzX/7zNd0VIRCB4dXh2LIMcX3zwgaHQog
TteZ4M14JHmmlrvSV3y+H/mM1xfgKWTicz6e7JL/ZX+0jgw3wVe8v9v61it6JDCjOZ0lOInCPTjC
L6dB8up2aS7sJGTLXC84pmBt7Bmhe0aors+ExErBlILlEjdCUx/9aljng4saY7/nFyGlVtwbMQ70
NL5b55eOX5DJXYhCE8ERnVdUW2hWYGXoKMFVUlFxYP3wlAZ+rCYaVVjWeTuzBPhJh+Uy/AIVezrc
4pww6Bjl7oXd6XEPOdygqy4Re1LxImN0XglcZOo6TjnQftDAyfNx71ovTFDrQZhC1MpzuXcoJ2Tx
Jg/bcFdjMGGs1Ox1ShTsyQrC8NUKuIslAkXEOEZEdQeDjSrG6/iRoHBI2RHOgZ8DJB/c8SdIIKkS
vHgPNVFsi6lt3HjnPoP9WB3DWVAp4G+eQYc6yJJYiusTIz/L69X88/X0O0HTR8He7bLzetNDqD5G
ZBooY+siKiorI7yf9GT6uDjnGDGszEWXmjZ90Ui4me4PHRteF+wSOSiHwhkvwmRj/gooLrm7H0nu
7dcCoB7O6I5PhaKKTLbht2L5UP2ZV0Jy4eTeQuxSBEQWLmVCbiSDWiAtWXfC/AkCAu34zf0lRXAP
HyzwiCGfHHzMKts4lldkSsm1rzWFuL9AbpCzLBspQFpO8OyZ4P7tWPkA2pzOcrwNULIYQT8oydw7
vz3/7ixkolnO9YSmpAAU9LP2/8+l6EfiFrPZcrhAAMHpm4hFN+Hm3/8F2XFs+BDecALr3YoZV84C
Zqdzp7BPXC4zj3IS71c671DPnKPbWT2c334bm3l//dVCR+wVnmAGYnm48Kc1D9eLpWB4hdF07ASA
IRQy/vrvOirPQA3/ncRmhXTFxxzT8SeDJoSD4cofggkysBfYd6R0fwwo40qzwlwlRQH0xmKDkWaR
cx7UXilTpsf4sbwZPaQOGtVcFa3fyW/GpUJ0KjF8htzMLsQe70HU7wHxOhXmyR1AMefpCZ9401ai
+9Nabt3fzYE78f77RlYbb51fSMEvj2jJJrLwCnFppApLh5tCBIYFlNke80YzpHPIr778H+yegsR/
G9qd9pyV/CClMK6z0AjlR+WcK8csHaASdHnoYuQlU9aSi0dD4YdCG9o+2AMUwLipWPm3LHg4b7C3
3NGcWcD8ssVwYb5JO8UnhdgaXULdrWqk9R3aTvG+jJHSWW+8WMutmAPHNlSgfONPLNIUKUyO8XjB
24w6Hg4pHgv0Gs/WBEtNzL3hdr34dfWVE/ciawhV34eq6iLw9fJQNKTR2Scv8gqAgnUe/vwUshh6
cZvghdoFSZFKWRQ1Kp/2+1dsdHBpn2YLjkx14XdJUQL4QsxNwH0DVTljWkRdDAUKCT4T5Jza/Vlz
chXr8bK6gCdfIgXXQJGg7g6yhKEe6oRf0+VseuOZQlBticpT//wyNTjM8IN3i4vxA9s7hXqD4SXl
dygikbtUfYKNifJv4UXUzni4yxDonkBXn7TkqYpwho9llUn75juKM8Q0bY+uBY68dvQ2BNohn+5x
2xhji83KEpWXFGj1xmSJpEfKu09AR202sAWa2x5TeBrsB1UCieCBWe1MsxEUKueAuLxWGDP0piih
xXGnG7EcwXBlNCvhe/tDD5l6OUZsfXLHbfZQZdXe8upz3t0C4ymjqWCMjJPnlorLkzulTy1JPRgr
jSvLfORzcI6CRKlV4730eAQL8re1s7Y85uOS9EgzBhkSZ5az0xtlulynyVOJf9wNus7J+6GplKi1
Jt+5hM/ImNUrcoyp+rphGbsvKg9sDDWO/DWAgFMPi2iBYF4BSxs+zS1xHaDnHTa/Th8bQsHPFWQc
+t51U+A9v2w/6uMmfxDDRjcOhryzDZG180EIITqrykPBzfwS+EvxiVocqAHfnwPlY4UdWGEREknh
s7+yydBhZVz8ZROHeRhqncEkavwKGQDTBVlbuXgySO4m1XGgNn+BWyKqviO4pfzRklfcvay+8iqe
0u+5JuX2ziANyM9GmwBxABhpVaj6DA19FBcO79Uf+ljf1pQ6rT6bc09oQgIvXwXvlqE4L6d+Bkyg
h5xs6uFTdKWRpQqNjwpIXflT+s0NULb6bxOJRzikb91YgctxTteG1+GgTwvKZi/QLKrHiv5chlyy
HBxVOIRsJKTiBiAJ3T0v579S/E/jLpEtNDbPeKPN2cveSo7TXlWAgaSsFAchtEcpdftBbgqGcwlf
BT8eC/gKFId8cwCLHXMCUX2RhdfoHp0bZI6yDlc0eDluFMh4gDHUHs+mxC6whuUAenAIKt6emnfR
743EISOPy2Od6Sf8LATjSLkIU6J8jQaV+6MsvYMCGdvHsnW8NheAhlcXbjD5cwfBKrlI/VLmkycP
zBHzruJn/wa2jY/uuYz0QvqbvjEeVw7ahKnBJDceECx9Zk2gyZrYfsiuwx/UHsMbAa+qx9f+v0qs
oGJ6R2hdGN/8sSaIlEOAIP6RI2j9tW/4oy0eyQwOIxH6tNnK7xpkUIJLlK4ioa6coQ/oQiYvlQOu
JZ1m8Mv7eshrQpgEx7/rHALTramQmGEx2EeKXCDgIiexkgdU4e1dp16HWqO/0EYlSjXoSZf3OvtV
sBk9k97w6NM1jDcDnYDg/Iq0yJcyrBc8Jz6dnPtfJMaiF740XrQsz08way4ACRJtnuFuTILI6WTL
uFwEOTEINK7Swh48k3TMGJypqB+cY4JpDDzTi8nJwLbQrcD/KZ6S0XydRDZJTL2LtHo4JPEKM+q1
CcyZOOaIP4Dfw9SaxCyYU+JfrvtQrlHMmg1NXnBhSWFV56iSC0kcbkr5qQxcvtS6kt17NYQCBQJE
SOW78K8UC3mXsQCJAmemPt4GJKVGvATEJQQJ9aU4Kw+atfCQkwzz61PftOqcX1AMJsdjDupAkR0m
pOudyIBfO3icy1xRnPeaY4qoxNDKdBQLvswKppYRuf8QAbFVqLaBgPUVsl77DFPDqgDujiQ6KByq
yer9yyszYAE+l3iiQ9VCUmSMfJtWb3bUPTnIWAZYC2DY7Bt5bqy7bGVjZBGaQvCir2hPeo8szAA4
BmwGDv9Z1ArO253ztkMiTfKDF+Jq5oPGD1Auyvjg/JCsACdwuheAHellMSw2BGnLhHkFzQlVNCAF
EoA+HpFkm1nQk97g+HI7dxoSGz4KNlgPaON8F6PABwKeMToteA/ZCPogRCQ8CO2K7JyirdXDbyW0
du4W3KyeL/YGRCLSs8sLXmIHKXhD8oE7sYutaW+ukmOT7UKZrg8Yo6UGUjlDPxN4fEtkevKRRiVa
RKOwZnhQIZclRo8pD4i+lMBhu2DFnAQYiZwQ3C4LjNfkoTEdHCd8AKp4SOlzcZRa1tjQf2BJiak7
R3DrWzEdFvrpmp8CdcSB0VX3QjLA+7jxIANn30wszM7Ggy1LPpky+bMZNsOrX3kdx3ZpTmZ037nf
mjRntG18pFEDzI/OLSwu8nF4MnoG+S9plMUVYPlJmIRsBbNY2mDFGV1e0IExVc1ZPS3o5WUSNox6
JV03zxgifw/qyCnmgBASckuTNoh7FZQxpaJJGw2Smg8zSHeFFcik8GFUGPX+FtuoQyqgSw4BSIRw
B5kZbqE81gWnDfobSDEEuSMeVvZQeTKZbqI88dWVStLyD6ei5w9Hw8BTBoEhGBMc3hCOobmO0UaY
qkZsebYGkL1y4MtodeLcCB8FJR0wSox0SaJ5+zHcdkjrDInia8FO+dVLwAhGWE/NiOihWEpRTxKD
TMKmc0ANjAbDZNTId6F6QL2UNr6VWCRw12NNfd33N6vmrMUoxZfIzIR9Cnpv5vDYZ4COJJ6Id5Su
dJSLRgJfpRuEnisHFLaUs6JThCKHVkX/qgyn67VJZHaeyZlA+km6dawf81nDPOyxDlprvLx/x4nK
VbT7Ai9wG/ocTjSgP/7PGJ1pEWAQgUGVX5uieyOBSXJmxi9qhiQBjJsGPC+Igo4tgo4c3xSCuMYV
oHyKCsJpKh8EoIh/Pw8O33B0oezSXo/MOi3eqsiQhKn7SNP6FEmBDvMpGmSo0FQRM1gBaiQIOexh
mpxB0i4MumrxFQgHcTfOQL8WwDZiRogBcWbiHe9CFEr/hd6LJiEY4TKrOCBaKVNuuAKLO+5bvkHl
BrQEiYVOJ3JZxZMl6kR7/JwMOLglGYaAMmjekKUVTlVhEyiPUsFATSYvjwM0TA8pPljosT5SmFQ6
FEVbEl85a4PuEe0IbR4K/QLYXFLLEqWb/GmcDvcD0amRkJ5ukfqWRZaxwYsTOikkpVuc+GGmAPiA
AIIAhBIKBYVp2LjH2JbVBOy1gCdhpzFhFhIWX8PQEP69RoOwGWSzfSxsxYSXT5cRgPMOUIJMyVcT
2+Ot9JdUtCET8xucBbaP6OO7w2Op1CWRwW2AfqWLniLxn7juFJR4ElPWHs1FAdXwr1NWhx+ShCj5
zYq796UFSRNAfqDdVrJF6SyfwUjDoQkp5GZwRy48s+TD9Hm8ePJJOYs0ogpNZtmjRkkTLZqRzcGF
Fmn9Z4tlwWVRiRG0fPPFWe1Oi9EGnn854pO5/cyRGSAv8I6mrpeN4BcklAtweYgNxge2fWKD5XaS
BkgMuoLheWAiEwiN2ISnX6P7VA4VoFzY/g1kgD3PlcJJewH6iWwvHTG8Iux76AjI0VyBMHCnXehm
7XkNt7IHg94CVkKNk+vDZgb57IoTWrHwHpRDTk+H5ZQTpbcQkmFvLH7lFbkZ1emU5225TcLJjysd
WsWwkrP8l3VsgjsIotzECWtd0gEnq2RNCpxJb4buD5ExihtY7XLQnO4jDMDLAUlwtMNjoYwF8A1+
Q4ml98IBGR5A6LUhHr1GKnoSQIF8Cd/MeeGUsWIdmtgk1kpbGr9Hxea5KpEMg/KJidp498im308m
k0fAoqLRded79x9X/gKPEz1HDLKILC+l9MdVpUhPsPEqShEebr11wZvQskUGQN7/fY5IBf9lLiyY
T6OU1EO0bgxEhAqDmsn1UzEafhgvi7obAnw6QySRCREkyL6WJOP/A7fSi9Hwe5+qepBOMqUPOyc9
VPYXWB+RMmmuKizRNUfejqtOryAdKppjKHjQ4h6I7VJ7p/fmp0XBB4G/xze9k1isImzQ0sZuUC9l
pEiEo8e8yqKQmChajCEyolzW9Y5R+fnqqewOtCXFWnMB0ZRlm5Up6ozJHr3SAtwx0X50m4lNj7Yb
kQFtb9pWjoc8vzrdsOMclBRlCH2dGWV+3PNbXzTdUWykNe9MiVeJlOoctFOGSL+Rq9HT89Kco7PH
pSTAeeAt7JEOtt6mFXcXUtYlY+jT8Y2Z0K8r9aDQrsemi5hGsxGniKa2Ycq85Q2usRAHhTHy9F9+
iNmm9EnPLe+nEnYWAsFMsjAddGluR6sbkSpG+6Fh14zq1YGTpC+gs56eJA4p66LR44Cx7FKHp76i
BcMhHB1wRbyxApuFyaGycDySAe4yloViAtgx4+YHmGmlgcBQFObYW5gKsK9CShwVEH8+QyjMpSip
a8jpY/2Bf21y5FkdrfHrwAgAn6CMWy9ejHVsaIwHr5nQjvwFpEveN9QNAZ8AyBB6DxZKSQv5uae8
ii4kOPQkDSYnF+MrsIU6xG4808+qdgB28AZm8CEzs7w4w5OzzGbPz3zUcPnXZrR4Jd3MaybjZVIH
Z+mTjo3RUtaRfgfaDQV4Yez78qYvVH0MgZojSsOLyg/j8cZdADLNDq41SXkNclqXcyJOBh2KjHqL
eZahKnGGO7uBtQZSUHPWhExLtXQJmtkCqPDXlHwJd2Zbj98nDg4MzENOCrhAC94BYFbSsvXOCIjr
1RSh2TPYDyHN6FY8OYFqXggNKfq46xmMiiHR3TBkZEz/RyUIhetdNfXN9qs18GlQ4sAUkJShNeEH
/C1T6YcEN7m/uP8e51o8QBwWcjPOkoUCZjNa/L9JWLGnw7+ZZCuClllxSvVvC8VI9FiBVVMQHguI
Q8OAE8rWhRmrIlAQ+V9v+zlm/rAzjuE4AhmDOBBQkXRfnRlvm7CM2DctCh/NsjJVJFw0o5h6Njdl
QUZ6oJlVTVy0oJMyqZhRQvdc35214SL4t1jrBK1tjFOB4ZxVoEQY3iH2Lsprlw+kdfQeTXiND22+
QvMZ19/pBTw1Mc4rf7X8GXniEJ6uIPlmQEES3hGaTXzdYcie09/Sl2HVn5poZnLOXlufOYsZG3kn
dWfdVXZ04tmRogpt1MFCVQpW7zRE2ZKyXLjvP0c75ycN6mnbZ5JjyLaqRKhiiwaD81x8pRRYY5W1
tJozXgM2THDuI0MCu4F6tWpbVIVetEF7BNpfvBmzBSwCAn4UYiBPfsu3shiTGYtE9Ycs5B29TS4h
DV9AivFCLzyctfntBdEdHBeop9jGZsT+spzFmy4jzBK+htVqUNQmZ55xaFhH1DNbfgvqNt1nyniR
soq5cGOm68j6oVxJurUqUYaVee35dCyL47jxmGmJsKMyFYVj24qVXHAAuNwzFgxzgWiyoJT1DO9l
lo7u/2qHjs81SoM1GVbBgccuyMLjRDmm0GjIIIsh+Ax0JCR+RCwAQWKfUnwxiZC7oBNWe6UWRyr9
/BckpqhL2f4P+8r98Dhlh3BNEvaYoJoFptiJrzzMbj4TVwC4PY6BUrHuWw8C1+Lk0nZKr+RC2rfU
0PbsOeYjjF+W/UOYDvVn0FUCH34bjOEtC3MsA5+GGxJbZkb4T8wIeJsDxHzUCZaNum1J/8MhXMwk
twmrOZnRo836vM48oZ2gLgwHn0im4FCY5/kKIC7Ju4fr9T66u03gk2yoXVsstA1ALEHJC9SMwsrC
2ZWOV75DGRUZbgaOzcd1JmhnzvhkPm4t3zRblAjYl+QRcu2SkucJNMeiOwnX18yZYOB0NEo2VUmn
HSwVrrP0RKA88i6YjcWrANKiSxNXmA4m1kIUNyoQT1ZW92QXLDiWLObT4fLQKO5xjZ4xYTauaf+x
3sxluhYLWSYdK1Cd4SyNWSOtNpcVWwznRhwFnpw3pqWAEcIjibHStU2BBaixzzXi73AMi1jfppIG
2lDrMlyjR0qiNwSeDGdrDsLJRVUMWzzjGwz+aZHprWcYaH09Ak6j+zzG1+N/6OnVZEoQdDZeP7xd
YXrWsj6HIWrJbanD82DnFZevTZ5Zhq9DblN4YH+HM2wSf8PHa/tQ8+lzMtf4Jymm7qH5gRbygygy
eNeVNugOTvqR8w3Kn6cz8bXaEI70lAIm7044wTeivBqUw/WufxVFQP6s9AE6OeE8o7/v419fFmNR
LplR4Kh0y+rXfTw0d7qPOUBIgKfCg4U5zvYj/Aevzxaz7PU+cgTl66I9maHWiWVdenBV1jOkyfg8
ElaoOSo96Mtlu3QVdFAJSZhmyJvlobZvtgnGzIDlerPzMVYf1JhOhKb77AYbK76epIuEiM/NiJA9
MmhWS9288NK7z3xWhHWa3aBB8zq0UioHWxmK6u4368G9u0B9JUWQoHZ3XBMyUHL3bUi4e28P+fBd
HoBwn/Oga0QFQWPhnIGoKLjRIAHnlozgg//GQWeuJ4qeV+fIYmQIPHp3wCTEuuk5R1zpHvAQCM+i
zHFH0AMWFPz0j4oyHzPNGMjLtGr9BTjOCREaCqyU8lFyyCTMwo9A5lofAAC3/V7Py5fdiQ2LEowR
ZeAcVaO66dKS/nQImPv5Dou88UzQyFH9wQqlA9QyO9S3gBdq5ngFbCZSTfOmobnndLA3gFNWTZ58
bPlXrHxvZRArQu38VqO1TbjzLWqcZLdaDDIHSLbcCtAZJhhoEMHhoPFXvffQ7STMohf+9IbcAIxb
TjLv/9EL0r+d6Rlo1b+RdBSJGaWQTOnx7rzfEMTOlhypVfVImKcKm4DhvDkZQydjFil38/EmYXym
LdeFex4bqUQKLktmbSCY/fg+/+ZUQCdVWDD1KQ9bFflDHu1+0Yf/o/G4BX4MkjAE+8iiGyo13FnY
zidnS3/Q4ggn/JC8HulKdIjO3ew4YGJ3RqCIdBwy9DAv/sDIYei0gtuyuahLt6JNj44lxqYMnkSi
ALvACSnKZcYGPITvfWhOWufvxQVP+cjNIqexcs7T8H8IDtKOCcgLe2hYn32I3rC87WreZn0vsQXd
4OxUtIVA5cyGtTGskW/63Z2HrQcVhxPkczMB203VNLzPPail9aL30V5V6FukWcBs8b1fdjV37XyN
8oa7/WoBzlGiOoTVNx/9JFZ+cA00H+3MDMNHYMEBaYY0Fzes4PqJ4HwjqYsgPQU0Od86Hn0AV2r6
6MtnHo3RLy4l2MrwxruM6aC2Ga3WohDJW1CN7CWPrpuNdgMqqaTifeasne/9qnTOFdOjaLAw+uiK
3lKN6ipaUVHPmuMTxP62e+k/bkEL8hoKgI03CNHEUgTbXY8pcmjRd5zDJWANjtfkCFrTohUbyPur
Nz7Gl5IOh4LcHzS5mQ5zMCcLgI4tz7MpP8B8gbjzB/7+l1NDGOh83Ae3komuFHDF9a6QrEtYsUY6
B9h5eDm8wklRe8WFBsL82/wh00XRE5qqMUCB0RpuSWpIXdCAoF58jvaDK+mMjRgb8EN3SPdblsfA
0LWPRqpNfjMsOYk7n4FTSPe2fXu8H9AQwKduBh16uGgptWkrbAIbQ+hpuWzQGRSCwcwIl0iEgGd/
4wobIywAxg1kxHaas27FVeLPff5rkdzn+jmNj44OreCxiQ7YKgTPhOxwjU9PLicKlzdaUhBdRLk2
dxmpnnuXIj7SMAVXidZomnKwcd4z+wfHoLRIHTow2v4+Zh5iGjIRUUjcLSf3vYGErzEat5ODlSNZ
saiVGyOgzKSFh2K0NAjzxUWm7Oq0m+5luaU34+N6BB5mJAfEHuDIs8coMrVZUCnfcWAomitx4pwu
GyfYkXm0MZ3nS2IaHBPplz6vhKllQC41rr7NCOY1I+HTPzbU8LXTWYi8gNq5BpB7IQ1RLPxDXIRe
Jd46vjwdRIyRSKEqwmDv9wtJFpJMjE223NT2riUUnhRjlPvVN3KGL6JDk2Z5ZhM8LIl6NNa2FO8f
S94DU3hm5glfse/FXNNT7qKdiRIEmoes9BmlCEZJWomFAG2XGv8RiYjGw3lCpsrB2DjCj2/JNVBG
5PCBft0p8Zf6cwm56qVeycdYiRRQk2LvM6kMGpBUFpBi3KguSYmmLU0HRhnRTm6QmUAjkXIq9bYp
tweJiuSEecZM/fWghqya6LI8726GicEtN9zzFxftsYTI/dZiNgT6XChYMd4A7hZ/Hpy/bi/FB14O
7S8uVIWYOSoCvxC2vvZfywNN5FH3r4EuGEGDsiO8BZLnhnaQ83RoJcezJ4mMXi+0SrC1YtTtulzj
64AaDNMgGeuodepyf+mK/sOdMOCPuz+Rwh8z0dBW6SE/WFhBuYVMVOTSDbxU97BsbaKW2XWPdOuZ
JmS6M+OBmx3035KC+RwdSbrRxVQjsFpd9dNMo7y75xpFtqLnVi2y0sOi2q6KOs7okt1/t7tf5/qn
5Lzd0t8Svdcbegn3zbiTst64nFPrY8fWVF91Vjn3DhbcHly2CMk/+GjoDbe5nS6qDf1jAD92cqvG
20587CL8g05VHRv0xVvTAvu2i3awf5vbryOM1813sZ8fzOn22a+677vmW8oMwN25pvsHLn3Bz0Ds
AK2hFUWbwNFLGeliRNWGNvn6y+iMO4/kdvw+cppaOZXq/OtA20mGqFfz4l036NaZ45P5UVsow9vz
Wzar24xAZVdurau/J/w4t4/uiYEs2fcxne+Z5m2X0J5bzNiDz7NBr/qaTh7nz1PBiMo2am40CR6G
HTt+nKMaHeDk1sow7h1v84Q10KD+9PjobGaX1nt2oRur/HuY6+JKTpGiMfms3aw9u1kUKmkOtOj0
OdAYYaCEcM/iy3aXZIN7b7JhoH0F2T1HHiM9DvBtmz/7/mcU0w5hcb0oEHjYoRaflYRF741q1dma
AaSu8olfPNbu+UGMcK1cZpUeEdGfWvgFE6/+vDCgGP44z7s/htkTEjCz96ougkfmz6P7vWt+NW7T
BnSLB7L3h5IIkb7zh2fUkFHsRecUNYo7an2wqlGWyFiea2OYd8PWKdoe/Zs12jdmve1ic57fb6PW
bXyjN5XBv/dpjjyIYWFvkae827Cbjb97xe29M13yFF5v9DZe6aTadLz0yVSx440IsxP0kMx4nqFc
tzlhtb2wCH5oxftNH/dgWz4ZAW0y0Dk8tX6bOJYD8iY1NqTYoiyWfW87nwWt7z0McCsn1KHG/TSn
XUgXveoU3TqzdkqT3/DMNPLj74G5E5Bd6X250ntqzztNxBeS/abwTvd500bcnFiYm9hojRrN3+4T
JLAdVEi82uXffyyd13Kj2BaGn4gqcrgVoJysYFm+oSxLJiNyevrz0XNqNO5ut9sWsPde6Q+F6c0q
vCK8yu7Ez4LTodIeuvEzklFrwS3u16JyzG8F5KnqzzdI+lUopt4zUuK5hcRUqaDWvg2Tk5Qbs6a8
V8KAoirv2gRYRUMsGoAM8O5C81dTPirio7gri/quiwUqVCgHCnv0R4UDJGtxjyM9jgkpC0pq4RIV
xA4c46LsL/QWHU2s6DOHURt/lsziiAl2ozh+s67QDig2hZNpAAHIwtJni1tX+ZDGXTHWtme9nUVK
moQNT3kycThWiYdDsM+KZ3Dqm59u7nvEAONY6/OhuKfvg86JNm4FfyWj/H4Oko1srfL42A9clxbY
pr72q1UerI38r1foexlvu0HJThjNhZ8Ij3FAHbGBUFzeQtSaM/fo43uL5zIpYLgdAsRK1bnJYTcg
Dmk2HwLHk6dtzRqENxYx8jIlOqOpcouVm84pNjTQM6Hhjviuk/33WsliC+dGBNiw/Lb602BgLRrC
meXXNAclpJKwlToS6NemWw3SlwGAJ/F+c/OXIKejpZmSCr6FnIBwVoO/rgCtFxARJxXaDmxkLDud
alKOGZxShC8OqNQiy+XhFN+e6s0KZBzkASR6B+64utecrL1yqKmB6paE4VhjqaQWKEQikpl+aQU/
ZTMtcaM6dTXq+eby3YKMJ5tTX+H7IGeHNo9mqbHU35cAXv+oXCT4z+qHUV31ajUO37H69Kh2kmwj
d+s2uqhyNxs00zbUQ44Ja7tTiVlFCioFNuhwLxBFrhASJdrmMk0FCXATwTYXQldWoNbWoHepsOTm
rjeHBPEUHBD78dPUj0FyEbHQZGBRUOelFyk+6PI8r24Nm8u6CP691WFMJtAb23MgfliI3aoBDrLU
RNb7r25Lu4m3vv+TdL9xgzNWW88NZDrfZuDqeK0KKgAfHaEFmhGNta0N0LLojcsybrf6hSCUqCyn
zHfEfHAkRMdHnJUtz2OXwOhLP0zLQpFVxGkZa5CMeXQNJLP7a1D8iC+Sea+knMPvUaHZKTIJ4XhX
0wPyq8qwKgOGHiqcgpA2W18474aIMEUFYVdFP/nwU3lXE7iJcKzFVe7to/hmVl+s0/HYRN+VQQ9+
/rYWibmvwi3njSe/hHGXodqU/2qshMZYVQjtmD/BcGilS1OssvoHVoja2GkJEZHmS01hVGrffvB8
I27eWZozosRE5mLWl5ZKTsErKTvc2ngtZBu9O2ObUqGr9YaRxvKJ5HtT7LT8t00caVga1c+IpXjJ
cZ6VIHR5CyHag378nr8NWskdvaEEX0LRFgH1iAetfqDAKh51FayPia4BKzhO73207t6sJAV/D440
zdKQWKeKxYhlmJsjJ5BB3EBSwDorPGQfxHK1HRgTSOvan8C50/cRym0NQVjfKJAYh4PO6Z1V88EC
+FQ+hDDaxtt0SplFXABTCj3V5Chc6GdT/DSuwmi4vXyIPcnmmWkoxxL3WgnEPZAu4zL4v7QdUmRI
2YGS51TI4iSnSixnfanMg0m8sYFzi/mBx3Eeoo9CTjMCdwpoWXyYKo0ZCBbxvEdhM3Cb8SwxsVwN
8UmofiWtcrXUldByfaM287aIWHM139UVelu4gtc1gWPcgzhJ1jKu8SE2yQPYD2DPRF4RdSSxr+3f
DtvrpjooAlZ5oEhJXBLEYxXxHtM20XZvpAhDUlQBjJDuFM1XNbGQ3/VFnBQnAAcp0RJj5HgVIcQW
fPXQAgSWYC4tYnrmKtoj5iMTzgH+araHIMP7z1Ugshm8OXPc6/Q3S8zRlylCc4Xri0+dSTUOPpW2
rF9hvqzTtaVly6Kk7GXz5wWrx7gEPa492Wi3sTeLjWuPQCF133DItM5R/U8efBDJM03kDK9TZxWS
0wz5t8eIJorsVOFN+Y1jSJDbQEIhIukhnSao1OwaoiHlNfITW+pOAUpAlD6x/jLEQ8kcLqBRice3
3AGNEEXn2Eaj/Xv77dfxdlwLKKoEe/+Y7Jttts/3w3bYdivbdoONjMZTue53/e59SD6Sj+gjPCP+
ckyuxtE4agijTLof6QZBgG3QfZjBZSSJxssOcyFAtQBBWVbwXUHDQB+B1CLZSW+LBi5Grpy74j9P
7PqqrBDu2pj7ZOcfkDQ55LuS/+qdusnW+bpfJMtg060maYqOd9hso320LyalB8Sk+rW/EhXa0/Wp
HWYx1H5MTng4of1GVS60C2/2k6EVSpEIGwapVIDCKBFZnERu6895ajld53ZRyosoWVrw+uJlilAP
KiLSwqsXheY2Wwv8ibQYWRrWQtLm4TgvAJeDNbpPWtbDpTkOZ//Lu5mP/kUoSelYMSlnLMfFhIf4
QC9mo/JfvtaX5rJbTRfDTea/ZJ/8u5hg/9/F9GuPGYS8ypflBs7MLo+/kiGbC/Qi1bfg8A6KVVit
RYJ6vksAh2cH1TqE4nEUjmYVuD3ORam5HMrE7ZXGPkodHttOWjqe7yC8QFbwhj/7PfzWf6RI/6Rl
2ODKpLJt/Fl/4098T+/iZTgrV+9R8VQ8nkq2m55JfJA39S5Z6xt9qS+T/19Gvu+2xjrZVzyVYluk
c6map4ANuUUWLSL6GfNmmBtQQdYSggzYowK9BU7KRv6Sg6vWH6LRn0uN5pKH9VLlCt7Na62ZLuGz
ZVSuzw6V8nCpJahPBJumVJZCBDBXd8Zo7Rurd69jX78rhNqRSs5YgNb96L6tnR8exZi3Aj5D+4rG
X6NmRpTSy+LRvaPwmoEmFDy3l6i0tL0IoNn4yii5m3QbBu3He4j26mCe6oSctlRebYxuRG8LtfSt
yGCNMOioLXCBmbxKcvp/lVNWR87cVqJgL4fms6O+jiNrZ5XAczKOFAtKosgpI6cXvwVKqN7a4aQa
nxULO7+obbHK38QMY6ObL7+76MZCz3V9q3b+I9D9xK1E/ZyXufCM9qTPkTSIZ89Y+Z7HvCbo8ZDU
FLyXa4pgMRO+slDH07xs9E34hi8qnDL5x0h2FhoSiIPQBmQAn6+Deq9mW7q8GY0BmqPhURYWbbxL
tJ0nzQVUBUw37FYBIEykEtqVgbcmQnTtTjHveo9twKJFJwvcvTynvdJ15H+zuHYS5tSGTdJDVGBA
jJQ/hzFluDpFY8y1oo46z5FBEX7JZ4NpAGIrnSP+vnG5ZGpGt7GYdNgHxBzLmXdIDKdHnCawOxYx
Y1N1TmSJYWvmbhVvuDVR4RhIrQjOMCyI6G+YJhQXWO5Zo2vCkhUc/MOTbi6bWym+gJgE+v1eRvJD
xBKQKIQQiLqKvHup7zTrnkSHXL6G7U4D7Y1hgorjvQu+DpQ4UrDKjJM0n0oDmz44fXr/bcuUDW/X
SlwrXEaA67FvCmler6WTIR+mVgB3Jh8o9T5qb9Mg4QkwYK92S91fJd68SZemvMhRkEaECJDhcFbL
CNRd2p76nMrg2JAMjM5bprlhwmL6jGhF0+gugo/EWvrZWSAsR3lrp+N3+n7RHEo0Nx82I0IasD2l
U2l9NP0u6Lg3C5Fej6C9KvXi99ce4X8dO8f3wuBsyVc9duXSXijutbcwAQBX91zBxHQdhju/QHH3
pxEPqncutdf0DiO6EbDUgNAgYac/BuuoIfsS+OYsEL4l6bNLX0X10MCPMmOqLoGHA9uezmBlcaDu
5O4exYdQv8XDxUw+zeBDEPeR9jLzT7V6iDx7sz5FspML655BkP7bmw8d1TjM9UCfgF7kcpJT51/i
8i9KfnpxXrTbHt2U8az5m8LY5CbYHOWSiXvR25sdFranjC4zQrrJLc73jXWuUuZJpDJatzFxgB0J
w6ch/dOnaUtwMoZ97h3EDNBv9uwY9RanqKa4XRf+WUYigI/+nwWPqNh2aJow7CyPsvoRAQes55aw
S739yNFMRy3b+Kjl0WIM6aEp0icle49I/WdXfMbBLkOayndidWNhVCJvjPImZydmpnW2Shp/Jga/
bQTgLD1FLaIs1udAE8BX9wpILmkTX+tqEzeHNDvp7YXPmQjkIWufjVOGdleYSenImOc3qf2kJurZ
19pxVA8tdsPxxoLwrm7f3hakpZU1B7HKoC5H3YemZPTrWwnRUtx/VFquYQNFdsom30+B4BZZPgk2
ajBUd1VlzrqMmZW/1dmVkfWt5uSRbwpj+sygLCThkqH71x784dLFv33OrJH/dZ/90700GMqNSWMC
w4CK600Pg/SMzR/LRDb8EAuruv5L24+xftVI+4uUCz8GSo8KyOCHhXaCctLKbchMPfwIGGkq30Lm
mPItiC5ZcQ7UhZX9tuFNthCDz8ja33vLPMuNKyCbb35aU0ukeQrdr2qRvb6v3KSpWisZZWjtp0BC
3CFkPGKUUx/lEvR8b+vc3ntIEvNqaAaBmo1pMzomKDRElegYCZsBpPOwaLUFp0zYucWwqMCGh3Os
VPjKEKEpgX6v25mu4jklpAFY3FTX0xBySXOcnh2DunzqXrJcbAUaGjorkHBMl3/IN6nAP4kzXm+8
WRgIm7OKT740bCs5zeAtxXZHbx3JaiRveLeTreo0ceSfYXpQzEImsw9kqUkS369enMXUc1hkdtNf
+PwTZFC+1W62ItDpdDcB9XTTjJG5Ik6MIsZruZtILnqiuCwqIuenbUEeEedKMa8KJ4S1Rj0DXz5z
ItQ5E6crnBJLDJjP4NKpCwH5A1ICuscQgyE3ivvQH+FcIq3H6U2Pj5Em5Rd64fkM2XP07v+zkKcn
JZP0Qki502Ay0F6/M9LnFaGbE02lyxtA1A1zA76bQYv1L/2yfoSXfBmetHaE1/AcngkuG88ShM6n
8h1uf41vVoVPPxsCJXe5nPEWeFO8tRAhYjS+p4VNo2UyBWUGO+J79s/8k0kszcSnd5Hv8r18TI5P
+Y1uhLeVgXeol+EoP4PJcwEfhgcdRN4ZH4en8Ar+iHfjXjwr39mxXaHEt80vE7dgshFWkMtJT8Z8
8kCf8OAK5AsLYMw01JEBIE9O6ZOm9KS9NYmNsGaA2wi/b3SMZDs9jbA5JmIN1mP7bjG5PsUbFL3R
8p6c3/xNhff35LRIQzk5Nj+MQy805o8ITgMx95cTxtnfTHJI02wIuAVgbDyO7J7pEp/BNxajuTWF
2mRgg60uSo8QPK7T+qSF8qgwQh+RyB8faFJM7gpXeqPUKeaxRTGfwwivX8x5JsffySjAO6bX4FBi
sjB5x0L3nRdXBQ8NWCfYJo8PkG1gLJDJn+Tw9bt+NE7EZJYAL/9VPjjZHhPA5IMPgGWYm7MspiHX
ix8LOlGdXDOVR/fikH//M/qYPP+GV/E9FbAvrEWwbseyg6YiYj1stkd37a4W6u0FCv5A1rgswMz/
dhDdTOVhQBP41h7ouxwqqC0P/uX728BxebjiKDWf7AyQBs9mHZeh3ajubuDVHsD+GJKYd/8Vvlg/
vOiiV/9ebCkmCjYEEXYWjV522ZtSiV3GX1CnAmB5gGuiC6veST2o/pjKk0zxYrcP1+oF3vrc4NRb
fTAqw+0ZO5TvafjwLV5RiMc9Wdl2p+qUs3c35Rk9/Kv64t8hWF8f+vOwV68ApLp9f8FRDDkwvK3q
y4jZhopzYnSPN9M1acvwW7pxh6lH6wfJT4lpRzqBECLyKtCCsJWBnbFbNSYBz1akAzHBFgp6T1zB
v68Z2qXY2fQZ8LtSQR0i4wVGgo8PThqeH9/VmxxwZO5A64Q5B4hD+a4zAAAdTPChPcbVx46FG4rl
pv2yRColX2rlwuw4i+ZWNFctt4Lx1s35qMEwLFzZtw2gK1hHYpeJAmZ98Rlk45QKOFCdvcEb0nWZ
HjEdNJc8WIAR9LZzwNyeI0rzIXLE99wgZ1U5uCYHLbyvKpp7fENp8gyPKoepH0lCXi0DzfUGN9Jc
BlZROu/N5fxtOobsZIgPkJ+XNoNH4kZZOTIdrmkoYNe629a7FpKCP+/kBU38GIaRPzczV7Lo1JOM
by3t1BYXpfjw4PDJH0p+CVEg9XdxfVJjRl4Hzdr1WKl35wIXPSRAUKq3dqJ5HoRtbx4y46oMR8wJ
/U89WgvStgM5BNpvXKrghuN1J61DaREya6tcwA+4IfIxHO0KkMFvSAPuz+dc/SF9IXW0fhV4VF8l
DjnGsvnGpwoPBJYbqTDDWwa67HHSfRJ9YgeORYQPnmmFYBh6E0wsOtLlOd3kLnLfqpO+5zTPBJ5L
aWeAb6LJawknYo5o6TSRphhaD070dkC+NAQZERtEVOedAkA6s5QlaBqWDZYaU7rE7JgeI82y7wmU
881WxRibfc+Tnn4dH3iK7YkVnNHyXWLKNnkC68fJ4oVUAhevyZfa38nH5MakfKtPbEqIONbJ39V4
f/9jT8KpghO8ghqF9AwenRsdLtCEXTOB8jG8u03202DG+awBTwjg9BUqD9Z//7xLjD0aLZND9arm
NDD2QOxPvBvOA4TXwO1gA0PqieMS3tJlZBcwfm5s/n9vWDlJJ9qTW+l73Ad/44e2C7cUlzs6zskn
bQ+KJrpG+V8HWqRe6KNbNY/Iuvr1I6GLKeVAWPSv1ojYjV+WGswM/q8FFGeGczd+k9Rr6kvxrlJ+
1/KDKIE/YNrtnVncA75lqBcCEm9cU54nNe6z0zy4tebo0Gn0PtC1JF1plgo6hvVcMZlyOdrkYec2
rPlhIalLJlsDHQ51pUqbIdp49UGFj4IqVr8oUA1VV3G3TOUNWVMku3xxHKxz6jRQz3ArwmcAB6Hb
vXN6CesCJSl6PgPNGLccGW4sc3VJ+RfnC5H0GikqZSG/FyUcTu/A9jHzffUTSUdQIZq5qhgwYz8m
LmXWvDTBZRJkvyCMZ25Hzwj1rnQ5TfdLt4/mOcqQMn6sC0/lrs4ZiA/KIkxWDQI6k8Ut7h5zv3fT
Yi6gjxA7HLIK3VC674EbIDYZr3QEDaQVpZfBDB10B5D1lE49MKFdn84N8Admyji2IG+LooOgyqWr
R43FtEiBzKlmy6ohQQVGoFW+rdNbksoPS/9VlNdbJDexUPhcyLC/2sUoHBKLxVReeGB1sq2yG5Vb
Gu4SDtdOuAXmY5DXCQshZhOEPjH97dtyqbiGUIF/MZljR/J7pFoTdnRUWYLvltmQkD9zyXiOMeWU
L4xAPtqgtS2J+Odl/rwfGtTDxaF0Yyu8q4laHoPY05+NxtbXjSm5rNq9Kha4cHUiKmtFF6/M0BSO
Y4wTd72rs7UfuWRn1a/4JNMCqCLfKWseYFvlyWbWdBTLEeSVDh7sEzItQYXtrkNxpmEBtpc2LMir
g78l16oivM5cyQMryWHCNyU4kSZyZDBJIA61yhLPtuhBGGqJN9K8NOeS5NYj2Ii57i05czjpgXxx
sJF5k8FzfMQAySSQgbMW5J7Hyrat0h5QmEbXhyqaDIBQTEDmZ5n/LLsFdMCBQEdHoiPdg9abEIQy
sRAs4jdJik9ewndGWYSuCMo131GOJyPsu/7MSoyhOO9KaTIlY9ZCYhJ+5ObEZGTep93oh/Orpa4o
A4haeMycGWUQkoBN3bsd/4jkv+ab8r6uKcZoTCsC4vKWKuUSoMDJZTCWzAG5aF/OpCnPYGtdfPo/
A6oGk5P6rER2A+dgfFC3HP+Ms8AR0GeOf2Sc9IAl8UJ1YJipHwCcwIKNKK3wFQCE/rwPCVNuEcNV
/DuT55TOoptPPlFe5L/gWeyHH7LOT0AuCQbNfI3+J342UMTGC9P0Xw0/bmCWMkIWAKchHpkXKFNo
CCoPyJ63Ash1uuixNCx2zTeZrfuAHgDUFR40pHLoMVCA2qfA+Zp+S95H0iytdM5e8EAODvPOcOgn
KNYiFtcCrDnkPYnzGbF20b4P4vtZ1msgY2C4Ou8M6q2pt0G1qpKliqiRAmp0F0erND5X76OFb1l3
02n0hu995q2D/ILsa9vPI/UkGD9F+QDIMjpB6Ehoe6CQh4M3eDRpxf2rqTWqk1ZwKmwK5Psj+Wmq
zSyRXl527Mz9IK01/6cJLt2nj3vpuAURCaYRz6LoWZy0ufEVPMGf0dSkkzHd9q6cVbTMclaOS5iH
gc0E1+LRIEBGGYDCKygHBPMkB1yQj5DIAByRHzu5tYoYF6PnOUxxljuvT4ZZ6WuKV/KKcMThQzWN
SyF7i8VMMMIeMLsR0om77ML2hqMdwYQ/3+LWjR7M3wlb8jOaLMTa2wht8h1SirDsmOqiAY6kt88M
eCZxkHxq2wEomMIoxOYAlFGxA7nDjAD8LDsSBNh7KzM1aF0SMtY7sHIsTRMqYo8hiE31HRLco4WQ
QUUiOxaQXKab3WO4CbtP31XFvK9d0AMKPGN5oVUrjmbOX/JCjQbeiI/hRSXpLcSvDldM61NU9iEs
vJmIHWf0VYMyf6/FdiVpaxPavrV5h4vOWxbth6EuGOiRKfJTc1QvI5CyU9VKYSdiksPAh0H0L/kw
JWmI1pnnqlhAA8tF5u/PuOI3yROXacdw3+0An4vBTunA73Qsw5kvnYElvBG6+arpJaOITXsIlUTD
MTAMR+/mD8wN8b4HpBKw19d8O5NW6Z/1LQtzDkPpQz/IiImet+jHI53IgvuiAx9iUHCI4FLgSsmc
msEsImlUGszkpzKbt6d8N/Pgs0WJCElbxsFAls68L41PcFuBNB7GD+EqfZjnKPmq4oc1nKSeKri5
Mx73WmDRmzigDqv3VXsfk50aHX3v04s2pbbQhaXVPcHjyNLGA1U2nkJ0rSBA4/ikLXyazOgiQm5c
p+aWRgd9EpxetdzB+4s0gBOQtgkxh/OWTI+GRcZioOrHywY8GsI+KroAw6eOwEloJ8/82T+lS3Zs
ThbzNDSIOdPe0xKsPmE0q+jhWDPlN4Mr8hego8DpRlFGkngBeETBoDxggnPy0/qFxotBDKNeEL5s
EPTbjhQsNLMlgzqT2EoMUr7FgxQBUXYMKOBfJqp/iB5EDi9qHhI++hZ3kBfqXTjREpvw3cAa3QLk
PU67ICdutFzqB2tdVekEzqwTQQs69z7FeVBwNWZpM34oiXU6QbqDAw1p6i9+eA9tj6Nwj9biTzFZ
Pq31I/vW2rNXPJoT6hMOygcXwQ++SoioeE9qyXKq4eBmIDVAuI15Tg4ce3g93YyP7xdVM9VwuNE/
q5MRgoIEIn6ltOZWl5he89fwNEDSELNeeF2SUkAFo7wlpW5B4clXat4e2z/hxCbWIRAC0nhQJKbs
8BtvBqhdUizybOlB6gdgFi1LKKuoubEZ8NeGxZl/ZihpFBRK7qAcK+Q6399iuh1RGLQ2sbjpsEel
PURRK9qkBw1zcx4K8mH15ITI3eOoouSYfpawIBWgBZMt6RaaT/+lP2kfmE/q7OY+3PVnf+KsEpFE
R4YGvURw66BdqPeePHKmF+3gkHoQRcAudkBGSf4DVwkcqwH6iXe1njpm6gCODYJFO84becEfpWpl
VctqBCPrWOhmhdMCaxEaAYnBMOW9ojNoCRv6yGqwbmVXea/aclFTs5L+QmHBXX7KoqUWxDILWgE/
NM4jXsJajlaGdci8Xc0wCy28gUNunQs7vbAt6DDBYvQWveL03rwLVorogEyTKKV9W8idEdntCcY8
1wIHtI3812JO4IE0cIoR9Al29csY6grYPiBadCLcCf1f2WbLfnSxhyZXkqV5lFCxLsmeJGVZqyvw
MLAcFCYo1rwtXAXVnxrOgGuObgm3J52n9AGDDWUv8HMYAKSP+h9+2aK4YnJASBag+pdE2WUz7ihR
rWIphXR0p0/2uNONS7IPfMJ5rxk4PwCln/jOTVaO2k1Ggf06eRYSYMCgghomqcVAtbbb8wTJ+yhY
Chf9pf/or+ZFu4YXfU5IziTv5HXZLPmlF4Rc72R+CHMd5A7lbHuOKO9xDQedRs++AZwzQ0xFfDWn
bg/KX2Z6BXodYFbnkA8VCJpqk3lUEdjZl0RLU3I0plvkRggnId8wLE1I+IaNGQwRWhLmIusd6Qy+
O9LnAA3Jlu54EwK99emroLkAV4wK49PyZgbiM6juV6smWfaYUikfSrwVSVIIG+UKfj5+EfKlsPZR
jRo4kI+1grGFsbSAquP+hb1HvNaJAn8pkG/11Hcb0dxHrCDroHW3N8oO+aUbDmP5FURbPX0FwUkw
D3H+W/TfcvY0gmv2vqRIT6PJhbIqvSbpqnjPNtyo2VoNPzQusZ8n2xTaM9sjWFAFxczk3itx4iRV
7c4HXwpiCni5kuzM9t7m6zf2H9ZcydfMKmj0KJBROTxjW+yXbTQXk00FylbdRCiC5quoW7CWLHTB
cLX05gXKBCLrYyUV6xKIZb/qKydB215jBLygGg2HNen0qPBX66Zd5tkqeE/LNcP5pl9A4kGMMYep
A5kXzWbSNNTJkkcXbZRiYbbLAKD4lPgfQbIFKutykXvOgDM5WiaIRb/Zhw7hBq6OR8uSkoxYwI9D
JBylGhTXkUGJXfzKA/iD/8yWOf6mYojXihOUFIleH5UOhQxVSfbgtGLOMakxAOhmwsJZX84A8zDI
Y3kJqDImNg/bYO26PcAsYEDDXIJCMlBrL1TPtYDfUJKP9gSFB0YduGFIq53ZxEzEQzMF/YEN9wQj
cuYwbIZv1bexu7/SwjLgn4PzwheisssHjS7OUK6TqIWruwY+g80fOUSnHgwH69qagSWD3VEgYEcZ
0toeKiKUW51ddrMB+A1tGc5QTk/0+CkzEWudRjoziVpPBMnjZlhyiDMZoK9Bxe4mRJ5sqWTztrnE
BKJsXQuLUlgJiiOh2SsvDf4KGyN1EfjLCCf4ZtU1cxN3MKj4/36fRJjZc+ouK9xEM8coQZ7NjWrR
yQjAbHRlIdU2UGaF6rG1FSoCZt+OhaqHOK8zu0c1SrMDpMnKfx/lZc9Pi6aryZBWRag/srlKPr61
WVs4fcMEjMk/rBibFBv5dLOcD9d83h6mQeKDsEnko1PKdIXuMbOWBEKmT2xAb4ZCUgLfSlJoU7Oh
vIQMUrMPiVSf5CcFMF/ITRxxZCot2bkHBBoEGPMpmwOQPD6FPFi5/D6DwI521k/VO4x9eziAz4Q5
CNy1TxnIGtNhwOilraDlFToj20twZMsGxu/RqxzdDqIK5B6oLdaipFPhs71oqLgBupBgNGAAjKvA
WAYmiNPTKP/l8meFL1/1FdRr8X2saEPqG/5KKpcK6hv1umhOtbAbxCXkGxGyE9rY1F1PgXIjX6jv
hWIti+40VrvSWoYMymXIMKDrnAJRCcEluNX1MsIbWXSoyBIkBBvHN0GCTPuKOyWT5QOb02ZQuXLI
KemSUb+sLDwyEsAymUO4AiyuMvJ626zoGDICew/4OUIcsk0tzZE9TCQJu1UIxA7VUAPdghgIZIh4
QkEEsAcTjwIEgQ2ojaUOJ4fV7lMRD3ZL6cQI9J+lI0d4ykwktyl+walIkiMwLfqCW8F64Eyfyrty
lsBdJrmH0kQMAJAPDYl8/k84a7/4wvFHijMWT/qJzlWNpfU0h8kw+mzB8D1ZEeJu3p+VLXwGAhZE
kvIsvrgTyBYx1eOuKDcS4YZUEjUJilBmdjz3M5MKBoGMLOhdcDDFMYt/VlwJidQ73NdphnidkGH0
aa+4NjOVwjGX7gU+Xfz7bPoWLxAzAzf8ylyE1BveG0LhZNy9nZ8NBoyTcfPwEh74ed8wzToEX7wB
oiYftcfw4kENr/pcfbzzBYQZFiKsPBZlsQ6+iMU6b3nTMZuwNs3J/GkP3meOWxEDZUTXbvJLvJbn
5oNoO7xyHFalB2+KAtOiS1/bw7X54GF2396n+NIe0oPrndLQaShDB4TtxUX3D5jSbD3uE7ksShjk
sh/GY+pRM9Hpitk0gwJ98+9ySWR3yo3cgXYJFSXpAzePQ5tp6DQbvbJZU2Y7xbo9tpizEvOFr/de
+aI9Pn4pv5zWRP+Syu1cf8HYkrgIqIYg0P7CP+XsYR4KJn2ifcGesM0darRs7S8UcWFLTU60lH2z
bOt/Bqvp60Bp4VQ56eCgnYsDj3ZgJRG2cAuYFHg53bVf4ZepAwCInbThiJmM58nLaXyX/xpd+p30
lWoje0xZ8L59TGMozIXZC9ROEw2KYV3xzRSPBA9L6/Rj6nVhcfTijnE2rXEKZPJTX6J7eTG+ih9v
gNimg46/6J88pY4F9l18TL7WVMOn/BLxeQP9Jb57+mJQjnE1TS5+pRxj7/5rEuQ3WpF020ilb9T7
4o6SgtdkIq1tkzvnnAAPFFkgSB6QQzOXQQopNoljJOyMamUMm8Q/mtKBNihA5Uw/aOF9EE6+AlaX
2VH2oyAT8q9JQMQiXCkTcfeUMi3PHUpKaEAWIjGZXbR25REhGXCAwnRTekqpK+N7Mdg6ChgKuF/k
Zg3LfteLxocCTOWFs9VaidYa5MvCSQZXM/cNvmx0akDeYWsIMUnbCL1b1YtanXv9vqD0U7K9TM2e
3b1i5ZeOme+q8VjHZ2pEfkQ27lp1njCCqdeK54qkuOTtNNoxIqObSwcHvUKUdnlv1iz4AfeaKja1
EAhkkek6LMyceEJZv+jzRSisjLebarZCH5TBO+Xm4MQIlmGmjKkSFoWSm0kuAT3FPQ26a0g3BAAc
tBLba+2wxttnmrcUtUNnNIPCHjGccabBFx8zjt95ZM7lZgc9oACKac6BPwkl4y8XsLLwdhXkDvUl
wEJwbiYsUN+hg8gY6Qs8BbdC+EwelGkQk3V48AgZ+BN0ITjId+/Zwd2YMfdpcA1h9MlgE7YD7YO9
iuYsmkJodiCNTslBeK6Zos37aqPxcxuSa5usa4qnEmAEqi2b7sA07OFAgA0+kRcudF75PiwNEfMi
mArRht9IYE0BzuduTieYQRPS1OqC6+VFKd4hoooaH0B9xJ9Kag4b5oQ0zjzMk7hpwjSnoaqElc6Z
RVIDaoHZLLoie+pO4xS+iO2naUy7my6P+fS/UpQvIF0ElMyLzCB90Z8OX2zb8l8tfGHsO56yW7gb
bxU+6KqLRz1KgDR+J8AZA0dK/ulMrxiJTtkFY22O8+I7OXRX5cZdoshmfzFGov0NWEOzeHbT9Jir
pkUCh509SdHDEaHe5WO91nb6oTa5PG7WTPxtQR1/ClfhZf1Ud5Fu0F34DG7CawLvgeg/p18NWR1X
CfzoqE2tCR8RX+ZuDwB4zPu471PXkJ48YAcG8RcgEzx5JJMYtaI2CYGOwTzvgonnNEOY8bxry0lr
6hdWogOCBHyJ/mQ4SINAwndGAHZkc1toSRnU7GhOodVvgfG26a5FwDWaacPSWOvRpsSGDeWmbpbQ
yUCPBPs1zwaX8cwmaABvLJPs6foZHw4sa+6ewzhywpM0c/AcbAwaOfQdE21RIxGATIoxXQinF3R9
RpNiBy5l6grwNczeWcLhN6Afi4lAbjegmXs6EXMVFQyEQ/M5kyrEUIHG6wsFSY/YSQnmOuQNNtzS
SGwaVCXw5NbOvek3hmJPuToAR3Iv0y5QdJN2crLUrBUzvMKfR7pLEwBMP2G0PrcxGSAwSDtpph4+
HNQU1YNhQ69Bhzyhbrt80+E2U7v/o+nMmlPVgij8i6gCZHxVBOc4JMbkhTImAZnn6dffb+fULUnu
uYlRhD10r15rdQszalgWxL4609VDScKmSpKL4gCjIxqPIzDlzQExKOkQfZL28yb+QORGCj3nyXzI
Whe1EET/lojG5iaVveOTMNVitXFUcGM4VTcJAAKjZWkToFO0VlJNSX5f4GyC5ZNBqc5tAzezV4bq
VQATzCQUwSw85A2Bq8krK9k01T6i2S3ujDSFIDYFLEEz1IOduxTUqayTJHN9hIwVDG+n7+Q3+Sch
raZ7jSBvsHeJDR+hLZQN4gpFGMORRlmhiPdGzK1xC4vWLRxlxN0Y7OcH6bkzrMNQ7FsMFX/jaR1l
LwnCPNmzxpUxrgjxOrIuwFbUxjeSKl7LhpyMqB04F8PGADLlUhuXpP5d5ZB7FeocjSSpGhEfEUH9
myfzAkP8wJlwwKMdi+7i+k6MSNommesI6JEmp5KbEojSL5a/QxFZo4pYazSdnfa+vImCc1StArq1
IYinhRSSVh+MdCVHm4kUDD3pokaKP85JwQMGj7+0TPEyRKxBuqzwiaOVDOAGLbogiBKF8iuqBP4S
jf0Mk94X6jiEpYADIwoSxeFKzQjpLS+ly2u4HHuHj9ao8zRbylCLVSeFWU0L2GnBdTAqNzNXZSpq
KoTRjCVi1wBbKK77XRvmMiVToBikHKQlsNNiB6ZAiCEIQBSTiYLIsAD3B5eKHoCuEd4WYOkzmJcE
avArCFoJbvPYE+hv4ZisiLJDmdenJoxdBjQP6gOBGANpK5w7WuBauHXDghABWIdkx6IRhuUozZKm
aANur7Rz6UC43gPLidqNFa8yVkCb7MU/FLboRoRWvQuXJo5V1BwRRuLmgF8F7Z6tBR4F3Ok08yx8
wpmtDKt4AzjFzSYBD/CeYJdWvAD3PrQboTOoghdCOZl0CIBQhDPMLuYNPYTJ7PFFtheW2AqdGefa
LGyoKqwlfB6mHFcOE0L8OXCHj5cU87hgFjYU7BMdsbJjPiQGymzBUffOEwxQGFz6ysbCU09AMMsW
9RxrHLuWsCbgxgAOklUwz9Ur4Dhqujti7/JqPwJSY5U7hnGjUx3zMwFfy6fpGQxwtEWaVP99dJKV
ISEJ5QTBfZ26cmlCSovgccFIehIltjA05th+2pSfsC6Cv2OT3tR39Tq8Fh9TNiclM1hd8Z0YDz6Q
MXJd9glKUwTVNByFJ8SCRimMOHdh4KlETPuh+0IkLt+BJlNCQ7JXWmhk0GwE8YaFC405dwwArUG/
j0tQuAQUFYOWH2bLtnZBa7kPWbOk5Mh3YkqT4BJWceoCq2rUobjtqdthT4lPIO2FqkWNVVe3UGtA
vDln05IZvLdv0DjJMwLGMkGW4LGZ2BnSYhb3u9iJaD5BML5l26ZSDH5kQZz8C3cgwgQ/8GCoShNi
aHxnHySIAPphuxL7O3kGARGpCjVpno37FhgRfHGYLjPUeGeih+IL/5j4hxig1uYzQCw4p4Go5GpX
8EnuIDEztKMJ76jabeVVn2wq1KL4/iKchdQAswx4AZUQaFqJDPIxztx2WGXTzu6OI1yKwg1MBrdT
Ny5UhQ4sD3N7moVVe/joTAAxXdozZgMBq3OGbsab6hUQZNgsbXMFPsH2Jkw1KbJQC66Q3aGPXVeS
y0rqjxQSF3KxiOARoqqx5znbOE5raC+AUR4siiVyELq3sUCRYWPUbLAVLQFX+QlIWITYORQDCr0+
LiQslvgXkEG7TDmfIPaTtVM74YBBYk0pVB3nsmAssTdxMri7sDKxeJM8gaCwTgOiWBTOmC+89DF5
ZbQIww5W6+4GZutTH3+0nCHihQFiA+vZAoFVRouS2YKfd5XAU+t41eBFa9Hk1mNux2AqKQuSw9re
REDhgCKezAJBFP83Htk0mmYz0QpphKHiyRh20m+IJljgwTT8lT19tszKterv+B5obgi5ZzXJLs3l
Wxb+aDUL3zrJbXrEIQfTfMt7hw7zFHJHfK6QgvWOHsA3XrawWLJlgwrnCXoOn30V4eAOSR9/32KX
I5YY0P4e/GGjZffnW6jSscCK+v2z9lGidxIeKAHVMi3vRUls1tOsKovtdSx+nXXoymJ9BmSUy+nC
UgualcrluPz77d+3cdDBVkf637bVV0bsacDQmoqbD3cPjQEh02wzKiuhNsWC43lsMEpPiWzRYWPN
YuxNs3HCQHYNmda0FQSAkMKnCamrODX5FL1WSvqjDvLwnpekDUURh6dAt0OAhpqSUGyTlRsEdLVk
FJ7SJsoxUqQni7VheC1CdS2/ACLHuJvWe5sbTe0/1WVKO2+Vea6bhyEdVHxmhzFCmmYvdB+Pngay
dn3K+luOzTPIwXPPqcPt6RGVjczahChwqmaLTPtVcRkfnS7bIx2KZmxm8b4hP5Uj5JohxJbs9NRP
ZLKhfrXjtzA6d9hm1qdSowKSvIRPjC3sT2t8mynAStMuUG5jbFIovxtAAv2PkULQEQsDBkiev5Yp
tAZQ9tHe1hjSUKjR5bNOPtJM71b+U7BSZoLd3xsf4XSVk0dTbRQqiHr9/jQPCS2l8stTl+aVv87T
9z5ZE7EG9lWnsDJEt4Kd+pl+NBUJsB1A106dySYmQuw7YT3xo6r7khhRB7eLX6KBdFIDK5V+jASo
BzuONPtKSnqZHHITbP6Jmz5T108ReaPkUbgG4D31hIkngIwhq+SezHtoFqUKy/PrKUFpENRNoiRj
BqXbCD0NgDKrUOV9DSPtyOk5bZcUYjpK19DlQoUuDyFb0/iFMl9YfNhpsyxrjBdjHFVe9eGrRDza
9rDln+9GSKqoY1kFcvX8iqdbgWhLfwLMDykVfi7vjFHE/I+iU91vGu5zTxRcS+tgViPCxf1Hw6Ci
6VGG4rnHqpy1sCBIJBSN0CFaJQEGOao5L+FEGBuf7thTh68Uq4iaYPYuk77hHDOxXYp/P4nwh4IG
GWzULXyEIn2b7Sz1ZiGfLPOvqsTGigTHCmhDYtELjXQKdM16bmZPBzGKLP2U1q4uz7J2Ic5/4rI/
bvVhS3w5FOuZeQrYr9Ct1wHJUPdbEJDFkFF7JOdPk60enLRBW1Vuu3Abg9lVJnYwsCQAl0wSeQvr
omk7lQRozMcyuc6kfQtGVtfVIlJ/c/lEtDrBe2sQLDcMuwqx5zDOWBs3ATpZf3jRskOMrLJC39vi
gjStOo1FxgbCKoZVA6yeZvaiJKXMio8+xkzQ/DHMi52kq5lJdR5t3yTj19vQs9bfZBAufDb+zMyW
lYl/dli6GC5IIYhOMDHDpeNTYUvN0NZL9OUxI8cMPaqmBblmIlagkIEw3VIRuynt1h8/UMDElFLD
yVpihf0KTRfrP51iNbWWEBJyGuE9EnH1VG3fwaiomgKZW7qWUDwrs34lkU1qb9ZT4/6a3Wcp27hk
plWCq3lEAVan8o3WJVUx4aG454YSNOJ541Mx9DIi2o9YQALSvcGFpgGOdxGwNuJ01uoM3eBcp3uy
sXz4eOs3jqVRRn2hfD6klLUcpDTKUhQzAVbhlGLXD7WBfPBofOtw/ekYanpDB1RtuvXzmlO0+9bW
lebBUTMkz8jd4iuLT4XmjTSr3FXGaeQpuDI1rq8eECKduWi5goUktLcBn6Xw6AVYvEXXMDmt5WAD
YSFsMRfOSJ/pjkxZC9KOET0S9a6yDgQbqsZ+tqDc5s/eoxaiKgFNJ5xpMqB1DEnVc8r7Au5nI5Gq
ShShrcjUwS+j2dpMPKR+2qV+UtXeDs0B7GrUcNryAAiScaEzZqzso+bZGAnoT3o2Ps9mctFJSISF
C4oeXA2vaUMXM+ivBT8gcopQ0lnVfiRJx/2IFUgCO2n9NWcnSxsdn1AiixpU6V5rpEFHYwCMymar
GmqujtdD8HyADXTIsaTxXPu/8Vonyzf9Zd5vNWQiuvUOYBHqiYPnDEp0617o2wJy9VsAiXtVLPNb
epOu0rX9CL+0f1wp4xtsAvQE/Iv4j+9i0qJxYaq/wXwDjS/fsksLpa+4FJfyhL/diSYaeyhUh55H
dSzPxZEOFzu84qGNKThsC/a/vB95lKf8lPJFugyqLl4ruvC6X6iAvuJP2HWf6SdChi/z3X4f3+Q3
NIcH7upWvIL4ewBjBBH5KeZV/skzoktwCi8pjrDYi5/tg3muvv4qCs0Xeo2fDhHI8DV9lQgssJbm
IXQTVLz3ZHESopXJAVyw6W9At8y/A8KwoOADwVDG5ecYEv8VUqNmW6rbpBFH9ncUWJFiK43TGTLY
F6LuPzQ8RZeiY1ZlrnpPOPcPOPWJVuYtFHfgb6YokTz4tYaDLHscCQm1COx1whuBJioRJBP4KAH8
RKxCeDSIdARqqw5lCEC3Ew5bHKQpVFXJmHpvQvASzrUfElZ2QlGpean34KR7ZB9bMuONSUNW2orv
gi2bOU3Gk2NyhBN6xN/vKL0EZx+rOfnXftiA+tLDgB8ZfVu/PZqc8R59yPcBbL09T6/9eaAmIr3L
b9I7yhUe1Gy+2h/KQlTPKbhAI+UTsmNz8AmhLrC7ghBxKJRPHOs+fo6feDk8/j/bf1gQhQEOI9z8
O6pyE6DSXs1ordR6vYel+sp0TQy7Guy2KlzcaBID4UA8osVqNt8WgBD6/AoOR+Mug6a1UEJ4CM99
2GXbjlswOT6qJvEwsCUTwBcH9EWJfHESB2E4iZyxic+5qMT9pXSkg8a8oqc8VVCE1knmVi/jvkHG
hCPytmdoVseCR34W/Tpp334WD9GmIHkNzuLKxllMhEymDV9Rfi5IuA2ChafABDhAGjjQvfw7EPRR
ViplctGP4BOpHGIXZsU7+qA3852K1wmxzKV76V4EDzP6GCgFDa/dsT9Tqjp1F6pZzBpxW6ioMJtm
QgfF4M9/mASokzqmhDDCr760D+0D+JYDvjClK7JGETxYCFDmUNxEFQovTFBkULrLvyELgvLvPoF0
gKCwWnFQspmx5/wdJJ3/TpWOP/jUiVOtT/9OFlecY33uXsuzeqXbzlW6jVSYzVuq06mAArKVreSy
94bXhOEWfYiBB2n3N/o2YPCG39JDdOFihLJcA76Nv+Mv1U2MX35nD+VhggHpWPlHMmQH9pF62cPu
Szi1hvAbjCBJ5WVIdqN89BBlpfQjlW20oOpNSXAlBqVVO6rvXbDQ7trduPvX6Bbd+k9cix71wbg3
39odkEDgBMGc2hAH2S4uP5SjoMpQKuIAQpXDcqflf4adlgcbjHxugBpNQCD4t+T0A1DQc0GM1VLZ
gc1aOzo04FDUmPJMiJeDbAlyAgupD6kf6PZKgpBswy2kMvg+WW9P9VXpL4FyQk1jW3tb35nsjZhh
mA7IG1BcirJR1AoQtABUhjvJ0jwz29nytpPWQ7tuTPLwdVVvRs01L+au67dTvyVT1F+Mk3TxT+W1
viav2SstwblN5Rl7UkaazLodWYTyP6HCdQftrLwSQIxms6qrMT3tJekdxX2tX0+Sk+DkYRAiuAH2
1jtxE8PvYqIdSCgdIFShEprGg2K/SNOxl47BHeQEqAhSCYkr6B9QEq5gIIjAh0CGCARU9liaBlMK
otI+8lWxMnax22uu0niws6BmgYcRYBNdkTu2Mp9xjT0k0ieLWqihV25UvigBuu5dW24nDK/DHage
a31C6of2FTo9U02IBoPPDlGM8RG80SDgnBfDQnTZkc7+kUbgF9y+N9QY2IR6NiN7S5scNrn6kLGm
zmipIOY+aOlr+GqdzBf9xdob+3YT7uBtc4CxNuYKAH5G78EcRpXADyA9+9gz4RgCUIUNoCrWIWjJ
YGxgFDx60QzKLWa7INxzpNorLq6Z6lR4uf6NMK4zI2yiuQtULbohWnMD3SUG+JAOZlsdvhvlOsNJ
Eyw9l8hZoh4fXf09/7TfmaGXDnZq96pdww8Jur30KO/2Y/zVH9NNyTFUovbV3YL78x7f9YfYJ6SH
fcM7DERNA1Nrju3JtLFJXBfNeqbtIJrHqDjbXdnu9lW1j5V9KO2Vcj8G+wDTmoQEC9ND0H2i278+
7GxkJo6L7GhgXdSMIUWiPf6M2Vz6NxEF1KxuLdpB7SqWj+gbVvSuPfA3QATovhmTJL2/MuWCLlVd
7O3cPr74BiUzQJIJmHoNcz6GHL63o11twBfbaspGMdfqc11Gq74AqX3Uv8oDvHz8BbBhnWHFMX6t
3+Q7+04+jGt/1tj1qDl/9vD3QtOzcHYtvDhd5cmaIkk/2yBOQpOG4D81t0W8a+W9LO8ted8Wh2m2
0Bq8HHOalMALManMF63txAAxWORB26baCkvSNdsl/KAoAC9d1kDsA24W4w5j3SVftKQVTdRF81Ox
zdGakJ6GNCBhm5u5FIRpkyOCLVyg6UIkegdMltiRwaahVRHhBqQn+BmjbKLhebjiVxBVRjSliHpQ
HtL+igFH5EnXQXDZ54IlrYekD9BJIxmgezpAgZNBRcHoGaAdPJ6hCgIKmZmh+o8xCBbQfSePkarN
XygCXwLAvPvuUmzz/6BXKkdISXSoamQ4wr16AbUrgMAOkRZeG+7NTxLtqX4HdujISPoPo/vgHHgo
gGQo4swj7AqWGdSWgb2k5qViGqu6kExES0fRuka0IqGqTQhBdyCCiMIVqmURQjS4njZ08Sl4iMZJ
6gY6Kz52Q+A1gQd3ssNVGMKvv0xpSzRCzAHRn2K2iHijTmuQARWOcOOhsNBZpmvNGW0LA2fESzRu
D2pX0mqv6rZpR/pT7Mt6Z9sb21hjGJxJ677apvR01/Zyc9Czt7HKtwUvrDcVdSPQON3R4iWQe4HW
Cys7lbrJUu0QYiHiElrDIneE/zsxBMYv0jylBAgqhGI4EDgscP1z/vLKTSWgZAZBdqkootZ/obiy
a76rj+imwYlpLv9kHN2rmE7Szb6ZN/uR39O7cptuw627qSf9Mr3Q+IhQqga/wVyW/Q38olzgcDk+
F0Q0zFTyKqoGRHdEeipd4+AFWSKX4qZGcNf/eCyQYSHBgrRRU/C1OQWZEbQFLRlsX6oPCxquLv7f
YxoyCli0byzD78Hn8I766t08B2/qUT4qyeSqGCAbC1C3NxEZtW86YQaBxl88VBFg4KklPpC2s7Vd
B7R2s7Alq9eZtWrjtSqvGoBJgbZBP+GtoMCU6gn5HUzYHGb7i4hSRITSvERrew69/VswT8xHysoH
Qer2vD6vvn0pkwuKV6k4hfZLZe+1CnErmMBdUr8DkX7pCJ122+02wY08dpPRpTACtW2kVwGtc/NX
/Em2BeYS9TGgPvTkSyI9SzE5LFcpPTTHHProDYBBKvYaJB8sr4oXU9oD8Zblo7Hv8vAZz15tJUar
itMU1awR1ki3Q1eidx4Uywa7Ym2NnvcZuCEf0yf6rquDrr2F/pq6DZCxFa1s9AUyiy1KScXpLDyH
NzNwMWtbtZPTw97AB10G+SESJLYnaSFjYWJbP6yzgEOkJWQjzHySEDYs1gII3ITLqJz26fzWOPYL
W/xLSJoRHXM8csuDSEHs6N7bt3J6s62zTLAp7ErnZNyUXlh8wDShqANJsfJwzPAXXlAbp3/3oNCq
Mtj3sHb8PXwciOZYsEzVnoIqRzmtjKZFu4hAp6wWBl9TiDqFLx3ZkQ26r40gvFBgU4MUzuPuRDv/
uTbNNQWrIN9WpHGDgKtqVC1PqxBLMe4PFLadIoIfunxCAMHfLcbZbhuaSwNmQbtSiRALjwAlQlDS
utFA2n42DiOCyWEXdgAnWBe5ur/KZ+tUWUI/fQJzAWWUXhd5NurjyQHj02ECxEuf6iERCV36kNRT
Xl+1W774Hnnl1ly3fEEPZdHoF/lq9ErofQRBGyDxwZW97AGVf6WJrqSuhtMYET+1YjR2a3tVPLKH
tlfZYk/+HTp4vh09aVe5tCrHg2we4FzDS87W9Ura1SsVrwMUg6CZiDCXPHPl//h3ewdpdZXcMGLJ
HhJ9NGskwR5/AwQHJPUAJcF211PWnFT18H/yVbnF2PHLXuWrGkvgtb7mKTwamLK0s4Xji1RqF3DH
aOTZgK569Rbx7prPhgy54Hf5Nl/Rd3nlMz5cvNlwv5yXW5vPnvMdjxJUDKgpHGXt/yicvL7Ot5xL
vqpccxdHNNeUVjBl+w1kyX6jo81fxb/RTsLT3t8bpL3Tzd/H1/xXtNJrbs1D2j7f9W/I6cfpEnyZ
r6hPG7yiPgq0NcV8ugEey9jDXNJ7ew8/ApylZyBHc+XBT6nQ/yPhEcBSzYZ2mY8M64X/I+4GKD1s
BoYTgi9kkP2cVYhsJPuc/bTfGrVqFITk/TRXQrHjz3FyPQUUoi7VZ3aqL+WlOKUX4yu+ZG/8Ifpa
6QMRrvpVDHN1W73xD/zVWddY+bfdaThEq+5s/gDLAyLOq/uTBXevvasrUF5j2x3Clfmj7TbGO4uV
hoCHsTyb51sThu4cV2LArC/xUuK//UW5V8Yc8fKxvIAeTkoUedY5fpfP8ucA5ZTln7CHfvGk8Hin
oH+keP7B7eWWNh+z76BBpgDvmT17nuK9lbJEEpI4OdZrqIsAgEfEzpghzLmdrbzJqWwnToNnI8ov
XPxlr97g5s9BesNTdGNpYV8Gf6xd2rLLVKxbVweYg9pN8RYc0FyqpmvR2FUQqJiuCAeXib7oMrcY
XKt0xwLwDsU/nlyOqLMpDgt1DDANWhcsK+QspuAdYAJHIZdCNqU5YiBAAAq8bISkdUKugs/i4AAi
YMYorGUtXCEdKgEkgxSBqWpD1jCI7WhngRfRKHoUVCQ3EBwgkBqO2jnpvKT9NmL5h14tfW4kNQ7F
4eQID02aTkeLhtyFEQFxCcbm4Jl014afyYKENrgllHO63AUTfOItl7s9LHlmg+IyuLTcMbu1DTEO
ppA1z35CeDeo29ieYcKXHvUtbkIHJTR0aWnA6/n6pi5Y4xYK7QOZsMle0ikFOzFdhDJ4MC6rFIWE
ie9M6okLguXakluqskJQK84WnF2HjM4GTVuFr9RSk7X50uxoMlXe+2sMRGJt2gMozHVG605YEpi8
6G55mDk6VBoRsoruPXTHWM5wnUEoTOfH50r41PteBfDjb5p1vBIdx8tNiw+N7ZYnOr5u6SG5rnCu
nw8P2Pmq0LXS4PoWnPN7dGzW0qO+6jf90dLcAgI7+9XDfMB+frX5is/mzWTbeI1FH3u6hJ7SKyVg
6cJ85hNQryU7C+75tfy1Pp9XrPQY61BZsMyltGPu5M/sxv/6d/+uf5vfxiH+0l+VtXKhNBzTPzL/
VU+yN73g0/4pmkqwHM8urAywcmho8CuyRMzj+WD5eQAwbTnj/JCexQfNz+Whvdu3/trsRBNiSKl3
MKrsL2jDlO0cpPPom/Yk31CBzwKnK8+OfM1eoeyTRrLpRRRH/wrOwZlrAkeYEak/WLQob/9br5D3
QrMQDCHiekz6TeIIWolQsYZADLOrE7Xqf8lpeJR/s9fZLXlN7yKdQd4BdRYAJqVonQjKA469wJUO
52p4KHp5Bv/kNHgJqBtQ3ZkN8FWoezOrmGQcCt0uRvTuQlvV/jFI/MqFtcGfg/NwI+A3MwvFPw5U
4+GsWZR2qKCTDJCq3bkEzbF7sX6m12kdbGVSUtzM7gNEdv835JKICyPAmqeQM4kEkgQFDE7gm/I9
+yZ7/SaghZTS3+F1UJeqsHiYYzqDOpXjl0IYOR1T2u8p+Yh3/wdBhUfOj8kenOXf4rV67dbS7bka
r+khOEPwt37rs/JqXYnCQWWhmRM23btv/9p9a/BABJjLKamG0FpQ4E7wu0eUTO8OvPMweMMtFJkR
fYXUOYsLZ8f6Mg6OimGbiOdRlKIPY734gRaCjRDJFlQWZRd+5AcRgx3y6/QQwAODcHqwFQWc0Vtx
0y/GKbiX19mNzxQws2Zuio6b2bid0Ucx+YOwy329j2lzUV7hSByNRXui3rCv34C3V7QT3KLhYh6L
/rkkC66I8NDuY9BEdwbR1/QHZP4z3+SnCgZcT0RewoILP8ar7+WHYddf0ZRMOxiIcLXRUa1BSw8G
7VVFc1bRmxM980l50fbMEk/77B7qqYekjj/CGs0+3X970n/5WoO7Jh9wAHGImu1q2nsfilfpgawb
/IrRzcGoYxTZF/uCJ0B3i6/1L+uDLvpMML6HB99QTVBSFgyhm/mPJ4cDHr024PYhZIZE9GAOUBqF
z+Gf8jsFHdIkZlJwZlRnr+1VenQ7MUlFXFsc8bSa19gWaVc611zTs0Aqsm/a3EQf/Ic6LNAhhjXA
F4w0oHykz+mivsq/RA0Re8s1FDr65126AEXcZlzd9qrclFt6H9FrmJeBtGx2Qe0xiWiDNi/34B7/
+m+z1+d79zEcWbQ35KcbWEs4eUmXxvHfhhf5RFxzsy/57/PabsZTuiWuI4wyd8PL7FX7HF6Gl/70
fH++m6/29+yYb0lPT+EuJ5hqtwa2ugRU8iG7qXvl0hJbbafZcjpaS+UYvoX78l16Vc/Th8oTYwIm
9dBE8+eXfx+O8pl/8jbH8fx8V47TMX1P37UD5IBX3pq46C3+FcnJJ26pFyg43BEG7N8iy5jlPtFS
hvWStjXoX+jiI8FOo3hJrsza84ASybDumZAPAi9WMP7JwsryzI6OcgaWTF4R2FLFJUihGQSv05/E
ug2bGKYSEWsm0j4LCVwmUFMoDgQXvANRs/9TswsnDrtwSHAAuP+LgLIv2A0WsM+gU4IyqyOIhCCe
QSuCSoQMjdgHJJmX5jrRbYBaJRxCQL1fFlVGVc7tZGQFZ5ZilnP2IVuAfyzCv+w1bGCMOcOL2W3k
X+wv6mt5n7FxGaeYxLMjMR8ESSkHp1Ie6VUHo0telRvrYg5A8yIGqO5O65IJK//IPwWiroF2J9Ma
jcA9BIUFU0zP9Z1OLPfnQWMpSH+zm4Ssx3D42FwXLhGxe4nvB+095mL6KS9cUK6z/6Z9Wm/WW3Ur
buZFf2lu7Gef/mdxM/bBlYVlr7woL8FVE4QDydDiF8l6xHK30fblbNoN5WzTm8nRT9h/cFxN5eQ9
T543ve/fNFATaD6LgIImeJ0FkGCj1evhz/czkgEDxNNAjpYBsU7RPs71U3A2e0pB6uwQhBMdUPQN
WXyS0EqxMN5nPclQlHoGvG5fCZxu0B16BJUZY5cvaULKwiL8i9EUYR5ErDxFdOf20ZokXa9WiuVJ
jdf3gi5LJA/MU49LeEAmWoxxyV8JnqXu2oBAiFyjtaxs2mlNPt0qGxp2BYqn0jXO3kuIMihFaC4M
tGe2hX1gYsVnHaTxiO418Tf8EC57tSTGRcgI2arJXN+GT7k0cQhvvIy2t5Ubj8u03tGfyU+3Ev3j
RkjIHsAgESV9h5goMDC15TguBXc74S1XBm1+pzWwFOrMFrYBfZQsr1a8grblqsPVBgxNfMwtPdhg
pr/htwaDBBoZhMZ0aVfr3tgCXU7DewrUQQWTsZ4fB6DT4iorpwl1LlCYuinjFfy4yVo/+3tdXlus
EhUfPidG9RgCdEjXZr8pSgUrpOEWDq9P8qz8IwIHDLE1L4uDpnhE15xpKR1zYNmcRkNWRnl9UwF6
2B6ka2oDuJgZnDSO8vKqlFeBAZqy/ezkQzvDMGw9wDGxUaKvrdkG7DmJz6MKbWDpE5NjVWQsNNX1
C3HUiZeZXsneNSP5AFB3ShpV0Q/XXqDaxbkN0xsKC1IFC2gJ+klkQJkGeaDeLOl904WebDnZzAHA
CnQ2Xujv9C+DKAQZE+demdZldFjwfHyZMGOm8xiZ5wA7h4UK0TCdQjw4WvwlaKuOygjePdtLKLid
1EsHa25jJcKgx3OCkJlamLbqNSEGfwHIFYyCxINGD3UVQIZKHeCp9KcyGp4u3QIx7eTZqMvCB5Xj
kEyBdoa4mYFhoOv8AX2D96qiD6VWikEUnp79Ep1woEMsWaa90MzzKn2PkH4leJ0UoD5xpilFrKJo
C+uP+EpMQr3qX8lKAStIXBif8O+hNFu/xGC4qiKYoxw4gPvmdDBEtCx0yFTQUxrOtw6NYVTesaRw
ATvXbSS8kVA7b/KZiz4AKj0SS1UY7L101NXpI0LLZmnbsOCk+ypfZ1h9FRteijOEds11USwRCUHX
llCjtst8hge1B+kwy1wkmXBcMBTGh4+aUf+JJ1iprk0fCglJAu/scRtSnMGoyFJ5INeiJ18ErAXI
ijtAuyyeDqU6yLnGFZwsh7L+J/0E/AL/BLCCvEQRoh1EHS+2uXNO/VfZs5sl6lL+Dn0BIRswWYV0
QnWsSUihB9BUDfnrAvov4R1xJ9h58gEAD1zL0ykT4wDGszioMhJ8iqZLf8UOogjKJDxHRLP1nHMF
M/N/eRaQGXEuajYAOb7jJQZJgDfmh1QtXWRzd4YF5ILw1r+hV4LfUJgbWXXxLwvxXIb9E25mVNFL
sGYX2TzgILeJijTwHNcWPC0mmwbn0xZcHxlCOcyn7+Sbc2vvhMmErvmVYjqCW86eGJt3BhnkgHzO
2RHCsshDWxANBwl5nw5PIwIGB2awUnqgBO5zI94oNn72b1QnqDPTu+xgXWUQEexrCEPuyYeGVpOY
Wv6hHk1pA0a6qDF8VZf6sz6pb9aVOi0XiEujpAuV4i2N02BSi/8X84GAG+DSuI6f7SkUNChmTItY
dEFJG5ST4TQiUi0ceMgw3fkOCZwoXrAZ4DGoix5yvI6YAZjegYkH2M7PwdtRECAI4E9YFJhonD6C
lVAVeuFIFQOVv0V9INYDBYGp9kMiAlhMNM8wiSgwcdr8iDsmyHEiakTfQirCwOFCM8S4Wowd9Vpp
QI2UksVd5ton37XY2wEu2gWJEdUaciP6wYEME2BiNs3MJDbijpAYY+dAIkHW8Qe3ihp78s3wAsyg
jENI6mKX9VffZsIzHLkvqGIxAFNpGTIPQA1NoZQwfvo9+l8EPGKi01tbp7i9prNXkq8DBhGmSeaG
CnENOEhTjxEnBHrMbCbQ5BBXjw01Y8l2oQRjf1R28Gwdij4ThlmUCd7IlPC7s3SHWgFuIZQyYffJ
ybqjazMfW6VquKKqmcgOR50c8uSgxV5mbbreRYyNoUD/SalTQadVO1238Q13QG1JuI3aJ3mL5HfV
cBmdVC9UzDvTrei8yaLRbXJ1zXqXkg34Ls4n/rDiCCF92Uud5vLpFgIpLx+gjqmW6g94+Ngv/X5t
N1sT+xpooI0YkBGOnACS+AXhQ8/GgLsyimUhfRffufnAcRdWfSg70aOmdzSEpn/WrhJjbYl7CS6C
hbHnomXaqgw3PUBv4SbdocIxgdWxRdOxLItzau8wuuYceEeGrYHzc+zoeK7RdYotB9o42xOkxadD
/y7mV14hCXf6v+STIWWw/kCtzhwNh8+/2cpVYXFhjmC9uOs/7cLhNlAvYYYg/Wj7ZaavcVC0+hU+
MbD1x5guNevJ3ET6OrnAohq0FUTqqvJCfU1JCkEUU9iKtxlNJIAE4OWUS8G+QqvQ/+lKkMrgR41B
R8ueB40An0Zr2VLK448LR3zecKNAskpPuJ1nmGx0hwJv7+GkFTtORouPmC6yveOe/4/kawyv9LHj
3DCyGxiBaFhUNKNC9INyDNtWrhXifuY3nWYj32Xblr4oazDCuXgM8tFe9rZgMhSzZViuqmpDqbeZ
LamlceWSdtkmFI3FdWXf6GiviLk0JjbBAYvDktZcpDAAvehWdBen96f8UmhX/N5jw8VF9ZmskN0Y
xcGWj0Xxws8puWCAg9CnYlN6zsMP7Vp9UwxhnaY3LDYkivAXcCtsbPBe+2NUWbQRkJ3qEiRbKvms
M1B0et2JaKWOnw83hn0Wmb7hpRjcIWu3wOgW7LxcflMXdutVDHn+kgU7WKzIBhmU5eRZ2AOX1CK8
dPIYvtSJK9lhJWRvjR7/dqYQTimrFWUgVjjZYfemZQBzFaOguGPjg8YiBjU7xpNi2mzJM1Vil/yT
+2h3ro5hGlQjQ3QqDjDzeUfFEuJCiVwFgREqEkhxMOM1nBrQkcLhRf5KgL5g+muNy/SX4LrnqBf2
uGJGDxYGUQIeFhgL4ZHZ5Pt4xPiW+esRfGkzIFyAk7mN3RLdJSlHijHA+KOfVSfhCuyxHBn4heov
1OPxwZAtwhP63u2JO/A2x2WA+rRPMyVsqLAvZ0wCWOJ0SHLiL7p3dDBKKTpVtHiKIdbvBLf0+YMd
Frrbj+ELGSCfyRg3ar8PZluuMwEV1DzmP3Ryn3ZaLBOmx1hL2TgYhSjJEuieYmjiJkMOlH+ymKS0
txF9SKmhs9Z2uZhWMLRYBvglmxYdDIg/oaHjoKK+MUih+bNMEt+w2XffhJss2bgYZ6g6lDnlNoIv
BhAhKTOa2cGrIIZoWwdVEXp1emjwqSBPNcm+z4nI2BXXvr/KLDpIe1W2wns+Gs8+jiWt+x9R57Wc
yLJt0S+qiPLmVXhvhYAXAkFT3vv6+jNSO27ckHaf02okAZWVudZc07DP2P+CG8cyxwmlCsAOcGUN
0CfgR8AYDqyY2w5u7BhIjJtCRppC54ztGXJNHxXgV80+RG1Dz/7BRwQBkfTicCuP2IeTNAV0SDgd
VBpS9i4twDmLnma6Bpr1RvodVPWQvfyPsqN7HciOonrcuB/MrGhL6byjq//BJIYGN3thOUyH2lyH
Vw07whcSHWv3uFsCp33cQYjAEMxDd5WAyFBP8rCPvEzW4hFEcfATsFc7jh9P3OTe/REXFvmosuIY
hNEowxvX+ZU6WLC0ykRHHUPl3PG/gBnw+eFXQInkd9A88wrAMfwLSCuvQzwTYCCYQDRLSGAALBD3
0fqDCGF09wKG5d9BD9SDjYdD80ISZDDIpFr/wswhefkeExPgCjFySQBlR6SxxT+M1IJgwkyFz3iV
TgjdXNrkoJxo8MWES8XpTMyzGEelP+rWOjOpcWUY0fgNjRhzPtjbeMECxPB/C0ZuIAJ3oBQYksqX
CTyE/BM1qNX8dCm50jeHWz+Q7vSpaUzxDfVlJrHisk1ULkFeSAemqWWWweCRH4BUlMvC60AY6mjk
gowT7FiJxMLYJiMdBXaXyFj+7xmQy4VfDxNDn1sAZAmbII1SBSMy8enTV5RMKeBMfmUVqvZqmzq3
AKw5CmlB0SBoQq/PJkkshDeRfcEuYo+yGOtBuEpddlLSSKnsrXBRsdOk5GhxBvaYsn1a5Oz5IG5V
PCQo33SAMzsE42bQFaMY72o2qxrKqKSP62SYVxrENNLX+TbdDxdREu4H9/TR8jWD4zHzrnE0iafx
NJxmM/FBN8p/jwlqWT4AKb7wq/qiJpr8P49VMFlx52Aiok0FwScqDjprAdYcjPFOf0sMdwoYdBI2
2UgcZKwdWpoIbHTIS3lwjxcUJ9q4IjHUbhAMZj8dpv7B1j1plKVl9x70rYU0ULoqLY+cofRtKqA4
kbnK7K5AcBsu7QcHC66qFTYDGqNnSAjquzcztMwnzfgtXjHMHQKm/XCuonNRq4mdIclhvubYuOTg
ZG7cM6f4ktVFoL2DM+LASsMLFcxJ2cuT6vEthUzk6KmC+q8SHADHtHXMieslN6NizcGZdzaVOS/L
V89w2FPYTaXNA9N8H82aa7Bh4/jjb6rg2DpbVeVHJeviMccZSdvbjB/TPlsF2SHqcEgYd/Kqxr8U
K5JLm3y87qfP3n71K+Z39pVaHlILycdxRHp7iQ8TdkVqTyS8CDTFWlc5aAzodONqJv/S+rtjNapY
rpU9zktUMnsYTo9lFH1L0T1SfnIY0QE7nF18GqwDbYpy+kdc1tkyERmgPc9acGj93dbHjupbgwiS
IBirYf8QLZOJTi+Cw8Lm2Nkw41RABRUvPxmeGK0D2MwjIEGdvT2B2wHtnIRBotn0uw+hqWd0GEek
LAcTlTuABKUGAkFGUyJUWw3hw5U2b71+JvvMXYAlVelo1uwEDLckBQOLeiuHr4HGgnyoCICukNTx
wgEYadIfA2uCVHq3EsTV9ka9qmHz65+k5upjtBWqEuQwNg46EtnFeJZBOUI8yaTBgN9tkEynIBwF
4jR3CVnj8o+M0ZXrocbktcRoo+rvBhP6syHhB6lmS9AzT/7o0T/UoA4+rLXNHEfDWYwZZIgMyM7e
hf4PP0R4gHiDBJsBI78WvQUC7urlyCBCLj5EANT+ygtITymNSYuszBpgmWNLlwBSqdTThFdqIwP9
WkRoRLtVYM073zoIHzAqQjKKYXnAszCfPRgIKcGdZCsYR5ojjrK5bCUooSDIGvPS3Pft2ZX+ack8
/Nfq21bS7w5hnA9HwutwbGLylGd38VY7HriKYXFeItdlGo19qdW+Q1/jitHoMX33IMLa7GNlew4i
5AKwvivUY/SuRCzhGG/B+uxA10Q25Erm61mLDR/JWgid0HbFaN7cUwadztxG9VwJjqbHOufIT4NP
IY6g8C6BLTMFjFVoURRjmptOrMz+1XKACPhJNZaw6gBpG8vB1nMOj06E/1UjO25nfSYtTZT0Knml
HexFDSW/4DoqNkyhCLNSH+d8hPUJdWjS6KvKs3i/76SQnshv/SL0EZyAypALFur1xCNHRgvuAxdO
DjEYFvs+Ht0e1ldddGvA5PzCQupCdo5jgWlyp5jnol2SUjYNeEd9dexBum4oIB7yun7c2vxHs/Y1
mie+ZJQ7J7tr1cZASB+yeAz8svskXjSGucwrpn4BlH0GMgqvTo1+nFS4pC3a/CTlFNblzsDmtu5h
PYBSV2U0CSmYnNIBADRHZkJEekU9ZF0y8o0YAWQPmIBl+5UypslmdC3lsNTdn7Zea/KPj52PBjkX
52fqo1zk1JhMwYqebSDCXe/TR4seywtQEdrzB6JaCdcDxDXaxw0/sb6M3UPF06/YnisFMAVA5UF5
protkeJMipQfg3K3icEcqJlS/2WyplSq8RDyqH2LQm4XAw6/keJb6u5L5k7ttCoK1L6MuNiHM+nb
MT8FU0/Zv/ToyzV1ofX4EV8I8s15xQ1SsNShVNCeCcROLzlo3jpjlkitYaj0YM0NX9TAn6Y90t9p
Uixr+NQYUUb9CrSMfhvrzE7SvpuiIM36ZDYHu9aXliEqdH84u+V9MO+OeU/kV8KhrG89lYB7eUY+
FXZjCmolkU7pO9KCJDu9NM96zVNn/CfyqTyMh+o6ffYaQv9wj91/xgYYqKBs6tSX2Zp5mv6wTCh2
Sn8eNljf7wgCcIu7We6wLyI8zYKaq2/reieZm6BYmgoQ9Nh2F9oc1qnm73SxYWLNIsXXwYDuvII6
5wy3cKjwfyDbu1jo8rRLhWCuI12d1iDqL1TkA1WIDTqlF9/EbWnaM+rXtkkraelzI6bJkY8h2rSi
2Vv1PocYIKaS3jLHkBKbTgviQXl3AmLSA5LUZ5TjsTxq0n7iRnvVXRbGrhvE78z4E/shQN4mGaNe
TEyXhhJheU2e2iDAbRBSRTooFfzO7yo11lqH+X8Yz3SvXNTKrO/slWTyYvBGkXGvRcw616ikohPi
4Ma4tx5uCv7toY9VKZlZOihqpmzcVJkMxcJ3AlwElF1CBR6t2H50l8UNcJaMm3jq1UuZ+rJjt23z
f7YfUlQtYQz6bB+rjJlvti04NHRvI6cXzMg79iO2ymCETXNXSgB1SN1RVvfwDoW4FTfPofe/lAwK
QbSjXYePXneTB0MAY9s557aFs9XyLp6SB+YH9riIp4O813UG1g7ts4VEdiUktQE7ZycRmqItJBWd
+Lpi102Yq0KH9M9a4W9LG70bXl/9OonOGmAELrnIUyP5YoCwtZSfoFNgUHp384NlKuO3Ziy8Zhuq
V/JTWYKY+i9iQrJl4ZbeTCP7XMbHzDyU2KJ1Lwl8OENR4xQr5egpz66DzpPgPDkfmk8MRghMH+bf
end+kDvB7emAZXrNJ2r+cZcTVa025yY/kVcWs2NpVOIedGuhaOXML5GXCsEVGmnJpqhLrwCd+J/C
TOc+0PrHokQd3cu8BxYCfTwVfMBXUAJ3N1QEy3UIosk/4crqyPjpPTEbavOn67HxqcCTy5wLJmUj
qdgMziKI13q0LRjSmQsn+jxUjHLgzFQQJOhW7AqbpalhbTWm3nDBXAssG4jAWgTq3FBxI17Z5roR
Sa7u0jna1JF5cuz9fW7iwoxHWX/UiDPk+TFwsTgZaNcwMO6QyCU3rX4W+cvL3h4mItg0NPmrRZaD
pX4+xkcMc3dsCrmVveFY4E1GZagR8niWo2Miz4qMoJdz2P4E1bOe5vrLLjGYRA1ZX9X0ZjLAKxYF
PDtcYLHtMMyzlVwqAloFXSAnD3Qb5SdZzJOhesTYnasEDzVz4ocYt07ssTSRJgCMU3dC2tSM8MK/
jxjLZXMkmPyUAX/sba7jAv8lLIw6vBS0cWzSBYhQkPY7RiOhIFjpfoRkZXa0F/rNOMp7bWuutU2t
nGLt6EM4pnJKtqa3tb7rm/423wo2VHAQYfwznIN3KZxfoEQLNVdP0RGzcWaI0AmvS+xb778KFn/J
G98GFdw2cCraR6G1d9fu2uZD3ePGdSQEi2wtwc5WfgifgsvdCsXaTrC72m1+TGGDZGeseC/Qqfio
+Wgv/aU4Z3s8P5BDQT9mtsTwjakffqAoghhqIof6G6BTnjBDD7BJYXuHfi6GKoIzA4DN/ANRVoFO
C+3Wi5zCP1g/Db8Esor2F6VFsowTzBPLg9DIWSjq4jtv+tK/owp5oBJEdgDo+BdXB40d/AWkBvyI
ToDJD2AxzQloB2cNpCtGCX/EZ2YysJ5RC7L7MIXH2QPGCYQqunY6eaoVLn7yGppTpVxi4xq5z8T6
7aFNWaAfDf/JQKQ2UwCsbIA3yEgwIkGPwscE4jOAvsBMkKr6wqWCk52zAlMjrI2YAQDfgteC7DLg
E1Ch/cX4oYdrD/CN36E0qpsJJtm41FUcvX/wKoNFjGKACIkhZdgGaEegFUA5jqxsqmYMq5AAVBxs
hPkMEJKDlbuDSIT3Bcbi348GQ1tMwZ2AUZlDgmQBMwP4oTkCDh0ARZ0RWiRLX1futs5BrHcRDHBl
r6pLfKOVkrHK1uT4R5BeH5kYDcOJiV1obYNsAb5rAHJ51Y83II7snw3dkAzTyUFlBHh6TMI1I37l
sTT9hRTgQOdjyGJch2KORQuqIlQKTD2Al5iTsAUb5ERx+uJrSbv1DN7em3LGebF8+48GvuM+H/fq
aogvOC/c9xG98jAQWPOCIIpRklgnQuBakiKX/jvjNvflEuiqTPQGsGwyEPqKLX89xZmwDmZ0c+mU
AAGk9IoBrgg7GlRKQAZs1kyCXQjCIC5cQlbN3yCmoV//G9fgBIT1LANuJA6wSrG4MvopWhReMLFB
5ROv54QgnhWznPsw5mDgp7AWxFzIp7YTuJkDXe9vxUyKhTxx52SeE0HCZgGtKpzA7WKLIaBkls68
KfSBCcq9sfn3kY8RRyojGzzlMXIxJaX554YaB9IoIkxJGlUSa48S9pBRHxbCGJYiGncSbgPRQ75t
HM3/E/tk55SbvEYEriH3LnYFQu348J/MO0WgLR2nVIOZd8uHK0syQoumTiqOXWBZZr7MfIhPME4C
f4Zf+g/L0N9oCqVhWpwIijsIu9VM4I3ZW0ypaFbxHPrjUdmwgDhfmYL+MYGA8+KPZM5R67T0bbDH
CFADQoEQPFHZX4VGStBNhUYqmiKHm3p/HzBd2ZftMZ5Pfx/5GI8NYaoHxspEVMy58sn5fP5vY8EF
CSZD+md6at+6L6o51PIPsbkGP+1NPadXzqas2rsaPpLUhesCepdH0EqUvnL29py+JqGnDsyaIBak
0zl1A07QNaCgy+6LrqaVeH2mOMLlamPbG8+jbwLyBkSl1MOrcyzrY4MoRERnCM1FruJmN93sNhw5
QsoqxNaqmJRy2jPgZH/HH5W9nmdtGBvN2LTNhuUZ3ZKbcu5OQuCGF+ovyMxfVBl9JKU1n0JSr96S
H74Pe0VODYujn6aNsp9X+yterfVNJfgiO9tPvqvkgvXAMNx6fvLcrs7kmlemyDgn6bxIJzbTu25i
jBhD84Eb4lgZwbcZwScedXxQNX3hRjKi/BlhOsZHhm2k3qJ3AMqpoAVXM05ejX0A4tQQA4vYgK3+
Kk3Wg77J/B2ePhpxE9zbWf1PDth18VQxDik4aIY+ytsb6i7ydvrJuUt39aW+zNfwUT7u2/iEb//W
JKDdsyiZ+e5MKaZuNE2Ri8STFF9WogN65DHzJlkoCQ4Wi0ZfVC2/iP8iTh6OXyRLxY95a34aDmch
VdI4bnochSv08yQd0uWTU43jB+OteCOrmMyPzIYbgqNG3pbmVSeOwdjn6TpnOOUYcPqkL61I561F
BiKFdoXDBgMs5RDEpwEjbBG8kqyj8gSyXwYb5hKEXTiPG1MGI1twPngujDrlpXUfZi6P4BKwBQEx
ePWJVTa4d8N8ZvVPaJ5TFJpVR6TWg7bfvfSPq8Gk045elqj4lXeN3Gjwt46HBGZhKavMn7lASO6B
mZlSnsp/XvfPRxaLQiHsn3Ifzt38H/v6yKFMcfyrLaFnttxx0RRrJ+ym9AGhiAm7h9UvPgQM0Crt
X4FgIkc8Eag/ZZUyuuD+hsVfgnZnUDEKG7AbqzTOfoTCFvGmwZ2QZBtBRBs8Jv5gcZJbU3pjqThU
xtyWWIPj9O5He9lC0KzD2tQ2irzVO3AqWjTdxrtIW0IRaoel3+zK6lIYb5VRXsYto4COp/joSSAf
nUOzyspPXG4o0I22fhvd1gYW7AAxLAsDyGKVFyfLocRSd1k/NYx3BY5IAeR92mN7V71Fy2lty/iv
6Z9K3ffN0axeoXEm05qn7JeXwd1n5iTEViHSf3F+SFp41ZDBkPBUMKA7difmADToXnVWewtv058E
n4gYZql2RbfUGW/XPcjKQoNAQ8LEvzpd9wGFyBQmjETewrfNCy9AFvP+rpnspeExQZXgPzDEt7j9
kp8mBDzMPn7HAMZ6a9KtQAoC199dPtwpguKsnT2adWutGus3gnCZeHiOMyuuvTkB5BSUD33rqAsf
j0tnbvTzBvShhVNJO17FQOVlfSt1fMwCC+QHf8psZnV0aqA4M51AxhVTScBKbvqqmfrpEyxNZ6ei
2bmhAZRkdrAas3nK0iA4R87ZYTnrwPSqhbB2uBQNqQnQluCchUJ60mzPqXIN/X8R+tt/qnQw4TaV
K5Pzy8a+ufgOoqPJ1qXZjAWEFrkxdoQ7EEJyBxz01UVMzLe3x5+vHiaWyzcuzgVqLNrl+DwYa/hG
NtTHBTlomCfwI+nuHLIfKfRhMUFNmaZXQmNkZdVmTztnqBOfyWBpP5VxRNnfS3vku9Dd3EWqriBl
Gb+EFQbyWu/IAbuzgjOYgd2BIO6kfdtU56n7Mvwfj67nUS9yi9Kix+Z0HboLQ/tmnFcFsGOVayl1
kMq+O94nhcfqlCFASZkN5IHiOD227oKahCjBblG2G8f7BW5Sg5kuzX0xEmRsIiiAs6j7PMyfStnz
HI2a8IstdAlVX2L26mcgIE/iMBx7LstLy/wevG+fPF5oFV2GJwGtd4LAJImQaZfV2cIyqsG0t186
xlbu17q/W4J0S+9eOsv6rtd2BXH30dbWFp006wsCy5l7tkCSEEO0cFuSq4HIC129sYvZT81jHdNk
UTxRA6U33EZTin17OgAiRJu8hSa5TByOXQAzHEKDiY38qGz2YXyNf+zqU6Y/qHSmCXYo7a5HukhJ
KeH2+JHofftlscyLiWRPOoHlrrP0ltVns0aOI388hhGsLTYAm/evwHpvkeGvY0N12A310nK+O3OX
Y2WYzLrHTrHoD4BPJoq+1o2zZm08COQQ9mKyI3Owk3OYnJhymMne6ffYI4TcoRI3FnVwQBImA+r4
UpdPkBQ9u/iMTh2gCF3ddbaEN6nz1ZT4z2vbBJI5z1QOoCxZN71NpqVNRLi8TnGlcqBhDaRpYA/B
u4rSylTPOJ6n8lxxf2v/ILewMDhysLg/hYzFMEBujwH7Q+rhYIrJuIvvqlKfgDlgPATyvuIsC+eY
EUTGE0+kvh1huJQwGnO5zAb5f7bJXBNcOrmCpCHXIz5eYHXw5lTuglLbQrfgobq5Lzg9CeaMgh12
YGmwAUqkTXGhB5XYIU97WGiJvpOqveKca5+BX0eKNRYO69S+xp2F1/LTt69ue0ySuwEPZfik9dpV
r5BL3EljbjqKUhImGtRXwOfpK0SgpUrcsmTfhqTVlmur+3FTyqYcxiQWmOBfRoYrIs5aDd8SMuKy
bealQ41BCvN16dkoa0FdVQ9RvlHp6lT9Cg9SJxYvwJAZN/koJ/8bP/76t7K/DdFEcnKIA9ZAAGOX
bwMyjM08zbqG8S9wKEBwSZOsZBPTO5keuRdLn6PCGuCpoFa7qWAhOoeb9DgHzR7DrrzHQ+wi5zh8
PvKxUQAC18ggQdRSSOxdg0MiRbo21geQhHyNFLorIYHSNEvIj/BIdrg1YvAKnxehrqMM++NNom1Z
7o9o4/YT/EdUDKW1N32WyuTcDZA4hKcU3/B4UllPCwGfW0ZTWp1CPdnVMygnYboMglWUrOtoSQqY
909FS9q0n5AHNf1a5m+Df0slXmzQ7aeOXoFvG/Pk0eEg247ZEl3Y2PXdy6Hi4o4srY0AYg7dtYVL
SNngegj526djl4iok3xkWOgUY2FP6r8qC8OUdVzMsn+pjjZVco4GPtp6goA59yHH3JlNc7HmeU5M
r/rjerdK+pc0xIysA/+BjPDSmhT2xm9VKl8XRNga42wFTNldVOolsEg5AH9J2oUrKFVOP7Jw+smn
+J24+hJWZISYI1QNwpTHbkbX3n1bwXfYY+GMsb3agmVYK7WmzS0PEXN/DDuEm2k1bbGIhbWIUj3b
mnhWGu977rHGlT3tvPHDneO6ZD4SzDyq8p1nrJvCFoKqiFEkNWMU4KRMBaJCVMgZaYsF5z9xO4lM
2hLAHt+9JjkjMUSLeMip8JMGyhoV4lPDuK1DbSHTmbQejh27Mvvn0jOEx5hGwMA4J8WOcl9bXA9j
DU+qnQVXPL19761ABqHyrkFE5GdcgyEDTHZHDvwHp5RSbeNmEWrbHt20RMmak81In6Y+4+GqxlsF
N7wBav1HAnV0HocWXBnJTuhNcnsf0GvAtDTDWdf+a1siPqkFBSnhYGu3R6yPmuieuodcXWIt0kW8
xxuj3MQsf3FTT+2GNTFACdLx8eBat+keAWYbnSrC7lztppOdScNjLQpYSczDjOLwmDkY5EbhutPW
0EHibE80tlLjyYiR6oig3ELZgsIEwwoWnn4T0ISuA9cy+m3Z7oZ1RJ1qMUzrjRuihTbeSgxpPeNj
lhgKCoCqfaCWzb7ifmMXKQN7Y6RC0lTUYwVyhigeIg2Cdqc/pbXP7BwKZ74pZKhFNFnUMoG3jrGq
TEC/AtihnAUQ36HblE+n8peP6KVDA8lMcxcWxSJ1cQOXz6SKyTZQX3uJalAcj54XvUPlQG8NGSkW
bPYs1aH6dEiiJMKdYmfsyQhFIMomOP3AaZaglfj+nCUuZef6SLkg4xIYtwCFeOC29UQF5sfGX0WY
qpvDLAOoKzAS/nqcHqfoqb70V/T0ng31PEzUl62IzEnrzsO4f427fMqv+omkhvpqipDHDpzxKt2N
A5kA7UsjB9sc+xuGWCth7uGd7P1jb96KX30fGyRrMKVO6u8o9i6uY3z3w5OCu9YOsjmtxUhmW6a7
El2UPmtjSlT0UykR3ti6+2Kacja20a+6z1bVylyY+/jbXQqTH5GIJFzp8o2IdmOnA8qIJ8KMTJvD
V4TIcmg32S7HQyfbZTsiz3/jJaiA9VuTm5BMQ0aRJDtEVxmFT8w4mDEDKj7NZhRbg0QDc0XuJQu/
9Za+Lr5ZOwf6kjuuXlTh0JZod0AfGWdEGIJ8ZSRZXGMiF2EdbU2spmg/ohGxUUwRD/wFwgr/qsqj
AxasXCv6IjFTTr7ci7aTTvonRTkXHkFnhLKId520LbzMGGIWdPBj/j+fCJsg5aCyAjTGNaDCbRUG
CCwrWEy4DVOJhB+N71ojUNqSYruSfolb6AUzLSWsBb7JWjnDrDbYUVvPwIkO27/WGmUgGEXojm3p
qsu3Mlg0zp2T2ZIvYet94bG3LHsLp+pnk90Zws2s9upyb6SlsLAPUECmS1sXjnxzEzkS48ddNZUP
6qZFVkuY00Q/JGvkLGv9YH8LGX9ERo0O4oOM/EImDEJFFZGxNq3hkTdnyGbeLdmHCGxTwridV7AP
t9JO7hH40SAcH3wnWmrCYoVU0Z2XF/9YrctLhuect88R/Usve+nOhcDOnqVfCYfClxAPlyg/s0Wz
bkRSMWk0ZAtnC+eFgG8qHo2G7JrzS8stkDKSZ/gg+bFbO2iYAb6n7cYcpUvyJLELVCcpMcRYh/yw
F02jcTxLNzSTmHasqIY30a99FpA7tv+/3g9E52176479TuL9/IpYOAfru99pG/kkv13y3vEQn+LB
tSfZ6YJr5sx6iZhlZoVbZNUHlXCfYDFgmRduHzNvry/ri/CiFuHLa1bl7k+eFl7QVRMGN+s//jbA
2E7Ioj/qsru2S/+TTpqbvlUxBGD5pSttL63hWNySa3E1UISpyDnle8FDvbX4infmLTlG+24t4Djh
xvd/TjztBJnH1FtAgjzDhvqzirC3iAy/+XMW/xDeskWbOFMx1MJbYm4esYWAvgQzdlYvmc0CFy+p
w+KnkFFuUZptzVl6CXFvIYHwwGmLXwvDQUh+KVpLZmYBl1Toy1Oh4fSJVAJJLZ/9JULLKU9CbBOt
lfCaEleFkmEb7IXC9zGLzhW2V82ecTYAorZqvzsE28a0ROEKPR1drUngdMpb7B9hNJ6tK2Jof+vt
U9YPkg/7U5zVS76F/1OcpWuOe1h1xpeFUYL60T9U9/gUfrK3IDGcwTrrJ742mM292LMo8niNwTlB
QF3DRhd25YLKhjMPw4eLylIueAtMBhDnAI2q+uGbjCtkIL5O0UtoQv8BMHf9UXDmgj47PG6YJ6fI
0L13sTauG8KduExIKm0WSPgs1kgL+Wgn2Tq++E9usIP/TD/ph5EM3ERcEzgu9YNz4i/FC47jRb/H
H/nAVrISqlH1rh7MDVtceOE7hhccSFSRbDcBsRQwB9lpAAyeQHQdtm7GqESJSdWyMU7FFXyveXGm
YoOOsz8DFUiIKftRNPHWf5RKa8egBdrAt4nY1Tpj/QoOQyIrhn3yl/O2j9IbBloIX/fP6cI88o/O
O//hAdRK/k+P14f5LZ4mfum77qXt4k/80TFvSz/8ApiYyFDDS7L+e9d9dosYgb6IuLWXDnLLYWHN
xUoQMwNj3Z3aI5aHpx6TSHjKLbuOv8re5TZ6k0fP/XF8LONjzUbC5Kh9DmshHVbOYol1a5WbIWSV
RAvtykK18SLAiAhGKm8Clx0RveN8FYQKYH4MK3/M17jcglvWI/q2XnBl0os5666Cumrs2iV5TCtx
n9Rz77ucG/v4Fz3linRYhHo3mOhb6Yzhw+OY/3jfKRJd56we3V/tPPDGc0m5+bmT8KzjxGB0TMoH
dvmkkUSO0NhC4MxZPvxS/wnuLp4del08CHF7RteK8QCb3J8UW7naB2TZF/ZK7UoQCs8bJwbpxOP5
sbgqsTDpE0/8wUXcJ9jhnHFdgfoZKiMML6B+WmdOOXi4/QF2Is0KQ9w/lwCGaCjneS91tLDlE3CR
JW68eD7uUz8U18d3cuUkLKhVMMEGKtvjEoJhjTG2zoyUrXMDYfqm3UpI4IyJfqQFBK9kWXRf0SE8
FbNuNmxANjC1+2ou3aV6ZkdamLG3sqcU/avw9lgZl+IeHeSf9reeB9/6UVught7I2/YwoHnWzsZ5
CL74FNYn5EyGkxq++D9KQtw0MM5wqJ2Vqc7YnafBSo1xC0KCRkS30CMLVi+7HNRNmTmmQAG+MNgA
UMFsg+/BmaP85SfAg81/GxKj+GHiBbHWTcx7HyNjD0hZ/9J6Rd+gQO2P94/vcfbYvFgU0wDst/qX
OUTTjvgTZw84TTGjNYr3G15Fgg5MHS1ullZYgI8d8WL4m3rkTdRYMPCHqd25n7wN38Gv3eKyaX2l
P+L/IAyHkf/rnMWh4G1w+ZHepIQuok2PsZF9fByDzWMrLfxxvZIWwaae29ucFavsu302TifyFkej
tTQd+PYcYyBtEf4ai3yuHoU6HeLywtqTNjSLNtZCegcb84i7TmE5Ix/BkxTjlVuHJKMsMUqsigDw
ViAesjVlhkXb5Mn7ttu4gMrDgIwHSn8Q45/y8GfQbjCIgVZILFsFN1AGF5Ak5t1GemisbNYqjMjs
XdndHwxrfMRpTSVPgxIohsGNCQqgMi8uHrDjumdlb8gkYvM1thIrv+dawIjwM/YfoBUfiraE9Dt6
3Jzhn0wBb4d7wyCDMrw5iPt6cKBMh9phvKHEYHOyc07UNuk+VJYetQdmWxWhQsmWm0jf9EtcPRWa
piUbA1ExAx4S/ZQ5OQcbRxruJc2oEdUNDt5sO9mUKecv8/xXcC0BXrV5ddKwsaKL5fPL2BWE0sBR
xTIPyj6TN3FY8iMYKSQcBtIOw05qp6z5gi271ZdEtdjovMbx1st2sjUOt85OF367Z9qcrp5VfAsp
fu1YXTKy40A8U2FgtUPQPT+F1u+lswFyBz8OkjhM0Ly/TKLmKVvgmPDvO3XJL8OOh5dXrBmUes7M
3aIriDB6ITAKzV2zp5lvxHwcQSHiwmKN7z3ljTMt7+GScbfdjYN2BokQ/5g7zu9zizEnCCB1bHgo
Z82KoTyf+R01MKQqlG4d47BZjQBy7q74oTUVGVocxFfukrRLYZiRb1xMu8DVNspcORdv1CkQQP+5
8NPmNML1HU6wwdKkQuTtCbdmP+FVVosc301EWTG1gy5NeLaifkALBAEqxxaDUiFb4EVDRjMkgy1t
FnfnNnnbKKEEB8Lf2iij5uIt4ftYdu5R2lmowXHFMCYM3akd2iNsNjC6L23HoWtu9E27xP0KQujB
PoTioj31JXiUcyLXcM1DOAQ5nOFxn8Hc/Dlz1qwcVwBIM4daFurBf7WJgTePt+cXVIt47s8FPscq
3aFvHHs7P//yRQBjidx2qjCXf8OVYPxOpCiPfXzIgOn/DcDaIrMt3qBB+U8SwjxbX3pnmT5aBM4m
C9YKzgbb4YyayJo+lswKoEMgT/x7uSopp8IReg04JG4GfeJ6U+KA8PCg+d1i4eRuueVi4TDC+sWY
aU2NiziSeB7OUwDhfUxBy1oU645Yj7W95LoU3CH6Uhe60wb/xi+8AGyyItdePaPPh5kTrIkOwPaP
Q+zlHttlucQ9iz2TmcdZWplEQq2oURh5wP/k0HHWCt4XRT5WdsMuWPNF/pXyaMeqNjdsY/t2lW3w
HCCnhFyMvb9jd8+B+thGjb26HYARbxaJJJvHUd/yEKj2f8eHwL7YGvEUWDWoB/YFQKA+leaMfTbK
3t35u5zNph6H6Fl3jjF6bBN1msNePg57sAS6cYgmDJRAN+nsOH6llb3xUaycONyN3d+tyJ35157C
UVEPGAXinTlFvzpRWTaQLMUFwolgRjX9UGZpthzhVECKChGAI/zu+pW3cXe4hfE8lupc9bELnvQg
11t7m+IuUrRsSRNsOACj8mwinR1ejXU29lCtVtIqFO8ajiQ82kWtRkFnIc7jLRpQJ6HDMSD8z6Af
8o+Po02GIlF+e/PIkcSJs+ooeHgaTMiocgbo6NuH9cVbq/AQDkvOOdEkE+5C6r24nXQwU/p1iqkL
gh0+8boQV0jjxlC7SU/L6X/4cnKlCMV4mXsJvF7CMGXYPb4RyXBee5toEwCq8Kq5UDJ6sHW5ysVB
zHEKpzGd8iAuqLIHqiytqXrkSOXaAUqssA8ZmB3Qtw9iafA5INgbeWt+Z05r52xkn/D18XBSgDIK
Du0vcYY6wVg4jY6CTYu9CpcXWp+/S4kWQNHAi3Z34imNyyVigG6vsuDEex/z7lN221sH13uMXohR
3Aicu9uSCrMsFyg48sdYpwiBtL/AqJA3rsBbjXyoPV8yjxHPqm/fjfOmyi9hn4jZSZlOMlv4DNjj
sCT0lOiIkHX8UPqx8OONwJsTawHQLCu3ON/a+qGOtn3+XWRzRzor5s4JdhUOpWyNhNhkqzz6yYxj
XaAUMOSRw5C8EMBFfoH6LDTIQ49ZJHQIG8uD2MbC6grB8X8knddy4kgUhp9IVRIKSLcokZMJhhuV
MRgkIZTj0+/Xs7Vbs7MztlHoPn3CHyZMTGjkv0kKWzJnBEzIUTkjqI/+XoWDegtkBEgtbOVyEM7R
GjCZRIiEYN014nTCq6l06b2F73lfLa18hX89q6QZ1nrLUhjhAApG+zWNdRLLEqBrMh8W6hRNaBT/
EWifGT9w8Tgqmnu2Be9T3Os9A1rIee2e9upufNMXIC7psarn9pGL6Ry9IxXeiMIw3zcKRu5PCqEn
EoZhA45SHFp5xwEi2UpKy+dNglpC6NAwOrVCD8Qac0fiL9hipi7I/cJo/GxAtKG9AAq4GpwYdckW
JRw7JxwAagHRA3O7s4UuBAAfwFxg2++h5Typ6cAUwyOmrobOzlgJv0+ozUQOUBkcbDQzaS/BOl1B
SOCKUGomON/48/YhsfExVTZ+yh2nwgJVaVdepTsoxOWxf/RH5YCF8Qb35E2/an3QJut2Tyj3quWG
XrYXbKU1B8f6Idn7xz7xw6u6YBdMMY1zkcGYHChE7NjdvJ10NysnG/bFJJmuntOV8CUWatIc2Bd1
ijXf9CCglciZTEC42TfLk77hOGJ1DJHLPfTrwSEwfzUIKY8n36X7vWI2tWZ27rHtWFT/FMdG3I1x
qcnYxHynxDDrWT69RIOaDvTDLF77Mr+PAoxqUfHPJMYch2QfHSgSRfYCDCk+iUqNnuZ3LYplSt8T
ZTAxl9qo/cMJBQ0C4WDcfFkL+RhPGyQ01KV56r4QcPHCBec9yydcqEtUxnfpHEjlg+bkR4y/ePj9
0USl9p/+QHcfYc6K9BNdc4inOLP+E0bAjakF63PjW8age2VA22h2HFWH7qU/eqg0n+jgPV0WHGOA
5qtdfzx5mBQbw85ASpD5HRSHd+jSl5jTEWh+wVIwdZmSVHvBavwVzbAsQzkRa543bmQVuti6/8LL
SULyi4aQHgGpz8mbYpBOUtdAeUkmQJYBDY8LJNVQVaFJCHS74TiqdNjaOQ29/r3po8x/oi+QWUt1
DChcr6+tnPjFoAMlCuexyUVHhRv22aos26n+5ghPu2VnvC6JtU2S+yiC9qs/FxLgo5f1ds1g9Nfj
ysJ5Q680ghg1njzpY0PcUJ03+BB4VxJHuIjGVFTVRNtzjEmHjq8UswxHv3DKc7RQPTOIoEoNBkih
LfUVY2Awfnwdyow0dO/qnTwe7hOhPjxzxOl3WhpUcvGZ//ZAAgfxQzq4pJS0xrH4faOuxVkU/Bho
LL0saAGT55n6VIYETEe2qyd9Bn1zjIpXfBpvUG+aY3Xt5/7767VJH/SpNyz6OWI8sxjx7w/i9CwL
L5krB0wzaFWO5mTlCyC7yZnjML51QnJ2Qsk3JcIPwBgv8IHq2+sRrMtze6ZoHBOszuNtvME74Fgd
X7v3EZIlmp0WzIQHUyULvUPpzlEGD3OX8q0mEY51dwkAtJ75cfzV+C6eAiP/C31s8gtaNchsvTmH
KCwzl4KyQP87chOEbKBERm7MgVm7Jnr/WCRxWZjU8MUUotRFBeMKO74lZxgc78alVhavhk3HZFa2
n6TZ/95Dc2kUHhxgGaHLqN6ZzcAgTc+UzogZc8tDS7xzKPe5H1gAT3QXctAjk+cGf+8Hd8g7poR9
MbKu3Wfm8qafXCi2U1j66rYsuwPYjQ5NJNfMF89iEerzeux1rS9nvsyshNZl7fL10djtERvKnVG5
jWXwHUYIGpeeNQzRtGmnmkFjW37bAVjjrkPnSWI6Ou86sKuGz0DwqX3H1Y8uQ0PK713HEEj4XoUr
tZlLxj3XDpbwy+Yxt9ZrLqHu8c7TaUc7TeGlWkWx0VJP0sbLJDR3Y+3pVukJZN4zuX14VZhAmalX
9fsq3CjqUSKz7p4Z4mfT91dLBcgB6kfF9wC0DIzPWEYvusJFIP1DdalHx43npNX3d37tagqRxO1o
towOFtOQ6hDCPi+eDec0HZ5Ko4t0GyEglJq42YNM0FtmYdblhWSdTs+skpheRD1MZ76ypOrO/2Lr
GzmOHjRPP8DQeC173lIvt94YyOW4mFcDoNWGlufLnOkoO7Rd5Etm7L+H9fuFWhfdlVrF3AqYf9j3
Xia0aCJpanw40JQMgku+6Ctp3rLyde2UHTjuCH9D+WWVi147N2Aj25P5nMajBWjJpoD8ydQZKQRx
iqNWg4IAIHFklHDRRUuCoBs8ny4zTzsQ5X15jiN4MjHhokPH/a2TVOK1XC9MyMetxdZ4Xi1IPtZ1
PHzpdDdTtonFstVgNEHbnTDbrGTmW/i7CykHaC0fYV64iGBC4a6M7/yh7eZtt0s+LHKyBOW9y+P1
h34MegTNQ9c05LCRq+tqB6uXCpkBNUX9HwkL5fxEzsfIwoXZIcdOxvAUhtVAuBrDiwEKdPS6LCz2
cnO4dpLxgP+f6XrulXU4K8fJXUE0V47Cm1S9j42q+FLPoD6hv6x/Bnxny0OUQuoZzzM5xp1DmjY6
pGpea6Qki6Fs3GeAxFxdLYuoXmmh5NWy8J5tvOpJHYRPaJe4AfgLMPNZWaMtYszTHoNHnvMT3LOc
aPjMg+U2H8r7x8DqVnr3bgbxNWDam+dA9PMAZiLiEFk03sJrRQzwauHDGllAkSymb01EwseUprOO
oa67Vtf5nA2nZyX5WVBMR5hpv9eJJFxSa7w9W89I6SihxAgO08RydCwz4Qv69dvEN7pC4uoDBRON
6rak5FcQfG46zU4t7EkNxn5vGZhnOK+6dDV6yW43WHaX+yow/zRl/huFfklK3xfxOoyQLsgWI2t8
SUFmVclr8TSs6TPs/VYyZyD0pv2bfAKECKRwLLoaBLuGLDubkJp1VPVIzFBRod8AKHXUJraiBG5u
UYL2xyDFCWSEmAwg2xnCEFM4388JTrMO4hBLcAQwD+j4csKD7cTkA7FRm4k1U6+A/OnDzGzsyadm
RrfkltvZ17Aoj5ETzIazDnMFJC6lNWk4hfeycwagd/xTrkrMm/ibLeMy1OBFzyZD6YFcYcPhuapd
RHnX6P2eaH2To/FKNi8vPYokEFaKtAaZQ+cpXuvf4bpDalTHp4AXSaWGLv/pudd/cYlLXGasDcqh
Fb4YAaqNbvbPvgCt3aXwg3XYXvo/W2pSLua3L1uZMHu3gTaIPLH24VuQIIkLVsh7aBFN8H6fiJuM
XUYvK7o/6a5fdV+o4TAegtBiaMDCbPmooB9vD+TwOEwgLb8I5wwsz+kKW4bHy2HDb4gJl3wFm3ZY
0Oggk13gLDZNW2Ism93VSEW7ZckTps8icO6AwN34EV5TGzf6qb7AKYHPfG0ih2SGhb8Gu2/HDMOT
h7RGX8qj2eK8MgekfrdQyVImxEcxxUYX4cEs240cGA/OZ9thQYZAB80YPpb5cDjReea00HjuFsZl
+aP2XzRTahR0q8CHNSEGoGImNokXqJN50FBoEDIIY6aBY8Hb06e1T9OM9JSlRGVHtfxV+sywbIQE
Af4I/IWNFQQ44CNIVtphPvK3sxxFYwSKlqKNxBZykIyNEQXitIeISHKffaHgxSwkRz61HdDssryC
jh5MGPUb22Vrw9yQa0bTjo7gtz4VBQHMF0bg81HHp4hGG7TPzKG79BWceHgMToOlwJCPLtZexgHw
TES3Yc7bSGvNqLmc7IZKgv2ZjmYo1dgou7njdQBzmmyJx13RO2g8TOZeyK7zyBHC4/VsysdnIwqT
dsXgP7dxuWwnn7O6zxbgCHg7mEw7MiaI4gMiVANQqOPJsDSEUxGKYE73RcaOSh1wqAXEbJ5Vugra
SfhgwyIgQGSC2zjrgB0zDUQ8bE7/imEedY5oaZanMfWMIGM4tDIp2sTiBXNKYZAf82Nqx7sQUrvN
q7UBrPzwzGdkt/9+Debaz3PBI6zu/breay7tUNtaU8ThoSdf3jeMzpkBUHNRmi2Rv6dNN6cEm4du
eWyPGY+AJsiXWJqwATDHgzvIa9+kK0pQ6CIocpyRbPObrcWnM8Xh6XCMsogd9dwt2Hm0pQWdij2C
GwzJkF0ehTCWOh2w0oM/PoWngpyi2DLWgjz3yMZjW0FXF6uLz7yktjKtV3CmsWeiSGzp73YHbpKR
P5GE28XB+mB56pQlxrWqwPV5rNVGOaisGZaI+AGM51iEqA3R6UNyaCPc6PgqERNoVm8xENsW22IG
7WST208iA1X9gA+hCBWgbGlA8Be0fMO5uIPnFY1kfkA8LQ7dndQgMicz/HQdXucsXIWu/i1j4P5H
F/xX+xOd8MH7HGS7Q63a8hDEe8KrYLXzYtKdWFj6TcSj/BHP1fO/FwAlCww2y3/skTZVNjM2T1ww
gWUSXrGkow0RbBWBzKiPYuOQ1FFxE2XEt9Gig4QncCovCmgBU7C+kS5cvh2GQd+9jZ3OuhSzTwC4
NvXBBr2dNSEdmMBOjN72dEzu+paU0zVhcBPBGw/hAmUT3ow1WkJz9PRXeNJTZu+E1LeDKROv4Tlt
qcq5TYc1T+/b3AUrJI5dRMTDdcP5M95UTuWhpOOgOGZTpWxSDm2mnONN7YrIjhAyl8a2sRhuTDqP
ObBoy5krQNIcL0IEtXaZkrIa8JTjXOPeaKWzUzCkIsylP/SAECGCICWwLNzYhvOIS0AvmFKfz8lP
SFrb+i/e4dAN89PYy2lL5PvWR9iEagPIWwUEBNCVvkzmwYlwzUeCfNL5GBH5cpZiTzvnXzxK+LUG
6IHItQQhjWXJLuZR9ycEszlTo+1zD5BiK03yuQhQsObF1pjyKnf/8DTsxx3XiVsRMbt10T5ft7zC
4iCWlojhnCsOhwAR4/WtnnmZx/GvOMoNX/5reMrGvHWZA4w3o6tpoy5j66AqzBUztT/KDyS2zWty
Gn+9vw1XvvK0eW8ga5i43+lUgjYyVkm77MVbb/Ed8AKbn2Ibe2WLyQEaPpuCz9LsMbsb3NM+wZ1R
O9E1an2cRtnYxZZE+I8eP82fgjihuULQHqW6A3MH8coBzJisNxMHDvGrYG/PSehoYLH2962QM2ZE
0nm0Tkh4qCx28U+JLA4Qyis6QoUjE0dbejgGsz0WL6nERqU4BsWUu4CikDpnudDX52EAzGW/EPmY
jfL6KhbE6y72XMD8XpyDPDhmMcvPttwXs5ZD+fXLwYP0IWcfbzLy1Fv2JQIPtk4rEhMUXs7KND8K
JPPKXDIKJKcC8NF7ZOD8AP0XdyzwNKyo/K9wVNHLZV+dxCI2fNY7XSeQBQPucAbawa61Kf94Xd81
9K+TxNIUK77zStZXa4s7M3dMtMXIy9xhU490JpYuOOkCavbMOciS2mXi8Q/1Mv4VsB2xiQHSe5VT
2yMeMUMQxm+gLADgXnT2mnh96Q8QSpphxTacvrfj74HtItGfHNn6stzjyeSaLCUa4/yxNQEn8/Z6
4IGbEsgVxEkBpjFplSJgw/EkhiecRhxF5DMKSe8EqHnIuUS3ZIkamMA18ON4SuZffaIae29fB+GI
8FkyVzCwYmHugIkhau0C9cA4J1xXnHJ4GgGloZtF5rYQaBs6lqXPrElZIuHsKzcLn0OYYnPSDwZ8
vo5nKBGOhsMSNpwYW/aTZK8c0MT1asJ2eEWUBM41x8tXch3OiOaxhil+oG45ygLF2JzICzz61t0b
UrR4MfqJyZU1cDrtCf2fAeAUSv5woFghZHjsRShf+q0+YnIPqmKiLCKnZlKmIiHB/yJqssHddtIt
RAxG9FcYq0El40y48UEiC0Vh+Ciyq/bRrxjBin7nInDE/sZpcEeL6YgaoMXPoEHq6JxnADM3tI5F
0Cf3YfDKuTH647yD5FiDWITG/3bIJAZOBnwJSPhQC1bJS7nPYAuVbxXb2SJcQRzd8Ty7G1BS/wYV
noSqQZGPpGbE5GvW/7y4bVDZa4nGpsIpYdFZVw7BvzXbFhwMxq51qyX6haJeaN2OI5Evp82wfFFj
iO2FYC/NXXFxsEZjQmo5oQjiqpAMRKkCuSuBZ2FDswx2tSvbr8ZnhpygjuCS+RNNxA2KAkM0srSf
aoZgouoxClSIXQ8C7qIR2M1ZskqYNCdMnIHv0b+bvzYKN9ki27eq5AmjWE5Fdq8g+QP3LEi7pnRF
u8XboztNrIRZ8sj9YVHQJBV/zl+2D2Uabawbc3Ia5I/MG2KCXuknrr7gtWfI6uZvv93n+553QXpm
oTibrj/CcgJizJTD+5pyXaJqiudjoRdCio9uCCBu8nROaVp3HNp8IflRPE9WKslQzkg5XXHxzOXm
JPFPpFlsdJTR8hCCPauUabhLUrs1UDBYPGO34ffDwmTANesWIaJk83hFFQizHSKWTquLbP5Mhd2J
ux6vpbVGS3I/BDbPBWXDnN8ZppPnHn1ZvZTQze9hwRoFDi+FupeQcnuOFiZRZix7KuV4TYIHIwdK
f78qr0KV6IoeOI2+PfbMVzRhLG5moQsMU3DF4ibvHew7xTQQIRj6o5WNKNzzJ4JST/AyBYjtiWQm
GQhmgrVt9sIO9ZNtTCa1I0dRbUR1kGEvrAmcw4Za7mX31F+Zr3y8J+NJYjTYAAVRJaEyyMC6JZKu
my8yHcYTEJkj+AD/xvh1+Y+5DFnsZQNECnsXiXZN86CkFdSXigM2Wm4dfhxBVskdcCD485gw2jSH
ZrSpz3MQVFQ72AlUNjTGBKd0sHQDrAP/U9EGwL+Bpcy3ApVysCHo+SCangaiAHBUJqiKV0tONUCJ
J3lHqxLXpfEkww+Jjt3Ho1EMCRsthrsQ32di0LBJdI+JFXNAPpHrASIH/kbrHZrUsoVyji8QJAzy
rsovOJJuPOVpwXWSjNvr7THuYmphUha33AyzR+dNJwRdBUI3KDpEPkA5AfwrHHMnwIWJXctTvQYv
wRYWEEC2KI4LtFIZQCLu9sZHi24WOiIU3WRTmd+PZlCurNcaayWqbQPDJp4qpi6kAyZCmw7gNLQF
3o0NvAHdBDp7P+BHkUn44MZDSUoxh5ECxvD8xN/XUj0IOwbukDZBKHQDn4GLh0OP1r0AttB3n7TE
d8IbLXsFmM5GrrcG9mKioY55pkZBztjhww77oSdM952fhLMS3z3q6WHa/LA8s03RQHRxYRsityfp
+YgGct87OLlxTJoNIiHCTiInIf0JduAx0nXBcAdyJq8YSEzpFcGGVYSjCPYPrGeWBJ8FbmuMExLy
GFfj3H4Ft+j6Yl4eOXQkAfVUFFORy2tLU4c5g3ylIQ6FVQ2PrJMeoBHiwsA5QRpBwI9c5c6EFtZk
Hs5Q1cKijcEBnW8QYJ3iJeoUTBPrhg45gpTGB9afMNpCriq9xTeA4G20Y21wO0ZHH2hLNsfDow2u
60xcxIyeW2bSAKiyAvGxIzvWYaLLl28eV4vbFr5ZlXOn+85PDWqvpjwDhIAmqjqTk1mZzMahE2o+
/nfB2MvCLZfGhLgiqwBgh/8fhKfDqxUgCB47u5Shl0hUIPA0uIA5oIVYHmGJJhRyu+IZgnDHZ48t
Zo64twnIrHHuBNQn49kHT4A3OOXPU1gGsOeEf1LhpcOMFUf7OQxcGrF/4FfkzMa7k+/SCCit2J6s
fYALvFAgp0xZUJgse6dq56wW+UpT+/10pXxK7ohlwzOeYg2LXVyN2ntKv9sJ8oWSc5p7FB3EDF21
yYcIbc03fwAi9gfNbfQpUOygp4c9AssfhzwGw8wEMCwrjKnSCecveCLhmlwoQiuGdIyhIKDZnpf5
RaZesRdGIkcDbwosUv2mycXEeaR778plP5o+nwIYk78rSBIQggT3pbJzSI7J4CkWMLrAPCOajv9J
iDD3xreTclOrljGzy8Baq+Pp++kDHxVxAJWosbBY1gyn5UmR/IAzMGf8rTWeYmVGY4Fih/Gj/PQQ
BEG2XUhVmDaXSpwWOqV/ViOWIzsSHMDwRvEYsrRNs03NHdTZMqxDy7lubvg9YTYNtuBCdR4E81jM
nT+Upg7fJc+Bs1Ht1TYXAJAYVhgWUQC8QHUidIHSVEAtjink/n2hH5kdEPngC5gVUgYSl67K1/hO
wHz5kje6nnjHTPkbqIR/Fj+Gi+FpEMF6DDJsMk0UR7lpPpc/5wtZjTQP2cUEfK4i+SHH5hB5UVgZ
vBuRqwWI6iPDj7wtXwvMGvARxVoikLg8aaa84d8gpn1Z5RBSCCyEYpZ62iJmMTULDzPZ3FioT7ej
m/N00ahFrqp+wami6Q0m2SlvDNTwhOQYiDCB5Hr/ydtyiHAa4gYOkJu1YP0ic8O1VFt9aQE1IJ3b
8XYoGXCuRy+GszRcg/wrBWYZ8A6waq6Cu5R7vjc7QGgVnme0QCnMuXcepTiEmCcB9Qc4Tmv1l5tn
4sCqCjQPjDf7hoyc2W/PSI7Lc7gnHuFA3su5BG9ExRjFpp7mzVsbDEisJ8p9TtLC+xCkEvP6qXw2
NeshMARsmFOD4MaB3SHCNAH0R+lGqQflC7SmDp07dKXEg2oF54i75RVwUHKZXAkAzjie4U9CjU/l
CF6DPc31YMXCp3Jui8EYHXXkI17OiFKVlnThpONFobsZlQiPiRVDaxgS1YxfuEjQ5GxT1j+Lv6EN
q8JfEjUW8DD2N18uds3bQf+MtyiPHXauYA2Rj1POjHz8Qz4hrVf4AsGunusHDDq342UmLKNYxywM
QNNcIacsbxDkJS1XMHAdphHE8AvEYPRTyGobWmAYlfSUEQ7QM+r9931EVwaEm0y+ZCsgAsiCoQTw
NciFP0e+jGXKd6/ADFsjpINo6buaVokX4ovCr4Pb/EtFCLAoyihYTDQ+ztSKzsvxx09fM8XjYG0R
60Ffc2Sz5mAViaOlFW8n6FxM1bl1ogw9GkIUlAECNU8/lDBqd3iOn9onlVBLlwwB7kjCsekBBuPv
gYOzq668PN5rhnU2VOI59ZKQdwSdgOzQ22WYht4rSXqGAwshZBA6OP8WIUU7S1MEFBYvPc83grTI
w5D9OQgjk9WwdkHu4tP0ilz1DiqcJgOnN0YFWDukUC7d9OVJqhMkUy11C3hHsTgQyFniUwIEHUtf
tj2fDOjyAw3SQ8oUNjJzCUaW6K2jAIDYunKgD9H+8KZ4JTArWHLkKxySYMOAAzPiIXEhISIClUw+
rQm167u2IcgSv0i2FIIcYoZsCbx4qVwGgYUXaWEGK9D/AL7rPYWCqvJTxSf+D9tSXrXPFcnbqAdo
ZRO8OB3JF3kwBCEeJSutuGNa/AUIB1LashKQWjFvAblGmPsHEGDMMeBjo9qDIlzNOFACGtj9uuN8
oTeHdRVGx0B0gd6Ggv+BtgHqoQaiaSwIExnyCc0EtpGAphJ+OS8/PtjagATuz4QIixKMz4a1BA2l
+46Wykzfkuq8j6FojQtsQArWm9xN/ef+SY0HeJ2WmXD3HAEq+WURnXgM+CFbwZz75e7ZwSw1U/N4
szwkNl21bGbC1cL6VQn0TLXAjRBF2LR4VwBZTByyaZ4q2xKzTqSSLXxDMAvwLBJQ+P+wllnZ3A4a
3DycA9fNBmI6zntmZ9UUqRoDddxXkGGwAdK+QNnypCHdCJjYhBGvTsCFl8n8i0f1Q4rHuc8y4Ilw
+wE9MHYssVisEqbCFVW/Qb0CTYdvGf8S2VgABjl3QN3gRqbflHPSzyYW2CI4L8zSqTkMfE0hOpPD
4EJlCAExENB0H9leAvr8S7pmHtmSJDUkCtD2LFI7KhUbs8UgcHkmtMgyXuHLaUkjKPlpdiGsQrtO
9RP4ji+vojdKihjZu/gG7iLRvCGfEbdJM8mFWcksWr7RylYGlyT7nI28Bt4QvyFss9PIzl+KQ1T4
KJxaopqBbtSDh+3pwQoaColGe3pdjB/0RaiauWawFMcGoTcDZLa54iXN2gXJub7V72xGdhBlDZsc
tTMSNF5V+MN5Ld5nbzsFhzbvmr6JEFKZEJYod0hakXnnNH6R2E1G4pOppsT+g3GE6RlN7tfF+pY2
mHlfi18CGRAblMQJ70QSDv7it9vAxNiW52wlHYRJsn4Q6aXIH1g9K45+ghfZDe0dINekG9QpwNyp
XPIfdgVBjj2GYywPRzyZrxSGAjR26VLK3Jd66QFK3z6/DO5J3wIeooKpkihKxxy9w/JzaTZi3HjD
TKAEpfWl3trjePG5oJ6/H82fJ/MI64gjAp9YSOXsOO50T5IYkBmhL/7XHLDcxs6jYhQbeJJkh8Qz
1t6FW6fWFecDYbQTEnCDOaFdRie1usMm5u9LjgV011Dp3zM+h/++IxrH1/xRnM3D6D4i8tGG+mdn
gBwibvf0HxLweeGiO8iP0ZEhDiNgVGhiO/oFJmYKdREv6aZoYQ1gchmjAY/TRBuM8QlTD6Y2L6R+
ARKg6P9xcNNi06wIKzxgOobkV2xkrprI319pt4E8w84A94ccGRgn3CH7daY7oj26g8rmpEAmz9lr
DObuLZNLqBv0yS1hRc/hRojkGRM3vo0rq5HQRqyUPy7MOR5QcSdQChXCVXLktgBf0F5H5A+et6c3
wSxJz40WUX80myhiUROkguGKQUcJbjrR1YMhq+vM2iXPkArX9FX9qitEEXQ6I3U+IHunZizm/Cz1
iGSYoZ+rXzm5nPH8G+v+W2pQNhggXDtGP8YnA8PItrnnNcdmAX7KPLa1vhiRzJgJVuDn2rBmUsvL
HEfIeam+mGkp9GIBBS5RsMRTUj7xu0P9Q0gD3Yob5fcHqqk2h97HIyAFpLpg7P9PCo34AEeTsAF7
jbwdlSeyGh4Pje0jnVcIFiXai3BQv+ETkDZfOBWNn88FezT0fVLZjnu46zx0/CSwzOLfBPLBVA2E
AxUvRiUPLeAITTjNaQGxAsA/MoxnLMzV70oakZ9N9oVHEppU+g25xQ7hCrFemAYDLBWWMg8aRXQy
yyu0GrSxsgrHHMgor1/zIWiXn+1nS5RmuQDXEMH3xLH0ORBks8NzITA9JE+laC7DA/3L7s0hhq7J
OK/ayieFLmFzENp/V4tkOb4GmoA4Asqt9xymn4vgEZDTE+RNp94jdPIL2Ma6MeID0qA9ALgiP2cS
NIVgmhw5FfDbm7UeI5dW2s9jeESYdpwIGTQL8ctmip7nupnyJ4lvbrtp7sONcZO18BRWgSvkUD85
bGIMY1PMUJuZKjrRG+b1iMZuEuCy44XObDHfjR7VZpiJ4W9/gjYMkwncQ3kiSlq/omL5Rqx+aoEH
rQDRlldBYiG3nIL6TY+5aB7Svswf3YIfHQPoXgX3Fw07mTLYlmQEYIjfML8chEih8X8GpwErbIoh
L2KX1Z0TkN49rbeYlmDHDHaGQRDBkGOP/caflCP/Vc0+7yVii+97h9vIkgaqcgOCzdD8c+tVsKDs
QWh2ZCHMs9PaAZTMvy8KaHMCJJVJf/4Qd47eFGoMtRMgQYAiukbbmjTEHjIhSRiClUeVEJAD2IfK
4V9VxX0IWSWkhGyEW7FFQsUZKTUzA6SNOoGTMLEwxcSOExwFm6gUaomQT/i/UFi1UUyydFlNKIaW
JAIAd7CP5UsYMcJomhEvGxMRCvRCHZL8DAUVkgMmQvyGdjnpOEwuupK6i8ItBzLFAjql8cclaKvf
1IRkwCRHpCw0juIf8C0/w6xcQYu50XoFFAvY8vzaACVI/4E3I09zlYOYLsT7/Mf0RX6Df/FzUX1Z
52TXaowWmUGeRwC1i7D32DTS2Hx19hsZwPataL6kgU+IqiyF3mcsAtXKt5piYhL/Tn5KxcSGsoCu
OZQK7Td+SkQcmNHemyawcGT4p6NTj1rmSQBCWF9MdSgfMddtGaUk83ZFwC820JdmwpM62kL94R/h
UB3v4d0AKoERBFdekN+ljUBXYz68RrnyIG2K2Qcu/nON1iNt/j9ZeNdCUYv/oiW08X/w6GBFLhCe
4tNobm3SE7mE9Zuf2DE+iz39gXzzLT4v4bMEhyeb4XcKrRqM9RbS/jxgBKzt1I01FYoA/XzYSNPC
SxbmEb374jua6V8Y8OwajykxfUwdhpOEZEB4ljzp8PLrKagZxmS1nS8MNz1b93xKozNaVk5yshjP
BzsRIGOmm7cK4hvALvhBxhyMzDxEGWym83chsovtnhYf/wwO5K0tHH+8mNN9iCSjIFWb8wxmakvw
FjRyxPJX+gKZCPAw2SaZZxuQMav6oSAxOpyfKKhM0lVzrs7hlTMLJd3sC2j9sl1px+HA3qToL9fR
vT4Je3MGMPC4sGElnxJjvuFb/VVhJH0OCZIPSGDtqWOTNS1L0XUtT/ovZyRZduUYV231/s5+5Sv9
UnCz6iH4oThXIf62c54e+ZfgxpyHCyRhcFQvCFH0jBYAxr9eXwQYhiloqXw1mzEQcVR9wwkvjlEr
nSG0qSxRRpAxU+GT0VBbJD/EPrF+4Mt8Cy3Wci3aOd77K72mR+KBtYCOtwMxwSENdAiAx6MUgazP
QX4wjjt0M3Gy/9BENk48Bw6tP5pUVI003vh0PsnC5PXntWV3GydpYP7Oka8CCiqTzpUG4itJRlqs
9dfTVmEdvoPCbensJTiHSCPqVQnZa8QqMAUHAd99Md2+ag99ygibybBgnGUoI7ywQecmhUkvUxXO
6m8OJhJFfjv642oofMlJKPOLQ0BtTGqsLpGZ007aCRRhsufqCKbMwnSyQxb5x+Fvha6pItQzyJoK
1Mxxf+Q2UQzjf5kd77C5Qiefs5bcqrjgDkjDhjL2Ts1CkiWUWhD+EGbo2YWsZ2AyBS716ylUOCZK
bOPjRVFrotJ+g7do3V6/jThgsEwXg5ojIpVHZDyNe3v58NvwwRE33gczlartMqKnfBFh/AgcSgGQ
YkFXkFl9hKt+ApnzTyQPd6HvrP10Bx7UUV6Nb0Lu9XlVzxzG2pwluQbLcSLCMAmgGUFGy05K3Dei
nczJGNmjLiwzHgBO1NCxChlQtelPROSK9GtrnlrpN+38Ip1LFm0Jwex8Rqt8vK67lRUcKrCQugq5
lXM9x0CO14wyMYwJSpHGDaPF573Sujk30BXnt7FK032T7Op+lwFia/dtuEKDSUKEt/GxEM1VHz14
DNHoCGS1qyHASd86dDjp8Cv4v4GDRSeCyCJ1iRE28uLaqaV9gsLqKNoa2VHuIlsyCtpTlBghILno
MgxLDWyq3FMcNtsOzmOJte69ku/NZxX1f3Lxk1Reol9GJB7dc/GqUZhytHwBO0fSV2lziYZ+kkIG
MiKRNK1DpPR5B3C94v6gZftWXys8A0wORtq6zY5pN3+9V4jEjl+YAi9kOKBC35bcxQAUiKoK8q04
A+C21HiFNisCB039pFk1NS/Ew0NZQTIceSTlYpbzSkHsfBqOj1rtfoDPYXiQ00EmZV0r1dfo9Zzo
43mDKrm+lMNdR/2VG+cYyyL0IVNbhTpW8m1Ix31ohMfISz8JEWmku3IT2DmeJsZ1hFZhq+ADp5+B
r7GAyxEtuef9PYbCNAY4H4EFrB5tpiFeGNkdnIhxHlOZfL8GOg1QLSTQZyMhWhcdB5kuLL1BZV4R
gmOaGYjsdJu+tjBMpZSD2QAzAr0szbj1iHa2/Vrn5GBwP8w0ZowQoKqjVSzfLDfZHaNvgzlk5lba
qsTyTXNInFCAxuEW9B6SvS0rCwpjYJcU3AqmllOcl6QJeQtbiXojG88R3xbGiKQoj4x0ElKDyWux
g8alIhRTSgph9isa+3hGUia+XQwX89GiAQTxXhXaP5cJuV7J8iIEN12tXgQ95TNNEdjqIN5Q6DXT
4LNUUJGpV+jc5vlsBB048cto2Qm0NdETTf0YvZ0tdjwU++mq62eq8FbdYBOQoq4kH9Hcl4q99tnU
b6/jVFb8AV4yyiaam8XzqLSRXetGLkhiCx0+4LPtLEVLOnaBZ5PNsfsybSaViydMdKAW0A8x0gu8
CIhV7tHUzN+ufCTJ7yobkxG9WqDVzwQbdtpImsogat6DM0ImM/JJT1NwpJ99hU973l3aeDHEG8va
UWY0wUGNcH30h2rxRGwFVP+qAkjzXMrdji9Uk5Wl/1CmSgV7eZKrHsmxyJMQxY53abRt8GnDPQKV
aSwHgfEjOcDs+OMMwFLJcxlatmSO03yM5JnkMZAORnMScbqzhGddcnBypdAusg8ZNQii0TEqOz/u
OGz6ZtF2a9SCEyR8PqgvODzyT7rt0rtUeArKUFjhIZiXryTloH8WhbTVukWTPtreGyduQ0eshNTk
SY3D+VQkfgWLWHUtyl/gRor3YibVuF1Peopy2640plVvJ8rjqeFY6mntwqALX8IItFvs88As/WWE
8Y/XwZ5RnVbyA3SZNIQ18FzHRQMtaWhUk3LsEimMbZG5CQpIvTN2pZNO0cXp810ymKURThu/dPRk
OsISYZKBOWNihDOEisu2E1nrF6AtZqF0NdfPKyBQzCnTjtGwkPbu8jmOzggW1gAgDMHD2cbNijeM
1gKVCJYEIL+Y0FGh/r5a8ZPfjE0gXtOMYtdfC9rjUPuYElDSgBAjCKJlQR3BeuQKeeoo9x6pQopa
QDT5tbmTyjOpyd8YoeBlPA9pk4fM8mw60jTA0BnCNPIFcXWSyq718hk74EDIrKCW3H7kf+ho8WpF
LI4FtpklVoyE/TNFMI17ZPs4zOjdP0vRgBlGTnfAnvSLBSwiKvtanRgXoBddQHLOzNeOziMoYRgq
3sCQbdlF2oXzKH8oiHdz4SpBD+SG9ZzM2AsCO/14Pmro3EdiLdiVIGIUacemm6JrOEGpPVJE6QYw
pAS6C2WJg57z2HpmmIcZFDH1rjN/auYg77qZGO17L1WfPdZSncTgGu+5KpmWirrUa/lSGe1CCYPF
SEq+DLUm3P3H0pk1qYoEUfgXGYGgLK/sILjg0na/GO3SgLiAuP/6+dI70XOX6WsrFFVZWSfPOfmM
u/3X350E5qRbFENVb/8AJ0IgfMXfPuzhhnuLLKqnj4QGc7lwStO8Fyg0ynmv2ya4PX80HNQo0Zy3
Otu8titNNCIdDAwK2GEczor9XLWmhZYcK6KtdzyBgUhZ8/wO9xgOrvh70m3jd+4p7+hgRnepWQIv
ZkdrWNVjSjxsHjTlooqYY/Guf1vX9L4KKbn2da/RJ2I/iejqDoX7GKHSQhKClqy5Dps6pv3RLU80
DOif3sEaqDTF1bz+IzSM5M28L4POLbxz4jmmKs2w38GdQEzhuc6US6D0gxd2w/tAR/Z9G1YcWrPL
M3i8oveFs6R3vQ/2l/BaT44aDovS6ZCirf78KWCX3L8qa3gv5sZzvH9S4J0i/+4odL1WwxZiyvH2
Vx0mvc6g85g8+kGf0/PwSqX+CkyM0g3S3uM8NOuFVc8O+gbxigECXyanPOP3/vH7bszfFrnoaXu6
REp3lt9pTfdbNDOzzTrqn3mmXc1ve4cs8pi2qy/rssRFpyLC6d3ZnoGt0Nl4ympMZbk6Dyj4vGhI
YEXYWhqHed/MTtcJh/5XmV4gQBXRmd6yxV9T4qzgHU5QVDwKVqcLfM4KvhYsH5EKQGHkKADJ9gEB
WBcSsE9d2BUKbxvSYcVXgh7axFOi4uCFW7/38uBnH6aAsH9330jM9PjX3VRk9au4wcYDaEtMzOB5
u8Q+7728+uewiEo8ud4cQ69JX2iwPv1iXaFO1uPWaTDdhZ0WqxIIXn/76OpjqIPEDwmjFnUjM80b
5wQ9FYKvA8MLsSTTJ7rQchSntAAUGt4spcCgAnN0cg9qsFPNsRJNT/5+1A01DNZUKL0co98+tu1g
yQDXMSbODAD7BRzMc/gKmgFmEVyqGkhP0ad/92sX55NdP4IT5VwYElwufPMHkzT+35zrP7wNOMIZ
BznEoDHqclwWajyIsWFo447feEqsBE24T/tukehewSWjOlwWyYmzKngvbDkG1Zjlrmpvde+90dP3
WA2s5BFe5obbhIcAaZJzdf7a8BTQQhaiMOX/UbWgI4pTO6C+NlQW9xH3UiGvnmBhwxKePuJqUQ4p
5GDrso/UyWrOox9yyA4e4XTlvCYU6tzK7UScQRgZfuE/tcr6Y0rGriXqYWqFge49QuBO7HsKpsE+
WZwHGOu6RWTOt9/UrmLQ/YDStwMJxbmFHSYDhs0e15z1o0NAazCf1y+5Gzx5Q8rdz7EVUfj1btzX
ysMRzuuheaUyzjvQKNg7D/g4Er4BBj203IShIdOQqfHy3i61CIddjo/nWOtAJeH+/xAGw3eGqeaW
vINwoOnLYgOZBe3A9FCo+SRsnsztlfM3vdgcF3hth1dD5fdhLdkarhoNf1LgcUv/OK3cfVxxP1t+
kAVAf2mXvpJuG+buouNTr/R5lsHJ4WDFBa4crCB8MlAMRFYOV+/CRPeAm0Yoo+V66BpKX6AA2o5r
uTKc+6A7vvgXX7OBBQBEFIfV5rPJc9V0kfPVFLmdc2SiXmEAw8rAZoUBcPAMc3Hhg6zPGT9EvGYv
HyxVncVJqzib3YubfPoKv3OZ4cN5ZQ1cbCgVsKUbKsBEVEdjbhfRPmkx+hNqMozqGb4gODGuUtq/
QEalVouZBYQhWKOUg+m7AWDpgInA9FYDnuF1Q1314tINFjIPqiaHOMucNCfyINWg8bpEQd1TU+o5
o7tPaHH2/vrpnqJecHVTMAhnrTi9AIiDkYWmyrP1YX16Z0/UCYojkOz6BBkcLJ9lJexY2ponSgyv
KYIu7b3iAjvEFbR/g7fojqj1eRD3orvb9ZvPWIEWhbRi4oaFSU+7Lv6dMyeS+Nol+xc2ecKwBFfm
5z6AMZ1c/V7QH0FMYrIhaGAAX44aA8rg48Y0WjkTY3vmp1vAK8qZyxoGNRVSMaLkBVaiZv3tma6w
2J5RJWPsUDYA9qhBFyssKuQp4BVPoyZyUFLkjnsQiylxOjxiMDNpB0Om4MDPYUzvUOepDgPmCGsf
xgqT4enTFsMpeD+5BcI1TWRqwsmVePZEcUKlhZ94J3moB6RhDsaNBGDs5ex1N6SKzgJCr4we5N9H
k91O4KDZPPTpJzLTaoWyZlimhV96M0QvyXWJeyZRBP32hwstIh3yVmeNcSd/NJDt4bKS6NMA5OyM
3nw8iC/fhV5skyUS+1CfwDmm0IYGpuBmezG9pPhZKqzuPdz75YTJIOJG0RvoPACZ5OdM+mpZNnQq
3oJu10hP2Bw+MxMMGQcJUf49Q9QYA2mYg307o0EsZ0wxfvWLkSi0PIRArBnKtaBcbEp24VfpflSx
N9TIhcygvzFR05UQe1djDTO0dO+uqZJucaHCEpTHY6OTiDvemZ9FIDNkQTDPTI/UBRK9Quce3Fy4
FLg67jV5w8YRW9KKRp9I0zzswRPDKQO+HGve+uQsyEGY/Iz4030y+0Q0QMWnE6rIDXr0uoHnvj5M
5fcyppM6ke6IFgXZdUxLFl+baqN/M+UZNbHEQlFAFdMmWL+IHQ2BilXAtIO9yO4qkwLyFLsdCrVW
lGxM8ByFCv1GeRjKXAuhAKNSu1DEOPDZx4Aj7x3mOo1yGTvuLJQfw5yVaYTbJ5Pu7SMj8WiO5PWH
cIgwnLi7VBjQJ6AOBCl6oCSlnuMi5PCQtNHH6Ohs6M7jwcoRCSYJB2n88oCYgV5/nx5qLxIRkVjJ
nIWJR6QivXDuzPXa7QXlEBlhAFmKjgdxB1UD3bZYr2149Z8b/BMR3on0gJtC2FQvOY0JOz3ohBhM
x/VGHerDgp2XRbA4/yoEF3roZhZRvhO1A3XYAKmOlACz0qGRUFbcOyfn6GJaFHI8YOtH2kFwengU
W3gABc5TLEKkN3jkE78o3jPubUhfeKI5u0J0G+BrRChUJVvikOJd/YNTuof4ntbBnjSAbWYh6LeJ
vV4nWg3Zy33Mdpk+sCL+sEJnK2mQxIKRY/1Ts2EooRLWAedExgQEPjjA6OA5ZsDHGKjZeUaEElj3
9xQROieQUl8ot17I1/q+5gIz2tDH3yhhTuwkKoJExIrRe4Y1S4AuWCBunhY8CFT4zDdmIfEetIxM
CjYeMclAqdEGog6kEBd0A3ztmeAaODCThF0jHz438AUJqDVL6kSoPiH/OwbPQbTHxIQ2TixK+PBB
JXGFaU1Raqvw6G+TeswsIQZcQ8xyI1llIF1BMSN9YooizWBldsN3CP6IgIBCIXB6yF1TThyKNzAC
BNbcshe8ca4Uz7uaj6N05usTljYcOMgGSLBB2Y842X6mnEOahodauXhuwGKUuFmQ+L+XOoodIQeJ
LMh/chFwqrCHlZhLGfazL0ofKtac96BW8FicInbWG3USaLtEZfyIwSwQFhmiFkrvKJ7zDKy7u+QR
wVZDzcT60JDWIY+KleFxUGA+AeYKp5tWZiDMkgZKlnylbxS5ZuVfAhKFVLPZcUnBaWKEQqOdUE/9
aL3/qgwdiUOvVlggP80fv152dyP+fhe83EiQGS4sHLBUliziwq5FbvJ9SC3mfUOi27Jy2fbdYqsh
jjmw+KlE+s/QAlEu8SaRmNZ6++QWH/+wckJyyFkOVtzwQ8x78t4oKEVqSWQlyw86ibZ9Bay4CfUN
dofDt4jXEZ454tuN+QbVEhhaXNFhe8edujPKs2uisW3BGCIz0qIi/bhr3tnTZ9WXkWhT3NyIjlM5
eHCiCYzkPCD5gkf0I/s3KY0jswbcgnMDp4Mnk+HiNoN9So9ZXwlfIWU/HjdTaltmdBeIqXx0KdHi
78dk6frol0zqUgqut+Co/mGsLaVggGfO8r7U4ITBVoCts0943wgaERJcMRZHkMUujnMx66T7xUT1
70kvPkTPpcTSM+o0M7A+Dtc8+Rp+Pube8WHcZJQ66UWBmaNMBCbigkoU6n70r6KTonbE7Dz+QpDx
Dm7BE4E+yTIU82fiCcShHwV3687oLaavF8buY5ONmXH0CHrMemZyFwOjfCh5Cb5HiLUg1hhT8dnG
BXKKQywnFWtUi28ej+0Vw/sReqmg/MjCoEEjz7DbPwkeTF/GGPfA4SEpEiWjY8yoXlKh0yf4UnvW
4DXEvR9PP4ps7FFoCcZvhCJYaCN8xATgjZCSA5FdBXl6lQL6CKYie6ZYGTIz4xPns2NgIJDh0PR1
BCRa97HVrtBzwsWCDIHKBl3OhFZcQd8/onN4MpOpk4e0nHB742p+TKEmu1S3j5lUSM24+e3z/DAR
e7xY0tQ4Q5rRpcdJE3DuZTjgGRub9hetVMRdOucfiX19djRKrdkxboJqh/hqIrsYJ7OMIu+Rq5ES
K5DqNH86ADxg13LEQ7DqtoiQOkNa4l6+sFkg7ckHz8RgTpQxyG6MCyV1RepN/Kf8UXmdIQzvL4st
Lpn2nXtpf+WMrLBLQxdiZN4ocsUWfZUeEotJL2U4YlywEl9hUuVDIhvHeQAknCoI9U5MyHom4ZbQ
44rS/0hS8ORdeL1sVSwyZHqHSGdLLsmPmMkRJzqsewtO7MS+Dwv7vQG3UPHMo5ZYRK+Yefkr2QZR
BzWGa7Ho1OErM2bHNZ6ymPyl2hQGFYXaAzFJNg8O9f4DwapFcvz2idMuZTKbLSlt8Eg4YHlE8Yhz
RjUUF/M7VaYaq2pMvYcqTgNXzDb7fj6g2u3J4CO8J9rJJH67+QCr9qgcwJtjRXF8oEqrUt4Eg6Qu
i2kF5KyK/QkBzQgfCnYpi6siJB7FQJ/7a9jtrrPnDF1rpv/dFtBuOxtt2WfNvwI1e03gzl18K8Gk
CJyhWTcDOTZb0yXhBMZ70Bkg1sCb8EERcUyltfw7LVdP+GjUX8VX+QQMQQIjZBo2ynZShSTlKO+q
ARw1aoxwqah7lhw24GTAEyo21/F+C/2pWVB2xeJ8RGccXq0uTltszbM+ElowJ3ikMw4RPHRr1Fke
hzJaz0idKzt/z3lh+tq1c8gJOQr7LUU1emlvAe6gLlTzy7ruonCwaWZHYbvegsMq2E4BrHON/uvX
Wup/wpEYEO+26AVOM0taa1IMPcDC6hLAUP0QJiCzf2xDO8tyYA3qqQo7K58rewoAklB0yJRw0PG1
NZDrbYJX9gKSBUhuh4NrRiH8h5Ji5+se9Ueo1FtM1J8YUpZxdw0BjYIcVU7gUNTIJLBtBKm6v2Sx
uL0dix/qTwpcSodOKherRQFjs/XLetzHwvUdCvvgaiPiXpVpt027NIMyXYihvEdn5a9e4bH1bzr9
akKloE10oN7S/jmmoftd98xTgPssh0mk7qqvcGi5ufzjW0Ou9tU5RQr8jUN0xsbm6RqXqCKMctrD
orXvQrYSYioo/5OGzOKE1Wld9Cl0lYK6WFwpOsF1w8nWLciLTnSD4KR8wuZ5eutOHkpKZUJtk+Ia
qHRlN0fouazTCG+jArRbDUyEYOjnCo+aPiWyEyANZ/oywP5nDxLL+e+ABgYmaC/DaJtOXLQ7qrO7
bhtCyPNKmtvsR1qFsaeNedOrFzZvv5/7ihneKRyRej+dRqPuJJbU+z0imBCSqfEYXPKgtiLMWco2
Ucwhvz+RhJ2HtUmnHcxpgb6VFLoJ3Fdq4UgM9J5/uYTQlyExNytPFEj7aIUc/4aZBCpfAK0id09b
5j5YKKAyXH+K9i3Mr7cDTf3RYaNgtCDuQDmjg/pbxRXIpqmw6ETpWVPB3gu6Hfd+d5AbFB0Xi0SY
aAyTBkvIdI8cb3LauTp70BuoQ3cpBuiLHk8IyRDpK5QFHdyCYyCGFFDhIFPC/4OkWTt7aQwnU4eS
MW9r6lDVpUJPoeu4640t3q52L5AbnzR8wTHKWcEww+L5i7I78+VVuUbj1VOYGhvkIw/dJQ4i6nhj
HlB6lO6b32spFrwGR8cJTNJz5UJIo4DzHlYW3brEbYClSS8jiE4IuqAh0KdpAqur/0Uvg6E2uAuV
DarlZU0NAhMmaCbH8IHqEfN68iSwS9jd6+caIxlUk8Xy+PAgHyGkVvEfo35gc6XtN7Yo4zc0oAM7
HcR5qB0QAjH2mN6y9hfyIWTa/uawPSKOP+6M4eubSgjlz1UOZ5k2nTahRfnlzIw0SVy01pygz6ao
lK59ZI62shMiGR+H0yiqVWFxude/LrKRr9UYKWyIxT2qvAVMwmP4oi0uYfvn9icBgMIJZaznBK+v
ReOCz05YBAMa3R0gLX+XOE8+UmqxDTENO7ZvBgNhMAUX7At+YdpLaBrJRvzwKC9KO+kldqk7tHIw
6983zAyE79JFMGnjsMRYlIkWP8ZcJXU/OHfqLyUgKWk/XNJIaPYwNE84bxWU6r+PD6dY6+MzLCor
a79viDR536EKQAm1HGYx/CgNBcpH4YqUyIQbRAPu5WHW2fBAkYrcsjoysAGgfZx9X/OmF4OiJvVH
h/qiujlv2ged211zi5QFFAN9DTQlhKcRiXDC5vFjwKspPcQEKlj3t7burrloffwAw8M4lWNcpr2Q
f7gNmgIqyciE3J573l2n+7WFtV4jjp+t81jIsao/pO8anRyX55ES6r4RP5J+gIiOnjaFbwGtgyLO
jzQdBi872o1bRg//Fqn+0zEyAhc0SoyK6KicdgWZnGG4lpHbZ8WYxBigHdLnlBbQI9xMSAZ2jPUq
NCb3RW/zdMbXAdxnKluwTx/D/bc1ML8va4puF89Ke6OL1/Xu83r3TmkkFd/j3gxHH+8yYoNEMgWc
1B+q0Ud4w7loTzaxhbDT42jz9jjUYQcNhZb4Ygw4HdIfk2Tv7/Jy9n+95Wv5HlLE669oheCVczgz
YTlfRXtMNKHLYpKhpl1AVqqCmEyMoZ3RkK7rorWCAJdxTBh3KQdUcWd4GnQW10Gfna8Y6WMtO29M
ePYu3ZgSE8V/AV5C4XKVsFhE1P78qr86c3pqwhH4IZ4C4mkPGh07l/gVmXYeKd9a9qQwlmG0Pafp
+/CcHsS4R4BPWmNH+c/qm5pMcPuFskJEEK+S91eLKRM561+TNLMaZRFSqD/srcFWGlyjMBid5juq
rh4K8ld6C1aYJt195YaYRtqHd9YS7HLHWCvfxXBP90cI1eh6fLXyb0//VHvwIWpyv+kxaOLnFs6q
GSzzECASREtOb/DMyehZz1gYkeKDpKLCDg7RfkY3L/9nXdCIGiTIE2CA3MMxQfSq1PKwYcNVCYE6
JzRBzgrnA/2doiXZFijSA2AS0FPASa/h31uSRTEnMl28TUPqcpit7F12CDGLYLtugRZ5ARobnFSO
YMnke866tdezyoFo6zXuzb87XEGwciuSwK4NvCy+JKiqgXQA6IFpgPcBhi8RBrbw8G2FYxt8drx5
BOAGscSFFiSSdjAAdKDe4GFIqOwd3DXn6v0WNpUDmLDOZgOBmPoSMiyQPoGwVO4GNjF3dnO2WwFq
qEuTfOM54y9NACW+t3cW1CwWmJMCi/6UcI8FOWWRYG61CrECCHquhfeV2F6IGxi0Vq5PethwuAQL
4YlAChJ3LAgGdukQOxlt8JS0Hljeytddbbhf9yKd7xvOPQZtlPfmmdxjLe3BEziFNf5aJlOPSjB9
xcFQ+Kq9nv11taXFuLzYcvrewf6627uKC+TWbew2I5IvZ4zDFpcMsiOZ/UycvNY/ggsCPoErASOC
xOnUDgUihkwGDCP/euFLnHsJdpzXwQN4CA9ncbOXi8XkX9EIbTu1HNPZ5j4ZrTt/2Q+gzCIAaAfM
FE8dQWXETEyOlqTQ/NllgOTgj9EVMO97cOZjOcARSwXKoNYM1Kq7gktv8JOwZyUQ7nNgEmU63lUA
Jd7lg4gCbkokhubDyQEYg4vGWIUFpgFLyZQAKR0/gVIEqHjzmsVAykUCIJL92qjwnInubf/gwVG+
4CkDOgGmwTgG6hAjDgxjQJmovwUqMAkZJu9fOKO1IGq4i4BdlxyFtZBAx2yrgs1YkHTmeiBXyXUD
oJhMDYOHhaSWuyWMrlCkdDYKhQAK7MUW9ysoFXC08UABbuJ86QPkFn/GRPthdJKq9WE/7xEEgfDC
3sOXZglf83QO93VMc3FYeM8WuI3GCzRpQ/ANqSuPO9SfMuskfAaOtUSNFx4VqGZc8if6N5C81Kzl
f91nhmy7zdnvW273BVvfbdBymlEDQyb3yHk4KbBJkLActuAde9V9LtE65CZSwHFz8vAlqfEXwd2S
Mwkn4zVowJ7WKUz1Y7TiuVO7G93GJSZqk3LX25GcP1X3IwAQaSbsU7pmzFuKtSxC5Llr6QGHNQXS
R7ykUHFQ+aXUg91y5fV5HBBq6C0+zndkl0/yddrQUnfDYqd2+HF2URKOM3z90zf7MSksSnCrhA8p
HV5IYRHtwDT8iHou370dVHmYjM3uAcej5/I75FjausOThyh22b4WfVhLyObpUcoNNN6h8V7YmCF4
vbgWKDIqUR4sP/Nr0Gmp6wizeI4LBdTXB48YpgzkxAl9bi/QGEMaJKEh6ag2XEYSyiyH1LBHd0nO
5lSX8EmRsA/ZxlNzTyVroIUvBzu44uhkt3j8FX/kVX30YvhZURCQwxgnv+stwJCjMdDtxcgM0W8C
A0ErwNIGAxyZgr1o5RvzOjwNaPvJGbMLjW5tRvVaHdMuheILGB/MRIrPEr9QVkS96DRQos7c+jGn
9/gw0F38bNKcxOQxLAd8qIqq7BqQiqJrZR+mA9D3AfM/0cEhE/YtHOotV6ccRy8DiquUAjgavJJq
P+xUS1rQHh8hjpsacIQ2ouFqoUU9OsLsFBhHv2xl3Rwtud17orLGJ4SOokyRK5U0SFDwMymPXgP8
VFFZsJ4K9wVr+4a7FSKyB2wd903bCaY0lFQ0ZKbPClF/AVgpe1YQelYhGkZcBKDUInrizHB7xvUr
7GgpVCDSNOX7MkDrCzp0Hxw/e1IemMljrCf99D1R6SLz12NQjsvzUk/0pCY0X0Nj+AwzXPVibdBC
O++HzUQDV3hjg4S5YViHeVB8aWmevCe35W1ZJeZUH5kISjdGWibdSc/FAjk05i+6yt3jVdid1H/t
ku+P8qhZKiPxTewOlW+eWNYbQ2v67vBxGNFMmnkXJdBFmmEhDsMn7zipJpjZkQnV0z7EJ3x1AD2l
JLAf4x/6KcSD3yONaKghrKI7dwr3h6pXGWCtE63CfroKn7GRHtBXMwFuy97ISCmCbdTpe/jMelvy
6u88LVOYNmE1t7Jq/gyL6X56TrEW5JYl+mHfEwq0xWZCzaoLtgYnDmo7/Ljghl1PGQNYM2DUy8J8
Uk7e4ZOSAbF/aI4vgyq4DsodDkKMbD04fCnf9QBG6FAbwkpkE6wCK7uTwJpjXHiwJmJv4OcwIVpf
vo4UK54DbiwUq55jwEPkT4nVyIWoOsqNn4ndeLQ7CEccOFGUyrCYnNQ+dptuH7eiPV+riPcbdDyT
HPECCM7voemakeVVTk4y3g1gI8Xk3e7bMYLjrB+r/i15uPXvk4GbHIbq0pjQlTrWR52f3kgf7Rdl
VEb6yJhIuo6mhzcqxSUqsD5jzx6uk6X2PTiJXj84JlcPlMIVB82cR2O6F3ZB0jQc0sT8s5kz1QbH
uE/eTT932urgJYl95EFaY07pl0MLHXHhkn1TnK4sJ09zAN2SSc13omcIOZVxATol5J54YpwrqDaW
VLIPYxokSvlQ9mQKwk9bUg7LEwdPPLOjm3/xjkkxfMdVZAQv/xido9XICNAtepz9/d5UHd3j2lMi
LdUThQCUJxwLBnVYBlemWscrKFeQiGFGibEYDoyULXxmRoAZg/PA20sqVFIlpapOpQrUGrRaAFbK
ovxeg1wL0ig7Mo0HZmgJbEmwWLh8gkH+QOcHf+WXCTTc2Bx1Un10/zstGiDw0WnRG5lTbVKxonvT
89KYE1mTd/birKDwqz+sv07r3reRlWk118dXTsbFlMn5g24CCqE0LyWcAwew6aNlwZMzR0iCZeyQ
PuCpwepQv3ucowpmEc693BHnVLDRd9JC27rTKbJGY0NjpU8+llO4l+TR8i5hj9C7Is2T9S5B5z2k
x+SUsDPNo5xJU0UV43z67Uz0zYNMmMzjtxgak3PCkbKTWumDB9NzCSW4VpErBv2MjDzUo963NdTH
ss6xCR3AqUIPR7sHsmhJyZ6AuPLouzNJ0nAgdu/IjlRvXcmBgiZ8NWgxzJ3xCRqYyBpp3Idt0W9n
2pnq1DjUGJQALJUaCFPmBJ7NVCQTluUnD5tbGxhDjFEGNV+ykMh9v7BhjuhbPH6N1ei4fGYabWqv
BL9+aqToA2yL+9GCKpKJZk3M0d27ekwtW/Ljd4D3t1smZfSO5YstJTr8rkb5uEkOwyaqxk3U8y0m
ZBVdPSPtTvqEMLjL08f4FCo89Wv8DpSoT0xWp8qo3RSLMnkHDHRyZce7xtdYJg/yFR9IK4ZCnpSz
/XA1OrMs+1ydFFPxqvhwBCwvTw0C8xXTsyPeYV1MhTkJEBJZXJ8lKUERozmme0srK4SblBpATci9
FRk1TlnQbOTY8gk9clgiySUJFVtLABr8BIUmtAdal0asGh2ORGdFzZGaOvbfQP6UsPgl/LQu/L9V
AGjH06BPAU+DL1h0JeG14BPweP3/l3A9OMdwPJBnJIHOGF5DzoCeBBxZsHrCaLEnlEmVqKPe6MlY
VxEETV/xVcZXfh0yrI+iroeUwD2Epq/7Pb+N2khQC9XvBD1fc2jnF974nry+HO+H+6E8U2NCM5q0
P9HY6LRJZ26ksumpo/2fOn2Ncj7bIDKWzJtrWAWQ52VHJnBxaEgloDOH2TryyXF+XXeQhxrDMtVZ
QOpnTr1G1ziPzKnE3E56jLRYi/eZ9nf5vS/y7XH2SDqB4qrumS81PHhquI/rFPuIQQ5AGKIRsqeF
h3GFjaTXoYluwlk+qSIrfQfWfBUeBmdmrZ48Jwqbs0kqoGVYnYzvhOnV+L5u0CS+1yzvSflT/jDm
2AigCj/S+BjFIa1ZjujaKKiPb7/tL0lV+/uD+dUQE88A9DPI4CKnly89Usey3fa+c2IRcyzkk8jO
3pNmYwJTbpjQA21IH9ot+oh8fvjSt2ySGakMuA4m5TzV/lAHFrMITHzr9NXDIZwgo0Rl0ix1iNfT
3ujhv2OJ4m3SJuxiyXtxygoIs7MiK2fmSFnqoyNZi0FuUIcYtTHOesRJNOBpUOc/4BuJISNxA+bs
+DQTXG0/ptQ+Q1BI0HgvS5qgWtP3UprgYvoPJeBIaBSGADyTFOxxbg3zeb1ezQ5fva1EY3VmzJUp
c4E0mov8/HfFQQhzMEriWDxslE29KIadyTmSbkqv6Dq8xG/6Rdmv6Mbyb6Im0jfFUFkqmxvkNuh+
8BlftkwzLT0wiL1ZN3t9A/Dkdk3El1SGOM/m2h2QQw0eQRcUFpNaPIxRQA8RXgrlgCqlTtjUHNgb
hhRgcIbcAClxPrv9mn9v2o3Sq5af1gZQnEiKiqn+bX7XX33OOIPT+rAGvHl8F+vrkc4YdvEFfrnU
OZn8dnZPHut5+WZJHJNjYgSyzN6e5jU+1YfBa9AZW/JFd3b7sa7nBQ2/TnEd7wfa7z5UklNmYCkC
RrFte85xa/ydsk5gxPn44coTzqM7Ye0a68mBvXiVsNvMyAgIXnQEQvg4N7/vpHD3Lw6QnDjO8/Mu
Z4fDTPoEAk2Ox15H2QY15THmmAYpohoY6FyxAkreSYN9W0UxSf+jETVSMYTLnBr3HHi7yX3Wwr04
Zo9fir6ICh+/nWWLhlPYULwPU+hD5WJKySYhxw9lCtQ86sw7cx56b/TakI8WC6QSS5m2r5E17yxe
4zdb9uFL9ts9uTviL5R+W32scmTYMdw5pQHZBxVmk97D+jkfXCjV0cFxCRoPSb7/dV+fY64u5TFT
vr8jxAQtFpwHJKoVhNnDTxCUhQMKUA50NxVS3tsHdiUp4qxM2ibAyggLfNCFGlL060MJFfbxLYa2
6CzxAwB+MXkLEpUt3KL2N19wOgQiVbFbwLKIJjVun1yLiQ0VZMbhxOzhWmerhcOLONFQgVEoxXCe
m5y+L/inf2TEosYC4AUBv7lUHIDOtb1Tr5lrSCtvwQdQ8c/pbNa1Z6MuSDx/Ii912xRQLrcz092d
g5pE2PLTo70A7OrbS1AhGC90nyO12s/gqeI6CUWL7wurFe4cTM4+eFk3mvz1o23tLjDEs8U6+AIR
VA0aD6wM+1g4f5o7Wt68xWIh3F48g4GFlpW9MJ0FPavLhSGjJgxY97qE3eVgnwLik2Udh95IgsDQ
7huQioIm7qZ9PlouobKFNUznalqM8TEYXjjQnV2uknMdnF8h3wIUOD8gl3t3NhvJKXhXr4Psvi7c
TBJskLUQUDKY4XJhp4KC4VW9EUZfZ6DNGAQYc8uO/SNc0qP9CpZX96dlBGdcGanrB17M7d01PDqM
bGv//MgIvOKl7vC3xSvYInTjclpwa9rK8wpc6QF5RzMy1Xs4lmRc5g5KlqhNczsYfyXJeDeDSe/M
shmD8sNhlVtbPOztBHGU87AX4Af2zf4r3cnKWwxukNwWrQca14ZHe4QD+tmZjaBSLflpzf3hUxeU
WaGz8cfNg8TPLS14v7/JjdGiFcr/wJlYCr84okmmsZa2DQCIO0znyaaPZKW73B5nsx9mxxNsDCYr
ryjtNZxOQWW3Cx68vRYiLHwmCIlrJitMevGep5EuHDowbW6KaUexDKBuCdYP2IiKmMRHoFfhPQuN
Wy5HiKbAxjw9aR5ML5IFsNAHhjSDtck06UFj706VSTfSbCqIvIT/HwE/0RNeaDFlyIEATobwKMlm
pdFDIGuztTWS7ZfzQ+dMn9LJ59TwciBoYUTG1wpe6D/e+QEmO8JHWFfSPmD9dBt7zTqXKXuDUIEr
OlwMSayYOcCocmdMLskDLzBGcUkGmxVrYA5NjKe8J9QKVg2SV9iLeIS4D/QAD2cJm5vxw3TI49zF
uwDJQglltkFNY+7IShCBAEaWAKzoT/kOSjoGCfCGWWnZIxnpjrOTfEcwe4uHhVKGfI67TgVsBN1m
RQlRiCFnIGsemRAaH4PSf/COfLy3wha6F0iPNrwk+QQMMyQjheNq8TiAusgphZkthGTB8ve+GQnO
j06DaIbBAvii8v8NlN6IEgo3fQstKGt7JAJ76PVAMULlpggBK9q3lgLh02zvg0fL6YjUlwkKORem
M0CqHIaA6UlZodv+8GyZuGf+WdidEylBiNygQ26m2HN2UbuEyI7XJ/SVCyxOiMD2+uUw5weGgMfA
C1z1ei06matLM7WRyAJkAvBg/81lEGJQipqzpEliIjdNjzjysj3FaAxweovXDr7MZdb7pdbbNekh
hIcLR783Uszd4Sb2ZSc+BQsyHsjuCgLPElrxNgUhjM9g8gl9m3982plMGLo82OsdHjJUdssBnZG5
a/JwjoEH3gcpNL8EsZEqyz/rZpjfCC896rgQFQio8grDZu3jqMQXlqjsPQo/IoRBVgx0xE84Fu57
JP8iA/vmjftMHjrCjTsyfXZSjpAvrBgdiT2MHdwkzBkufDLtvJhtFFyI4XIt2JEJoTKFbpuiHEV0
IBx+amCEZjlDirQDq4jP96WiAEfLWXO84ZCj43eNKSQR6l9MkAmlMSOkkCQ8ehEviaO+kLKRgUpW
EdPDBSY5zCMUQ4JL9CDSQZiM4VuntJ0JRZIk5OUVgLn8HJxoNiyhcssikQgDkYg7hgzpsrJ0WqF0
KA1RAAEMEdwF42FwTanDCNjDc3F/hDkFy98vyAHUCT0LWOtrvAUxAF+XPB7quiwEg9GWxyL8Xpnj
bWh6CFaY9W2ogfbKMIlkRapXOu+GXgkmPDST6AaFWdiJhwSCNzoOeaUS6/K3pXAO5f9bj1ZUYoBb
jCv0hPGd89XL7xvR+zHoIyk4jw/s69BNmCEsd7rQ9IaXzmB1Ti7nsFH93PKOuCjsfaMfmoCHoCwN
3EB3lQuxBpLGHoUH4IrqN3l8RqSKNu7h1Gf3hTwVFQ8kP5pUTk91WFX8Y9Q5hfteeOk6Vx4o3ylC
k6ZYANqAOzXqTPwEsGEj5yobG7m2znt1wctDXRN81iQhap07cQMXAhIaCG9dfBIwUaJdSQFL8s4W
iuyS5UHJCiTsam9gQHGov8eU7sDbLG/TuBpQWzfQ6Mlzpnc06jjqjHWIoJsNnmyVU6JE3oOAXc5l
kNE1JvcyyOtZRoVAmE5krKggcChh8c3Yr1W2Apa9rNpsdl+jCH3NW2c2Y5WAiIm7fD+Mcl5OjyFm
rQ1vHk1/NOYNIzrh2rNZRt4XZ/ISsEiHz93BymYREclD+piw2gtnBoPF2XUA4LHho3mF7BUZp+tf
tvodZTjeh/pMCApNgBDGJR72YfQOs9ybNU42Yt1pkDPpvDmCsSipRj9Bus2EbIMZqYbsTgrzkdzk
w9Uk1ECb/Gg1SGaJ5nAV+XWFGi0MfCWWLMVMkWP4dcQpimAnpTQpVInnuezQlE7dGSUHDwaobMlS
+8N2hm0KiqQnu4rsbiLkygfCAmWnY2eFcMUnSXX5iRQA3gStJu6JZMlI7sAwpDu2cBuXtH1kC5KI
JD4uUg/ENUl0H0RctJzEAFkDB2RCD7YbijmMIpw5pBkQGTwpqAo9QzJL0cnhGchWCDOE4F5BXL7C
kUREiieOqKJe4JmS+glxWbzxRUBw5/J+MLknOqEz/OgKj4QNNJnEOxmXz8SQVEYJSC35PAIbj+AQ
0TAzem9g4t4oC4qYTWbEHrSL4MMLiOKcCyQyI5LgvfCB5IKFjt7lsuRQwMZFSRQiUE5NVEjWPDJP
UFo0W8JSAUCTvqnwYSFwCyzHA2THhMRrr2WFgNxQNpXNRADafwIh4ZxyDuB73A8CjB5Pgif7ayHc
El3TEwbw8T+W7mwplWaJAvATEcE83IrjRkFABrkhBGWeZ3j68yX/ic1WRGy6q6uyMleuXImMmVdD
tXkPynKAqei+cKTwkcKg3VEhfx9gK6DVJsLE1WKG9F8Cig0oIqDw6RNrrjZeJhkaDD/fImdsW9i1
j8v6RrHAXM11OFyB7AfX/qh1SE4PgaX4sPR8aJKhg1DLy/6LWh1bhnsahap2B3lf0b2khLKmf8VH
YAUnHQfvvsDtXc/7D2AaGEvnd7yncW9Sg+t/3AGhj+JjBlcoeMpsgW6dfK9YA3uHixguyovOBjk8
MmXt3FqIytsGlH3GPNjymOSvePSx7LU7ulsRO8RHQZQQDSjiCFKPlXvqwHSNzkzhHvfxJaIKI1IY
W17f1kjFTdOCx53PvywV6+TcZiaPbFOgcjFr5tZaWDttNCoB1Yf967+pbfLa6tEu45Cu3zU1bFIv
RhNISTkEUUAO+SX/6fvLjskrWqjrl1I1+zaVsDtVFm5m5DKmT0j7chQXI3VnP4NYnDCsP7LSAMBH
ahUQfy0bwBrjStKq4vUY47BzsdpUaTj20rGREdjiQA6mZfZ1U9GwuDNvTUD3kbxx7h9G3IzBxasE
H4NlcM3CPvMo7EqkI0IIC9ZjEsTMusEwecJMgLDhvwKEcUNHHVUCYRPsPlDyGzgabdw6WNR0EZGJ
IVb8/5thm3gFVMqFjFsBi0U9yyWSXQDshHhxT/AorDcRslfZHdx6LADegZlnqwfmyyOF81pUXUOX
QD7j+Lx8P/0rSgDcAgWaw0B2nd1Aog3+mYMqXlRVxeoo/ru8LbnrYahEI9EVJ7jzCqU/Ayfgx8jL
SKOagFy7l8MgJKZQscgzfM5fNoODXUvPMgBHoXGolMqHypyvwvrXJs1IhlCX+CeGYcsnz8XHg8/V
jwvBgLiLSp8L+Tk//22JAGpLG/m1zPviW17hHxWEBuizNSEUtbUeT5XCU6kx/aeoS/0hTmOuEswo
e+47yWi7HooZLOC+Tsxtg4MXH6UR98CGwRw/RXVfoXL+WD3SzroD05q9xboeWyLRGckuh+LvjVEk
YGfluuJB9FAaHScoVsEiiXLAm0gsnFKmXpIpiBiRzIkiHX75fzMOP9rbbTY+MgxqbDoRfrGPTglv
4SV8uih6Clg8DnHj6J+V1gaEGGdzkimEibD2aHXYGbEDB1skzs3NA3rfEM5ixSiR/LdqSk4oLJfQ
FhyEZ9f/jKNEPpO2gJNfG8viJ6q0yUacST1Zx6T7TlRJNWVXoSvxxuJAyqQ7H2mW8CcPrIGkvnEH
2sb6jDxXrCqwT9miVljAtkxMvCDr8CsA7pz+yIShRruu2IQZWqYk4Ilgl0Teju+AXpRlpuSIJE42
jswrqsKk5CYjl8fF4aNMvIO1+MiodpPx0W+3E1ixz/1bt/Y4ES8zCR/r2m2P7CvgVSpCDvSeC5VL
RrbLr8rF78vrQUmEHjfOGO0mcEtcb2SzTv831nxJ/+c+aICbuOmkqhiki86qc6C1WXpaz6jOl1G7
Vf4XntYf0+Oj8yk0UBx4f6Wot0BDz5VDyEdJz+cR5zVWHbYlUkKIX60fQ/FMVZl80fQl08h+Z5ih
7C9GLY8SQYMaR1IEf3qitFRCACC1UNA4OrTSgGGr2iJUYD3bSHEdQS4rKS5RRZV0wdu5etBve15R
QFTZUTuYUpYLksTephFWA9FWPlVG1feMRPryH10+CnK5Tq5TUDOTfjq97RWcXHtoNIfaqUk0kI9C
OUSNbSv7n+t7e+TxFlydM9bOGAo/K2eJuVAouT9QJC/J/7PwSZQc7u6xJ9b17fCwQSfWEP1v2ZtQ
NiDbyrtp7b6DmY0dPqK0SByLmOJt8njUQSBTzqQeDyJiZvEYoDRpcBxLuqRROLt4OI5wiogcUN2e
DBFiQriRWNvlwXlPhufLw+Jwl3kB243Lp9q1l3ZhoUISOvjjXQg5+rwMRXdIrqKCL8fkwqRwowgw
iCYz0VAgjYeHiD1KXqNng/ct7prP258kQUD2jFJlO9ElnZIYUsT2FtLbOKC7LxCsT0Axp/LHSePK
3Js25JE1fpUKnNveQKd3qj3BaNxG4LjgViKBmAaC43r/p/93BPmNH06I3hclVU8JBfyZhwRiHjES
rKDto1YAU2IPWD5Pk/c9jsgutOODB4sBdR8z15FeRltTSuKI0yoUQxsY4TIELVVFYG4TTkHEwqK6
EnUQqe+fjT6Sz0GkXHjcr15ui2dSISsNQq/PfnuWxOFwp15UEsxX93jNcahqB42z7K8ODIERNHb3
ITqTxlMOSpopBFIn3XxI7zzohEQBzSMYRvsyolgSm1rRQDaIMQXSqCjMRCwRgU6fS849kO63AFhQ
Xcenog4cKnhlLFyKSraKnzHl5Pa1R7zOn+x7pL2ufwdz8C4bem0dahvjqKQxOOnW0+yBKlw1A6M/
fU2+4dBq1sh89kekoBWxMdmozF+B+atFUZDSOhM24Kvi9mUf7G3zP0v6MMh/m//UvCxuvKV04WmG
5K3hCUi3EI800Mcep+QamnMPEhWALyk1WiqkeFq3wX95d73ExhJpVvq0Z8XvybBu//+VCqE3o+fb
Tk+sdjJWpeVE4FAWjRwEtmQxFhdatIVG3seStejQ0cN2mBzZh5lRkN93DP1IvidNHUhtANM/GwBW
u7N1FUXdyVGlsvFjbqabwUNGwYfEwzke48TrYvtSUAGZquxTz0eu9uHRizMvQsREBhqW6I0+frh+
Z7/FxhzX/3zYfqTnGoztmxTM53+sFmya11xn2VPqhs12bCTb9IN/V7/UDSVXtj8SUYd18MOyuYcJ
ThlwKOMKHscwK1mDUqxZ7U1C3Np8N9P1SsOy147x+qCbgPco7lE37E8UZVDU95z+jxd3dy308wgK
YZKWhorggFyloSTXCAFRbZ11mRiWhtufxVd0Ml7/FIbLn8zw1mUc/DWDQGp7P0pwMyxjLHnxInol
bWRliru7xr+6VH3O9ahgINrZj2vjZr4aHzkbFhLRm/P9i7Q3H6z7umTEq4Uvr087OWEUuvX2X6Q4
cq8rwr45hHeMhkhU0Z+G+zTGf4WGzVoeVAmKjYURVjciIIecrW2KYyqIHZPP5Pw+DfrfppwpYcrc
qESlOnqw/mXX0WO1h/p4bll7NpUJdLpT6iQGsyGVyCyjtlEIN/ssdSUBw/qpJylRBIteCKnjQwlD
4RqNnHbDHMMFXSPOeo3blIfsITiOrqPkKNQuj+19aA+fr2paj6NtWyE8VdR1Y1whTf1JAEcLNvmx
ylxr8uJnPv6hdAQfKPhPazHX/B9vv6L8Svtf5Yq0HH9YUIZMWSyRy/Sjn9xMs0G3afbZEzUZyr5U
uZkrqUx5u4w95Ki6QgalEOrzB13t9k8au6T7T9oAzMhhohGL3keXdyIMTdWZfyGA/GfEY4lQiFR0
wXac7/eAZ4s1kws3vAr2pZTqEs0lel6hTnr5OlbPjV1NMci+F3yRQmel98KqRqfrL9YmHMrKEj+R
3uJzbSiQPWytwUiUpr/SX8fvxM+N0Jm58iXzxYOIW8whiM7WViecycvjv3FrNbAV06+Sb5Ee9Mts
+mPR11hjIwifIawebCc37SrW6cphZWvcdcYECXd9e834O19sr6580Mnl6bxLvcz3madJnp+zyW5e
lFHlSfedqF5nrsv2JmdxZj5KznSdWr5clx+TnK4NNILLic3iqWS3zixO9VKGLkqSRIZ9a4n8uQPP
L+1P+enLLDcpl+QfVu/T9OlfOosII6E7N/qs9DQ3mKkEI8dTnOAlXC7/piVF0nkx6nL3r0C6fFnb
aWG2UGSXnHe2x59zaJXiXqcyj5Mp0edrdbvYlRNywTjABaW66cVO8Y3a2NzLYaYu7mx3pvLYW6Q3
T2kOMUAvkWsk54fH/NT91xyI1KYeeodOMlcdX77X1UL2Z6K9w2nanSaGmxJJysfzLvMvm5+/TU7A
zTN9CedzupZesIt3eU3Sxgv9Mj7SKBsq+WfGYANGV/iRwmSaXEUVu0TBdkcHj1HOKiS87OZvyfyl
XNrzggrrl13md5E5PGWKhZdNXiZD+7Z9c134nG2/S7cLlcibwr5TJTvnUXFKD8nbo6Yg6ezz4TJ5
30yJkpwSg31mWlvuBGyahGeutVnh+rlK95u7fPuwgn2YeRNJ+Z0GGzeVdzf2czWrlvIKvCep1iZz
0KN6raHYWyk3ecqtx79TSmg7Ynxj9NdCqr2akBbCXThkBhfVfQvbX0rWPgud1h+xuLmUN3aObCb5
eKIAllg/F/vN8/79mp0+kTFb7I8f8+LkY36rHS7VG2mz5fus1E5d9OE9Zd7yxc51nJXA0LJndx1v
3PJGblt8nxXHlbmP2CZr6zWK0lVl2Bldg5hiGsK1rt0mjb1EnSzQ9VEjseKY7OzmaXs0MlS4zia8
ArhFPl+Z87Ky66E+L5pQzfI6SP1bIH1dICib9dvBnNItqw/Oze0nj8kxxZP8ILOjdkuVekEw4XAg
9HkmA4o5tq9Nc9obDUrExC6viTPEuJM/qbllPL7zxIfyjf2cIFWqW0w9pfR7IlS2aI5lILPrx/zk
pZj/2B8/xzoI7png5Onm8OpybotGZgMBuxbbpdWukh7nn7Q20yHtJl5KosfZFdb718lBg7ii5qKb
8XM6t1QAJcU/VrRMHCaFy7iR8hCxFKagMFZSCWphV7+di+9HCqcLcm/9RDd5Ob/O5ooHdtrPvC0W
cfPUjK2q4ypUfq7e8sIHWo43qjifTqzwpXmavaf77+sVl6/0kN+15/PTY2J7rSZy85oGZ+t15Xab
fRSy+UqqAGZPdbLITFeLEUO87Ml8pEIx2zO9vZTsKWBeDfm8rWQ91yw0T8NLd3t98Mg1baGH4aab
Uhhd7FF5rZ+Gh67sutwbR8GbRlNsDL52jd4a3Dr+ZjlSOe5lX6OUbd7mSNi5/YH6SDmq0bRth3bX
pu3taDtKDf1SWfZxJJpIDa//1lQrfMAhOD1+LDX7ZMLn7Uzt/K+k+Ue6Ou0surdmurc3sgg59WKr
cvzn5Dbl5WjGsegduofuZYjKpm490NXVe6nWr9N06J5HQRi63IU9Qn+8+NHXxHbxng1RBI2lFej4
qFyt/3H+lyE4XqKxkallqHecuuOf8U+haaO9DNejQnNO+NysTQ0FKKEicx3tf7IjTreGB1RIMedV
/ymNKI6OPyFEnnlP6g4QrRUwJJv8iUvnMPhvb+Mx2FFYKVFsBHTJh3BiOX73HeoIBVM8mizvZmXF
iFdGQ0hMEPS3+Htjr4lHK6M7daJt/bQlGhQZRoLErga2Gtg7eb/cy8z60afYqaLh6ATlBsbwcBnM
/+jbI0jvCZuTwBycanqM6FN20aRhXJl9777kt4bL/0sWzL66fDc1lfOfcPNk1PW0zIRfx1Esainu
Zk9/UsNU99YVjikwOI82boE5g4poNnV3wwM1kHRdAxge23ESDWvcNT+aQIx2O4oMGERw9g/d+buM
XsYef22zPxWRZAsh+SMzgG0VYwwN3Dh8ZfQUXw2ci7S7Gwev26VduUGQZ9SzsfCwP5cJ/RrSC4ct
gfH/sBEmUFHkMsuLy7LdN3hRAwvaj/ENanas4equk1BAC3jkD2Wfdp9UCL4WGnuEJ0WGmsdx7eV/
7DeLcOEuARRgZdK4AF7jwYfzraYV4Jj/RCXKfgehU6qqOe4tmkiUlVxnXo+jI3UBbxW8dVD0Pqcf
XA/Oz24QSImUfaqcRyEwOdR33K/X7IkZo6B0cAeQNoNVJ9dYDGadxSD/tRi40vxX8s5bTFWVin7s
n23/tam7w11We43LeX2iBDuhSqCp0O1VPeBKEzhVokTQNIRT3qeDl/cPt91CT7KslUGovdZuqInZ
txkO/cIn7jrO1VUFkDuuXzrbj2lvrtACN2oanZ9hDiJMW27mHmFxiBHAlPIe/+Aqm1X8hst3GSCE
uTA+mtuZnT0ds49KVqKOxtW5fSXZaFwMI3iOBxVmm5I2HyKzC7aRDP6sXNo8ST2OyRiigCgsTj44
8jRHVqXsOUedYwkw+uv/quPeDZT+SEPy6+w5htLU4YOZDuIoS5DGtdnha/+3GIU8lpeZJdI08FbW
pePYYDBXcP0rDY51Ph2Rd96RNgLVBFGru1VYfBHw786IvoT6W6K5ed+O1Mvqm2jt5Go0HVbv5vy0
fQUkjDw7MDjM4G0okhFCWRLcfO/1ms61mdoYXiLhxRNoL0fpur+wcHSBZ6hP3WhHVKPH+oKvGoRA
FoN/Oxkkf9dnJUVKa78uWAm6GHc3Yhq35fv6m+p5fmlAqxt4b5+xHn7dg5i+l85pEAOputq6aZ2Y
m/mfEbcEOb2Xjju5qq1QT0N641xdQsAbk++1Vgb7n9zz7PvwtqCkf2ykIPD7Rsislbp6M5BfWje2
jcMXZbd3KIC6d4/rT/SLvLzlfybdTW3fChieAovAHxO+xMZNlRqRbGsmGvs/9R2VTCdX0VWto05l
Xs90jh/gh3NrU1v35vVFzXuCXu/cxfcml68R+/uWSpVvUUrtt2OTEz9i/QhcAP651uWfv/DyrYNb
K76PCHAlskvg8Ps3mP7NcfhZUY7gPYSb96ILhMBkXJaNFijkv1kNU8Uy/M00sl/nT9TQ0B8pJzRr
1n9x/vySVBSpqS3JZPDZc26heVh5PXs47crLVfnSmMBBD4Uw/p+iFBrS2rMUj0/M1or6CBBQob18
MLMASdWAAHAzDmthIntM+o/b2QsDyDiwk0sDsWoe/wqDaMtwEYICBC3PS+k5h1VCaRsfgVM+K0/T
z0JZ45Ax6/25iMSRTQXtW85v+5Ya6zeIzbkNdGPiL1Rmsk80O8Z4hCr48iCLR+6kB8gOnrVIP2Y5
5wJDRSyTRx1j9Q8DlJmxOwVw3DRtzMxeNFpF8fpXKKwnpOr9arBpbaLkeAI7wHXQKcL0X5TTaio1
nTtGwaAnIAZvBlh4v+qx23ChT8mtlv3INbMfY+Jquea4Hdx2VJJQE1wi3k5fZRLRcOevxfaxsfyn
MXuLxbpFQtqMNhZbIDvs/D4oxkXIcrsLOoN5luM78IOiqWJDjcgg/Xdu7BurT93vqjiVe7Eo1WTG
9+e4K/clrg16XX+1SRdWmsVMYf1oq3EEH+9QgONEp/cBw2gqWlYJEShRkuyj+DNQhhy4QcX/IzIE
qMhNKahPpOwJ4t88pm6ac5dVj/tqapvVZqCbbiZ7TJqi17tzYFWr1vjuf27/Lp3UgDKARua5geYH
S5o8ZvK07gUv3+dJa9Y91reNVfBtVdsDWlNAW02dMO50WuWW3EHYKB9NPwbO6Oj5qEMkpZGSvtJg
U8uyY680iLhReeVas8jYG7N/xx7uiK5n8MUxC/1c/MOA8vsL8X1aKtDpvzRJnUt5Xij7DWWYNHDM
A7yi31Hz0tzVlNklf44/kODNl+r/9AiAhMGaxtyEdyjDfTm9o78Tfi91d5DjZTmjruWX1M4o2T5E
i49zdfVrJpeCs9tHx3fmp3BvxJKArVumDMgFSK/ec7VQQTr7lzGpdt0jWcH8R/olb4Kp4q2HnxlF
FKE+nP5XqO3e5z9BgSMh1x1XV35KaWmT/he/T8n2L95CBDN80HH1+i8nLR5Uunx93V7hWBVD/tWx
+60d4d/E657q4WP24/gvoOYJGcA1tcl1Zetf4jnzlvvdvmbeCl+l9+lgrRtO4QuCWL2+pH4zXyWa
h6XXyfulNh5Ndw9JL58N+GeicquthtmPW23RFQGkP/Ktc50/fWuuhpnmoktgWr1yTx/DdO9cvzYg
30Tt0nUNdkLe7ycKsMnZVSFLyzZuUrf/UdKwJ1vP1bL1bD1Z124vXefyYUQ3xQK5Jl9vfeXipdFx
NQC8O3+eCCjEZVT30Kp0wKCmAS3UiCbaAVvY459b6IYsR7zFDBuBJSFcjO8Olu/Z94pkl+4BzZoO
iCs6Df3cSjX9uPGjJkHIReV071bLt9YsS1zueORZvHR0P5NxUSpO33fdor/TIJd+/aZ82iiBfaDo
/Uo3suYz+ajjdr81bu+G66dE5VLr/4hBxh0F19WbXgPvhfdpJ3SxLw55Ds3FRGX/7/iP2PgH4eT5
KO7DrZas3pqpt/XrulJwVxKVVRfn7TP9kfnKfF0bXn/1U3VNOCvunM+vHL7T1dJrsXz5jN9cPq8v
N6FJonJtXD5T7tX+37nubOOWkwmurisbIPJbKHTlvtJV/ksDp7lyZO07hc/VS796rhwriw8x4ne/
UfKrMyXaeGXxgWH51qcmm62SDY3GSj4mDOmmm0XQK70nnrPVwlfuEePz+I/uGN3CODdv86s4jyPB
aa+Zuremc3yFxvi3e/b8GQj4EDTqPDXjpZlLe5f8cx5/lYifGR36ybnHBD3s+Jd41qL0MfWWbMS7
6YxUsXO/jja4Ly2gHPD2e20kq+NODOjRR1PHDC3pubZ5lGiaBp/bAzf8ou7Zi/BWfFrscZzMp2xd
8CZCWf6EEB8ERnx+0+ht9lWqpbryQqnhup0xKUJ0S1nG+CdKTDaxqqNtU6qbpI9r/v8s2yDXZTtK
UGJLGi7FhcBuRkPscuoWffCmu+qe6/PCwylXLnyZKRbgfvmQ+81WE19p2jedRYuStq3hr1jNN5aD
wu9NJNLYY7vmq9tBAQQZLTgnLQ1bvpcD3XITX6Wv23cWA7piuBq579x30YEG/UbirfR9rWw+5s3k
YFaf1dOVRf30AX182bwc/MtWlrUrnu74sUSJu/RoClSPlWJ18pf53lf2r/nq/tWnJUi7rAfbzrYD
6crTS018zQeZ73VnSz17YiJcvhPP8T/dWHslqIoE0SmwZj6dcmVfmXxkvgtvcTTrAlHgM95UeCtW
C5/HV5Li1XFt8Xd+RVpu9Kt9ES2F7NDDHj8rQakuWmNO1ce4Nq6tPs4uaz/Yvx47pW//P4+dGdd7
/FCszlqzv8nf4mPaPHcm9evrpnWtXF+Tg0nPs860ea2Ma0mje+4k3uJ/4jPhCIuP12Nl39l31lo9
QCnwjG3HWE7gdTULxGafyCtJ6W4bm9/V5+Q7+SMfVRzdfdPiiE5pe2+r331eq2SwKsfevn6tzrpB
mkh0U46mzhGMnfw41bSVqNE36hDt6cxqyxZXub5G2SNYoppaMkU996pJs6V2aGYqGgJKnMkjDI6t
zGD/l+v4/hrOrV1PzyNkdhHK5OHY4m2r0S9G2ca8J8tE7WD/d/SXUgjHntIZsTKGB4WbleBypU/X
8UPP0maaikQvM8iINXl+uVQ5/jDrb+8H4O5uif/EUeW1ttHZ6/jngzLw83U9N4izk8b1J3EuyQ/e
TO419XXuFf9On/T4fja/26qMY7o9i6Qe3kw385weZboyGNMqsCrXvRII/Cp0ZT5t1BCSebWX6xZh
AW3vkWBe/2zb8+ryZ/Y1/9mPSiGEnK1navk6qt4jr0P5daKqglY4XnwryAgg4EWiTzRXaMA8doNC
QyY/3iFgzn/LZ8h9YTdV4QJ8Jn4Ql1x6LAK4j/FHZP2lEl9Xg3DrHScF5peehh2wcNnADFa8/TT0
V/T1CH1Jf3pL8VNq5FU3z3YQ7CTMpK/7dXthaCta+xLmOdF1Wx5t2bbf30O348iPvFpeqr3LDnbg
8CIaXrV8frAfzUc7jmzolT2F+BBX5RR97NGY6Lryb3gkGjtQ6iJ49V/yXBo8dDt+KZzlRzPzcqV3
prlaSIejNvtdEJooDTneDiaCzEnpQ3k98dml2E6PPtUnsFeb8loOl08KqhvB0jbEKRBkeswkpIcZ
ZNTCGDolXHk1cpycW9fVcNmp+YlD+fl2+/sWvQArYF5rYuq94p3Vw25o28TXsX2jzQB3yC0g7mBr
uXp1I11/kt2Up23nZXBgQeuR3J6hdBYSj+YBf4Bnf+j6LL7ANXwLYGZK/muYrJcsh0zZWwQL7sWd
nrAf+UHsHFZ4rxhfiYI55TVhtIB79pXqyku5ouOIOpfsEy2o+3jkmj7DJjFt+3z7hRMyLIduv8dD
2b0bT+0N77cy7rh71y7UvD3/4Z5me8XWpWaXmnZSv9P1Y4UpP33bkK+it+vjAddEpWT0hz5890vl
1VA/EaRUE5Kvvwsfa8xP4qbMn8cjDQ3zGGBDe8d4xBnJHbg0hgtgJgu4ppUR7tkdV9PaWJgjg8WF
b7u6/ch25MT9UrMtcywQtvetVKlbUooXrpv4c7ecb1LYPbkR2Z45MFGRKip1L+7Qrr9fIurdcToZ
XGo4/9SSuR0OH5c+MmQOQwQ2Q15LLFg2vzzJg2M1SyKHCb/oFS9Pxibf88XPTsjNd/M2JdflDvoo
P+V7Li3TdLRd17Nc0/o4deM+/Ex/6J1ERnPamEIVaAiMdJKsnt5lq9vjxrIaqeJt+zxKRTPd3Xui
5tu2fRxNf+Y/JG/5p/fK8izyPZCX270eRbPEfg/iwinPKz2/dE0FyvnKMoN6KxNJHhRP93n2qX8l
pdF1mz2qLdvh5SM7d9MvO9D4ld9RbBHCbV4b15fV8Na0mvUTGEbVyKWW7q26t9qlVnjv/+0h2ElA
uxKAbqZmnPjGtRJpONbPcpp8HVBpI2eb/7etHnCJTiS5l6/Jj2P99oYxhBe3rC9CgaG1aLLLq+a+
dbRLZCq5gVT16/VjU8tgT+NgkJOcYOdtaqfPY3XdgEsX9KEVE8mRnt4LANp+3eLdvGc8Bea+nM+P
+XrguOIniw7ap+6/6btFzbmxRL00kqa1uqY/Jli+fhnODGW/tf83HZWSlNaFKV3LxcPv/R1069QV
sUsqdK1od7nfyvZYgwDt9Qf6zWN3dNO9/6YtZ9+yK/YIEjuP1NAdZEvvsX98vHqw0bzN3zenrGGH
91K2DjdgISJp4GNPXebD7E3VmJhU06nd1+9Nw4npaDqahfkIZD/c8AWfTJ7LKvzJfOkux2M/Dacj
SXU3xjzl6vf2I2f/X31xagh9WLYjXyCKe5k2zoi3+3boF0CzHkL6t/QcKsVqTFRfn95Co6SA0HlS
hx0zqkQ/aoqNHiU440ra86jS9lolOovuG/F1CnKPjqW3twKplwvJ7tNbtI0OPtlWHty0XFYXX+en
TFftM1Fq1jncUIkSxtuctk4vQ2C7LIwBD8MQvTkOZc/mo3xvPrLiUrVxO99L1SJVwz21oZcsuIjs
zv8KzQAQS00QSd0hL89j6ryBWYYQQ5paw7EduMkU7b7/ssOstwlS1wjX6Yopn6hNSTKTgtMulOZh
/+NinuctlaRFshcZxD87XAQIR51GIlw7yNTEB841W9b/s0pv21FzdM2nRmI8K0cZztgLOmoo8NMM
zw2IniGxagnWvUfXD8UwLxvrbPccbXriokPt/06tf1Ywg0wbpxwNRIKyl8ZMXakSv4sLo9Ui6BE7
CcJ80BZDLCT+ITRiT+PGovqFiEgUDgVjO+q3gzcbDWC39Zxuv5lXQs84mPO6tYjveqbUQ9fdXy61
d45VOq/vWxlU6o2j8DBfNcEiWBz17MnR4mv2NW7Qc25bWkYuUlCFpp2n39OrRzxcgwX7jaBXKsoc
laCSa+6y1XETC83/psL0hweVaEbbhGO70N1SBhz17aSfF+XT0dL29r7w/No+vSeG5zbHNz3yRS/K
xuJrXj2PzqOEEMc5pIYsQMKGqwXsffONYiKOw5Vy0s5mh2whCYTtgW2Xt4/nkb6eAN4XTEi6A5/z
14QGqD8Kt//f83bdyLZ3n1PMWYuWPdo2+qNtY8E9SepivvnC+Upoh06hidwxVsKCjEmGuFpW7ox/
gwkATLQQldporpqO5xrRq/X2IyZdaXgO88Y9SsYVLb58yY4gOkb29/yz1tJ3W006n73eyCGWsvi+
8c9PX5I4Co/Z2H2j2D4QOp5WMu+7T+yAqIYoPZ8Z3q10z9p9DoBvVzNL6hisutK7z/+2cnm6GdTm
9dTrZbBtXQbLPwAyfhdgHIwoLcGVhsXdBvzreS8yH38wRQKeLcSgT0mhyN2BbWG2BUKYOMOgP/jv
YNwTKLzsW9selx5XKN069yS/queXWG4VXIl9A50A1wWm/ubHYyOat1MGeN3Uzn/Bdln3EE1DcDa4
q9pR/62atLf9i+wMNpMsYC3R0Pm0tWxhr5w6oWYUfF302jrQmz6mN2smqSQ/pICSrVIH5ta7/gW+
rkBIKkcabtlDfXO4E4I7IYnfEFk4f1I1HU7MXX0Imv1avzb9Wv0sIYjNRXvW7vtwkNOhPEa+npV1
w169JtoTHgDqA7cZJ4W/ARyGZMvZIcgpeUs+rBBzcRFjOFMDuSSKuGIRsCKWiUeaCFyk4Eyya1UH
vWZiQJTtCIBMt6Iz+45qVbQnQy6XNFjrcSt9s6PrVGiMW/2v/G9CKaUgmmofDT+fOAC477WvnD3I
muAhe7LsppvbboKbzLPiZuJ10vWDtw5f9t9SibcGGt6p8JAjJxWHFp7c1Xs+b5VxPZKusFkacDE9
NLSkHv8w7gm5IPMwX5QUTDFZhosMLqqaq6QChJ+Z/Fv3kn/ko1fcLiXpqYcDYo4P+k29W1XbBpcf
CLq/926WiB5xvuAuVf8gpPaNxkla8+sso/PH8bx7n/zE01CmvWn35GLtJeKhllNZV2DGc2Zo/dtc
pj/sgfBG7AbWt8L6aPJNGCnaXm54emQH4MLH9pwLpnsbEyVVy8/4p7Hp6766YXAWQpL8tkxx2I0h
PAAYn3xvZcaUwRIwz3W3P9iDdM9lBu6dFn5mOOA/LI3DEeP1uZyA/vIJv9VpiZDoQpoeQWiIr04m
OXJ+zgyMI0xyTukRi8A0sVQJ5EIkIrRfrdk3jA/x4aru0Iz49mNR27aipbthZq8rhc65Qa1IqeTk
LdW8NeGlPPBUczw6Sesq+ezuJ+Viz87K6zAwaFl3dt5/YxQOU23bdhLOAEmuPcOpLKK06iZu39fF
Risc7U24aKnO2pZwIj6T/DTZzDNZ2kQ7U53Qp0nXzsNF+8B0FyUgQpVkh1DBctoRuPuKFnu+Wx4W
TPL4QNxvyn62ch+h6ER3hEwuIZXPXWdj45y+XqlmnN4xrZ3YuLF4c5rFuvP2wGFA9YRc5XEjFrai
S9hMpIXV11nH8zDT+XbmPfUVLPf8T4AcpcqpWXqOpMDZFbLIQtArl0+JoQjJ9Gm4X31pGIX6948s
DH13V0wTdG2UXrXlBu1n93usHu0LqffV50HN4UKxgnyFfLjF1dy2ImeO3x8k/8j5LWWTw9QGOnEp
ZzrnP/csM9iGishtIL3M3MrK+CneBxEBaRShF/I5mTC+0XXAL5ctWZWwtB1qMCTRP6VFj0IyuTNp
ttL/1/r1czKQdht/KHX4PjM/tEvoyEj6/Fmd7LkDrls0qIk6+mkq6ej4csCD7DdwAGYgS80KzJA+
mbBBQ1kClMEDIUEyOfvtujAxsIAjOWNdQy0vkWJ0NJuGc9RH9JB7OaUil4jJj70sIy5FDa9AdS5q
IkwJnLAkLgBIQmb89HqeRRtYm4lcNW7U+vR0veeO7pywaHHsdFzVZADK8H1O//V+lltwiUz3LIgj
iaOK4Mi8R3pJR3JJ9fXjpnPU3WhHivsiQXzFSi/jTmAizpWRqvmZPm4zD8p9PY5g8Haptx+meqHo
l1Jfrxxwpyzq+nnGsbhhRT6ysE4FO8W5Uu6ka9t/dI3ufqLgDhnc1EATcuzk9N9sOBkmBje3spf6
KnW2vcxg2TtnQwDcBPCQxLUj/JfysmnJXBnMgsMjcffochNvIE1ID1j8kA9+M0OpGfD2Z02NmBeS
e8+9a2ZUv6e8DL8E97rlxkSubyC1zxBLdLsj+DUgRxsBvrw6DL0XdZhFNwjOThRbuG9xIj1EgEOt
9CwR+Im1Yn1p/HCgophuab8+2NWiND/2azvr/s9+5mD4KugraHwSc8ZGLm4cfRRcwr53aCY/bm8n
+Nu2t61H3hBNv5fonFsyaRiu99QaEvF+XLY27MP2lMsgTvU7ykWwYhxZ6ha/+c9upDktrkNqQKh9
VpPMjKw36uCdWyLbiF5iXt4vtOytnBlEe/NiM8A+SpJlLbuLcs/539z1MXblg+md/ja5pJ/NbKCZ
o9hIFYBvBmY5eqwbnU/YaF/6v/n3M00kddzLvxN6i7+51G/VW/1Ch85/Pezx1zGQLx1b4LZ1V7eq
GX4nsbZLWikeeB3clenfsoUluf6z1o2Yx4EQzp0TYo0kJs+GE1OmiADxmL/TZZzbaqrJcpykdYhW
b3orm0MGWNcLlQ3KwZUHakM9fBZIXx5biUGhc3s71GQjZ+dIW+5qBj2ZL3P8Lw8GvdDxPWDY7L0s
wCQgs415gk+ql6bqA8nKdYwTTkl8PKa5BbYrc2nUHeUU4SrpZX4INaI+uDtu1FfyTj5hpHJgXNrn
GBNgZXnX+w7PrbVhTh9y+PhS//zb/ohGKXefsz+B91H84ljzpTGTjhz/fSP82/zP6TP/UwIK73vB
NC8NTKX0/2cQPc+Oq+EqrkFBihsu96//TwwvalE8yyGlccJOteZ/pQYCkslkamHKeG5QjaUfvRh2
6o7LsiK76JHQ/+3/uvJNBzxLYjTgU8YmS4f28MhOzsz/zRNr5bqNFHoW/PVIEuQMPbSqwlxMHJza
K2JpP+yqzXIxyMs+VwOn/TwMKCcqZA51x8PvLFzjxbeke7olh2zBKEC6+4G2jvqVyz6t9z9VRagH
qBc9yVKpzRP/TP+m3w5L9tFWkNK+YB8+n4fN4T8XkJUrsk24T/vvRaX4HtQwFbXQ5akmKK4UTmlX
DYYjcOyOwRXr8pzIC1wGTgzUrNScj0CjMAqN6uopfJ18L1KLo/HPUfx1HtHZG9lClz9p0VyJWINw
RcY6LxQKDbeTipmkZoSJbqAK/X9xj8OiqDcjql94VZOmPleVCImwCEE143o1OnYWxc3TXmyRvTUp
sktFIXKYLgvJrTNRF0RLZ2VfWQtP3CI36noGoAYg7kcDbjezBZi99g8KDX7kvdhOsr/Fr/RnoOy3
ijLm/6pDKZ1sRfOH92W1MJzpPBRIV2BnqaEmxTCiuGxfhLlCPrnA+K5r1BBm1x7/JP+JffMS67Q/
6oChk5T0oWsIvWvZNqz7ESTaY8vhvXtinqeg2vcH3IYHmxommiG6HvowF72gonxYRsKucHq7ELM6
DCzM+d/0L++psch/T1tZ2sWZcOOTvADO1Ff+Pf2V6u2kqJCEugXuCR/4z5ekIhRUk7qXuA5rNSH7
B9udqCXxdwbSCo1LDxSkp5oJ4KygqAPZL88pCaLNyy2J2vJshh9z5QSJSUKxdpzNE6MdO8KgcHv4
HGO2EQeZP2uvvsg+H+fPWrlfFGQjXS7+R9J5LTWORVH0i1SlHF6xJNs4YmzAvKgwQTlnff2s21PN
9NBgjK1w7zn77OCa5CbU4iv8ChonU11VYO7VajxLb8sx2CfvAzG3bOW0NsFVqDatC6a31Cg2elOc
8e6CBzU96IYe7J98/CuD+wN6rdcGmy9jM7Iy5i/AHVxRNJO89RMJQg8alxcuopdACB/wjD3glnY0
ry1irOP8o1+dr/JbxV9vecl2HEj7SluVPbIH6z3XFHUXF07yznfme/JIHhJV5N2+somwKPKA5DHe
ea7kn400O4x24d5qdvJdufwrXnR6TD7laWhtzumKa1A7Vhibzj+t9hRRJPWeGbs0bRWuR8xccUKD
jWOJ23g+Z7t/TwJ7ilKG8o/Llw9WYVo+lmbOSKQgVnni4PH8/Ho+eOGs1HyRF84y/f8NQLsHH1eG
48KTAE1IQoJlUXInLs9WI8piJWIR47SyEj66d26y6DW4x+z5PxFqLZZl0cDXF/55F5+bXyxeI2Xx
iBk28AMapIbR3Xij4Sas6cYpgMFV3+pbQg4EEt+jsGvO2QmRldGwwyVlH+Ss4g+JTTELOYs1pYtg
6wV36pUOUhhiD+ipor3kAf/v8VxwbJFsUKAP/7wEudUVGGvSl/rDm5N/OI4cTemXa5zrvv7miqft
oAtp6IcYAsx+25MBq4ECLhgjZZiQDUjBW0yrkBrPq9DwadzghjloY7NXFkQGZKp01i2Ei54RnHLt
RY4OM8kktbqmVGMyKCJXBXVarHTJfbjGO/2tZ00+Z3flulzFf4wcD0RcQC+y3stP69G8QgGcELry
GccKqx820Hcag2eQi9eWHlqMLal4KMPazwWSE/MV8NhfUWaxUzDfhHskxqywlThZ3QqhpPWAkmQ9
0GyBNDA/zWR2LcFB4kHjL3eIYLlauI1Q1aRuRX4CnKWQg+wq/OZJcLIYzEI9HXvhvM7eymyVv3lk
zc5ki9/Ea4bjhNSHBp+XxVz1n1LT/K0/x1RIKrH11J+a2qMwpNGhbqNS5aP95TeJRuifLJFVXqAJ
BkxHHsZjWOypCnl6+gxJnPOS34+SnQqRemQUrQZ1IBcIj6Hm47ogremdYvVYstBvlz0ChFbUzGL/
Kc7SB9j0jtkv75dKPCNmt7+Ba/6TFYeC1wtPkjqa48GrFVwyCtJX59K9xzchlqIsEFrGX9ZcNhhu
IvXOTUaxyG3EXRVgNvLvpjRwsfj/JqOgoOLkPiaqB6MuuiFYLtRXPDvNwgriLrVe8+DfNGd0R9R/
vBvqceIJeE/1gYqc08GbZNqdvAphJzcLDt8Pwa1mtcehEt/MdxVOxp1cFYpb60YPMzPFxFUL44jS
i0fBxWTvD3kFwOuNWGPFSq+IhmcQLRSjtKegdVn47WHlfHUVdzxS9BXUToWnsVYV7jfimqdKdyUS
TYYVbE8+h+2Jdoq76/9HituMVo5yEcNHrHckBA7IZp4SUFcqdIOID+l3/gE7ow4p5lUp2qwXYAB2
AJa95I/9BjyKbxIQo32yAcE35XWqV6pK2OeRbz1BT3vJ9gL5H9AxsJdSmjC0ZVbLADf/Q1nI2BX8
iCGIrvsWNib4GrL7Sj5/k2l2SHox2EX6NYUe4xUeygcDGYofJiRMhlEhMlZlXAzbk7ve0lZKJlTN
BsGhA92Z0JHyN8sCC0IXrqsqbrwuKrdKiFtPgmnewCHIDe21qZijjsNJ6QpAi47aX4lL2Nk1eWi2
WRADN9mn2OrAAXvIIKkg/6eRr9vSCHs0/kOAc3MS3ZMN6U9X6pMTPdQAumUbojqk1ATh64CD/szW
9lliE/NUY2mg2V+DbjwCI9po9XLTVXxDNe1i6+1bnTJY5C2OQ/jbGssl6M17IWNFDTLftrK7RCbX
mVRus6A79XWHWE/Nf4wAkxebFsgYP8w5fBQZ+8xUUlSFNfBml8yYbjGITiL4CYsN4XWwlJVc+mUb
XvSpuA0WW0mkqPfAgB6WV9DBF4bV4fCSB8lLllsf5hBSGknM5+l5+ui112hwup+SXSHiojBGaWXY
PleiGbqy8Z2zpOl57+nZ1xjfauD7rP6xLWo5WxBNfzRGPiOkUlSMPXegM0vP2sReL/eAYJRWFXiY
HZ0d6xqN9bNaBEfQ3zjbLVxDcnqedUCqFoeoxTwtM84CUXmPZHZbq1j/ZoiSFqdzJWo1q+48tW33
iap4Uzse5MVyVU3dTIFMJoOxnTKA+PAwaIVbqdi9Nz3YrsJmLkfZs+wwTzQ7Tw+sdYZhnuR8Lwmr
jpoEu7A03paebIf5qhefCUBH2eBZah8JDjEQjteG2/Gmip4jou7r5ppo94wLXKUw73M8kKrG7/qd
roUwRqjlK+VJL2h3qZ+T6FOWN/aylfrnIDsa+QtoTA2mWP7F8aXL1z0GDpScrDjF1LIeav5AX5Ph
e1P7rbXRO8qkF6XDkclJXR0hct+FNAjVdqonzzE0rxTRJxqs6ORNrim3zdIPY2ul1sz9PuU+u0fm
+KI5yT6t9V0Q0yHJROEUsafWKnjEo56/Qg3xbdqvkwkql4W0tAyvVlffFBKwUodwlaL6rq1xWymF
2+k2fb98tCVSG9R0L83kdWTF1rElJuLterA/pZ7ICdtZVwskRHQYSFq3Wnw1Khy5i3jfZNkhavE7
V6VtFFQvqsRcbnbYMPvDuPSgFvNXmhh7LcInsW5cYwIZaRl/JuVrt8BVU+T1qOAEZZBRY2HeRF6i
U78rhfIlo0zUESzXRN1Y2NdaPVsSGe1t9BxT0BjONc/fo7k+9Ev5SAv1UnXJsaIYUW1o3GwXXEqH
NFKfHYwU5AJO4ihd2E6SLP1RLW4PqUjvo15tZOIKlZJsK5ASM4bxUtPuUKhg0DDGf5j/sG+oOq0q
XYJ2zTCpVtYDdVBsvdo1BLbDUBONq2LGYhMrNnXr2kr9UgFpYlNSybAB+mZG5jA4r5GtrjDcmONV
iVEcM0WcTZcnVGNO5gPB8hHlvoMRIGpqwyOzJsQHDVvcyNO4U5l8qcI6gjG/yDyDjcJSig5L0Odn
ilRuFdEHsUzxOfxlhnkA1IMmvktTChsJIOEfqi+diiu/jErr3l21vXBwGF6VawDc8aHf5qP+pkPp
UgLq1eAPDA2cVlCsgXnhDDBD7r7FHJJ5/v88kpwmlrEl+DwYM+0rbGpeJu8DZIKXjKoTlEL65t1C
Dpu/4JXfhx843DMQLtXrx8gUDieC75GZ10yeD8X0E2IDsAqKIOo0Xt+/IzbCgPrT/uHJhOJxkOSc
ldddGqEygEOGKoFwHyYKnD4D7ujoBqY7ojSv3RCWg7XSsJhMfQgrTrfSrZXMBo0FXe2qJrr1FePw
id0N8hFbNhwaMl8/hIHL8k6HCH+eCyTi2oLaCvbBtgwERklGyOU/PRAXJYAV2glKLFGk/V9xUVnx
T/KsqRN5cLvyKcUEoAJbn3wswA/dFaR+hNTgH7Mr6qNxJaoj6gtMcQiJH0ggJaFtLTkumoC29EF3
hVAq9YR4CXEfQVSAkv+GS8wYqXWwbmakRAnErIlqiFdm0doj6cCHBeV7ImZqdCdgKHyoZ7xw7vJP
thOpPSre1qaLT/9mPge+SFMoaLkCAje0gwK8qzN/+ku5dJwnmdELTTmTg6d8bwLjAeiBPv7gnH0H
8ROWVxSkN2413i+o/CstCgeGIhQQkA7kARDTAQZiLk1fR/FlYKLe/AWvPKVF9hSztenCl+kw9yLS
wb4iyr/iUXSB8IeUATufXxyGiKEAyoHKRzmnUFDxHh+0jbwU4W7fvWN6IaZpNLAP6mJ4mP8yNw6U
q6AijBfELBSrcniFBQI6GiAIhHeOCxg1ll2g+J2AteiOjsbF/lEu2aPZBVcESRcJd3kuC3EpPKAZ
Ik0SjvPVI7wxvzgWD8Arfuyi3jnoioX8ont3jgJG6wRMC8RKs3YG8XyEKJPo7eqb4FtqQDj5s4Pz
fXs8CbfSEFc1DOBhiXAxCjs6yJ38zVQJUxZwlnCTnLFVwJFMJMtgs3WycXWS/2XepOS1CDEiTlrP
0ybHzYmYjId5hgrJ6/zF6M1VcZFn1HIRII55Ht758xAxQC2m7MI8iwg8IkbAIUTcDSNkdI2Yw4nj
KkwiBMtU+PVzQv4BYioWEjz9RfyNqR7OcSwByNuO0RVzG8pDwxHjRdYliGZMIKGKgehUBD2grxXs
NDhHRMoLMSk0FIgHLZ0iLMBMOJDAW+Ir0Kv5Pv5E4ywCIIF9+j9NrG0LXtUGVuysVMUVpOxbHJ0e
msE/9in0Sb5RCwchRCFXxB/23/zF4twFWMdXV5hS7RfrFFMwMbKi/RHOJGCvzZVJ2ltzn15pEOvP
HgoWl3H4En5OjKEUVDv/bnKUNKxYO8H1SXfd2YEeAoEXTEzbOzg9mW/2W0tVcKfTj5AvAoTe2k/A
15xpvZhRm79l+9uM+rWDk2dXIBbwAdU238fKdNb6/mPMcbiUv+TUuqDv+GGoq9xnWDKgF/cZkSsu
bYM3hRsT2xtWEXAlsRE+zQAZhisH7qysrHHFtzQ8SWmgKo+fMrDOGjzLQEDpUQK2TPRxTeQHaV6Z
FNBFVu5E5Em6ourm2SKQd56nWJGaqYgR+aq0nlQ2Dicw0bYV7tCpXofYfRZ55cI+tyBBRPwRECCk
N2C59G2AHVT/odWKQfew/yVuXEGREUHpSVBlC70NhkY+I2tCmlfzuvQIKH8RVr1CUtE+UxxJuxzP
XlT9wIQCKMz28lrHx1c9yhf5kr5bV/VS74yzdk4OBv9RAUJmt4/tLllbmL23+J1L5PZJriDDF+sM
mnzsx660hZSw+qeV2Iybgrc/x60bj5KfDclW/8i+1A/1I75aLzU7+in5Ksm8+27/JbCqH8H38FZe
rT+ZfY79/C2+K2/dS/A+3crX/DV6gdyesKUxj6N3/00Z4mKASuVZMSdXgWUnzfKpAsllGKDsp6f0
VN2IDslu/Xv4aowrnEQSSO3ze3FIT6Szbaa1iKVAm3eNdvJe3Ufopl/qk73ToGq8Pte+vdP33bG/
Km+U1C0pNu02Pyue6av7noSVdqscInr+dUU0aVo9JZvls/S7Qw4BX5Dsq1t6Gm7lqbupO0j0W+vc
PoyzedEv0Aumu35EqHHXGZ2xShYr4w47X/rhkkQ8MKFFYaJxd364aKLf8qFwzV+cH+NnOg/34qP6
zj5kYUaAJGLmjE135U6kPD+J3gECxrshnjg4Qth/RDe6VXpWaEn0p1gHMAf5UDAsUL5bIafl6ywX
/d+C0l96ZYVYPto3A/BZiP6BnT+X7xoSYXSNv7QP63sWNAFAdhoiaKLKNz/Ajy/saeLJWZwol6Kr
UCW9wUB0XiGoXYMX5QO3sjftWzwvGpEPCjBeR/oF3gx5MqW0MmD+Kto6BBnRZ/knaagzRtv86zjN
RhRe+vl7IXhQS7mkSWVt4GLkyXvUUTteu+AjqKgbjHbbWwwmAnPdNzizOcaznlhrPdb9uCd0+rmM
XhLpZUImop6s+jOF69DOJyNca4xHUlzXrBh2pXSXtWdL9fpou6ToV03cGSDLg3SpiUh9OJZMl6yD
tbzWlIo2WdZEEMqPYTzXFh6AYM9K8+zYYKTTzpgSL+hDT+uaSyMpGA2BbcCUSLxG9e2xfYpLMqlD
0y3xLrFnxQ8ak2hEpIhBe2iTaCtF55JWKGLt0wPiyRLLDXryvhfipOjwA4ALzXgtBeA04ve51Dt9
6TaJubzo8WmJ2TsT7W+Yh0tCB1ahKpWx+HBGXHnryZ+fmybyzNx41kzlGAbxa2+F1DVWex5mVKbK
tLErDLPb7jiQep4By7ZsHIGfD86LOtcbg54nH4xDpk3nJZb2dgot5RBgVld3n2GwN0gU697orwbi
GeJDJh+16XWZXqf6ZTZ2mHfwroOKBBfpXBiXSmXrqIrX3CImJQ+w2E64PXBKYj48BPrKGqDbpM1Z
D3pPofeIOmghsgIrmiQZxfLbYnmzwhHSbTGiwAAsoweL8ddJBNIjMLtKQOaDayzdKnCYOyYtbVu/
rdr0qLCMp0Gyt1JtXRhiE3MA7Upz/nF0am8Tyx8SznG9Rc5ba1RwSd7idEwdZ/VjCaCzTkb12EfR
e6YCf0tS+GtbqB3KDt2GE731RvdTlNdRD0N3mrgV1Za5pgaBtaALiTRKBJ1dXVrGX1m1IRjpcvT0
mevkpOcktU35PjXLnTNm+86EFTVhBDX+BgrbpBb4HTjEMJPPaKm/ZqP81QtlWN4hjJIPmmFSFQ7G
MWmtU53h3tLOW7MZNzjVrK2s3Ie5deyV8aOPwveltg9Os20iBOMypaPBWmxqyktdvhtlfQ8kdB3z
hK2L7A9hsmt6C3qWtFfr90Bp1lGOY26QbsJO8esG1ywpe7XNGYioxisgfaqAWxdzJnk135dSchoX
ptJ9Ph1DS4I+GRMyJuneYBQHfbCw8mFYZKePaEqvjaG8WYZyDRUc82sWYGV8NYoeWixvJg5KwAH8
0tmVTWs8Zn303U/zd83LmHSCXWvt1ZGMP82qPuboHo3KbSrLs2ml50oL7/NUE/9OmFBZfLB6NhqV
7DTmvunom0ZTv5pRe+4zhFkJzF1XIhwzNNO/KIvf6e+fzaW7SdRCFr4QujKj1E4uhlrKT8pUq7QO
89mR84O9CBLZ8lty/p/kKromfXuyG4l2I4tH9jL71+4xHK6z46Ikn7JEGpbFdt4rhHcyQclmCLDl
thrLjdHa286QL7qenY1e2o9VgPSSIKFo3JXJbgGK6E06MSm7WJE3ZBaMzfEQltlfsvCK6DNTG/ZT
31a70pkPWljvTKd4GasBu5zR62eozxQtYQ2Rw/YJWSWSGlcscrrBRdQZppVzA1pVcOzoGtr2q874
v0XqnVZ/ybDOhsmLMvjmkuqZhHzrrxUJzlTgGSM8dyz9hmjz4DKZLJF+O25lTFZrXx4u7XwLIcqQ
rRntOQxJeioxtUL2K1+q/GPBYSF7CSkVl2I7kLgNy1vx6SG40DP2Ad4vxCCPvgbs/lEzhCtfAsTK
ixCRczkASoFo1/D/5RsUxwr3oAeIu6BFdicQe5t6mR55fgJ7lVf1G/pFjlSBweIsnBbHwlsiT8JP
csKMjWbWnaMD9K3K8CTA2sjV/wgBYO1MipXEQKD/ZYBAq8JH9ArKr6IzozMn0AUbYkgfMqyNGvIR
k7sAkTXbgO9caPoK/E3TTwwcdvEna9eG7RLLosVnRZV4/sFtM6/Abr0VWjA22PxPhrfINBnQvfJC
PMNiF3sxOHd07kDNqAZ4KEaJ07op/YiZRfXkXNVPDOXYxEE9ILkBk4QXCIS8u4BIt9yDRMjGLKwC
NCEiosWIsBal1GPyDVbBPYzsQHFhD8r2ih+sC/jyawRQGi0uJCh6I8cF9CGMtmmfC2DwwBeoIVUU
3Xnr5n+MrtFAoZ/gY7BvDYQ9ydqk8oYQY7PwZNPvYlrzJ7HrgZxh4M9Q/n1Cto/rAlSV5QmPjop2
i4Nafuq/TuVinlrc7bdlWM2Qqzlvf/UXbGx2aMwSwHMycCLEYP6irfg/7gkG+MI65vfjm1y7VuCj
eEZCE85iyi7YkkSD0L0yPcEphfcMtlt7pC5wEpkJBpZwFAgrP56E/QP98Th4ir5eeh92hi2tf2mn
U2OFLcVSraFkxMlatzwIYrgNACVHjQc/Rs68JWD+sJpxXIUiCTpgCtoVFx0kbQjb4eIps2/RpDb4
VW1i/G7X03SUCceDSsEcW/eleJ9ZG5pADCVaeTvaK/wDgXQE2TxyHek5mXeTdGi1+zLtSokAX5dc
YiYOwHTC+gqOKpc8WgGilHCOI5DJ9LmmcVa17DXmhGGxrpBWVIcl3jPqMELc2zzGED3Oqvj8DCsb
dTvFjg111C2Ib8H4blUMIi+5abcLsX+Fx2kGWwNV0kIqHY+e1MS826BQ2giCLDYYkOyYx5P8wyZG
yDAGbONzhGBBea3jNyAc1gt92Erpi1Wvh9hnNJCdwIcaVnNx2DhN3NUyM0SgY14JwTsMPb44hxBZ
Oabt8qQCcckrPrGCp2BasTKA0pVkf8FSzWGZ236H88fsAv8q0lrqsd9b80mh+KlNwfMmpx8T41sj
/+qhWEw+xmAdZBIFT0A3RqztPKuT97/rLXfjoh0jlpfEw4IsYFmj9EM9SRc4PTmwCJNdDwLFxE5Z
UezTF+r1mu5TwQ8dl0SoznzCEgWP5AeRcsWE9TS+NhT8XOiVL8Gqhq4HZANBQhPtQq6sRoCqM8Mf
jOQq3e2YqEPokraGvJOxRnFcXp2eiRe4WGtJ8CPWDnkKRMNLng5gi8d74dngrA13O0+yysj8AL9E
YFKpLjFpSe6DptbWbkL+HhzjwtPVZ6n1sDVVlbXd7vFdm7EaH9wMWR67nLwKfjsmIThdM7ZQwVLF
VQpJucUPnqRMh+QR0GhKcOilLmMQUETORYVpNaavsIlgebFe/DSDFweuxmqpu80/xR+6uzLwQJzb
ZWvUbtZ6aOhARZRu3edr3aTIdVlw1MzL8y3nqYL+zCEMURWGr/GrtC0f8aMOVqJzoqiN2T2C1YQf
NwdV8Qzd5VyVaOHB+hgJQ1GjnovXReKppYfLQUm/xISPaQR2+MDc/CAhBaAGxWZQ/JhTijWh5bWx
bxoHdmwr/J2Q2g8bpT80+nnqPbR9lgIb5Z9pLHei6Xahq86uTHtp+4qx4uAtzDohhMsoK/xm4an8
PDpI9q1S9xNRhJz5zl3u0/AS1K+GtZfAivrlYsQ7qh6lO9jNPsBYocSF4SRZW9U5cuMPrcfa/b9Y
lqUjWA4K0bKNHxNUbq+55YvOq7NN6DBsdcvOtwvPUd0BLnjsqmDROHIwlZRzT9zNrEWZu5DrSKZn
szesNVOfkfxOCJaUf1hvh5tZX4tE8myt1Fs13lY4b/zzga4krgPIx+suFTNSFiM6QvYhrjQ13aSF
hzdKnb3XC+un27SbdmEEs2oxd2dRUeC8uAInhkEIIW/woPwClYIKQmZlkG4QmSwJS3SyA2RBP10e
AMtMGfCMAxyEvUT4BVxRilF+QEewLCAgwcljA14ApeY1WDTyQDhK71ALFkxWYBIAxqL7xBM+EiIH
+i7zav9EJ/gin50txB0UFJ9Czg5WJhAxEU0pCgqUOiw6fD99AU5uYl9RPL30IaBglnOjWr1Ghid6
ZRoulmxEAv+UO9YHlrAYX7Oei2MDJs9I5HkiymP2ktk3dT+afQBALHxwU+AhbOZ0rxp5l8juTfpV
v7jiycKdC5AIvs8eyP2GHhmSf8aoU3iIge5OD9B4IF82VP0HphrsAEoqjgQfoPI8QggmhQ0Z7v6G
C8cXtqYUrICkKVUAe8liABekxfAziAfk233SKQfAX0xucEIWaCB9NuSV/3XEjNvZW/+NCfIvtllk
XFDfQXy4DfgXO3bjhhw7ynYs86irQygO6+zH2IipxmMBdxJMO2iNLgA9Ew9OT0bqx7SafhLiaWCW
skHDjg4wWvW4EMLR4/Mc8nMouCVijAvBnXm/IaQw8C34lkTsWu/DEudSGpM1rMywdyN26VN+YCow
/xr76Ce+WCd9Xf6hi6ZISJB5USBmK7xPeJmsQWyLopNjvERdKPSVnBdwV/yXMRj/X70v9WTeP3UE
2aq4OnnUWu0bZwdxGaOt3KWgtAQmG3/lX8LOmRqPa8jAzv0rYsmXmQozIVo5KbvbRmxm5FbkvipD
hdsay7FMt2W24dYpQ9+wN6YkVnVREvDkk2voK6DTLvY01B+UujJ7+skJ1zmZCARrws/V1pRcmrlO
l/WQ+BWEDqK1bHTHz63tzajwsNJBsInfZPpth2I/1kjOA8fA1BWeCTuOJbznBPME89XIdywfdppO
5E3n8oNR7eGwBZ0lnp5xIIfrC6E17U5M7ansjH/lOfMXPmeyA1cfLOWHR2AsmEfh5xAEUK6kp2Ri
qZQxbNW1lr0QG1/sCTDh0WPUxPTwg519mGDPI/VAYJPhUBLkl5+N/LNJrTWk82I295HNBYwpVldy
juGrpjSnoYqEMlB34fQs1WuwJmoilq1IKp6XQr5NHeUgliLhlzQjlUzytRE8pLraJGzStvNWx9XL
PKg4W2OQr8aeHUL/tM9V8EjhzKZ4ENbZOTG8wk7XJrnVFmZsdf4edHeFddBRWDIlLv6iEVFeKQbe
iL4Ddq0qrpiX5a4sfVsKO2zQUV1uB7qjcfRqmy0uYDUcqFHBRI16cvVz3p1mDrH9vGT7VkXZ0OIO
kh8KK161Ue5JjGwNzgSIOeQPljKZeIKp+4yNAfpkTbmkPAVMA4NkumQhQcyj6qa2ctDqYSe3cPqo
EkKDGwM5MgtoH31pQe53zui1SufZcB6M8SfEfqssvlFtFdNF6lp0OJ/jiAdodagxYS/w4Sr3Epx1
dwh8APCGVitiRYTNFc8vjQUHCIMBJmvGtQZFD/OLY0AQYp40RLXfNOt63EjaetYjLnLHrQ2EInlP
g2F5YR6vI3aVnn8HaNWHXUvAAONpcxcG6sbsUafmjWs6jBBxctQr0slbbRdJwIvZAkRnuI26kUzG
iCQZMgSYlfEpw35a7rKtVuV7Jew2igYNnV82lozZsGGqSfKIU1/D3zsFtoZJHwdfE8A1LMr4ecje
c5XtZt7UzKfBfq4hFHtqhfBvSeVDZ1VuHR+Bq9xa/RXvJbUpfWFT3WQk1o+uPdoYQcjcjtNjRB9g
RX5XeRwhQT4v0n0eUsu3rW+/pWEACtjBFPQY/+apJwNXWNhxBeXWjHeMRAdGlJSrsxhBZ2eneXNa
2kveezCsUrnFuo20psbw+55lrD0a+kkxgeaE/xy9Zkx7QdJ4esyk3LNA9VCchGRG9q4xX4aidHOx
17ZvpXkfxs4LOH0yW9ZNCU7siIn2W1kzESGCDJXdB9GMd5ByNsvRKY5Fuy92HYM3fCf1nN6LaVIM
DA3/U7Q3Yux+a1TcjpjB6b3l5bDOIxygA+b8A4WGLca0oQrOwsGwXcgkBalVvNEkonEGCw3b02yv
9eqgOe+Gc2a9TzqQaMZClkTtAqkW7BhKIvor195XC9E4IdGmODRx2CKfC7AMDlF5nJaJ9udUyC9m
G3lTT18Jm1GnPjAT3iR9dxywe6qHaOEXSuB9+0Vu1gZPIEsXm3XTpGilhMq/Qtq+TN2kE8LG13Ta
mYtfXcB1Nypl9YA6qLzLJL5P64AIrnwdodN1iolRtWfQz2huh7cn3Ya5MzUY8NVL6+B4VqAakP08
poLMO2glYMQN7WSsXtJQ3uS09QbRhbinyet52OjtSc4e+nhPJYzk8GPWcF3O4/MUeJ260ckYN9Zm
9BsYRzgrPfQLGWF4gzVFd5qU41Bse/V9mk5V/V1onynOGNnE1InlPSdypoJeaiSHoN7M3HL9GiJN
pxySHAbIVS9PTQf0D3m4C7gA3Fja9MluzPFNszEmxYM+fjb09xFThN7oV7CWVrHs1nR1EqYRyVae
PsoJtqwpHXREUmZT7u3WM1HJJrS4gY7pSCqxSGK51AOXwgMAOBA8TfNrwkevj8Vk5C2GhuwsNTcB
fZ55HRmj6CPMmng8C6IQjhcMikT20HqK7xQUUrxF/zUpK02GAd1FPxbtpM0xGP8K6R40x5SOptD9
STDV2IkMBoeV89qmHuSEVPcA56QIlPUpebMDfw5dhQaIikd5j5r9knm0hQxzdHbtWFotiGa4ezpK
dAvqu/Wkh5+VIRSb8MzkmSIENZehYXiGE0qkamsD85RpAjXYli3kibn/WvL+13R+44WQcYMSlvk9
qESkPEvmVbX2EC2j6te0tnL5UnEZKwsa5G7cVOh0eg0FCgqI99mZNrLOpjb7Tkr427wf82IDO6N4
L+anbwn3N/A3HJMRQ0GfR3REL4FNPFBEQrXcDH99uCn7e6gCCBPvQuAnfazOmHgOrBeptA424NFS
d8eMsTtE/XSA+NURpfkyK7/5kByHoTzoM1ZaU/eaK+a5bpx9oMXrSTa3MAV32vDFrearC4WxhDNz
ML3ker+3NHOfDuE5gKgHZljjBDnNxamSLZZ2IrXqiaMR93vVjLdWSagW0EGTw6S34Zioz6PZeo1W
oAn4KR2CY62VU4fbJkatWy/rYHD2IZuAPVfrubA3lknoJZz8HBwUf8fFfrYW45T3Di1RmR3qJado
jkHT648i+w0C5RCz3KV2uRns+LV2pteu7G77QcFHQe9ZxzQodMFOK/p73OPPHnTjT598wo+7B2W/
sfNiJ+WO+dTZysVuaA7gGEEsjOR0N5fWRhuR9Ke3OUpOZn9JzfdKSXaJQqOkjbAbm1kAfREdV71v
Q2tvIbTq5v7eAiZXlQKxTbTZ9lahlyshZsdxfDCVyk8Krj3N7m9TFbzm5biWTfMm1faphoPazTj3
dPrNbIznKM720cTcNYQuXOBCVdx6I3spyTDU/U5R9pqV3wzTuTqx5TfGb1vvwtbyCimEazT9hFa7
yXQGGNno5dLP1JirWWNQ05HOic/FslOK49DshuCcJGCGunIblgjSGsZ9Rnrp4D3WLK4LcEsPYByx
h/ZbyN3OI7VWFL1NepGBFpteearl8DmXB5in2zLm0iEaDCPNOA+egKOhzSn9cwaGAYVQqjzd8DXp
2ax/BuNzIoFUhmoCD23C8lnzKRz0wUt/6VDVYs2dfS6mV2aO2fKu6NYGatNSUU6m7Lb7gR2gQJfS
Mg+2TFqRzvH6rHCDWN7Nxa1JP1q6L3G6FPlqKM/OvE3mi9FXBztnId8uXGTJs9P0OwPYnFUt3ouA
pORbTXZU7rG8cQS5J92HE1aRCdykfJcXGPJb4ypIsV+I433LnFQOIE2n3wEwck6L7UwGHXG4Mghu
Tb+TibnLT2q8B/1JCZuNM+urANogk+eRiWJD8C78OiAeexsxphvzdJXB0Uw62IVPca8hdDgYyb13
PhRmPRYaJdgXTXUfEdtMJr0FnNAzGp52gIrNWMQ2nyLlPFjLJi9hww+XKHxAi6wVfz2iShNHD+L1
IbKTTdJBiVJenEW+Vmq/URFuOgz6omQ/IE5cIB3SLpTggyPuo7XL6LKAdWCu6TFC6FnJHhOphIjL
EANu+2+Y1gOeegalaLZe9HOPzA4JsVVf1fS1LY5OvWXfGSfo2n6B8RX939Ad5Xndji8FI4p+l7TX
jDlcUZPOiAhMTWCzL8/6eDAD2pT2iOd3aD5Vc+FKUrk2i5vKiCWxn0d7Z9tMwce7CpVav/QUpUG3
RuFLdadOBsU21PWftn0bmnuftmdr5gSXJhNX+ZQmz1Y3f+SS4c4YUtH/mPDzTV51fE7DPymYg6MW
/cfSeW0pqm1h+IkYAwMItwRBxWyZbhhGkigShac/3+p9xunTXbvKUsJirhn+IJFldxBkv/JhVMy0
ZuD2ZMnJGSj2q5ieTHXqERRDoGwhTwo3qsjhwjaDWRbX3u81NMKM3tz71NJZDJmJB83kNaJD3937
1Q8kNrxAKrJQ8TJlKbMMunQ+KiXvW+dzOjOvISD86PLFTCRfde096uMPjohFVV8Gzc9l7Pyl4fxJ
9kDJ8yU17qs46IjstL+/EdyuIfyBXiwjj4Y9LOVvzfrKaAQF7d8v9wm4Kt+mJaxgW1tgTf2iwMpp
XwXdJsrqQ68E6QMWN/aCJha5EX0iss9+4muWUs/EH61Ygouhlvohfv8z2Lc12S5LK4VDybZGcySz
gfvQYVV1i+8zxmAQEj2ZYQSLZJF1Y21aTmj6DLoFPZw48eSRpecusG9lCbYTaCkSyuiWF9g9U+Yg
iIQ9ApPwf7y7H7k+yHTm/vmE7lx3q//9Jr6v+QRgF7OXYesikDVSvOH85dHn4ZMY+OcQJ+AslLY6
ZWQA+JnHp3Ahu5JzML/OsGAeoSDtAazVdXRz+2t/3kOkCBh8oS96WPYuGRy04ujoDg7wP/WGqEYg
EqFNUMcgMwY3C/hqylh+4NIaYAzOjIyhynAthIr0pdRDyGNMA4R5E5sFkNotfR7OZBBe0gVA29oD
Z0q/iW/R85eW6jSO7AwrDlsh6rYoRiC/3jKLFMBcaZnsmSbxaT3MTOnWNZt04a/F9RvatLmK52DZ
u4FbS0BDaWvGT1gseAi4nJkKIqZNTOYfMYrNrQFp1jpa4OcxbO1qD6Uq6pYAPZIN4Rt4rYqpbYaI
EU+YPsauaRMNHDoidFk6rM51Sn239vqdmXvoBA5w2WSOyAyjLwButG9E8nimoKDtFc3eVIaimUYN
9ILgMtUuAq0mSNFMNRScYqcfHAogQ4nm2D8pknoCk9hnTDURqmVRQFOSIYHxRvoDTRACC6hozlJ+
wlj+VQ59MS6rmo+5XTHbOksB45XW1ea00uJm1sNXEz1xXMtHbvQWbX1wMdx7Cq5Xe2AAThMucGlF
/rgjkwZgNA6FHreFqx2upMCJSyGbRZ9kWsAHhtZRVljJY7FKccQMO7Q4Dq4r2drr5E9RoU9Z7rwZ
q4wVmCx8TFABzjDWvNCmFc1HtwSuwDFisDz07d4SNLHQQ8z2I9VtaLxxn9bqlPdMXPni7/uXTrFZ
xPkJ395bi5Av8DbPTy2OgCsu+mAblpO05BPpRBDT2dn5fbHwtWIs5Vax50f++ufxcm3KOg5zJO9a
2RVoReS3kDCQKZiM6sIq5qVK/MfoEz1DhNVbQyykshDscKYedWl/Frx+kJqfRU+19eGdPioYzP+6
ljzRsGuckloLtdrwL1kMAVw3qAg159Y/dtAzZPe14mLxjKrIczJ9WnAU8Wo0ZtLF+srRPFloe/lC
IwX7S1hkgLWepcc1c39YdjMmd9j5WWT8DMw8kQ3hSStYANhU3zMeCJwRmfbRKufx4iHldLlPjFJE
r9GjheiDIhyDCK01p57o42yMsjj6XOeQwcFjVDMoofYbZ/cE921ugr9H1wUWZH9Mx5d9h4eQlt4M
gmMCmGdaqUhsTno4njCg06/+kF9o3hZjPi4kkSJLkVgj6Pj9aU478pKfwKa/iaupCc2+2ed34Lc8
BxmdRSbLdNzcH5OkPRHms2DOybWn+cOcAeQiWpkA78U65dYGGxKraMFKbTUzQ8hUnF7JwsTkiZcx
4STawalBQY7ogg3Avl9uaLaSc9F7JVIAbgRFjFi98AcmUIuI5IvIAQiFJI4nOUWALSWG68u44m0t
nhY6UYxG68L90g5nSuWvCTjFsSw45HCnUwEh2VZQPVMpv8acBHPV4ZSP10DKT3l6hdA/UwxX192I
rYuG7y4Sn+23dum1ry3LGERt80ctP4B+zjTFX3LTxN0NTXTjiKeJm1XuQDOIbo4fTkXmY5B9OKye
Dnu24hl9bNCiXrZLFxwBVyVwmJ3zjhoATBQpwcYuoCLqPOCEsbYQ492scD8vqEdOkUz4O8RTgqNG
ap0nc0T4LRpmUDZmZwsWVMRsl50mtaINKzhGZxEhVWRm6f0taGMSTT4/TpcJEdZ72ZLT495puZEH
7DYGjwge63tpSdTUprw4n/AKdUogRg6yY0cTYwik5pH8QBZfECc7Dzk73LlfpR32Fr0dmjXkDTyH
XM1RtWWi3CtclgoNGc3SUoul4T+JD+qU7ZCnnjaYCBWTDA1BGZ9jnACRw/tN8t1A/F6xYUidYxoj
3NtMmgAUesM/JuQNa/hYfBwgIcGsZE1vtCn9cQT6fbDkNKiAICMfg7gPG25Di3ZXbkOLthWDAX8/
6COvV5NxIu5gS0vpBuikuryk+Se1YOy1T70ySTjYSDsbGf2VJqTg9KX6soJncK2QhedS7xPAo/fh
Rl0I5XVES0vkNvCYRoORzraykzdFix+eNbhnVmHDA1tmhcVWLG43irwqFs3v0M78eQ6mF076HrlR
ARgYTZiq6EtKk9r6SCv2gw/KnqoDRjOKkaJX9dX71mcTnIL9JNO4Qy7m+WTkRBbDY4Mrq3j6oBFZ
DKCE5CubNacKZjSk7ypagdB4p18oJPG8RXkaTrHMM/aNWWuFpSp4JH3sQG3dEYCSprcj4SwzdJHA
D0WwtxrUy3l2hKLFMb6RqoIlSVGfDY+UgkX0RHxMfblfUCDRW57EXW0NX+24TBUg9R9nt/yaOJLz
NQARbms32wFDGMPdsEgWTCYXP0ACaOGZ4P7N6IxKm1n8IVOOfTwW6DbM68fyZ1yZYW1jq3B4yBJ7
x0gT/+zBjPg/25EeFOaEbW+7Y9RrDU8/431NMVymE2dtfhiGbiiJ7NxN/jaYQ+BWPQ5suI0b4fMu
PtTAkR4Dd7oqiOb1cJoX9IO3xfDy33/3ZjuiPzb0vwN0Cl64K5fv8Q7NUleYj+942Gy2XoQXQBZZ
30dk7647fXzd4Z1tEJH57cDYACgxovljiLH55mumGEvvdvy/IBd5I83NQQi2MnQdQzcR72AftR+P
wGmX6gTXDuSDtNUj5T0Qg7FGWNpv+BzxxoixcHC+tYMRj3O2OBEWDp7VvCPy02Rc7F/u7jNNBFrf
3Ij34P+zCcJUa3Gq4mB23aRx3hYHhP0Ub/9YgVy13+6jW9AiNZyHbur2I0OqIJ893lc+KeGzHjeE
ByLTH78OwKPt26Gc/tbFmP/mu4zd2HmnNxx9bQApduKtvNvqZXirg7qlHQXCyGO/3Y/WdKXX+py6
yKJlanm1eagsCF52N23GnncYOKk3mt9+05dx6y950bQYewfFpidp95x6OnBOyURae8GOSOwxix0b
tU2P3vONRbjo8XOFg+JD21vqIbHljNadqRm+cfqZ8lia/0x93pmL94IxrMGM2JLHPfNPd07iA4YG
R9yZN8DDfOBB5a29k8dvrg6R+Xg4yoJLI5mPr9VzVvW0vXOPqBLnK2FznnKNVg+KdS65Ezn00CcH
WEeP0l1hab86fC2O5WtVoLfcL8oKIAsM4CXO5yguw/TjJRMv3h8OcCQmyWRoMYPxNpGZzX5IaMwT
J3dXfDpASPBrFjBYJ8W8HfwE9xdQGw/Az9isHo/MpV0zo2/+GLG6mKxOovlKMlcPGpSB8Xiwgeom
THE6jzt1AiwIhg8HDn554cB0QY+BbqG2Euyb6LG50danYeGCXpl6B248g5WV4lQWELi5t8pZBrmN
tYlDvOfvgBPpL4PJihMPvMOtNlfhHg8s6gfxVJor4Fb2qrcuLCjhATyswGtWiCSsMGI2D8EEEcQx
5TyLg1vOJNXdAEGeSVxTzdLNfHYD1MF54lY8q43HasM56vatv6J7xP/4oYO7Ga/cCIf3Ve2uNgwS
7QEkpA3MKK4WmDWD5974ueJpNCG0Y+MunvJw2c3QphBGOl/j3LdFyDpTvJjZaWiKCIaAnMe4xQ5X
Z+aChoxSLPkB6hZEJQvNI69vMvew6hWB5UBAQScX7dt/N6cwzmc2I3Opml+OXjI39LYesfWboSLG
v1BmcFhXrrHVmyX2UjzlGNxzVyFIkWSIgBpaK8Xm9m/grRBDJ5sHjKjUfMAXdOm2W5xn58awqDip
/LQUkvw0EeBXQRe2Uvc9JqY4gdGzlPF5YClI7RCLCKJjPm0XTH0LFYGHOlmp9w0LpDghZGW+wFha
9uL0nQTm6XTqpoWF7MhgsVmJSxz9CxMLlo4Kr+4FjM0IHEc3A+eB1smC3j/KZN5KtUYmrHNPs0hC
GI0TK1RiGq+qDcIeVMUJu5MhJIjUO2NW3Wblo6/VO2cu0ad/uhHSifC5+549eLeVbo7sDf86/piC
cQEqdu7zXbs2xGVeRrMlIKAFvQZDts/dpDCXu8L5mNclEvvjbHLOJjD2baEF+5qcz7KdboBoYB5n
sTegUmNyGi7W8tzU5U4UV6QooelPoe9zJfMlmovmRNxWidVJoP+au4G7BEZpLgFjcK9IBTHAe413
QniXn+7YB40JwZ7unsFuSORls6BsJxTvvo5w14NTKe4T+wJ3yLgq0K769hkhlgudFSRCQvO9gmiG
uQM1vX1ubAYvrX1GkmcDNmtSXejAjiv7tTsvcQe2ZFvx2GTcN5ylxp7DyLaO1UWbVjDfAOfAgRNX
h5SaumYpkx2PDCzdqNqclzDvccqIL8VSZV8mw8Uo3tqx7NZs7SatISvFy8yfiCUrflywQ+N5x074
stjMHTwn5jvwm+IB3bB0QeOwe/OEQS93egQzNJ3civPlV9bLlH7Cz6pIm0dGbYlD7dvi6gfueweU
hO/pNxXdCKi6dDftyh5RcQ7Gy3wCFGMHOMQj9dkNpzx+JEycCGLazgvWVWlhfGrMOc/Ja/KeNDY/
QUdtzWmuZeG/JdYA7UcPKXmbkoxjQFKRr8X/fla64fW19RsfRwaPLQ/UaxyPNxvOSMgrf3iWJrH1
Qf1uR0m4XoqN+LcVOYVIXRK7ICwglU3kaB6kDGja2AkI4o9YD8b165Al7K46Gk4fY3n2p0M7PoX8
coJAs3j8O0Ps3mii8mks6+rC51v8TjwWHwDPmtAODYmP3XX/YkRB4APISiQbo5vFagQ1aCfrxP46
2GLaG36bGMe2ASxnvtvsxFodcK3JeTkckyjAvZsH9lis5KHZjcXVYh9Y00ZcYNXGhaEXtEBwmQpf
Ms4DYmHPGoz96fksmHGwdv8dsD7mhyw6pMS985CXXEMejBkgVm4UL+5PlZsIn6J9lbr0go1zPrky
XbPyk9AFPwd886rQvFOn4oKEVKKtHUCSqauhJzX+JK5Uu6Yx0NMnuhDalYN57CPTzbQ4zpkn45LV
xk5MsZ16Uo4m9BCRk5bMHd/ggOm0pAyM8RCuRs5KY5gDDLyTyeS9kBFZj3DFyPB7aBKImvRfFkE6
6SlOAsTK67+h3IdTOaVzlybzFpySrovx2aB+hj8U+b/+5A0hqB5p4GyMwTCxXh0tRFjNI1wMNUAi
yOcw9+6kn5X8SE2YPamoLX00yS5lLl0vmXS+ZtdwzH9NNw59dBLEiHbTS1WGCfFf17/RaQauCh5Y
it3kpQD7w3mvpxkjLLjfjDJLic4UKj8ytU/3c7q2chMai3n5m0K2cKQgc390a9EuA0eXftHy66Gm
K7A/j7w/QkqK+Qauwp8UqfDoGDDyV3pgm0DiSQAbfr6D0sWsyCuwiX3AgN+o08d6V1zUItaxLH1U
oKn8c5vd4kmDOkQpBbMQNSVdRl6gpFbCLTmvYjfQkPVvaKCGdq+hy/erzU8BdTxJLF3XoQLpIBVj
J3xn9tuHGkXJ/q6Hk9Hv7VSI4tWZWzBR27/xwdm13z0DtbtfoHjRB7NU7cPw1g/QUSsQrSyw/uvW
6pcKs8I1QMZWCpF1pD/6QFrJdOkW9raJv5KU1cuR+qNtDk+5o0FngsWIK0s9Cnz8tfJnIxxxaJW8
QAxsewM0aVA/y8lr3+OPBJ4/Aj7iMtSUBezzDcbfy8NNDXik+ovr7TezU9SnGddLeEfvlMGhVSt4
BP1rr0HS9oVKOZhyxhAUwo5PypyA9lOF1hf08pTetoTKl0YfXIdvUDZPdVhTsnOB/rQiMlLfe0On
VGO8rONHEoPosWN4HWaPufjr9VuUgDtDxWmRsg4GM/rzwwao2MqvwGReeDwAeAKbD9ByZPfWGL1N
Ax/6bClar1lp5SNoEz0GlAh/cvnjL6QbLh0MfJtOMfrve4pzdQo1xMPNjLYBXQDoO/bHlp23B6Bw
Wm1onpVbeq5kfm6EeSii/E8Elm3SjxWq87Nqo+ApXDVu4UwokShgBBLQRgOBoVRnh/cOkdNs9V28
dxnuFnhJCBleukM+Tm3wayfKFg8BBPaLv9QmpsLkp8e97G5gRtD2H8wAraBbrF3iI0C0HlzYR89N
zNJGXYCOcDsHR1FFooEG7lNa1mPMKWdoEbAldh169AERC+gE80KLjhNtGnYRINvChTFi0yuwRUJG
SmgyC4l/bDN8/O96x+Hzu2gXORrN8bJA9LwAXoryH/5MlP206Nju6E3vaEA+tfkbvniLtn5bkZGo
JtNwcl1G971Nepb7swQDJHlOS3aD+GtTjMEAAeXXb8mmWvA9RPDfKRKBP8RaheBYN5H/BPUIiSL7
TRgusBqhl/3a/QbYliZsw2BgSVmc3kJQ3IHtlejkXqUNq/iVWch0IfMAdlMgcB9a7Spw9ajU5cSC
vINqFxwmzFLJFDUBSk3X3N5HAANizyiI8Q5qw0BOssNwUljhIrcFQV8y21pUGJ8HH41UDqrsok/P
DPjAv90VfIHXO7+ug4AiJEEsHjwrPeBE2nKpklmyZh1qxFrZaE8lrdgd+gUlDAiBdMAVHgzpGTip
PpPteAXCVqRMbL1zfotBHjZT9PsbW/B+mClNo9nPa8AGFmN5H804VeM7l9A6UO+QT323toMV9eS5
v21WDfCP00+sSdCcBvfbQbJWJukWKIYNtYktj5PV12vG7bJ/7/7T11gmU332mzR7/ViSiQYCY8kA
NJgSUhvNhhJ1prP/ndfUYkzCkUeKHv7qM1dY3OyubNyjDQAVGT0vxMSowzJHvssrBC8Qs43mNTr3
Gr8laGD+bjjp76KJtlUrY7jt73wP1OG8m3VILfRNcN+26ghC+mgrbUsk0f5lNGBXZ8FfNsvccoov
O7Vbfzu8DzZoPCA6E0OSOoH9QqJBQXIVkyyPvk+Fnl9vVruMVF16mNP+7b1PJqN1fKFPP9UpzXLs
weItlzoiS/kDPKrgbaYyjies7weYXqCO+55FE2Lejx6CtH/NEhyqZXTIOFzk5gyFVIwc5jGCsyBA
0GBkciQyg430p//1KArDLZDyeJsd5Ds7/iCd9be9DS+FHpejxRhe+W6LmMxwrP/5XuoI/tn3DBQm
+JMnP5pjx7fLPeY+IcqLhCSiANUyeWQHJFOJ6qUylRu4kxMhFayA3KOnbgGBCwRnDKSTYDw1sTUY
uCBov7DZwKNDHUJHsfnX1/mxFoFNFCewBPGTNyGBeNd7JrlaZIWMleg7INOBk4YtBxZBvkfuBjMe
YFZnYYX2RyXELf+UVhku+/IYzbUMoQgKkXyqFQ5v0vXdeujIwATgTJDWcYvZnlFR+GcgDqod+waO
FuEVNv0eCFGafQCj2zHvI72cF90a0urAKZ8Kypf+CpI3CiZC2wNBr5yJMauaraB9YEy8Qd2tA2dI
nw8R83JKloH2G1KSKlwa+HP6mABQXgXjD6nEYwRFDSoE6L2bevvtFZCOTEbtPjtubksXFFI8dVlN
tBsrFRm5PutN3qKQ0mMqPgbyXwIqjmccPM+c6JY8gVSNPrPuOSIjZNfFkwGhUtHCuP67c8hXC5YA
zwlSB7CKMdAFqIPN1vNHd5UkdD/06nOxk9ZRhPrjlyf9FD+V1lS3OTT0gVkhf4q6EBUkaA2zw2ll
ne0butzLwFPv6r1dAiF8I90A5q2CJ4j2H5k+uK/MCK+fI0y5VkdX2aQF9p8+HuRMPn9Ejgnk8yhN
X+7QZbSxjyW7BkUh/AfQZVVXr61+UAWWndY1Vx+JlRBDKa9mnlqZUeBQgadH8j3G5QE648NxPDJQ
sIYPQBRhtbOCRy97CCe3nPoMfmv8dI1kgH6zeD03iJgxIjBTFNGraOBvjHUFrIYQ1vuAcnmbasXU
CXKPQaTbZ5cP0xbc1ZjpAEP8uimBFkkzovUNpwh+FVAPyLhBPqYNJD2gSgIsH+mMnYwKLegTqVaL
i9v4BQ4Vqyw2UuCbb2DoYBHGEpMbcOEb/cLKe+8/N1q0c6JnB6Wnsni+EGtnuxAqRDz8OE4Q12h2
8ej53ockGV0oZOAYebZm2RpfThGPp9trnz37S3mZHotTPRLPUfpX/L2o0wdeythAxYWWw8VZE/C2
ssQKKbQVPCJ+Y23NjADnIibOTu2y3/RPg01MN0zZREIk/YOvAiYkqNVkuzeqKfkumLEf85Ruq3m2
/bB7RLPXKXL7KqNldicZ/WrOl9laMuv/IfX1oVfLSVORgDiEAk9v8N80CzpAicEMDEYg7eoD9ox+
ABhgonbQUB+jcURcHrrfZq4PEQWwE1wQ2firNfNg+LgJjJBFhhsKbBlBo4CwPHTZ4T8JbOFx93HT
zKuaSfy1B4oDhh/gUPMg74JjoT4A8ySyUO5isAZ45iUkXJm8MIXBBMVfZWg9gFRFSJIM4MCDCfrC
A1c9vKMaRYRK1s28Fuoy6FUx5GJgxJAiZhYKWISSk34sTSMavamZc3fQwap+YnMHt0gWA5JxcBV/
HUakthD0A1RXGGqI1jWpeUwE7VANYN8xeQFqojle0OBxaLWgaEYBBODtTP+/Xn03/SfD7K+GCbmV
gkHJYH8KHzi8o6blEffs7z5yS3owKdQXe+CL9YV+Ju8mkpprjsz7Izzi8Lgq9t0xjAwAuP4PMoSF
dBb8Fv4gyAxlaA9sbad4wi8nmObM9Q3S8I9k5KzREzKWSGiPFtIGytFUNfPJcBpd8BgK6WlhSAGH
5gtYI6ChUznpo6NLXDkke2NKNRIwFtD5M2e9Y+L0c2EnV3PpqhwQ7N8Kb54WV06NOTxHmRl4cmPk
u/ogYxyc/RO680BiYSgjDfzQkKYnRchNsqL3xyXBQh6LCc4H0zdaJGQpPTNjkkDur/6YktsFACyY
fPhAQ2ujPELh5PFeItENDF3Mx47lrlrLj96BPAWgJHfizQAOSDnmAJgBgTTKrISJD3KMPqQPQARi
e6qOHyIbIH+iyY7wOUT0ajf0imX/gFJM1TPhu1iwPGTuw7laVbvBM6J7TWd0G0yIRbwRSQcAr7xn
vjqhIlZDR4e/whrcEnyAzKdosYEOuJXcG7N3rpjJUbQDBBlYITcnnrPTsbWlA/N1oSpqbyUDZ0J2
z/q24zhFIMgYzavTly1dJseGfW7REmB7qwLgT4QyLqGTsxcwVFmlOxlpnA+WP9mTfYGCD/ThCGhM
BJ7c0CV7gGzbJl21dIAZ727UcbPs7TlK+QgzQZXGb8bD0H0pYWhhlGSdcyq+Hk9HZGrLdqnt+KSy
tTmjmrAfWkBQU0eNvO9nN2B+RrungwRtDsFCo1HCnb6xWemQ9wrrG67Yq/EkYNuD3NxQ5PHknhD1
2oUHpN7ZVzm9PgKCUIYyCDYGW5gq5M7YpEhKSCX4earznv07efRPtH35Q+r2+F1ZMiIAcreZUTEQ
DAVlL0CH92NmaHtQMiqM8sW6oYMCyhis2pleDIf2Yl4NE12oegLMMmpx4fytumMQt5Wu2MTTXqi3
kLwkkgXVzCTze+ZZJzHrGBGiRsy8AQE39V6xMoWu7vAkgX4T0SOjxyECB0YoEAW3hEkgxVfiMTyz
4k/hwSFfKZkKgVKDKYT6t3TlIfor1tK1QJRKRwk8Y9Cn40aAtawLAmjyZU42QJdE9D9x8SkuFH9R
IcBcyaambA0WqTCnQ0MHmzrw4BfgVXxl9KfpRbl9/snvgEdifxgcse+5iTcaHI9DZu4eWA/+rZ7K
Dau7/WdTrvJTDE7oQMeJkBgeuRQIM2vw37bNhkAYkg7RjkF/mKeFRu1QMBQL5J558kCzDA0eRejU
IKt619+VhYFUMILrqchEWQPsw7AnIHtRZJCwkgiSkubgmK9CRhgyEjnSNWSWiS/wIrqgN0QSsIfa
h65ZDtxgD3aDqlJ74im2qrfFWhbIPwImdwy2ArLL51jwu3krkkUODU8qPBmVY0enlA4E4fgSIwEe
HvMTtiF3GeVr+CGjY+/YPmO0hgTW7IW4WzT9zEmh/mn38cBzy4XlVo6un/iKZIFQ/98KZNnXB32T
/GG+QELMF2Tr0YM1WAq15PIgpMMJgeWBIVX0N0Q9L5lrK1L9B60DEuJYEyE/CpCBMEPJZAkR/gdX
PEhYJA/pCuJGfTSbds7u+vhvTbFiFK9m7VRzROJRcIT+RLFYbtnJ2kdLtvYxqR/ZxiqmVX/C4IQb
hc6jybIUH4DIuQQZxOgOfDp9f06IjRPmIsKBnFZAl4XaU/j68LvKVXhiDSST3gpbNKRWmYz4Z6qo
bzNWk4BgihUxOLz20jz1woWyVhxp3lB3DZdA9EzFVhbwq+bKQqjh6YuS7Sh3/TFC+bv0SOgkI/0c
9TNBWSMZzy/RHfWbmubyPbgPnvU+2hW1EfWt7ikf3xdyw8g3skt9SXfZItxIa339uhB8ExiPx+YY
ecp8cB6cv1bikTUSqxBvpt7lsUXvGW4qViGsFCIEgvkkrgfuTvooHlwVFg0nTsLH1eC73FvKFbL8
7ECCGdGdPrCzEtGhfvQzIUJf0R4EWQypgiKMDZungsD2yHB+pRd1jsnnuNaEM13E+Bzba1IRocVk
aPwhKQZnMAAib6hbWpcaBCdYrbTa2EMI70wAhBExDViQ3hapPW9DgJT5T8B2aBPfKdvYWgpEgOfE
yiE7BKCnG6F6hE7GS8TPJoAyaoZPthw2GqJ5H1Qpu8q/3DT7mhQuKsIPFBaA3p/qjR519yyAdx9/
wG9a8VoKD74gOFMefW8cXokuxlMk8PX/X5EBEmTbAne8E2kwQGDSaTrnwJl3AcZJA5sjSfR/Ob3O
9RiTvnNSMuCnHpmkybmPzlwarhFWXGTPvCHlwLewuRJf9N6OXAs2PCFdhT5wYHMSfP1CB1hcKJL1
9pY/+ad89v4dLDm4qJHO0p778Nt0G+5Me9OW2rY59hS+5Gxee46fc6uf8QWmxxItiGfl5Zf3BjE5
Zfp+2+GmOVIagxVgsk0Bkc7VUzoXLhak4tz95tQthnf89A6cb2/BKyh42PNYZ7xAveeH16E94W0B
wOSvuIVPVvmfWI3FCU4LpFRGhlTjrLhdNM8O1BTljAYXWybdkhhxzPjaLUjnxGYjuj3AQXevwz97
F1HIsvz4OHxaSPj4+iTD8qBmk0+0mhQmRakwpNhRAfHnn68DjCkQ5r/YZBdl5XK8DDvle7PKoULG
xndgRJCMQIWQFdGOb8FQ0TyGC25RIHfQjViZKVm5ifoT2eOTXIoSVbwOsqMV71PvPbIoMll8XGR0
+tStuEHHbs1TUNza5QCvKhkejqWRaf/xTcw7+Eh5K/2N/lhVAXq36/RYT3vn9Pg58uCIK/Zbf47B
RMdQANITnjDkUywYIVo6Dy+9aXPU53yWPv+vUUNRL5O5KGeaKGueRtTn0S6lCgd/uBoxXKFZx5e0
VO5c6Hdr6RfpUVB7ZhCuxXqktB2dWYlcBWkkaJevp4TzNurr/1Znh2G4ZvJg8qR8sRi/kUOQRfEQ
wc36AnHYJ3cWUAu6U/6ThG0RBvRnLDxW1J/aLmlENkIwYnPhaNQhcx2hOsDh0VSoD2Qx0MfJabgN
9N0ehGtiMO0TtoMlvHUh9JP+EcMIXfmVHcmXhMirck3W+gGTVBqroAfzO5SM6oK8kBBVMRTgYTxA
F/QX2AZB0Sl0FP5BFkc3nD3ZF6PO/qpGhWowlQEhjNtGsS9SAdqrFHHsqBTBYrfAZhNB3cCscNdk
ESJgwN+MmaiAMkGQfyFhn5jiD7IlBCtecC3OpBLnFJkrVBhwRWLLHl2VK7sGGxI1D004kiSaorw6
24bH96l/4SgazoHSJjsBb9K4GcJMCqlYyBq+VV+xwDlQOo5m4bG3G160J03P+I5COwAqnpmFcP2o
d3SUN/IFMGCLisG9waKv2GcsXmpd9AegNB4HR65NcQGHOKYCTn5AJQ3R7r5TDKv7apHMFO+zLpxq
Tvd4+VnXKzSsvtN85U9z+qbYugo/3Z1yk5aKLjDrzbMgdJK5tMLoXBgAh15/3qQIrfSY5m2+B3WR
HJrAsH5L4c7cP/e2ArQXII2KzjMl4m8VHQqmn3e81z08hNeisw9+dawc/7kWLf7JJUYLXLMJjpgs
IvO1hJPCQmdFUAbz75UF8sG+JFpjYMbyWbfz+NaeySPwZlWw2V01C1S47kRrAjfR8l8Q5sEMDzK+
DIpJa5U1KoSxRCFH+k5Y+/xr5DaNaMHR8aHzQkrXjGw6TUQW/O9+Q8RDLEo9LPNErwhWPnn4naqP
xJz1LpIg8g66s4XIS1hQLHy4v/RDaFkoZL1A6HeIAe2+GxJdpGJ7u3qrXNmN0VYQDTQk65B3wSMP
ZsW/kgKZZlWcBQGCvYA/PI16aJINEITwDe0H1mBkEglE03QkjDHI0KQF0Vb45+g/HGksNmySENwn
6tbqdMDRZotSk5AdMEUqQCc/MCO6JZnDolDwxUVGK7S7f1/wd3VpxBLDeTNGSGofsW6/JqhWgLlI
ZqEGjkJWSNnKlpSMMYn+CDquUfMwQHIc0BRDP8d433DEbmj50cZEw4PmIPomiFloDEtN9LYZFejL
zFOp44A7I5VP/w1E2Nfi3WoSwOmPUzxVNInmLCEcJ/dAg1GUgELxO9InQEUTZO4/s8++UNr9CPB1
8K/5I4yRe7fuiAZJ86RAqMXDwasR/2WlfWmnfS3/rxK+9eURTCb+lZ5+DKi/sBhdpXv4Jw01JSXV
RRV/ISCMUKeVieEXgGxFSWjnJvI010C49pX1CwTot7mUBXSth0T6W/YFh/i4Y3PvcL1Ptn68en9T
hAWYpwTyWeqFzlepx0EY2MgB2sPkY7/7KXj3HPK8ZhcSXtEIZX27l/P+TtVXNA56kTVErr8phcQb
e1RS/KkDbfJ+xdffexXEWKUMiaR6sGxrVMhlZZUKSxzdfiHhkPKG30abpzn98xFm0n1urDY0+pDZ
K0DO7/aHchEIjgYWf6LDsFZnrw6MBJkUSnQ/Jg7YOZSw6T5RPQlrUKQK0EeZHrgOnG9AP+VDscNg
vGXJjQALJKrqaueooEGYrTtREqigDjNlLEvPtEzcgRSN2xQx9WEzVdIcjmNHkwQofgGqSr3kPzRL
ZCfQhtO8B2Ap/o5bJDKDfGBXZXXxpWCl+X1GotgwxuBElcqu/WL8yoRYJ7xIuKgdw19Nh/nkSDSa
+/rQ+HaKmZN5RFC6GW+0yAi2KmxnIUUlOzDIkN7JbV8fOBEKdx8dgXgJRHcDJAbt5C8tmCYc2AIX
29eJHCO6iMPIGg218agQRGgW+2DgBa9uOhqN3F7abd6jl9tppFojBgPRgKQE+YEweSFH1vNqmibl
sD/2Qce/5yAm7PjX9yJwDQpg+jqqp0WnO2U3XCKotM6kfPXS61WQjeavSvBMs3kW6otZ1clekdYz
vY/TgAATwGtqXv69pMyWhiTEPxDG37ZYwEjdlGXrFXqx1hp10i9Uq1aD5TvlcWARRFSvWJmIu/gp
MRv/plDJfKcHpe7Dmoir37Qs+xAEq7FPhAxoYlRDdKGVwNag36tIF0WozWTVB/mS4TgZBmPx32Hw
mf+QxZD9yVB3S+7DIKMkDgB7YMjwqQXtTnaLlzyPsx+TZ7j4cGN6VgJhaaUvA6S//TkI7DXSTczr
CR2DQjDImKpOaqxlgfT/0+zD3Jz26Dp9bUeguDGBXWKuQK/UX6Nm6LOuRQBRcEIvUA3t5mxu+U5x
lZpJ3fcCRSVZBAFyl2Z2h3Lz3rGa2Hd/k2AGAgMyFPEKZs2xpaLhPZFnMGDCAN/A3SO8+bSgoZDA
2Rm5dBhey766CtkBQLyQDDEFB+sMAgTbpMj6eQOAeaFF1wMMFlh1iodWsHEGqVmcU8o2l0FeuKwQ
3wFtc47gI9G4qeZCZEmHgmpJ17Jxhg/hN0/GAMsWSCQQO9zKQPGQakSWv68nSIVzPwc20o+0fYca
KLkRav+agXIw6JV+ZX2mUGyAkzNlY9Q4uBZzeg4lEoKs03NxTqbUyQyfmZvSS22ZLvMyxQFoNX0j
ZAbXEglitF7wWxhDX4BUopkB6wNySrxKFwF7qic0CEeC/Bb1HUhk/2PpvJYT17Iw/ESqUg63NiBA
5Aw3KuOgnLOe/nzqmaqemu7TbhuEtPfaf5T/si8+Cqj+yfGT7PBE8GEK57K29cKJdvVG/VLnFswU
5cGNHa2FU0KGy5IxhMXbx8ykLN1bZUukfRJ65OTkETogJNKSq4Vzh3K6QzWsKxCeyetDYuCz47Qy
PcR2K8woND/zvv/1NhfNrEWNRbiAw2VpR3KHUEYm24kOc6aiyk/GVv4g7IqtjFRY2/nEzRxp4kKp
NFWYU3cerZkioepbRyCNcA4A1DtTxs+ZWSDbdjB5jLggevSqEWuB4kHGnrVOA1ueWogJ0yIlc8Hv
qi3NWu/MX5rZomXhnVG3R4y1uvBWsKo4P4GPkQusVJJ0SD2mYoDwR47s4VvZAYvTyCuHpC/zcyYu
m49FTADbkonfWMDmE4M0OczMcYqz46auN3zClR2eJUcGUSGT1PyQ7mK/6mkPAAqb5Pb4g/Hm3Lpb
leISndhO/LdAOWHAI/o5USfaLF+0Pzl2DsaHgWbZ5CWEJDl8tg4VZUTkiHzdFs8kHQSMqJPegs0z
rwm4x393ql6Ye2py4RnRxJnGoEToHlt4veHOkLQ5pQU+Tij0fBLCIxT32hvA0ggWAJMhrzNYq9mJ
j08dKJkfi7kFG4qgji8FO4vQFG9TwrO5W6mSsScY1OZ6p+qSkwg3dIrXaNGpDtwHvg9zg4IUI8uG
4zXRqzsUPJywSSRlwAog6wHwFXMhI8qBNeRYK8+5wySns2Uk7sgv7fAbAonQXgTuymI6baCSQbC7
JG4K70bM01BZnziwBip4eZYBpcr7gOw2+2r8Na8LLAssKle471MceNIqcBDM0GJMhZlvWzW1k/Uq
xlZ9KZ/ZmpuKIwZ1trj/HeuNygfVA/UKPAgxDcIMQdGJuQovU4FN3Qn43AkvpASmuMCUMIolJOhj
AUd3yTzHn4ObWKLbMd05ia9W51jIh7jkNxpa2D7L2WTILWbF3PtLrQ+mNKaoATH2OUQOf6s4kRez
msQrYB3isTkXBJNpOKWZ5MHoJr/Iad9h4cn++HcoGv/9HwMZbtUb5wpBmMk2KthjAFfLF+B9r5Ys
F9SywK4eQU71BWlvT0oWtGlGnWyKeDkhW27wXpxuPKdC5YL+5aVRcjURgJ0+rd2AwMgaWaEvONlw
JSEkc/+fKPq/UVH+LCIO4hvsWewTbUR6MGFYE7lm7EkzYxBVp8JzUFvrjMGOJpovDqPkNJEcx3ys
/vksDw+fLIAjjrBmxJzbf+s2qx3NEd8C6cesxOsKKZbOYZT6tl/hjjmopb6NGWlFKU27gb/kJhHQ
bvGcYgD84Qfyi1eKfTEVVlFH6K0nz4Xk2AUs5laJCb/ejm5FkZB30rxil09DDLhclDNA1GQ+9nYg
k3KK4pI1QemJ4FLvevjdZRVD022ALMm/dLKm++FvMNhraY7SZkF8yNsdXeASmRXuXC/Xwz4rVop5
NlmnhmHRiyn7+qIM7yLO2eLzaWLbU+dZ9bDEo6wTXjAPjWPLVHuUho2L/0qcJLCVtoNzkFAiy6sG
6HgnCBtBrOZGc01UTH87JAO8GSWZKX+F+VbrtaQ5Ac8BoZPCMleuCl7T+j6wURt82COIg5mdclhv
ThsDuxIWfD+lce2ec7glDwDJokvAnDNS5FuIn6B1TElGucliYmeNIxOwLpEGmn6wFRLgVYJukLNG
TYtHiwje2nmsH+UfTnvEEVcNI8ZG0ffT5WJj51cJwh5X5258uNnG1Q5Z9TKsJ6kfS4tMqKlzh5Or
whWb0dwlDHvVfGcBSTv4MMK764PGzct0JrHojh+cHrkpmy/6hZpPkpyzbiWRaCXNiacylZ0kf3Ut
pVhL0iFYJ1h9CZ8jak5DJDvhDHG7SH1ItjlhTkSKgYY2HL/pfmg7uIlnzjsjsFfVp5xeQdlmSEWE
VQfr1pH/pMzVaq1Wq8yyoQ0HzlLGnCMJYXZRbW2E5la5y0ImOgrMUrgWwkuL/opw5+dn011m8o/M
2beiZnLa0BlMwX8PpGwF3Uoz1pLC1T73w4KTEyOs1BCNPE+m7oDq3VATUrYgvyJSXOwdHWcVcryW
xVUBMCoIeid3BQR+bpZ/InWx5sNy90RWw993dizP+ekgrgn+rWEe36pqDpYqyMfUPQfwMvlFBIIt
+DDlH9dddM0lao8ExlT4P+J3bBxTBl9DjBZ0L8p37vO+3JDyOIJVTBlNjLRqcCC/JBLY5pbkkwn5
XX4m4Q3ata2c3HpGAGSN8DIAVLKL3CxFZWcoe65BXjt5+vDxZuh7Rd3o6T2pfILJwEzYiWuCdMXg
PNZnCbRXDf46iEwuSMeJ5242GG8dwVry/gN5oXPODHUZwQv4U02dU0uoA3GwukI06Vfa/E1/Ybog
fw2Qb7Vzs1fQXBqLzYsUlSAjUuboV45RkSUEFpR81X1Ehs4UEfiM8CoxsZggbAJpYV8dEpYelMHn
k8kuOuGAiaOVDgRA1m9jvLbWMoFv815Wu+O2L6KbEXOn3WMeg07dtcGlyE9GjVwiNo+heUnMm4CL
LP4alT1KYhPoj+Ga2Y9pl7m5/SIURWmcRF17DGbMOJyXpriG1v9iv9elFYVyDTF7yiYlbCzTkTmx
IPraZ9GcMuOx6vOVoK4EDJxcPVfBeTKuWdH0/pJaR628hy7RXP5SEKZYLjGzpfooAzMnLxmnMsst
fI+m/WnUxqhQHvJjQGosaF+V++i1L16YGviM6t9qZPPRpPktTVY+xI7uHxB4dPkG7yRcTXwU5GuO
TkV+I1efaCjajIEqXzWdC2n/Uxhztb3E8lWsWBC6C2GPIjxLxwN85gYN1FP6Z21zgEq85Ax0Mpx4
wfdvQopxZrX55F83DJ/mxawv9BoiKpOUvdwurcQJ3btVL2qdOJTw3CfosuBvtZNrvsNmE2MMJM+E
JkaUW9Xb5cTQXtPozKcBBJR3t5YcNECiPpmP1cZg4iFyuUbyucraPcYSd1NYj3x0Btgv+VqyaaUu
Fv/fUNrl+lzsj6bEoSI65ve0++kbQFWmiVjHPW1+pF660EtKcaplN9yD+uErzyy7NM2x6XcuaHtN
paNu3koG6wLtBbNzz2quAEun1Jca5MPhdW7cUw5yVVGNWspXSfnqyStziy8+W56wpL/I/XY6e4gP
bx33txymsOeGQJ9snDtv5XO+l8sGeTfJAEBU6zi6KP1GKhZR8zTh5AR0Ep0lzPzmd7rcPbm+Opi7
dUjGg6eeJHk/HFSOZ5JxBC7L5Omh5ln10JaLizd6IHa2IJqhwdWkfj4IFCtRaDpGBL8zKPVom5ly
40qkDgkxPdlISTtsRS87TD/cMmV2mtCx/Nyu6mGbJAQSFeNceKiCuJK46kGtLVqZl9eGmH+zrWhw
YGDFcFsil0n2LMJ85gsCLAsHahhL9nh+hlS7S3IybZ3tV2zVRe4C+fnDLORzrgVpGZakmfLhSwab
o0EjCVlagbgqKuMeWwXNk8raH4uN2g7z0ezsWiRb3D+ZHujiKLWr0YS1EmQXHq2gwbdfEk00F0Vx
QaHEIdKkj0bsvzWMGF0LeJqAglbfsnAPW4RVIGzZ3te/A+Ge1ZtiXBJ403O+IHF8pefOiDcuQbex
78Xd4D36cqtmf4Vy6d0vn/weuDXzOpSLUv0OcmD5/lB0Gz/YGNq7lv5SjZBIzQkBEt21gfDBlzfE
pMTVEksEB79YmBHWoIFRdFslWwHe5N1BID1cnBncr+cumjcRIboLzA0SE3R/lMyFxrhKJlGknIll
JYkvFhzC2MXQ9nq7oxWHeuZdWJDhx8yBqvNsRUfSjyrhV9K2Q7sdeZzL6OKf+3aRRU5b2qq/Hinj
EWkmQC4GRrJgJ0sATBg+lY2qszTP+tHpfYfSmrZd167t+06lLxrsewge8Y12q1qc5eKGwZF4QpQL
Jed1ghWsuRfZtTnlYAaE883QqQQh4wDdGXZl8mQo+7i99dFWFxe0lnvBTtMgNJJVSYZvuJMmaq86
E9inBueoIKs4n0AKPfyT/UdBHw/GVxoUisVFLq5asA+rewSgJOjsr8GaPALSgwygaCt9ZPw5f9So
5si5To4EF1w8FBjaVve+B559H/41BY53pQWHsMmAimjCOLGoJu3M1+dNssTmQcqDFe5F8m9pGYjn
MBNI7xKADXMpTic7cyWjCLK4r+QW+N67+AbM5HhUhl8Z7Z6SISvyP3rx2wRWGzgQQwkQ7kYcFMea
37RbKOEU0++ajlT9+yxUR+yXSu2okYFRSx4Qd4zrNj1y3UXFjgxHA7oAI6+BcuEdDXpBMvbUPt2k
6KzZp/2M4yiLfFzmNDI4RC3l6k/g7uj3aeqT2dN9zOt/KZRvtXg9YgzfxVbL9sCduIx0kzGzQ1ZE
FKJ0IL+TGoHAPJQ+cpoEeWDNCYzFRykAGggzmLveAjnhkNg872NHYtaOGAmzPrUIhXHPExeNUf4a
8ffDQg2giLR6rnyrHggGQRgE0/Ygs+Szv7k5/YGjTUFuIifwriHg6tqq4E46hqiVnr6b7ujO4OyM
cFFpF9l6yP2sYC4BBhYXDeZAPg55rn5GIlm9XGyb1Tmeocy48Dbr4UzkMukXbLztz3iR/70tMZJn
0jvXbMNYc/KPWyeIv0vlWsIe+DLqFH0e5WjQmkUc5fYUpdw++/6vaDep58TSwe8XRQhKn73Re6Rk
SkQFPMrHJRvWPEKjdVXbL0BZQ7pxBXrj2quYtCFOxPAud9S203mxHSUeIsQP9zx66Xbmb0nQiKKV
tuAMSYxFFhDAb8fuPoiJI1zm8M/1KbN2fG6y9CyovcoOsB9oIOlIVRMq86aUb+Et5OsgOgjFufAg
oNCrxRrIMEevABo1xwTJkYVM/0jfufg8SfQlvte1R2x82cpS9128U9RraJCOuuQZyBSnsVi37J6E
a31hygDhMz21W2RoJwXxCFhbewKZhH2mTxUcX3IC5d62CBcscvh/vHbV5Iibuo1i3rvqmTJ9BOkp
MDZd/M66eW6sFYAcAu3areevTSq3vKVROrWyt1hf+28fFZPrtOZzjLY5rciLMITL5JznfpesEC0C
YNDsqjnWpaM2LK4zTl9BdKvVVd3s1HbZ9esu3ViEGMmrEEFjtg41O4hssd1Wwc8UNe1Cj9fWU4fB
HpudlK/j2mFB45RZ7Fh15NTmMfJaQhWXDanglLSSqlRssMqSvgjPqmIN2/Ht2KrV/cgWLu40a2WS
nEHxLQFXSTwl5sOJ5vIEgzAYlzdTd2SCmTAUGD8ljLgvcnfEiPnHs6He/OJZUFEu5vQ3r8nCkpvT
KGN4+2yQ46ZLMVuX1q0UTk24l/KNAXqG/6p6DclxSB5u+0ehRWY9M/Mi5/Mx3MWhIwnLlohKgt1q
8dZrbwLS5dzuMeLeTVNeK9RuQeqD5YjXBDiO0xt2CibTzz7di9BG/Uup1oOdWIgBIckLBDhnEuHp
oGRkJrQM3lsn82rZj78ywp7QWnUhosn2RM7aaO1FxMLFMcRQn5xdiqdlaLLqpGf3lMxYXmNwyDN0
PDqXUL4BRJiIENyVBksJ5O0fgbO5w0LxPGVScwFT+p1Fgl2/YZjL7KmVF/rHQEQ0bxdIe4EcQiLI
zJwFe0Fgk6/6dCD8ETmHxLXE8Ds4cWv30WabM+JTJEZ6v1eCW6zk6Iy9S21OfDvBXAZksZINWX3y
kDQ3L9gqZMnXkP9UF0rACH/Kd8wd2bQR7+CD+D9R3ops+tsoPatoQTDiqXaV3zwaC/3qYTZfEsvH
otB2QroM3Sdr7CgdwmKdm6h1N8OkBqnuYXMUul2trTya3QnpI7GwIwb3JgNHmjySzX7QicK9KxiK
yAOhFoMDlB+doWqTIPyUaG+OCYwpXQdKECjnN462SnmuSLiwlhh/kdFjqfUcd+0qa27C3lzW444K
GT3b+T0KZ7TGzGCAi9+hYGcVwOtZNdmeQItWnCdr4jbHZXpgXg2fA75J5apqu0bnsfQ2DBSc8v90
cakCRPlHt93kPiLBfKZReAu2bUnzRrsnkUN/FvJsjqspD426gp2gsACofrB2Aqk9WiTw8f2ZhWOZ
YAx5bw9yM/d7HQMiNLp7FxMwwxE4n26N757cIJjqCd2DxOY5GfeS8ZbX8YjaTb6Mpo1Eo49fsrRM
n5Q24/SWHRQYCOmLNXhXDRu6sHgNw1xULr6AJovNsrauKfeOC/OwGzUypxmXZ4OO7XzTkQ42ba1d
+mcg+GNhb4pvtz6N5TbRVFj9BmwBQZyKYYxXOYLpJ0k0q+PrqyUFcAqTf4j1htAeWgckmQLyV+Ud
2TlCo/uUUeha96p0xnQTAswYwyMYNgIqgBb3mnXsqruKSDqjkqqc+p+fkTtPwqWAUCPjVtMTWlO6
c8OYQD7dGG3QXiqzdrj7AoGbP5a5gkjS9FNX/Iglqyj3kzNpQQE77kD+ZeUUMsjiUoQU59QBFveb
YCsWBpilnY7BoJkmMT7iOERcI4Gco8ryW+p5aDmCX2VzBh0nN60JzqI198FjFXcF7jy0r0LeuqMd
NN+ZdwwIqA2VHzX/FgCYAX5Jw86tq4kQUKT6SUhoEzo3JeysnRPJBdgXANFl8AKRtO3JYpR1zm4B
M6jBGlSjg+ip9WCqasd7L1GeraG3yuwOhYjK/wpxK7jrLHOybNcadpA6FLe7eGhCgpgfFoHwSAlU
ID9tQYu51rMMuU5YcmJFnEkuWtRfENMDuurFXxY8OnhKE7FjT46d9dBKUuafVPC0yaf+Byu1IFTZ
C9xFHg6fxbgmJ8vI9hgOBX9em9/w7h+hdoIfNEiI6vKOhgiIqw4cEpV5lPwAlpLa+lQMGkS3g3AY
UsjYCqIF8IY2oJzyr55aN4UnDh2Sm+/GfCWRkJ1PWjlwOJ5GVX51ygLnumVchvAdwfeKnGi3vXIl
w93sj96w7RQbWNQNdjUTsTRMKmBExEzIQ9nTfgA29lCyB2nD5HRi4ktmOSu/JZh42ElSIHkgIAJ1
lw2Mv6xtm168l+JdN3r8UHvPcuTsXWePkhmxJ3I8kcNj54pOkfLGFyks2IDXsUxts3p3dATTxYAo
tKY355WVh4wypE731gqZjZ51MIV7Xm0Dn1HV0D5z7hafdcCEzmXtUXaieuAUICKL83GD+AaI9ohI
Ci9HmzGm4Gd2aQKy0P/F+d4d0XZ50kLVFOLny8+8vnhSN5+AHMJ5qWGHg0DvMRSvxIU2839TrleB
Zl5otn0kAYuTvZLEWPOwDHskBhFIX+gbkt1nUssylM0TuAnIfvgsPM5VtZRcZdFSumR1WOjgIV3S
8FIJ8QSanID92OCnmDNpRF72l0+lE9m10zct7FjsYonL288c8ieRFiPm+E4jszvoZo3lHjo8txqi
Oq3xOZRMCsXG/TYg03yw+8L7Ami0ULLVHirMGq6CrFSjJH9YhJLSyiU+OflZA4KXLbtmvhV14IL+
kVh/fScthLzZtOKAtjXInKaWN6nVLSIonIy8sizvtoOBX6QWL/VPD9ManKaCnD+U78a3/seOCN10
YkLwf/BjsyNN5TO3eiVSeUHAIlxdwaGNvD50dHxsT/2reY1wvjo8sRwSgdQFi9Tz9wEPGeI+9ocz
miHgTzwiMv5criwJidh7uHhwrjZ2RHTePU3x2gzxE+ppCE8+UonIKhyOWGxexh1p+3bYGXdQ9+gl
/5KDACer8NqW3cm4o/Q+qrf4hzA3XhI7JQo+aCDeESo20pwR/7EJ8/JZWXhjiMR4l3wx74XGtk19
kCdeBjppidMc7vrEW+5xio9zkgEJIPiBwKxeHOka+PNhUkYj8kMN7iGxQpy+5FSAgbmaKuwEFu8I
ooHePWiXSTgN3dgjbjrkP6XM/TmF9lVc7/GTZZ8NEx5IZMsiwIO9H4oCcAmOlzkGMp9EtwZrPxju
p/+NMEMlCouDizgbekxoKvvXLzm//AAuJxgiZiv8BbjxpDevz/+B9Ebm0MUznoaOFkFUaFzzJQKg
xGUp+vS7z4oUW+we/TxBG0HxhsQo/cGZ0//3NQZbCyIq9JkH2tcAu1q8sncV+Sz2JfRik3f1w/gZ
n+3TvKKF+g4GWOVJpaUSwYjeeiAIdiokIklDTuZoofiPmM6YqeHIGF0o28DJzUfFIJoQwkkkl8lJ
eEazIToJau6Ypsnd44shGWEtDTSXe86U0pvr3L7HSWYPMoM9hA8H+EHcom94lndmSBRyfA2ogyPc
8QOQh3oFjCzP3Eu4J53wGeBUOA//PkokC/8CBur9P88A7DOmOW5cf6JJlXvzi9g0eyEUmHrJbcSe
II/8DcR79stLan7hbcUrazfbg0etPJcwhdHmP0y2FvXDeItXHFnc2pBwGETQjOLv+NfazpsiUw8D
mXXCY43SlHtBIgZkcglNdqEpAxCOgyeLo/EMxSC+Os9kc57hSuDh+mebCF4uooOK5fWf7eguvatr
fvaO5BOzr0D9v+GdjRN+o0ydDU801eqT0qwrW7KxRLaJ2QWOEoEK5wzxz4S2RDWOZQaL0xcgAB8a
DYZUVUnL8T7e/XN8zs+86nf0i3QQKJ+rcS15BzTq7umc31fb4ppMCgVq7sjEhfrcN+w/5wzzHlFH
S7L6rj7iAR734FjgeDef5qG9Ezt0l5bDlRims8d4hxf+Lt0JYeCw9o73XLJX9OKT+RV/aTmdQ5fc
8RqdoC14EKOrdXIPJYKG5pkvJ6PupJ9UEBWU+/wwBSuQaUMMpeWU53w/3gNseUhA+OTKc4JNvjo1
J8sZfuMzmuGzdGEekX/rM9w67iTMPwPm5mtN3lj3Oz1qbzwTxdUiIQSPVT/FLYDpAoTw8JsCjw9k
D0rjBc8/NyInL66eG874Bf2PuQdvPV/Gv81+sWr9M1ug70nPGa8W/+O/BZDJH5MV35OfV0aEZnKj
cR2oCp4MG7xlxKzqJAPmhuRK8oX8QhnNv+PS8xs2EJZSdAkGKAerMbbe9DOEWGca7Sa3IdERDcFl
FLcZk48PHSsaT14sD46/R8yVbPHEb1EhIXi+MrVug1/c5JDQPDvpszgR6fRjPVjB6stk0fIZ/u48
KizT3OxrxOsTaa1tmhc32uTMwdv1O+x4BiGnyTUmKT8mCBzXGCp+J70jQTuh+D7Ud/GpPs1n8ssE
+eYWNi/uTwwEM0l56zcLHPOAdoIo4+RPK8ibGxrtOrZl75c/Y/p8m8/gWjN5kCYLOv/hvXApYLjx
tvV7vLMuwyBUv1O8h/SeDEMd725AsdRyY3Pb3JNjvB/f7E1cgNaRuOnDc7wffst99TvdVtUvl79/
8zj23KHZL6Li3+J3xNwucWPF5+yY8n0aO99Hx0ljQWjjXtgROnHirMLnx+2CopErzW+IrDxjSjqz
prDwEB7S/NOWYycr9+5N3PqPSTfPxldd+VgDNkNWL3w6WFw1p+VHWeSXDBi78gNXFMcxtxxXOucF
S2/3ML6Ndw6TF6YkgnIT94GPgDBYV018UqWn34rrQMhPJQiellKYZso7K18LOQkkFBMrcvpqNKwm
maw6cteufWq0O47ycs8D5/lLi0TZiXqIgbhj1VgJPUUP73w0L0qWvgwv/k0HguZ9y/xoKzSRcBlh
J96Vtt8VpUxDdbWugUYHRHDUuXcmrZh5vlK69JT2Tjkg7+bMXekhUGq6TKp8xQm4Dgo78ca1SfVA
q0rbggLytCjmYkOQMItvzEbY8w2LjtAD2Skk9V5lCepzy90W2qumUZ5DKUBMv9aHfJO63j7hpGw1
Lh3N4me+sRKSMVLzPUbFWW+076BJCWGYWU1B8e2wqTk3Z4ZixzRoSqV1ampwkjFuULvuM6/d61JA
PQTp7GbG6JrjHCFChQqkwRJWSUISBSyJhUpCTqJlSikZDVJ2QIOikZiEuvonuRdseis9qT4RjDWX
8RdHyIgzGopiYtkE/RvwehWVOtXf1llncJArYeNRESdqyUUd8m3YhzuBUUiP7nGO2AhsIWuugkSG
LktLv/HoHS2CfXcfM9hC0nwUd57R052sUeTm1kbhn2flVqhhgQRlUZCaW3BHKBllBDuP4NzX6J9D
aTLphVCKGtgLxzC9JXQpJPx3iEgkgEkeklUSrOrgynlI7V9euks6BHsUrxH0Xazi8YBC0xu8tUyV
Q4XT1qdvuYZ9zVk9x0b8EEuI7/hLSb8CdVXKDgIvNn9vocQ7q1sP5q7CjTFVK51kYNpKRgo1c/VH
3J8VA9da8wjiu1r+tMpGrL86Fr1S35iWM3UaIIrtjUVhvNz44eJzzeaRaSD7PAzsNOk21VNYnhVt
7WWNe6GrYH62FdxwBgOX41nt2SaRA0fydQS3La+N51jJWRKoxMq2dXsSqpvCoTLBa6NwCM2zpYIT
tGKSFPpLNnWQHZvgqSEuE9RZJV4D1fjosC7F/VwkxRjWXxs9e6RAS0BnTkQAs/86pahK8nFZkVfm
QaBLzT7LMLAV/awupY+S0hENDpk+9fqghW8aozNFpJIBsumSNyEKDiKZyxk53IrF+RXd0kDfRyzy
IZBKQL6yK0wg4btj0knBbqwc2rPe1e7JrReFy4s+EHaWKIvYd8xmk/ANiobkQG/nmQ9dfwwMmJr8
m6FmVC6C8qNN7vKvKIyXOltWPhnHccVnz0J6ldpG7t4ZR+5GxFpY7KWB7SL/S9tHgFi23ghaMguN
t1JDbe464ZAiJe+x+WdHtf4ZYs5SxlPXn11GbYr3Z8bZrFbuQihjqfWw6H4okWZL1tfIyV8T2Ybo
szIAbLB31zWRe81clwivZ+eA/KV/uas4LXCpU/rGclvXt263CbT1qOLABvCv2kPXLAplnxCrIUHN
dxSFYxzyT6F/ovW1zkzwvHsU/1mTjhc2uxgU+mK9S+zCcfiEoKjuglCqYUqx7tVZrwAxkV8hrLtk
WQxbWVq16p/Sn11mQwwPkbgdB6KuAvOjisKVTxxQZyzFfpOhEJBdB2F7VLkrmZCwQLRVBryGZCuP
9HwoPuLYQv3tuvM0Q638qXGm5uTRsdQMCyL4zXEpjkhUDhlB7/1d/RO0HxAXdRoijnJwNAF1/WIe
+hvWiZzD7CPAy0UGOT3ZFL6YK5IicFJxjOEoxckK4THaUC4i7E1A2kF5DYnNolzN2xjmeuj3IItA
c8I8lnduv0Za4qWMu/U9XdR7PhTEP60KlUcD39byT+R0NeE9Kh1TFtk1OHUOPFGkalEi1m1mUbBX
u40QzFXiCNGjotoOOHuKMUnG8cTN5Yuu27jqQ+odILpUeCn7rrmZ6VoRbGSatnEArVAJfmdEAsH8
wItJpRhUHLCstxBNZmB/ClAUuys+EWZh/lB8s0Wg83qogzxzIuusUdI7XeNegHy7Cx3DFVsMsiSD
PnNgc+VvKHYtbc/RyYSrHs/1uGjjF5fNTW3iPBwZkgF/ZbezzJ9R/4nL4+hhLk1emkAeauy9lU0J
cqrbnESMjKyJk08LlvgARY476JYV4DSDOW6eBU0SE02VjIgX0T6nAs/e0nspeDX4sTNOBmZIpcpl
dUmal04gaHHKuHlVJo041GY1ArlsVXOWQyPRgqJwJEcLnX3KyEvLV2ldeHzuYMGsJZV2L4Rbq+35
CUl/XOE5ytSDjL4p2ZJaEpOI2r3I8qLZXCRJLmwhopSzEqPY92JpmeX1UocYrXLwBQF3f2deBbVZ
xlm6sjokaImEV464op0kriWmbGXZDsY2F5hpzX2Gl7lTYRpJ6lTsyJ+TqlSU+MdLYx/I6dXIkrs4
rAWDcA612Wkm6tTG51iI6ZFNx0L9fPDjP5VzL4x5w3K6Degdl3FCRZ1yzpSHhuSNwYXO7gPZNnUd
rWtOuRZlWcL4NKmwELaTupDlxSvLVUIYjM95XosuI+iFLgJhMQRLnl39IcPV6pUh0X7Cgd6zBuIS
Rno0lI+VEmvIwlY5WreWEA1XmHZoKr4pRi34+wFlHgsvR/23ljxiamqjbUIoOpSM2So2kZTbDj6U
mVozOmolVD4LYRblzUKDlLbS4ejBbEhcEjyhPnlG6IXQ0iYGTwy5MDWVRsYlwAaYHRCGEqjo0Ftm
t1xy+i9VHnDTJPQDzURolvPRe5vZYA9hZtdqtJ40Mkiq3JBTDFEfTWCslDEhigpznVjYnpvZljhs
slp2DLPeCe14S+LqECJ9FmRExlm4LJSKJC3xGIT+1gijh9uMv5OJ3og3AZVuTaiyt1eX2krBrkDI
8nQ1fVthSNeCyR4cEUWAoT+HA5/edxuNYI7igYbXcw5uIhrFsuqDvRRWEN5ASiAYuZLbcmugj+bk
xpOa0klAXSlyWRXmiM4dmRYGSwa0ke6l9VNA/mpoBlybUTRmuY3AJ2VOoSMJOElx1VHN6biyO+PG
sPUxTAkPmMqz5tifTOqFurVX73MyI2sc79tEOOvBb+9MiahDjP4SJMCFd2510Av1V2drGHAI0zKb
lk8IWvraBnWN8J7YtRrtWs/tE6Yr3YKYIQ+tctR60Qv70n8Z7U7uCEbrLqEBiuStAtWx6qPHYs1/
ZtKqlLU2OKFva7WGCkF2BjQtprFzC6fztk2LgHbRAp3l9wbT4PRXl0DdWuavYdzigMtKQWeCwNOR
OocaJY5qSWiLzUo2+o8GaGMUkT5iRSun+dc8Umb1GQGkDckuNQExJHyhISFG4EFVq2Fo+xHlBbQ7
QOxeRTwynCLrpgvL2IXEZb++RGjZQVcjtLKi/xe4G6M+mt4FMmrUIJ5XBu2dk/L0qHsXkdZEwlCy
KF+n0imXuE2R25vHQDu4yrmGOW+CXeP+DSbeusiucLBEsyRdazEZn3MKlAKow1FcwAegZWi2Oify
aB5g90+mFFJ7Yu4iRyCv1Fr32hLcfeT3Ig/G2sveo0Zmz6bFh8IqTT0wEW+LXJl7RLl1izik8Nqi
gVEpPyMFA/9Y2gPlze1C015omTPsa51LMqHB4aQl8gtbTEqK7Sby1qqwGmH/kVGnJQaVEDGq6yAk
DlG2Q8Bn3VryIUjpT+8OoQ/Pva99ax4WGXf0NrZsGT5lkk25XkNnlsgV6WnK+RLgw3oFAG2Cn4aE
g/c6KG6Ri/6HKWB4EXEt7NNJmzYTox2qaLOnDm7eoT+qDXageCWH3kWBuBw8mgrMfm4BcXn19CGQ
IqPaRfWa4km1LS/yP5LOqzl1JQjCv0hVyuGVnMFEw4sKjC2Uc/z199tz67h8HDFIu7MzPd09Wbj9
0PuHD6uBudbWRoKlJ6WL0pkS8pkah1xLznad9QOVyWgPBl1Lic4zMGBMxowOydZWMhB1g39SM2ck
RujdguEdRj9txGBTn0IWx5eGo2HS0oAP6otJzSMgTnp2RQ9FLlopwTKXHASk+hTZH/o9ZYJVsPSL
/14bQ2FYDPC49YNS7eBHIwPSPwsK0VieFvketmrT/fUdfGD1mzjbWpswWMOMqIM5yEHYMqx15hmj
DtYxIqXQHgWZGD3nT3zGAjMkD3tSLiSp9BhxjBtdP8OpMK+0uTl5exRiJfN8AVgueQ41bGzkN4sN
3iAd2joGfV5rrxmLsN3X7oYzBLHooC9UGSQKWyF9K6MP0b1LnC/9lPYAxJ5BvrTyNfQP0L5le+5V
3SzsZ17FM2k3NJRDklilbxdKgX2obe8HEOezlDD3eK3mzwHJRUZVq5HlqusB6lBuAD50vyXQlOtG
m6Ckm+5dQSQa6Ilana+cWj93cL90fSeIy3a5HlLlqbdQIzVT3/FQVDCfo24xK7lgD+c7qwvXAYda
4jBi6ePN9eRQotlxKbddHYYbgTYvDiZGxZYRETpyps0x8ldyF57X7rLi2wtXXbmyK3sSgWY0eU3e
TAXWauOP+YLTp6Kg0HqSdOC05unEx64m/5zq1tnx/pyEIdfUS4V0LVOAZZlpyrcU44XCs0aZjgkJ
pNdYkCXuSYcR7q1D+SXNXJbwR/4LkwLcDi8KGZ+VgGv3qba9rq/rT/TUC+0cQn4U7qDtUT1o8TDX
bPsvMCgzbYuN3bx6C5NvJjAEh1BqNsSNrAKxkwV+m0yy6DiKirWGGMH1J3WHdavCnOWgmLiZNS6V
9Ekn13FJQr4Zu/aXnOnzY19EOOCN4wErH6Q6Gl5GOgbcFSOAAOMgmDF1E0UgumyOrmu+Cw4oQrgC
BnZH5VXHSd/d2l82drfplBbfTTnIO3XbzwmFK+cULeMd1rSovqwF2Pqe9bVl1OvMW3gL3IPQlDPz
zN3XV+mH2UYd+PXEmOGpySAuG8Og7NxfgQF42Sj6yudAK8WeMN8Pgja/C/mDYoTiAdF14TArFE4v
adTY+MYbl9YAUhra2tKJ8WtNiaYXM6uJpkyYW4ifE85HaMl5Y8MxIQlcmvyLB4Izqz5FhwgV4oXG
J8AndRTIKIBbGE7hg+S/mCYgohO2SP+AN1Z39TIPpDHCe5PK5RGT577+dQnqr+IQHmkX0UnifXZ2
gY9MrqR9rQ6ZNkoy8UYU6nfRm9fEC6IU+rx5GrxqtLDiM64A9QDD5fCFoSUCpg7j7J/4KYA1RJp9
5YxmJF/jUMiPQmScWBwd4dB5f3yEesh+mA9ETyj4vmvYj8xkwwqS3PeHP1O8CQPduznwJMgasrfP
pJojLCcunzj6bWhw4zCe5JboqWAnzjWlIWT24rlywem7SD89xCYwAEQWyDcGOsOTrZdMKGA9rMV0
hoCOGPemD2P6VADFhJ9fhIRQwZQj78j5sF3J8TNFrPZ2nhXHCjSUljmPmGxqx+zmYjBUMYAXn4sx
ekhg6EIWgDX+h9yZmCHhgAkmY6sngOE6w9IgE6JSaMdg1lghiN4hsCddFChv+BLAIZEmEsiEzW0i
LNPkApI99cCjzR4u9GI4K5thCX6/zA7ZoTgzAXBDj+/fjdT/LDZQ+dSwtmITYCBRYoWVHvVrv6u/
7Ke/NvlIPIq8FWa+/oI5W/+2gMI4QZ2ZC2JkWn9tn/I1O3zu6pXOIO1TvNHhdNx5AQD90Sn+9R4c
EXws6lv+g2SO/EnYZNGFeTW0OlhtQNLiW1iGuGP8O+iiALwD0QNkI4yW8W4Fl6C1RtOSWW8Dvo7C
UYd9g7jsrY7RjN3rHXyYc81Z+Wf/qVfxwdXlHw3B5qT+Oi9wYAllaSiKct5AgaFpinYVqdCHKRUM
TIHYgj84BUY1ItEwqaEBkHHBCO7duT72uxxVL4TcX9So4hT8lbcs/ZhAxUnBhWvO2Rv5WfSGH/d/
W5VuMRJF58el2yPMyuh4qmycv/jZ/4nBV1h7w2TzRxLsDDHhkshFhW1TYdMIFT9INNNxHhNRohGt
Wt6nx/46YPuZY+9h/5FQFGfzD2zT+U75fNigC6VtDceWcEALi1/lPY/KdjGAxrDfoW5i3/wLJZKH
BB+3SNRjsC9wOaZZJ+ZvYc+Q+TNcgoSjaUsvFl/TaRvMmakreg7kUfiINMLWjt6I/4t51zF69Xdl
F93cjT8vbuFlRF3yZdwMWl5IURfxsdkAk/g7RfhHaN88KTYevWlMZew/ch32W/IuzkSV6oxHS3ao
ztEbOmh25vr9eem8iMfRm0VGvqOkomdMBBej8gh8XCVxC5AuUHPTdW5EP1K0igJpTHtBu/1rC8Z0
O7AhYZPKGMWclSPjWvD50UYmXTOWJAuTfSQ66vQ3EAT9W3Deb3hhDZI60jjErQlciUuiCVOv/N/u
hqdOd/IoPfmUk7imKy5svZlE22bC3jYFELnTSjLf9Z0fIoS85YNKzopSg56aOR3S6Yd7QKMTvFUe
qQYk9WkP2OhMaELhIYmEzcqmNG/oatIuY24Wns+CwCjkiBU+pHiewAi9iXcv+EiPEid3IgUeOEcP
L1j7jHHCjb2EjI5XS7PI+3Xf9jtb4DPERirvvDPfmvA8YWQWvWKG1z2lZwnhIhjzM8DeWAjz8nny
9+zGsqAVS9uJTiPPgyfxv6OU+0bCBvDG86ER19H9od3XvDhXhJk2G5zj5e4eqpe0614EhRS/OlRq
txA/UyGTJn6lD+l/aztC2Kk5FSc6URfjhVvSi60473/hk33F2B4CqUCAKA4V8/gIUkj6Y9GQvoEf
E660BVDVr899jLG48b6SvbJABs9oonIenbi7e/4yJ+JWtKWYpPoFF55pg1S2/xy/RS+RIEXHHIc3
698HBKzff71JD6+mgL7u5+SvaNZexB/xHv4XM0vWGlZA/poJdwfMKA5Mg1swxmaCxcSa6YHMWRKO
jc7MmkE03sj4+3vrjO91xNHwCBN6J/0wgoCwJo4uTjHK8T8IWwKG5qzkM052AGQEfhREnEkMOnki
vI0OKcmJtil3Ne+jO1L/Tc5X8h3Ko7P03V/7Z/KO3tX5c094L+PkSNhon2K8wD+nyPZqfYsJBU/C
TYRY9yc513xJpE7l7nMPDu1V+uYUNK8weYThL3VwiGpmUv9T2JPhmsqsK9d9t4I4nVZ7Lzi4/sEI
vz7SWg7WiYT6+h5fEkjd9d5utnF6jD8rw5/hZB9kC0ys2Lq2OUbia9GZV9DK4fstuqWsiYGT70HT
ufxSf2n7xQ/tVv6yt7mB3Y04FP6y7Jxj8ar4J5rfD5Ydt4UlytBn8QsQDYxXTDDS1nwO3rcUU/eA
6Q7+Fl8PYbJW3ApsB62pu/m8koV+gla2SRZMpNxoR/dsYUrYLETHsrox3m6Lx+gFk8Ib3d9Ls4gv
LkPyun9W9u7B2dFs/WXfwcdky8F1g6HACQjrlWAjia3KjkgvRBuID8pLecUcKYjYS9FI5/mJb7A5
OtHg5DuCuiB2AP9gvFzMX/UivTjQbhkWu/WFnQ73gN/RaCjTw0VGLx6Gbqf/0NbpFyvuBqX60u/M
sRgF3O7Ma30sDg2rQSyeN0dH8pafxZsmagu16alykLVH7rR9je4YLTHuD2CSjcJlpNGjvWBq1L88
Nfgd2OTTGT/YBxrSOGe0o+RFSOWl6+ierREtat6QAvNN858mGEoHAQUjOt6Ipd4WE4Zs1LDPIBxx
rUhhhFu+fEBXhMnW2iCCVbfiplncYh43exG+eKtePDA+E7RryKG4vgQdyD4kTXSRCTz4WpGE3MUe
PhJ5CiJPBXyIqJZ780sP3dzgFMeV/tYe/Nd94VRgXXBBlE/aw3jYpxiHd3MvJtnhGcE/NDHb9qCf
2wNytjMeK0fRpFcP3gX9K0+SWXNbqP23kPf2EoRyjlKNhrkIQJ89o6e2Pk7OgpnV7KEAHPMVBcTJ
eaUP7SVIHdGJmR8rlI6rlpkKhKKSW8s64A2YmZUMdQPnatggi4ajMd/V1+DMScp+NX6YPUsezO4l
LFBONPjO/VHhvGfc2WuH0ZlPLsplP/reiDFNd/sveae4n0FZ4JHIoqDLrdrn5y4ywAhmscLMLuXc
PoIfWkUt1nqXz4/8m3+h3yGj9HEm99b50f0jhFjflMz//jLnsfPjH0MSlBQxBVPAO3zF8KVg/bYX
5wURU4XcRl8OWoHxYmImC4O1Cod0Twj9x8sgu/B/2SgcD8RZSAd845Fvyy0/xQUSK09jFh6sGuKp
QNfhoTPCCltYPKFG0g5zvO3wii+CReCtBnEmIvgVHbWzelS3w6n/0nBT0/bVN3UEjjPBMqB0/Na/
rJP3bL6tPcqyKy+LBiFTcOtr+rR+yJB/lG/7i6xoQDn48K7Ft3Bt007yl3Hyr/DTP8tgU68+m/7o
bDBrP6hbaf3ZZD/eVfxY/2WdpbO5K2/VttimswgYb5Tf1F25Ygrr2sCCCgD0t9o2YFzcc45Nsnz2
QsVBME5fIBLuBWIaHZXKwf2eST0jaiaOBXhzlGKUldSXAwOtmQtIWuyLEpAjJCDsi/bbs9k3e/SD
3/8MjI1FzRIj0AJ+0Uwhn90TdkDZIe5w3UnqOADzS34hyMLcCbkfk04Y2YgI1txI6Skj4WzBn4aa
AeFDuyV7AnT0U1ORRwfszq7iCPuXpwmXYfur/Mv/ZGMk6mv6mVihfdNe/Cy1k0tMe5hbKLPUdzDs
PeAeJtX+oKrjNcKSElIFcmRNlG9YEzHql1IOfDUn0kHI/lFXPcl1NMbjCIoWFmoQ9jBKg4fLZCT5
UWbMDhpn/94Yj5tjVYQlJYUy9fGDP04nMOcLGJRhvobvKQJ6cmNv+v/seffBY5IRO96UNwzX8Noh
NSeTh6OXP5nLi+kDPmj4Kz/JuFWRr2OzAcEYhQ35PAQ+HVxc6ChFgaty4jvr4Ls7yaQpFCQUJxRy
7W99IZhyK6hAcOWFOUkdQsuZfhRv5CQcdRBhYFThrcgsnAHGfzaBYUJ6K1SR7JVsRrFIDkuKyC3k
PTeIeop7xuHoknWJ/fOgFGQ6JNZ+V/VabeprtiyvFks7vRJGgrP7hQP0N6fCv6XDWsrOjOM5e8fy
+jnET+WbsVBcekKNf5QxSrTIL/Q/hp+DtkDfpqKnzuCK8cbP/F/MUO9jAcLrx6sErju3CR49RX6h
AfGPWcoAaThqCluTzIHgBYN4zM1nU+a9uEvcjpRan4T/b+JTV/WgCtFBfirn5C7MxEQ3A+E2TKuG
URQqavQXlCuAKhFtEHLBEmOJQSOH66FAQuQQ7d54THVvSsSM3wZTfVdv92o+YSsOAFw/Ojw39ffz
0530X/eK2vqonImekLw3CbObJAot6uhNumMG9Sog+6qf5bO+NhvnRwz9zgCL8FZ5GUdE5Gdv29/V
A1Sri7/1Lg5JA4GuWceXdBucuHNM+zwQuUKm5sA7WXJoMBTH//UvJrxNcbjwEBdRT0m76gYf5u7h
NO2e3XN2o3FBZiK+H72ym3kQX/039IDuz1pmEKZ9RmqG3Cy79ff+Lh84cIXDEQcwP8E0SvVNtTIc
9QlfpUoQJswcaXf3LU5d84CT7J1UnQHEztE+iDpC5yGFel8+8HDU89IuOLVbIAYBEKzFsRGuh7PO
6grezFPDQfO7fcKNTt4GsAOn9x1SKpQPWTBEBTELT5JOVN+U4cGEd7D0WN/0BBK84Wja4QbOtC3Y
ciSDAM2ilIOzBaOSjO5WnNRLcbd/TUCIeldQfWeY/jNpAgMjcUoW7+QQUM3AbQYNwBVlQOmTH7O3
zuppHwIpMUgSoYX5j+AUnODJnqPb51WtvI261/foB6InetXkWV3DM5pbGOfRs0Y6N+JbFdpAjt0C
N1hAeGMM9XKn3Nhm4rDTf2kHQbPVO+F5WnOO0klBhwWtlhcuaLa0C2qxGD8/LLvq3ZwN6nN/JF+T
N9Y8Oxjm7+xuXwX5MuXcZ0FzGXjZyT5e5XjgwHdjQ+FU+i/8ACyII4qNRxVPHLMfhE7OKhRD7DiO
J7rhAAsEQ/bVHz82fIMPE1Ijqg1cnjlIwCmisRnjmzgCpstE+xyP/Wl91b7j5wfeuCO2MEcgMZA3
djfJBpEveNsEDUpwMKYGjQhat5E+RoU9VOs8mxWO8NIBSUTyVhDbXHCOMVkbBwqkJj5Q9QkgV5fP
h5zGygQNwYe6oJlixjIojLMQAxpwLduSNJfAOJ8fSgXeqAS4eSIl/efvbrwAOikI8BTlc13Ub5xj
LKfmRXaGqziLnkgIrfYVXjqyQZJC8DeT9U9S+OYz/wuDBVxZuaEiGBU/w6nbyzvtTG+yuvfH/qge
9Z10/vziwgBNkVIF8OdWBSMNrvXagKv8Vu7KnQ8akhiMrc4qVeO//EN660f4X+qRH8W4lUeUHzrc
KTACMhOwAMp+rgQxpsWqaxy/oJfnFEI84QDMG/LKOBdk9hG6RYd0hhKClcMpDM2erH3AyWShUcQw
x4C/wgMbI049DjaJBp2/CPBCZSyeBvg5IpUocTBtR2gwfeyKxjUm7aivkA9S+7LGf0gyDMIwyg8w
sB7bA0FgZy0Jh1IUXbR5IK2j4mbktYIMb6LjekgYB5cWU68YPtJySH7G/5ZZaAMfiZOQtUJ6yInN
Wjqof5+D/Af9Rv7DowquO4tPRTf1ZEoBgHD8J395f/pWOWXf7iX9U+d0eA/aUj8KXN7ZGGfvlnyr
W3VuboPNZ5lO7V2/kG/Bl7yW1+GpX/dr6eDv5Zt0EP+ybfKbbKUlgwsX7s7eubvgQr5FCmbc85tz
JjsMb/7LvCgn+WEA7H1l3+a2I7VwvxgDyDZDIzvPn9VGTAEYvr0nxp+9uF7eX94v0REMbxtvGAw2
kAYgdAfsdCasACEFSF/prV6H/1YLrXdWQXc33hW6J85oJB3VZGCaHJMouNEEudcH1BGLE+olmLsn
SRtF8/LGvVWYhoSnB+s1YX14YC73mjVGsfQiY/R+YFgpv3zkwrxmnGY1Nm9IQu1b96v8NoSbR07r
9Ohcob+t7RtUn4KeCx5inJKv6pfPa/jSqwFh0Ch7uC+URvRbo4f+ijFiI4v496YyNQEgrMJjbETS
mr7sY/qKb9KG9HYmH+O195If1sZZpItipm8huizVLZyDNRZVG22ZLqxNOlWWdJSdxcAdzdefbXmL
5sb9c7GW5VrlIXogs0VDkYdaYZG+Sv6G2AdAkUf36J2C3+y3X8T79DRc7Bu9yUe1Db4qDtIDT61g
bOgreES/DqryUYtx8F/5R/7B6iqv3MacbN4QFrXkKs6ebI2lScBjdYrcnj7iX7UxGIeFD47dOdIG
14XOJGLbaMggXhVo5B0OB04x3SxXTqwueTUfZ1RFOF6HWMzjYQFziGw2axZhAgbJ32ramZc+4+yZ
adSX6UzxkSVOzFrZ1CahhyqoK7lzgYsyFzFa5mbzTEkYppkvLbtZ9jrT1DXt0Crezuq9Te+hzEOs
3QgvKZnT6BxxzIDvkDs3yaO3NSje04RxmIK8rNb+Js27e54DxIcVRNph5Ay3zIrXeRsjs0VkmRn4
ZeDaqZc/XWh/ZYO60xFoWQ0y0VhaSTJ4RTzNSe50NFZ+2F8QI4JnZHCiJbzNA2fcWJ8lvKEDrDOw
y2cvnGzLcqUIhQZT58TrsTuwe7x504NX7FQ49HpFcss5gEvv2CLopto8GWj52FQ7MgMNCneb+dYh
liVgpWL50eN1oTkHPcg2KeZLZAm8CrxnpnG8wDTEp0xvcciYQmYynItZXD0kdmplCkggtEJqG3zF
k4WZzkypvUQus1Ybm8ZDDRMZ7DsPvry0WiQg9RRCtSIoRWK4D+MUY/OGX/CJB/nLAvf6seNJRdaa
6GRSIYOr1YBBZ4DgvTpX7XjsNFxMxV+mPDenxbfhYWKiGeLOapp4L+TJNLX7mWb8mmDVgbMIZUxT
o2hdQGcsWnf/yVzCubceuhhSBFOQy31mlV9tZzPdDbFc1GzDIN44PcqoNFpzq5cqjSkHY58exZn9
6edKEa56Eqt/w3nzeF0HjCU2rgoT6gJtohd4P5C/OEDIFZmI2zMMmGUGk3zmIDUX2r0ULT2mC0Bx
8DR0FapwDfV6mMu08t1e/yq7qVVoUFLjeUDfwPRRwRoA15I2bz84ZZsm7RvEoy5cg9rHbfjdpoCq
GN6aQTJTh3acWxiXoL5PasGD7eiec6DqEa/D2PSSNzfV7MlDzrueVtqQdgs0pLZJ8R63yxQzyiLH
tLhuJk0VTW15GQKqq3g65lp99kplmqfu1AYvydydaa8tnynCnraseZndS4+kUda0q8YHmR8+ycUr
NAwSu1+1x6oxIqUPSLMkoEJkzMRjV4ZtAyG3qNRZnuEk1nPsUKMYBMkKMWJNU8INsFwYrlyXTr+K
xQ5Yi1hXwwq3ZV5RaDSLgEXjJDAr2FhE7676NqVTYuwV9aBba724duYyJ6Gh3sNFCCzEi+8BchRm
EdKC39IaiFxYknTdF+BVPidQCYUfg5Gbw7Rbf9fJ014/duVGwWWwmnvmu9PvFmxZ5+TOKlcffaDg
yO7WdFbCqirZue4y0/d5e65Zgh80cOjaW/xIEv2iDW85OYbFw9RPQrPPQEPcbzC885UZ5upWudaE
A2RDogebXl2Hzd1MjznWoAv18wZowCvos0Cr2wVnncJRibD1gVf6oVZjSmlQsx9njAtg75Q+YRMw
p5uTD3qM5zJ3BXOzkg2DJ1KK2hada0Nwl19divK/ZO9TewhyRTZNy4v1odCgzixS2iFOBwVuo/jH
thNTLTDw0Tk2YUFU1gwDet3a1NY0MFAoni1/738wx17iUM8Kqcol3NugWuJ149P3appdAv2x0Zdt
vuzjvYLJpPzVWqzHRa/tJFwz7Y2lPdXgoHffn/yV1jzHGiUR8FFEW92/9AGzl9YN3cX8nA77FF5l
Nft0ay1fDCWJWIYHRHiU40WQfePC1vrrlB6btQog3PszivfK/CrkZyxrGOEG+FpLGxP/0H7sS6Qv
UxqjrM8WsiAeHO6O+sZxJzIgNZog5oBAwWTAZk8ssmYNPafkL0Sqn8wdPOGZW4jnGbCIN0/dHcda
Us8/ztyMVh9cZN2ZDPGXESo95LwebIF0qFkNPrIYa9Jo8Ip2iv+Q5ZXjT1V4hPUcg1m7njAdG/jX
w8tUtN/aWeysrXjW6FBmvvLmKFezwlwmw5Vp2nazicGc/fkQ3i3NwTl0jedNJNoc/rfcEZ4pQKZa
/OVHUA6CS42cB1pg5GIkKCElQahIAVRCfBsuFZPcdIusMxC2UjY1fy56yVxQMiUaEu77E33j5GXo
D7nZw8j2g1/POGUAqHApmhBExZ/ZPvzKeductf7FqDlzWXWbipTBB0tupw0aoO5Hx92l2RfmNsOK
3ZlU79TbEwptkwoTSKpWfqwCKgBog8ukeuSeTOpMk6NnHhyZo/WOWZNU76AK6wgXhtBc9xKDgQpl
KnfVnWnV7KPyKhINU3tnOdq/6NnSDTYUzphaPyUsco0pJIphYe5LWTK8P763M8JmLln+zlGlryoJ
963fTIhnQFYZwFlzsKNh7kTWtAVVLmw87Wn14OWoMHkL8X4aQyv5/rTYzUhIfRQmuvdWvPoUXyYp
TqJ4p4jB4dHZUPJtqHmrKg+IMMHUiXziU2Rdra46tTGawhi129MyIRcWyamnlkD7skiVCqq5/gpZ
HhLZZtwwlz4ACDr2SrCSP9Gtc4uFnkTrnFOjk7FOl8lQGR7tMZzpk6yaDsaaZs0/fjirXXNS2+Ym
jMmLm3QVOXjwQOSow+yS1N8O9BdPwsg2BgBPlJmfRYsYFlqUI+ro1Kmld1u5Lbc981azelhkDPGp
MzwS0kVWu9fMsuZln0/JDqaaJZIdlkHtT5KcrmHhrxwNqzB4c/JfxGrVyNFjx535qX+R9QI2X45J
pD8pFVC9HpSxlty5TpNOWMhjv9S259RUMRdBxuFq2OTqCwfqVSDjjiy8vLNdDgWt6nC69NsDz9ap
FWYGJuuyLbYWyV4G+xqxTUGmP6TI4tp6GfcQ6hHheB9z4qny1FLbQ+0zLTI18dLPtC8VwwsPTKgh
vIeVD3xgDF+5bzEFwbpZzGIJunypAn/KOEboGbVsWyHKj2aeXKz9NlvDdQPoMl15iR/OSorsrRn2
+3JQ5g2OB2W8lJtgL9l0MsMUu0UmjSvUobZ1r8FYlX6pSD4U5Jssw9sakEzSaVYHpBWysVf7aROl
fxZuFJFNtffBch1VrTMprXRrt2IaGembMWyrUD24SrEzOU8Gq94hC5qiaKvyschgbSp0PGPkhBtF
cJBTzNvLv8wrz5KpTM0e2YSfTfwy27SSPHeGnVb5TIZFUBP4S8vqD1Xpzz1Zm0p1Mq/Md1Ol+86O
t60BXwlC8IDFl9Ls9FSaJ26wz1rEaxruUZm9SqRh0RnKpsCszXaByFoZr7MMzzlIRdXS2+XYxFkd
Jpgq486AoqVuQFq3tyD5ksjMswL+RI6Dnc8Bo7dMV4DWobSLYtDXpdxupaHbVpm39StCmhr9ZsHA
QdTtkLhNQ1NfamqxZIGucuRwFlB02yd7Ixx2bV/MG0f7siV6CVr450RUQhKubOGuGYxdUBebMEVB
ZX6lUg8xAPxRLhkuIAWromUVld2sL4e3Vnf4p9krEHh2RuPkO7s0VmUUcI0cWIHSMfSCuVsN097s
Fxpk8gredJ6QavDknYKUX/Gmmv6ZlyWax1bfYkG66KxwIy67b6hnLFEavTuhtpo1HWhFjWdgHQuf
homVBQ/FnH5ypkcGb72vp+EAfaqZNwO2Q+Tl5dvSFgYIkT8LP8uCsiYEPsdUrXCziYj/CRQNo/51
UbIYMC3kg8RkEX37QagRrI3gbGXAHl6NGJ9IZTy6dKIlO0MmBn0xA6thAAWqNNycXLQNHLKMHQDH
P+e4zaB1t7Q/l2IzO9vO7gMHDDimuuG2RVFS2KD6yUnmhmg+3h75pqIV+cHaZKr1yz6d+ZRKNOJc
bCtleMPTkcfEKybuuGyi/eDO+2iag9aZn2XpbxN5h4gvTNYJINScwIm9q+uvGnnnKtsCyrA9ke3v
Ib7YLJFu2WrbPj6pJv2VXRPtzQI5ydIMD7F50JWFV85icx3UK1xOi2HW6itX39EvwOAvx0jI3xeR
Q7xalCpInnu1EFO1bJ4+/Ensh52+IH0WlFxhx2CDpdkhPGCQ949M/xw6m6ysMyZgEsM03IdWuFB+
8kXHFZAApbBt0dxNxESjGPHR3R6+S/pDdfqUen2colLrwLuxX+V9uauib604NfEX+8PmnMP/xcC4
TxicadYqRsGCjXNMy6LOl4G5trIfxTnU9C0MBJZo0VChS39G92YbGRC5ItyFDPIxp0W3bZzq6MVs
aAdQIiZ7YQow5R1eq99V+TPEJ8vGG+eHyiLGC0LCKyJ4OLQXmvRQYPmHoyJJhgsZr/pse+NdNt+d
tso0pkVjVCLnTLmYhlSgDjEIW66H1u8/bjSJPl9OKayJVC5LsNRyznFeFnYVpTvxBMhDvyrFLdeR
nx2UAUP+CsN35EIiYA7ywug4LOH8Yy6ZmbRQYAdkOLJiWldvyVc9bykn0yqfKnBXpZ0qCzESiyax
Voyqwchdpvlm7fLuYoVPCQFdDUjlxwfX6MaS309M9e5xL+No7WTDMQ9kgALGICjT2PsLI2muJdFF
d4eD3FqneHA2rWfO6szdiv8ls1xXFhOkrasb6auAPWbhR2Ra1sH9MGgonkmYf4j9n0d4LTR4ZXsB
irdhJqFCSDRn0sTRNBgC1NRoSyDqWqumtpZugDNXCJLM6RArxaKp+qV4OrE6sbGr7iHQuqLryXFh
udlS1pl10f8lbTnLiwRh2aYwrha04twxZgWxOJLwh5SplTWO36Y9m7p7rEJ5LiFHAaFMY+PLKdpz
ZcDeDy8+Nth1wOwza5T6+nexqCrpu2jCu514h8imbQ4J1PvEUxQoHO9A2tIUr6hY3WrDrAP+dSHW
fCokBMERHbfwS5DjQ0mrXNqkTKesQdIbaZuBMwJrd2g3ZWRgW8cBFAc+CM+JtoBhY2YzExRHXvbB
knDosY8Ur6KmOX5IRdz4VIDsKkO+HoBn20TCozHfYPszVX1CA9YFkbyp+uBoUEdBOB+nqX3zzR7T
qXpuU9FKnbXsEmMSumT5sACk2t7KoFV5EK4+RrTQmLYYVck/geJF1k4OTquYXUmElkpizka2i5QP
Yz6rch/gm6imw9IV+REiVounyQGP0dkspE5WTOgV0io3zrEYgPCZNvZL7WgeROGjz92ZZitj2WuR
xdJm9Y1N2FvnoXFm+adcAkYPe/WhbrOf6Lvbq1v50R36ubRu7uEtX3y2n61+rBfkDQs0Z9Nihn6B
/wO+bh+ldbwmEy1X+hY0amkegwvQMIy0k3sUSL6+A6/nmmrMjRs5h/AUrZKpNrVnLPFldrRn6Syc
xadwH4I8Ah4fKbOmX9JMW0rr/ov2/Red4nrl36yN9hbA7zF++YC9G+8mP8QTbuG1QPNj5h5sQXcM
6gucgIUMmx7IH2x/wMpamYbupEtnTTrr0e3qTDKblhmrYmzABmzHfTzSNEFkyPSJZoyBllsLEbZo
IFCzBxIt8lEKts/s+WYhGgjs3Xxuf2ZaNQFbplEBzqxByanQ60yAnfV+IrGxkUskaEvHNn/oXUCp
pRkakKJOQGg5CWLkv90MQ2+ABixF/T/gC0xoRLeoFc1Y+KQwUIBX3Yd2BrflwXj6INW8OIk/C8UH
Rw9B6RkPPDilDqAhfmRESSx0+GO8QH6tufM5axsTdv4QlR1DLtAyiA+gO9MgIeKApcevjp1kgdW7
T++P1jBNYZYWXQq6Efxw9dODBTEIHGs+i1oQW9+xW5AnTrJggpmCiTrGIoKK253BSgJ/D8b8nRrs
Dw6xP42xrKWCLMQVMd4d+HY5Bo7/QM2icdWOFy1jqmFJwBuGlQZ/+x8e3+CtDagPtP8Aw+TCqQ/R
36GqHyn3f60irobOX3rR6AEAIaEJ0BMihYJKGiBW5smMaRzwrP6/DNxUtGd0cUIceZg3qbBLsCQa
hXRIPmOAq6Rl3KRoG7FkWUkxQBLDdRQ0AyPsZyN9lCBXweiOjiowQTpJB5S5Y5Rnn3AKjk5LCQ8+
4Hu+m0N/Fqmh6EDRW+Axedk8mseI+0Q8VbCthJ8EAkf3DTT3EQMLIWhAmEAoaqE2HnOHoDsgp8L4
DuqiWG0VYyoAfpmhw4AwCS7CJFAoKRCUj1jc5BEMteOCYRcijUpOHYwQEYAw7omFP2FsGk/ICKYG
t62ZdsHc5OstIgdkslNeLRdxqCY8RT7l7/EVHonNhJu3mk4MtoUi2mWUPvRQuChcEcaN8UWNC8fj
N1MLCg7zeKBRUGeGU6mZapCZTfFdbrXGd0kf6UPjFvOvwxbATSI8cJlcguXE/7dZueIsde4iz591
xsahq8OqYi+KtmH0zVXrSe7pbUUTlPr6A2oKvYIaz4KK5tzEMad9wegfEoExoYEdTvsPezdeawj9
vRwX+qRopjXk636CcZ6kTYxklliMt53k7LMAU9QpsaO1Sd3XTrOgk8T1Y8+DF8g23sxz0ReUFv/R
dF67jWNLFP0iAszh1RKpnCVb9gshuW1mMcevv+t4cAGhxz0tKzCcU7VrhzBBebp7qV7Msiktx3bv
INwy6IIWNYJiA2HDPAs9bh8+WCiS5gHr3ebuKAjCMd1eVqmX4rIsebqyjpy9jsBeXtSvTTa6PIGE
Octe+Cy8NgXq4mUADM/hI4H0FZ+qYCILFnnsji+uW8rcOXs65RgVtZijPLA3QDSjAZZi/wtVBESm
dhk24gmcVquELJnKbdN5hN5FXP5eLWOFSv4GeAZzyJmPJQNxNJX70kn6EAwfPhKumhB2NHthV15p
z/B4gOrFa8IpgUClcpMywR4FFR4aFZIQYnrybM4AfPxl8MlzAblQ2iCYwqpLurDQQTxheonKhlkR
f5I1/g/i1ah/0prVX3Sr+Vd5Er411sd4IyUPmm149Hf5L4tZiO6YtYpp0zuzUb5F9gsHikln8OCs
XhAAQPbHGwK5QMgkgDEJY6YQHbZQ4SscSA3ncC+mwa3ng8/yOKf8wC8BU/Y2WRECQOg5UZj4yeBW
KrDATDAeUJ4GMijmjDGBsIZjgjbNULHkLC4DdwGL3VsCiHUg0ISCliEJcKpKSi5nx58RpKCKAJp1
Za0tqEh4HKtuVng4b5Tjmj9BikO82CX8EDnEbhSuW9tltGVxZhG5QnKhsmFBZHUFpCAUQMgZaSdm
8oTYQsQnOc2a0otTxQkbOFUnjKCtZqHEmCwvfIAPZdHH5MV4PBDsOMocJwTAK1Ae85ejlFNjMTtn
oQyE/R1eBX/0NiDLFhoQ6yoUgQ/tCUcARpDEMscax01F5Aw3ZjATcQYQNcicTb/tH7rXaSX/wLDg
C0DMpcdDAxB8cfX+iQcsSJh/lANelUf+ZeCvjbV7TsacgWWSmrivC0zNPy7zzHpaT4gq6JM/+CyK
4MBzxSPTBqyF7guF5Y/PwZOVD2gLADPBF2+XC9o83HjEV/Crk1l4+OMJl3BIyR+65ZCCEoLnDb7v
GXuvlQ1nKDyUODdhmXXC5HqBQAU6eymYorvqUMCgz+DL47104zAUl2xtffQ3bJjc6+ugfUwbX3B3
j80H/wXN+5o22DMt4QMSFwvdme36CDWCSHsYZJAwRLBwBrWVpy1xJYBnU2LQJSzOikuyJldsh6UB
SbKOh/+V8LLYYLq0jNZgsItyN2xKhAkJtM7hY9hIcKdpJ5fBDx1lAVr+w9uhFoDL2f7wYa0PwnAw
yCoEtTA/WU9jWV20TXMRX87Af1h8m/TQLoQBFcFxfPIJP7b0AEsISjSOU9CiL9Nz+OBA/rnkRV/B
V3kjPBCuOdumkFGAfND+5j8MXGDuCPYRSoPikK+FugAh1LlD/CO/C084yNMrbSvvcoi7Dlzc10Ec
JvEukFRPRDIuw4PgSYnTVPIt+Recr6ITXMr8j9ktznXyxUXy7MX3y/l26Bv+y2aOTlwTvDMA7aE4
lF/hd3eZVtO1OKIt+pPH4Cz2R+yM0EltZDdi/EOV8S4/yrMKxnhWH3gmwtuboIWOQiqA4q5kNqO+
YXU+qXPIWJD+oYXGulguWGq0O3QLWIn0IuqJQsrnuN0pwMwdWxb0oeGb1bL7ZvFqvvmrQhlOKaII
98TiG5oEz5Jwq/njN8KopHK3v/iNsqJufEt+KcoYSDff3XfyzqvzaO7dnRCbLes3rA2miWtmzXTN
63GdvUf78lfEqA33dBWSN6t5EeJKfxFfIwIrq218TfbpFabhTKjOItxJmPYJd0omfvxJDDC0rvQf
SyJrqfMtCFEomZiz/WLiZ6QegkqRYUHRyv4CfMSKyZLBdqDO9Wyus0ewOJliieTBoglhLdbebDAK
oJJoXkS4okNgmk8knKtCSMo6S2xZP6FbIG981ijUoPh5zRMLc3Sx/qUUlU/ng4WHTEgRN6EIM0Tc
7csBQJsCSRha0p1DSzSAdCEJwMTBFqzBPpoGf/HC3CdckA8AW1Gp5yMTGRPbeNAxscarRDX9/Rgh
/aTcgQCAkgrxCN+swpOUWKEZJ3f6hv9FrczZEMxh9r4ChSjA6RxaKz/wLEiqlPAsraBq7GzZGS6X
/GAPQdkLVxWzz3n/59CIDQophqQVMtxhxUraOT0mTFWIfNKz33PECNHO2Ulf7gjNzeYg6Zrhwr+T
KQ5F3UBpFPkfVfYo6hQ7+4nJdv7dONbCH9pZYOn/FDX78SN/N47dOpHDU571m7zMl2ka7so8ITAI
hoqF2EIdFrkSYQLovSrd81vCCbrq3eKEylV/UvLqkeAa0QeXCPTZUGEMRgUhrfCry4yybqSv7GU+
WZf038G4SrKUvNl6obWvXaFjARc3R0lS0UDb3qtFXPTCLIHPmOvmNcaIirIaAQP0gWeqJVDYIRtS
k1TQ1jRZB7ZbRuPS0nGdhw686J5FhfKecZWtn6UWe6vwRqZTGTJXTr/8wcudVdYvoARUcAVGUsOY
Sd3t7qpK4dofAT+AZWEWDd+t9JNPC5BnDF4mEcpxTztMf9oIxxnaPwoGU2PWp+pEryhLcZB0O2dg
LHuQ7pggbaRBWflkAGk5LvNhivvSLNNxg4nHeyOpnxFDyWgKPic+uAIl0ujnSZCTiJPMU+dzopGo
OAkEHQPepwsNv3MOqydU3EmhHFUDl2oqnPRsReXGDPSjVlu7MI2PI5BgkctnVTHPJlBogFtN7cx0
W9r0hMcp9mNgEj32xiFFli/10ybDqjdhlFD02q3TwlOaFVzB9AhW7K9T4yf+hvMC6irIpIJoCviH
qy3GS1Q33B248KGj5m4QBRR3ciFqBKrN+kvwBnGR/CNeQ6q0nhBRWHZZjX8QNMFCwP2QrZ+7mcYB
/yFoKj9CiANLB1a18qx/UGcIqRhKQ14lEQUCWztRmtwekFnYuCk9eDZ+uHC2ocrrUAgM4VlqWG/F
Ew0r3ESUTem3T8UFNvxmqW9Uy1y6eCVZjMFFqNMMPVZ2ptJhlYI4xzI+ljiGEHbkdiF51iQuc77n
f9LSgDmpNtPCuaXBvxRLO8vciKLD/h3fEY1SSrITsA2wPejvHAX5R/kTOCI7oGnLha5weqYYcRhz
qhUYuc5zROzRfzX/uEU4cuqjO5IGiXkofp6wz0tMPjH6pY8WJRb7M85+VE4sBGxjFEYcZI6N8aRo
EjsdGwZHCrc3YRXMkT6j4UON8iWJ2oyKKPkqf3gxqpgbmO8BfcJZQUhX77tjuU42MF8w3dQ+qK4G
Hs/po951F7IFEEAFJ9RH19cHip6IKoUk2p19rDbxk+ykz/4IePwntuQpf8oi+6hwEqDdWTydBQnd
I2UPXqCQ5EErRK1HqUZJAOsgueHnCkjw4yMdgn6Q3cTpxeVFxNG3N5RbH5QNVEQ8+H2m9fBbJUtc
JvyMUJNXgu6K25SO6usDNkfxkX7Y/+RPPmzYvJ3HT/OfIaqrRLxpMPy5k+LnR0/O7vHnnUoQ1pND
Tl3IZ4LSH+lCSMbrMcH0P/nf/Ba/Ozyp0pg/YT3GXAFC+OsptJaIX/hKfLHgixz1gDpEeTrP8jTu
i08c1n7w/v2TdHFWxHo+8LxSaGzYspynuFGeVKycSP6RY89b8SEoE6Of7IdDwV84HX/bgTi/1gfp
TrvyhCntKbxkt+7JOzL4iPl03ROur/iIcD+oXyg0kLlxsXBf9T/cgLQK44/25K1aeicVsZF668/2
w36vz8Vn849mhYKnObZnLYIX/oYRzQfiouKQLSl+KGfX5c+AiIpXrqluszXLw43L5kYp+tTQIBNN
BcHuIqGDLT40ISSTzhw3DPa5US980AERZ3BC1IZ7Mjc8TtNcDncd2Vy/767Vkd6SNF/462faDEju
q5yitkCzFV64Hji6pBqXOw1/CCxI90Rnb7UrEA7onwMJ6yv6hWALQgDKBVik70waw+nb/4IdaJ+M
u5BT2JRY34x9HMoB/m86z9mjaxfKrZZiAEA62ryq5vCy2d3tUawIFEEofRCbw20vjhQj3Ny16Ipe
nxRHyBvwlYV9zh4OoZnjWZ/559c/FhJ2eppOhDQQbykCIfb1v1C5WSlrKt7pWv1DCciTuftR1j/M
XyZwv/VD/y2u9F39g96T3Sw9St94cPBZ4JNTM/xqd6a8V4qwT84Wb9pdhOKIJZSTZL6joieD8E25
Q0a6gZ6eu0/5LEXCaAlQizGocrG/KB3Rh/CZggexjHdeNkaGBVWZpcue8abmL2/6p5QHehx/+18i
MaFFwLVIHtGDo0XRw9GSvi3kuKy0wVd90yjDWJWi07AxPwcEvXTAcLaBlHqQzDf+NNBlnP9uGC7R
7okyGcme+MX6piwxXdzUO/Q4CIdxgPnssNNlEeQ+5+qhc+beBun48K/m9YXegluwYxVYknjcsfww
/3q8NubK3jJ92Ch7liLupR/MfTlGXDo3BQVVetE+xKVTnlFMvCPfR/7LrsA4JCR+ARcIwbQ34dmb
v+x0vpD9I9T7V57t94qrP1oPG8aPKEO4uq038xiIZgpJJDSpM7laH+2upgGblukBJydUz8mJi3XT
78iuwqGEVgFVEweOy492PP/lFPSidkRMgOaKuSdHmHFb+a58o+HhX2G78ASAYEpLNFfBb77sgQA/
K0hNIIY9mK7DgFXQdntZsJRlDj/NDWs9je+tf6a335rVid4LI4E/9A6hGzGrQNsBuylCdUALfn8S
ADCGNcyWRSfCnQE+VGiCgA5Ew0f+z1l9apnwAd60tnAX4YHoDLjUZG6Hgztr2ByDBZzW+QWowKgh
wH8A7nlIzcz+ApL5j9QOgPRCbeaIf6RYFk5dXE79HOzmBZgv6ldAe5YiNg7Il9jVgLwyPYCgfG6f
Ix+eYvBH+vTP1C4jaDPWFcCBX/2ph8gk+izgJu5WUZj8GTSAyGiiAueup/8C4g1x/tLmwMkvY5aj
nBYwf+/gXjYfgLO5+aDQQf4G5mbtfWr/WFe6e/bOi2YP5zvF5YNi5/WJd9CDnV4gG5RIE7sAmDCa
OiHRe3BbC8sKriuiXnMhjfmvQMox6+/f7If+YMF7sASAGQn1aH2mBvDfdYaHouvkTyd0AXPSf6La
emSUVlyvNKt4v6yag4bNItfefw82RG4a0VyzydMlAwJDaxOW1aBZpDiJHYoHKzdtOVsfZROlAD/w
oJgAIQGzweEE8CX5ghrZpD9hZFhstCd8UthxhVGwj6+10HtMTxvMyhZF2EuaaU+C72hR4NIAX7EA
MCLlr+xpsi7AIJVmZnjjvuYdRFoBAHTAfHdOvAAbEm2PbcxB96B7Ugjy/53S7RG/g5ZxIDFpxjWH
5QCiGQEHCe8ykwccPmYUpioIw8N81GcODUs0x7s4Tlf73f6ZxORYlE2oWsWuz9cSdtuQyg4yOzIe
WaybVKG8Lw+hWMO8FUQfipMor/h1tj/Nho8tlGvAeuVrHgJiUNRhMo9z/BEV+07a9ZA2ftXv0XmD
F8fombFcQ1eJy0g4N4y3z5KVXRjceA6XPuAjQ6y7ua1IC2BNwhWI0gLYZMIFlxwkUG4iyrgtGSkC
kXDTUiaDYdnii7D9TU96QUodChSeRb3i5HPKJqZLXFBsuNRk6Fbgq/05RfxVVYCMFDntD4Jyldem
xKHottEJCZXjf0WzHM+pzLhITI2rfg7n1BnnGD/mcM8sj4CXABNHhjv6gmBbv10G3TInl5me2pkD
YFJ2E9OMIByONUJxpJJxtUgJbKkWJP9wNXDaQooZarHM6ymhQ1IEoCwDV87UR30CnpZ/EKgJb0Xi
DDCjsd9Myi8M7X9Ecjy9/x/+SPfdoWwxXNpvcFtW60plqZ4oYEUJ9dcLcKTEsWMIThEczPjSkKiF
DQWfreJ4mzOzIVNTFEfcLP1Neo7U3uzgtNAD+O9nuRcb8l8vw/UUCpiD+BXgDToE1jTwaaHt0sQ4
Bq0r+lc4nuDnmFYWhAAztftu7sRYBB8lhW+OQJUzLmSyjM3gIjDNAd15BS4zHaLnDWKRsZw1cQOb
k7rHw3bg7RKzxyH38BFjVmDIni67zC6YP/JkhgZW5ZpYqgMmwAoGS8lE9h/rRsA+oeOJhMQLsjnp
iKIaAK6FFs3mFhH9Yc1lQtNxtEJa5AhYXv0DsAAyeOCIweGlP4Li4GfzL9BuAB0gG5velDaIl5CX
Bu5gNvxlIQc1fwq4bwQVphgSz2tMV1/zKnKbCJLlHOykxAsY+oM8Mx8BwrhG3PelMa9JbA8g43tK
5/mQcIld50IcZgFuHyV8ejwp2jm+eJoi5InYMvypSqUnBRZfBizG/IPhh9ANBvHFqFHoxWCxclkQ
TF+Js8k5BIufrgAr6TfHBYEglSZ/647cyTwL/ATigNj8/48ycW9Xn/jatgB8ACy0tsD6XLNkynH/
j1/VpzlQhs85sgPkypNGFcwlJMz3qWpZVZHBn1hK6VYp4R1WP27sZkbxjDGrzSLDBWAx6xN6RAsn
Cu1JsQ/a/FfuD08y2LgefyjvITp8iSLydVTfcen5zR/g9cYbXlqcb4YkaeoRLouy8LUFSmLnTUOX
LZltTkIyAmTFrsfogtquFqsVKyfrJ20wtwPeF6z9PGCDI2omFCLAEJbxwgUSFmchxErfFssO6JPG
KAIXeURIrL7cVbYIg2G9pGFnSaTshK4FAMiQRuFueC00+Ewjts9iWDx8Y6ce1y46cOiZ1AFoGDlN
GCui9QdDoD0uETnri+kwnv0fRrhn5QDh8VS+J2cCf0hzu+O6gARYiH/NdbI3F8a3dEm3Jp5xgVcs
nJW1ItV5T0wcvxhxiHjOulqNrnSIzv7JumOc9WCOZNyFghhqHUri4ljvh1V3KNfliWHMjQ2gPb2O
PjAnbzlSDVL2yu/tvjlq23ytUcQlayIS+SXDK67J0sGf44ULDpEey2jZLsTfMT3BniYibcH/FF4I
AnjO191BB8tu319X+0TFAAC7qFaaJxxj2PE5r+OD94K+jrAUPggPqlBwVIZzuEn1LsJ3pjCwtSRl
bpALHEIzmMG/RUiK0xp+TlU24wTwYD20HIj9ArPoTTHWYjXgVXklMEYqSiX1XvUyeLmwRNq/KVCF
D5vvQgkcquVr9DIBhsyYOcaphxJqCM7R0K/t5DXT6/GkJtaiTMMV48/4Zli4cr/L2rLsPIeB6YTi
x1X1ZUMQCSYFtig6NWbuDN8ndvRFOo1uD9Akaw2JB9yU5kKWsOLDW3EeWgyGYKR5AXh34cGkzKkk
kCITrMXomeU8WmAor1gLWjTJXFKIMq1kdofq6mvUPUEAoCjK3ch3Gf0ZV3y2x/CaEHsORU5dOtBI
LewFPEpIppeBsQmSpYqBzHSorGU9Enc97ySPVXxUV5YJrYjd7sA4ljgiw1wW4x6lJR7mRBDAbNBg
aFIQVgMSeJEEsGbg2/dgNjCXubJiclEXjLbjxMXQvpc2gbUGxMOZuGMIrngxqV8K47xW2tiYP1tt
tek0Zxu29TppWqhn/UZx8quRFhsr35jjwCEbPB3cb0Dr4RiosMvUHSbtaDLYrlEfTGQSFsFFkT3T
xMWBeUMVgpSONoCiBIy6zF6AFEqxsPyzPhC1ZvvLqtv42MTaU7rsnY/Y+feq6oMiMalUIaRWwbec
QesPa4U6u4EXbRT4LcBp11MDvz4LIeMA6K6VhhcwXhxLCAhRPG3GUb5Isf71WikJFtEOy48PDRin
RSr2mH42oZx2nAW5pvk+UVag/Mo2bZdZdbRMIAKuCdd2LqN/qftb7++VZo2rgznglw9xeTYZXEOH
AQMgApnMs4YBjPTRsrR11armHPrERawL5xmQfgp0V79VxRINYJTs5fCfpdwq0MsRGl/nfNbaR6ze
DBYdSkQJe+czdMlMuNteY5KWO1QIjt/S2d98hiPSoidPQETlfb6Sm4gOiNwhu5rGPhk+G52xZHfw
1Z3gwNHMphZh5XNB7Xb0bz1lT9BbVBIrP1vjpYr0xCEHDfqN6U36bsrhEruWuUAxoirUb6h72uEq
x8cG2+8Xlav8emh1+GbLbAv1ZxUe6vyms6FLHWAiu4pNYJ709QLLkLathiPwpVaO2XgJUcc5x8j/
l2jfw3BO7YuV/RJJSN7XZ2v/BszcmH/GzP8QYr7KGf6jIWW52n/4+a5sl+14R66TGivbOg7ju0+f
FftsPAUybkCVRPoJYnA59pQi+jS1TWe+I05rq31pnNj6HfVpB1B6aJubQ10+BNOwcyTaUiSQCR7r
yMlUHAzAItrpXkjQUgp+5J5KNYzqwBh8lRKMb+vhv123h7Z48OlxroWIX96K9qOInq8O7Xh7yZt3
eXIpKvHNwrX8O72iMMV5UrtQ2kT2rPv2d+FKusi/ZGaC2mKZS1IrGxbene/NCrS2M9zgXD6QX7KJ
YXFHnMVALBDb5Inag1LEDGYUOZpObJqoCh0YApjGMNdiK5yrJDrKkELmvuFBymCfowluR1cYAQze
MHgxKzfr9+B1/WZCtDB5ZI2RMVsTBiovh2GjJmsiJpEDMZBvEZwRk7piRxfVJH22Q5mLiYCuLMaX
K/YC5krM99r1UK86nXLAxTjDpaSAWkqUINnwSEKUaN5qWN7Po2Im6j90SvlWjRfs6h7xOVI1x8nG
XJNHSg7d+F7oM9opPFSGOR/DGD2nIelyQT9eDBeGkSSFpqPHMpjqLtVrBo8cqNRZ081bvhc2pO16
+bg0mCwpiybZtnyRbKGac1Pf9IR16YtXc8i1FQ7RlTpXg3srAW2Oo0ecb9csLKgGxYl0aoiSQXEs
wPbQhUiczkrHo21nYRGovgN8FAMBogvlEqrb0j9aIVLRg1o+k/rMfYd1fGOtgtdybDZca4yxoPjp
zsaU13GJh/9X4ykDadbVXeyfjI/Ubaq9O7r7lMYNiTCiB0X0hqezm1X7It1axcFkIryIgz2gon/J
9qa6LtMls7qo2oexB/U+MueRuCZYFLpunetrikXfbdQj1tjj5DJf6AFc4xA/+uWEwHabho8kJ8xy
4STbKZrjGO1IJHy+75z6Tv6soW1f+la6G/ZSfZfY1UM3bRe7e0i7BGVOnoEtt3MT/ho16SxSPbKU
GtOtO0JhaeTwDvQ0xwMYRuVd3Cv5or6w3vfCaZseQufUVR+vcq2m+1Jb8L6JuobxyqhTNA7lsUk9
8B1gz7I5qxrAmae6z9H0UmS6xYFWK2xcJ/HM0mvCo+1vY+c2oN6ol5K0s8prHCDOW5OfxxI9LkwL
Rvy5Ku8V+xbEO7AknQiY8kLzMtVLvg0u1ml6eoP0U5CYfpDrL9QmTXbNwlVa74BJBvj29VFRzoYO
Tr7p2v2kH8ZPKXfrZJN+HwBZDGnOc43qxBeCgB8nB/4P25Juzw/mcKP2pDUbcbesl8SurOgPyx06
h6o5KZ3QrxIIghM/jPEtfBvoNOSL0sPoJmMh12sHzGiXlb7Uc49K2Oq8Uifv0pP0Azmb7TgdXzE2
ms1vXC6UccsVMU5rGawSiaRbDrucYSGqrBU7k24JyhVXduU/WO8LZACbpzJvy02CRie2l2gD4lUE
hhcYsH7dkvbBqhehcYQXz2pCaxYfoVvpJ8Prk5XOLpldiKVhTwyg20zqhx3fTdw0ehkgfDeFR8y2
2WW/EqByCsDlWJyvQbbiIqVDqvWrat0V/LeoxV8n6bWD+a6j1Su3Rux1r1PNbsQnILSjU5Fb7VP7
Kuz+aPLtbS5vzOazw/jevzavHfydQZpZIyLYEwcGx8HkhkiEOHlE2GO4rHKRF8t0VnZmpnE5PGNi
Y4IDjt7JtLBg+k5rlRsptxFdomz7qSNWt/RAksDYnbttqG87030Cf+O1au80fBBvRI+zyRSfrHhc
efDo5qp6gFFKIFevfQ3xvn8zI26/c5pDobnkilvjd8LIN1qmBjaOCrfMUgRsNWu/IMm9eI/6m1Xu
bBB5jQwXklK1YT0LCl73xjqSM0FI5+OarIp0WPTVRYG63s7LpyCCFq5kre69gkZ6rr/zDqTK1Cc7
FrgnTh1eSwVGddLnG0U5GvKxcRbOcAHepUYAGIB9aDpz55on90K7WNq+sN75Kj7Ohgbjl8c0bPiY
eXumsk/rOT25lGxZwEjQQaMZyCtd50NDD3f2Pt6d+tm5DOqWv/XW3SeDkZ4Bp6QGnx7YDTb1xQtV
/OZLq071nhlGt1Lf2+zyhYeWTBxYfwkhDVXbzvnnT2Cc/XeBna98fQUPQ31PrDuu9G9tB5r5giHI
xLZg5cMAfg/DTVqLVsPc1IaXv0OhV+PVJO34DAgSzuA3ZEo4+WdT7UjUti0m0VD0TkO+4gJMm1PR
oZK5+8NMrGP+tgm2MlJBGG/lRn1kaFRfH4mJZOhNgYvZDEgTjm1wrbN1hdQOC46AvPf0Y2KsK+c/
hgrU5x/KeCUDI5XKdWgWjXULg4cZL23Y9hKKGoKovSYBBWe0kzIuGn5eIBVy/9lkd4ogdTOM3xo/
zrC/TxDBMEFDmGvjGX3KxmtvIvlGmb1H8FMZh7HfZdUtYIzF16n8FWOsxk2Pk71Mowe1IQIeOp9I
WUp3XV6GmLjmxpU5b+Rip4RWovbY7dLGtcv3Hu5FzDJs/MbtEuSJol7joE2Xr7jmu77cRLtOOmNC
DFKLncpl1BqeWr7X2U9Zn03nSAKYrK5Ufyuxq722ZeipaDdxuMX+WT0Ir40eo4nLq15NmYdwKYmW
RkdJfpi6BckUlr+ysp0KS6h3uXO1BJ/I9ND436wdfKIiPXCWABSZ3xstnFSxYKbBHqbt5PIv3LrT
HEULKBvfwm5dTG07RpLS+8SIoFohpOZbgKB1M8gTakvuw28RFjRNGHWXiyTeD+WFDIciugZIZQXO
wgIN2acgOLrbgz8UyrnAzhfVcJX/nRklX5VfwLV2spBRXZUbgB1wO0ne28Veb7e65llLHZzGx0fL
3uq4jOkXC8dAaX6dCtRe8xijDIzovHs4fGiBGzVbxd+lxjlcSJTvI4KUdUn73p7zdKnYy2B4dMMm
kY76gvv6ZfxoyQ1/Mn4MKb3emJ/JB8wpqCTigzbNVyQ1UDQIB1pgK241nJCoXeGKsTSw1tDC/+Np
9qcznkM8mh34tRsrPkkuWmVsXVt72093didyrdRiSxBKpYC5bDCGVTHznS4v09XfDcQMbjasYmOl
+KsKZqF5MHJhqTBEHnNtx0utr1h9KmigQLWbisIRADg9nOtgicZMJdwHVws8tKdFOTyjbF/5Jwdu
CPU+Mj2g7WZhO3OpP3XFLY88oEvlonfzMVr1g5v6y6ZfW63btbvh066RXR/LZGdJiyASDRoBLhCV
Om1uPtCHUZ4Mxq2zdtW/EtQ6TwnYIWj8W5eYELxWSXvwGY4NxqGSz+SEJ8T9Yc1meiQWDLg+VjR1
KxE037kvvH2JoYv+kamh926jr/AyJ5lDRP64g/2pUjLLYHMitwTCRW+TKjJP1rwc15N8KyemTDhd
LOsbswo27MJfTaSzFFsiVnB8GtwC4Dg657X31WSe2c7B5gHe40AQ8eiI4r2GKNKfx8Sgh2AV/kKZ
w89BdmGekfEi+/EnF41dI4AfFebzW+bG5Vy9WYYbneGaFCsDUG6s/inplvH3Qs32KqPepz2i9302
7THSPyzy5POlqRJcvSr7M1FnEIq4TzkuQb8bzJ3JuJxJztNA5Tyx+guKd/kYHxMkJ9NVhLWhisWC
5eUv4ub/hUThqngiHBHMl4D4ze8Y79sAGYlGdYGQm/D4hS/Rkp+DVIxymOnI2d7Rl1QITIUSc184
EN4PqDt9GotkP2X3xH9vHEgSHxORmf21uvCrVLDsqRTO62IbYdZXYWbfbImuAY7z1/66WwEjglEX
nkiee0uheGIWTVwpSVkHZw9pdYeP3w6cZPPK7rQxV1Sir2xr3Ym/oh51lrCz+3rrp26WQO09cjua
o6uqay1YRE4KvsQu61NzvpiowhQxISslEOjSL9KJ6P2CdFHRQsDd/Aj9qyJtDLzFjV2uXyizDXR9
05x1ph1F7UQbaMWezP54AzeNmOskXwZamTx/vrwMMJR+WQ7wr1qiNWWdyUMCthYt/lnyrCcYx6ZQ
C2KG6eo1go9nz6YS3gAtlwa/VIwrEI+TfpM+O66liZHsV+wV5kHPF6oLi8DPabNZ1TJc6IBXCcAY
7GX/cl/jRtY/Hf+pPmRQLqM+xfEjzLbsN2RIac2JFaXRoLskKzvz316rynkqBni5dFSY8RG4JV0o
xDEZOntlcDDw7nJOHIzM2SKdDZxtrdwp5XqMeNqND+zBUOXPTTquPzBmoIR0rJ8YhDnMT/50zfKP
yDjhAFhR7Xy/Ys/44K4xZUJXRGAcG3j1Qalfd2I4LdIJAMSU+qLFHssZpTljY0bIE2MWBXBUoe/Y
hP7KYULWN/TMONwtS3g9pN6SiJD/JB1L9U0bL459U+wFcd2CYJstMmVd1XfEFFiAUJwB2L/ILWcI
sxzDNZU64dIpLN11mW+K6Ky+gOjWGIYAtzJpQm+uXlm3wAEjbd2VOyl4+PVTau4Zsq1s+nJiPIOL
WYsLdvSVp/PpUAQIHhcQPUEiKI5KSlGqq+DtBzEG9CeNTbhbmta2JAenWBf6MsZWMFozw4zJWqWz
Vhi1bw0RAkZI8pwkpDpdNKh7pRlj1bRYpvoyzVdBecMVA4fv/vUYu1UC5hkLdlXdu4Fms15dVQW/
jW+LObD2sCe0MgmK4bvT/mrqLQFhUfFy6nww/Vs2FlTVTyAwRV+wCrK1EvuOIBFnqCx3gw0rV9fg
dbSUBOywkmKvJV5rmCMhgRL3SrZ2+c0Pg7TDBoq2P2STyyccq1ao7RnNqMg0pV2giJfougWWAU26
NQyXoA8kCcJyZLiF7bpzVkrj8qJyipEJrc7SV6lUPC6M3DzKA7sKdQJuGHtWlqw/VdXGUG6adbIQ
XuTnmDmP6UNWiK659E1eVR+/B5qnFh4J1cGKHSQlp43uAQaVGf7jMLAByZo3MDm20Ls0wTON5vKN
rmQ23igjaG2yfEvwbwsjmmOkT3cCswttKVtuVy1WKjLs5Jgkewe9YYJ6MCw9Q6hHDFYMURqfEQrX
nWunZ3IMuQMyCupmaYDRAkwtDZnNzO3f1dkgobj0kBelP8jFuHeV8UjnZoP4pYFbAI9gMTYntVNh
EhHtmIVay+j13WRbzbjFxIZUx17ZWdrWVjEcOzKr08ZN0SzD+sSIl0Gv2S8kl+YsX1f6itZWmS5M
u9iDKJMH56Z0C8M7hEwY1zm1KlXOBl3pMLyzncY2h1ekAt7jUvQ0QEuZtcFuWjkwwUPD4kweA79W
3ZjlDb6pEtMOjBRAYtb5APowjFUlcXC3L5zkszUIA2QP9dhZX456Y+oVFFuqRFaVuP8FAOhTl1J/
VHbSwQ4xoreWIAoZ2QMd7pst9nMFsZS9tjaCRzUSnDuP4DxXoFP46uPFdMoqPLGgmBk0RMz2RlzX
5kB8EgSuZoGS7K0wvmnDkvLdau+SwurC7ludOorSe4q7gHYdS/iLsugGgbUY04bb7G1JgLME3bfa
KNFGR1sZKGtD3cY6vlfTTmHjyOTbhGOovyFm9Gf6lltxpmowtgHoSv1l2xO0VRghknbuFFhC7aOg
eAcJMOp1pOLQmPNar2OOsGQEJj5qoxftcQKt5ZVPsLR/S51b5x8cdnLMw78CZekAVY3qVSMWaFrC
RuXsmFQ27Et7lb7qMbomuRfYwwTW3ImZ3aU/irnKlWtoUqNd8DWctA8Z5Yf0r07vo301PhmE24tW
WzDme2U7VlznG6JZDqFUh/yRx9cCmcfYHjNNVHkITJXB08guZFNvsRkz+0cj7VT9WitL8FCRosDk
C/0dDkiYJuhyi6YR2y5mysLmI7pFzRkUTHNWAZoPf9eUhyR3oVoxAnPqpZypkDIemIf4Fbrm6xQ+
enYuYXmhK5+TdYuLnWMyh7rJzVmybyPv1ECuCaFHxervgD5G+43EXsf/k7kT2Hgb+yYNHn6sYuxj
3mlz857UZKSGqZ6d6ldM/qG/MF4l85+trP2PpDtbSl3bwgD8RFSFHm6F0KtgrzeULpWehBDap9/f
dNex1nGvZQPJzJxj/N3o582XSukzm/9Ww/ANMxbP669z9pGFKeHr7oarfJ2lfHu1vgiUu33zcXFh
nS19z8RP7WrpqBG971a/81QwzXlzvw0n/dUTUsr759XmJaqagtOU57RGlgPiCZ7WhW0c+bE7UWYr
4s9ZLZ0Ul5ISm4O3mfjlyr/a8Xm3B2Vlc2NdTbidzUP3xd/fxGlH+jjPTeNlM31bN36OaUTtjhhV
9paqj+U5ZZdFWc7lHpdvcz1MMat2m5WtMvry7jvbR6Li1WbRXvEjlKu/JeKrC0HdZtmbTYVJ9Ha7
x0X2ekrWrZJUwrQuJqr6nZg6WBDTsFo6tbwRE/dUmUj0OSpMY0p/Vci7lfplSGCdXuptvVJ1cZfQ
mKzQLKjD2UGnUFWM7DvFa7ea3y+q4prMGl8xYuZVgbymE5eVvpsrnKz6GjU1bJtap96saz/r96vK
vMgZUL6bMngsmsMSKwfG1wS4l/y78VmlFPq20TOsQMh5sgpk0QraUNbWunnhqZq2U3Uvo6EusGFe
B3mBUg7ptD0MrplclXY+D9Or9DAF7Oj5MbgY8a7VOE3vT1HPwC3HxPx2MZ8gsSAz9azHqJn/W/xe
V536gVNX9No//GpSh4d3ooooKKEXiIjg0qEiYaykQavU2SiDr5a6LU9UOoDhm/zSnT3uXpOvA4t5
JC7IttNGwm7op56CZbjRaT6BA77no0Jv9gJjnX5gIC6/a4MH92LYVpU0BNXoOqOnRbJ8L2w79fT5
mEzMEI4KmuhrJ9sIVepS7n84kSk9SnmYuwytpNuD9LMgJdyn07g0jfebWGklb2xZHp0z4wa71YKJ
kLEqVMxMOTKY5PaIh6ZzAnTN2x54DEk+78onhgBWZh1XWbzHNMgq9T4hrzZtcbeTPUJIGyaFVSUR
G21/u8kNsgyI/LYcaI3DojVTdTQ59PlMeyLJGy3Qhso2C7qUWdQjz3d/jPfEE2AeGpRTuI+pN0JE
1IECh5l2UutJYs1sPAZenPgSxXGqIJ/11S3TmZQDiI4KukP6Lk2/Xm3WRddUuqvV4yaSWRjP6zEy
OKcx/zN8L2eto7q95ALzSHeL6/giK35mJ+9PZ6gxaSIDqSMrTtxjgCGb4kYIZrz9Zaf8tREgcWw1
YPBX0zv7WO0LnkfxvOqWC0N2UD3WPkXIx3QnxX0/iXqX7ZA5+FAbcusivaNL3y7CkDGeGoNUDXTw
P5yM8YHhiCmNLuldEP1kHaJMDOtZBsupZ5aAAqg5716S7vXaKZdHldowKQ2scaGiu/JkUXlCZ0mr
Vvuus16R9DR3UsLUZtPHRfF2mvwYF97A2M4RF72zjDKtxnWEYrj2EkCYpNZGD3VwINyp0m7uTp/F
5XNSei/Wekfgx6b4vCv3Z8fOvjC0kUHfJhfxwrXWednOCj3wbbk+WmYfefq8yh4rlW5IYbzjZudP
X/AxnvvR/nGxGxTTzpQJdjkss4+xmheX3Sx9blbaLOWrZmdTQQt1t3RtP3Wc3SD6oPm8TOQ0720T
9m7b8yXelXr1Q39f7gN7jsuhgOeCKTpVgi8jg1sHHDiL+nJYnPb2WSefdVfndtoUzNingspmXW3H
fol4iq3Q1MOkTDJhNOuU00ma9aJFfyoYfd2xDzisj/v+5YD3fltXQvghdKqu9s0hG9ZOZztym7Yj
vu/1dVwv/qRkp83aV0XkTjrBlCFdiocY3U/XIHhhaTJofneuAYR78+kgzbvisY67PuFD6dBpnB+a
p269dLfe33P5N6ZSQgX/SZE1y7Vf2vQXX+UDe3GrMlm91DVOzS4E8lRiD2xMhIvYqbjAFRHbeo8Z
KyjIPDlTbFZsbLWECtnIAvWa8haKMQFxrdzNmdvLrxcHRvJc/8sQqC851fonOBa//fdx1VFcUbxF
l/a80j4Qhx+oENre5mzfMky3saV56DcPquROI4phvQXXJBkJTxBasynobe7pLHzOqt+oExFJpQ3P
5OIL1HSmAg6xjb3laXI4fueFPsvkovi52/a25vtJoj0aBnJQCItxCskv/U2hLY63OvvZHcZHyfzV
8XzxUjy/FcvK0Q5RHhmJgz2SoE74um3NmJmWbUFNpH+LSqf2QRZtw7XtBNsAA+iC+CI4f2xwl0K8
MMJvzlFxmKTfgMHkbvMCZySHAraXil3DpWA1YCHcARx7syWXaaF599zWzm853h9SiwGCBxC1y7ep
y16QsjGaPqcht7wpjeS2+p5cRvuryBkIb9/LnB46dh/CcGppE+qFjx/lWhyH8+197dhuGqNM9qLv
4UvBd1fiC2NCIxjcPc/2oYIhq6V27vEtxFyabAvA/FO9nSb3pxWZfas6a0d3a1E4AsKWMi/bU9CH
QGZRClwcBZWMorbtWdIY/5/IoC1ubLqVZS/ZjuvSamxConGm8TmLLefyttPGgeSkRGT+QltW8flM
htEq12BsN+tzy1KqHuNZ0nPulblxPMry22/d3I2G2zH167XIdMjov7/FOJC4R0mbsj25tKfP/O6L
YjjB9tu76GOx6Z8Lk9VUuoBI8ks02C3F3PXn2/fydTw9fF5tq6WBb5gaAF26m9Um2+2odNcse05q
k30+XpVpM+ovtVI/3z4nqo/Gbniu9a6FjgKzPH8+n+8ykZ/VQaWkpb4/i0FuHifrWW9R7lUiQs8J
fulSkb95u9y+NxqPEquOi+dSMt74vavXaHab5F/F8yueZlZ+SptdJ2XBDIj9v3Wzz09cztpXRHqz
65mdrfrSKStuqHsn4q4E6JSiOJKsV0uHfIFFk43N2mw+L5pOWr1RIxdtFQtOqkX3gKKk8l6efc1O
D4vlrSgnJFFh+bDc32YmDs30vZ3zZVhk4MF4HzzitY4Wo25QR/kJEz43P7Uyaa5HxjybbA0miCQX
XqXldtVC24ZR6CYb35pIb3bJ9H57eRRc2UjuLtfeJbkrM5vWhvSKUlGX+543upm97bfxqT6kE/JN
x0a/mr95SHIiCQkSIYQ/rkNyMg5V1PvNwRC32vO+1j5Hwz0NsqG309jypJpb1x+Osy/Tbk8Gc1ZG
zqlZ4THJvj+S6CM7DJabj935M6oP53j+goOyrQ1Wnwhi1VeeyI9RC6s7UlTiyKwUF3STJlUGM0jl
l+yObhTmUdt2ZVN7ThDjqP79p3g48lm4Ce2d/ZLcxMPlo8LmwXCYdcRkyCmm8TtRBbqRwTb+gGTU
Xf3Q+5Awn78Saq0WDzDhAKy19gOsb4RpKZiQxg81BxiB2PlxfS+i+b30XpLeUuqJ9koPnZx14SBX
tz/l956/nLMhSmWbUO9214lgntZZPhJKxnxPtZ82EjfszC0EMscAEGJwMvBUIoUn4x1ibCiiGYJt
yIlZZ4To8oPxlfW4TtJ2bcOyuHJOpc7eJ3CQPXVCuHTyYIQsmGMUZ2uxbDclZSs/mJi3IPi20eVP
4IC5yURx3uzUX/V1M7Esf1ZSetv5P63I+dFXE4yvhienqu5p2zYeVCW/SlsXLlTGQMp9yNhKYk5r
nXXdMJ8bTQ7l3yFGfqp7OWPISvo7eUFtfoXVD4soZfhR2G8Cyibq5u0MsE6jToxf1KGebipPzY17
EmgDQn0yQzcYLNVeX2mVbyIDoA+x10XM7D+hKQ5EgXa7fYe2Ne3nrF7NrnHs5JiWBvjBG/LgWFfJ
OvgZlrneGEAse6VXW7YpbXUbq4eZMJbmTRR1jXI4EVHoNIqhRrHgyRYdwwwzy0vHXkekYfzxZhsr
0hXBlt11JlqmJd4jKXX3tRvP96jEy3dI4vqmlb5XRwppxKkXTa89G1pBVi8FFNeuV3Yc++f8UXsk
YMGgboDs33WuzrtNnhPGLWZqzp6NEyKMFpY3Q0lK527ykmUvGc75RVBEJk5gpU5YkDY1grZUoyRv
gFiZIMrXYx292KKsvlqH5Kp0GN0ntU60HkSrvr8trBXvMtR6y1w+bRxE/n9vc78zu7izKk3k3jTk
YJAdTu+CATcfrK7U5vLvQwyl0BbP3HUec0tJ4ZvFpPGqtS1Adx9XNt28NPJneFW1nuOIlDTo31ed
UgUN2C/su7U1pbIclDYT4SJYspjnPOjEevVS2+EYtohFOJ+NkQ6Lw8+mlC0g1Xqla39msEYlDtWy
ryT40sbQlGfC71rEVdaIyB6pcWAGDqfrwmD1oN3fv2gEvFMUm/rew++RpK7Wvn8j+m2LpZN5H8P9
thv90lOSrOdjOsbCq76oKhVH22U1HIm33JvzFQtMjSILv7/Y/biL/jI0WWHUpEkzAnbSrC9jJ12O
KM1SSkU7mMOmIYa8vajS0na8UEoZuks/V5CPtkw71FjSSyoZu8raCwtbw5yE7jIap43+UXjMaThL
vuv1/ioZV/PuLuvUloP8IGCP7xHh9xfvwyF2DPp7zh4idKU6EQpjNeNCdO1vVgMWemVrdqaWak2f
uQuR9N411ZPQhGjTnbuSI7pKjFJBMsA9JEuv60woSiMWTNtoVwDSs+EazQ56tDhFUMxjB+rZkjsP
QZ6JqQlRuxy1mYeic4vwioaE2x5RPP09PupTyl+8u5kuO2kzasvhN41JZH4jbLxXweZGhh9CUpFa
3oEbdNIiJrD2boRKada16Ozw1UAFOIOOb7pb/AOnSCUNM3/pqnjNIa/ZOxPP7oenAPlDq2+xkANK
xjiXtLoxZd5i3aOq8k5sk6ePMETZ8MddnKc9sYISK+yE4jGmfje89zAQMHKJ8Jlt/hX0gW2QTolF
/nSiTRlUq/c+vxy43KyB1oy3R2avXqZJ0DK4pLflOug6kINUw9WoFUIid12XggJyuezUs+60EVeF
s/45rrB0aGZBRmgLSRnp2Pa1T7rlheBEmKWg57A3e8kymjblYbHSk1O0uQ4k92SPiE9IC6iv4cm9
xuqQ/ZV+vGUT8ZFJ/BC6RPyyjXXFojuqx0EqTMEQMxtXuWvdYGcM4BgfR76LR9MD6rmIPpffnlbu
VQ+dC1r5pamf/q6/CWZcxF2NLium+8QfSgowGfO0bZUlgkexTAhSgysaf9mVplqfioJo5Vzw63gv
up9VlmJ4XPm1rbn3GEdPmO0AGsEN7J5MbQuE2C2Vc3PfPqy761OHa8Wo1fW0UxDPvo6bhC2bnktE
jrZLuvo/hcNlPUBloQa0+NfawPCl7Ng51m7LSX+z7q6iGMdPBpefbefL2eN+mek/rq1G/lE4v2jD
n5bNSW36khj8uP8o0KMvV0+Nws+5YhbsvxmWZ3N8T6u3y/XtrjrOCWgKgoAn5Qr7+/VtlozouQTq
Lw1GXA6X0cMeWVkaHo+/zeXTsXq7cqJfBiFi6nRr8IA89SphRiLUO+TZ9HLh7CZMYOsaRIh96or5
ubNb9BAMKonLipSiTaCApaZZ4qc69ncPwS7tfDQAjviD6onpImkpFA4y8ljLZB0c7tc72vY2E9wy
Jci7CRk/dJRfKzbVpTDXeO/QZAc1H606iP5SHniKFTesajxoTRF/x1j0Q1005bG3C/GOKhRhyjdr
cXcnm7DTxcGp7YPd3hSk6R1c0VYNEVNvnbV6vHn11uG9SQH2YP7zfjYwIMFE6LJW6ivrSTe4PtQ9
euPDtOcxYm2ef13Z3aDnj7TfD+IClDoX/SEtN0/7lwHdHN9vZ/hmIGaZy4LsxcMGOi4TohW6aW3S
0OyeRk02V6JC2kZF2yLpRItuIvCwae5jr7mW20whTrlG/XWjE9k1b8opYvCm8FL8IKDY/R+G4egQ
NRjcd8NyuTcLjz8xUrvEesAImgyEoeCrIg/A35uqGNBwjJVwxSLnHoaib46sb2cCTLwCKjoNfr1T
eJn/JgYdCsC7SBaMYb3mhNkglFTqOsbmO4lNENRrq0pUaOTp+bt8bDHW1H6KJSKMYBq6PHNsLrOY
K9b9B0VrnPzLsdCiwSpoF92sVaw4S342Mz0rAWE30QKCajnGe+ZzUIJX6qJ8eqfpL2bOK5+dsM2d
4uz9VJRKHM8r/bT24Su3F1rnO8Pt6RDTDPzTM1KA8sO2u7l0j9O25LVwWc7kyh02RQt6dYrX9UGe
9I+5BPg+xczMplcMk/IMnt6N5iZ7SdQXweGt/PgDcatayt4r1HrmfKB77KxBJm5gszly+7bt3bvk
zVE4kL1jNrCj3nqYFPBqa/D8eEiIIh1DQUx+H+DOH+WhnfpSa60GFEGsoIpoJXdBimWhhRUo77oc
jJ4U+SHuL7uoWQquGmqYUL1Y7SL6prnQqG4tv88WhsHFsitMQboexjIy8gUklKGhN1d9Cgyv0+04
goI3phsS5vavF/aU1dBj2WTKnR875fzOE4e+9lpcvMbypXZ9K9NzXEbTyqtfSG6kXA8KHkOm9u2t
fj7rei1S/v2eawIo6tmK6tv+5jwpNUYrQ0JHEt/Wm8ksfeDDL7YatVY0Ny+n22iMpm7rQaXVyau3
RZz0ZSR3vLB8OpNm0N8aG7AjvZAv2OMMXiFe03YxbSP7PHzVct/jmO6H0bFXOk7mJ2yMoPT7S0HA
8VdKGQ5sEsYvOrHJUN3b0qWLnD3GNeTeN53aVlpro5tnnSmt1r69J8zSfJihtepNG12ZlZvYU7zj
mJM/W7k9LF7EmM+Ot+tGJ20qQXuERhgG5wZLsvUudCo9dbiha6LgT78znHapkztQLwPjOvZrerne
nA7LxJJv1VEwH0MdURZWfa21aZje1HGPSrNedLy1AHRYOhhjGnUO2pf8dfPsGbQ2GfNsxvr35nAh
AzOJpZM5Qg1TSulnc5j0EDtXrf5kjX/Fyqh8GNTY6kpjSkVFkWeymPZ31A/7Nol5QUw+lO+f8l9B
wUoTTOsEEthU4CRvSivkmTugd6xQrWA7+OAHxLTwONLy6CA8BnZ4wXgOIjOZvkquQC28N1UACbZw
kGCQtI7TtueN8tqhAeY2vxDNuP/RQ8r6gCgh6O0fLihzMBuiyBdw0LLzf2OcByKawzfkzuFYRQvd
G00Pm5Gq+lT71O7IGgztDPBCYL/r9M+gUb2g/v4cTMEML+yZ11DZxH6OD0231+aHGcjxptBmz6d4
cHn4QtXTV49xiIekkAtZj7zgx295iCg2VV2iDSGi5fLWJfj3vLMgCMZ4qtLeDxN1j9ey/nfkTFfT
1F7KI3khGjKX/Yp34dtzIGRSdJGEYdWcgYa+Q+Nm12mWYqfr1FzsRuDeXZvm62wxmDkhuZyvXYOk
rDgChl0zRkBSNO61VlyhkCNJn6UuLNER7Of51oRWdWbP7en4PesnMUSrsOoiNn7eMU2GeCScip+g
2iHn14dpCf/yC/b2eI2eIAhiE+O3irT3itYuEyjlR9bo6UZ0M1eePoHaqzbNQuhD9S5/WvpNiXs8
5iTQuuyUftxWplgvbr6MpbSXnf8m7a6MsBMgANldtYIqv0ji2OaE9wD8hfA4mhc//pBskIqZnHca
DlSEGBe8H0E3b58DOhRufM21fnP2crjOPaj6/CeOdpVCBgwphmIh7x2SztbuIa43RIv4OQ7JMyjx
1XaZ3LL0qgu9Oo/bNY0ljtGBML1Pn0AjhDfXqZxTtmgCn+DvtfxdwvJo/Q9MUZMB8Qi8qY5K6C+V
aiVEx3ieqiMnA2Nu44UvWvVoRQE5AAUB2VEGIL0aAUWxOh2O1a9kUv3SnycDquLvVc8ydJQcx8u3
iuyIcFuBDk+7QdlYWM+/auS9OBLaN3QFH/PH1dBRtHvQJDQG4IHTp9JZ9097ai8JeixxDDKQMM7z
vgXC2xdVQ5OkXmOkOH2qusOb+VslUtcrhO8qc3Vu1MnLynXu//AF0QV2MbA1Q1doTRuEverBan9R
7myrAuVbRc4kp93+VtwW8hBOCbjI3pfKAzkUrm1lXN32WFpm87AyxZFfVtyCw/NpbIXb6kPTcRwu
S3fGu+w3vU0Uh866X8t+9uJ1yrWX+u6+CRvOyqC23UN1/VRZ31XKw8qVf/Q2q5JctcltpQe6By7H
IcR4sCv7ZpoxLqvSBDPbnFG2t6lP4QM8p9rMzSZeGcCpKX2uTCqT00tQeVMMSZk/h6wPcfPOc3uK
/Sj6sRWKN207zUk6aUIFj1O6C2me3gR0ULFQ+etR9KvXjk3DY9B8u+ZeRYCrVEV8F8XFO/U71s/j
s7CCy+1cuVXx8Ozb61pcXZjO0U2pmnKsHSBUy9JtVMYSZB35HhN3Yb65pYVND+SpdNYcUDEgU3as
ER7Fxf3OcZL0DuRoxQ69bEYCq86oxwS1ma83m0O2ukHPxRDwkCdttaDaS5VpsoDNmN9/WY7P2un5
sLkxvSTY8f/4IbB/6JQSCELW9jcNHq5ji85c++WdqBTSThOy3SqdWw15+4bTMvkn/WspVgpqHLZo
VFAvVmTeBSnzJrmIy4M35veB1ykoW6Xn+VtuTlJIpGuagLzoZePj0+XlOMqerPGX/Uv0uxxrBAFz
U0Ojg9ma81KMVLNz+qmOqqP6kNSW2+ux2tsNjuPz96b3F4AmfSW6XUtRzsdFTvHL7fzNgzeteunT
awjRqCe0a4dgwkeJHn7Pb1eN/bol7MH6MOB1UJJk8zcAE9cMHEhJfh9mtUA7ezE458uvLlLnWnwT
uyAH+fILlwF4TD/8WJCQZSicBkgEQrAIk9/8Xxqi4UMWjxggCxU05Tf4ECNZfAtZko90Ypz3JJOo
Xv9QM2jvpvxGwaMPZmpfBu4JwV8TKOWkOr3MHpLPEKyMzvs+jrya6tvO4Pj6feHeoHGTV9nPtyMu
Dj9BhM/v4mF/Z784PcCqQyrN8RuIGLHKZ0+nz/OTdbv/uNwlk8ig++ZrMlEZH8fHvq9sBDd9QM9E
KW2/07GDlBTj3obpqj+dHmovazn1bhO4C3jx7+oKvUQEaDKHp91pN1jyP1Uh9c6md7hTV2Tvc1gF
aQ9I+KHynAyW7/kTRv8vqYlC6sFd+9w8UPTeNTvTwaJ3HlU7x1FnynoPNXhRiQzYJeJyO+2U5eRe
X9Uhy7Ys255AvNv6676LBRkebqPn9P7/uEJBD6q5AmxZmp5gmOZw/oYE6aluuEs8sSE7N3pexdXh
4RmC56P6ddAD3+9v14+p2LyyyFrhtB/s1OqL6mv1Nbs/3mPd48vd1u9u9BWOm2dNr4CaZOJ0Fjjw
LAcF7mODqfyEL87G2+9Fb/OAWXRNBVeF6yIv7M5WY9rkVNWzffcv56fC2+VTzQb02tVCtsB0IGVU
6JEI0l8CSDoI8jfr5t7iwcUbDrO+qf+D1Vq8WBVL6fjmv+qPw8YHgSnouXw//Sj+K76dO5cWBpDR
b1K8x8eIQzoXgwNfvokhsvjcqhSph8PwMETAnU8hV8rfr0+BLPT5SmFLTf4+/Yz2n76z9kynsf1X
/PZ/iQxc+MBf1FP67+9f5KX4wem/q7gJfiqFB/3qBzjNI5H+Kz9umyHDiYtq9VsYlp7LI8XbeP0+
f8++ay+ws+AE9+zRan2D+Q6BwZqGsC8AekA6pb2UQtCj5eOiJi+lRiv63X2KSyAcg9X5moDiivCB
Bru+eQz+8cXoG9cy/BxNnyggrokSEMovzL+vT2q6wpfDgcrIMs8fLRMaffj7Pz6kp+24OsrHx/Hh
YTUEGFsGuwn0/bHwenw83kvf82+5//JA3dZ+ZkOLJIDEjD22t8NdY3Dtp4IpiqOtweXnvpC5h8MD
zVImgyoN+ZHpt5fE2/Xt9h9KXWZv/08kGfaC9Xvl3D5MbKF+2Xj/4GXnPIwe7Pkbn99t85XS5vwX
FeJC/5xD9SI48yVSMKrgQo3f0JNzyvqcA0//qkjWPTxd+9n35c6L8L/TB7zrrv62HcPmGgGLm783
fjcPrhxtWeUzHftpfwzFnTh6d+lTzbJ9l9gETPCwhZaUnHNRWXejJSRNWVHMKTymw/nJtK7EUJdl
6Xa5ULUbGcfTU23wEeyqD5UKk0pzEy8qK3moEG+nW3VVCPWKAa3YRYrLuiGZ6bQVvqVQ2gxT0srq
mYZG9d0MKWSNfX+eTe+vuOdlQmlfn93vzYHIS1l8TOqT6yEaVK/Fu+muMcj1c2nZvLCmHKvn7fFx
asFEsB6bdxZPf7jbLfapXHidOSYLIEupTU0oAO/pEslFb83Y1QBPJFYbHFSLrILEim+dtqf+KPXA
0bJgtl519oRjtTZB2Xo6WF3iIM2gl+JB2cROoJDozlaV9XBI0vlPNTWuUF0FSccsPolCooWkCNXS
x3rUGa7mnUP6uNnekUllmS59xEzY2I/wxyci5WKXuYT8Sp8XVFezTpZTyHQL56EVT+KiBXDCV67c
54rhluPLtpH8lgmJWx7I+Sj7l76pnBYPVfMNw/nurNcQaMKmhDgkaqHtkAIieKhbNwtwF6tR0qQP
B/kjPbV/l5/5m3UlX8AB/G3ZXcJcA/WHIsY3YvQ4WvRF1qHDJ9PxCUg4xWKP/m/hxIftJ5mHiROM
/QG4HFJqXuYKY9r417Cz6ieZy8z1oVhsiPax8kIWWJ3G2g/ePdftU687G784c2lxBzLv0DpWG6Er
hOMcHnai1ReyP3UCUgC1HIjD6vy9xiRr8CRKZ2bGMzqwo4K3Tyo7PSwGNUND/wn/QZSKo2p0gIWQ
vmLWejiY27DtTPkM3W3xUdpuERAEFSIIjKoheIFbm0ShjvKVMr5A1NOeqWbFS5u0WCKDn3XCuLCg
KlhkPZZaUMNdrdfwCdryywA5AOC0jCWOL/ntCRHQvCnavg2F+q3Nh9NaP0M6fmGKoYSFrNU49s7p
QNmfYVh1Z2KLTGVJWk81j5iY1JAyuzCJFN7zl8E7R8G6smmsCdPL757Xmm6DR98xVrVfZciOwQXS
2GpksMPW4mH7DQWbkdqclSPCnJTSfAOg0V4+zIfgLihdXrlfc1kmvTmE2ICqpLVRy66kWQ2qU8hQ
qBvBaQeiOTljRyBCDKGCq7sVkEqVK1gUGKW0hepFs0GDQsgvm5nq3QnIX0ruYucIvY17L7DJ/QKq
Hc2Uh18ZdbLt7ZZ3QsN2NDb7u90yXnJMcHVs+pWT6QwDkJvf5W67Ouepea+x1/D/R80hGCbSqNhs
RIPVz59zH81kji+0WAdble8Fsz7dYPJ1qnlvY/kIzFJ/m7Wi8n7PwX8uL9mhjfPpqH+VMj63S3So
s5u3G/mRyj/bhb78cdo7vEdOUYg7CS8wGnxohKiiCft14zWSwfpkfjJqqOUewjWhnEAq4LvGwUNG
HohD0hdqQFUgCn7EdTTrw2MPJrjocUuxORUQ/GO1W63eSgHMYVK4pb/bsoLlJW1hUj5mp/7i0i2T
GScd/brprBbwfjnUs+irZx+exObwON4+qZFRp0i1zDCKmgXV5nES8JPu42wfq7evTv95C8dj/aBg
HF3nb8iM1WMTsAMs38LxISvs4y/7VDEpvbQQTmzqV/Xk9MVDq1OB1iy/g7bA5YL8h+oK1EbMG4IZ
FQh6Q2eSZHnPO2TRNTI5jQtn88GkZf17xfWv0938fU1a9Y0Gil6gLOoEMffEXGeICxHOEyzGS9PN
6OKiBnaoBfKSegZqEdHhk32txYmJZSwth8c0vhwJ3+42LD2Vu9qx50aY0NYoDSPLs9bNKDQ4oq2v
adsSkzf2h30EAAMJIaW5HgQdiADCDZBElrIttmdIgWnQPbgPdhtLAEkBx7AslkZ/WlBfZCJZDzY4
ro03AnUrrbTPlmGCNupy1zrUSV8EXQalzYun9UpO/+5tZvLmKIr/akseHxusox3ytXx3ctQ+QUrd
k37AJW0O829dQPpU/7f51JQh6d7k48meKt6/kDrodlaf5TcqGKCGDhkuAbasXUOeCuY9YGov6Ds4
gztXfDLd5PShXjlMmFuCxeXgeobIO4144xTDwnDowAyP7ymYpkK0oR3J2xYaDc23Ix1+msPl+0nI
7omlTliLkQVBc4mJ/vVmie3SkQ5r93tSC5NXPEZpCCtdyIPF2RC/X1pSbwWv+SDLO7+V/1E7SGmR
HaOjgyXM0blWHNjPgtDZKFzHFNFk0vU38rKGGaYxgFBd7sOciTelutISMbanpSB7CAzK9rv0CRb0
risv6fjcnw3yXl2YbeHThs5jWCs6AR9mZlQspW8YOxdn22G+HV7w8AA/cTKndrNO/oeCbC2pCB4X
oYaNp+r0VuGnIXwJ0xuhpsOuY6uZ4xDwOmgi5xidUKNTq7Rtvx5aoY75q13E9tlskEf1HUbGFfp3
e74Pu/3m0CYAMr6lFEgTm4T7oKW/PDs6az/hcA6qBYCYU9YJGp69d6jUjJ04SCPCLfRIhqM8ajv3
IaDuq9M/9Pg/iAhNePQzNfMwpKEW5aNcPgOhIt1PM0SPoc4UsDEP+T7QraW3KPTNVOIXjyOSncYZ
+Eae5uGHYcM3IZs+CcS5Zf7S/EfuLvEjzFIqh8BDQTiXfQee68fqS8FVySddi2CiXV0cmOE47rwm
O/ncf67/XfvMN+DqWwC+E4w+KgNVK00xCwXbLTGLYNR49WceLhiBF+evLnC+7aNH5jaBZcvUdJxc
xKN7Ie7jOW0d6BzNayvfmVHu/uzr8QxtU2x55hUcSM4SP8S2X7+0D8VO+qUoUE5Exz5qQB2Ss7EH
UG1DCV0Mk8ud5XOBapBSXzXO6jfsidH3EgZBi7Zu5cbBntkN1KrtC5gsazGhoCKJDdl/AnFZuLTr
le40eW6KBUW/ibKniA1SABi/nbLVmEnfaG1dImm11c65ECckikT08ip/K09W2sURKYcW9upINQOP
h/mudug75ZjbrMWlIDlOED60EH/quu1OfYeMtXRBSbnA+ihh9IvTbW66eD1Eou9q5HWk9WN/g8BC
gHNF5sagK46G6gaarj+VWiBNktVwJUUmzARY7Z4LEhr+8tq1Djckbs9HFAk7ShvGu1+yIJC9xtRz
9tLTKbDIzDCVRXdfhV23ymn3wCF9ejufRiqoQAZf2i6ufRh5ikIVuYvXtvGugFzUJs3g2OZ+T87x
yXAekpzi7bbZJwhYbzqrMt1zyPdBHaBWVp5MMkxRWZExnt31rL1+z/ft3ZaepZvozwuD5fqDPpLY
8njgjuxieALWtu80jMYRsyFiKukSeTXZfPKeDDUgHYUGfLS0G/okL0wyO/+2szu2E2kDYIk5uWOX
Ku6KBcT6NZ6mRk1V21yqKZhv2WlOu56flWCc2cQzUn4DZjoB8JdSpi7SPOcDzviZA6vMk95jij8e
O06xQNoUANv65rZ4p8Khe47GqAU7Is2crfAoTmFG680cS2gaeyuOlP36dbG7AyzT01/ERcHrghdV
lsTD3HiOeVd8jiwKfCO1cr6fzMsMDZNpaXJhCja3e9mf05oS0twtKFRKkwPZ0u6WHEiNIfHM5LQ1
0ZyYugZBoyjCm3N/+1ghA/NMmBW/nofAW2IDhlPo54Xv0zFb7nss11/ZtjeXRjkzR7ITlt+Sdbgj
SCFCXyf9Ctvp1B0QE9whGg2rdtWuIGkiSwHX26b1l7NB6kOtBz9QyuBpqL8Mq3F+bY2FYCosdZrl
3mF5N08HJxFAHA3lfpVlfvt5Wg6R1tGsRz+o7jrmdw7y2qJL0qI+rBX6QfDpaJ+2d8sxWaMoXztR
LRldds8HU0mIcU6yc8dFsTZpJy208CyArdXk3HOSv5u1Er2XlEh/lWf+pTxdfKhTfGxOPYRBsrpD
QyuOr4ZvZd2lHBI9mCfIJmF2jGihMIZLSHGpBaI7sZ1NPL/6KJoYA6OxlJgGMmTcf+2HxEeRBOQG
cq3o4mW2foQQLjDFDSERLiy6BZiputA/85A7EJjwVFOJ2z8SpsXRkaiyJ3+YeAHdg9inclL7TJfx
/1UPJiXT3nnnLHwSTFEesuekjyleo7bPvSJr1G+BP59W3RMaUpWmzC2EcgGd1IRQSLPMGZbbZ09H
VaAllGSgKfDbbfD2LS2QFa9ZAK8jbGHr3N4iKPZUsfWgOAoU1bAyNlfGSlLkX+ncyi5pSw/XTLvs
4v6cFvqJpbbtKcv8az0+iRGUlylot8rZehPZm4vtInh8RsBIxWACVUy9VSEasPmqpZrMGY6HoHKJ
UIt6h2/bre7Cyq5ntFIggfArT7ma31quvCsbGRx1jw1H48v1rnorQcmtIC1BQ5lM9Y9cpvJ4nRSe
Z6PipDip327Auo+GuT+Xb/fvZShYbzsM37p5u9yXb8uT4+Dyr4Acv1mMI3MKeNweYp/s+vnL+Xf9
UrrnahQT91v4yNiQ2dOEGdztyfAei9nN8nP2dPRry63stySQ1FRoU5y8mvBrL28lwPRL5d/lzTdt
RqPG4/yzdH+5Lz3OU5F0uWNfcxoanK+Awr4ajaf4gDmQquV0Y8kd3XWIqwd7Bn3nCEq/eim+HS43
AkUmIu+PRZkQAcIJacxPi6+yAsmz/7N/TV6rT7PXq/Zaaovw6KfCdwiX+ALt7Hq7Yf0bVCl6Zby+
Xd/O7mf369vlc3lcfzqPi9+Lr+wUouWPgtu+GL1nr5DT2Vfpw6zRncT9i997E0iEXzZVzDm71dv0
o6p4qreqj2yCJy/or+b0SjXyMN1JJcDyn7BIxAI5ZfWf2pXmMShg2tO/WnUDlPGjosmxMx8nAP4T
naLkIvX48rsx0LtkfYWvMipMPBDXT/FJkrdpA4dtnuogPECB1Kgsbv2G+MvfKP8heQt/NH73d43f
UkDwdE5Ksz/vZABHNAFnmOL0Raz2I5BwTaFuK1+0bXZiT+aYHb8V1/1XnFU+Sf4kU9GL+SEEfshN
laDB4n+zeqQsll5qOwpXaG3QsyI49A+ah83vOYxMcDH0FfDqojKkiZSprimGUSP0x0YZHi/zx2l1
L0buZl/ek9pVe/Ntcr+sTV/rC0ktlQJxVfWpfCIH3iWj8z4bnNNN+2d56BTNkZ2V2tNtlcRm8Vit
nN6M7O5Vzic9KY94nX9cPFgTGXogHapG2+55XXjfpFMgx36yWDly7ZJscJmJqFH9ONmmMn3/Y+m8
tlTVsjD8RIyBIgK3ZFCCWeuGYUQMBMWAT9/f2qdH9w5nl2UhYa05/zTJsTvfjfmg+2uuq+9FMIh3
QPULEwdg9dleOrzf/UxdawqsxV2PvzLpHH0dP7mjq7J/VVRPkWG+p2IlpMazjCnd08oQwAlWjQE3
mSPF1ED3ozG9eoNUi5nhiO3Sbke6IL71g+FQwLEOFUfJyej+JEubUjEWFrIih8qV/1EeAZ5IQvFP
GosN+Z6KL0lTKSZhHjg/ZcFlcWRihS2+AJgBa1f9/78IjhcKD1iHqRGjdD6yQ6rEC4j8HPQzk+sR
mvIIu03ZH0F88ANiRiPZ54TtRSe+MWIc7UhZ8SV2Gj4SdPGONfkeNsxpbCFUYDesfHI/MkT2y18J
40cWY0qW4WgxWl/KQwsWM7N1Dpu3EHjbSltdbHUn3vvMxvXHSZryCaqIcHzckquPRzRo+JsTGG4T
wG71drnDUCkHg87h6qDWtC//Pj/5PwlUVPJv8spjg3lXZIkPw764gxlJYIm0av3Es2CIoBHn42Gc
Eg+IvB0u681wCT+ORIQYqO1lQ9rr3dJPMFUH6HfGEV7tlkRPY4cFAvUBxzm0zqiZxbwjRFjgM2yD
tPFd5XJaCthYRIqs9Fx1MYIXzIHN2MF2wYmJMJAwgZOPx4CbCOzsItwQAHlMJLEquAR6LzbGnolu
OgZXiJDWfAjfJpvVbT5OIyYkoJMqHGQr9s9+2+fDI31OaLH15c8mqTClS2+2920Pgo3Ft9rSNrUB
j3ebko29pVrVPcP8x3L/xm3QpkwEsG9wb7Kw+3/Hryk/l3jNB7MGwQhiQi936ph2Hu1HTqnMAd9D
JruN34G4KAwEswbOJ/7OCFn0QSIX4rzsMtHyVEcKzcuMD1eQTybAPk4GLcs1yth3fW40RLrcz/qG
EVAWulLvuuCW/2zY4N4E+WNhpjduSRzwRbtjdRuAUSSlPAQMBuWWaQTwyW3EOyMwE0MXPojexWiN
nIFEtwSxDPJFjzmc3PeWtipCJIjEwxyfC/hA9ILcPRo3H4fOjjsSqj2mb55n3M6yeZwC1BAVwvjQ
/pAvqFNq0OiC/PBIv9LnAaX3y4/nmdpfUHDQXFD98PwDJFL9vC4e4jdaND4yiOFtl78DZaofUL5S
fPQP+rg7PHIzO/D1/N/4qTJpwhbuicwenliaKQBrvXIZoDmpVe/M086jiNdSAjykrDvbdAU43dEu
ciKg2RKi+6kDwtdWMrsYofeoW7DJvolqz0cYgRlKQawFQezsDTwHJLRuKnz/PB3tuL/kGRmiqzAf
qR4SCB88gt/44/FkAuwDk0X3kIAznuy7ALqeRx4C8IDhsbQViPub3UwQjGGdoXblcvPAsLggExJr
CE8CD/f+ylIj6jqVWT9Xv4s1plsayXkOAYyd0sAkLmysr9NvzfYBaAOCIMbybOXte/6AQH2kt7QO
2FHfc1wFaTsmyAKl9xbQqCC++R83CLLDHvwDrRELQLakglfH/7GOUIv1nN/w6CDklwYOlgpsYC8y
nzqXjoOsXbRSaMH7T7Bfj76PNLj+FjaXlopZx7eUDA36AlhLLHTlQYKoI0DQvcbq/mvzpI9g4yiX
+Tr0GvJBWz/hJcQ2g8QBypGR11yywmENHjU86uqoTc6pkaC8dHJy9JnTjEiAMK5h+F1riT6RLXKJ
+eH3+C2A1/sWEzLKiZpJXOR0eQi5+0t9i3CVUcsSK905hVNcigB80WYKLwfk6eDUZ+Uj52x8S5E3
sV5Ad5KZF+Iu9C8HHuJxfWB246zjiYdJokFgopiQmFX4ZHtzJNcsRdIO8fvVIGaxiVjlQfM8WoxX
pPmCWMTNN29TijpyI+BJLMJuPXX1IsfOviT3BfPRrhHISD6h2SHEDmYu5VnVxBofAQWCcRLOTmw1
ii3WD+b0Rqwg1+NtdmN8bsORXsmbvB24NyWkUhRVJ4ZlADVtuWMMczjhLCGKmEizeiwhL3w62v7n
nudDj5hWXsrfQsyHCfdo+JyQy6H4PYbnEhboMIJmUSA26SJyRng4li9H3f+wfJB64IrJAL8gO1CI
s4KsaB6Q2xLxYfZWLMnc1FBb98XPf+/KHQ3qZQco89pgJNiwkwdIefGcQL47vynu16AcZS5yHaRH
Ae/mt369e/ugUj4m3ECHsyDoScxbZrSwT5Cng2ffUlcG06aphqnzzgfqdgdP5xhhgUGV2HN5c5f7
YnkOSlE0CxHFj0ELnQUMauKQ5/V5/HNRVF3jnn0n641ZFAynSIwZdQgO3QwndDBctPtPhwGaIpZP
wVRaNXnvGTc1LOlonIdLGUzghjuM0LrkS9IzNLNeZxEYE6eWB9R5Lf8AVYspEAcRk8gg2M5Aj9cS
D7e0f25RKu6omkRtzzkWMsUG4o87G7nsXHWJnsrCP/7+Y8Oq4oxpaqCxTudQA7u3Q9+CQebt+OLP
Be5+Lrn3l7oHuN0jf+dru2zjVGFcY8VV+MW233Nh2J/LOqAnxyoIJLf+uZg7XQ7pwLu4uf9zydUo
AwE0Dj0x3CLjKSl87DIiTI8n9PZ1B1vGfW5eHjcw9QJo6JNxrBwUWlYr9wlnBBrtQW/AIebsn/cQ
Xc1KHQF1c6PjbZzQHxvT4UHlfvik3QaS6m3uqQ0tmG/2Q1G9UTAJp2VlZt7HebsD75uQHBnfR+X+
HDDQIIG0QwWHOhhMByGriYZp4J7Hw4UyN8a/Q4cKYPqZnAnOJlLCXKNG+jhIm9GKrCE7kaEQGjmv
5+s6YFmVoVxZicRVU59O1lmPcW8N8tIX3QzeKcJ4sKISvGxnkWoaM5hz57oUk+j6objhaiITkX8i
QSa2XghWbkEeq+vMG55eW078e4zY7EIngeaW9bYNKaJbEPGzoxLXsgQQJcmGJ6sfYnHDBwZBgPLH
um6/NgOOAzl85959y3fTDMJutGO+jRB4lnUiEKa5ENpo+wcwnEvTQ+NBh9TEYtlja3ja+Pns1/Jy
eHH7UCltL/MIFkv22eOw0MmOzPi423WceeDHnyVzeg28pMxA0+z25ZHScgZewLVLy2ZXiJz+TdLj
waIrbceifeHj0tic7fsJ0+djbSRGMUZbjzoRpZLzFePZ3na+JKhE/2OgxsD9dBj6rDewrmGXkLzO
G7jVx4iHz4q0GG2eOZWTYaAwmbdTWmjEP0haTZEwMc/OrmZ/SIWzjc1rVcweuMWiwn6iBE9RZi0u
RwFBmfSaSDU9Y449AipxJSEXvIxq0v2IjTMRJFBBUe1RqjMuFQDDlSEviI50hhbiRXg4TiFQ/Byj
KHcBY+eZQy+TnjDDa/hx5BDSpJBA0cSQ6g6S3caT7SkPH91DU4tGWcqYcBeW++xtE48SCPEPfSA3
Dv7q5W1+C+iF5VPHBZFm2aQcD72+d6Fx3N+XeGOdX0Ks/NPrKEBZuFma8qUxI9b+9294M2VAzyVd
Y/8TMWsO+xidJkMBno7uEcAPNkHWJFkg1DvikWaNUdcQDpS9b/rpvnOd1nPklAPrzWdza0gy1gpk
0ihNcecxJnaLC37OP/K8vJaQarzuKfZ8+nnrPQYOGroQD5QHN3Bdi9x7PThze8ccB3c6+0SGjVXg
lwiouZXqzi0HDuAAyyRUVeZ94ZNwYKCoXkt7ljZ+VLcETcUncvOZ5Y0GCMDF5Z9JC8i885xbkwpu
yfqFOpBrBuUAFcYHmOtPNSRPjWyTHtAFio4vI54fw3FFYa3lCFhug8WvrubF9Ut+Lmj1UGcIchG8
DKfoOuQnA8Ysk0/VO48qRUIS/UOZqOfg0hLCy5l0LtOmgsu7DaZyfQ+6/uaedV5Lckg2MBIFZOA7
LFbKQB7ddLJKpJVxF5GXHdCtksif7NhI8vpWytOPco7vDOdShwzvviBEvNE7PF+kNBiTtpai5/Uz
+2QKDdWvX8z7CpMDbp+0lj7upwaXP6PJyDtKurLoryXtr5CNdd0fMFSJKYq35jXqCCmuINqrCqb9
qpLCo/zQonyWPanPgC5AC0OR5pensatJtZEe+37v90cMNWre3h0tZ4W34Rq3MpluShlKv+tIUb+e
jO34mxGzmuO8Oj+j6lckNWuPIQjGF7z1Of40GRNoPh4k0q1s0t+DXKiyaUdqd58OJD16GmX8k0FA
i5f70nkt3KpN+NW8Thhq7PSYUXR3XoxPLv4g+enYiECH1PfzEIi2Im3HMkbKDszapxzCZU7m3ujl
GSOMVm71NzjSqdRjENDfTlkxj8fHdeAxrAR9g6/ucB1THFRTtilWaBe81VPX5M4xJIa9pb/Ej41e
2anT60jMLERzSTksAB3F5r2QXXYoRSUHIa77taHfUUpdIOHp/EivY9lwMvbVc/yibmwpPvIRsjn3
loqdUB1LK6B1ipk3hY3mGA4oNeXN1aPOgyGl3NlhgvD7GzxLTB4jiSDKgtYHmUA4UlEswr94RSgK
I2WlB1BOBifh5qojFlYEDA7g7zdQdl//6hDkyX5FmVjaMFAe87jcO6cNgp9uWHMZIpFShd95vuxX
/AiGNMX8uSH1Y8bMeSwTTHYRq1+dvg807WHtUnF69wmtr09rdfcAi9EOgboX3t0rdw9shu2otxKc
IZ9OAtvBdePQqh7J5ffzv2GAOr7wLu5VdEbFhFG4ThVR6P+JC4JQqvmDaqWe8xSfeRHH7EDtWzjo
u8WQRWbaJuJ4mUylvclZ+Hf5OPNcLCKyn5j7uEte3s2tSMVFvEiZjT8TaoMrQ7HOCjWt+Rzvufq2
Hom2eswaT9txgp5ew7gyiKgUrPU6KukDgD2Yt+IDfTgEuNnM7oRkpjvlbPBWaPlLCqiX9+SWu9Io
IyBwMBbzW8xpQxDHrFqRGYbUVz/1XFEuDcNu+1my/spiQcZN2STUZWzQ541yZ5QI2iISxNjEid9h
daQCqzcMsFDG5abbwv9TUuDIeAvu97LBakGWA/JzUCK7E26h75t5VRgoXdRDO2xlT3Fs5AW5WVD9
wem8kLFgdWa7f00xZDkM80F0JLLDKWbAGrzq+EVFfF0QW+4jjAKZQ9rnQgZyeV/0bN6Lazq6vN12
RHVf7vQA7KlYVNDCeDeaIwQLU+T93nP2aEKAQ9xemKWei94/FppOz1PWDcJ6YFmT1BS954kK68N0
MPMyrk7ypBKDW2VPTGUhim/2Ats+ZX+UFlQSX+Qz0S0AVl48DOhMD3Vi+bEIkTLG+JTRs9ERkP2B
qzOS3F5K+BIQNWSLnVl5Zfcj3WFwFBA1pzdzXqggNNJ6A1xOCF8B/ZwXnYvT2+Dtdn4pqPl1dd/9
UjU17B4gEUHwDJWxG0ZWfUDTX37mFOAggRqQyMCdFVCgQIEgbneZf7ZpfLkKqSumQBs+KkERw0Sa
0BevC4ZdR5kjyayZsbl+r/veOageLqZ7BkGcA6F0rB12Q7ykrg6dT2ylW1ELmdUONY+tpBSxLTQM
8ijvN+P6rsmuwKmy+Ux6jHLdy1N0yuwnHM91hQDE/m0K0um9gsGRDNRMG5+6Cn+FJ42eNHAsV3s4
BYhLKRqS14k7wyVGvcWhHYpkL5/HituK//e3os/griZKhkG23nfOM/id8yTUc2TvCusn4HDPZQQL
HSX5MZ6Ss6IyD+8E2O8xNWT5JKx4rors6/g9Lm/jZorvQvu5BpnIVp2ACXxxYQthI2sY3sxqgbsG
hJTnGTLdGzDhgL65Tus5qzYP1rb3ca+d/57z2Dl3rBY2tSw7Fgu3SJVoKTg5CsMk/anVPTQwt/Gn
togfSi5c+b5H404F5gyj5vRY85WhGMYx8MSF8L7pcEqFqaTQHcXOsHXn5lGKpsb8ShDZhst+YI5f
Ron6/noEGzKcaCVecwZRmxaN9/TPizdugc3Zq0YSb1i34i6gdk0hWggNsodkDNNwNUIK0jnVlIZu
iigL9+V7BmlOlrQegv2AiaBj1T3FxSpFmiBNOenKwwHBhWYrCHFwls7BgUOSvMjtKZQ5OA3M8H2J
Lv6SvqifkHwIVsEj26gMoPVOCMTLMasQTTE71s99PymwiGT6OCSdIKe9SdhoQy2fFlseN5EN9nBv
HIMWUMGfq4SsNbwaIsNJ21+a5D0vYgwv6FH6SAOQcTUJsxMoHHX8EOScq8wmDD/AILQ9A5DbwUTJ
FtAP6vrypkGVGB2EWmuEStm8ES4e5B+04lcqF8O5jsDPGFeJDOpDSKLFsn5+0n/VTr6AtIUDgKcc
HMhAqIbjrrV/Mf/9e8YyfqLNZTW47FB73Bf6gVneSnBZKeof47TF8C8bjBllYn/DSB5co9zhxVIQ
nqubyCjRJoiCEAOR0MFwp7MyvQm9/SZDMPD9eGj5ZS0mTKOhCxxOKOGJvOlPGv7UCc4Z9aS/b7lB
XlxstQzb9seultS4r4/NqL6stxlMfsWiNrYXOkByNUQb8CSFZUmQ3WzQiRGr+tCuWJXkcLgAXGC9
+AjBk/u6jyj/f7Nv70Q+5K9LdWP1XZ8Zp4iuiiatoaciaKeb1ADXfZZ2flX5A50TICj5ssMrDJSR
IJdGAf1qp1mVEvLRu4yJ/rhfsVSRs8dMTYKj/TfIWbEibI0HJQs5GDLJ1d6S8TzXPJKv4ceI73Lw
HJBY0+6YC6Qop/ZHdUyUWFiDGj6I0kqIE7/puDui4gvKKeizOzM5Lm6GUfifOpFTTBY/hvW6Cdk3
hkQpX73vb4wWoRiuGFaupZIxv3SHkiA4+RozmAcXdfOdfCjf8IOhQkUxo0ZIM1+MGHoiLxgNkAnr
aFwDHeULGGtGcgxafLx3wiuL4AZ1I3szUhOyS5ggRdDMBUOcgT6MiC7iD9xv35Ia0iHFFvm4uBD+
CBlJysFj+/Pg9RFXfhQR8klVgDQCeTWeIQpRokbeZKPXPvMicfoyGa32SdZohZWO/9cHuAgecEUi
kFxohlH+IuGUqeSvcPJCQdEdmYAw6LsIh6heSam6oPHGR48qe0A1hxS1knyAeQYo8xJ2bvRml30X
Mw9amHeeRxROU+S6P9oOiP1KQGXYsHMV/gkRETFTaDBRdiAgR4EIHINgATsnYkfCPt4HfQlWiweD
xwpFK3WVGOJn9+aP9J9mHNfEYyOxuG8HxCpNxTdudCih3xyjoEpEqpMtsX78fcFI3wnKViSPVGFV
WIWDI8DP4IjyEWnE8NgxOQyX6JNFUYTB4DBEvIoR5PcW9RU/nyOCh3ni2IKUosJGCldN5eVl84xx
dFA+zYZLlhoEGIMjV4E3IMMA+pVmFHcu2AggNfAZfyfRisYdEZwYkceCFBW+qITb5HPEtIviDRAe
iul5BIO/zP45qvCt4onCQ7F+xRVQXmb9WGUI2GIrpQoCuv1QINGP2oqK2YCQbpvYwBsDgExABEYc
S1eXpEQ5JDQJjvcLH4bC4V8iK+sm81CVwX8Lf4/oQzayDEoC38+5NhEl0S8DPAnwnkgWU2yqmOXe
AikvoO7n7eGypvLFrXnZcy8VPmaiVACY9fw9RswKRDSVAB5RqO3B8PQA6SN2nyWX1IOX3vf/fvvL
mJk+s0twC/oeHTUoaLu+LjsmApidtXwTDNnHKYX9v/Ue7oeabMQ0NnByt93np9Yl/unX2MwJvzkV
yM8fMYl8cpY20hn7kywitBbtX5gtegkJdEvKLqIo749p5bP3UZrJMdvmRjFP/RisCWLHYe5FTBQw
k9YIrjM/E0QbHnky/x0N2doJhZNiagkYrskpjXCVukju2LCAbYWuF1BUdQFGxxrGr3OABvacauLM
NZwKMLyTlqyRB8ZvfJ1eGRhmEWPj52v0T+ySX8gE3SvB1UD7mBfKRzX4Ys8tQYkFWAvYYwMvxkxg
FrFg5fi+hGgAYIzxOFI04KDgAguVw5C/80qRJkLmGubwMt2hsfM/jsvOBGopXkpYbsD2LM0ebMMo
cJnUCT6sAfsK4BCE5V819aPm59UUgAeUFlycvodod6nOJP8TsjLnSCYCTr46K8efUBzGmqED5hJ5
DOdpOOFGwtjOqRp6VGTlWMDdQJWJuCv/1uL+7IeAlwkfiFOadGEDuO293R7KYOZOCtm6+8fyFmIZ
7mFOFM2LRRG4LqZULMKaQj34irtlzzZciQYLoJOn9TtutmQAgfXQxJBY0MfCh/AFiRVmRuxeAl9i
mqYDVPnjHGUREXHLLCrHyCITXMXLarvrgZ0KYbvo3KsQhhcdjIsHlOb/a+LDoEEEjGPOyCvq/f+/
25liE28zF4A+mBB1i8uJR+BkFT4rlerT6AKU3zY/eIHvPIMtITo90kas3RAFPEm8FiqAlY6pYsti
ytP3XDLBeVtMH3O+1cpDRnlA1XqQDyi6dDMLUCwKmTpJayJS5ho9VsR9sUGgK6M/FlR3SFgIErFV
jqMEsoI18Y8ODs0TVQYyeARkO4wK4sOV7nnPKszhfI433JckhsAAnd2fXxfu1zemcJleDvCA1eG7
AhUHaTGZvPCDOMzD+5E3B0fIDghj0DRppb0vCWE2uwSdQpx7WtxqKKMc8CNSUB3WyT1S7NpXp3SS
H3MP/Z7KlLzxjekbp97kaxHy4RIxdBtBOwdvPgFj3SDl6OxjPiORBrNqAZ3MR4VZ9thg+AhPT7GN
Nc9djBkLdpV+2UWeRtOOIs0Bo/RzWCXWt4j4are/KF1aCqGG370iaJzdETbTvk6EPKJZMM/7u6OR
pDlbsJODgDSgH1SxCfQgN0FjcaL48bC/NKCcKorLqAgxZZJDIQgihOfI3nwCjja5w+FOxPeI7yTw
CzSJXZBx5wWTasStRP51i8oX9OE6yUPBgl2YPGIxVAiPDR8ElQWJvSzLYqUxRBGAzMDaiQuHrGbB
G+AYuls/PyOPldPD5Jv0GiGj98gIsgpPD4AfV3mkB7rNMHoffUdK+GPhQoCd7QexOlTkVg8NI5KX
x+hsE8+igE1DpnAOcZ5R8UNzz8sRyRI+JhkyLablCK+Ihd8AxIqRLWY2F7DL2X6bNPLm2QWBBR10
0dEgqtsQwDzd3xkuxc1TeDTwdysLjqDAKG5aX58jj7Koc3mff+9gtiMUdpTLFxf1RR4evyPkSGnl
nblE6qi0CWUiJAWgBBQiql1AmiaknBN4sUxIKFBHCA9Bm4GK3eaJ91pKCYw6SAhtNnmFXpIZjine
eCyi1o9RewS/47zjfHcxFhjCJxx521+WLW2M7NzmrBk4aBT3z2BhY0s0uNGYSE46BheQEAlwmZcH
okACE8026UtFeHafC6AzHjyAK5ZuWx0B2jjqbqet+B5hqthRhSH6AiYzQFPU9R+LJmD5Cy47h3qX
2CFEBwagHvDT++EwfIwNRsCytpQpWhjGzJzEDiGx+0K5wdXxqcm5ErouRLxTXEiAPszFoobZdXTS
bNIQTle+gCQG+S5GCWdXJj3hyuamZPlwmsUXtPN+BO/8AmuCcXqIhHApmfitHW1KckgRYd/jydOm
1ANCzMS0HhAYQvj5q4KhLzCsYVDu8sV7hXTiHhFAsiDZ5DwD7Nmh+hbCVAmjJasSQCLCWBOUjiUF
T0LNEoOxHC6XBc4cbvi6WHEoLfltI8XgfciEkMATRoLpjhtvjC8hLUco84WQc7lnjJIrReiWEBqY
3JqOvJZdNdxQ8HIiG2ujeSumhZBwiPcDNOgR3FRX6oW9h9tBwyCdXCjeL2YOzJhoB37xvAD8B0Cm
/nuErxSgkENeAV4uKobjbNpVFgi8UdzEDwbpQSjeRRKgnuqpWACR1COQRj/oyCCq9JbCRYRtwCc0
zx/Y/Om9R+JcCAe7hzIiAT5Nmogln35Tv3hdHrwJ06UrZAphiDG7hIZQrVxkutr8TlmKyhtGRZSw
zFfCYYhZlEj2t6/W3hA4omB4ndUXuVjojBGWlKTisNP12UGBlynLIWDrOUUrky/RyrLyANSuoTde
SzBkgkjhSJip+8+ao/3TTsJ3PwUFosHF4e1OqBeJt5yj0e+HvydED1kJS/GmED7VVA/Vp899C/27
Vt0rPPQtRUApn+QeM4/t6/bFAVyCofdy3i/oxTqA/4FSYTqfI+zbCCFJPAAlJSV50+eJRf0HbIOe
gYTcGVJlzMqo5EgcUHefBUPoBhDB9xBXMIs/WyigZM8XGQXYXWkFyuSzIOgroaWitaD54+HcIany
uggD4p/QRjDu0i3ppJjhg00yJszEGR6vjrQCmwbf1sA7RQoB6Yz8DZMYm+CqJJRjJSJh6ZiIRuVH
vxN58d8hCFT85+MIFDg62VMXdixETWIVI9vLqzg+lLgw0g768hmSHdEDwj8YaMrQktloOBxSlRoO
CKvy4umhV/ljArD7ninIOwx0CBdiObz7H5hFwau4v5GwTfgJ5EMR3MCH4Wzw3ST4Gc536FHJ8/No
F4VNsfNqZgkTSPxiBOOIXs1gPgBT3Eho0QW0r1Jr0CBXfj7BI4aiq0/oSAs+KcKpfhDsJAsTtMys
sQetoUOoBcQ4wQ8UHOBqvA2KFHIczjOyoYlTa4m+FwAv2qv8yA7RY3etnYr5AY+ZXE6JPbt+J0ju
+2ffaEdv1C6N050DfqiSuXWfcVo+P+B6S9X7RFfj78OrUJW9hKANpLi6pF017tXOjexz3SEx5Y6d
A5I3YA4e9YCYWExDTrA9Kq/WLr4h5UknM+cmKMhiVUU8IkckkfnGxYPYITnt36ckQe6tLLqPwxMp
hqCSH4YqiEyWLVG+hAuTJjwIcwLs61iE/F4DiEwGPVQ6xktbWpeNrek4dEjMFGbD89M63yKsSBcc
peC7KCTQu5PBdHEAiEiKrZ2s8ADPF+r0cyG3z/psvpiYbl5NcUaXpqQ6LMvmvj6virGMtNxYUFkZ
ERu2EuUeYeYf7575v2lBJUDe42ujj3NP55Zm0y6tvZzq+B3s3MOq0w8uFwvIiHwuC8Ir5g+edo6e
quD18fozOSjGGJz0McscEYvkyjjV+uWqfwz34MGe4NnuTMj29dNFWe2+1it4TSG7R4FOr+utPvuH
81y3D3P/cbVJC75urjR+kxNjuxeLqjJiTfEqyrE8zENGPnpsny9bBHaZ2QbBURXBzzUOgiSuxo7N
gmqLfz2Sfenqkvnd3Y/cUlOqB8gf9IuUqaJA1qnEUHsKLENF5zRI8XriNwKnGEiImERUN/cl9JXY
wsrdMKWq5BxQeu7Q1bK+PKMLBVeZPFmcBQojAp+641Ms0v96AepMjgknECL6kKWHJWCHV5V0FLYx
8uf+iUuRDewaKKhnRK5J+PMRp9qorIT9ndMOiyUhQeGJ5XOYg2D/IM6Zw1C5kaiKBoc80qZfdh9u
mj1Fm4/JIXMvu2GAgBgPMZydCl9KwhbjfMV1i7G11v755V4pr+8eBT0kHvs19HusOdwA8qwXG9va
MRbnpbGgXq9HH0AN0/iDr7Er/Afm5gwVfiAdveA8vSy2RkBVNliPLE0MVZ7h6Yns8mA5FR1a0ieg
P5Vn3A30hwP3d7NvGErxR1xWhqXEWLX56WwkJHzQsaCFFqVqPikmZ5fAFxS7goLLJz2fnBGXGZ28
MWdJ7Pw71JeIY7Ff02lxg2BKQXnMLGfaMqb3iX9iw3U4P9Z5RmmJNFucePbVHZ5CUW2K8jJfYOd7
cM+1PksPXGeKunWY5kddmOmYHTvdDwNc72TkkILG7kyxT/ciqlIkZdT67Yq0DGK//WO7okTylB1b
DBPqCP3X3Dqh4ZKoTB8bJMK+qP96gsfjppYjwdph1MUyRdb2a6u4/I28INrtPkIZmZmmtLA7BI3I
EcZEf6HhIW8IoTk1oGji0XuiORBlXmP+CXUOcUgDi4ghpHKUhzi2h7wClCKmc6TPTXT0d+MaHc0g
7ARB0o/LPQi9+d6oAQYtySQowdbjDxgICUn+IL7gHza5lchXo8Ea9yOCFc1mpwQYYS0YeR+tNDcy
EA4sWbvXF2eP0QHxMGZG6IHxsOZ9dLPy3XVV+WBqZm0fGDBAxAwaNsl9wDcB+Xlk2mGCwq+hgges
gawegEg28p393ezNBtG1I92WJDJTjh+uoI4oSm1pfCLQxu4FcKQQIy//tcqmJw5pAzbBIWvBl+6R
41RtALAxHwmnDt+ACs7uT5UAGa0PLuzW+3L/CivnQr8vfpjhc9ziZZLLKQiNMdJXHxftGmSDvFPQ
D0KoSRVBroWx5e2SUuXdePTAzoOv+3a1BKCiC5VEfJhh9LAbIByexAjFDNfEAPAQoM4t6AmMXuMd
PiGN8ORGoYOEDTMGMp3/QJmn83URqKB2oAt9OlhPDIAoxDYUVlcgCsho0qagb7iqLvK22QXJIVe5
Og3/6Sy/6+Y0nBApGOqLvsekBPAZPRpOlH0eX+YF2jAtgYm5LgXXx8/4ItiRZsA93BllUMRyeN8a
CR90/YSk5EiLGHlrdDfzE+dpLI0Hufnb/BIsjlzFS1AsZSRC/ckdDOoTqvBav/2NpPHz2ABGG3gc
9bbaKlzVYgvRQKuDbg4EAK3HcimQMjhNRJDLTHwIw0eU1YW8QHCXC5W5x9wQ8GN/xqxck4yHH2AO
DtWbfSb3EddyxG2KFTZ97l5c2Gf4Cv/FHX0e1r/go29a7KBVoSrVGbfYkws+jPITsWC1rbUWjTUE
rx6RksaFBMr7d7bEia3XlfNUzcPtytWVJ8sv8Wum3LhD5z4yxpC7zjfppkQmRfp0GL/QdC3KBaXE
8Toj4G/V5tZgVU4okyeMEU4+yTfq5voo292Ti3N1O7roCb8AhZ3CfXudydCwUeXievWue7Yxdzii
djI1sBv3hX8jYrwfI254DM/O6TRYDVbdCP4PZhkx4+LUjR4kTPja5pRB20o8zP3cNAgpNpG8GMHL
v0Vw0OyQ0eF0MoIspn629PiCsHN3nlwm/VG9kFKwU2S/unn67IxNVtmnelEvPj5Tj7rW1GNlc17A
5h6+yS9lQfCerMdTHjrAfQJuAU37U+3As080EB8NIGrFrMyT/NcK5Rnp2Q9HcMHGQZ/CXO+0YDA1
4C8Fj83I2p0aKKnkXnGI9VKoJjR230R9OfjCkN89/XwFVU6qpdMyDNZmUMwYxllQmK2tzJBGHrWA
1O8Z5ZBHRxPxsdWUlGmfiy8ebPlPcs9IYFeEF84NW59qthYQsgfVzsQzu7eR5rClHkHRsKyt5mgB
M5FunmpDsPrylDeY6k7nnSMKuJUO8p+gE2BxJEffy/Jk8LBK8BNAbP9GiNGCJ7Qm4QotCNqC3L4S
h3tPi3oGqFlSkvF9fCrv1oPnQXvHHcbwCjmE4+RboEgFDdy6TFWTJ8zk0xftWmWJBgmkK+0sPWrX
ONxKYvQDnmDFIukDNSnfFynJL7drcE4mUJ/aNWhtrwnESEexODGi5/XaChlflUeA09dYAhQ/gcqy
3PSZ1oM0jFQZ9ull7+4+NkTNUdu54PuwVAT/oefAgUEpGOi9gBwg11iDvl5jur5+SBwvoWh/9xN5
WQuNlZOFVQ45uPeep6ZxWGRxWarCCEfm0iAE5s6SSkp/e17zdfmOMtAp4N5cp4EDeI+QeU2cXwDM
jL+RyhGamtKyJ1jGynngbOmCex8MJ1U2NypQ4rhbG5EqxcwUlUGx+ibcmbdxr0H5u2YFR/uwGU77
WLd0V0Ejobs3hM+YUzxudqtcXCbdqLApvXlKmt3kvGCde1ITgAlft/X4x1GxpcxyJtqY+OLof7W9
hq7cZpyZxkAlnNLyCcyGbR2EmwAETA4oruYoEVI4w6mxJ5AGKJxsQP30WqK9Liw0rT8xhacOemvm
Vp+wPKGapqlGzD4Gm9dRdu67pbH+Mu37PX/F5eY5IVs/BOFkfk0TNnHf+QUcGgogBUyQVIEQgSV7
fz6SAcDJ8AQdJ83vD0Sg8N9BbwxgxWWrYtTwU9VlqNyY6DTimqLuyHtQoTQ0oDdaWQFS4koxDcRr
tYt+cPeJaRxHd9RIdLPpYCFvqynAF7BkmSiYdW6ugMsrpDg02bzmgyS/H5ZzTEqUOeJXOeejuo/x
P0zqGteB7Lztrw33A+U3v8ZslUmzHHocbFzOwXCRhJXz25ztiYMWn4d4GbSjiAxQCfdcBi1OkZAv
e8jgOLqNeIWESAtRXACTJ5woSEPG4tcNowz01BuwDiACqTmlE/4MXFQcFSOwQSPKueBu6kBQDJkH
/mNDeLvN9oXsVJAO7Nt90lYQHkNSw7xXSzbmk7LGzum28ypuAzHr8s1xUZ1hgaUe43HqtldcpuId
ETFPpXXfQdDXAIMwLgIHCaNxpjwPASYVcsehLQTEggIewBe6cYs6G1UgrE5QwxiB5gWoU8mrGu+K
kVCdfJbiqtcHzW0PDVlQvzHZjzHjcHzqSJBnrrQBsEEAo4g/ALpkOycam12YIaK8f8bNC/EYD5dk
ojm3g+wIrVeFA0GBfmpQyag8LiaSYKvZ8vFZXObGvoqFQ++JJgyRdfqHjXULl0C/iVRnCgUWwD6R
c8a7kCuaCN2c/zr2VoRa+4grS4sIO8BRYBkYbWZ1lzNAUuEgzzUMacQ3hvDrVMg2M0j2gm/IQXpZ
fTC+UTwjGHObUD4OnDuaPeEtxK8E0k4CgKMHQIorLCmJsGH2Ga9BL/VABoiNc0FjDXsAtQKYar/F
5KU7ACf/QHJQOiSD2jYcDSB7XPtPNpBp1fKqh69gJwfgMPVNsWhXjDShneDnZUHxd3ZzR4D69wVS
DfDSDlmkBJfRufdA87LZD5nIRJuUcFIwKmthtCacrDcpxitQAyetO+avmINEAacU/ZXmqECC3/+R
dF9LiW1bGICfiCpyuJWcgwi2NxQiknNa8PT7m+46tttj28hKc47xjz/016NnZXN/G2caqUah+m/V
Ww1PLVjlanhkGW7p6W8YdvIKEXpUTvze8Yo6/yxF5ej30Cq0UVkqz1n2PdlFdnknNR+KnRy2Vn4l
c5Xuqp7pH1rUuVXvImdz/npUmPg1vAzc5p3zXk+TFUYg38AnYkNQEm7o6SMcbmygE3sH1pf9v7fZ
5AdWKZ71rdAJokDbLdnqZs6cJeD78+N36DnDIGFLg2prJrrl865pBegOj2M4Eig3vMSmzYXl2pwM
We/Fpb24NrsqcKqJWK8VZ5JjppD/6bFs15AXNMBg0qZfMak9QTLyOt7ijuL6u+6cDQXbW5DCMXxw
Z39bNqNR4tdV0U4OTsPcvsqn7Py2Gb5GCdwl/HYn0jcLItaLa+Sz6TE13O5KW95XpdUwV81Vt7Rk
y2I6Udo4lunWAtCIp8JxDJK3epRDsAnOCrpI/h8ZVO4qZEGuIoki07ex88Ucnjl+lYPA/ttIJcv9
ZEg7SRypPZ8gEtJFmv2YYeZ08W++z++MlbZxzVysxRfs5P4bn+1/s+8T/ETV7GydqEJRftejfKr8
qNwq/AwybVZvrHPKsZGMpL70DC78n7PbjGe7sukrsqX019PgR/AauOuH6eFNbMJPkEKdPYUtgNFK
j1j37Gh988NF+1zL/lxrKEpFrbIP7gzWDF47PdCB0BuoxOHxdndIfFEa8GnZsXfiz0nl+c9I6LAu
h3ti8ZGvQ8QbK5CqBZyFZzQMLpdJS0ChuevnxtaI9qpvi6ktmvnpX27MdZhHBvx9kMKZAbJW/wC3
mE/ErC9zPGyCR8Bvjm333344T41xa+unDlWfNe/qYNj9mYIseybuwb3AzpixzueYcnW+171jb1Fj
V3aLTHwUOgFqDdue8HnOOhSZXOzhD/kg/r3NTfMmPdD+d5rLTR+nVdhyuHCPu4cidWjswpzNCGMM
HTU1vH/37nHgRph/gZiuiSIwqVBGdr3Nd41nG2v4whrSbrMI0uZFM/pJz6OUARUKSdyW9uLXXUy1
HubY8YDRv0Jc0EVcN/8E6W5M9mirmX7/LUz3cf4H0yYMRZVRtJ3v3r/yukOmNCSIRDfu5eLYiRni
IXsGAouZm9NtuJAKc7ArprfBr9jFEl40rc/HJVlnQhZy9cKK6yRcWWZV15/ciQMHGvAw4N5UPtZX
U0TQivLorgSk41uUMGYThFrpRykVXHE/VX4kaVWl3FkjVVEBM6bLRiHE8SpPg/WVahGFjDbQcljF
QNs348+gf1KVnpdljBW7Lm4/Vclpmr5UaCbVReSEmBJT1Boz0UWqem8hYrA8LtuonsoIYaxBQnnd
tZazIJlef65jIRwYIRB+vtAjfV60dviguMGICGSmCds6oJYexugjM1skG8tC9diii5FU2A4FGYkg
5hpPUD7B5i9eZTeIk2+fh9mgzSHdG3gXKNLek/swmw2GedhKo1CCmW6hLpkrq14oUpOhjAnDj5E8
5l0JhHMi800KW39HPpKpYaOeHnvCUI73/1VUhsHPQEcynWTSO0yGv4UqUU6zM/Z7yU9yCgJZEb/M
t07TV912ari86zOVmwYevepzihNS+PTvTBI5kSIFeTr4BXrA3Br56ZUAwliIAf5JecXBi0OYGiQ3
y5s3BLM3PveFoD5bdOKYLIffdJWZ6uHQnJjXZHMB3q7jdzL72ig17Sq36sY9sptyNVcaUy4pjTOB
3fJ/oCN+Lpxl3UCKBgmhMq7o0E6lnfo6GKMHJEpDOZlre/JfpuxYbjwtXwMmnhkOoGYTjBkMh6Ul
cL6NDPeX71wG2SJ09++qDyadFmh7U2Cj+uRLjs41nGHxlzqhWiAFKnWiOrMmPsNdAotk5dUsdNgs
fCBppnsF3D4A4ap9HwewOOPtlg4CU9A4b6VksgL/N9wwKA3KCM/4rm8q2D1Fgd/2/Mh8q2NgaYSo
/07pQNtAOoR79iCfptvJ3mpdykrpLaUB7FbM6oQvIfdO2gscz1fJuLVzakOm27fqvhv7hoN7Y+em
RRoOn22dEKMarMgMRIyqasxwmC6t2kYHNs5rEyck/EFC7y3aqcGifW3aWFZt3wuDyEUb+A30pqjX
R5idBaQdZr6PvxlBKIw8jPVrg01mK9eOrPBRIxpcgrh/Uot30+8b+i2P7an0wFxpraBAJJWsXNop
TVfD3+a2pTTmHZOZTLvQTp5KfiDMEPxqr3u6lFetXes+KZsaHFrpbr4ba+e7iWVx2dm02Na0FnTz
w/P0Osr8Zv2uUaaxHLAWXvX20zUR2G96lmE60F2ZDgfRW1EhE+MakSnb1iNt1KxAZ6tS7SQ/l50J
V9z3fS2NIFbfsomJFxetqCFih7xyYeM7NpUqmUGu40okOnayhzjo+tLLJBzSprU0pTPgfL83Dioq
r3Yd7Vp5mCwKT92+ynpTn9t/dcxf9ue3m/IbKqiDXZbSBaFdb5l+7Ms5HCzmWDuK0KOR8J9lmzH4
Zs4PQfFEYEy2dP3OdYD7z95rsPv0Dk0FCkrcxVzcWcg0Gthu7s1V+m3zofxqHz42nvVMc/t+dgO2
c99ssNVbrBIYteBulyb/AmRO24Jz8p27BqcABlKPj3sX+QDqbsR1zActRriVDdu/OAS4vfE/1xAf
3lrvvoFJZPvFacHsZJj3Ghtvo8F6+Ayr/SOF+6TkX+tJ+8S5QorwlFSGptxYFwJWJMaMI46bijej
GMdhvzG+sZE59vt4VU0M1kwdOE9yd6hdDHqC/IXsy9PjZYFL3eUs9JebL/UIIw0w/Pg6zg0yA/yD
63di/Bpvvq7f7FA4cma+D30TX0YofuffOzKSQeXywJ6+ckFD3Il1WRHCZQUSBCWszM6hHh7oLqSO
TlD5OGT0T1ea5Ndh7Qr0C+4+qc8YaBZtmkLalOMPR7GaAjt9e2d4TbuE6J4GHFoCg54/qrPongbH
Dm5qP8d/69m5e/tyUIXKuZeqRC2vy0vJXlKXIjAKXHT9qtceFrqP39uvL4k9Q+t2bdEgInWMeItq
o7f1IJNO/rln4tZ9vj53nRfUiLJX62Ypjv/uVALnlo3xNj3RlusyT1OtOaIUvudmwN/1NrVjbf+R
DI9MGkAZGk3BG6rD6XOaZxpz9HbCrskfHqNBa5F9q3BrxmIySTKfmgRDBRwWe9Mt9Ir2NrkVgZ+H
yNv7Mz41qwg9KAEBQjgzIooh1XYyuIdyMLAXckUFniF0s5LNlZx7FEukw9tU+rQc1+26vBu/HlXi
2eO9tl80UpyOG1CfO+LmPTBjwUAT1EwjyEG+lsZt+lqpuN73qkt+2r8FWYmfS5FKjIR5MicqWXot
z/umfABwYWrHKGAxp1ZUxJnvdP798aoH5UGitWIwnn+PXRonKagG5yip58b6bChNcSjzEX9RzOor
RWtQfu5KhWcQFJ7FmjMAOfIMsvMXuRWy29PYrlcKsZKTtv/JUTeDDk4jQL6POBuEJ1pvMfEpOXR7
K969RJdONybz/VzZW4CuZRCR/ViduP0RrchFJPNGxSpQHga5lreujd6WfPBdNbVYXsoSWLijq8xW
zPpOpc2anILN1Nvl99jKfLo+KtD7uXwSD0rnuAjW+8jggcKGtcCcPlVasVvvsZV5wVxZGt1K3PpY
+2I5Ic6hF5j956cY24xZV/qZoPTmbzVyG6jfWGd9EuAGUKRDUsYiBEwSnDaWR7vOScvvsQ7xDPf3
YzdVymGuq4TWs0dbLZScciEnSAMpN9GPlS03ZhdgkNdfKFzsU8jO/gdTSzW2/AF7mFoYLe4qkrY8
Pm6qGujjfC37kUANDdqfCX4UTcv+B3VgYaLTy6opUKQ2wUt101QfrX8mv2uOZGW/yM2aW1S5o7px
F38R814YpPSPBZdf6nUxx5dWcuRpOZP1A/QW7UlrO1dnqj28bR8XiandS//RQQXVx/hlKi7lPKTK
8XqgkPJzTSnHuTFGQYKSiJPLVx6QBt0PRB513lvSu4xkJbBbMA/48ApOEURJG7PtTUBWEd64Yp0X
RmP7D00mZRzdL4yfHxdy3nATxhjo3iWDcncp+72aiYXb5xGscvUBWiNsWSjhkggzZdz8+2pdOiGJ
A31Ld5EY87mwpeT18oL8WJrcAwX3PnQW/LgTfGOIwZxPrfVPSJdbCLjLoR2/jMTqWj6kGptrZeI5
HGSIDo9yasC+xSMFmYidXDEQd1iHfkTB99i1YeJ7GQSTmNAVpUeWr6kFDeq8irfP55JF45qZ6wcs
XtahUOL9u9fvQEe2UAFHhHMZer1muNK5d5+MtoKaSAkNbayB1e+zTU69ZD5lxvPyumEBh40zLNjQ
OMK4o5Ia3bX3VoJhwoQGMljg6AbsCJZoa/EyTRcUPEStpm4sbzasiPgRBXhCaX+3WLSv8t3d1iFX
VZCFG6CtOKQBDQUq8Cs59xXmTKGJwTMOd0ci3CMoLvfu+d1fJOeF70wzGi7Y8dzfXbT7e7ztwTl8
BdJj/9k+9G/te7cwToU97yMi+X7Dkvt4fWsJbc2brz+KxGN++njOmanMD/MbayX24XXw5d8ZfLKb
ssn4/Kt3SY58IqsAOw/cOJrSQKh2/DLmbS7OyJcn7TnNBcWWv7Zcn5MlJ8RFsXmZSa9CbKNG5H9Y
3Igx27AluZr7H+EzowmLh+WPzXUdWJWTvs5g0gd5+m+4MJ8+IdxPXYN1Lz7aDJK/Xvy1rdh4qVTt
Hhofj7uTr/URif0q0PeXfJFaVAPi+QrWfou8NMSy3A4m2JrpLeqGbSFTX54aO8B+ob/YzrIocKl+
qiCJsXpMhWeGZEeGpg5ehbF61DIIB7PrsnMXQRZq0HSw08s/VQVFSqHWMT1iS2odlcsb7nTxw6b8
MWFd+JLYf9n1SILmAh9EBsdrsHg26D5SY8/T63vTTslheDa2yCWLrwhzJTZYvz8+np0bGP+gL3mM
jkyUVs1U6d4lOelYAiUR3THewtFvBrnZYZBq8d0x0LM8zHNNz/3DcoEd9536towr9nBlaVqDQVQ+
gKBKxwvAYKHb2TTUfuoh6iE/4g3ZwruKMniWmkl5dR/vIDO+kxn7STuEmlIqBQdQ+o/gS51fhNhi
C9FjkPzIT5fI8r275vSp7dVl3Ye2Fxs9OCYyczWen21GMbSWZfhW7pNVhduFYY0BGajAM+jbNgvM
iHt9xa+IJ5Rl5swMybfcS24+95K7xGd3j8cRpO3ztSUUZ5geXXuXr1t/wgbsGjaxVR+LDWx0fLeA
+vDsSY4jPvjIzs+p4FyvcLHU2Ipjf0tYchVSkcEva4buShO1jmbaoIaEAQ3YbaW31z3SBHlbP8ef
ycijjEuXngev5Wej4Lr3Es3s1NPE2QVQ4pG4jc5DdZa1dTE4t6w4oBGjaFpCBy0caHY0tlcXzdz2
YTJoNTJysoLP3O/bYerzJTXkWcwgLIfVKpqtFXZha8KNI+6V0GclKiW/SJAXAl5xKyxoTumJ1Jct
wpcMrByjIHuFMllmjenZv/7R0JsoGN7NbHYtDoU/Xkn0ylesucgXgyowpLiVvXYUOM3FLJwvWTsL
wb1ZxJk5cC/X1ZSO1Ix4pfFikt/1oZSjRH4UowfgTs5bsPv04oo0v33XDBP8ayhstq3oczEtvCvx
TMCmiVmhRbFqhPzUoU+VKBKSvGXHcP38m2dav6XK7X4PSl1zx2cx11UtHX5NBV9oIDD8hdEr1jp7
S5i7tAMNOAUWPehbXCjyVmYFqhef2mKa75miIyLCLh6j4pUOq7tPv215MKNttlf25XVpK4lbl58t
PnRUFmI777AwKsyTaHWqJHb5cKQT91qT1rcj9tGxtGN8hw8wj5Wyk+KB8a8RNbDUlIEKipfwIzi9
JM2Z4ABf0XyHVN/MjV6j8yAagZ739rORT/dX8YFM+7v5yblFeqFupfKexrBZ+XCKzBrtsT9WxfOA
VBJfHkrCCQl7hSD5WrweWRsWI/3d94Vc9SuHJ8G61oRaYfF3ThLzm0nqtZhW73xGjovwUMjnaClJ
CMY7d/5Ws4U8UmuWHdlsBudmdvr3uBaPoGxbnCmWBdgWByBwua5vKegH1VqyfIQ/GhoSQGasuG/P
RPEko3ZwQm4bp/49zM/4Bf2GStcm0d88SufZ4vlGo3XfF6//8uRoHqwu7k/ix/0SH+zGh+/H+DE+
z/ce4nak622/fPq4qg51c1/b/uT72L7O90CO4q4bbz7HLuXTLwtMgEe4K07fvuMdLBfhNMTZAuSh
S8U7WDNfvkxKD2mR8b9Lz3Caaye+IFkJxpil7menM7dWqfolLjQjT0oQ2sax2vjw05gfixI3VNqF
bI2nCaYBpAq/xBzbw/3pgPGiz58TBqmXcoGTXlSykyqz7CGvJEVkcEay1V5DM8Da/2F7X88iTm9/
AZeEhZfR2cOdD7o9KwArgnMqYGue7OtsMve0MB+4sqv8+wKVxq+NCPI0i7/BBOj5hpRj4OZ0f+kS
vDv8BY8XIHbdgspaiCymd8XRX2UFuLOw5vsayvwyNMC+0JBZpiGy3q1tXR2kCUl79rCRCiHxzMuc
P12zOMqVRNuneTv0LpUyi8fm8KWxvIf7YfwIXZAybGGIhzbk0ceystZYxJgF8RByqJ7zxKJ0ohbD
DbXS++YqVGPab1uDDnjqjG7rUS9VD/7AUY/Vwt7wnisEqyYCztndP88gDCg/i2yH4pKesKYmZa+M
y1V4v/36TeSYliiEjvu/Z//VTXXjVBXPX5uRFdkKy8jMpADOReXha3W6vDI6HYUp0PbJMvjxq/eC
QpNW08Vpwu4zb/n264w+gKtqzRbadfrjIs7LWZx8pbq599d7+uv4Gc3cGEnYkHXQzwE+3WLT84Oy
0zm73tSOJZc13vlbP4uMGOLYUHypBOciSH87md751azZGe+vCTuWlbXud27Vd+ehkSRzYQEPXI/R
oZzu/zHV4NOUT26IWEUljFx2+c2dhJCGrXS1qdtZbEkQEQ4ttjZLTiXV4r2gpn2F6qjJp0k9mqvx
JAQUMpVLWTe4MOjss6EVfQI8KheUssL7kpnTYqBWtH3pomyk6jTd8lyndYNT0fyMFVsI87keUGY7
u3ok2bJ+MIOR034TSq+nMf7GjqJV2Tb0cHoIW7GuMtddD28ju7QZd2y26qhK1z1zHrmV6dG9hcKm
QPx5fm27m/lNogO257JrAnlKNG3xGJj8OYkummotFu6gITIUgBHzh3X3da5mqI6w8PXugfWrI771
45IaivshiXeQlqmZqUz6nBMV1ogTmpFuZqzYuH4f5lRgafqZdRehwkxunGqe5pxxFmWVXvTNZnF+
Cok273Rjy/dX0/+dE+SVtt3E+P79ahp2B0QAsGOZ4DopArO2qT2Ultk3macPOQbZMBnZdYJo9DC9
t7bDZW/d219q19ZyuBuwwq3zggE6oQJoQaJ6fk4cpZTQB+7DBB6sw390AgOLz3USQkQ2NdeiwBYz
oNjo1c3XINWPM7EpLkSApsqY8e8yupM8lju5DmSUgiJW7R3FAn+cv5kfd/idX70Uv7w1//c3hPT1
902aLBnKny1+LxMXndxInsvRIOovx5vHW/hgvLitnp/F3WdsCwnenGvbdGUTqyIJ7z7Us0Dvdka4
gkqVS6kzvAtKctM44vLyqhzLV9ZdivqHRsYlIRV/4+Pw7hZyBW5fdIan8v4dad8ED1Mgu6jHPxxx
SrivMpbJ5Nd2xgdXAe1fX+2JIbGPA5HCnp/2aFdewz7JCxu8iox7dPw/ikTn73+YQ/qwL9B615yJ
6E10aIUmU6tbJ1qVsmEWQaDoV7ERzPaWFNOX38u1mg+jUgefV5yKtYGK3xtXRVD/3Fy02eLXb5W1
8q+fahPMpQJP2mQ5M5jwnqQ+6lyb52a+nu2ZHbye4gmCd0SuM2ll6wm0UgVHZ19D5e8FIQDkOteG
RYcXS6mjyfrour6BLl9OrtQVn8k7Tu3rkWHtTVXSJTU6tfmr1NNULR5YpQ2eUXPSA/8GEgUh5uGD
gis0BdQxd9yU3dQGATq9jJTGiM2hkbSnsR7cl5zXjCh1D5IzOY9hSutX00t+pTtK5mudtggSwDyz
pcFGIcnVUjXQEn3OUW9yaFhAc7VdIz/Pc4UnZZ9UHu2UhyTV5IqwnaVWpfSUJ4ANYVUK3pDWbKu1
qU4tPk+Zaejg6Adh0CJk8r0nywbGUbVH+4nu0YS/cEZtXkLAJPA7HCtLkzcjoJBsK6R3oeJrcqqu
2PrRkL8iZHKbzbuQsnaBx3BW8oA+4y3zDBwHzdyeNhWw3zsRhGnAmkFs65CMFQJZhU6TfAFmzquM
Y1eQzi3+8PuC8xMsw83qzF48Y5JtQgpKoYMQQJrQY6Ng2rzgL7ypIrWMYRDLSvxeSwtTU8vKGOJl
VNxGLXwCNIJVe/HhPjmWL8QOwzVqgci7f6ZYBQ1Apnj8xoD5dwArqVrdBPP7+4G3KvNhu+FSzBFa
Xqx7LxVmNgbrzqP8mOI/cKxlxVWCrSzLduvc7Lgsm5UeW2mOQdVjD+Gqd0frgoZFdegSQKqsSd8y
wmNUxoZH3GLFJpPuq1LiX2d2On88u0d//3kh1w85qSjMo2XPbDL/+xzlGxMWyc99eRt6P4oI9o2w
Ka4t9wL/UZuKFzYfGjx/g15yMQDMcAxFrsuGbYwBog1bl/70Av5IQwFGZ8mfBN3KP2ltaut/L+7D
CHa9fdeS0v8TFRAFneZL+lu3aibOT9wC4mThwrQfjHRNJPTLHWgCjCsw3jiENbWVgjemYfqKoYUd
znXi9LXv5r6Bse2HKJcL06+/n7NxQrdS0OdikGx6f7GZAYOC7SGGxp7d4k+V+FwOo8/1gj/Cq4In
uuNVWVfOBMY0FjUfVp4sbXp0zxJ80ITlRHl8+UOVaqTKjYDocirjB0yvgqXkvnLvZZi436pgXbch
zJG/eTf4WO++Dg2i4235+l5oaoatZU3370oG1RH/k7OvdN+grrB94Wo3V2UnYuw6H38eCGPh4oQz
/wiq+0n/MiKWZd2o6xUUNWP5CWl8hfGCHe3HZg3BAaPclQQgNGzk8NzJjFusMDBOJkPfrLS6uy9n
9lnUbOP/jA3uw26waSzKyGBmCMcKtoY92jKYLR0leA/zP6lOsicHPef5YsFNwPTBzBh0uTDtNG+t
L0vgIE/nupsLBu+JJm/75j18CXPll+2Hll0jX/Zw483Hq0kYbULxhp/VvIRgp4sJdjVXntQyneRP
9ke5UIHBioufqpKuvUUzqP3XeHgKo+eUk7eEOiBvDXoQ++Q7sGgmhgEzAf2vqvGILAcPTl0keD4x
fFwCEGsB+riJkqVFdAOmD8UHuieI5WEjZGIHz2WJXuiIBXw8qGKCfLzsYpux4fQ7BnyYFntoysqL
qk8FyPlDQchNhtCBcICFUamwKr16y8Ig2eeu0cCND9TarvaCZ1Neyg7kscZ8t5RvsA78ge7B9a/B
+lcOEUzkEjJ3wJtfj+n556IfLN0GXP87oHOFHMqYDrDyqMbDQCn6QSPR04E9MHfryfJ1uMlzfs3N
lIuX0TVoFQoMvbaVOGOHRQkdWs3X5pZe1+IsciHFWzkdVfzvk0RvpF7l49pN968ltS0c6YoZVpUg
UH5OMWV3RDgEMRqOGoTQ1Iq9Yis7CmKaZS8qSV8NnEv3q4kZBl0l9hmfrnt0hSGRafvzwPkqwyCR
V6x5fjIsKsuhNZETjuuruqzrApr3rj7cw6DWU8Qtyo8kFVd4LJgI2LRwmbBz9ppvFrBFFDbJN8b5
Ckr0uj+LhtJ9bOwJh1s03Jb09Eav3+vEmzzVBAaPTUj4si89i+DkrLvwGAT/hrakqKXceNcIp1mh
+gHqe3ayvJrL7qagOE1i7Pw7dZa98N6RNnIzZNIIBxbx5xek03nVA6HH5bk6CmtH4tsmiUapotq1
aVcNizeNs7GVza6v1DKk0T23U24II4tjeffhOBknWNBAyw0soRQpfjhmi0bRQ5usmQL+mepMfqFp
7usZY4RGlA/0LdG2ZQi0M6V4dhABb8yjVqm3O2bTS16hxYhvqXe0CPzKkg0kRDlg3vkSeYrN4ceu
ceHLIfFdsfpHAPVv7TMsLpyCV9OpJRr1cOOckQeGOFnhE13KvXZBBWJzD9SMcP6CuSOjwHGmRuob
rtiuH4IfmHKUsI2/do3cGGYYrJDEMJnctGikw8PuDvuj96Td/eyvO+E5N1IIZKKgcIlUcOQJl/KJ
toeF14JbTYJvu667n57467Tsp1JUOYWQ+Ni7XbGU72+Ra5VD+x9qMIO0hbkxk+ZZJl0+/Oal0GxG
+62nmlN31/6WtM9ELTZSHfOOUsJDHzxFvi5TPfryB3PnF2QORwp226Lc9VGwaSq1mhGAW+tsUGJw
dchVsLj5XFew8YL1LgffT1v0JNbSz14xs+AFJATnT2Sv2b0Sa2owl60EVRD5ijG0XI5Kuh+O9uYC
BPx/0tfMn0YbVl21528OwaOjYzE4f3G4DJu1XXlgxh6VAP9VZWO+7yHnyMuGv28ROoxiib8HXqWx
K9LFibm4DDIkkVgE8DyWpMYX0fd9rHhSF6lh5DF76p7z3PjUf1BEH762JTD+IWQGI8wHh2/T3WZ8
/goOC9GwULHpHnvbH8/W+Z/nBte9mRsfovBioblwzBVEmESqFoq1dyByvnf8RtYIGwv03l5bfljm
+ICE2xTsU0KY8HX4kxg/PqI6cfIq0MBEMzizN4vTlsV60gWxWHVUwwsUZne38d6HeNNG9G6GrhSp
88hWFxiKT/qxJG66vZQFzqqZdKk5wZCHjZQKDLLp9e8/KPwtm65N1TbcClXQRK+fDH+q6TYwefO7
bkWV5TAM/QssLvJTk8WjFik/zdQSJxJt1v7dwA3xVmJq/8QYc8Oy4LGwv4JLq7GxCAKbGUwfgmt8
sKeE/1vmA8/qpacNRa6AD46fxqm7Gsgk7ISGoX4jOt5UnkZQhOOW4dFIU7BoRbGS7Md8mBBmxqEB
RvZoohO4icP7tIinqrvAyILThfGXWIPEMF0M+43tP5w6yfKyUtNli98D4m8kygGXtRqkUbY0hDKI
8Yngy5I51pVA6DzKdnCt3jPfIOPSqXNyVcyX3IwaGMWXsUNU2vbYUF9K4BuOBMGPAKwCxINhLP88
tKohZ4U3t5k0KjxuxdJjaom1f822Qw/RH4oi2HtH88Su0KwMfManSuDYIyB4QGziwesliEpAeQBu
23RIKW/c/gChdHvShodKL4fcbz9TQ/hxbnibBHfyB2BHS40hwACLl98UDL/84AoZECF+kMd1iRNn
nRdn9G8F0oy/8SWfPEsw51Rv3X5s+o/ER36Qd0t1tvzHo+orrbKpHhlldfftJR1kc9JZNgrc7ibC
FfrrfCsh/KOXq08GCQFJufKjiXex6C7bhR5892JSEKDV5LEBL39w8LWBNLaNFc4D7s+2nFy0jobU
uqvvVTf7fYKvG7snAmCcQBt6VQvad1mzIC+udyi8cwK6V0Rl7HWSzXUjkSGVKr2+UvNk816F+l6/
7tVkE4Kdyb5FX/FL59KkAsJ+eCTrAcfbA4AS4BYNZx/OzCx6v2INUN7m6okzq0oSuUz9EGcDUtrI
Z+2wNoRiZvsWWrDdZqSrsYJN+mSa3Ri+GjIilsCDZqtyaabql0bGyDbVPTULPaAcW7ZD8x57m3TW
DqeRPtRvyfKq69TEMsX0APK+nC+663a8uUPR6O+62Ux1jzO4xGApLp0plttrjgVMuTblfCefUyy1
l404G5uNDE57j7EL9D03LyDxtB8avfhb7lE3cDi3k/Lf31BYkopUFX37SWRnbNS9GA6yKUrCMRMI
Qfm++8wxwmvRiHA4OUE+0Dl31fO5tknoQmG25FoxC5U5ABwkTI/YQJr/0NqdnQHnUQX/uZoUU7ph
Vqed9MCQx+2HcZNsngoAoWLUPrZddVf/WlwXyi70vX1ccNerFHfrylbQ99vK4NXqagkyn7hX1n2n
49hO0EzWsrqqGOG78FadLGa+HHJRTaXTo+L46BBvBPrpt1tzl23kB2urFZcezhjiO9yNdMENgHKi
m+luo05sb4K8bOk0CePyIWyrzJSy9T/i+rL47pu3ePXuXFHPewxZDfYOzSc9Y66SqkdRFVRtbnJl
H24FNha51VP1Za6cL5Q8Cyk/Fi5DIl26ICMdGFtUnmy8B3u+iw1HwHayfUEFLRG8nbcVDC5G+6a1
TyOOw98ZTnU5uHFxiy3K7rf8o0SFZ/s1UjcgmOTDVqwYvTBPeWgqQ5YMp9xfK4ahmWrcfoMHdg+c
LmgtMvu9Coniz6rkNQLPIeBKiFPnX4u7eymTD60eX/4mvVH/9fPqHd2bCMe8AWZrwnKKOb3lFpfM
WPsxDRKq55f6b/GlrKpQ/TXa9g/emvVHZ/IL5dn+oLQ9VCHGmouaDSjeWHTs28+HTGn2nbA+Jc/E
nsJGvGgMYVz52FfV36dLhaJrK8+UiZMBPR5jCIROdOHgYumO6XIsVz147LuFZNE0JV/eGBnYecux
qLqfC02INy1Tr3+xVkpRR8qaBFt0NkxyOTJzxP2+JIqZfw4wu6zc/8HPwyVqe/jMfY6bkMrgjt0W
n4NJ25mMQq+m79KGXgbGMI7pZgBXP7zKp4ArLwZ3zNLho334urquDWyn5EdhnJ+Dnp1rm8ByVfpL
LstPz5orhe80OY3QGAJJW5cBN/FRzfdtAasRaShiIOqK0a6t3Pw6/ihNJiES+dIg5oz3qaX/0rKv
n4YqFqXZZWRobIY+qQYZ9354Gp3hvAcEvnv93Lv20rRRpgGjW5/l5Ye5/DkfwE+PnaHo9xEwfcSE
XiuyMQ7CR5ePm3WlzPA4O9eab2chaZDz+tAGO7rZ3Sa/Mgz4hWvbbOVgTwebAbvbJ1fOWFJwRyTO
zNAD5c34QLsk+ryexqEcLKbxfs6e7vgKYcZnlLNsmeNaSiyj6S8PH/Qn2ac+HdoG/WhiG2gBq9F9
hrK2eb6JN0/IrbESRd3d72Kkz8ONs3cmsyXzIMsSh0uzNP7PsSD3/8l2IsPfYpbOdlKmFTZO6qwU
l+Wb2GiNW7onHSf1Y6piIhVulMwP8s+xnHyi5r2HkSOL9n0l3jk0PRGp+krn9c+ukGRX/izl9CuD
yb5E5Ysuz7e7IPqkHC3K6HSHX8KF7K6a3JUVsnjujtc7WpQOz7fsl4nU35FkP6JurOXG/L5ZKzvx
zqt7awQpb7jvPdUa3IWHwHl8vqnm6vt/hwG55sqcY9FxTixmoYUP7ICXmZbqXMyUKCp27TNyftai
UCMDpmDSFBE9otMkdOAuXj/3LrTKAM+Y7zNb3Y0I90wv1p/nf7ta9B7RhKr7/eDzLwcI823yZ/fp
tlSzSOVZTe80uoUw3HI7Bi8n+eFjZXWWiCqvuIXBwdvQckzKwOar5qZ2vVQXIgA0kNxpO7FFWNeW
sUahu+7lBsv3fZcDy/LdoEHbKJVHSmRbKG+I1GUxZNwcLH38N58Sn0NdxCwIWMq8cNP3b25McVUG
XkWLCLUGy6ogg99aJnDI/prUqpQ//WvcEKdP0qKurQj7lWXL1JvSyunRCpFrSpxE7ePcHRAuR6O7
a6nYJw2krzTX9F6hi7lhhVJv8uZYVJD4ACAGTOg/DdUtbAp9lLMcLWQDXm5NNKJZDIBhuC4iVChb
AWK5UsRuR33YzeVqBsE7vDRiltypn9Idvcq+xnelqlh1smyM/H1+amrTkNrs5U6dAHqijf7hGdgw
T4wMiwt5urWtI4YJWNo4HSuwLtjVUW9HcSTtkJhAFa8JQu3JBwZh7kDH95jv37F4noti0tnE2mnv
ycfm/FKwIP/t5ul/q/lOKa7TZn3OJ0p/INliXFBrxz+0BqhhepYosBhpKbD7zj+bTIghPvLzaXpp
QxRMoQ0nrkg6WRW2brB37kU/lkREQe99uyq/JvhC29m9h8DpPEKUHKVsjhHAAPD7m/7N/lKePIFP
p6JdMc8zIvBoVOmQIxcvCpFyutqcDLCLLi63q2QyZTOzwNXbVpzupem6fk3LqfhNC98pghNXkraM
gxdYJsUsx3SrFoLHo5zL1N1X6OPfqE5wGTT3l7YMXz3X2DPxmj9MWbi73atMg8m3zv8eq9pk9Bq6
CK7Jq26nBRc7fCSgFD7EtxOe9NLcRE7QcswUb9JPHl5vxyGsAAkyc24baTp6vDUVm2cPZmW1JRs6
38q7XEUXZBA7EVKxLyMP+RkLDDX6/s9gwEO9yxluczEFoSEqn2MV1CGnx6kERS8Cke8TmZwmsGXV
uDTwGA5MBPalgvCIG3FP5dQ82AxXvVisuo2quRUXtvpmV80gcVmLqXkU6n8lMA096oom5HwvpzON
86q6u1Wubo9CaZutyTBYokJMWveoYnE+rEKSQO5cVjkG13DZRPEpA22yehSM9b208bfzZe7tok5U
WaKwGG4C4DwLgWM3O7HEjtefrPrTPyeWWvHeI2pezv1Tep6Wr5EuPoYZyMPgcX+70Vxre9PF2w8+
Dj4KHkycSBReH9Xur+o5NBMp6ezL2s6SxFWRlhE5jLM22HkuhBiDwhTdFpJ4BPN9p8dS/ySqVlje
Kot17WWtvtXTuoufZLzcfBYQbVtnYaCHxop1webTOblcmrl7TaukQFmC5HVGf6Xp9lDZR9WdiTlU
WlNcaCY37dyfmzN6SupfGj4UVRMPhCOMjrfo454pndOhoL+dq2n1MjIJlx4Ll3ITNyAwUoz9HweK
raauLvRkrsu3iNynvMxv+WJKwlnc6BM8+pmEPMNzZYLA8faB4wuXVsjLJ/gj9Ysq/UfKPVqMzmRN
k2IejSBdUuD6zOMieW5pf05ARNu03e/3MFLIMEtsPJ5vz11ZEheTcY0W09Fjka17Jlah8wofEL1N
ne368VLPPd/vl3p20rGEYmMWJm+5MLqvWgYS1/LkVU6PRJAw3r9ta3kQhFJ+W7OrMIwwMlowyXiG
XIe8/OmHvKRqlKtFkRl9aW/1TlRDG81unkn8pnGblL0FTfYJHTBXuiUbLBomzy/jqkeiGrO0x2v4
oa9LfcJ7+KB5LUmfmNjSqHTT5ZwcQZ0Skl2+Ds3SFCX719nrPQfN6Z+WFRcBR4x5xOJVUjOyj7iN
xXPcxicI6ty1kBVe+lmUYvVFdwVHwsdO187zTUXbqrfZN66MYpZfhdjb76Ky6sa/f4/VtAvLO+Ed
d+w8T9au7Q8Ghl2dYTs07UdcpYo25HKoRa/Px7a9u3VuarWHjPTKMz5YSGl4VJ6rf9FRn60sqR0K
w+WzsTo2dlis+VaU5MFS8kvy2/4jj3D1G926q+N/JN3XcmLJEgXQLyICb16F90YIJF4IgRrvPXz9
rGLi9u1pOQSHOlWZO7cp7A8135/lWMPSD3Vrd2AUWIzG2e+3s/Z1+duSpxbddXv5GSlo8oNBTHv9
eWpuuqf8pqIHb2Trp69TF3vr6/UVa+5qh/ymtmv6aeBAYdHc1rcgiMLin4Ub+YskPnzl/CqkVKto
hq1NWc+swyswcuJwtPpYNRduzOYOQddD7j99XylXUzTW40MCpNpK8bUuJBvZ0q2bbKwquRlFUQk1
LpZnNkLKW401iUpNwz6Pk2XJXtVctzFHRutCdBIpROvRybodnySBCt6PXc1O8Wjy2qlt25fupfz4
2tQuzWw9XWFvN7z94wgyQRF8Dpmy1m9fi+K8cPgX7sdOvIepE2nscRUZVv0chzcW907cUx4QsJzs
LoVT6dFWS74+3+Scw/T1F/u8TDPsndhqsl5hZLOcZPp4lPFW1rZlnzG9aYAr2MYAjjRDxrnrEhwo
NS692tmbEBnBDopbA+fv01RMjZowa0TURYYk6xh/hd8H97lawh/Lcf3xY+jYeJJulFDDcvdyevSA
M59/d+Ydy1ZkOtfqQJPnQkvlSTpGSvFZFEIYmNMBsg0VJe6TAlOjsiioZJhlQ6oMcPFCfvGI7IuB
r6qMVbX4OLRwRXMbEEuTfwIHjIL+16AHZ+s1zXbDYwUwLZDZOG07mOat7WDZIg9Vg47sXO7lbDfb
xZafHkRL+vasXGjDnUhRPUx5kTPRcWIqIiz8lio1GSsvWwY0b5XTjHkFc1etyjS01DPBhDYRZuie
PzRPch6gHsaOj5D9XX3fOpspMQMAMf2LoqzJ0t+kZ+ZCwkv9LuU51HSgnNtr7hQgukJS3XXP75Vv
i4Bp+0K48vozfFLR+WKNFWssOdWbHye3UiQRhGIJlOVlgBldVX+8Er/NIY1UpqqDcocMXzV4egYh
fgY+83GwEZ000lutf5X/i8bpWsHyQgljsDT+d+8yYcO3e3Zx+Vx11lug+8Bq4+zv7UDoC4C7XyiX
XlOdoK0tQHlU8nemYHg2uGqngu6ipBZveDsaCbpRDBliMDcOzuRjVcjmLUREnDo3pbC47UfZ4huG
zPAsay2+HDhu5Hx6HlAwqKLB9h9LJ6vNNggpcaoVYIOAlN2/+ORgl1vnoYRJpJwac8tArI1li/t2
3D23Ny0rUkvko/JqovU1vGLlUXZueDXVPr/75+HtWJ4eimqyEOksHvl1e32UucMAsJJW92KyfmSH
ycmi+36Y96EKSQI4LUYecPm5LJzK5zY9X/FZzVB3591snRTUOT/+2PVugwWy9/Q2y5KzmwSSNxT8
FW2oKth4tSIAGRXZIMtXwtGkoqrmnh8ILrsy7pEKprUE4curhSKO7UbnxrrzGDyrrybST+XkMx5B
/ZPLn6vHTm6Wofr+G5OmmJLDn//WeEXEMjd2EFZH6TE4d5bf90QxCTx1OcCrGGbYyo88wi7a8dM0
mF3JArR6recqMAR9snItKqiWC5zzez45ALULG1y6a349W6BSBhOlVQOet2gsZ5iTqUKG+bTZ2tOn
bSGqkbBvQK2ZAUH7LLIV6z/6/GkOJeRGpw9DDBSE88y9uw2kTbm95QCZ2gSCXH/dsvisxgK47RQo
kXr/VKJoc8osC5mwyQmR2WNxB41H6nPz/frU3I7JW0f704d5tD8+AT+w/Z1r0WU10YaYuAQY34GG
q3y1DdKPtpRCLyamLS5dFmHLcRkQyeID06XxBr5jtwpIlbtWQU6nTp/tciAfS7KsL5DwCyJmhu6G
RSPRBtCEDdIWibxpzpYrcykygcqidJ5nYBvtHB6+/gfb6e/WoDxZ/OWmmSmWQ7y26ePKJGcaEDY6
4j3MC/oi2/1v18l95zT2uamWTs7leHbs2eyd7GZ9ix+1WPolqLVMkvW6lVd31WJoj2Tb/wBd9NV+
5XVXDkKJGpzALnnLlhfyyHCc7jRH9UhbrWevwbnzlLCtsoV0FLXlQdojK3xXNkya9zz7eQuE1CNk
QCk5l+ixngO9LVvlOXNwZSFtyaWPuobI8C1+XlzrqmNIz8q8BHHk0XwMZHvM0kR700h9Ri0yKE0C
1G8uiZp8aHIzzC8ZgPfBxrCKkHZLqwzznxeVzYQHc+A1D6A3ujr/vE5YcBWkmy2+Vs1wX9tz4s1Y
O911yghnxedx1QQ3z8suswOnazfLfTYRdYM+oGbryzYhFCvUaXd1IvBw5y0VozMlCB5CvGj637aG
8AFB/KZO+cl9IwGFlpmi40B/bRaW/Oc8uLXR+pLzvBHW4cfo9Pfa83VJPOsKeE0FDQwDcJC5ZWuE
NzitjKOMWjuImJRdA+cDONPuHd6tcJogpFkMI5nppv73An+1hwHoqRAPybnHgU7O0eFH/j+d2Iop
aH0ZdfXInV+wnnNzU0m/QVOt4ThW3lCVCQ0DSYhjfRG8Gq4VsJKlHAkv1+LCfFOmiwIEUtQIAfnV
pGcTdYldc2t8CqDUp1Ma7h/FlxQk5l10fKCWa/j6kf6OooED6L/VVGuPBV8hZHv+khu+M3cwwEx+
MiUO2braIZ4DtdPvBVLh5TqbL4ysQKjJPHZBAC05j/Zv/VtISGASRs19lKXKAO9CBD5nK2ZfgUsu
eVMXYc2rdlCoCWTT2eAWoLskiolIPhoGpEFpmkODMpEqMpAPovRc6Qrd+Gc0b1ob3IAN6PFuyZpW
b+iDN+uucv0exz4io6c52vOjuKI+buRGSetyGhmxqwkuyNX1v6VTTff1j531qW3YmJvo5HNK/aNp
UcBOsHsbpEV0D9Ns0jpaxfMuZSQGgOTYXMROoJSHUB15o/kZT8avQP87FuN6z0A0xbLDdOCz4AAo
Lrue+gYxJBCb7l/s3hEZNm1E5Jioi8hgg6s2C0/vYB7RTzRvxgYnRE4mCmBAzPnSrcaJ4Nl+Gbyb
6OSlkTWEauRG1qfUj0bumV+R0NXIuCBWjuN8opdqyeZosN9lbYLDy7gHb3GORdHcFFI4EIdSZoLV
HQaksQkixC5EWK67CRSTCy/WTx8Bls3V65l40fuPYzbalXIvrKP9KFVZblDZls/gVWOOvcwVDAkO
KJmMayNBBHbis+YOWiUK5942xAyk0BPtgFhTRW8at41/kdZmkstfee2y21cWzYLxBPIt9wMsZjBL
ftzINgykAQn8Lf06TsbRn1x+T/nNn62CYvNMFgJbdtyQKtIZF7KdqMncX4bv1/3DJwK1shWnxYnC
w4qYYcbDwhlW6EqHNoYeqmlxgdIRHywEsRapdZFtLGxUeKgOcAicuPhEJ2E9ku1Ah8YdJITHBJ06
bt1jKFahgIR3eGx5SEbNXUCQigxw65PosYh5BIyxcsKe6XL0uTdvqxK+AqxMboUsJRvKjwn7dfRs
ZeqBZF8DhQvXQeZ6OoZSbdqEMDcQYPnMm5zY7/TEe/50zPo+M8Rz3TeezHv2W5Wd+H5PjaaJaTJW
UyIm9y2oGCwNYlJkQuhf7lsgkbe9Tz6nn25FB3D+bc9fc2dInBEM67X2FfVxVwJjwDYIjBdIRwpY
cwB4taPHBhAyN7z0RdE/eBAimvZctwyHf/LLZZ3fE25A9FeQbceQyfGJj+X/sGENXOPY4lF0c5kC
/WFd2fykSh6TsthllYP958L+4dABbZEhkB9/VOyuNoKMwfvqB0kNkR7HA4cjoLEjMth/z3RnXA2R
LMfyGg8XWFVL1cPNmnfbNR3o6JXw87hSI+6IM8M3KpPTtfTfTDt3qp74uOtWUOb2A+3PCeFeTR32
+G9orevpXFQYIabNW1fuTooiFo5tJJhntBKZLjrnXXnRd36uwkUvhT6L/+HNQW1YlysJvl6UNQaU
bDaoxq2w/93+JqbKK3i+BzGxXSpD1e9XspoP5ZV3U/rIu5vQggjETlkXfDgVKoBPrDwMhAWdIgfO
2zfMhkcoE4GSYcyldJtyxPsG6KESyyYdaRPwDsZf/Aw0EXPln+rQ+LGnnEHkpGwOVkoCpwBxZnDW
8bgWH4A7T2YQU5ko3m961PPvcle4/47SWZOhg7HRiv03ArhqxQksAiwO/mZ8ojINy0q6cd95Gjjd
Boiy2t5Hr5uGrdWfQ4ezYTuwu6kI/gWGps0dgDvKbd2+wn8C62P8N29yH0u01vwffi61RAgWWkx2
9WwDtznsEqju0RTb7lxxkZJcwpyva0DCgZFPU4iTOhdeDTNW7wSbyd68nmi0Aw047oZddBg/LcUd
VrzT+x42UVUFNq8HoWd8EO7j1Q9qVmxZVEMs6wzCvVw0knPLUAD9Oo5h5M43CTwX/KB4USBcsD64
xQsaxhF+CVd1WEUuD65e/Z2I1dVcpj2FaEjndeg6VM+lewK1ft9Dd/HM/2UqkHpL4V/A3bNOoMit
tpkeR7YsjCfFCtUMnP2KGo9SdCiNf3K9tOvlgMlvYiC0sE0d5KcNEWa1VcVl82lYGoyTAt6f/jsE
23lefcH7sOXESLIWSLrW1MtknwJMLvGvwGvn/BfLX/Y1zNhcsvlMfLj00pkKaWPnFVc4Vz5Lq491
Wzh4P7J9mZzV7NJtlV8M51K3OtKcUDhYWiDiZPgCvciyNP+on/l141aTCJ5/aTX715/V5FRflnf1
80+yn+2HZ9SOVxPdeXU/ff7d3EC/HnX8t25ehrcJIhilctC3fN7/YQ1FvyKTnJO3i484ClSuikMM
45JaB9tXTgR22J6NnD2DbeXhJ/nlgGPWrn7E6I710wPb84od4kDGjlzCV/WgTq5sR5c2rvjfoX9q
QBYMMOM1MaIdG2mY23dVhiZHVr4dN6SJQig5rwc4R/WaYOPE9r0YrUE4cOrcb37eFhwAU8HEKXg3
S5dIW6mvZ6kq36bu5lcuUGDHXZvS9JkNtS64//GdmBft/onvh4gVjOtBZIo1T4KfEd1iJzpXbune
M1qNr4cGhHIxtTSUUtVoFxtRGxHGefoWXenMIAEwgOpyxP6FZZgrmI8ZSp5CShhelUlyppTLuh8i
UzWvKjXngEFppMZn1JvMK0L94w5M7WhnLGN/aAnM/bWc43+XH63XitWNpYfopbK6VZ/AApMhRDDb
JwlhchbOyveg5xrMBFy+THs5iMsF/jg/Cws0DD2cgGBdjvzwGKN4tuPf5mzGREb2ToBntpBAraaV
Q1AwCNgXvQ4083nq46AMHMb6mi4mau7sFY4ECSM3n7egTJKosYpGwkXVC993ndOhmVqXtmJHWRab
v+mgIyW+ZMaxARSbHrIV1ymmcYp1cjgLElnhoA6/qrrdM8qW9Y02a9/M6Td3DR/aAI/jlhd2ejJz
dj+aXNTNjR3J+2jVJEF9eka5XEPTEWVZW++Dc4XFQ2E4Jm8NW3S8HD7V0GsFp5ztv3Ws5v3DlgjZ
q+bs+xQrgJJL+8x87rd1ffdpCjMKKdRmmOsmgfi5tp/pvHlQ77btZYz7TTFpn6f+flav8MJlecMJ
MrYs03KP49VTogX8ST8LycTIpDyqAfCtiWqkkb7+i/Tj6S7WWaAQrWrxZRVDLfooHlM4XuUweaqe
GvNzSeHBGB5bMlKT1esKHfs7HpLZPFn7ci8ZOx+1JcQbjjkU9EP4qeBsdAKbVA/PepiForM4gU9V
ZJPEqZBKuxQzzBiXdSeD/cpO91S1PEFgvso8Fog3sJ6QwhvLymnViyQazqg1SwUd1CVVDLcsAuy1
oV65j8P+HGmDPikx7mq3nfDpxffxVUuGUNTNJ3qztrey+tbHjIz27CXW1O1vaRkPw1Yxdbf4PT+E
IPQj85ouhznX4e2Ltb4WcEfVqLlWpBfbh8CS86GUmkRevbiZ0L5035eWzc2rEGlFBFrVoqRd7N25
ruCLRx/lXKLqjyAM027UcAfwuZUwWJayLGsUlTZpFvsqMgd696bkBlbbqr9yqDK5yNAZlJe7spZf
UaHe2B86yhpuRolIKUarIlbZwmbhxtI8J76lswcgZfI+Y8kcDce5nr1HgavqrZR8NSlpU8fKGvuc
jzyrIxQmN/+YN0LzvY9U7S2ZsSAtJLNCel15nCvpeO34eleGzp7fhZHe01y0kBZ4vSkjYPmNK8aL
QSxdyJ5LsUM7JsYXN9gKiTMYCfLLxa3mjCU/SFwE4wQzRp4dsVRxs2n4BgvE5us+DC3/DoO6qFVP
Yghyc/Ztt7yZkz0N+Lv5CxlWDfxYXMwgh1U9AA/UKO14l5x7ToVzyCembBk5ZJv0Sa/C+Zyt+mmk
22ztOrhgWyt/7Mv9eM3eHNzAYzwMEiwls7Nna/FtlFRZVgT+SlWAjnX36BSM0pVkbhSwGJB80+DK
tFgUjjPQWdBZQS1i5e3Mc/EJdZr9B1kGkDKfPdZSEZaYQjd6CZ/MNuPBMj5gUszHmaA0DC7ha0a0
Ri7MEhFz3wYKwQlCF9jYPUo8+4WbAsXA3xOT2NxfpJGJFc5ASL6oMKTvxd9JIoU7SKPCixiEAYfs
CSk+VFchOB3haPnMR74FWAYx7KvBcFLeXt2MuIAl7Md4pKkSswNFZgUtgEt1kLIufrIzEuG7VMtN
PzO1/d60H6t+wDzkZoxHq8aF9iT2vf8NThc02LWVdjEwph1pCtwAf3SDkQab7C73NVvooaFKMwCY
hWo9ICUf91nSHpD6vg8CA55PT2Pd2v5KVJ1Fa8vfBwJ74Kj5RmNnHZg9aBq/F7iJONHwMmwrPueo
lklL7C/WQliE2jjRpvE+BT6/KWTu81JId6Oc2hTVn9z037YlS2H3vxht6jwniqpv11m8dToYbrV4
vJ6o0Dvj3Kd4oR97UTZGhEHa5WfxUr0PLlUsv7RW2IcNhy1zleNI+nkgQ9uF9YJkxBnoSQpWkDpU
Lp/3smrw9nnu3kDoCNCPT8S7kbZR2YJAa0JVD/KE0vqR5/pXt1ul6q/qrf0iZqQoStWxVu4c31ND
pZFvUVppaak9/vH0U76N/1ItXr98MQlBaR2+IhI8gywMNnTnyfCGfIJSwRS3cR4kvoP1yoaJ3T5d
OhDasaPCr7//hgB5eJBbFCg1wEcgcXJTrv50WixKsYMMTFuPeraALgf8mH/Mv9Ky/YJY674q7CbA
V+bCw9NkTPnKhzv6sZschlc/VbwLI9h+3Du533PAck4fLBKHF5dg/sHnuWD3Vdk17JexOt/wYSws
0qH8TnKRwO6Ho2CjLy75c3N8JfXQ2D50jan6lYshBZphAqIfMxGk8uzH48+WexS1CqiXrvRxmGyb
wkBvda6GLxqSczO4DLJGRYTf0skdjx9npaj6881gFwc1QiZ5DY//XPntaPGd/vUedoFv1y4cC42I
Guneuh5LiF9b91AYQ9XcJ6e3yxk+vC7pCr2WuInxgINHbjLNhQleZnpzHgLdZvOeCdS3ejFwThs+
ZVz0u+65jQOsK5KwanTlVonPTqZr3O4zFdUfccYArm9D/g3GdW1kVHgl6MAIrs3uBd8ETG4Xc1a7
e4qvKWIiVXjRQAmpWHIFKDjeld7z9yzLvbFIBueZVhhmBUq/5xOfhgzhn5eGPUA5BIfeM/F199pg
7BGhic+W00ItzxZWUK9bq51E4/SHm3irBuajd7eqRNSrK0+vs8inFvkWgjHc1crnqXkBBi8DkXTv
IqIK/5OTNrMEB24KylYwf84CkZD/MKnRMmjd5YWDe/fvOBCpFRBqW+cw95cSqP0q5H4OX1Hvnj5i
ApbGKEXomJeelc3o8WXgcisLaeme3IX/QjIL+JsDrSDVng342VtDt9PFmzaZMuxRvBih6Fb+Hrfi
cVy4Sntbo3zmY1aioOxTcTsjEAjlj+moORsPJH3AMU+6hdMz3heXVj4d4LhwIwoE1sby2CG3Zzln
CLYqZrzgZSnF5cC/OVqrM+4f8d58YoJCKmD6wozEEbEcZvoZUjLPZFWM7qoukSsQp/ZmS+C1A+2l
OXwB6neX8mVezGTK6Vwxnmk9zPpU0tKfAPiR8vWQZ81x3hRMsk2cYFCUDHhI+3ExKcL9SAiEFVuQ
R35NYAFVzsjaucI8pm+BWEtkLLMQWocg8+JxV1mpcBw5mPWuHpVWdwPPJfZ6fKzbXF423U0NK+YG
rEKWQB9IbglH1G15Ux+JU8btcSN0Di+001/RWP7wb4XV5oPR6vGBgZHhrU4MxtlqtAHUteIGKp05
3nj12rn2Y794DK1z5zF6ft6N5G7dW3lTS9fjdfyAQATYddPD7Fd0lGmk+q9OpHGuOWc1JK/Otv7s
RWWEx8tkAp8hzPwyvfw4bhN96z2SKKAUeYm5voGH5Ye0EyutVmVVtDr7kDQKKV83zfSukhEKNC4k
4YLS4HCrvA+Z4mFVxi/yGi9JdImiVTxnB1lYyyyUWhkWXipe2o3GxO2sFzkx4rOpN21ZZyZC+YsX
I0ogsJxMXjcjVj9bR4RFrqobJYevr0t37iaorX9wr9Jk1BhnvStHiL9HthCpXXqXlst1aWUrz2oa
pZ2pTn3zRQPSWrafE2EpbUSKOsO7drr+ahpOxivpyb1+EIDn+bRQYsaiCQOWkaeyWGBkJL3n8PH8
7pGPx8JzXIi3byY6ieq+nug/qBs7r/b4H1+oZ/fyk2nEW69OrLqUCRTvSXIaGu9th5E/pqrDnbil
89A0+DjEWNorb/6uE89quGC2MrzSNI8Oo9NXdBgdWkdu4x0aiEUVH0YrF1zI5tr0lJayPla7/7hu
zyFGz7r9xL1Bn0P0WH5evqKVW/PRXBXjlVXXA/sB3JcvxJnMTwbbw2XY/bM1zHH+DBshyRqCr/nn
vR75W/xDB7JY7T/3YaAIbb78Aqtx+Rmt+1ZfCiPzDPvFj1gn1TeoXc/GI/2cwg/Am/mMd3V68wEy
NJJHuvmuF8+z2PT1rT0R3HH6SH0rW4zBbIQchJ4fGiexXtP1zF6YHLHO2tYfnezXpvEmEUTUnZv8
dhuY52BCYzVVlb04lGJ0jKfgZ3Mc0Gz7p70VY/haQxrZA5t3+dM0ELfdEF/LGR6KHYX+6KX6nHmS
ti5F0Aote4oLMtBWAhMV96tGqn2Z6v5tQ9SCo2wz8zke2bKzIz/iB70wtatm+7otgrPNZJXF2gdX
QTcRCnA872fJ02aa8aaW+GG/x4ZvcLuc7aY2mjBq/Hv9oUHNxECxbv0R3zbRTkwSYCtKNSOaVNgl
toQ+Xs8ExcFdRfZj1/H3frieJDphLDl8dILAJcWX//1aw8s9BHJLoFtvCvPfFZkFUxxXKxXYLupz
zxHpjb6aq70eHa1Hza1xV5+birp2Jpl/64nft50YSMd+3Pl35qsUPBnPFCe8fq69PtEPY51o79GO
dpfDeMuTfWn/7iG+6/FjoM0F6/VDxeXncgaStCfngJyct0XoEYmJ98uigGZA3yPPks7Wh4rj7e99
pu1wIi8H+xnroWmyJvG59/wVBqRODlNufuzvjvAYXOH/HyIHscmlz8lSkeac1kyDcp/mA1D93pGv
62lJOgjZv3WwWddmFbsCt48V7jfI35F+5knCnhgPIN3VVN1OFTNbgFOwyNLR4Nbx/AtSOK2WBW5w
cZvech/xMURVHX2emfvqgfyBsfshP+3f5r2PqYWhcdrPtrPQP3ETDMvJWsJdAIVpxK4zx6cLYhFl
Pq0UaxEkEs2gv4S35Y4XqBCnqX5DKUr7Np9Jv9Kjn5UV2e6iH5yFGOKHiurOmT/HTRmhu73lVMf5
vp34fJZjncVXuidQqrWtLxrBne4x1UviMHkK1oaznJw1NnVbJqbeAk+W0siN6blQIRWyX6R77pp9
eH/0Miq43HfMa1Q3Lwv0KGl1HVgoEcjCKj948+OPEWL9OooMMYyJxBk/wCPibLKndJKcDN9z3Ogj
MLpxtC+wOkixQeskC4u952G8lhNudplgc6g+DV4synGBA4PoQIGod9HRAfLhCo9GdpD9HcskaT+/
Vm83SfaO48FqFUwjzMOU8pHvdS8pLlAJaesBeKam+9/9IDFdVDMu1pO5p73ppK82T8ehmfnIfyEu
DMSugfscPBV9aOqkfft9GE5peLzp7jNkdzMhdxtvReRtJrppY+NPBFaDVTaxjCpU5SxS10bWMmzI
ex/FYGOUNtKR/ly8bsrbdMGsVokdpyAwryVWiBcfyUpG6uOrwMj8JWSFglaAgPJJ+p7zc86aMIi9
zZzjfDxcANdxlJuYGeUmz5H1blZlimm+YbqPk+9i7YKIOFk0CjAntlmDXKBBSpM/agFWoU+Iv/wG
hCwc7kfhEacXCTN88zXoFCvPfkSIlLf41Y8MF9OLafnHFnDkaMch/vKrr12pD5aS8QmuPHGSlcJN
F2vMhIPJ89uDDGcVevv/3oTshjcL3b2H7jiA0QlFbXDUwjXQ50K+PJglbnC3xr23Al7ahtk7vMJw
RAc7VtZB9oK+CcLljed0YmP8egZ74ThikVAPHZUzjzPgIc9ydDX1UZrTlCU62XYPn8aEsSFPU1eU
Up/dlrGbKS06mOmMuYlkhbv8HwCYUUQMLmE8JQDZL/zH5H6Y/Rs3THl22JQ+kwLvT8ad/Zes7CaF
NnUB4XX3vbypRMxz/WBamW8iMeydhptJEtTLjZKtzrunXZARo66NQ0fpj1DdKM3JynREa/tsnruu
Mmfpc+vS30kLy1neO1Fh0iw6m46b49A/tva9V19gzeTmW66/iz8boxbYm+Idebe0oCfKO2vEFTRA
+OGt/+kCPb/i/+Jfya8QRnbl2u6wdc8YC24HyW6yG6xext0AbsS+HTHb311j06jPB4nPe20+yDYj
lVibEr+baM+d8PYNESnd3Gds6uS37YW64D00/F9t4lR3q8VnyoP7YPHn5noCHA6de0vChUK5y/Jf
XTwkAf98azt4l0Wb125S+kd0ACzjp5agGuDRYRTA9W8QSEpI5OavblRGy2Pj/Du3j+SX3tUbzSMG
5gl5HvF0+Er+CwsgUyd52LVJ8ifr0Y6x93XEIqT3aux76951kLLkR/RmywBHuvUDIgsNX9oHNa4S
Ubx50LtBqnFpX7+Y4369htcvY51bmwvA89+xJvlucO5Zm5pEe+XzF1nHtrnR4yEv/125Iix+OOj2
hH30LGxj6gyPA/hojfymt/AeM47qhLcyvMObzhH2xHmnbehgnLrqB7jJONSNsusv/nadMxOC9O+1
G/8KzakRZrACSjSW9UPn2AP7ZL5BHfRXMJ5zKxp0m/6XnGWmQMdthYtzddk7CB0SOB5WWxmnXkwf
344as/8av4Texnq7VIHaYfYOTMGTyFiaGZIqhO8O7nol+AAwYeFmErLxjsHrYdl7DhIN/BQo5clr
zn1Hvj2dnW1l52lbkscejx40rxkQwJbji6+GgYlP3X9zYZu1nfkYcczfdhZ9ORz8atS3pdIlnAi5
LfYU0Cxtpzk2RWucGz3NlxH6prQEVjG8SBbPBtn4VBjO88JY+wXLJ6frE9gdKOGwvnIF1Q3N+u+5
lmwS66qRNFOJv7mm9Q1e+iZ2sif7QUp/LPsOF6iwxz5M0YkElW5w4nQUmHvBR21AFIjKRHXkgR+l
bSh/+XaDnN+trzJxPnDqqwvjIzYWLBazI2DBCOQbyld8W7X2VDaUBW4Z3QPfwKGbsRLN2AxlXm8v
MbQflKZXuMtdHccXeZj7nqwLoGJTVVADJ3LzYNFPE3HE3jGBmBcj62Dhzxz0pewxpRsX5/cgilll
qqd1KZMoZtLV6LF0P+WvmcD1xtKcz9YzAkKFHZnDflfGX36QDyeLkJ6XdAGjvWnkcynJM8mtieem
uuIxxZzGwQR6vjd1elVl2NZMFjfzUoxGK8aB4HNzwfW8BD5/IByy5sp5aoTYzqJC6l46PooblgJv
2RH76mdLbk4wGd8x4GBiQlkA4oGmCTTLfqyfZQklWU0qslayunuR7xdO5/wckQdlaWeM9pH9gyTO
MasFidnTv0yIWTX5Ezb+H5/K3j/m/5O32gce55GJk0WxsfhONfz23qXNILJ9+GRc7nhnFoCtBPyI
fDionRkJUJ/a02OYEO/v+UcPAFhP/yD/rJtOBASdjNG0Y8WieY9rDGacUF7ziwQFsfhaHHODipYS
Yj3nenO0v+Q/T+CAMinhAIxAXfAI9pCkjNF1gZ308VhamJRg0Zl5+559XpnwTL+VdPR0aiSkwnOQ
nD0uRfEBmKSVw7zz3BWkOMXdgg9c6fzqXCY1C04/osWN585l3hagyJukL4G1h0pq5WSiZqvkrnWQ
65y5HC8rQJCoiW3J0TwnHtmXT9D5HSofSUxhIXxxSW1XUJ3I7nBy09Gl3l54piIY5tjvKc6cIuyM
mjk9ZcIMeFN1DiEcMmkJ3EKqsnehYLFZ0Doyi/HT3XMh2f33ku78oCEF4/V4bwlm9B66ymPU57NT
Ne+NptNUT6leXvwI8PaSH899Xi1KOW0UpS4NXEOOg5VocwVsAlRwdZnnT/T+wa1l3lXyEIcqE5L3
vBA8QUXnu3FvnonnPUkeVnjtC2nj8nmFu1c6JebeuW4prCAoSopz3k/7yiEWzvWox1BCGffvC2ee
1ZcAIMO6LZH3OrEQLZTMKm9FsTRUVIwSQ1Du1/lLDXbQ6Xtsi/qRX1HCIxuanGKyZz7EOPK6fGXy
6Xh+w0+ml22kf5bd2CQamAcWzGu4+oz0ll8H2Unxz/10P8395n7vRJsTK1ZlIt0vugrmfEkWqOAD
AsYta0vjvPxiknl93BPQM7JuNVs+ZiLrgvyNafY043C4HTtb4ztdTiGOLz5daLqbcaMpGyJcjmvl
vSCk8B4LDIsLZ905GmGqRx+qjPLqOQZiaAS/QGt7K0syVEQblMtVwb3L5DMUS5lwc50xbICEOhJ3
rztkwlvQYxwmfv6V+XA9M1vV2fJfJkRkRX5fvVQr2THY7fjv340FQStdDQFa2b/NJNvfTYwVYq0z
6AlbueMR0x1Zjr3t12Uy/3eYeDKnSaS3aCsbh/Sot+GND1v651IPdJaVVRf88U9yODftx/AxGf9E
eg8mlI8/wQhGHNfm6ROPcSgvITc8sdE/KXH48DX3/9bvXzHvXobzr2q286ov2vt/4x8OPu09l2vl
0aGjCI8PFDmOalBARznij0aZDjr3wcoKjec3N1UYmZRdqpqmrZPVswxg/KYTkmTPrW3L+focIFaz
47n+ajkk8AWPPAknGHbJWuKbwVEbg61zpKUj8Eh9Gt5/rhp61uUgO0oH6EdfuB0gIhEK60iruwbh
fyPHm+/Vv3T4ktrk6tlBBOt5+urbs/RyNquR5i/+z8zDjFjvc4jKtQwNodiWeY+x4puUD6lhzMBz
/s1Y0B8oG7e/mINvKojgIqejo/GRCNwQGEz40PD3EzRl09CJexhIjb+znI8NWaa+4lsNHriKXCAK
734cbOJsgoak3mbvRKFElfOZYzg+un2PRyYVfX0IFpsaM7SE24JZtkEfBstr8SY5g1kNMdqe612J
e2hs7UYa+vlEuQBK2TlYvghhAqjkkploewpADd8P30pNldKxAJd5idyz1LIE9yDGrxfBgRriNAXS
gBuBb5efM3qZX/dHFvFEeuELwPtDw6ybSARofKMi+QPuxj5VLbp4BQisRwGynr2NCmA/F5jaGxCy
r7pmavzQb8FDmGsZhKdDY5vGUVFNcDy0w7oSHGIJYii54kWbowPKwTdwMcI45DnznFfnCjoEUohE
ITw6FQgZsDLuSa+byuiYIhuo7bz1XIRbeXxEpebOwqMvqZ3eDA7rSCmR3ZZuIo6SFC2Pq37U2C0+
tH89JURRxVPDSoHIeh5XrUK2vF43UvPmC3Mmp8jdRRrxJPMHT3Iha+BqaJEgk7kNXudOxghsmS0f
KqtFO3I/V09Um6fHSTOtRRnd6olJ5DG8nLvHW+OqidvpzU62zuS9O3/N89n4+juxwQzxBhy3vZxT
a8t5bkmPfL0dv2Pqz1MMTpQb915JuY6HRStL8XDdfcZvNunlsfJcIkqcO+vDqRzDpFgtF/ay5H1L
nKkWSGUrmf1ofd21U4ksW1hmQluBzguxn7d08xGF9SYRrHZHxtbJYSoGhlkvq6sXmCa9On2fcnHh
WNf2LXKVHDsbvxLVTTTW2EcY7OnhIweb1yZ9qR926SE6wTajkTkm1r/LhNDAl/Yzfa1e5pv2dtlc
BanwtuzPfNmOZB4f4/Ewt/uKHCtgqNMSf+F7vDgWD67x/vuhb4vGhaNvDeszx/wYzJO8LRv7O9lw
LjuIrh+9sbn7LpLG2Wd3Qul32QXiBQfd65wv3qP1OtW3p3vhud7iDNxa6ZW4WjqpbPLwnZyL5ckc
unGYVGRFnjc+19KZW32/3w9ixMnzsSndspVLHRwT18fnK7NyeKwXncN9NdosT91l4uf2SP4kL7nm
JZ4Z3Z+P/nmZLj+TTBsv5mB2nGiauvi2qb/2Yjgiz8pup8jNiGOM5MrpTVy1FC2fIsnSdQsLsZhf
l0trPGY/fMg11xnA/2Zdfu3G1cX1UrvPDyyABaM6ie7P2mN3bYwfmWF8LwTAqlinn/X5OvO1jN4b
UJ09oUE2zG/3vAzu7AxUo9t//1eOKYd8yJ9LTHIxSQgU1CHIWcWS623ltOIPwiWUlOmqc3L5ZbY7
MRS/DUPReQ9UHmhF5g0fgBlSsHtB0jFNinLO7Shg1xG9GkY7u/q4dKqEKEGjaD6hnUTrUD9UKLDL
xwKqLcI5vmLlUk8XxiXS4xK5df7VS1Z1WpVbfdWed6Xj+e/ic8O5dddGviluUUkuHT6hhBGZeqbE
qQobm6dqohLEMblG5rAqZS7bVgRn/JpT2Sn/XqxUL5dMdbuI1LPjWewoaCn7b8u85EROk+IiE5dw
dT2XtwkV2/EqOvLeuNzMSmLrcjRCZXCSAhutrs+xkXzbSm9R6IEnyr1x4fXR77FX/LhUML5d122x
esy3+/dytd1/fUzgAiL6wNS0UCPTbGSEZHEkMaidK/UnjpyST1Xa4a/zR1/IWuVRGClzqqNEIVls
y3BFsAn/SzFefhVGsX6bV/dHv//EJEiURun8KHwVnOEvHITcx8hdw0DQdLAgrv1S+L414FTFUaSd
LTPO8bl5LzTNodsGvABJ3GfJmQ2VNirgkj1nDaTs/gZkzbqdTYtOcpabOt2zMxt3usYQJg9ayXyL
bq+uvQsPxj8eIV4LvJUbwtpYujG9Ko+Uw99/LJ3XkqraFoafiCpyuG0VUIyY+8ZahkaJEhTk6c83
3ad216q1e9k2wgxj/uMP6ZVSXHj21eTDPsctZqJvEusNLuW1kyeYIMJOIbAMOAJ3hjGWbwusUH0p
kD1IWEVgzp5DsHvJRz/lU4S3g9eE0tjv17SpfRs39aA/Jnu0oPxDvzZlDetUi/Xc8SxsDz6Juinu
EGwSdXbS7UXfZeSIRIF8SmHQMTwjSGr19vTAxRAKcx4/Vo+y8QqJurG2vS5LxvX8EbzmMbb5k9cv
rOwpyAoHHBsGt76L5EF6BFzIj4Irq6DziQ+kzOJSCxgkzxxXSAeiAAEQ3BAwR9JoH/AIMAKEMoTb
pv/yeKkLvOEbU/4PO2EMOhnySA226ULUz/aSKlxEmDohhwz9mMxgs5Ah3yws1ATYrTjn17aeUQjC
Y8km1RoZC2TudFNwZ20cl+q/7lL/sROT4Lsj644GCOgSC3UUxpho1iNrjYyN4qvDIQ3Qvtg56wQr
BG1tzh47CPkHc5Xt2MydtUCGzElDrphz4XHxqSBQwPt9LrlLUBZwDSMtnbQ2r/bA2L3T8O6+A9I2
Z50fL07LBivyaPWYJMTGp4vHBD5KkK6LG7Rk/sMHITgNOz9BA8OiI3BN5QyNBKwT4iiz/+GTWDsu
4FqBP7robzBr4qM0XIXBcBThSB+huMLGlhFmXdQ/wcPSR4SUrxWWiM4X1u+kiW/1ozXP987cpnQu
t9kKwdOy/VVvmJNu4TqzF0/UGzuRjLqCvboY9MngbQsP5ifqH7qmphAycaI2SEgBLxdSoeLGkU+c
n25cvDgN8NSqs320l29+dz1LfusbBlorrPz50L3PrjgTFq1b1niMfFDeUKzj0A8vZ/GgcwnHugDs
ynzs4UOwy436ByNiDkq3ARkTOJhIhkqRJoop3XwHFWZxMPgFvogE+1jPcx4NFXpBBkK+aab0dCCC
UUfvHkJyqv5WF/W3XyhrfVb6dWDP716/NMaide+rXn9gtThghgbVq7+0E2UNTmNNIbzOpY01roN0
5hxPYbSoz8LpwTo6dMbpJj+3p/knqPf3m01zSA2djRlSwZ2FtaLo/cr7V/DyceHxi5Hjv92Umh6h
yYLClQr68c9Z0F+U1talBBLEG25d7Pg+TaXuwIlAUG+yP4PBSfG2uo+phdUVS8FMCj5eERjLdNbu
X/6LXyLhvlAElavPaADPNIaIoMFGkGntCZghfHW+QRsQT2BM8WDbIaHnjKBO6LQKSo/pxXz478jH
VHAie/HU3vYLdaaCU58m/VSbvubEDI26MfDmIxBA8GvmnHE657/3Wt0CMLvvJdknLN70b/IjuXdT
ZBTL7vp0QTyE5kc6lDzUEvahSfSKMLv6THAUWb0v5lb9PW1hS9JAhBhI31tIcPvDCW+Ah+g5cU/i
MS2+EaWEe59KgeTLWOSmHJSiubPAhWbKB/NUTBwLbhkFHG3xoicg4h5BO/0nAyJiVk13iI39Jt8c
fNHVG9S5VoDZlAfCCpjz4WnJ5v8+4460jddUFfd1sgXDYpw/zyZuSZymqyCn3cChncpaH3Nc/hwb
pMnX05VDLufdDpfu8E47B30ENAe4ynDTpB/Ow9fO+qHYoLCAGsxxmuMvJX1Fv+Pb0QDx4J84Yzfn
MLmJg/ZriGAjxsAO2OsXzeDjBu5CBAAvIw6bn+UvlCY5LtqU5phn6T/U6ORskmiNylDM2n7IVObz
cUSkVDPOolgiE7CG4gxwkf3SXhS5gMoZ3Iyv6Bfg43nm9BzoR4p4XQBsYChOJFCfAsogpunHcntf
i8v5ZfaWW+axAlpP5hzwXdH91LNvDBu//fvP2FFRe5GZh1M5MQFHlG6kNQgIULgtt9t2JhFhKO3l
WRtWAjD/9z2Xx8cn5mavkIbnFn4tDZX697uoeMaZj/GLsz0/Zp2tPV52ZIbUKyzkeUORp8gZmOxE
mBpnzsqAA+rtfkDpwT2gSwE+ZZ3RN64h5rHuCbJeBwgB/CCeN8tU98P1IyGp7dEd5giRmYCBkFkA
slDQ0Nji3IbDCO5RiO1B+HjXo+ngLPlDW6wWGh1+Bb7aQIpcw/0Al7C7mh3nLiFVo0gDVH2xgGIT
LcBNniFoi36VgIwqNiWm6y7fldPub/DYNJxvHeSug2oXcQwE4c7QksGn+XmLALE4dGh6M4fhV7DO
0ZX9iNdXux6OMN6LUwmCK+fTelRrIJjo+GD6/vBbktcgpwd+MeA9kM8BAIxL1/6OKur5I9U/8R4U
CvzK+VfEAE4ODC1gAYSnxo/+GDqUyHQCgWOJ8NsUYEZwGBj4DHiKZD6+MgKro0jmi/d7HTUmC12n
I3CaeZWQV21jGBlAT/j+s9E0ELixzhVIcbbNbgx4BL9AcuRcAxJRVoM+Pc+nK+OQsh06Zy8LUTEz
hO9w+xC2svvuGaN88QpQaLYjzqs/wEhHsku2EQbBSvDCCg3ADqXv41c7Qw1d2EceOzrPIF6/GfRc
Q3UOoy3/zZ5saGSnEDadbE9HAVNVe/SFV64l2gJwcRafc5rA2O4GrM02d+aSuDAG0QO0l5uiC4Fy
9luvPlvmAPzSV4tTAN0XAY7qYKXIpm/CZBIPPIW8EgDlEcrQQuy4gxpn9Yf7XQYckEXxH8LlG1s6
fxL3ceNa1SMriLiem9jnAfRYSkDrou3pyvFEPbIihdyECGl0xecAH3+f2bm5wjekAua7+PSij7ps
zs2eewmIah5NrNU4B/H+ZNjAguIlYklszjwwurkgtSC/jNtnP+Qv9HoJKnkA7UKTBW4FpEGJR60A
JHVkVdJJ2YC+0IqTFysUt4o5xe9W9spZAP032nyEGXAHxSrCH9q5Pz/wb6IXTuFxX4z7PfA/rV1q
QoBJOg0Mr/+eO/On2yu+IDZ/MUA61jV0F1rcFdBbAccN6wSwJVzRwa3QAYGA/AfQAOqxLSZhDWH2
4c8yiqwHMHWFk7hOi25rTJ9HY0r7m/pWE879Pak+IbcEDJxPxG3gd3P55DCoUDU74Y93v7x+QeEy
Syjs29/3Wt8+KZa5qC87gHY/uCECy8fX8g3QkMTMiCGLfIFCDi4YGOBjINNBhBIvitP/01SQ23Be
MGkHY5cK8AX8JVpA/aU7fG258mn99z5Q5ti/1tqeYcEJkv++wE7hlcUfOyqwA8SbnukPcpbSXwD5
euJx8Auz6LHXrsZVcO76tTrT1rwPAlRgSnslKT931Drf0ErgvSduC3DK/p1WYIHgbh0NZ4guSCz+
AcEJLRXHmH+EX4aiJVmHOFpuWhKnchEvyjz6EgG4f0i/t2wM/R7dHgmCM1o8j19GBC3+1H0RRNSS
hJqF8g6yyAnhMGQSKDU0UyYnLwvhVqAFgULdzjNsrm/qrd2y0zCv6tnnRpt1kgQ1jVd6ISWY8z/R
inWI94Hr/S1pAQfgZLMeoMDHQeCFlEwg4CYUeHTmtBCoAKCPbZszCwuz6I7/DEsjaBv79XcIMw2Q
9KjNUOJIlI+Zf/wgKzgM9pc1Yh0URHcdF+NBxxbe4hXsqaBpLI5X55+s/XhvduwzjQCGEwtkWuCB
9l3LkKkzyqwfmmwwd1hNyi07BesZ/9ecgTaYU2zC/5UMtDGoVLgW5h3/xJ9Ms2KW6N+WmViDhZkh
oTZsaOyV7e270VvMOnZoFsHXtiQUqhYGj5/fEyGq8UHkvFGQTzhcrfBtx2Gd813rJQEt9bmQuxgX
Dk2kFxyEQ4hG/FPxT+XE/EAl+EDOIKBYF5IP3Cb2KWgwkNkvOBNB66J8Y0QKPxqGZ/T3vNDaJfaO
5n0xbMXOIfrBEN4SFrAriKDJo6cDhYPWAhUcbwRozByGMdQDdP7BHUg3tsfYo9NFp1r9jHAXBn+V
/9A+MtMBhOU/DZ8+TkjqHzGu997lhwg5UcVUA+43/5CUi0RinVSLUY+mCmzuu1yIoQ3UjycTXh0o
3UMcTpeCLULM7VKcVD5bbZ+vNRgVjN92m68TYoSiFT0MPMChglPV5XjCin2NBZkvYS/JzkKdJ/Jp
vvyWaGuEMculSPViL2QQMVhahhLTklYLuxyoPm2TQeKxrTK6RHP1JrfsT82e8QIB5nSMVtpeOz/X
lBQaNZFBEUZtorLvcKxj+2Q7pRrrxIBnX0HBRmlC4aExmIFnqX0Bcth7zmxETA7x7T0j47Nl/aJY
VjavFYhLhhJhjixZOlNVMYh4BV3SN+UN1SmvRvrA9MO1oGFdE87KzbUmX42uJe10mqP2DgkJ36Y2
4lzJ4Gu5G0xFka8xMHDePbMfYeDK9GcXYGWNOGWiGKWE4gsfTT7Rd8eElrUiNAFjDupDJNgIS77m
tcJgiw4HIlY8RVlcaYtiEEOxBJAO6wFiE+pMVAOQpD5CaM+ixXrFC2i2s6Dhjo76AbND+iJ0R2mX
QuPD5ijChpTmRoVgioTpkWT6yH7ertDGETOieBVyTXQ6MP7F0orDjXB8IXueJYsAK5rvmelG2QRh
DPY8CKsEAQ6XCC4KMpwyfCOtIPcQEScEDN6YxTUC/xHSfUgEqu52OswC4S4s+v/ljl2BVZwGPmoX
HeSed+yjN7jqfVxYmlcZbLknw+tLZ9JYqlfdZT/SN2qnuY8eI7jYjV6J+850t/w40+juO2k2U5F2
1nhAOL3pJinrv2bMpKgMsF5J6Se+cKS8pynQUjrobcQi8C5O3Tuoit7LjORQPuptYZcDo9RQJxaz
Gmjcxjs1qhFUp6QtVs2ssVcKB7B3TfM0LiapVXpS88ROr/E+pnK2HpX3QTNvRAApb22o1GTSfICQ
etachkyfJ1YnCorqD/s0QvBO8990R17O7d6UbElWOitte67Ax4yMUSTl/+6veu289GNnUot3lESV
ucBLRCmtUMmQlWq9lxuRmyen5anKj2VEO+LEkrHMo25tKxbEcLuGJsBdoD8rYaOnd6xswlSzaPy2
S2d68pzKlHTz3EC4Avfr5Sy0V0W7gZDJJIjacVazu7SKGd5Nc5RFFo/RYT4ap2wTSTQfP1pQZ2rY
dw08axGZEecOVquIaDQHm+NqrxjJOIN8AYuGs+IxE6Gqr3iA0mTH3gupj1FAt0i7QBwBvsKrcwEx
ik4fQ4TsauyqGLn4Dy1RMj8vDNO6HUKrZcgyWKEQN3BMLJ/xqn9NEeASa13QNN4D+nQ8t9pRp4zv
yF+asXRfnV6TWJrbUGI4zfae9PGSDwtvB3PH/yijk+71MQ9zYuCGUrgoXgzJx2xSx4Tj4aYApLhH
xiMpx7hxZDSQI0edMcgvWgP5EkUjG/woAgwj0w9PDK6SKcr+wYwVFLzPPzBH0UwbJuCoFAE9GqL0
eOIuOOi0RTY3bBeIS7DKsVNvDs/Oze7Yb7pkwqYfLC5dvRvVuBNAXBlRQEnyEIdTJYfoPFLbqVkG
ZsYn9iISxZKDwRGx1saKjKupJzmz/nSp8jDCBVubO52HcdXbQBezvxOwkw/fJbjsxojCU/ubq9ey
C3tGPLL6J7K52bPyEWFHVVDonoqIEjlCM6cJVhiTWNklstcUW0XZR7SHy3HUhEo5lmWaK+Na3p4a
V828Vzw5yUcWCHaox2PWNWNZm7QpEpufzhjBL8XB1IbNGPv5c/UiXJDPjnICSR0jA0H6Z9HiJNlM
mZQ/BszEe9g8tjXyFUaBQ++wF2+chPESWqv9PD98E6D7PY2pdy6113r8hVWWlQ3DEQKKMGN+LtmI
eSKI79lOgZUILpiy9KL4Topxxc6D5gT1SFEOdc47HHgxQY0GmPpVrOoicMnXH+4TQzvHlYOUdaQa
Rc5P/cbXUw0AzRb2XJpmoDu0Z6UpFmIdbQ/vLv1wTxGyJucn0bes3tSMiGihKktTAsTk04h8Zkcb
6RatVkgSA5O4ImNtwO5D7DuOp9UwPWQBQhOoHENa1RhLDYodqUxjLHY8bUGfGtsdmGRfobCJrxl7
0ZHmr+Ds4zrunrYBr6Ekwfk+B93vANIqoDSmHNxb4yI64wtk1TgPreSVjh2m6bHSW0A/OEBQjxT4
XgrsjccpKnYDzMpZcMiG2M7G81fu2MRESFLkz9qR4sp/PaFFOO3lU+Y1nHz2AWhu0EMx/psW+wIf
O2Opz/HHGvHhxmgfQuw6DbxgrMVpxqQEEmuh3WFgQLqg8wOiJqJtODN7mTDohJDq7u5jZK7u66/8
Y2UZ5eQMEBx0EF4UDxS0NsE097EIr+pcUErYdTpnEfHzFVkbgB9zuO0DMFQTWI43FrqVH2Q6IarW
1vtaSOWg5AgZOROD4Z7+6lAfGW61gbuEVbdAr6ULflo7vEF3pbDCYCx88CwkDW7X4J4Tj+nqYAh6
X8qTXIiGcZ5ToMViReKd/pkz+vfaBpEQkc6Tt6stECEeoCSYSHnRsOw4VU7rEaEK4uiEFw7lisdo
5jQ0gNt/QejmIUjGte595C5e+oXsiTQdPh+y64P4NMVI20CEGzo+Lf/TFj3AovgBKVY92AR8cpmQ
BrwAx/VI/J2ROt2hOHB8CIEQEIQwMx/DyOTjn0VaE7AfyXYwP6rpAWkOgkrbizdoMp7TBj8Kl+q4
HMEsKEefCRgWvnjq5D00DvBn/0H2c8kF2fxm85OH2+qlwbRIZIhR4mD079VA3lDfN1ilL+zBDrIG
jxfXEbdySx+z/KW2tOdwGMOrNrYHd6/21XBHIMMw9tS5NramVT4o/Z45TzXOS9OZcaz3sacdpY09
74/OpvTBw5/YLcYzthyGDsdUk7yVE8ESM0xsmT8fUZt//iiIUGSXGApiB3aA2itKNkHRxTIhg4xL
qUZLjvbKpt1JB8WlE8dpj7aRccAcvxtCT1eGHIuB88WYAA4eyZg1qnTEhA8ldwspzBQ2Rzx1fFrb
5CPxEuqIC+Wc/BmAnvNloPfgB9x+razxfOTZb14AJkJBksm+aPEwoxhvTEoG5SGeonJ0pjospjEe
CZXLgwB6TgheEWfz8D96KKpZ3Fv45PhFi+LymvnpEPGAiOXrYOTyIThBCIcoNrJM4PnaxYIuilSA
T88SUI9wHZgxnOQQs99jA2IycDbGGLEPbs/lKJ5EQ3kPqjX4eHJozhXOpEBtnC2G6U3iab1jnInj
mzOOXHtO1lMHgcsRjpZMa23DkxwjQeJUBTnvWPjNkQ2Y4pR/djbStQ6iYX0aYsLcE8Uw/HAoGVJ4
Bq89uUZnY8y6i+RRE+HlaMIcFMvMJtFU4IMIhT2B3Jz1zIn1cWNhPYWJoURHA4tDXsDXV8bMJoHN
gPrX/qWOV00xloKwTCcbGfoMNZnQUpezLihnnAgQD0w4xhDKW98eCQrXQXPmsAMsBVAwIqnYFocT
wtomn18N5w7AyXwAK83HggavmQneK3g/vBltECOVBbABqg0UGUf4zhzvhPa8G3IQxJqCocX5D6vf
aXqF+v6HhQReIM8NWqao/6FER1lHQsyYSgnr9BE+VKsH8YB4iN3QVtC6ZUFmJaccZAqyVWbY1E3N
ibSAKU1PGXeJCcdikyQculZQnZkOO/wkOQmyqIqCfZqLrfZOtA+nTQ4KBsooZkv9TwaHqueIY2bp
ovT4pS4ke+BschpAsYWJIsgYhyHKE+MMlExTFfqhddb20aqClXBOhzIoFoHl5JL9YWUxhX0FAsTb
86Hyr9ygFmgT55KCYcrfaODA9Ge2PjEW+VoYYYz+CJmZDOz2TwgCkPxTaCk/xYpDIDf7uUEZdRH2
ZkTk6CNStxy4okLB3NJxw8XBuJBSRH8I8toJfdQ/DtdgNxCheCeiNJdPoZ0pw1do3pzg5Vm+/m1i
XlgAaaNjPnx9jynqcpG5QVVBxxOOvei+c2ZnTOEngzwQQAsTBZ6EePok1j94zBzYOdzRm3+Tvmf/
K0JagZ9/+q5bk71K34PDJ1A8/FvO4eJmDvMFSD8n3teMfwWg1/+J0y2ndTlMOGc8/33kgwLga0+1
yrNNAdcKIUIyhMQK4vfA7J5jA1xGbCyzVTkT/8tSB1eU0EyR7U5itMk5j6hJLKqIGmYM98HnpuB8
BaeD4zItO5FT+MKpjJFhjD54WcNExvlBBrchMlDE9IkhCIIspgxxgxyp6YVKqG6i3kOXcM3SUXqJ
0dFA2Pz3mpW/5Qr+ME4SGBtkEzkd4R1m7ZlkxFJvSb9dgU8nv33ABQGHE7UiWu/gcwKlHrxC+nc7
TCYW1TK+kK++Rt0jhFDcvMyn11HBCd1xmNWfc+hpsQOQ5UclmwUZAMWysz3Mr9p/3ZpGCeA9c/zE
nYDTwe0n/4NnR+/WCKMiYK48UFFoG1Ue3/VpBm1JHsG/f6ie2UxBa0hudmofp+/Y5iixJG1AIVlZ
coVl1VdyqSHvU3iqwmIJRhGPH4Sd3wuqUN+KX+XMBdzhbHOCC0/LSP9JoPzQGVujdifHEvvTDv8L
i9b76M7DgTb+mOEnN+RHloDrBNbxIwP5SEjAoAqAs/MgEQ0NAkHCbAvaDRoIan3D1JMsxbNotJ3T
xZfR/GWrO88RDGOXdwdHkX/uCKGb7s/hOpV2l3+masF7RX+6vpbFiMRbuw6MLoy0QNOpD3J9YZmG
33z6pd20nkVjsXiiqjX0oK/67ftEhUycsKqVPkudoViL5KltXq/7Mm7i8J2cAnpgN8CVVHT/sM4S
DxAneHl3Rx07rmrsW2jfBvatzDHDQO460vYZpesAuity0ZK1DsdIsVAOzRsEEAwtocbSUxjgnwVJ
DznbAfszjyPfsBM+D6jqlkxyJp6vBNDDb2KAgUwNyB/lsXDoCsiYXWNauecSRPimaPe9O1ZJ+guF
OTabKjg9cr/L4tHrxOFa6ybRS/KyEqb+28a6mFZbUu9OdrJ96axf/RNN9eekHvXKDsqRlbyCT4Q+
U88DIyYbpsYqvfQ+cPlVRfMNC1pfifO/40DRyyeS7t9Va6xD/YwStntbcT8lgo2ciIT0OcnvttcD
KZYJlHrHwVnpNVfu/dg08MYq0pWdp74uf1ypuPuJ5jVaOuq60lUiGmKFPJfifJWV7Tx9FpPIvIe9
UuHRChcLxzKQiDPZyK0UT1jBotRZS3F2kR35/mOVm8dDnrfJc6XZyH16260yMg3r3Df09vo0w7So
lp/HyY9tCvsGzkM1dmqUTvELdl7pNg1I2f25w38zPvk6gsQCVDg1x6WRD5OYhki9kqOGjg0QwR1D
iWmqLuuWSUO3TAlPFiq/dtlhaZJ6NWwnSAE5G5QFY9/FPSwh685mCoCXxmFOR7F4a64BLKATCpK4
ZREwdxU2SYkw4Ait4kpRhdkEKjRzAObU2tOHGiTGsKB3GNW/deGq73WKrQLWySgHHm+/PPkO+vue
xbhearonGataRm1Hp0mPz7nFuQ/l5T8Dp+J0ZHMjLNvlbWo0APD9E4uoH3gbzbIr6bQUcPxeuLg1
65ipbhf/ItDPogVNV//pj2UGybe9lA5e4vZMf23kfJrXc8vBkhYWsTyJC4p+gugpdkh2o7/6MvZv
kU9Y0UpuVxnnweblygm5ZHQ4egV9DifzjzZvkG+Yz60Z3VDTNDBNRF2UUc8VLwzlg0//YyAo0e7e
3dw1r1FRrPsKW3DAIJatD+2GBwt62nTs+HhNsw4953ESOum0rKZVFEiWn4AWJ3RUTr9lji7k0ki/
D6QH/W8vYjT1m2mRcSnc69p0VKXxcJjcF/i4kDtXHZKd5rDH2tuiH1vqzXkHZh2WFBcv5zS4lyv9
M07fNBJwcETWmMSTOAtNCEgJh3B6xndlVxbzJ1lKZn0WDPCUEKJdVx96HURrb5qHKv19Pv5pzcGS
ElKuZq28qicYiL2tc5mt44jquN5HDoYW/QnO7LSne9UT4kgPmL09KecaKce0C4sKWsNf0lxfpqsB
Biv0AR4n/BEpSutLh9jvNTWVWYHb893YKSVubngutYc3EhATxxmaWO0dqCTGtjfdP5Vuoj0X92j5
EvKOaPHEQo5uIgeGLNmbpGgbz1mjg6yWGwqQkjRiTvOT/Cro/nilWUJKXtA2s+xZrwljXDWoYply
5OjENajuwmjXPcNZGstZUCVcrwIfU5rxYCgJRemoIjbA4zlU83GCdcl7bMSs+kRvb1NcJuFIV/H8
DjPuMXrbY0ue2zbSK0zpylv6nhQFdOJVdt90BGKmwb2/tabsYUv6mFiYg+IxkUQzlU5Bma5tdfZK
5rnu9w0rNWURyOiwYYVpYo4czkK3gy6ft6dLdufzFKNXOZYefl4HWQlqSt1YZvOC7Izav5swGJpN
Vu902Iz2Unke6tPBNhDEuQbl/+k5tYuQvUhPSGXEKO9i1esPi47V7SoltB7upwhzeWrK41bx+DOp
5u9qgebKwsMuNyFR2+yP9kU9rVUZwWHq0cdWnhMLGhxMtnJhdtuY3CyiZ+6BpP9l3VjH7UTrBl29
au5Bb/ut5qqplzvjhoN18/aehi/Ea6SB1b5Fw6VpNi0OTvFf66Ca4jiCI2C2T6VFS+sQNsS4xs9B
03D+m3QKMHpB7VidMxA8dZfKy3e5qXXs2jh+1AcMNrPy4kDUJJPAZDqoTpBK6Lvcut1YVfcTv+aZ
vgZI5xRS7w0UWtwAufl1DJ8Bd+rHOZzM51yVZ5ERoMow/c+3uN62OKtEKH7yQQ7bjfgTuLoNYWVB
XCxw4r87i/LpyfX0VCz5Dr6KKfDpKwesX4hGZ7xzrAlPF1Ga3a1ye5Lq2+RzfBXnzpqc2vGp3L4/
l1c71qVdfZrmkEuduXaaGRbU6HJ3d8bkMWl0WM0h9s224dpEw7EyS+B2GGqVK5l7EGu7u/on4Shr
1OSqfMLWCcDmnhxOzQwu+Vriobb5qDptKdtIaOoxvCD13HDZ+OoUorqnYFrZu8RDVdrtzRBnIdNV
JigrG8gkzmdyuXvWq8hXSOzWft4Sai6/jG6GgUnlSta8CG5042o1TsfY601K1dOaySMZg4jCezfs
8f20eAmnMpnTXrnpyln63JiY8lK2JGPKo9QZp/bZtNd3Lo5stWnRLz4cozi5FUu53t7lYXwgyxw/
zp7lgDwp09yTm26argOrzAFYJYvl5T2tsCZTCkYN+lzQimj1iQR30kdZfJ/yMq3yM5SxrHmJvMjN
a0zz+wQjsvKdeqIp05M1R7L5MOYfvCFhZadsFFujXit0pdK3MuiJTIuW6vMvQaHastp3hskBFlvg
fOT0XE8+fEUcXoVvYtzQ8gnNgl5UCy4RHU5gl/f015XRdkgzxfa5/LLHg8jTqCZVxefmJ6pnfAK9
Z87bnHaG79ekkSZdtVIwENU+6+IZaAi57gHiQw6CsXqJj460eNKngU1VvkLW6qQMZGea0glV+osh
BYYcZtG4hOtgGo33lmZ9Py9gbLfCIf+xzrBeoo6OafC+I3BI7H3fYQu35LmrbIZqJ5K4yLqIEOvq
XlIH5efiSOEn612nydxX3ntye4lhK+USTU7d12i2t1cw/pSPD0TdI0rOhSZT+2PWSK90VEtgiPW0
lDK3+pBKrP2x3tc5PBJTbMJhy5zSZ2bqdQ7EtcK12C8itpnUDqV6lVJlls+AdSDmF+RLgcZHhHLL
gL58CO2Or8l99gHOSaQ1tmpMpIgVTUqmKolXDZJe0qIBzJtQlZGzD58lXcJXGNuepXIMgOppI+hJ
JvQSEhqlDuSuLA9UPTDU/aeZR5xWGGSmjYjHM95edye0eNcqv7kVyvR6ngXzkOKuoVg1m7NmhAAU
CHAcwKeyOxvyuo25ukWEwPbNlc+7ZIv5qaNfMwzfuOP0AUpHp/prguSlMfyqs/z8UAtwrlZl+WCW
7+CtxCv1ZBFpp+CQERF+zo2O39n13jJEqyctPcnNzeRa5f22f5/2aUHW0hs54T2afhR4ynXymKe6
fHmfmrVT84CLg5y1Uz1+H5K388+wGgzN38Pm08yqmGf/iZtQ0+jwdPWUE8/QOB2NR7fWU3OYiVx1
zvDyC49aOG6yNEKf3X/lax1/Am3y7AQegMXsgMaaAG6/Wja+CWz3n1CLRwKSDZ+GIyteuwSZfUOZ
W4O+yxBhOKU5RWz6ImDNEx7LH9zKMHPmCt2CODxrgJFZRaRRCQuEGc6yFt7rMRalPd4f6K3hB5LF
pboPTmnpEheTbML5hdCEtPEV6PYsDcTVWq78EZUFPjUgkLqzLkm7/Lhk03EUfumrF8AWoIxKJ2HU
cDkkpKZD3FJqbUJuXsFiabpseNXb642rrHJQ9Jz7qLaH5N3RTSQSHOdo+l4iHZ2mVzfX8NfGe+00
oMn1yISNG2si3uc48WPrY5Lh17ifFB3yADccw812MZAKvZC5dcGxAmAJBzgBrLKa/lD+ZrvPio5K
9qet1flnBXpdOYT4YoZH/tkingKxo99PfpRrR/YDZ7avK0+0o8n92KGb5xOSWwjviJo9MK4Ks9oY
RGdcwK4o8MBqrWtyftEiNAb4y2EKQM7v2dmwtD2dn/TwgbXE9oM+j9+h0e8Tor/HjmvUZ9q49BH1
QWnagGsrY3VmbKyrGZZ0TgD18aY6/WZ/8gosFo4xQyb712OKGMozPOE3p1n2Z3pPoSyYA3fCF6kg
/jeLfhwfPyNlaAXEY44z0iP0SU6WFwXxBhedSb4kZd2rlglOEe28GqfLDua64Oan13ZOFuS/+FiG
7c454L3Bu7Ke+IRJY4iajhOUIwAEOAjtiGP7N0PPqEOo2MTLZF4gDi3/SB8eQ8rSGUW0sC7GOoEV
Q5+BuGHxNySEgG89rgI7boL4Rx6ROuO+83IqFmhgOAbQd1XnHZ0FsEHO8bAe4G0BabZ/PGuMeqHq
iDw65hBaGXzF8Uslw3rHLOEboH3KBcSctq0c8jwKSEr7Nh7UMR1dZsU3/QmoHYc+GlRkhdAR5CUQ
XUgN+1ogUqe29SCBa4LQW/8hjrOgeJgX5wqNP5wqY2DA9jvqoRzCrT/n0AjDMqAnKBzhWIudowYy
fLVp6+GUAwneAimHskdm2Pa1x/PLaKmZf9ItZod3z7oq2o86HxobZZxvIwjQkLpw6/uByP/kEvld
d1wHtz1wDDRpriQkCLEbZHDCwQUhtvy25/RW7B9nfr20eW6dVhiLpQTft2cSExmxAzse8AnLMyg9
VT/JiSWWjzfj2MJlwSNo+3WKu3c/6rlYd1t9T4/U+ZrC5VsAfQg/wXMrn8u9NAWEX3E8xd3vDZwF
coEahsuj6DiiOYCediY1Ld9ydeo+/y0WFQ4KcJYhdM1Mfmz13r51thqWWxF26sCWbEU3h3mAbpYT
4dU5qmcJddta4W1/n9xBAnegjq3lPZqwdBX/8vv4Bm2BapuL35tuuVwYHFoy4kPilsnXO6aBPuCG
fDg+IYXDsYlHiiTfwmRk0IobwXs0tzdI6xvAgxtJ9Lun3Lj6D6qzH9oW4cfPFuRj/taLJqxpOv12
EJVIa0D4ZuHpjBsTZ4gfHPl+Mvw01x3mSvnw8xg+DqavTz8b4tu4pXuso3j6c4OMe3VO/HsY7eW5
xXDJztZ0iA9IwEaA8TK4IRsH6wSOInSPxd2gkyWTEkxU2Q/PkfGCBLPmBDkuA24aZl9QAgb9FZtR
Wie0T7JAOI7SHyFYmNgy1HAaJh3kP9KYfpx5I61wY26TQlbLUKW44cayRgLAMd4scbMqHgdtFcAP
OhqQmcfmOVs8t3YonwYMSrwUGSuMUrgTeYE0b8TR/dEPXyQxYB1BNA0dezqqj8FJGnzU0aP2apJo
kmXbDzVa5vFCGmvL2jc2JvoWbdnjWimix6nsLq/Jx+vXzyHFnv778VgUcEs4VIfnpTmqK6AF0Ogl
mZS8+sDKwY2S0LoOiBwfd0d04DcSfDHLYyY+9soY89fQudJgUmhefad/dj5BxTgyhbnxNExL0jiF
VgG/PuLa3yPZ+snOeshY0QicQ6MCgmz7T7y+zSAh/6Ua4iza06zF5o7MBAR5GWyBkaGPmmbyxIAG
D/LTpCYUyx4DNffx1IppMgCezB+Jr/e+ybbM1UrsbiOctFn0M/yzicZ4uuSrAbbk1ahMR1i3N0QF
OKNHNyu0IDKH75NXmxj6jfQId3Rck04RWRcDkeL8ZbVJuEx0RLLgMDvgdPRAx6m6mjXBlwyDjrwc
guX0EsNp2KsDmTBhbFX0AXUDlQmuLO8Gn9SJOKw07MxB1rigk3p95trNylUOXxsA7uiY8Zic4VPA
jcYwgu3OhXnA8vg/js5ruW1sWcNPhCrkcEskBjEpUzcoBQsAkXN4en9LdXy8PeORRBIrdPef7i5P
8cKKA3HuBPSuf/D0oC3N3MUW+KULjRfnfiqAD/BMGGMpGBo35jtPR6jbRy/BCiN3tZ74c5D6/t1B
ZNjtKUyh6IesaH4gr8DjPPSsZ5gWf69CJ160dOdb+lYdkiPQ8WU6WDeMXQlLpIIXZ7h5Ao7hKMRa
09dEwoPlFW+Rn35VB/5WnKgHwRDgD5yyGj9EjHj4UY6HYAZa/4d+vD+Aot/d9Sn75ZFiB/NgH+Wr
ck4snwOGK0YsONB38fFwlcPwmVsfk1dgpe/xfQxEWA8SbsgCLpj0BTtIlqdwVZCRGBEr975+E/FM
wbDDWQAM2M8gNkRHrsP+nevRPCYPNDvOdr7MZ2Ybez6N9UkbfMNjm8LuomgU/HH0oIS2O6TOehge
pgxYJcaPvtOHArLn+/IhC6tJv7X8ZXyduRrtYKQqXkVWaUbrWJ8NMd1SfB4NU+dOZkFuceMvOcoR
MaFuLNxK9nNTlLOQwpWHhcLAeUKQ+AsEDlmn+ywe7+/oW3CFAPRhBg4barhmBwAa/Mx3zvs91B9h
xB2QgTGwwEHxomC4OvEgf5rciz61C6uLdwgD8OsHum2rMyEUx1ON8UokEiE4yA10GVByz/IHH0z7
7cCYYRXinPQ83jDhvPFuqSTkqzhJTG+5Yv7JyuQX/BsQeT6z+ptQiPJ7ecRBgcKPesDqXQJs74Nb
LJyPe0pPC4d7PZC52HEBvXG0cH7yQuEGU64qHtaQoPQpakKqxieKbQSw/JF8cbs48IW8CDR9sKfh
mpFMRodguBwxPMNvFrN4xzcpiN8EgvgO1qoz5oHj9GF/wI1foGW8swCYD9IoBcMRp0VrO4WC1Zs8
aQf5BRCMXg3tw5Xf2qf7t3VwyEVrrhD+nuuf6BfvLPImusYlEAQnCwAtLHUMCS5Pj3VT0MlbBjcD
iy3bN/ftMvsYQMG97ByPOjxbd8xxCG6lCxBr6O8NU6KTBDzHfk9aSyL2L4GsarmFOsc/Yi6sQsFN
/ZZsMTh3uY+3awU7RgFx9pNxqzoQ67aOtCPjHc9TbmUozdjp42iZ36aPaI8hSNCLKOIGdsQvjj+4
T2P8DXdpdoTKF4HcwgByCvgDnU8S7e4R6Mle1YKJibgWFPlu/oPlpOWJBIbV2WWyP0svlrPTBpIl
joRKMuXJ5WBOvRVSQfRwVqx9loWavpvul3Ta2dLWILt1IJ3GG8jOkIPe9O9SmDVBbJ2k4aCuIUEz
CSo/i9aGgAPQ2XO7XuohLBmjR7Abt3x3GzeNghBNToFt2geZJQYU9Rja8jZSQnwz5uoMjg1VoYgZ
GXic5rNM0xTYMRUAtLatXAfT4CmyN8UBkW9wC0nz4O2BZAkfNEZvy1MJ0PRK8qKBAMEMkn6HBDqi
M+x9DdjW8Wcz1GTPcgInDVYjnKZdZpxk+2E0wggUiUJAOyTW2cjOShtqeAGaAMmA4S6Q1GqG+D4p
ZmgxqVgfDOWUTHuTiCzS67uQLyyYqQwriVOQTuzxpjvyWa8wGEyyc5ITy12qCl7XlPtNg/kDHAm5
4h1OLeNA7ER4Mz3uFxvNGKGxF8DMidc1IOQtFqdzeVYb5aUbh3dZb0+ZYb0Z8LcdIqUqbBtBo253
O3uQO2VrMFeXo/6nbYwHwHNZ0MurPQ6ZbygKKlcjVW04wkzgFx051A3URRaVDuz9V6jj3JklGrKv
RYDscMUBJAUt/Q1bLvllepG4QJDIQQQXcp8Ku9QtsgMcUrCIyq5EFVz5O5F+QJ91LZ+6I6oRYEpf
UM5Zqk/1z3gpPvinYkaC4xrEGaI4XB5TRmXT2KMxwzwUqwyrxnsll62zZlTva219WfnwFA3dLu7q
1wmnXbNEzsVEn8l+m86nsrZPjjVA3WmD6kMrmWHl54xRgy4RGxR96uyGHn5/wbk490ngEE6v2fJr
JSm/uAxrwz9lqHFsb9JfrTqPuUoe4XiVGuXZzg6rpuyiSKKUkx+a4bmXkmc5cd5Tg/k5hX7F6WWt
3OcyHFnKYuv+qQxPCRT50sDem/6NWYJpXaJSxpyP4iXL/QY/jlXMC6N6Z+S1X+tk3JVGEHfVgad4
sOFvj9FVny1fybh8+ino7pIvMzOZcxu0lTHzyvRZH9wapEIinhMrKRjcEGhNXEYZ32jAFaAmjBbL
GDaG2FyECGWAA003BxMyqI4zSeUgamDAlJMeKil3FoyIEuLdqO8qImxtnOqWbvCHu7brFZJgFi1w
1DuTFecSpcDxqG8k7iNplUAVabVng8oRQjZtw10lgEzDWlyB9SqYFgwOFKMM4gjD/ztxClLtrqSy
ZzP86gKisrnTcNy6FxEGxR0nQBekyUr9GAW13PqlOiLR7d1+6ULHbP0aX7g7G7sYgxb2u4JSbR2U
t6Yg0aBJwn5WPD4ib+ofo5ThpG0Re1wRVATcBx+6wvMtdezd3ZhC+zagBl6Vz0VqT2mu7e5ciBo1
zlp+1Ou8TSHG3Od4uw7rto8hDaW/vY74m4lmWuHBvqRSWCsO5mnENqsR2ifICMRI1ysp0uQD5Vg0
xTHwYP1ddw/V+LSaGL9BbZW/dNL/2j0Mlha7Bj3CsL8J5vlixeyz9Vhyqfc1EbJ293GfpiJIpRX3
aLQCWnOebDFhhrvCNuKHju1KJ2NsEkZ3q5ztB2KgRDYHl12Gm0iyXJZBgrpTeOUUqjHitzTmlnea
9ZJlZK05QMIVjgNi4N3THalSiTu2RsPWsS3zZBuJJklfggZnrz4WkgiZiPHayh6sElHFAPs4tR5K
dFM63nz3LtnlDReJzdmPsHaYHlMazGdpsMGoFDJ6R9xdO+K9sK9SmrDLwlpXAOfrsBU+ePimmQnV
jmN7UY8BObX5gJUyp0uyvlYT1pCq4Sv6sB25lDP+uaAvWajtTO6JtqHIxHV/zh/SBTpv33sNKbmZ
gpabLWLqnS/dXzoVvJskb0mBjpbOu3vjNzRCC0TeDgofVEYjTndSg/MI+Hsm7CT1Zy2WNgP8XDlp
QJ1QhXVPBeKPMTe8GPhqwSnSHOtdPEFL7JndV7Fnc4eSOdhgRtfOjPQqtLKwp4eEbE2pIeoURZ5E
P2IlrikspqbTgkJdA58YopPCGV5VvyoyoKZPXVhqzlx5M2FfeXkdtH1SnzXrrMfPNa1FUb5J0ktB
Chyz43E6WSOxtZDoLPrYOcF950HFsYCHOwm5DQeT0+MDfy1nkbZ8iu0qzKdTOt+i+Vje0bD1FMkk
W5hY+MeSGjT1CkDqSu1bJiPvUj8WOgtjoCb3WBQOswZVQii60lMY0EsJri1QP5caUwggT0QCO2Cq
NgnF9Z6Edr6l9uhZtUWQt1cAhwW0UbkBTseS6LMyZtoF0cpKaDAf74DrUQMwM3NE96hIwaQHthwa
9vmOCrSjLAoTexd9MP2Cz8lsvVOOEW4J0Umyd/EjN+mEY8ufOJH0KsPZ4bEpk5EUhQPhNsxrmaJl
yLMGCAyPM3XhHB0bTBCXILrvkSoU5gGybJTtbSaH1a21d5RjvFh5OeONTzMslxeKXwhOo/4tJnr0
w6g42i9opHJ5AKlA3sEUFVBrhguKtDX2Cfdc2sCMRPlM9h8CIxLNIWS0xCySwlZSZrlUqcmfXzws
VgjYtDLZttmP5/qWYB3yzJ2Nlzu+8hS3GJeBM4E2tYaf0ByzsCKifCBMCpLDCgXRfJ0+WNjDI3Ad
xLdcUHiB6HGerslQROB3YF+OP7TT+icPS+EYZorxbtjCr5cvgjWlkEp8RkLUPaLtgOjDQ/mwDrwy
unqGKoxdYW8+oNQjDQ7SNAtlRSK9gYGHuA2oE2JRCxbqwouMCf1LhYXrnxfzDGgvMq2paSH+yS+6
ID8aPMqfHlUJNRutziy88mCMocuX3hBTagzxrild384QWrfhoyGHpxPfr6pITQno0ZA+LJ+cGxTJ
/TM61PaSHngxqE/vCmJTMkBhowHHijeOnT4nMwHfKu7MACZ8mg06eAQsunBirfpA/6zP5Hj+kGY2
zR7ixjr1ifQWEtfOI76M5kNu+HxlcCYODOrdBTc2FzEdjqH4hFlJmOW7AaaftidZFp/O5UD1CyMW
9lxWhVTFVYa3IdcdgKXLYgHTJI8MuKF+x7A2s6FnejSwyjeutcSzQXgu7RBUAMGbClKZQ6w5MHlh
j9Dtzd2+MA7RsqNvARMpR+Y4sO8CIK+7yvGzr7JtLG/NbBcVX2n9kBDireI2REWBRozzniLMs6DY
URr/64qvIsGpkbPaNE66ecFtIRq31bLH6iuvdgR/t/XOnvzV2d4nroN3iJNwHdZ6t04BhvAD07/M
b1Wfo3Zl0qx5QCUrEiriTDgWsq0THftuJ0bYSFUFwVVwENve5/W1/Tamqcm3q0r2I408gYcb8ury
jmzjAOhMozRKIMt4MbqqJMRztU94eiIDdmWMs/rg+h3+7uuGQ2r5s3Y4sybwzrE/qUL5l1S20lvL
X6J+IR+CEGJKCgg7dzJ3g7amZUSCteFYE4p5CVeqY0FYeOXWktuhlqk9qjAYpBCnyD8nI7239mwW
OKjch0jMJ8Oz1QM+9xTvKmRn9qHoSS9MJkQAFObNP90n6AJ3PoYrYPa50IxRm6FTofmjJcaTH8iX
XUUGkQhsjHzgROCiCQQD0nsED459Dx0H2wLyFcUMVYG9yv6yhPAhW3wUSoBMHCzjQIV04MzhoJ1I
bFE4dvYkkEIMlkmsY36Hq8um+xsS0G0ia2R9AaTCWncYysHofKFjZ+aaV4Egsw+eWnlIgVuUsD+I
fNg8IHSchwwkLFRi/U0u99OCb/RmtkIyKEeYBtCJCaHKxfKzVHEV0NRhRKP/W2AXDB5k1+wKCRfj
WZukKO5EjGux5GXlcF0C2FI+cErw0VL36J+c6hxH/bm8dY5rY1SJjUXrcnTR+8V5SOcYZUL+KrhI
OaW0UPZDlsXhYYh3C8j06OXUE4w9xg00NFi6RLe9oMJNryu3Hj5+R+trBR2AhfylPJc3FaqUMJIl
IvlkPNAvOV90VXAn+9rjnhRM4shTdQ/HugbaPq4zDLGBTBQf31wQUk4zwhF4gWTIcRwVRInThNo+
WffKG+tyIU0CPUEd9I1f8edpdw8opRrDk4r3eQyi6bpJyC+8n0XNMm6NgfnsM7YLdDKlMJIT3Vs6
u4MaoOkss+cm8++4oyAFJlOY2C/kicqBr9VviYyVyCTipoRzCvpdWYX81s/rQlzUs9I8a/lHphyz
LlijI9I5p7ityyWpn+vypnNmp8tHk71lTDwhDLfPgiswoJKM7rvR/E5IEzEPNZOyjEdWG2RgOy92
/E405BhfMI1MaAgbEpycl9r8ifUrr0M6D0KC0v041JpAzoJ2OjrfXUTk9uhizCzoSPeg0aCpHBjf
MuTDMNsi8dUIOBIg93B2U/MBrPbdERwd83BiExwnVD/pdS12u+RTfxCblzTwzSEb1qi42f1G71sO
INtaHIdaRq6WckH2DUYapvF0lyPSh+FKVTRFlmQ96EKwKAxBDLjEy76Z8rDJgZqRaswWQQzUWkAE
avzWN2ugS79m9ZXlFNC4RhpQiRhutdik8t3nTKh4HMr56wiBgGGhKuQnFQTCranhtqjs85jzE/Fa
57zWAAL3u1dgKSSvaOZ/I0YikoNJ1wgNpwehxBDWJp2ZyzOm1vNUbu4Fq4gBEUO800jSsR2wm4+i
n/wuBjvm/1MLG3n5xbFTtFcLaZ0mvo8FhqOA+g1WtNREcgZXHVOZnqmHYhPWMBN5Bow7q89R5HjO
cDHu74uO6WqiM8kxaWg+HWYBGHHlXwZzSVNDDlHuivR1gf+ph5FGCm31rHNTxh2sZzigenqylR/x
3XWZACrm6Uv6MeRfjg5vuiIzCzq28lJzJaVzqDPuxRmy9GrHS0Pz2SLMfvXuOC2UdIdo8/3ZImIm
SMOEpYels+HaP5hQL3NIwyjfKlwflIDMiU7bVN84RRtNwB8bKWwYmJMYN/owsti0uGgDraARmgVN
nq9dt2xthP41fTY+MGDalvAyRxNPW4NhSk+1gzoLHI8sviq+Ds16P68tVCB01FQesT8mrgGLAC0H
FaLD5GeTAddCz7Sw13VVB2MYX0X/a+610e847+hs4Ycne3V56OPdPF/ro37o/kDPMfNV1V85K17W
f0bDteYl81bhBMXbl0w60DQsiLPD4gQF/QfG4OeUbljFLB0DL9f+gjSWY2dAt4Y1OfUmpcjoLs+0
sXHKvGGTorr5bEYXCtiLwm23l8Q0Fi+mzegrmFlWSAn4Tj4YYPZjc0XhIFD5ClMHaEafFbaMWK88
3rleEixYQiMLoy/ZPFu1Wy9+SqGIEcy0KRcGGDhS1yhjmTCSLbVsSR9P2mA0PYMs1myfotNDMolx
PqNbBP+i8hXfdD1KVAOCM8yFsRsLrMjPd3kXkftikFIQWOipKag61AQun/Md6Iq6K9ualOpUX0Ay
7bZz0IBvqmjf6I9YljZSMFIUj8h6E1EJHQuSmAR5LIxhS3dBB2NIE+8+ooMMtBohDepmKjkak1OO
kVn7qtBqLFTZ/GyaCFdVvVh/qAjH7YKFwofxXhn2tsshMNzKL5iPJquRBYzLLvXx4GHj+mcJTi8c
A8oCTBbAS57+I2sbZd1ojO1SD9txHJpMg23p2nAcMr9/1Um5RzMg6lKExJtKA/M6zavvkP+qPZvZ
C084n7269LGnSiRfU8KqubbMudnNjN59pmHOpYu2KlN/HBNQk8GCanemtYvjkI/OZmK1YDqwV9DC
EX8Rh/ElE9OinclZARMJAgMSGcMfyT8uw0Ha8/EXiR9B+AEq+XVgmIEzXRx0fzThFlISL4PCQLo2
9jr2DvpYhO4OGDF9LDMGtb6C7rEL2uSowd56KFDRMEeGZclXnnQMlSEZaf5qUB6yMAKFKVvvAk9b
hgfFUTR06JMlP3JC6N+8qAUdFYoJYpHzwALWo0HM4T36PC/9vSbpN2GggBe+Vy5Q/4Oa9cMcJ91M
WZDpwLxuT8wiSt1bBh5TiEdhfbCHG4epEF08BZiX0vGxbjmdsNLlP10CDSXmp5m7SuEraKJZvJ9S
4fNdMRVRb721eeBfpxwD/cPUPNvnRntYqhsrWCOgS/X4Drl5sNAVgeKRkFsd8lPdwX2jqthniS/b
L8mjBMORQAu0KJuOIVjxMMyhykwRMI+zMD0zQMiN0Nzx/fhCPX28m8GAiSXiABA5B7KEXxEZQsoo
zwm6EZOTgtN/z2ybhzdnW6N/jPlZ6OmgeuVM6clBpqzbmM/YV9TCzgtV1f0JVxD5yJhY0bdQ1fHo
h3FobDHNwgOYIorRsIW2aXZF06R8xR/0c0bkUlmvXzhKyTj7AM97BAxQNLX1XlL8Du8faTtwXvUB
ssCBVfjZo688g+EmDK72JNzj55EtL9wnkrPV0KQiKkDctNfvrG8Rd0DfaX+OD4hwSJvf8H/8ZGr0
5jr9wzQKWuNzvB+u928m8Igf9AT5FtYov+orlQ5EC9YQbBuY2zC5/pn/UEpRT0LrGh5pciP0YyLL
FwXPADY7+S2INH9GSsEWnEVVhi8ZGOsxupDIoVRwStl/e205kBoBTIGCw4Z7rhwFdnhaHbaNwBar
E+1B9TgPgjcqkQ8o07TMyC9bNz6UkPOoYPKA9ufubCN8UETYuui14Z0h2xYWP1gd29hFFqf5gS6V
z6WxAoXYbOu9AlciE2kUPw8NBRYBP8uJQvpO6YOPTn0ZhNMTQ52Iuiv1K9heoawh2N+gBLMFiLC+
rV+4MmnSoU0DHpFygNSPfWjm0p6TbbwXzjOwdYj85brkUo7hTeKjXBxntK4HVn7ae+qlirYl9zB/
eacZ2fSR22tb0gAO6i7TN/ezgyfDbsYXhxv4qB2oZHXd06ptcSd3YRNd1PKTPchdjRrsyH3cHNvo
b6Fjas+FCNJxFBXE4kkAGuxK6GC5p1w7UHaTPb4xnwb4aNhH//ng6bfqeAejPFmPbYUNtMncDwJO
jYCQlX2VYMR8VvtWwsBJJUMUnX4bsmbNabPojAHxLqY683nIOmD3Q48TuHjm1ZY34JxGMi+OOM3x
v/cnQ9smT3w+fDKkYCiggos7UAy2roYKmOaNYI0b53+EikaHDiD8KOkY8PLFQ+qn/5llWMIIt2mM
Y1t0yzUYBK0N5z6nf3tmPKLQ0eBLVIVGTNMGce6EPweLeMWKKfXKi94c+Ba4tqbwBnE9YM1cZTIU
ZOtgvFcwGgFOGXLAjFsfonxPFc0MD3dfXkZ7tj+ZxGPqgUWxPjOWxA+eTI7dTPTJwVF5Wz4ckehq
nReCvl/p1HWCieJPvHaoWUlH4fURw6CF98sI+Q6cAs0oQzxGGuYViu9dGIxkrw0MOwOmC+pChLeY
jJYh+g9oIkTJTWxffCn4gOnHjC2Alf6vwIiXWIm9xjbg9zfsdOxp2xzRg6bdb8LoHtxQ3uKdjSFG
VP9Ur+aVtnomAQozfviyfBxMeAAbCV2rfJEXIz+yrzk+smsXogpkYePJBGCIbI4On5kVY7Nsf1cJ
rNa25Rl5+fzgnNQdZScOoSyL7GXES+c0Y5BzrKYNqYu79pBHh/vAR8GPhPtCOtpJYhh1SI+WmPPy
PA8R+MopvqpVYEePkO9X2JXsepflzV9RZ6bH9EXWL2iv6gMFsf0QrYd5gd7i5uQWBz0GSu9KDhSC
YBLxJ/oxeunHudyS0K3jhk6pa+6MRyV95kdLi5ce+abWid19vwfMMjiYe0TiBVFzrnOUuRG3yCio
2EzYKsQqIEGzmCKETu73i2cCef+lnqDwamEKyG4DMLZl48lYuBwYVzdX0hSY5ivP3WOHZfe8QWdc
bzkmNJwBo+ykbZsX7cDOAknhCJ0xBol2SM879/5EjsyMAv4DUA37zqYKkYY8VldCwsHf38pq55x6
hJ0Ltz6eJXgXgmgi6ZLYCiF9L6IkYesYCw9QWRfOouzIjAENYLq4GTj2VHxEj+nVvjDtYhLBV/A3
xlYD4ZjFZbKYcJSD+U3CjLIO0E6iOhEoKaZaGFRWSBU2xeQLry1K3z9xMc2+9sZgB24D8gGoBw3o
NJnknyQqCNCVcUbnOuDs+Gx9cZ3DvviaMeOtn5mLaNA9H1bNi/YqmD++gyp9MRfiBskTtxuEUNLZ
HOFW0jFyvtKtTq/FYwcgKaZdzFld3HIg3mBWBUuUabRpuwyTmD2hyAbVkD91IpEIvpk26ElZybLh
tbKQAfMp8f5NvO3zE1cbemJucHQ65DPSQs1fw+xKbz3oOPMJdj6AcLJlOCueI3lAhgdlC90dU97l
o0P6R+ARjhsc0bIv8jU4ZOg5vnmIDF+4mPnM5rce7z7cMfnvcGKEMYAJRf/c3oY/dsd24kW0YS97
iCaYncOqxRhINXCLZjrFmIopqSC1IJiCOAKBhFA0uOOMUosugGXOMBHWrP7LhBi+OMcUFx7ka+bj
3KkEiOEowPHJv+F3bt0FszEob2j+kAu2zwx7NQfUlsj29keMbBKOUJeXhCliGyKc5kCvDI8hlYaD
Dj5c3A0kTaq++NCg00JpFmFBXn+gxKEaYsVVRwWjcD7i0ddwGze2i3VS3pIzG846Zcf2YF+aY2Lt
GQCNyNab/V32WLeCmM5v3XFscRNzlTfIGfmwsf9Fs9vsi32C/v1Cly2ScyjCpmlbTgGjrhYZ6RqK
x1hunlm6LDeKl/piMhzFKJ0hOCN9pfehTuW4HghSPR+MeArkDk7eRGQR682m7vdXjACYCfL5/mW6
AFYBKUHOZ1YJRQtEjPS2RHOnPWk0cwdY6xHkVlCDn9cf/oNuD1UIwEUYvyAd+KM945VdkrDW+cTX
NaTV4oCAIQnznBRhG2JqMYHvU795hBKi/2M8izRseFQ/+UvUHVAhGPEAaE0v8gv4tx0Kwxrq2dWN
hGsDL696jT4godlHwZf+xImQX2wdkA9qR7Yml472PfwiuEg3w+uAd9Inu6zCCxYWKwRqxPboZ7bK
N+UW8tCRBMbpFdcC5oiTsM7nYqXstP9xS1Qf1Ud7i16FYhuhPo8M2u/ZiWC++iyQ9Br7yhjgnMel
7zy2h/qAsIhRxkovx+Hev0mPuGloFCPQMO9cHGKyAGRbCWvpqg4oLZt/kkh22yYirgWN+7x60qk5
Uqfkzg1SR5z53BpIjrmppMfcwO7QuouFKEUHzqMa9vVBXDPI7Fkp2IvElKFeoTBWRNfk3qllcKoc
g0XaUqSSGEVdzoBg5p6lvMH4mvGKVm5tmL6UXNgS4oH7j2aVqcjEoAL/2cMj14gB6/vMm2qyYMHi
djdQLDFEv0YXDcE9ZuJMRyafQqg4cqZAE8D9ku3PXmJ/qEzksa8FxeSWgXXA2ftv+KAMFx7O/8Bv
ALEoH5CVUp6yWAsx5luf5Veua45GcS7StNoic/U+QtO34FL9Tnv7iCRTFSr4R/WVMTyqefhm8IPx
2Pq+X0xAN7QmKARSEiQoMvzuyjkksiJeRbLCikN796ru0xNQV3eSyUfAdNJ4xwfhIiA17smb/Y9X
Ii6Eq/6JmOQHR0tUsMzZbDcuGUcAI6As4sDGRh5/N4743DW+OZ2cb14ITlcc6yhLjG+bo2zxtXec
aEwIdBx6wqXEHb+Z1MO6hSZJw7OgAiGi8INsOoLRrixABpl5/xTnp9H8QIc3oitt/Kx54B6sromB
XRpPxKP/4nofcAxFuyn8QwHX8AugloeawiPBqeofA632afnoL+Yva9zAg47F4YRAExwA4/P0yBic
/gnhOu+9vmG/i1Za5FBglYuFSE5MJug3eADvOKdEJcWyEJaj7E2aDSSTUIRPyGSyQwaKuEkhmcAw
4grp3IqYN44+jimG6zifck1AnX+yR5/5G8ALxy9co4/p0X7lKlEI55UZeDEvphS78VtXuXwthUL7
xJsrkBbhHAo6+Yf00QDanzwkm27SdMHXmdpzmEqQZWGrcSxhHUcXTfLcE6ABlxhHft+F4vitXVEQ
cM5v829WIvcdOA8JZsclITVCzS7UhaJUhOPEnBDtKCeisumu0wdFz/JR39IDCa1MlhacCVEuRqxr
PD6/pHrPWyLVjt6TLnL6h9O58UWJwu1afOj1A9BZUu+GzBeYFDcwtwpkWtgUd1ckOsK3REnRiyEn
nqMsAjLi6BuqgJl+8UEzhs8J5wEnBg8XZAukihAPNrXumTd+Y145aztlwDjAZ/8DBhT/KAJn9uUI
TS9gsDlSz1RBOoGueDOLRAycfHXccpzYNRN2l/MAThBtEK+MqpdZA5WqA5BLP0R1g6CkO9DOcVCk
x/pNjNy/MIemqIvVIIq3NMfMANj5ZFdaVN0BzSBLn1schyZ+sYWoXVh59Ak42n3gi0EXQUNSiigJ
gEEKGtU6UNNTvIP+8o8wywHlMcIEZAd25+IRK3gJSDqH46ou21kKqBoAt5gngIvpiLKSEJcNyfDB
LGh8liwEvJPyZ8znoes45bGPQh0wOHVNG9e8HZxxGYvLMoT13q27gk4P2E4JYSyA1lGHAXUOK4jo
1qZDo6OMD+jEFAOKLP4qPiz1mVmd7Vk6gtYQu2mo7ZR5BNUyq3wl2xFXwh6mOSacGyjWOQJYpqQU
tpxuk5c8TCp0MCjCpH16hREABnLH/imMLGWTIq9DIg9NFSaHYNjXS1Bk+56mbHEhKpAI5cevC1O3
PscGbSZCwn5pfoGX+TJpRTFPReVXQGCMdjyED8wqI/g2vH63tHwI/BwcfwnqWE8plBiyX72BRwvR
EswbpDfKZaWgMR/WC1RybuACPz2Gfa8wnstvRBn5HEIeiVwLOuyfc5Yk5KbMZ32sr8EaieVC7x0d
hUQQhhMORgxvCEnFjxlBCFovlrIl+NxDG2jDptVRAXPYudJ5fCID2b2jLSACTYQ1ueonhwxdOSrP
E2HlFNdUhSpHBrNFn+w5rMBr92h/1F7vYV1yxJmzQpSgBZLzA5YJFxjTjtzaMSFZhb0OYyhO7fuP
sN19JJp5OrTfsR4INSgqilo+NAZTs2C8gZU2tO/lBuo7fgosPQPtOKe7jzZZPjlY83HHI6x/0U+Z
EGjxBfKHdsaNtRUZ4jDREX5Qtz/LXECoPpAbsh8enHP165y5Xy48pNdi3VKFEYTDRRGiAuRCOc/v
fBbguVRTGMCoV8XjECQx+sfIg/tl7bZFvqVrkHCXW2Emuut8gPHHY+JVvg1XGvmlwiT7AJnW/I15
oyXKsk6QSfutnRQhFFS8IpEgDM22zXBClCC3M2Aoa/w60+Khx2QoVtB0mMhjUWsOMEAguGX3BDPf
j3Klb3ko01s/4nAlzG0qCCqoNqomxdvprWOmOtSfKy6C+k4GtXOgJc2muXFqmjimorTqLcoc04DR
TYdkxdAeorNU3XTuUKm5QWjKugg/1+0df44lPq8ady8PXhrwbnHcCVJ23aM9YIBcLXRlFQa3DsJF
ZnZzdSznYFi/9P5zYkaUpHQMGrRSeiiTjbBwPRsIVisEjBAf8uroEACDe5MqbZeMISjeI8t4hCIW
jBaIfX0yCmZjA2bed+4vTDYXZTwomeSrRD4ugnNQ/SqADRH9G5rnqA3mgbNGWTgI+fHYITYdCL9Q
qzA6cRb4+OxaW0a7ta5bbVVIN9EvzLGTmMku9nnjr5wS8qhQXNr1TqUMA8P0i4SGHKGPZO+bbN5X
YAC5WewUB89fYo6HnjTwzDlKGAFKMTQXGuU68joVBjMD+qjDLDzTEWxz43NxYrUng0/FOkpSwHpF
iinVZCrKFHsXkG/jYoM75hJjQOC/JvnXkTJQmfU2gnoDbVvYwD1qaGQJBoASREtaH7r5E+4QsbkF
jGkT0KK9FRyEXR5mpCNBB6UamNt36hEmQTBGJumpjh8aekO1ecwM0nFQrtjLGVdiVjt3t5NdmdLJ
FOkJKcppj83uSqc53hKl26389HnEgTNjvDNxOY6UKJcphrwgElBR/DnNV+bwp2s374lqKuG5gOoz
bnYsWAAvFqP1Uf+osiBR/EmuN21LQBs/LCV7IJlOjCAaTlgKC/pqqhlqHCB9zZi2Faq95cfRXoZ8
R9FQCmb6uSkuxUrHQ2Mi1b7V0XYhfzam16h60JznWt+l2asFnkqdza2t4moLX2apr616XkzUAcNO
im8S9a5UwvKeVE9XHpj0DxVjW9SBM+/KrmEFdkdn2KvNwYl5MdSs/PUa2rFwbVAZupV7pTvK2hNz
T2MheXnXjY8j8V89qBhFjqY6rml2HvzbtKrp9ym1+HCjuveW8m0qMCIclf29we6OcWRdTHh7P9YM
ZWwTTqR5x/4FQYLchjNgiw5EsUx+rEV7pYi4aDUiPi9xCx6VAHpD0ClRWc4g6yr1fE1jEQHJTkw+
ZE6qkmj48p2s1+KN9r41/9XGZ7XuxxW3K+YwWQfhk95SFvMJ+62eUL00Tx1iP1m/Kkj4Zob/GkDZ
xPmWIvSWyARSI4VWFsXEVw5Fv4b6W6ahRLuipvsugRjJBaqAGxXkDtSd5vYwpSwGe3H+M6zXlsnG
XOCkVrE5KYUc+QGKcywQPZifCCjulDEmjkYzcPA49O6q3f0owTAZUt4IWNUSDY6bNWpBevtfCMCA
GRl8wOeCbmSpP3NcMy36XosD0ZKHIGXMKzkfCs5lBQ1VFb1OtYrSiUYEz7Wac8RaftXpdh9PU4rU
dnizKe0wv/IcYzo6dbqT7fe4fx0Fgnxz0GuX1F0WRlIJIKMKRKezmCtaBazU+rGDDaCFDWYWglVQ
yfiq1RzHVB7VHQ5Ktwbq+qlVFfwI4r9Tdb/EMOY0Rm0NaBC4kMTqXzWIS90PXPhN0t46CCS5enIg
irVUJjN9kCFN6Eoxum2MV1Lbp2EvJQaMaPpxs/NHsNNuBSydNdzoKFEQQVcYSDdwfrD2IClCAlqH
y7a8kTi6KcCJiLxNefpxRX3SYe6UkqJeEQgCj1rbDFvLO5B5Z2CJxuQFn7jyaTnGB8VLDwtjSesg
si6YDIcaQQt1wN8EjA/cIVS8xad2dPV9u5u9L1TPLowulG5qSOrBbg0wX+s2JbZt0W7cpmHIMtsw
bdmQdO5T/fq4ifjYgh3yIPc+rMAKhFR9CBmEeLQH5IBjQ0uhktCexD6EDl+EKXLzcKczm/WAKgid
E9mMzHVCkXSHMHdPKfDnuEjo2skA8KkRryO9fBXfed6CKYX2Dv2IjxtJAFcLwzeN9z0dSbMnzrIM
bGbBhRvtMDLaDyHMN5eXxsieVyxRpbME8D3uwZGAW9zYf6YtCsSnwS3qArxv7X9fz9Se/1m6r+ZE
tiQIwL+ICLx5hW68BwlJL4SQGLyXcL9+v6O7sXtnRhKC7tPHVGVlZY72HAVPTZ1dLVSB6qrce9JL
DAaUrFWjZ2s1mL6nGAyemuPwKv17NSxAQ7OKQS/dD8IYXs92kg8lPVLlblqzxtq3Usbg2E8R6qWB
53IWjM6CZSXKMfORff+nobj1lo31HpS3VQdMvBuEa7vVRB8cAbX2e6W2r2H4rZ9R2TerSDKDX3eW
/rej0FyspQx9UOrdknbG+ykvus/qb5zonYlDU8FpZ5uFt5+G+nyDKCLNX0ovNFRzXwcqybmeMJQX
peGImQm8qB045TtjdYom9BjSjUJTv7emDfJD1eG9nugue6DGljHauOzwuLFtX/a9X3NGT42dsTbG
Q9v37qCd1eBeBtJ3Ns3t6F5nkzp6Toxbcx0pR0aa8SozxsKVZOwvbdTRtL8a6Ef2fTBPrFW3bzzr
qya5yroyZWtV5xQ0Tsbpz/N4+i9Tvbdvn/oa40w1DMAVXNYwLvbbEEyS+iyh18brb1bcrEPaqcYh
Xk0uTWXITolZ3HSQe1v2t+Nto9RbjwFs4sxgCBikWFNtFaj8PLmoIB3E2JyXV2iN4YZ/BITE4Sml
uwwBPH7lW4EK0LZ/BzO1JMylyVFHhRWWaW2ApyG/7qQJsD4bPyOtf9VCS+5ezUxOL+vo8mHOxdRs
SGfeXuxRdTEFU5QqRCVTPXFEWbGk899w+X4Z3sfEIFrH6uljM7h1HAfIxmEun7oCklVL1D+GqR9d
M7iz/Gw8EbJ/P63EbjJ2rQT4VSZJJLPk6Q2LUWa4qQ3nKOa8q5AXmUxuBuPNxxw+sazM+J/mK5dB
arKi7lf2KCP6oR4etdIypc8IxaP+qwYxMmmgaQG2qRxqyjtK2sgD1XV1zcsE18aj9u8Iydi/CQlX
73wdqUDViaS1EI1aYUuQxZR9nE2EfqflYLFbqsPwS9vq7Fk2N+Ox2VNeDcbSTPbr19Yi3tkqcESq
ioy1dXV+L4eZhW3v44Rm3u5SydQVMU3VfTVVbqya4Ufuw7y9tzQHdMKVaEnpaNsb7Ks7n0JrtQMt
oA1TA2XXnrNlz4Jn8BCVuqHCCgNvhNf81J8tqqQNe2lVuSv6s+Isj8NfPDqBK94ynkHfquOwvnun
jh95KCmi7Cmboh7m6iOe1sKsfcSa0Ile3oZs4azxHzof5wbVj9qxN85Eugjew46u2OJ/ufahmexc
OaxOawfs8zDVjv19Hz2ichtyr0Nx3/fP/ZkOuLCDlYfb0aWmQaI+7VeHvEV7pSEOlbEyrDikMevQ
Gvp+9GyoOk/Ct4+j3AzIVen5YZloaX3HK2w+RyYMh8OHh9hL1ZkN2w3DM7H4I43DpoaNAZu3OUaG
iqkj9eaL5tJ+DIaBX3ULXaERsYFrg9gppVS7QGvaN4CjzQcViFZoiH18AhmCurnwK0q/Xvs0mov/
lDzgS3JK1ISqJorpv9swMUF4ai+G+WDdw+i+HzSRw+ZxaFKorTCxaRUzRoficjM7D49dhZF/TiUM
wc9Mzx3OQ1R8Nzl7u49DJ1HZdKCLlFjjzce+d1BoCzvcb43JLYnfTfxnMhrqnUGlN0jcqnJFPrJ7
PEW/3dtw/f4MSD/aSfm345QW/Je17/3tlWj+P0CKiVqsVU+YuTTB8w3iupfOIt72MvzkltVlVVOC
EkwsYjHFYFig5mCV7GzuH1vnFhwdvqhnS06sWv/fTMZ779i/3bGFWoC5tTKzcA+C2M7hQ4m5fpmD
kGyuYGlywEY6zJncxJVUxAYxnrEj5RY/YvRv6tZP4jO0n88NvPbT2UGtz1onu0XK93N46IbzzfkV
jI/Dryb/7brHRAddI/dGYX10syef69vxoms3fiT6UuFln5NO0HiFfSOMLP4Kjrt7tBg+4sWQbyn4
ACJwa6oDiqW+fweQdi2guOqXinql2rbmsOk/w+urTZxroceK+JoAzBOmsjBaTX0zECoHnm550SnF
+/qisw0L+QGJNFgFUXB1P1sKHVIhSg3Epp/WEoUiOrYWmDgOYG3FlGSsdNjhc5ZU6jVHVZzrNvgM
B1IccE/Q5gFv0cMNXF3EJtJqAJhXsY9PEoi5WnAEvQQ1VmSyiQrX7s5q7ol0lMB/WufAH2Jgo5C2
6vDR9agVKH/n+aUdxQcuKpePEKUAc9327mPFOut3uC/RA1Iv2n+XSHwFErix+GGAe/8uTfa5xqXy
HGe1JpgHJnUD0WGqtL1pl0IxXtncvA+ixVsqlFZ2cJfazA/zY2/j0jFjjJktbh+w9bywzsa5ekSl
Cbj3dFNxtK1eoMgbCZn563WLwc21kRui873uL/t2slAEvrcxIP6JJrltkt5EmuM7Hsi236mxJaAk
GRqDFQIvc1jvYgD23TO6+Q/WFwwnWuo6hZRm0IozRe3HMGnO7hvCeVHGWSD8EHNgUlCyRxtJomva
6K7xEXuEUYdn85b+Kg0SgywA0hkdTbW2RmyT0IZm25lin4b+frK3BURWbOGe5zFG56IaWV3joMUl
j2saJfunLFanjiHZBVrCxjXkllUUIAKn/RRBY9ypuad9sb5zCIlnldnK+o2ufCf5IklABXJrvd+5
pZqGHH6LbubraqJ7PbB1tqph3k7DgbTF7a5y2q07t01Nmv2cKW4Qot3jIldYxSXfCzp2CpV0I/+N
sHsquP+l0lk46opR+h2h7hBl+3j8iH+LTrG9Dth7WOhntpXpew0B0/yr5JTcHmc7C9FJAg3ZyJ3+
VpeRgRXl4TJBNn8MUuoMua3kCcgQ/7/gIMhMy5mut+RKWrkPS50zbedGoesQVB/um9V0j3pwk3xf
XNQNIz1BJEq0ljOXn6hI+CxmEqwy8rZHpujmee7rZ9bcHA9RviXalWsz3SuOrs3EZ+FF3/fgjh2p
5F/+IVoW+LeF7nlf3739viV7hX2kC1pzdAd6X4zuw/2/ImStcuXU5v2m91rxO9k4vEnyF6vyNF3R
k4B4WM73+M6gNbS9utQ5tFO1Vcc2O/8pVdcu05R/2YQlvdnEi8G+56IhiacXQ7F5cfmojfNifz+7
UzwPy13txVPG8987ylKOv1wrJAU6uC5oGJw8T3NdE6fQaI4PZ9vWvGNK7KuFCSgF5a8wUxQWIX/s
PlKiDB3R/Yy4M2xAChIe4Ono+UhL9kbxNJ9G9Dmb6XGxLd8uvdz621auu6cnHiOP4VBVlrP8tzdA
1cx0gf99T6LUuQ/TYbJv2j/Ne4Xd6nFS8CBQy4o6fCb34bUCBm2a+lNeW43cYNPOjglP6pTspvvn
mT59M8gUDmaV3lyrTQc3Z/qtYvtTrKoIqZck++TsIqwUUuaZOjYkTOHYSo6Czjmim7TbGWebtLE0
nTC635gTfPyxFPTQ5SZU1jtnojdhPBIETCLyN3gVI6WGulqg43ZRKb7nhpuObhvaDsHCgKIOTfsi
OapqbnaqqAEDRKHqPyPtMW/7p4zJ8xFdptQbbTkhhcNS8KgEpDO/uB7x3y1f69tZppscJYVlWutU
Yb/MvJf1P8xrwe0DDm64Hslq4l7e73B49TiUSx9enmSQDiXp5T5uJE9I6fCMa+MqRoa5VF6y+2sj
cy8/t0q3nfR4Y+n+1vctBCfmS17eWq2jK4UGwj/t9S2CJR8L0akNtKGwSVgbSajqh9fm1L7ZT38f
68dQg+IGXzdX1mME1EXHrtTVAxfpB8jQd+wk8Fca+T4WZ66Cyj681rUEMFZrhthIzNlVKo0WLanl
8EfMAUwYZ19h6yIZUaqIJEAGBRFAdB+nortM4v59aNqMe+HkS9Bvv3/vBYrYdxsL4pePAJvHN8RN
hM6FgkZQcX+K3R6fW23bWkBC71o4EE8fh6ZaOWJTaeIQcW5bb7HzJz4IvGV6LYvI5hBO14AinDq6
lC63es6pMMOgEFzixTfuEj4kiCufENXokM0qmR1esWti5L1bXBxA+auaSn22MExhF4mHS8UzuvZD
snV1UhmBFYRCnW7fWAz//JdIBZefUg3pOmwsITIyQ+wu/q9OeZiHLG1d/Z1nb/FODnRzxuda4T9W
Hp206CoEmdhXiqU6uySEJFwFhyHOz76ce6VElDJJE7EJ1/xpMgEIKUhnM0e2QTMoWuQqg5/5e/A3
kALVJXYcsClCNNTsoB/373Pflz7RYhFhdHZ/o3F7ho9T/zhXzoJPTWhd7VSC50NXoJUNZXGRHald
bRPhnKCgBgP4ZToY4xWkAx3rj1LCNCkxygMWIGPNZ/VPpvAWM7hs80is/+IxEq+jTzZ2bbvyTrx6
n3lcukl9qO6/uKjWNyURA47Q2ugJDuFzidESSqT+RmWh9/RwABQsjwqjxCgZwrx7tF1FV9Ny28+/
opEdzEqEawCMQDjRTc02TSZfq5q7Y4nDLT7YmjxibOAGB+/XAz6ogsy0cw50zBqagmasCLOZBq+g
0nXpSc+NfpTLciN487RziTVaxqneTxU6HmsifSkyqdWwvaF029uWyheq6YUKLyhFxfgG9egkgj1O
WrhafgRBqkI0rWT6mBJVZlmVaaX0jXPW0y8Nqh78RBmOXkqHuRFuUo+l/Ne9Gj6RQZaOyr6u5Wvo
QYYZ7aPtN+ZSDEkgT7630i7da+Pj0kVRsGYkeorv+BxWrAd1bCz7G0PNWy0M9krUjf8p7pL43KPE
16J1bwvbE74QePldyk/f/Eray77VoA/GKRh8djV+a+kXbS/7Bl3nXOXnSw+3doZBCeYQsJhiM8xc
OXicsiCXvU0HcKOPh2xB2mG0Ha17y5FMDszaQnVIiMtguoJsdCF8nRASAIEgCrgbvEACocgZqBOc
Xux7AbbzmGcckxvts/JEFBpx7kA/IOaNMFVy0ltXdWM7hR2BSvd/+Xjw8kRsHi7mEvSBkAXFaNoX
dkAqUiZigApQIlAzgrXJuppz6RpDxFu5VvZQ8Wc4lIGHok5hz4+TaELUUKwlce+ve+FkTb6jQFl1
linzyQ7u3NDsbhc/L8NdXVcf8fZRQCEJDh2CR7AD/S74bD06zhn+Jono5uqVeJ1j6Zg5Ze+GeNhD
8ci03N+2enjRsAzpdXfYdAetzNB8Pd/6QfVon8fHaU2GT3Slvh85BzdCZFyO3UDlDQXeq21i6ILS
L63iECZHqQboenqO96lv3AJlzxuAgLyHqET/m6FVrdJJdCwmI16yTZyyA8pNgV6k+9jsCQ5tqjmV
nWNjnBgBwgsgQYIB3MQQ67TJprLxVC8vU7wBLfGVjRyuNoIzgJje2FbKE7DKdBkL6MbgsaCKQBjP
a06vl9fiPwJMha+H3mct37VjmxLGUn3w5+33UgXTSQNPQ8i786cU7nBXf8DAIAP6Fpo4F5VHB88q
N4PAe572YvTrWZgA2EHw4JkEEbs/0FugxD3jEGDE8/u19wQXJMDapt/Q+nkgEf5+2hFT1fU3pycE
IcZM2D1lMOEj3gNPzsjm4Uflae085k5ySPYsov6hW3gr/vt9zVTRWzfDRWvdh6MecNr1kkfrccie
kyoD6sE2obD7SJW7SmkOLKBBdOv8efTkNemq3IWW+yNgAXIiwkRSMTEKpzg1e4Ypsq6Gk8+sWQeW
z753eVmhDk1k9/PnDN05QDQBKzT7JRcoiVie7HeKfUIkAfOuP2fofOvq0db2EvBrhCE1JXOVVX2v
UM+0AsYN1HzMiXrAXL+Oo/Q8YOK34bmXq0/fyU1RHa3wnGhJg1G+NRi+F2WTmHMC0TDtA2hAXOk2
R+F8hmPSg8G/YWIbFzBr7dcwI3fiHrPvyff8WOPiuXV7P9cf71ehTmdqZ5eFEYFzXwtXaccAEXVX
L+JHzRSlqu1GCOlP7/2xAzrl37MayCbJVHWFpxMXdA2kYulKqSLswUa1DxBHieQS8ldNCO8h2ZEq
6W9YRlqHUdCFWjIFzdcRLl4l2d/LIg+OrhhJfNFAHtcG8RxY2rJy8d4NeaMdoqlNpTTMR/n26U0b
5HJb9m/vAi6QhJ3ELADQRYzRatiaeVewGOw8Q0puM3xIzV49M1W1RuJ9nmWKwPDl6A5nlT3CcdYj
WyGG+aq6mfMGAnZqfRzYwpogY8FRro5lVRIFVX7NAMV4cn9shbL9Yl+YfQIgYuZi9NuyJJ9KtzLO
6A8BbO0YQVkPju0Qmkj4mzeMNZupflFlFJJgH/fgbhRIl91pf/MiU0EO124WPs6soZFlM+UVUVVM
tVHPTmADoeFMhrpy8wEHDqH0YfBT39XYQM02eluuycp6kpUN4PKFsCbMJem9QSxGi3n6vdg/t85C
qspPE4sS2wN7NoAw0gTkrMaqvWnnBpcvaE0cxl+7jJXDRUmy2WazAdQRMd/etxTUA1wh95QGLzrn
WYAEku8KW7Nj8HuTb90NvnVyAqWUZutqZqadax2oe7ipj64NUcWs+Elvtlui9ACaz0y0n8P/Di9V
sdrcPp6YRp7SlqrG7cWp0NSWA9EWsoF7OpmJlnXglPJY58/Ca+CJA9x8lBEK6AgcsHIcBbClMDs0
nXfPxvLLY3kpCOgotAF+fIk3DXUNhL/3neNx11SlTkVOzOADCC/0lLjIH1Oya0i3Cb2sWgCF7s4c
NzSGhYRoXlaW7z+HpL59C6617J1bj/cAPd0rUpGHIZ2Osj0NsZVlN99bshqMk1/n+NkkiPR5rRR7
Z86FvU17S/SlXJCASJ5LUAP9cPjElUNbn2972st+MdytnAVA/dW4MNAKppfyUb0pWnSoWvZyvkVA
KEp0flyKPBLtWhaGIR6ZemYbqMWpOUyPHRimjLQaYF/RGLGuIEV35a75CLSZHh/e0jy5wqoG9PE0
h2gliEeUc0NAiFyjnXiFldr5it/hNm0DFahISOhL3Vw3v6+eDlXkw2XVnY8TrxrF+/m+TeUPBzaQ
4PyKy48uWkZCzvb8d/0nA7w25XdyYG2mv1E+VT5hFwQgadM+izyjlPBMoIB/rDAKazm9ZcUO64l/
yxPRa6ur5nVynIWPK/YhxZHsPzNhmB3LbBAb4VYICRUYSJRcS6yLoQHHzhfswzaWTWn4nwiDVi+Y
S9+9kgq2nSz5yiCYnubexn3IiWEPVDgDtNeajjPDfFu1u/KQJQebsYAIxNNvnY/6P8/1kIaXhGnG
UH3DdqQ+d2FW7h2uUp79JdrVl18Y9+pvVsXVxiQXYw4oLRSkPENF4Vv80caGXUH9IcC/UMkUWKKD
ccn7Y6hUmKygmggYrQPk1pK7VgGDoa8GBCSMg0uHawcbuj+fNJ5x85NexI7GxDrQH2M6V98MHp1c
ffmGU21zbHp11cg4ja51skbhEZcA36Er+YyL/nd2FPv/vXeAw0rdbUDwzQULBpHkj6BewX4fY3/+
THadfaau8B7G2VrBryVmYJmEqZgPqGIFNTXsKLluKXS66XyWqhnOMGuXYOJCgAcDrGpTNB+N73Sc
tD1Bo5J9lQ1bULavGZyYcSU5ulZuUp4OVMFq4s6Agt87nOvaFZ1VyAO3suJq4L16JkFVURiG4IMe
1U+/h+qT8PH/G22wuIQll2AfCcohru48c3IAL2AzDfCYI4/uwUBPcwULyGfvrX8t/vt62IGRPyqC
9c41/n3/aUIzHHB5GywQ/BJxkKdg0cxkasyOx9BCHNhy4tXJSG5Pq6RD/XQPMooZy3hNdjTebLmY
/OF6Haz8MIGRezulZySYSW5ioRl0lFhHOACJQB5udYCN30jbYFsLdrxAqkX3YXNqiIt8JQPKHvvL
McNHLURF2sehERTF6NAVtXaPZOoFiL4cboJxKmorHaWtnFjnk5A6o3t3plVHn6tqEREh3G5lWiLO
KhrJvl5BedO0djuJ+5QktNckEYiie77BTqif/UeSC/k7vQmWnL9x+t/G+9cTE2l4JHq8JOKc5Jnh
x5M/gtaeMgAiq/NPI7UkRgtHT5INk2iw39quasdv9H0V28fOmo+p4ZQw9wWfFk4e+QTSE+931cUw
9ba3enhfBJZg/af9sR4fsbJSndXw9BkI/xkkxMr5r5lYXwcxnv2Tr1yFBzTWWWpXuX+jfeRqmWNz
9ZGblCbC/0BgomN0qZ0wEzSMPV7u3yosrWRM71QOoMg4xn1/RsXa72co42QcNq6NFBsRUbkxgsA9
Or1iFhJgBKoojR/ALOFrDTQsG+SJPK9BMb4tIh0vbNZGRNIp5+AjcacoLg/FVEBBJunXT2EteEVI
ORNfUuDwS3AJWIWOOrE+bcDKcmT+m6aFcrEhCVyFros1qzXIi54UKGxuJg36D8ZLS83Mz2JVWKxE
0Nsohu/FG3OFM8u9Y77VaHiKU/aRXgO4kpLv7iOcxKGsISEr1EuTm84ZaqOW10WaeOlkvWunMHFa
b+C49i1c/WppYkallMruftk8MwmZGVZOXfAle00Cys5sXEeFyDCSyVfN34A2WmbLPkb4gSME5wSc
UbgDYgZO8Xjb18BxjVC/qtLvcxSKb8FtGWUyPA6Zw7va2nvgkGDwtMO7+V9bVfRTH3ehooFa6oU/
w57+VA81f/oVEAFv7qHI1c5t7Gk2yrvPdX96izwFldNp+eZzcJboxF1YrYZOjQGmLoSxqtdDEiNn
k9FgxZm0Y7RhuVM1VZUbgsosnpU0bT0u9fK1NOtsckjdQ3f7Xnw9sWHevidjimL37xUI05ltvI7v
9zHzO6iierWlYcHgNdyjpQJBpoJQcegCIk6vv/E0W9UJeBw/x4V6YUIRFm/k2bzBD44jaMIdSK5C
JXJ18hH7lqN7WD/yJ0dz6Ko9KtjkATzHON+3M/IErOVUBgSJ9ubD2p4MLgjd1WDqs11Xm/6yvvvQ
5O+5o6wdgZsBYRQdTt99SueB2nAemT2h6CWHuHNjsfmHUrHSUc5TRElygNm7JJGQFpiOvYomcutH
nf/ELilUJNOfz/b1Gfxkl+84+BYZoxEFouwducjRyPQDRVvCj7m3s+SuqMyfNzZx1btGW7lKlnVo
Yih06u4etYsejPqOKnfAiejs3UuNU9C0W/aLTWIsyCfjZ/unWLe0VWFBcKnfmhaWZR9jdde9tjOU
qc3ppkPdcXuMBSIhfNBw2g9g5ka5fDWwWHYfu+aZyXBgqBgCTDhp3U9IxOLMFQQaKF9/hRFx+erF
YaydHTKGU3oMPR7biRNi5pDqAnyS5esMSwKv/f0oPlpI3STwx/BWLZCJ7hnIsBDEYvblvpqb6R6z
hne13YtYtxNYalvH/bDUXast+OheZqJDMCxnF/bQDTr/7STnofJNMpZ278u1/2QPbUktK7dBOls9
/rA2RxIs+nT0nVt8ggePf+M8AeviPw+OjxoC3JgN7bWNkn1tF3cRwtZ38Cp+YGEsWoCWe+Papk2g
Qzv/Syet6qAhsbADxqMVNtbUd1sg7GLoBNr2wgyGANVVPVs7REmkP0MNuQv2LxxV+4ySgCv3KFHC
1WIlRBDV0vB/rUjXbyIUBrV5nYHA7Yi4a7dGMt3yvJS9D0dMDgC6FuBbbMu8Vnda55JEyzvnQ933
7J8QLU9WYfIeKtTQ1EJruar9NP4mgl6wIOSHuZys6JFX2r/b/9sm0lN427pPCYjSBCxfKYckQxmg
mOxthkr/sJpHXp+q6UqAV/ETZmKu0ecY73YjHGf9PTRvxmF9fz0K6NfwdcubZjbiQay5oKcdVp/A
7pV5AH/7FBN68npkVb/OP3EntJS9Hl5/ijWArl3oCrexL/47fEIvd5/5WnaAhJ6HsMKf8i+45tcq
qf1RluMOqqX9idjLOeKCQHFvxfM9nFnH8Xa8GYaCR2CJpcakorG+tVqNj2Nt9OOwo22GIHrJnygY
/ebvZPTU9mNdmXp57PSFupLuPFB5VEoqfFvHUmkToPn7IV5daOy4x4mJZHCg/+g8K8X2mZPWKnmm
tE2JXSPrTEVdnyQDcmcbRbOew4Uan1de0V8Ona2TMUCc6lwK8Xn8eUIz4J6ssvOTFcDsBkRq5zAH
caAb2ffVPN8X2pHqfsFYCXlDyBywGFxBK98mMUUP4xItJ+f6UQYUarDCXQbD64li17KaIaehuFXo
KDd0bl8SnpA6bCQzUi5mwbKijDrgvZKWz0mIoqOGPlFpw2cB4e7h8EyHgxKPhQ73xK4yle243Lnb
sqVKsVlXqgwZKQ7JgeGyAssGGYSpIn7Xm4DuQiaGSTD9DuiHA5+1ssN721LIbcICKtmxBmIcGVzS
D74YHfBLorMjQBOfuWpFi/Gy63jqrz+z5cNb7sMvNKBiuyZ2avOozgdE1SY9Sws9pdV6mFu/Lw+M
jmC3dPtIzpVSAtKx7wVsQG4lCDevZtoEAsUtIz+KCpPjviop1+Cn4Juf09dk49o6zTfZELOrvh9b
Mm6gkqxkOl56zN4KuK+dB6LniBFgBLbuziPaznCdhCuL2N7I5Gu2LmES+Z2cDGmL04rxvayT21P5
iTY3ku1S/0Bcsoq3vcWg1D3OtpNp1M8NV7mQCYXc9zjRlKZ3TSIo2dS7AJ2IqXmhuRyA3QsEvN2g
IEjBcELyAqcNpakb8q1l+LnioB49D4I8n4DLNJL8EPszHF9rcVAYNgXqOfxMpi6UX6KwvqhQh2NV
mvWn2qe+i+QgxnJyBoLJ4YPiF544m+e1HgC6rFGJv6C/pJLiJMFzxVbcTVUBqlQzI9TNwO9ycj2r
YUsRfvyVLQJ+K/7e9gXuhS9h+fD39bJStBI+HscbWFuy7i2GoXFSw2yIi1TLVHqX1V1FsrnrBIzK
w1SvcnkQ8hF23AwRz00pcfxyybA2FPhgaZ6bkjZ8sn2SE34H+CmUfmN/7OTp62sVHiXzciixYCdn
KnL9Cx8765FShXm9HHkDrDFsMTkQ7BxETzE4MJmerZvSlUj2k9IgtqjoF/aNWREfn9Xtt7bTgFQb
CQEfw9JZeEOTK9dVl88G9gUUs9QtJStWIOgStEFZMjQxhk1lGZ0nf+jBNCoMwz8q15Zw+oQTRuC+
WWgVZhn0RweCGgb6z6IU/4TiLbYU8s2YxlBN0MVdQo3lUOP0PbvNFfuIdAfWZB4dCQ5Pv9bflxeC
QYeXk5BZa253/y02RbJ53XiYdIGcdo7f0HjO8Y77wV+RqbofU6/dfm+6IdZ9aNbHGFckYzhJlmXI
GThRXdeK8S0oDJY1L73QURLovmLcp0Ya/ZTu7tW1BuWaN1CgU2F4VoWieq0c6Q4MGsdEvVT3dMZp
uRhka6f42E6oGow3r0xeomDskhzo0ms4R4Tc6nGOF6fh9n3/vg60Qs4pfd3A6nDnUAGXki2/Paqu
BOxZFRsnev4I57TIXTHkc3kRoFOdUXCVIYH99cKFAqeipFwn8Nkz1eKrVDUtjJeXbd/9AL8YD27o
pGTuaAAGqoK/ovFiLSSDYoHEyGH2le1cmnllbNzGlhQ4JcJPjZPx+fuhrGyEJSF5iGGhtQc36qfy
XFDC3Mbj8/ePmsduSLDd2CIk32rkQOGQafveTjV1ST1wcDAN7IqwS220YN1CXdqoDyk4vB86hW6x
r/kVZEQQv1MY2qxFoUMkW7Inf3H2z0SsbakIvu0hyDwB9wp/mH+kflUOnGclsMPqJXCppu3wX4Bv
A2IZIChyco3k+yoozfyiQ4BM8KOisPfE4WMC1zaweylSKDxcJztvsng5Q4lBMKnKAoWgsnnB+8JG
z0oYFFOsc3N6MbCKDy+W/rJnISi3qyTOHAqH2s8kvCYA8eiUK3DcYnCdLUcY58j8g9uLGyt+qwIS
dHLuYoYAZooAGYdaALKPradbdPG/ysnWo5B3OXOy0n8dT8cP4k3D9THOOGUDABRKMtRrZn9UV7wZ
Dcfh+C2oq2THpzfw6Gc43MJp+HfXbqh7DoRUYy3mc8GXOSmxgBeKCAKjGVSlI5JUy+bjIrP/VaF0
P9XdPPAMVSDgU118D52eWZU7gjKO9HPBFYPFGzQT4EF+KzoBe/I9P83iyZ2iReNXHLBpL9rJ0S91
pI4zracS+zOD2kIdmVmAGh1vKms2rHBQGMt57q86EzpDip54bohEyfc+CpG6AQsxyrNmYHgsQCID
TyypiBSGkzyUPUsyBuMyrGCYd+UhXVnO3crhTZWzFXhKEoIk/xQpQi2Au3ZklDIUpsrvu2FTtKsc
zUBzdNVJv29qWXRsjyqMfCNpHvnov84RQUV5VYMIzpbhp5IP3JLOyQamVBySmoA8X+ndkvtSWa48
d+pIicp2JhYqANSXkckpC5koNqzoE+WjarKR7GeGqk4GfLFpGaqAxydDdYzRy2hKyW1+TgFaA1C/
C2YmuqQHObh+KHqb4CFQk5DO8c1MQT1jzmnsx8P8PlEOCHiseZmtp4QKLDktO7PHHHe6OKDNZjU5
S8KY+MbSib1UnHi2vDENp1AbCrU1DfF+efHifqxegDXi4DQK3K1BAF+DBtDHzt7/XJaL84fGBKeV
zO5GWR/nz9FEa8v5NESJ2TdQBxI9m3uQLdnC57Zj3AMEE9u+cB+9INFLSMarGmszgHMMjlD4tNU4
L4K4QDqoGQkDVTJGJLcCMKd4MNxpv9LlWOUK9Hr5xDaKiv/gAOHdoV+v3lYBmRwF4KBYW/av0eP1
jj1sU2QN0Lu8dmjsvoEex2AEQMVbsRYQKk1vP5HuCfqPuCwOClf9qFDfCR1b1ayDIT84cJqI8g6L
3et0EEAsR0eFvUmdYxYphZ+RspmIjcONh0FJAQx1UNzUayB0CMVNsmWxWB/EJPwVDEheQ8VPuJec
44h37g5mSTI4hLhy1+4d2DB78pNKw4snov+yny0g6Bi+i86oky07zXnrFYWm8LUe06B6vRcbeUon
wRw1pLPrcdZZ59xyD7VFl9nVY9UgPsF1jcOpg3H47Cd02KsnMJWuJ3g2lZND/dxIBm/5OKX3XVfY
qpXdlTmrva9rmtucK/1EizrSP8fhP2bluDJrrTB3zqDZwS2I5GRGm1eukRhv//TqH7HyxrkoPbzK
ETqHkBHEj8EBKTIuJSPma93ww0KD8Hol79+JFvnKc4VZ3srh7i/UZwzC7xvBhWjXyg4JiXAE7+QH
GaSZVI+g5odtUjdf51CKtOoxD42YsZYuHED4sSW7px3wSC/6aV9P6YdLxbsW/JWSOAGM3qGVvXCQ
+6FRg3D/IKWT6k1p8j/Y7dEfr6TDGLXy8JHWZbZ8ufOWOcY5Dm/Ll9L4Kkif5VLVQp+P6Ka3E4gL
bhd8gKvF1oVp+ItG6d5qtH1ZHqub0dUG1VmhyxX5Y8fXzqFXbOkUZabEO3PRWCQYg5SLrXyrND8O
StKo1mrEmV1ZWz/QtlWiutw6JKLNaNfLWoyKvYno2bluynk043qJH1Dn3nl+3L5LcurupZFT1Z8X
u7+r6slGso5zcP8XF3F8Sbf2zXst/EdrNxj+pOPNKHGoJlsrpVfDaQ8e58bZDiQEPSEVIqwrJ6f+
slP4XqCZRJn+kwhHr9D/nSwOjU0xmIwW9kSk0ZzMkDaT1PVLsUBMvZLoF4dXy3x0LQVZmMIo33kM
ND7f923P4yZS7R6vcX6Yei+MD/XXX+zpnJh7X+GVC++hvD5ZnxrJbqo/HZ5fdr3N16NBWnr3VWzx
I9k3tyT/K1v5iwSst3853hrbl0T/19NanOLp8DDZ3kizBPF2zbwXAJwW4paZ+exlM7VsrnmYpKiY
D5cvLEjymcZdCq3Q1ilqDXrJ9RejxPtlsu5khz9e1U0ziwdcoYwddFr1HoPVa+Gs/aGSaKV6Jv+B
/4XvZUb5Xff3T9mBWsIWN2qQuHdzbv3njfPhaDpIjHhLYrqlcRoa/tT8UCyyL85+3Aap90waH7qS
7bpQzJ9LjXFicLibxtmPwohL90U6/b4G8xzJdUWF0eI1N7qRZUDwSEXul83LUXNt/zdbKxnIvhb9
cIdZpqT5IR/a/p0vZ7rzg+nwku9SwFA/ZYnSu8wKqWqxe5nk3kvt4jDfTbAypIZfaGfeM/2NrggO
jAs0UnP71EsLZIrAnnK2teudwvxO9K9E0kbTYWn8RHDvXd+Knd2rcQGkhZstB+Rl8+px8IFItNbr
KPVNVODZTw4t+p1ECjkT++iL1sbzzJsuzne0S2d6z95ZSG1zIejRW46LA1JCIOa1f1FGTxA16/+Z
ovzBQ6HdYVm7N9hcCoR38lZC3ooVFHtalEF3hxpA79RVdVj3d10WErTC1NxeVWzuuVi5I9XepkZq
741dKebF/Jmfr9I0U8X7QL4E5kIdP+oJU820r/3r+Pq9VhDrapDrU5k0Ax6V6UtW4pAc8CS3E6LO
Cdz5Fyj/rAFEnbN+/VTM5NA49TP9QjsNDmJ/NpKf5MrPDGoqqIvgGG7xYAe3B0YA54mSFVeNXC/Z
dEYbhgQtjekgfa4WeqouqK0DhjFM/Ao9Foe53uG11Mv1vOUAcJ+x/w7sxqW2FXZfx2Yyr/pesWtz
WL4cGP9aihakDaN8qReJd8VTjfqJcv3c2Xd0fa96i97KblYoxE8RaOUst3Tt024uZ6am+g8BIDdG
NtoMV8NPfMXnttDTpP58Y10BxhSSD9SntHugCDAp6crqP64kE7KvqUudNGAo2wEOk/lqpn0pVXK4
hVKN7rmPvHZhi3pnGWU/n9ZoY+BjUQq90a15vTfSq0H+ddU1gqOMcUDqLZQCKW2cenNsFhHYSFPp
O+JFuBwvhpm33NfuNdeT+BVGzx7BiwSWcifdyXZSEsC2Gfd3HtDs9BjorB0ry3HYuNIa/B7lYwgV
SiMvXbe9cPUI/pKIm6f6s5fv3AMn9JiKLsidmbfQqQwcPIL4m4pBxU8A8C5IeuZa2B6gktJAW1dS
c2TyEZqw71y6wox9dDYtTaAZjT/47+fL+01RE/hPGSzZAR+CCm5rndx0W2DGdSGYnxTUWKR77QzN
/zSpTTU8pdJTUzS1yFTBVvpHQnVd9IEw6EkrQKvw1w1qWnTWWAvk2utv+eK9rWxY+hVo7bob5U74
7mZ4b3hjPyEJvqhhB2d+mpm30pcCfx88/FgTDkNDXX8hvfwQGQoSoqRD3EWQ65o8UDOhDBQ/miS2
9Lt0tkQoW4EcuuJlo7aC/oUcVQOOA8QvnawsQ/82MktJpU6B39sLswa3jUjpj8qgLIestMFI37Sk
ojD20CVEOU0eGyiKhZ4KrWLpAdYQSIqeWboNUKaAU1ABsTymL/evM4Vr3xi1TIfDNA5H1Panpq9e
ZLgchydt9QlJlZC77FVPs0x//cI/VVxhw1oXQigTJs/iUWaememlWb6G7fgj1YM84ED+j6T7Wm5j
SYIA+kWIgDevJDwGnqQovSAokRfee3z9nsLG3pVEkISZ6e6qysrMSrJD6WT5T7b7mMYUXCPOT/Kc
dmq81S/4RLCVn1mDY94PUCuHEgohQ5dby4Qe7g8OltjfZ6Ns39ajGYaBBfWm3b14cxAue4TZXxUr
zW201I4fcu/CqMT97/OWwMd0HAeFT2j83hXJvRb+QcWnvfUHX8LbP/D4Z2F8+5wymOabNJqDJvSN
2S+biAZacLz2nza6y9FqHX3l3Gd43z76t37Za+1q2Zi6ISnKMXAfPL4NnmNjtE5crcykCZ5hBWSg
7rvAOQd0cXdIMsZkL+mnFq/HX5Pe1XGRlB+xtbLdQj/vr2FxuPsUqwu8fqu8rrzVrr74vOequU5a
ylJz8uY9C7m60JkfrqddbnjOwyILCTnWMDMu/nFlPyLrSCq449omw0r/ZPqVdx+BY/+B5J/qpw2R
IRka4pobTQHZKLPaNf5m0T9YdO+oCGNjRvDltEiUPEGpIF9Roaz6z6V8CPMz8LKWTQ8D/sEa62Ve
erk2yl8n3lHU3coYXa3vfW/lxvUoV2AqC2jgbgxkWVzR97Y3baJN31LGFZY5oziUu/MOK2wjo+Xc
Qo+aIAx+Gplibd/etr30epgDTm/bhXktp90QdBj+fLa7VqJwd0muH3jiXDB7JAvzdP8GYvxnWk/Y
r4Wm4rmxuM2AewJK1vyxBfdDO8y8IP1vneo/T602qA8WrXgJMrWO1XKXLPkH4uToHC3RaFFpfhhc
g3Ce0EiwERvztk4sTxKI5007/de27Z05XnTGKqECMebN3mcm2cZu9GUHY6mMmTdJtOdzsNV4FDV8
XBxgt+w4PgJZff+hn7CrHfhJYmYRf//WKjz9/7uoOp3jKfq2HKpZ9SpotQZCZ3brwBgCaUqNEE70
csI7HiL9mzws0FAvdexiAyhyA3Z3MW6veCnBeHx0ps5nVol3U1qNUYC5IJv3p4Ug+W27WC5WC+Pr
bHQ8N2NjuanDO5dDgxkEnF6bhmOPaYHBZdEAsLIaGNf9ghYlRKjDUNUtWfR1mM1bcgNiDTT9Ufy5
DKQfe1CyUAGQLZTah/GyXVI4BbnmZfVPF7J/5f/saVB02xwZtn95207ubTdgD8LS9CMuSS/NuhVo
KqFp8gog6DGhIDfmInHw9YJ7qxUDGfI5lZ/3qhtleenAeJN+9GkR/VwPOKDvMG8yaJ2IMBMv9dwb
Etk7TzzOm7oa6Ljoc4reEaAtuJYXl94IiNKIAR7m0ixAkexATzzbOnVMxyQRm75XRiW3l426ZXBp
njOdE9e8Tct96MLfg1vG63DZoV+lWAhbV3tjKxDx+o7wuqlY/xUXITQvzxiR6+h2yobVSeH0RNR7
aednnUKpHg2QZNMB1COWVnreUn6wkB4PIEcz++hSAwwl+lZpp0grBiQkO7ZYA28ypIOTwQ2coqLI
NfNYqWAlNGUkM90VvbYe3GS9QXqq4QLmanzPL21QVfbcSrc0pTdsUbOtxenFx8dt5fnWM/uPG8Bg
MTdLR6B8vbPpwlaUjw9c5HKLlmE25iQIqAEPLmqX8Bq8q5dSyJxQzXn3Qt/94NXUyWr9387180K/
sFpCeGXoJlfIeYeF3uYvjiTp2KpTbAHTONXDOO3ogkUA3hmvULupSztOqucphIAcJGHLJXrnk3oe
42545BzLTvnQP0tALFPkcHJ+S80GSN0TFNdgCc/6XJNR7NbvLi6jg7HLZctgMHvT5RZSnA/5w1Dx
kfHJvUq0ptdNhyOj4php5rRiTvSm2fwfGhL1cHRTbYDOCku9vzqjM1znkvTQr1xaOK+Ysc4S7ato
Z836ntDr/d/Y2fmCIcKBQEMD6WfIZ1abKiArV6eVueJWP1m/JMrzYaYpPWK3gFxnQ+DwakKql+2a
mUQkL31hWeLKsMlUco4Dc40W3fBk2rKjJhS5dC/OBSYojvNVf/seXEQKQ+Qel/mAJ/TuIliWThqv
4ZffcXK752kzf6npEiFa2S+FHl7hQGNMtsQo+cZVp+nu6Pjxzso0Y4S10Jmv2kcDYCN32uL2HYny
vjCIy6Sbaq5XIP7vpls0hpbEY4TcQpRrOeSYcSdmANHPHl/KejtJAa61x1UvhMx3ngSpnabWIBgJ
cHJrl7qP9hxJdPYfgDjd59l2WzR5sKe6LOlKVSzh9YFxZmP3sU0gxH49CK75VGsJty8OplgXiJig
kdUIqxEJQCJT0AF/mfWCte119lVbhEdvDrMryXXNGll1Uj+VhdEQL6Z/fT3AQe6Xg8Z4xkDRU7vG
tOtfJ97vaLTRcyM63jUL68H0Miy3SiPdypE+X3RVLa329EmAsg4A491U7Pmf+6Zul3MK9eodT7zq
aANz9+xkqOs9d/73Wuv91HGhgbikyFujo15auhba5J1pF58nPmfl65ZnoFW/tVMENa1HMCKXSfH8
kmnf2vk+JrAP2b0ZhOQSrj4eXP5fyuPHUBVHOeA639qG8UygEVJ0k3NDupzqFv78ynlUNdVf3TnQ
8z549RWu9WndKHQfQ7A2oB7q3zy1vcbOTWn7sZwXzbGvAI03Twtj2z9RvHO9y6Y9SdJ89F72t/rq
v9QXTSjD+2apl29tLLds62zAgpDD2o8biFmyqcH67dyaD7JZSNJsFIrUYp+31DKZt9BSvV6xP2kC
GeIfWwTvW3vWY+QG+rTotis/6O3wdqA70/LQ7gtQeQLSS2iMcU3Dkn9jXvDrtEWsujHdq/ro0Run
BUKfmpS1Uezj9aNoWBK0sGmlXwhnz8dmrl1SgaHztlPtGaOU9jWZD87JwpgNE36MMfKep3D5tlkw
3j3b+EoDCb3c2Cdz2evwjPYafO+aA7g00hv6u9ZyCFa45k8Zz0JTE2wFcNxqw2sAcHigdoD7I+r/
EJbq98/qzku0MST6xNyv4NVKK0L44YD7PTnRh+muBwEqNdr9NYxI0Yrc1Alqub6MRAqh2xkZDG9E
tbN2wF5rhrEXfN5CczLj6nCuNhL9pWKkCmaOab1Ae/AptgditMRhXB7s/mafgzYUce88EFgyaFzj
TKtNuGHhinsHUGj8bS2ZUukFdZyK3nd+iyx6DhG2gnFfosDQ09ZaiTRL/GE80MXtRRjhIkhBDhzD
C/3U9aE9hEP0rfVHuzzeJqluqlvGVU7y/cxw0pzUrU4b1rJvZ/xMo1ihXc3GeoG9JGnYD6Ssemtb
PIXusXr/N0+eIoP7y4qVqwnO3ZtpjLT27BjOyTU5J7wDzevavVxWzS0LrN4axQjcWjuHtEAFPyz3
c7iU/fI8gnf90Nk0t8x90QbkGLhmPkNG2m68JVuUSI1UnnrxRUlZaZCq1PUxiZTVmCQqJiQy+t/l
zMwTbASMP/oRTBb+iIxztY5jFc3pxKr01WXI686aAUl28dchYtLE5Huju/NXJM8ONlzR+Mydmg6y
o6nQ1Rln+Fs99bHgy7hph+aI4ey2eii058BFvTXMtsPL9V/hj334OLzs/ivie070tuyKSr6tY6ST
84yrupl4O/LjvtiyfXdn77QSC2YhcWpJFRz8xlvvpBg6jDukvM5xm2QXcEX9WOokLAGL2k/lmulb
WwKBpa4Dfqml0jHShl+lMoZpjo171yMKFxlZS5k/9maEj1SUjy8blZQnEyIFXj0PdDq7g7PT9FWQ
xOTmT9N0MaWRrvl1yhk4KgbqbF2SGDKS6uU0wCXYfgM2IYALvzsxN+TzVp7yMdtLkyISFURSOe9q
oFnv5PxXzQjUSjNspk3jwcji2K3cPuipza6o4TGgV3QjriRuSjHVuPCj31zqKoOIDGWJ6e5RPRCh
Qy9bmXxjUa5PvhmHXDFIJXiL2m7fyJ+7I2lfrZz42dsDb8mwSn883aZhNmjHAu78t3S1YmqGUg/0
wGZL0HlOTLrtuCMHrd008ltXoWd3umkx/8dyuILAI8QRyjj/rftJk5i/mDfyqnFx4FUM8uw4K+8Z
ZBApmjTCZ9y7v+VcTzdPOzLKSNVH13w1V6XQk3Kzrt8076b6SZ1da9XOSB65obSRmHSjZ2idTZui
qYjr1eOglkcwPT17N78mdZf7YM+IGbu7YzzVJUR4DIQe07ke6e4m0xDljdXafJy0mc4NO9/i3DQf
96ZtgD17HygFUz3L0Rc71tdWjjd2cbe9ybypnhaouUDbaRMXbGVS/LGR/VH8yHks12mdguCMDyAi
3HWdxU6hSepAuKHTamWiuNjQFv9NCbwkMv+DHYuZW/7JPemnYCY3vy3NMwu0wGIDzOZngyCQH+QL
A64pWqiShJ8gqgl6EgzRyOiq0ovloCBE7cmgujqeVVrh8S3HecXKAK+Uv5RejpE4QVZj6vM7hlIW
NAYiwWSXwW7Keja1I2JXqTPBIuSsnTW50wAOCVhMKoLrSHGPPT9S/rr/uYyvEKzw/N9D4HLBGWVP
gRdqQUNkbatK3WueHctHufDBsaQlZOQVGxo9wH2nrIfOsKbNiRv8h4yI4zsiiFjwABphS5qfRbx7
JEWLxy+KjwGlwnxE4Lso1rwlnrVA9Anb11kNPv4weZSC1BggfGqbTz3DNae6/TqumhUT4Y05WrWQ
p/a97YhVf1q6PjXlQowPlT+sXHsEk/odjAnIgwJCGNSTzJB0ZddV2BLFAACGowKv6mPzAGyC/I4M
xjCypLDtX/Hgg4YMvRxR/AOm4LcGV9M8yFM46qKbyPOjcM8PSECtgzgH3TF0LTNzuG8EzZEVT9mu
WIQpjYtZHBC4CXbd2UTv/lhAMaAq/IV4gF7hpImsIGrSx66W4h/oRCo00DlADtx3mFfHZsoPWDyx
ajT86OZyIuMeSVh7JeSQTwg84Iw1oIsNDJ0jpEMFYloU8BTV+hg8NsqVcnM2r1Ye9eJH+sPjl0Jg
biPk6/WSm3EYBF/mPMaZDotCL7y93YAKBGXHdbfOSa4v/eQuafCS4yq7e1kunBJN7jVmacX4i5aZ
noF3BHIyGeCWsY1g30xPd63thH8u4NeW7YLtmIosQ2mxrAE7Ks7wZhnv9A1VexhnXcw+L3xixyLZ
5t5UW3jG23eiOwLH8MoGf0Cr1V+EIsWX2W+2GbvfyrglTdTX3agClepzSLqLmcNsNeD3I7OuT/4r
3oORhJ9YJNP+VVBr/YFFE+pMI+kSLF6Xut8Po+z5Dp6AZkMvElAvaAp/G+Ti7pSdSDhvymGBXqBz
X0SilNzJZzAnkXz0F3MedeZRj7tgXHLU7WIRg7QOMM/PT2n1SMTsUew5241e76Hx/LKhn3jzendn
ZWN+N5YBV//1gE7rKsoVGBv89gGmJpuZwUyCVqnOWMBgPKG73qpI0NjwkoowGHYHO3s+4xYpidQX
ERGvBjxHT/WczQS+odX1c8YHEdu4AhdTxKHnyL6GV5x6AIv8/RNfXlyySIFslqITUI46Ue3olpGu
IQgTJq3rFlThPj6l2ptbJ3plrBoq7+RBoPDzogVEtuWgKPlDLyWHYu2QbfGMV1JvV407E5HS7K8P
ExgyqSdEk689CZHJBMvm6tjkyLZ8vObKLZKU+WhSGeuNFMmfcj+Z1ev90YS15rIJRuDt3NHBcCB5
LfC1Z+LFHkC06vPI5fptffl7mDLA60NPCR+2tV2mdyy8LTOtOZeNdH9WHDFo0bAF8QaZjkboa3Ks
UzocZEK/3FQMFwNhZlShDmtqJkobNxs3FUP61HenXRPpjaWnOndEeETZHSX7NmaFzGHh7ViBP+7F
bZYoDR3D10qSPX17WPAAnqXm9QMgb2eAbqdw7ojqaR7Y2XoEFOzMQ8OcqPK9cf8REDzB0RTpbl6r
ju0YO0SJ+Pplvm0sdn0XgJhGnHA1N5WGK3E6NoEQsUagCjPAoWCNc/Scb5HaN3wQA5dO0+ThuFc8
+yGkbs4TjGgMy7HmlaSYVbZxsBUa9jOoBlgIvsvnfzvUmcmcD4P8CjOtXf4CmQkxjk8PpPedRfH9
agRc+SUjZXOwMDtjLXw2VJkAvjVdDian/nVbf5TrV3HgwM+8sT31F9vmhjlIuX6utG8KXNymfete
aigms2Z0ZOoXPcOCUQ/1abnm9Jztyceqj2MHXnVddCQfRfMw7klph0n6di/XTttWaV4PLVquWVgO
D36SSAxLNducpFqpbLNi+HFJcrHJ1w04rOzra6b/y+a03DovksKjeSjUj8fmkVxuXS8tWhuu8+Zh
FMz0Zj/fKBebhTm0+PXwn9TBPkCHudXy++oSX/KO9fByzSZp89+U1vpfuRf5WZQ9sr9Aa+Dki7Hk
SdZdCjcCMUQi6pnuy5o5dvEdJF+j4iemwb+Y6umgRU//JZVUdxQalYpUD/x2NKzU7j2GE2Pp//5Y
Bn9OmxZxsYVYfeiI88tpU54No9njqEwNca1tmTrgQbb5dWcPvRze6JGpvLgYQoRbpByW15kfUVss
Qsl8JGKFFITMzDn8ZtPqI+vYnC4NWKn+6bRT/tkPLW6parlmfKCgfG0UiHaUObAqnTYdhIe2d/7H
EQ4wTokIos+tVWZ3+6jrjlwQ7rY1XiG3IqtqR8ELjOHjNNhzsY/WJSnMcL3r5bRsCGWN/SBfERGT
DccetkC706sgaDHuBus7Nyhg4qLQUpm1eampbMIBUJpUEEGlMVjHFVGWTmnSXqT0Rh3ucMdzV/Yz
7Uhr5CthJXmvHSoGAr0yFJRb5G3JWratf06wdqjvVXTzlu7bzQSNNSZwfbHtp9FMh5V7Lzs0Xi5G
HD1oa/mXfjuV7azzj8V5+8sjXtsHSmcKIszQ/MOawqV8by8fnPAx9LztgEkPGjcdWKEN6ZcX/eOs
qRZg6S9uyKc2b/ePR0vXVwwumqbTMtmGs173kqFICGW7ciptyDEK1MAWBzDxeeSe2jHhc/6+Mz0t
jjXzRZ+ekhpP3ozX0QEd++uZaecqgjqMxB8H1fpJ3FUFV3CevoqtinzoUrPGVCdEvh2Zg5rCN1FW
r3iZUTCmRpmtoZ2zYoRJadUVEmax0yejrBZzRJ1ASVKSXI9tgvATYJIS0zufl5NwUDtnQ4Ql0VCY
OmQ9W6XQcAQ/pJH7rt3AbEXJ6tTy0JSxNKE1kVXn8Dd9qtoeW1xueDqYLcbKZSyuqPKCKTlxoOGX
po4d83PM9Cl/URits30NaRguB3+j03q6zlog0TrReD4d2mKtcZy5ST2LU6rwR0UF5DxcErvY/j5M
ADWyRO9WSXHIg3EXTIvmXWMElAFml52qS7xV45dnfuJV1yZc4jsO4sm9IdIXf+w2DM1ubBu1RO+8
aDj+2LCI5svhbMyWVsVoaDlkpH06E6VHbbptW0FaaL77lAriDwN5K/vGvnu7BBadx3oMVcel1FZH
EmccG/bijmGnhSjuhNqUUiz9YyupPmxJMdG+kL1Jt/jrSntDsXiOvhB6BOH0TcgzKaQ38fx5Vhhp
EhFjT3MYGffO5Vttce+Wp+ND30w9AxL3Rh6Crh9UNNEV2nf5eXSJ/P4fQyUexCjDcDZaNgQn0Tc8
M+J8lKgYfLQEYxaiXtOeaNIZ9W5ZtH0lJk+CZJ5w78jrmif3/j3VYHWXauDjBOTZheKIu3AjCful
Fjcmbyx1QHUq+WU0h2S1TDs1uIifDB09dhY+dKoJnb1f3paFgQVdKLTRsDVW0o5w99egaFAC6rBG
Vz7Mpm58YQkFppwrFe8yX54MK0u/7/4wWuk5QC8taRxpWak/GTpnnbJCp+GB1pQiSw4QKliWSOLQ
poPcUjg1cFhLY1R/ie3pzRHNXzlIKN2go2IjHXuY9mWLMgYNphxQw+NHId/Cwo1phuweCuacVkY7
1YZ8rrho2KyzsQ1kVY51Ft71B6OJ6dbecK7ed/fkeHdyS+dvfx9/wSgdvoarQ+252DBMBtLM8tdj
USedL1gBNQ0M/eywTnUbPcd8aCza0zFsqYniTD4wuiaywZ+UkqFONc3O7UhG7SlSHKdTL5I/Yah2
P9TXH6UxLtKT7FTsVproRZtk/+GaGTKJrGpf8pVLtjkAYG1Z6sxHOtDb3mT/QU9YPiWLt8W5rXjK
cRFT/lB8bxohIsaqr10x68t3xIblflD++Gt16v9AJtFSw2ZZoLuv2/nLHzHIzE019DbTkt90LY1s
5QAfcVKeYqGoDqzaRR9uB7axdTyFlK3CnM5wjJ2WkgK1OKWqCxUuRY+KNoYNFvkMvPpxepditq5e
0D/VYHokafKm18XvC52++emEumuG3OsR3+HwMKRe2fYU8PVVyyiVxo3Qg9D3qcTOvyI4U7ijDQuJ
qf5sABCYauirxQ2aCWPBjsnCxypGEztcBoC7sJQi9m7tZVledVU99Y9DBnr0wAjHkzbVeMjzH0Fq
w2ce5IsvxhRcRyHwpoX6Zq6BB4X6Swv1/xcIp3QuXtgPnEd/M86jPvFBDPkq+Rluzx2FVrjlEYwg
ZnPofcsyh5dWt5hcndfN2/ekAA/H0vaxCfIpGsPERj6xG0dLmXwNGmgasHqEl8/QlfPQv0ea6OQ6
2tH8OKYQn6ji8x/Xr+1oPbK+bt9Gk5kZx1veU4Y83tQH/69AsGPOwaQBqPimrGThDqEEnfT81uQ/
89B46ps2yFFr9dtbZ9ZN0q0+K9V9NG5tysY/Jjmvkwwek8qugp1u3nhK4uQ3/9sVaiGBv8dFsHH/
W3zngjql8sPy8xLeBoG5STDfaQI1H0Z+fe468daPxlFzf439Tp/pluy5fofPPF9DEP4qPibeU3wn
fM7if6o7mE7Z2IGwWncwh7/XunYZ0L+vm0gRpmyuvnPhLxa3iyemhUXmwF8z/4Gx+jYzsRAuMJaM
3d+ZZdULlgulmErj/s6c60eNcH8PW3zL5UrAp/+tRmFozmyTUQpaGfaUq2PFmPF20UEFZ7H25Lv8
tO9bxcCNoLTzPJs2XNxH9Uxmr3KkFW/4C907nNkaj7qrBbkB5cxw4IAepn6GvPZWP1XMopyh4odg
i1i/8m8y7D755zjoM3Inz7F6IbOFiuACfivqQEhngBcjADb1XAlaisVlBx/ie8GQcDY4hPqaK6hB
U8+1iCwmRnRTRB6dWX3NIL4bMO7fMKpxyIPTowUTvrNGrGi5KidyUB6Ha4iRWZ4UNeJl8BeIQbJR
gr5oki8bP+pqUYRTzGi6d86efkWLDyZa1PATPzVrl2gqx5g9GuUmPsquKuvO/T3T7YmRMcQ0tBu8
uoq/xXN1nyEYfJjvidSHU6BUfzAbyz0IZXrw91KcZo5y1JloX2qEmdMOn0r1ClE13P5SxN4gpo9f
8HtORhCZeXv6R4if/rEWFyqyqPzA67MmoIgnTltSIkLFQHMgwCkzwP/b9pT4+IFzPHpGIvhERTDa
/FXqbKlLuE0BsHN6jsAZtKcj045pAc4zKf+pHl53lzdhgcP/97lnMqHjdsf4x126f0ENue8UkkMf
MSCUD2hT4YaxN0vmhLf4nCQai3jKbWKXQ9SYlurb+7spLo/XftGENrL7bLo1od0zOpChy2hmva9e
GD+AAlX75y/z0W9YnsBNzn+AleCLLo0ZwUZiSfDDFe1Ms1KZuO1Sz9yeVPWJBwYeUqotT/1nI6SM
hDKNTIIT2Cgv6hOFFX/vpN9yMFx4fAykpB7DMyw/os9c0AXAY4s69bwvDEmU97niwYZoRhgRorb0
b47suKhb4HDPBQRQqmDANx6SbHL4d6FceHcCzEnJb8QbjSOO0fElv2xeEvRjCifMM7EVbzjVVzTZ
HMSBwIJPbDYeir2gHlewj4WoXOKegVDXvdMsQITKv0OCMWjKh9HCe/PeTVfbfngmacu2tyvWNifD
ffyOi3mpkPO7Z4aLAVy9QKrUXLwRz0wzzvCapOVG3O7Mi9naeGP7Hov2NHURl/YSEjE4ZpUUh/dh
YYyjNzzfQyNTHGbw8Lzw41NrZ1ze0V9iaReHyztGXUaHo1/Gh6jH7+AjZ4d3Jh+fJyNkgjuPIB8s
6bKBBUiTp89JV5m2Sg6mfeEBcn5BRoAdvbpc1iiQdMaqAhXV18phEakFM4M8MooNCHUyPJhv2WN1
AzfkpAKXFg/nMgRoG9sQpLrEmaO+5F6b3B9OFIcg9txpUlfLyjR0duTmz07U+ZnIg5SCAabgAu+w
B73Wr3StUglLRbEGiMUcs0sZ6gU6b2OL5cPbL/Oq5VlS/NSWt1TR2CCqnN4xKHzZYxA63aD5SJoD
445r7QHTY1YDN8KU6KuFXppVN28Usqka4vvdHBaNY5MRZWoX8RLWZ0a8xTbD7rOdIP5BfyUYfw4a
Xk0TYRgS+lsiKTHnSR5+iU4P7+p+b2yXDTjqRo0izzEVRFy4NVd7IT6Vrd2+RS8mmug9e91rgsT0
C5i5Mu1fgmvwbKiVEU/UiA7Hl1vIxlAI5gkKg24wm2LvsRIu+OpAR+Yvbadr69wVBO9xdhHARVrf
9vvy2SigzGRw8QNy2+NqBSepsmmBV/RgJjFHHF7kBM51HL3hdh9uqB7EGfCXXRmuGYpBZ5P0wa1u
G7sFiWi52BP0+MzRJpoMF4N5lmD2aHQpeltiA8QCub3PizyVorUwYLDh0W26VZq0+U9ISwOUn5Ja
sdFl+sxsLVt1Gj6pSisX3j5a/Tvm6qxDY8/v8PHZId9frftCv1ruloqtUsaYRrxeNsol7wOhlgrN
SuAjVbtMG9t11TZevcEHLVttEbh3Gslh01h/5JBZEYoRZtcdI0Vv1NziF1pPpvbAtN28rnH2H7I8
TONVMiWh5LKMO/wIwFRGXgQwvPjV0cTg1xxhVbqH/l+E3pRqF1RJ56AUQr7bKxAgpN6k0XbDtUH0
0ckSiuTEU3qXShISlKSkJ+GYfau8+an7hQAoMyiOcjzR3pB3aahGue98L9fP9B0/yiBXdPempRSn
m2XrWiZPYvp5/npo2YJCjmxXzo3wyjozSx+n98BtQYMPwxGTQS9cNavuDZqkKnQZjbAra7lmsPo0
8hUyZpFWtZqLMfJZ9oPP/gRUQ2Zv8enkCbQoU0865Gysec+2QID4U+pcBumuwsYasoIseLWRL/HW
NfQFU+sRaei5xjy/tAMv3T8AzdbuGvsn6Jy4hgIIxX6Q6dnEV1hvcl8QIO5/PIEeQOXvMnbXtaGM
2uACzZsWTKXmhGEsbL2/49+LwMsRjv2DgYdDIV2LZHaYEoPmPCmKLMn/mwy3paolVEnVc/0d8gb6
j1NhSLoAIfdBkNB5j6goEpEX3X7ykf8KoXneYkBuOdX07zL1dbah2xQ+YPdX8CAv+ErjzhOjVM3+
B5bfRqRIfeKfP2Wb5QYp/jRr4thkZ1Q2R5Xsa/49/wGZU+QQb4Q996W6XI9Xuo6jfAZQ8cIZvHnc
YTS7PD5zEASdJ6wdBe9n+3NjEOvH9eP8oRhaI4ZHrRiBB7kcPXhQMDNUfGM9CTITkJWeu2iDyVfn
r867a7nKHUyFo2cYMSpy6sgj6Hci9H6LFpQh3rIGb9NhsHMtzE/4jYldNGni62BJsb2xMLDu+A8W
22gB4S0KvMA8kI8lJfYMv3aBfiFobFhcSAwH+ZbzDPkAAZGCMuQH66Zus+PNvZdyd9WilU+J+y1R
1bGEQVc4IU/UIfHnyHirQs1NnYTna33Mh/7wSwAAEWOt+DoE4IKhZnCCKXx8Upi6Sz2WncW/6QKF
8dkD1qSxVOeVyKWCc+4wwoxtAwYrIyjzbtP6//vMKWIdr5Eak2bD3vJVMKOMGOOjZJSa5GmzInF4
Oci9L/AUn4wbDBbzvK52BjvesGJ9BzzljI6mo+2oE759N9H71uF69ih7/9Ei49yC5P86Y6MeAcgo
zSe3JtPJNbN0jVjvMpRnb9RdFet0kB3WMlA3m0edVu8cVrGuRie5FAdwTurKLMWt1xi8KqN2wcOW
3xvggy9wer2KGg4HDf9swE9y8sVYelcuJXMuqAzIzUqB5DM56HuGVd1SPF3rvIucNkUe9yw8wK6Z
lrQN6gGmqCiIhGC36gq+YAradFd3CEK6fInoCrmAsUv1yl/b9uTaIlHJRx/QyeHY0abtZ3/MThTf
nvT7cwDzbLy+RWTXBJgS7UPp9ektc3n1PazVb80mVrJYq5xXMO0dFxlU1Up9eaqrgvA63LDJgDQm
sEJNrNUBDgw1/JUN/o6W5fO++GhulSUkHfVWmlc82gUyib7xmsvUS2pWzaxfg1Ngd4En0N8UXWAZ
jXf/JfYkeMpXhuLVCmfRSfp5ZpPAkm0XBcKlNfsnl518ONc8CGZYEfdAk3IdRWc/9Sv7VfyAxwq+
ckscCEEVjWH2/cwcPbGoWcnX9BHLiE3+NKOw8kLjVpAY7pLCtAaW3yTzU5Ixkc4UArwF59Cxek43
pfwrx5VfgraFeIdCo/X/PqvLmX/XYe+gFNDl4UMETRouuhu7B85jmfkaoGArvp1immvLaeGtuABH
fYlHbZltzDNdF2V6qzrmnFz+DIs9/RJG6F/Tjp3oA28isGvdP5Jzrm2BKEjTX16doSmuAnCiKLgX
i9VVkh/ezi9C8Tn9ei293myHfTW9qn6ccTqJig18XSTXtNrnZdu8qVM7UTBE5aUBqJ645ZtQWyMf
OrM9j2wPTllhBWkZh6wd2SEt3O1o5oG9Yogb5Xup6m3bUcXI2aURuru3z+yj6UIxxAipXal/jzKD
b5X5XLPGJZEDT/R3QGC8GVsPbRwtX5iYgjZVtZgyv9SqPNqG0YRYsOZmCS6EHruCGMbFGDyPFjua
jVfjnMGhqzf1zOnNnXfPXewoGK8RIO5FcGcUi8qM7csSVxZWFSf0uqfkJ+djJV8B8w9c0nBLJ2c6
9nZszvzicnS6j834gq85MpON0522H8pcLa50bHUY65M2h62OCL/9o0XvpMj/EJt8hv+s9WGM3o9z
4W707Q/+gWGqeTq75vXjKs3+9rSxvh7yPx1SbzsB8gB4TRv/UoRaALvwcXNd1UazyyvjSeviuTFM
fZy8+CIma57G53fwYuStw/MfM8XL8T78y0UMrov97e5RpZ171qLaHJ3iFgUfImgHx2MxWPyejuK+
BFM9bL7A6nGeiC8+gBpCXwAQqQKZhmcJcte2OjGXBWKtRZn9ffmL7c+bUs8ilAMYYMQs6d+nyet8
k+x+bRwXGNDX1vodV0OucZ7H9IAoVyufEdjTeCuVvsprNqgLuZeEOeie15MD2AxNuxCN1n39sMId
DLplx9rmbfF2XrbyhfrySwqivVicdqW3KyXrxyRQcdqsMsqnlfDtmkvs9LinaeldFWEf8JDq4yA9
aTGZT8MC6J4XdmSpml43jNMstzaA1v59RfCbH8KHRYwYAjKWRELQyF9f5NPZ4Z4oM16oc6t0iytq
MSQBPnHp4dHYYEQKc+PQRUeyKp+zjLjks7DTGTjyZkcEgkB7hQMjQox+cLZefrkFqz6ze6OqgyhK
+iLhzNaZG+ab6awCKkYGRElvJOatKrGbycAj//BMZnxvYtrgEYuMneHs5fTtj4nWl7Z+PfsTTt0W
hzYGQ9Koz57+o0sj6KEMT3kNKoulxB+pqweY6birGIrX8HpjJaskxfAX+NPV460mQ2i6spNb+Iou
ez6qJaRSWQxcehcp5jHsbp2rVmDPuW0LWnLx6aFppNBNC9iXat5jzwThy/dmrCyTBJsy/sgTz0i3
YxpGDjXMbpyOcJzMPAmHDcIMWbwrykDJWe5LEN+UVnAuOu7fgZ7X7nZowE/H+hf5mEY9RRaawvKY
UpPhJ5P8v8Wfgj0E6Xw3jXQa+QEf1tP45Gh37sMaKPzY6RY+o0i+CMz1B4PDEDpCOSD0T6PBFBby
SJVz7O0/Fs8K2md1dNi/6S+rbzGwgze/45oHEm32eejSFMGneT2ab3s0AWM/2kV1HWeEV35m2Wtz
k63N8TyIAPY42VL7/FVtq3vI7/npU6cZu21hTOFUmZBW/gAqkmysW6C7xd9tiT1vq6SEqlSljBlM
ABLyGINElquL7yTkX2jBY9L1VgPMO416bHXgDIGzpckmBc4RlX0EtnuuIUD4WGzmzbpJ5Je20CVh
CumzPbvfi8EZja9zablbTzDgAoCkoDk23TkuWesqrEGOBcr9Wt/eFw5SMVFaHf6qEi17yB47rOrl
oUCi/yKphvIE7PBMsOc9e99KAixpdfV8V5vLQ070RysMISMLz66NVJLDcb2qVHX5ZTv3sIhBKTG0
1vg/grlF+OPnOtatRqPB1FJgtJOO2zubSp7uXYsntavGWdERp6+gixakex7SZtdJvyEpnuopycTg
uenCJ5kfpwwhpLKixB2YOFHsX6/VOIY03Ej9R8cPG0NBTcM96arJj+3MqbGTjA43b9sd7ozLGSMr
XUWkyaxDxQyinikdOdiKho6sCA+hGTNSZ9O/txZWAmWI42jZc6rodD11sYiJm+SA+flkda5HBcWp
um07lIiku4c+0F17w+vJ+Hfj3K97b6L0UqXxjFBioJKhu/7RG6bBnDoRbonArlimJV28HR+19aa2
/iovm+6sBMa9rxyq+WdyBBo05JesldI4ZlWdiXuPtW3431T6Z7+hwdZnExBi9v7tSgJ7b2f6FYaa
+VphPPm5o+lxYTZ71VDDPl4q0brUl+3euFiqYps48UodKOiTXOKSevHVmyOfnd7H/89SIv2w3tbV
zD5aGzfo/3SPc1tQD0hl9ebXLCeTqiC0BbFGpbdqoszdu7Pry9+QMSMPwwkDwVm50ouHLsAjqQi/
YvKbA+yWSDKshb71dHopafl210zkc6JsPLB+lwKghF67vniSv8U7tVQG51GVMCbQPJu+BbaLH6Q6
hRwJh/NhfolRQqTFA1YKPsbM5H2yrl+SlE2KBD1pyDdQGsN24IlEepDfNcpbgTtPBqu7WRGVxkhq
1zbfj2iCxmew6GwS/cvedLQUZXPi/IoNZ5gg8BDMvR6K/+C0j3tdJlwyt3vTceXRVuCnsmMD5UTc
/idjC3ZuTwvaAgeHY5vXxyzJrxqZG4OSlzydrPw+SamtT+9goUqzaPLmpr5R6NFY3wYHJGnGp925
YjfRti6b0mQ4GloysXm28GLXl6retAhb6XPCu/y7GsSzerl8lv6dP0z82uvZMlnjKN538oJxUkx+
qx69VdOv9ooOlfzOPCBWADxTgWN50EEUdBuCbCuKxV6pem5v7/Cpynj3CTMGU2OKDtz3VTpQblmd
ne62KzW8YvQcnueUEmJwOxPfn6JGkTJIBSrbviCHfej3ntJ0xhdSj0kXykff84eKPiJgzNDyt0iv
pitjUXBovSXZZ10iybtVWSHT/iUOQhbM6zpESm4GtkBndmzCiA0Ci/wPyyrVj50+uiQbcrehBHsr
f5U6XD+EqlPzymnKQh0JOWvoLqrvKct8qIZ7F3SkeNaNs7lYP5aj6NXOjZc+TnnMZqrasZ2Ll1em
GLCifPiee+Jy9WQuW0dN6qj7f5kmc/bKgEsmC6N9DyhZutchfTKyKWiy+Gja+Y67/1IdN9pkDCy8
EYMONjaHVJNp0WZ0uLTuT709g57tr6Uc58TkpdjL5zU7XsqbVnbXPnV3Sn3b0SOr9/KoHIYwzEH4
BxHJDPjIpAbsfDbDdf9A4TDOdg7veUrI10U3O8qgzI38SECIgzM6W7ZJ4H9Hhx0Vbo0CNtLunSFP
vwxF6e3nda+RzzfyQsbWSLRj55R6uSA9cQYo/C72itvqrHtEijDoncNlX/kWTqIvXEiWRBuvm2Jv
GfTf6g0dq7mVPsHSlPpGqbz7EIeu71ZKtdTb1IguH6UyOP5a5lvzfW02PHVPPxPUvV8b9cFf5kSk
+jSL45mBmxi3r1ejTsgJuudzbW2DtSs/6Q0H3Wq+c1s2Fn9u8rprLXVG7XnNd44Omc66fzS/AFcs
XT8btJl9ze6q6z7NnQb4cModZN9aFms7S373evLrWGDbpheGbguDAMjxsc/laXZr5jsns36rzVV7
1+brdKrUPO4z5uCbqeEVDank+83UjAKuMRuux/8j6b6WGsmWKIB+kSLkzSsqeSSEAGFeFNCAvPf6
+lnJxL0z3UPTQqqqc07mzm2mTzsfN1vfdCv9PLIqH/jDR56nlXtV6q8mzbzO7mWTGk6fZo+l+JYi
dQPAs3Fhju/ieYsv64fZuDoC1w8qMmsz1YtJbWtmsnJ/UjnO7rLYobhOP8VmXnHb3W5r568lPtDD
5PHMBbK/n9ZT5DqvbF9OEP9OnhqqWxn9sl+6enYwWV/WpzqvmbEGlxo7LKF2LytV1eCafTm+HsHQ
gN6XG9nP62ymlo474K/m80hx3kE9n63NHjeXOw3Rvcs03TSPTtlSN3X29ak1X+ot8a8DjWodczWX
Lp2tnrou2KmbVYrC4+meVaHXRor93qZ+6l5Sw51B/qy+WNTSqeptnowRxzRvrvaPXz0dK8cFjY3Z
79NmXN1xmII9mbM/HXpZ2+XvVlIgpzg10fP4m49Ua/ydlgumI3bt4D0my1r879muWtL5/GZPWH53
B50xLc4/7/H4nbHTGwyRX+xoxCnJ7uTM7nTylj4TnMld5lItfvHoyuEGYgbQILLsXbVKjBYu1U22
noY/r1uHa8My2XLgytZvAHHPmPHNXHRO1SUoXKqrRS2FLwS5urbTkIdJ+0jKyIoi1UxnaqN5N3vo
l7fwk9Yppzl+MGwqVqSvYeE1isCMq9mv48lunt0MR/uvxfY5P3/N5O4LqXZx9MSW/JxuXhkGlsWV
8BKGNcN/Vid87MgRRHLRN/w/41APTN7VVRzXP50e/kZ0nNe6WViErfnrBnb7T4fBH3F0HXxx4hos
hQwHVdbawxuzpjsGJg5ZIAdzVcUX425naNZM8pE3iFDw7RBNIfcW9S1Cl4ME7PW7cmvW8b3j3mnH
QbN2/Z0RtnLVguFjm2sdH3nDjIfXgQlLESLYn5l6hmgpCbsT7eWN4dzYLLGWfbw8jOgsvWTCZmp6
t+FQXb888JBntres4X51xl+FJMvG9HNdc3jDsZPxayHBX2/msVtr2S4Hr03CLI2frbvfX2DrJ/rp
YEr4XMxnnPxsa73pUZcJYWO1wy+KvM2yhJLDc178n7O4thyo7Nk2vJrWhndy5j4bsa2RETn7Nqjy
QTgGrr6hX+q3NgtFI3btfhaAFZwljTJKDCZMMtY6sEZEafLCGxpaRJ/ZpLH8xPfI1afNabOIm3Or
T563blzfqIoDUPjYrs2AwzrxyHbKNcUCCQ9CPyNCJsKK0IjiXINPlxJOWKyY3DrwgrsOM5w9Fxui
DLCjWPInmbe8tIjKE799rk0oYiwGt6AoxWyYNZpyuR7LT2zze1ZSKtX8b3kHSC685U3Tbqg9xrvi
pdB7qIk6ABRe8oP0p0GII77nZOX5/JlDMncg7wWDequQxTorHSGXflZZvka+sR5GSqb3P3r0G2IU
vpYIMcIlyjEfSVffvDl/POGyq2r+xne4RmkUvKrZu15mFuJfdNkMsmh/3jB8oj/lmMnGlbKXPyQu
LDkeamOxX26xieXlerUBh5AvgiOwmfpn3eG9fatWTJBvw8V7amYF6/4U3ejj2BM+laiTU2P1PB1Y
W4JUjRKLd5yfImZCMsjv5DvYZ0v/ML/k4ylZZdXHw+JbIL6hPauzKeEGfPzZNziHBGkpa16GL/N+
S4zNsQjQRdOfy8H+04AJuQoHA38NEuIFwcysO/VWH4B5eDhk2PjpkKuduyZdqE9MrrqXHMuaI1YS
+1FjLZJk/7RdBcFObKhBX6yfLo8AxuQvP8X+n2jDty86b4quBofs2PaQpiPBiB4T2ZT5y3vJ72yA
zACUtN3Upyk1+o78rLAMyTWxsqqpL7xrrUCpuXuS/gDWcHyijrSzi8ZYQe3Z8E0jHzb7WSiosPDe
RncHsTQLltqup4XtI3IN0+By2jbLgWKHQfUqJGvAQbyyaa7hJiw4QfuF386Cvfiqz9DZJV9Gudlf
xqw4LKAz0ZBfOZdeUZ6mAxw7ojc4C1AFsvEWYE5TideavQcREL79Vmx7PvN/aBs2+80KoJSDf+r4
LVoWPzJzwhb9kqDI2Yi99u4ZdQ7Am4A8LWbbFYKS+E5f8UJgzSN6vFXIJopv6mdsNwt1q2xvtoQj
3kuCZuqnupJ96pEX4IEJNpWIEO+bggg5LWu66Plqrb7x9P6P1118cylKssPZezrqX5aHVSVvPKLX
z7C+ztyvvuc6eV+kh8OgVEwP/lr80a9ntvgLeS3+lnjoORDcg9kfkUzeUM1uUW7YD7Uk9qj6qpV5
yxyrPPX0KyCVf9NPqxYA2V1RZbePSuXajnf3jmO4j1wv2jgnzxcXyfdv503fPB3asHO28snEhpp7
M3XdVq2O090EWfgH0/soyfWEw/w3U/64fsy+C75135z3BHoaf/bPUkpBVLp+qrGbVLzIsXA/tLiK
+3pAvWOMFGQ4h9++Ph9Ujn6CewFP0xxjsNg7gkiarUptaqT+4m1uOB9R5McdxZlSBbzZ32xmFH28
yPON+TDf2KCw9ArzF3u8vR+/zlQUKPNPVxU/PnB/VyV2SpLirrMyV274UuTmlBuOSAPYOFGKDRsu
CqgfpaXd8WONgOMSlMBmAWXkxPuDxkLWPUkxo707uD5fkcC7p710uCcGcBnyOBVUxI1hJApWfQUZ
aMx3Dx6TDb87jh5NUyaJy+EFyZxQv7kdnnJgm9EjG2BCvwFwwEngQ9tQUw9Mywg6/q6ZlrnyEJSJ
shyP1NPiHjSIXLS4zziLrzx3AYBtnXUOeSj3tBjX3PpUZ/P2x89m28a5+hexisfaUMPkKu5/0+3K
AyTCzwOYjj5dEUzsckQamVAVGDlklzXrwM6eZ/Rbedr/gqMB2g+ZcE+8wFJm9/nu7aFs+M/kYgCJ
ikvVRhGet28dw1B7YMWWd+1SBrpqQB9eVxAH/HUpTRJ8OfYBtMwBgXx/5DsuRqF5sdkIKRhd7+wU
ZuM2nuA8ZYCFmJlCZg2AAg6NKzriN9Jijg+PCT7xU1ngtSsp317pqAZq46ssmiZ9hupAvzUU2fsk
O9wccaYMkYzRpg1DoMWLJweSE1MZANqkD9qLQRJeUt8F6VbK7F9BgnC+9YqvVLy3K/oKvQURMDvC
UxgMGgn4m4FvbIfLISRBdBXVzfVa1X22TMLyj+G/Zm5emw5nslpqI3X2w+jn1r/0l53bd6qe+U4x
tv2lBHk8P45+0FPUQ98qsHUT+yTbYMyf5FThrILVaUm5VkqKvaCg+DJyQH9PPPfN5pFjaSG5lsJB
uHKfHzBRRN635dXmv2uYF3vgdGP0sqtnHna5u/GmdsH7OzZzfU6r65dRb7OuL1/Xumg2p/el5+zA
86WjafPnRJI5mgEQZPMqZaBsVtnLHuv7TrG3fZ28FMQtdrJ+/KQb35q6j+66xLG22LuclXbMcHtl
Xou9fbsssqs3CtfhMMJbv6YR13f+hLnPNOE8kUwa069Lfy3rszr/wjPlx/DPbHExrxeS/e6+YOVV
T+8lv5F3cKwi3e2SxZvicfSTeQpCHa28pV3FP6hzQqb9qqeaWQkGF47Xy88p/gcaL0gBmhM+eCV1
1axlo/Qtlubpn8u0sYFe6tlGnkH2Ydz4WzDZXw9l+pc2m6W2fcaRMv8cL5PNv/HXyBtBCOL6S95y
TNCKdJNJ/G+M//qyR7Ec35Xhicm4zkb4ZTQY18uDkj+ffmX1IdyCRxygPdjvZQ7VkxdFVmfLHDBu
agnbiCWx6HTfosssD9YCfBMtblKuXjLsfGFdx1cUJLSJrgcm3cv3hE5vaYz0/uvOaFDuLV684Bc8
w4V7GA9m/frhfiu9r1x1aJPGBZV82wimqytjs4jis8DvZkBKd6spnQUF2ctLKDhazXydK+TmcQ7M
yNen6QZX16ivcHwwxAGRshK2TcP/ZVvQ9hqNo2y4XxyWxed8ZTq+ch7kDZK+59emMsR/45ga6qAg
XbvZcSDDqa+cgYxq69VcMVNsoBtvtaqL2vFj3tlNa2e4LZHLrn8zWzUZ6Oc600eTiVk99yWVDEli
Om4Zdhjobl/269BLc+Cc17ykOVRMfElCzJ2/YqZLU9Oa/xgi5hnGwEWQPXwJDJrsC71y4TVv20cj
uvvLkUpn68xknkqWFmF1ho2j4SIntD6G9bZQvR3rWWrQ99M1YbK0CwLkddZQ2TJYSw0zwke3yela
W3qW3q6Vu/mzvELspmWSZ5Ey5aFSmz5PETnvM3B8kLKOcNJYZBs7DIz+9PTnDCOW8mH8vL+vFPib
yUxA6ZYGDCNiCIDcY2bzMj03U5jWY2qtMlsujgHd1bReGHWkoPBcMbu5ft8IuDub5oXTGGwXuwcX
p8uhwkdQjXdCD4YtBlve1HEL5p3UFxll1Idg0FJH57J6RhXsLQ4mgOueqS64mvSn0phvOjpeSVLX
vzQvO/q9Yw7SGBNEs5LypzisXEX7ATVdZlpReUR2Ft7WT+HSL/5sbZzSDbZt00chQutHAUL7nxx3
9HJtBg059Q6F1kZD+Yg8clt1PRfnP6FYzjw6+4O5WaQTg5xcmgZwwZlsjaVvRkgh4Q/G+lzE1j2G
FqIcwPgkjNq8X3Ss68BjoZfO3W3WCZHfGG9BkVJqXVxqo4PO6kvZXvny+KFwC6/bJ2WcxWxDXYt/
yAR2jFJDeFzd9fe9FH7XpDGJztOSyltrpc6t3Jwe76cl8x9ItTkt8Q9AwLmTC8vRmlTN0a+8rfWq
beSDd+NHeBGuzV4vw7qiUz7e+9m3Az+vGrJK7tg2mpl9Y/9eP53JhYF+cD9+q7x5zevvmauzbgiL
U4J8cy6hc9TYbjuX1Eta5mDMcavT2ZuXyn8WltxFm+hyypjryxqFja+E6UBBl1HwaEgkzbObCSMh
wV7aiK42Zd3dnrtpDFfOoK6vsaH9ryO2NAg9QSDv5LP18LhFGS72+dCFojhmrri3Bl/E4WRZsikg
gA8G/YsyChbfhh7q7vjUIhsWybqiKN5G6kltJoFi39mEi8Gk0J3Es75bt6cvuV56Jez8Rs9A7FkW
OYjebnBNUnk39YY2LHK4QdFo0mwWZzhfxRLhUj0FWn/Rc0ZQCmsIRDDEN5SP+ZVuErk56EYNreyj
NczwpzxjTfI4Dk5YZd2kDHy5qBG/tiZXvK7N1Egbuka6H2x/zbZmx+b4Wt1+zJLMtj0amne6sRT+
u++duqGHOSeJVezXcRsEa/NWUkvdZARP0fuz8StUiddmsvIqTYQkgyKXNIiXt5bW9HI/Wj7tD/VT
v/JFVgQAPnT2TC7yTexmGSmZV4FITAkpwjKZqltRyLByiN3W3ZnpRMVYfWm12fY9/nkCOVdB40Ab
7havkwSvglqAFSUWMh62HbA3g0zTYu5DIIYTs26HRfEmmmcBVSaeuVJboTffNPKf482TjDxJqoCB
cV1zFoMNObQDvy3cV1IPYTTxPB/Qeu17aCFp5AsBbL86K4GzOs7sLw9eOQeE7AuCAVbELVxmRrdA
M1M4VEldo4Hk6dhYXDwSbOjt+RFOmH9BA52m2zcp39vgJ5ZdFQGIdO6bZpai5sWsK/siOJMJWU+z
iERvBlJesFeu6ndDNwbbEfx5qTRQKwtvvriS9LYM6umu3DA6xghJtU17rFze7qJiassbrESMRjh0
G1ijdz/ObsMMRQU7vDuISHmo+bvlEucY495C8LivLxwIiK7/skHQbHDormRF151fjfPbivHCou7c
1e6N9ILbdSddqPvcCl9V6eRW3658Ofu4uCd8+HWUh6lFJ1N6wAWYHWucPFh6AHCii6+psUfz5nIA
eJwca/jHRjNBt1KkOJd5rpQxQb2b7bjOKFRh+Z0l/olJtO0OqRPxMjkOpunn88c0VzdFtJYt4ZNU
lo3a3tj7ZL5IOWO03+PyYnAoIx0prqwVr7xpAU10tLcgpX0zyBUKdohVLlc1B9TUPZjqGMXHnxh5
KUpEqfTJ11A3dt/moW7mLo1ZL6cOCIQKevlGEz3uqgdUg1wH48neg7ZYxsWQF7/nydAslCd3x97Z
9UOHzQjlOwUwu1cfxWzfKHM+dPeOQ7UQnttmWvuwaXOtWA78YLQW8/Ax77fo1FbPKPIGf5tys7iv
Zww7uebPW6HMgIt4KjkKTTt/GtIN9/9mBlJfnVdQu+fXhGJjPTDQx9ClWnN30NbStZEL0FYVXSVs
x5B30ij+ZlNPlobh9zLxHIhoLNz6yB7jSVc3p/OXBeY3N/5YSnqVblyu/JCVRo5Gc8wd5QG/Zbar
IXPXMSEz97sNmLJ52tVy95RQ5u2zf6SxY4MfUb/vDItK1esH1lswM/lt7741TIuXUcMkDx5tgBiH
EEVOnfX2pIHUvnnef5aPX04vnKapVusY9bB+PfU0HU5Bsyqcuh7RqHVqrzJ+n5kSyCVzVaA6Jqoy
I542iT/PbVX8UZwjdG/PieV0MsP/y0leRgQT1kjbyJ4pSi19FSoWD/33tHOxipx8CXkWEC3k3j4/
BoYLfMx2K3sd5t0mf++Nbwo/yhUx2dft8JIb/g+ubEBd+xZWspN4kke/1vhNzu1C86ANKybHD6mV
PyxflaJhZvLnHMI1L9cAWhlnTBJgfkzrM/XrsLSASlmOhwP47NhzW+36/oooQoG7t7bWNxZKkjrd
qVXmHwKNih82/EqJTXFAgD0zfbVl8afyxbxl/5cC6KQ4R4jnfvtnYZGV0Sn7u3F7y5+VXknun7r9
vI8pQwyDkU/vkRDNGdjU8PDbJ7ZCOpnLN4kQ7oGBVI7428QEDYVLsHjC+WOu6fC2hzvAlu3z5h4H
2+xGDR1q8J2zLLTZTAMo7z4mrAEf1y9n7HC+Y9i4JHpNh95u3eKegK9FtDhrXF4303oZ+MO/5dSc
rK0uqSQsRTLMDCTmCgSUqLAOg7lyi70KyxAGC2pMzWDLUY67N7IKuleGIeR4DbdV1bxORDWWBkXu
ChFt7QSWAFpRS9f8dopdRfUJSFCFYfzg69vpsKt3y7rqh7bu2gPIMEKonBGLU4XWaGgXmdYuT/YT
z04+SI+Bz431XoemnUotlR9aN8qubRl6SWqGRnz8LGX6iBi5e1WsdW+vWLyzuaL0LHVgnueXoHc8
L3jBLrjuB4Jo106XgmtodG2FoOVQH3jQSE5kx4dcGuWJei+ThBs+31GalGQLb3opsfcZMIZnk/Kq
iWZzgj/E3NOXe6NeHp9qVjXiHQ0mLzcmOr3JvRUn3TXb2LcvXFjHNcfUAYRT1qTKfC3DkNkdNcYR
/lQ+fJWZ2C3IVmMa9AZenJE4w1g57fgIVsju2Rh8vKitnlyrPwHvW/FnLgrkeGvPT9JwqidmCm1K
Dmf/QuesQmcfwE1II6bGHNiwwYL5eehZKRo3z8jCtpLRKhIujx+ogot3e1w0BFN4emJ4UP7hP1ne
SY49SrV5yJXvisYqY3u3rAdcoiwjeeU6SVZNRyK1jnne5TU14Bu0uYkE4P2WeJpnVMJwIVuTQ9Jh
l3pzklgbk/edXAsH8bPYk7xYv9Bt5+5UT1Knb89ILojamtwpLW9tP1iW6qD9a7qJ5JE5tsGRzHLc
+Peso1GThu90aFJJj9ehIJkOzPwWfbuKoRwuVW7fHGmfCUss4ZBxu64hAPUy94wB2HZZ9vnq4Xvz
nR5eTQz5DNzi5C7+LvqLQy1TaSAAYmaD0+O+wcNy44CApXjlYhBjUrNdmioZtzjXDGYExQOba4IF
+Ge9G+aZ4lAnUzubrAn3ejBG/J8XOrcfYCwSG8Pg8DTQPYCRiHrFH96NWM0TxF20fMMBA9wBDs/n
gjwyF0HPo134QtjrJuIUgoNmfjV6vP6i0ky6y95E0vm4B4pTtYjGGj2G7mwK/KxAJxsbIsen1N5m
X4i0ls2t59+lh/yytpKk7kDLiD6m+Nxea3soZFjKoRIpw0y8UD28JpklLO5eWEnOiRrTskkr3T63
L2+ecv+Vbnsjn5l/59oBpH97K1O2ZIfeD8sJBQYaL4qW/TIQ4MK/naW8rYJ0bvVlL2ZdiQHj/3M7
AczOVQjnTOby27mNWTOvTWuF12N3L6Dt+uMR+QEezDBkM1LOKpt25Jqm4C1oBST+HjR0UhL1dcNA
6ScVoX9i5hmCbn8Y695eI+LuEkrKWTAEkV1nuBksIMNpl9PmrL594XY3I5gZ14y8JnUznWm2vnv9
MwENi/nsuD1/mYTCgyn3T0SqbjB4w3Sb9j10hfJODk+oa5O3zDNKqvpz3zsPALKz+s5M47FoRCct
edtVGNf/XP8hHox1Oc9Eqm54ZQSAgLurLa2Bs7cNrHKkzvgEJlmqR3+1kmHOMIHmbuG0OSPV/PB0
zw8xpqnWDLClWyD9P7NXEovqfyV7p8nauYcHe2uhb/J7EG+SZGvZz9U7MP84OPf8/GkDX9JHiWuJ
69OpvJ4/1PDsBtwLqhj5wuFWG1mrhS+eteAhh9sq0Ue6O1LorG8aIwxy06/OVvrj+efYhT1eG4EI
uC/ZF+l9H1Q81b38dkRyPsFkml7ucAhZytoPsA9yBWHZxx8wiO8+VAjJBuCP8i+mC3E+l7Hz5yUB
1Q+lkir/Y4IwURpse3oAuySHy+sL+AlK7Q2fCCez05gN2a9+Y7D1FnpFKolsG+3sGcRsXZVDLOBc
H/1ufD8o28jtvTy8PE87R9NuHgbpGtAEkF29fMf6SNaR/Vi1MWkw9JzQE8Squ1TZanbr2WuAuZvX
GnFOR90iiap6kV8DYDA0MU7HFthFJ2MiYu3Ym9U5M/Kfwv3xw42wZ6llbyAXlOUYt8R+/Yrx3Ci9
rjASYyBbODXYhPqePkuev89toXkq/CRdSMd+14957aK/6y++Y+4+aiwNVFffk2/HPEpEDNboM2LG
alka3WHYPq9d1Zj6xZKGrWcetjWHJYjWpmF6U3wsNqbD/Adr28eY5VzqZXGHqae/GDzQ2KI2H06d
QH/0hhiKba6+09bYVRqwMnPATOodItNT/SpWL8sFEAEi31392zIxCO3KpIX3QGR4q+/PgpS8rRyx
f1wC/W8IqWu6rkKM0+Paoi96xngq8sm4Ww4ceroe353nLJH+dBZd9gKe4zFaPSuezfcQYIbzz9i+
mN76SaaaxoqYxRH5bO9PuHzlX+gzZTKHGUxayEMz1tK6vTNYZr6xeBB42Z/UwRqQLONymXK45879
ftmwvSzac9pg5XBfxjGugk7UEd83AZ1rOaR03YPT16YjHdvcBQTG0a1SHadYXQ12r4sNkxOTelGs
5QLWd0lUKWDgIPkC4BhpDREiOklCnUW2wT0JyHQ3/XBUG4ULXIH6rH8yndLXLMnL+LTrhZ5LRici
YBizmIMeWi5LuJctvgljWkXmKDHZc5Wei0MSP98Wz3/2N0a6Js7pcMO4fP9lQ5UURrEDLcLcx08O
U0vlqc04igVavNKr0nr5QZRXZ82gTxB1wRwGsLuSmMHl7xJVATsngzojW6Pw3TdafQ9qwXeDQgai
qYapHj8n0ePHTCooHWghzpFP95h0JutzRJg2EUkIOSnYG8ch+qwHEWChO8fofStisMhYfjSEzT1M
h38RgEVQ/9awdvJsIf5VsQxtjZWpujbvLCPyQyVGxrOSwuu37gYXs7Sv64v2zieG7Pi45VycDjWn
CXVDbKyfsz6o3iHNweAZa6EXG1j605aR4+wyzzUM6doHYBKnpYpLd+NDp8/ZP/oXYxtaMgfAA6yE
zcT5b8vau3zgdxKijxsrPIqnW8GucbsPurMyCdEz9Va3W3HsUQvFjmKaFrNZl6l/RhwwPbvansM7
BY65HD9rVQSRRaqTuqVyaPg/H57RI4iUCMqFj+7GUH51bOgnDAGjgAwbhFs9WExBSIEnOb/BB2MN
6gHJO/uBe8MxFVQF32B/475p3hYNzttKfzPFe1hG+uWKoALr1jIMEWTGvRuPiHSuAffQiLsa5zo4
ZOcYL8GINkaWH6jaF1Op0p3TM/uS/jQ4Ur8fPw0swQZ2p+HsOVW5W33rtIELhUrDO3MJcNfzt6b7
Dqdqmd4uF0/TkTxvk/zYaq9mJsvh/JyAfQyGFTGpTZeVDNrz5WFejjJqtWBogXxmJ3XIYpMxZ5ne
+QP6eAroNo5UEAWI3jetfFsTXtk199davKbhy6+egGjoZs+8RQydDvchtwuaWnmopI4pdkxkbe6V
1xKvzUMcG/uu6pQ4IB9SNHbnn3rk8UBr4KP+RarqI5SCgrtVoyn8CpuYj2IfM2Uu3Xo8rOR0FXJV
0Jw3JGIxtDN2fQhU6kk34Got66Eaej9Ma84mWMkmUnaA6gP2uIW6R3W57JyegJT/8OT/XZ0Vp0PL
tzp15YEtajRFh1V3kh3MtkDH/GZwkRFnLDdU6Dgl7/8ckaSJ73uy3O4takrz6vHFzIJl591o+lTI
V1ffBVqLD0CBWa3i4/YcXWTM+JhSuKAIL1NN+D4YD3HOLHat3ANARr6g+DJew2El5aGql3d3q1R7
NKoBk9xp08ejCbrU2kvQTS45fAyTXxtjuaHNyiwMFg91I+BdgpWeEZbmWINutGfQzgI9wgMyBE6J
NoWJcaUBf1FhYD8/E5JGfbxM/MT1ZwiGWT0aVZcb5YjkvXo8kCueQSSUxLpfZawcRb2rcmTV2rSu
n7oMPe2sj3nvfbmNOWetCxeFmVLpTNs/D0sJEnZ/rVwD8fmawgXmjAu3CSvrQhPXzvlkoi5TOp2c
F0YWd/UVCA4QGLQqKwk8RygUppoHbnd/+MkaUJCYeex7sAyp92vx1MchRrvhiB4KrTs7wwEQZ/oX
uya7UR30uFy046JVmLnWkRNGH6UHCyl9rb0tD4PLrplCTNj8s6MqC4e7a31c7KQjPY20gPtDmLHM
Z+7b+BO4qKuvThgEP4yUMv8Ayuwn7M0IBFeq3M/xp6zJ4biUTCdVcWuPqU7habn8vqHVKhiMntj6
2aQX2C9/mJpoGu6465cdpge5PfzedNNjbKKcrV25JTl0UCrDaMQJTcvNPgyJpFk2hCQ9f4q0P2Wh
KGRCehlVG1mOtnF7zCSd5Oe9iNAxg9mdMdRI5M1gyvcxe4F5TB6EsWsWzGDGj6t8k3r2EqJsDu+i
kqCkRNkxK7Aclk0aPVxIIEQpV5329ELUFOXAD6crTo5dmhkiA+dafkXrux7OCB1BEtuEZCjfLX9I
b813z+1UJ1gmxIcq+1w1K2F2SJ5CpePlAUz2jEzn2PV+uWg+nTpbswyxi2ToFz3DUj4dmYn5aQ6b
Q8pTyGl165UOl2CY3ZbP7T+wgsKVADz4mABxM60lIlHp7RCGGYpbuBbWB0VU+dOwj0og8OVga0DJ
MBijLTx6RF4YcW12zcybUi4UJHwMuyPTO2Q3T3K49mtYKTGHVovxwq7F5vBtn21bMYdCjeToeElo
fC7b51mf5Ig4I3+/H4xCuEvNIABS9Rx+FXcCIjF4ggsVdZ1pBp+JZyeQnd+/NcQHuq171vLbHAGn
YekfNm8bc1sIZ8lxPBVG1GuBZZc7UxqGwa3Q8j/xXD+oeXj9nVqqudUoEaMSEm9/Oq4CD8MO609V
OW2zZ16zESfbe7VGJTHkKs8mO6u8OJ3XBWPPlbArWr9iP1VoZF6PmbfNuZ6f99VFHLiuhR6GqGP9
3IoshRtjH/fpz/In0/F4eaikU4b511lmp/rJPW67fblD6NnyP7cUbwtHWWPPbuDCecz2Glr8XUU6
3/JRAZbqhHeYIBG3P4LWvLdUj+7QTD7saSQWPsKhTFTWQAxn2fRTIawfL7ZTDwVVeKKB37SoX/+R
yJcXyfrXmkematlobW0bovVk7yj9JcqqLz+j8a88nZ2L9A6OpjidF33djxEQ+E6YqW4Ao+wtuoXw
kfDPwIGcejrBcedDFk9tm8QlwbOLCiQyz0HZp7pz10lwii0+jyF4+pfTZOCQ2Z4KD2jMz5Wk9F62
GFCAKfavQUl7Ljh6U+lkds/r9f6CUlggQgt23uw+q2cJVjmkwdwxHtXlqjFrgTCGNuZu+lcVB8Pa
yDRXTTiz86l+5g0E45kLWqAK4sTANlm08t1jcGBOb7t4c8pPl3UJC1Vj6fNY6VzqSOMLzY8LHQ3e
qhWFmeZOa3IDwTkGsgwAEc7Cpg5V7panYIqsZQdSsJlq/lV5IsgXrYsBAkly2xrYUQ3c8p1EHyf0
Um1GG/qwuhdceXElkaRJ9D9d5TpM0SXGQKyRiPlQhk8CQGrLu6ER38KdvL0pyrKOnJgiOFUdUOEi
mW076hxjmj9jrVv1FHe89OT+OVNZu6mYHnZY3X2neLqW+me56s4Nwdj50YK8j35nfdYxlNrOa3/V
b6L43nrAEDw9AQbl5yR2ht+Lvt0xs6/tsbQUTemN0pyn8fBKKqnkMjVRlfuxE+PB7OOspRRQtwVr
e2CiyLYNbQdDM44rj1ic+exqXNtZVD4QQlKJrsu4zDRYIpxCuZXlMnHvNagVwy7s8nZ7UxArD5+9
nC0vQkvLj7678JB5m3yDmvmMLfXDqxYbwnBKg2etI8U59XZBQ0Va+8RyAha+aR3zVs3/JNJbHWeb
tZiNPtn5xVCpLKYet1+IdgPhTCm4qapfWjtS+DvIIWATwYwI0iPlQ3kiio2cW4RIOyXLtOvaH1X3
6L2b1ub5PIyWNij0wBzsansh+njCZTwZW5A8ui1NnzE3ryNWUYh5AAw5lbzwtVsd6So6fG/TSkeT
wN/MNw7Jwm8buYdtAcHpYKnIgY7UehTaMdYrKijsWSOAHey7Mg9UfyivS4St0oOL7cktn51h1WXB
Y+lXl40ELRqjwEL1Ziqs88pjYcsZRNdiyGXIiu1YH4XGk9Pas6UW3UxlUbdUgu6ohfH3zSZDKKef
Z6FyChWgqpGw2VOIuopZE8NLt8D/Y4DTNz9QAt88BmGpop8rYvqEaRli4nYwuvF48Rc339GxxLDU
sA14BFb6I5sHCGvNBKU11hIqbSWGqPam4G8SqzZgErNnULNP6XkMry8814Or7mpmr0Cp9BnP14Q8
VmC54Xay/Bpm6mc05jBfDfwb0A2RcJ6bX5bgC6g36JUdage9OK9bc3nQzL12lzerO1MN43OfP/7g
+rF/PASkZlfHKd93HUShtN70XQEDkHg47c7EQZ4a8JcNZuJhiUQVtgZqtFgtwUkr/np0M4lHPvcA
0aH9cIcD4hmFMYpzlRE6mCBaQqcCoquE8cQmZtuxS7v1MA8RdLjCMKLC01p/HRKSGJL+Bu68aLlU
x8/F+9+cDsQ2sm7dD1MJlj40l9aX50lvc67l8b3DsFSB3DMI10AUOogR15ewFDU9uHY36QSnHnf2
Q+qTqwZoYNrzFRgDrmr68xqEmtnbviq5Te98/cn+KO4OT1uE6vNH7r48PD5mX/h5N4HTSLOFZuFL
etQjI5TLa+aL73nf3Aupv7H5Gnt/QqfuJlkoLYo/au1XQJYhOACKOskFqX1sG6sn5/r8AzrEceuB
RdOBSc0UTARo1m1EnsoK8skop53+CdijxqlD1xekXX+FiU7HEcvu5y4+5rLNqSMCneDaGX+AMxcO
r1oFYUNmiO4B5IA/dswxB/w2VDU/hXD9+Ci9zmsQ6XmV1iPSoaT7co2FW8DD5X1SgiOaoBS9LD/Q
sKQ7KIfQSgbMbmGMXEfhrLEmzzdMe73HU6GZS2gVXt2DQLvZwlFBswXu3prTx3A7ez0Xqy5CKCA4
OiWnZkrh2zRnxIJRK41rsyeD29ew6JUB1zONpIyIKtpfT/Q9qdq6IY6SMVstwDDJGmNG7/nnfCvT
E2o2bfhF2CK9hQK7KRwvwLCAyJcvjNgapy8Jd4fXeRWwvuzqhGgkfd60N/UIjAZKM03SWn1AXSC4
RDLrQaaOLm9/NdMimsf5GqBpbeKRvIcRp13j5Qfv86fbNig6lLTmx9vGPALA54/hsAsGx2SDfX/M
GQWKxMF3/dg9oMwB8BVZgPvO8cfT97KmS2uaLzYWdaCZN4ICOaM9icHECXrHKAu0PlW1GYyib9aN
y+LpkMLOURWwb/fn360tRkK4P/XDaglateCKttw0wvdChzKujUXGvKhTMaa2fub8p8DKG63y7vTq
oNIYLH/OP3N1oVEI16eaWnbmEZManvEgBaHelxGf6lQxiRs4S9Y/8dZMW9hZ+Or4x5DZmMLUwlDF
7OEv8lQ29QswqDF7Ov7YcTHy4X//P2zaMzADGhrPgQeLQ4UaQO3ufyg9CbEYJP3cyzxD+AJXZRtc
q7zayLwba54lQfku/cPLeXZXLNbzAKdOTAWTI0ZdeMOyhcYuLBhWhHjImMhavLVniCgWW8yLvLEP
ewXWWwS55r4CFNUyYSyUvlzpB90PcF13vfHMuV1jzAk9UfWIlJF+iezj/3NS3MxM1dAbvfPHANwn
d6GEwIH3f6AFDH8vDTnPHJza1FZcXl+nP55J7vyRMpyqsdQqf58Y5LyEl05ys1+hhrbX2gluXD4F
+5fOLIBm6kjKQmzR6u7VRJyCC468+kp58Yndh/ncspUVjDGrpgZ8xixGgKtVNOrHLoDh8MVrB1+M
1UmHXTM8aZNkvgpfuhWbo00Q8yFcfUU/b6ua6NlTPALsMiQEoB9VMSHaFkwED2WS8u//AVKnKrMt
3ZnLDsfYvMeBRLVEdWMDdzo7ZyEfsFjn62+cdMseBpf9Y9xBLAM9WmaA9zrxuv/8q3uzv6azBh4h
Zhl4bUde9tNBfv0k0mwZ79sJbbIxCdp7rvYvk3rM7IynbLsJjDQ+Hge413hubIVOymew/MS+oxeq
vF6eto9eMwaGYV6OINv926Q8z/UMMh7Dd+M77L0PJAWios/dt7O19BaooloCGK1mAI6XZTqo2IND
C7QjBaJv+nf8JRY53QMcNwYrkBVg1Rx/G7PuX0HW84N+BywUer5xQ8ev2IVlYGqPun/iPnJBjYah
J2JKuYXh5LqWE8/3hppS0ZB/BAbsknEP9/gNBFCdFdnx0LHWMlRCvdTzcVRFdM+GmdDd/ms7ojnI
vO/budasezskt83dpLslJjiBaHrkoevO5WF5rI81gJP7y6Fbwk0yZmhJoMab7+47kxfUhtLz6dLI
QW+PQd4/M3XujFfNXerO6+V7O8xNmRxsV+XltlYSNuWMNm97refdiCJi0c31L+gjuB1nX9idmmv8
tHMVTaJES0i0UOr7k9ysV1pVb6favsP2s1doFQckC53Ufb6SHL2PiUnA/UU+yCAP9AXx9a4l3Auc
ehz+7eusm++NHw6X9qxLrM8Q4W5sMuqLlftc/3BQOl8H+UmdpP5rlU8yRBbN/KPCZENPSanRFEDU
PcoMN/Yq1UYgmSSNyIpL0z93znfX18qpti00duP2kTHM87HjLZ1bVNjdRTc1bhfpzFHQexWVwUP8
1IsSe9oYx0sk2+YeNeb51vfLvh3FsYQ/zxr3tcm4VkZrYAl+vqv0/Ys6Y7AF9hexXOWctEe9K+t6
A2WeGcnpT0WdBvl1lv6rUcLZ5y/XXXAQWD3eGFN2s57P3q5H2L2S9+bU+7d43LRTDK47xeZ2K7ek
ujIEY6RXTLKFVrnQWqkWaFAgMnrC5hYsit/I6JE7R4dxwKVbmj5VcvCS2h4rzGV94MPgvR35h3HC
DUfW4uDWL++qx85SqMbl/kivUmD3d6bJbGb6R8kpBKStOflkp1whLg5NzL6z39Qq/RmXAF6vHqVz
tTRuT9qE4POHynv29djZmpdKzkp1UhjAbEJE8d0dO6ncXbPUWo7Az8l+0yh3M4fq+GvbzC5q+SJo
YDxkKEMHlkvOV8Kid+9w2yTGSD3/x9J5LTeOXGH4iVCFHG4lZgLMFMm5QSmMkHPG0/vrWZft8a6k
kSiw0Tj9R96KAmWKQWTBSnJjLvq2okSv8GyYBmIF0E3vWc58KQkzcGDEXixUXK7Mk15ApNj8hjwM
VUyzNGnQYTuQtyriBXOVi+sd8ul5WR/SzUSy30KEGpDws5D3nbWTeQxjcJnWuVdjgiDXs186blUs
uGAjuuitLtpX39NilbLAWMuYTIgC2QTw5LB8B/+SXIdHeI4Apog4KO/5Wd3re/z/uUcnNd/yGNTr
hD2QuK63SN/8+9KmXtdMxZvkGIk0R9rWVulO5DkUV8z76S46Vkye5FGhGEWDzTvU7mnNetP38U7d
pOOb+OO96Q587N97ZJzMfBsCdiFrHjbT3j9ExwEI7Jx6wbHBa2Q1ay5faJx4b7qdjvOIN/ugbVPP
1z3SPsStbsTMTDvuyq1ONKU7gztcwxMAAaBnGC65Jfmv2l6I+gY15xzt0GDJiuPLKdIR4eOIc9Sd
6Q1n5ZhNyKNJWQNo5IASMBsQwkYnxwI8ygdlBMoODhB+/w7XHD7AB/YFBm/OvcSxuGQj6n/8dGmW
7wWoDft5QZ2sWBfQtekaZ335nnN4ddlLcuOd0zkLSNka22kSy68ixagkyUbZVvtsL/bVZh9om9J0
636vbfncOIiNmD/tQ8sfZJJ6vrwkOp0bkI24YQpkFvMc19jyeZY8BUs473VjN11Cb1pH9B1xpSxk
zm+sc4urqfOJgkX1xm7ic/a10K+/ATZxumqBMbesKiKU+ortLXY7Nh7xTX9K9mJnAYXFq6EKSezM
xGukXuixkXnWaSLZhA2UvjZC03J+n+h41kjatJfOT3A1mOvUuxMvq73JvWsfuKEdbB2P+fXfbwhE
Mfjv/AoDT549V0vkOJ8MyBshd0qst/bFa20y0UrTQM3/S6AF3OW9FPok28Oqz7PYBdEGe0F8gnPM
E2ZVo91ZzrqBP6oTiud4c30v46kCnXPAuI9xEq0eWdaIv0hsapa+F96CA/FgzYX3ng+os9fs9DOI
OSlSIAkE0hNLz99wgZgMNEvLDqYBZSAmRVSmu4kSDWVd5ftuF7ssFd/DlPtbus0SETjD5bB48sOA
Ior9P1SPIzOJXnglsVTnpx7wEjCZ2RCORlAt/db3AHKqfV8KkIfHPPLQcAl0FX2AkAoLaXgrXUC0
mdggwRzx/5hTD+RPIFBk0MgOUrCG9iKx+oAqm3dVYD1o0rD3mMoaPpNsI34XXhVhGNxEEdhEchBX
8AwrgBVPAO7O0SDTy35wXwA36WfDx3AIFRm7PNHZGGXrTSypHVmgzsZyG3PBSR4g0Pcc1E5QV5uG
OjdqsLbk9lgn5gQezAfWXDbxt1KXMYJ15xDetGMfbfZ4GbUf3s2t6mlbZ6PiNFxabvE1ksdDEPuP
5WYoA7hsD+6o6otbYHpWzT712BlZPjMrgs5H1iLbC8vTwmU6L3hm5BsWKC82APaMlzy5VQQA4qdh
zDQPsWfgc2zjvYK+bthZJ/XCsuTF1iI3WOzwbDgw49hNT83OgkERtspozSrNyPxm/xe3DiFViBLb
NWwVKjneDsYwQVFZIkdcpqPbG7+7pU8Ah7LgKQ5gvJf6RzpS3QYS3vEWIW0hWXVcWmgxLs6LIjph
DmTsIdGUq0OZ7BlRaUFKOD6PI6EuMRo1ZBIMzcKtSbTmDcEoPadnSwju4IfiGwQzrwWMNxSM0RG8
lyI75t/prVDWJeUsJGWxBpHw/HbiNEsaHuICUqBIgPhPUgR7Az6Jl6nsdoD50QEocIYMZlmDsIDP
zd8NmCshmPO3kEylbnTQ18YVvIe7EjoUmgZs5smwC8qr4BAgJw0YFvOwg+7JhUoRi3jHDS7i8BBf
k4QHYteKpF/QLajNJyEq0aXns9WnwAERI5YRF2KJkAABo6ga4CVmB8BityjWiopWnC0/PrWY1Ai8
5eCAw+sCWijwJr60AdNUVsoNl2NL9wz8F8kSH2wrOD+YnMkW5eQ8c3cWF8RiwOKYrDFvoOUimc4B
l+Py/pvtq0P3weSL9wSa0hByBUAygX9x/bAekIrwweBPYIk7pLt/ZQ7+jjufowFQI8QTmWMiZHsA
6M4J1ecGJZZ8L390B368KA7By0ALtWiWYrcQ/Af6EjBG80NE6VJDSBgygQ0ui+xs3kebLOJQhGnF
LhJ8RAUjizPBvtysLQgLBM08qlR4Gt4Z7QiwKrY9lgZkgYgog1z2d2xdWHHPAf0t/KIsnibewtcq
T1SU8IyWsHawjPhHnrGgl87Rgaw9SN/QvLxhEQ4M6RsvOnEm5Q/fG9GndExdDAUHfmDpskOAzhvE
/bcsVnwEeNHZXCxz829rMf8QR3NvrTURcfW7np2CD1XQF+yNI9FBcG3rAtYjJ/1rwiPqcTPrF0Ju
Ygq9V6T9g7lwBgjvfNx4STduZuCdU3Dt9s0D++6eBDCXWV3iCXxrvjoKGUbmq2qPLdc5YfgVY0k5
vFEtYL8Xe5TiP9x7Cc4pYozASN8Fk0erFYSCdmQ6WdeLBhrIdJbaT7aPoXj6VfZbTAs80sMG1uRL
cquNTKwYaHy81g/GD/Zg/kNUbPxucOCfeXncuwyNgE7xmj1tkQsI/9U9ho32Ksi649wVQo6tBPER
33I3DgC9ISadIxYLilvPyBjQKmKrBfImZ4dBGokIUCrKDoSxq5abV6CviUgjArylukGEPGQ0TuF3
Fzn8QuVIRQ4AKYsQLaSIo+RrpA3g+m9EtAy6HVSmT4HXwSKScFJDh7WQn+sMkR4KCbJeamAFFdn/
+8z8gBug/TIO/s06qMwwCxAfwlIu5Ve46jf9Bo+fconxG9AHK5RpsrW03s0X/5qspQtinzuGBbot
GafZy/m7wc4RbUTimxicLQ//B6JoQNRfIBmL5K/5srclfUfJOvlL49lWfoVfwT34O/QbIXp7ZTRb
ASDqPaE1DMl8I/I8R2xywHCdpxTbRugjszPeR3wSC4DMCn0WeCNYaHROzuUROIQZBVTEQBL8BSYK
ShR+V2c6M1HOOiKhJVmKtP+J0I0YXSsoq7aw8FeAwxHE+gWLjrZuScIMWf4yQixieASQS7sautTh
Ym1EJZlIbj4ZKwISAE6oC0Waj6ILOLcD28ZlVpBGjEIGrTniKxirT22RpUgVBXVD49RLvIWoXUi1
Lv/tMVAS7vhjo/1shSMPJB/24R+nAYIPju8LQTob/PBJCiY5NaC44sUjYkkE1Cw0eERlJDAg4uP4
TL7Sq7h8CkF0HG+pDoNsRt5QiuZtxPsCzsSZPW9gl6vq7YZqYiH/jUzQOyJ57rjDBc6UryoR141U
wXrvr2iUgj2MDJAl4bWIL4WkC21KgNpUFDXNBIXztc5ekFWUQUCxQNsviBn/ql/qPUP2I9JZRJQp
c8wF9kpQREhmIBJFtoVoIMPeIYDICBuX+RdoHpxcdE3NWyEvUla0ybEDjiJFnawk8qRo1dkhu66R
60VYU+Sl4CvYl5FT0L4mwQV38G7aCUL336HirYRkEwOooEbCk0MagSAhS75wgtUVlJ5/FmFQsJbG
VTAl1S/xEjl/qzD4lgq7t1D4c69C/am7FBz3F9YKWA4l6l3IqFJJGIyESjI7A06p9wi59n9iZqFE
FRJdwcyQgc0DHioXIdtN0D60teFpQqL5gg5BC/Uf3onJG3sRyRwXMGqGRphdBDTFJ4voFL6o7uTf
f9uf+hUJrkjkJHUiMp6fSSCzyOdKX8Qql8vwuvW3BTcLUDVS7VRAtuOjBXAkXRg0AQw9WYd8AkEM
avQ/GLUjdCN30qQ8kE9uZbTr6BvsF07d6/wlKt+p4bsWZ2cl39FYCM0xbXJsUjDJPF+ZjsGGhT6K
BzYPownnADMqo4eCe4WCpuiD4yBPMkZ/0lmIlsyEgs0+F7Jnn+GZxVhAMj4hRVQ6iy6q4SKcFDTo
Zv+SayaecSqiZhGwf2nd3uWZ+G/EZi3h7/gl3YdgVWywMd5wkiwIN8JKd+AZzYdi3Izk7ZCBdiRE
fWY9M+0AB3sWkyR6IZtHmfAU80niVliF8CAo62nH1A70d2kHEHOsuaDM8RFDARVw/aMLdtrBOsC3
2OLvcWfP+juaMqZ98mdusITQg4zxPPqdNZlON4YN6Rt9C1VMInaWcCfuXlSeXDwMF43wufnnf72B
HziZpYYc21u2C6+IObDiXzmIDChEEIhhGSV5/CB/2JwzUKejaKhFcCk/QCetGA3PL+CjOPCUTOke
x/NsT/LIjQfmeJIPjOU8F8G7gOx42N7Le/pXelmvktk12Kke50sOEii2DxlPbH8l7Snn8kKXG0Pa
x6TUcE4VNUTVgkGBiZROHk/GJFtirqKSiPKtf3GynL8tbh8cnGhLxXabfqPSQtnmAesja/FYRfxO
rLJzTH0NHFnFr2dEJHuKvuYBYtBODP1NMzSiCbkQRbFIesIgkfToA1xLKhFYOe00AsNCXWfpAQEY
r9gc36QB+bj2bON4U3J+kkNlM0TdarTjQ6EAZU34abuQJqAc/XW8GkJqRbnTqtTYR2l6cILbEMCb
YwkPfeBQnRByonxrWXofRMsCgWMD5VU+OgVV38STvNZJd4hRgSWKs5HS6KNXJjd6C4OciMPsGA71
t/yp+miObIBFuzD/5DEBgpTMctgwMX32CunDAOlFiqgcYKXG85vMg5uaOIwsb4iZn9l7RqIka4ad
Qr9pyGGLHktIyzZSkrM9MhOli5EVSw1uOP7IIA0VWH7uv5KRwHt7YZrBclMV3/YwuFJkLQdYiKoe
1kUauxHTpl4hSIhwEjV4DDWKnJs/dhAtTfLbC4CyMomEqzNVT9HkuJHabLLI2Zr1veC42kUa4Q7+
ShPxHLzbfpYsdGgI03w0HDC0VFp1WbGPVJoIrGVaD++D8TWxRMwOK5xSr0YLl3PD75PRe1cQlWy1
KzU1VoGGW1rGMg5H66waktoCDn7RDG2qReso6v/ohuqqWelGevwYy/7RZltjGtaSRAoih8oC9a9i
2YuR8+YIozsa5GZVxsbGEWlzhOUb1fquxUM2WPRvgeLVtUneKsGJfbXVBQHkYEjgpU0DjQ1+up4C
aq6spTySTDzKzzQYyCOiJo6q+EkmCxLJb65370U9LCLeHUeKNqqfn5Wg2toyl7nG/R77S0ce1+3E
O6eCfI9eWpNWS5lsIGMRIfZE9sNl3fOTaQBx4hnmE4+CY29yg8CjdlzOdrYNZzKuMyZ1bFuSQQqO
khFfOVPYUXjDvBsdZalG/iok8SPQkKf2NTKaCPmHMsfwr7YCbO9Ld0PhviRBxaq3YVMt7JiK9pcS
OgiIkR0oMr8Ggw0PpBZlUSmD01FvohScESAeJLolg56z53ga+3FVBs5ysMngR4RB01BJe3OrjwSW
lue8jE/2uKyTbqf69q5gUMzzZ+aHPy0FzAVjkxTi6s5f1bSb0+ls91S1InexDeak9GkrSE7qhx8x
yFKUEVYguVjoc+dbQZEWBGQENgi6qpMxSyi0v7RIXRo9v07qnLIoW5vFcIiK4F60TvXGFK5vEtK8
HfCGiCDr8bPLwaENVqFjrYcs3dia6AoDYUiqlS2E7wboqfnRcKHC7snRO+14x5A8FlQO2FV5qHiB
Wg4SaT+7kEkTLNnqpk3to7R0Okru/zYIpEsOTZr9Z5J5Q8j5yyTTNYFBJU6js2Xu8iy6j0SelDKn
G8A/P5ZdzZ5OgQUJ9mGTmhL1pFL4HIybuyUtTE78ebFNh5/E/237j6ZwK9iDWNQ9xwcZom5aqIA9
PPBiFz0OExdjF2Z1wlAYc9vmWcqnmlgThGFd+1WaPymJOMiF8isB0kl9CKZFywN+XhctcWXv5bQg
FYcK7DnfaIRpYvMcb6pJMs5FK7bs55rp+YM3G+sOfeokKsk7893sjjL5uNEqzDwlPva4UrXlYOyG
bMs5sV1wTWLOQc120s+zv2YKkmYeMolbj/vQP46A0R35Q0NCiQoJvX2QrSSqNtKNQcZzVcpuWBk3
h0duPSPOAY6R6rNRhkRP56+AFzIbjpeMyeESDCmZJfV4z1OyUz6DUSE6vnh2uvUYVYhhG/Y5m4Nt
pWibGnrd71IkDWGuXPtoWgQxhp2q1d50jT3O8kdPztp1n8ZnqS6R6MyT7XVORlJUkwJHFds+bP7q
Hc+zip5DU12ENbAFDJQl0nEb0ouJMDJRGZT8KIfXO0jWyrSbHft9qC4mHY7Wr8Nzkgf3LhL9Uf0z
rx02RYSQarj16894aNnGkNZm/cGgzrOWLLfL50dgzl4wpodw9DcBqGNUMzqaiuMOCpvgpENaBfFm
SiB3Sn+kxyVbBRGpTKp9sCecBV3uWqXlyeRu60OwNglWqpghiwz0amIwDqpVr+hrS8ZgEDskP9jL
1rQR4hJzLUcZzZJHY/p1rOiQT3hec2tthFBGvEVTm+47h0xfDb2HQriSRltTKmgqGaVCCufKVDnp
ruLX69bekVQVOOkx1cdlY0h/SOxPp6tk8ro7AbO12k0N/GNIzngyIrbTJkTtyOLL8WXI0iLQqLVO
zJ1dEqqPoCKVKF6bu+ySqTLNYDXJI6jBovnSxL3XtdWfPvVPUTDsakSmUfjIQ+yJCbilrXlGVW9M
Zzymdb1MA52c4/JWOeGmThvSVEK3s6PjiKw6yNhwWuB6WjKjYnzJcTyxyO1lyE7CLnSa8HmbiXyV
LHVXx+ZeAb5vcRNN8WPIGCUDGS9NJuk/ZcTpWwrq1zDV27qG3zdrqHY9WAQwoaOlkrBeU6ttZv5S
7XG+luVSmrvXJDu73kxIriTmJIvoS+MyJz5SnVxyc50MqSB41pJymVEh9GaD1Y3vqendh9JEf1oj
3qiGinyfuS5AjSUpxqZJiOcgpGSsst/GpJC1whQpzYmbcrwU/8sl2MdmaJayLq9DpXxViUyvV8UL
ziRpY3TRKe5mZoZrP3/4KhGjkJKB1e8VQd7MoKnYjQbV2TQMh3JoYuiHn65jMh+x+o6fzqgz5gHf
NoSg8SYqUGEhAgcMiIGxk1qD6HJUQQ3XvKqfik11TGy9VPqGo/Am5/MuAwNRbXNb1fZK7+JXWXKu
HjhmBmjxu+o4xSih0/cwiW9ZYR5DDBAhT6ywUq+Jr20kg52l4wQS+DyflYXRaXs/bLZyqazDuGRp
6bbrs4RDrdrrGHkRMQUlwaESg5V+rmUarGv0LiO90Ckn9zJbZv5wb+r2r2Poa7vUqCo3sHsQCDqz
uFsS2jQC18zETehmUnKmzAqzH579Lv4sAFXVbLxUFpXwOkh3kOmuGkorI+SEVJ5HwxjfRt9cjVmG
1Ea3ljMZCCVDbuErv2WWa+9KgNneD5KvLJwfM0r9CtlKXgaEfFDslSkBHXiCijYA/qTO7XXtT2tx
Skpo/0ilc+RMizDmQ/M6KPDnT9ZpMAAbqvhhkC40OYtQr5emSZhua+GL7OgTVHO+6ShTVDBurLAl
GOcWqX2+SxvSVKCRY3qRlNQC4pg/ZydweQ6kOh1ucfhXU3AVgJGnP60EgUwEU83uXNTsWhTyFSef
gnifU0GmyKSY5vsgnY5KWm2VEEAy/tv27a8vdc8sUQgri6h9pd3EAie0EU76nHVSfe1n7cbsSYdq
q03kDJzQCDafR3kPb8PEI7HvNPq0ccr071zx7Bxq6JGm3AR5fOxIz1DiEJeBtJ1maE6Tphxy1As/
Ohq6etLta1nKCKkbXOjMRPhbUg7MbSWtWtnalHmytQxounakST1fRcShtAU9QkX+GHXdExeur+1t
nfNYJ1lrzshW69qzktaHqIneUmfwApUZPLeh4odqV2bxaqoVbKuaK+VnuYQFadWNNTZkZJjqxgcP
ncd8Zc8GZ9YcbL1AE7HOZ36vbOTQnKfqqi5CYkeThyGh5pxahx8Rk62PksBJUORkazHoqfX31JB5
n3tRL30YHA+CeDzTExMUCEAjAywsHrZS72A/iaSnbHZbhsCkQXetQQa22yJVYTzbkaa0MKB4V+fM
RhZUgQ2lzjdTHv3oJaomX5r2vfxQo36Za+CNDfNAREKkY6HsVWDLiwlaRrM20py7VRWv64nnXKut
a59LTPCjbh/bBmuhPcubOBkPZaq7YQntRbljbwOmtYnEuK0G9ZsaIBYbcN5yCjSH+O5k89EvfCBR
Qgnr6DNyUjCFgNIBMAAewE5cXIryrzMYN10KtlpKAv+Yo4apdTKk9E2VjUu980FW2g8/x8mrTwz6
IxBpjcR7Nl7ZAC/o93etrE9h0vzNa+00DMM5HgMkHXifIsl6qNr0abEotDzdWVILtkA2irxNxxqa
fpePnNDTkBsW81qSJ7fUGU9t3p9bPTkaSUTJKpkcacuhY6DrwileZlWBGbRQvp3T/JSpfwsN28tA
7mVL3/dj55ajeTIasvNberon6xxUv51ewMDxoLIGt9QMfrXAbe1y239xMH00MqKrKZPPfUqGru4W
qeX6UrQLtRG6nxPCCJSn+RiaJt25GEOCot/kEFIggcSB6wAMfM71LrMJmd1a0s4mvlDgmBmjDiFQ
XoiIyaGATqI/N/Va7ZhbZxPhf5+edQ3BQX8DPSbrgWgIa0e2pKpfycVLkg9lvsj5Zxi+nOEjZ94D
R6KrXP0xSfbiPWpOk/w5xLv629B+lOkR6K/GeIUK2PtnwfGD+TXOz7l01xCRtBLKdBQNVNbwZ/8u
shnD5wSc4XM2UIqbLp8rEKQEeht3U/0++M+uPjTyUWp3PStwICc+TujpzZA44l6w90zjEmNhpJz1
kR6pautI5I9OX7Pihh2KIkTY3EyQDIj08YiYjdtILqNaoiNwbT/HWHqT6mMqbURSKyy1vJbk1RgB
acDuJsCL3VdV/a1qNyeqVL8V9a89U3IFmIjgsNzH9SucabxbZzZ5hRskNw7cD/5TI1hDzpsy8x72
fGTiUINa/94CRVMfzwl6QmfVEq6paXyi2Mid/D4Pf53qoWZuX12T5CDVxOVEE0F5ycGU1nZH/Kl+
jRPW/Nbsz8ZIdPbC6akXWii8g5WnzF5ivLf+Pgs3WbgbJzcrSBAKWAU3iXkwB0Nc+R8Y/DWQSls6
SbhFPJsbmXQBHZRWLKGzUh1jw3alAgv0PL2ngCsYpxC3VUA4JgzzU+J4hrqqe0TSCYZuNDcGogot
vo/la8xfcQusRF5hlv3qdIFMGBdNWFOViYTrUYXWuke7lYLp9CWl5NOugskYx13oRKgaEyVYj6P1
t0cKFHJgSutz6xP3yEbbXUa8qbUOFGHfRyJ2UDvBv6fU7zXHGnYF8RbNGsgOoEygdJRnPL363HrP
2JozhLQHPblJw9lQ976/18jCCKd3y0cImz7n6HsmW85McYnSqj3DW+T8z2mPivS3sm9xd/MnT4GU
NAdkY6QxwpGhYf8oWlftFyMJpxqPPTewqX0ZHiIEif6dbfkcvzmfNR/NZ/xTXXik9GuAuspczPNV
Ko+17soMe6mKtwBdaqq5Kbdydi2ya2Anq+QwoW6Bto18DTszLhgQcnXbOE9xJvoPMiaIoUCBSYMS
tWFwrx+p/NDNVd1dDWPDsyFGn9KQflJcUb/6EyOh48qYNdAAwzIhmOlTt6auRZoeXXfpStBXVNLK
hhDbvjoW/UVOtmX0mVeeQ9Rc9UzUc1TuCxAAwijtqyQzbEKvDQgAA5ZS6XiztS0I1e9uEwKt4eqo
HxGu2qT+7oiugMjQqfRi5a2UhgGr+naaZ0TtiPbb8d0AwvIjoBBLfRViQcIsDMLOeM5hOH5vkCUk
NXYG/Sdg1iB8WSbiKbjL8m486THo80ddeTbKMwkUuvR3pblhwo/ZGXS0gGckK0rHwZF8Z/8Z+Kci
vYbKqbJxF2fLIM7WWZkeMk3luBWuIuOm2s9U/62ddRCcucL+wIl+QXxXi1CwfAP5guqxBa3dTrIH
jAnSZr41qr6oNREU0KwsMO+kDFY5bYSRzX5kojUJlfeR0R3ivLe/lfJp+WyoJSoaupZqL4AL0VET
QJe3xJCaJGKWPxGK4ITaZQuhQI1qtqh+lO7ZK+hp8PH/BCnVxesh3AwBJqeWHES0NlCXeJlGJoLO
8SoLQatCr3ktXP4zBTANhfAAndyVmUJtjYFtGklfzLEZKAqaQr4N/WeETqkAeTXIObWRTTEvKnC7
+FIrNjYrx45u700iOZt04zhbu3JzwpzVCiFn9RYSUN02+bpRX2r105W/5ZQus+TBMe+95U4m/i4Y
P/Glp/5nMn4qhAVwgA7LDcZlqWfaD5kkAWOTGbjy6tcHDewLAxfxh1a11aSX0lyB2uYvv31J833i
QNOTD5fvZO08zQhaEDmbtLKWxCAzOk3CFG6nH01wLGDjTPL/fhJgoYKnbEJDx9qUDlr9GutdoRM4
UHAowwCO+jDxuaHOTcIHqHZjzouqU1Ixblzanoy6UwpuOcZ/gtY1KJEb7m2GEwnPw2x9RdoNw6SG
BEOXj7QysFg6ZaNwWgGP+Ve7PYLo0HTUQsmcNA5F6U6rPM9Udul8qC0EwiRSUdIbkeK6InBarQ/0
KjrdeoRo48ihVz8RN5biVf0dWbSaAVhBywy3YX5xhOTQcisd/JqDvJ4JI2kl0AiRh80/y8yCaBjT
zNNjA4XeTSlRs8Bh5L4Ekpy8S8EG9Wk/3uz5YlF7wlPMdNhGP6yaBApkDHjZdYSQ0GRtfgHRffPV
u6ncI+Xuq5+2TBMd87GsbpN8D06Fz9nq1k3yKMxbw6lAvyiRG/IoGBClIeLAOYeouehPUZov57Bc
GcozSFY6rF/nTtGiO9XRhiHXkTZ54bYdVLTxNjnmIh9JPZ23Ms9LJcUSWsMLDnSIo/gLuAQBrvp0
4JDhL9pMB3CBnyzWDqXqA9Zp2MhsyeBXzsJoOROEP0I5l3/1+m/B+UDVznV9i5GzZ/jwG7d01rmC
LnS824pglGrDNSvSYu/1/KH5ZAB0f6q4X07dV6TvBnkZ5I+qBSC2Reozb6K/jceDMX+0kNZd9lXI
Ja1JhIkvdAbtcROMXwnJsCQnlf2+N1wLYk8+9Bzk8w7lXrNicIqSbcNDp14N/jK3f/viXDTulO11
rBMx2cQhOcEIlvoqdCcwBAIdEBiZ8RXtZTFtUuNLha/LTAMRK0VSkGkqCOYwx2uZNOG2sTcqiTtp
+OnEwmN6QeXCFWnrbfMbKOdQX8w2lPVwrdsdsQaz+e0I0V6tLof44eeniuoUgnwluOq2Dd7D+iyl
f9rElXVGsWFv6ZgjubWsgW46mLqixfXKVD1wR5aDtFB5RNRbJfqsbIgT+8dYkf0Z6eeov9jFvki2
rXOneoKgQN0nkOXoEKyvnpsCn3siw+BRTJchJlFbwlH5Kf0z/tawT5WijLBSUGtYm9CFskEzScUi
CTAEWRA9bQWEpuZf6ug12qqrVupYEweAh7p5msXJ5AmMRMwGdGq8wjqZ87NBvwVaEe0CdcO+Aa/D
vtNO4Bc//eDghmYTjwBZ/8jyUTNZR/WhyOWtHv50EXMs1TMUVEZezfauuJb0OalrOSUfdN0RTJKt
NOVQ114RnHFCj+RfU9UcrIgkrJu1HTAXCaGBJi2IsaCbFmuItSpt6b0mQAlfofnX0tv3DE1FHV+o
pUiLZ2Y9bIBXlQ47mU0OwVD3HDvqOs8pjKFmpmw//dZhH5jNo46O1z/a5YcTfKKsSz6zgrNessG5
nmLL6JzyXao8SSCyofxeC02keEohPSbqjX69lMUBXtKhB9FR6oZPn+oePqBo3w16DF8lWOgD2xY7
o1Gfc1FYsW1oIyfxV7rG7Hkdj3wtIgBZxbdVfhc2nTaopLLu3hfdIXU+SWqFHxaJpxG5nYsRe1+0
dISQYUcGM3rompuct4tzCJF9OG4JEjfKBTmNlr0ak2Rd+oxM2Rf+oBnduqUhGP5gKbHEbNWbuTDg
dOYuzbeNgoo9Ub5a2yFHGIjRNIrPXkU1pDonU0dQIzlLuQGHnCfXsIujPA/nlrpPNU2YKNozY9w9
y0uaV8Gv0r596kXvhbHujYELwH7juOGkjZtE0ClDYB+KgebCvr7mwuenSndTpf6pCU4T6H+lxtdK
GbdhrzHwIVt02rNV0QAI12O26tGJbc8GgoiN7JRBJ4ThsIiV2lVlTIFWflMwhyj98OX4xJ4FySa0
ZTKps0OvDvs6kE7GwLad00SEGDEDFUZ9KvkocMIkw3dhEg1O311tWV8lvKzkt0zaaGJUqXikKrNE
nasH8V7VUr9IYayVIL36JV41DYW+JupD+lp57zLgBpvHl+4TA9dZRHsY96A1dnlJ6HB6LX2CoOb2
N0JTWaId6MjwavtT3Sp4fV5K8WqKcZmztUSqvY5YYwl4RlU9cqCVsic/hIMem46+Geo/2XRWQlwy
BvtR+Q60/Ma7lMQf2bQF5FgpIRBrcEuo+mRPU+t7HBDkTDeDyLO04PhPPH1pDYjwA3yrJM6jk0JJ
8EcnKb/41cWYOR8UuLw5+LAIwyd3S4wdOfflMpduMscbuXQL8iPEvrXOmPSZ0GPUgMFDaZd2jg4c
ik8KSbo79SeJHJXuaJD7q1wK+tFhOUqEt+27FF+gSbH5+UzPmAKaLfNBRUNe/OhwBUgn9sWwxVnK
hLBkY0EVMKBibrbMl762iyps4qTpfuomATjaepYXZrBykGlQXx0fkn45ROuhP6ek6OYXR4ObIgL3
ZXMMQqDYe225K42t3K6YUvxiTRo1vdCczsP5yvUxELBk69Lewn3N3H/dp9nTN8qYFHOUsRdAHdN4
CyjuSUgxX0XSQ542JvxMckhrT/cfUgjFw7ik8ppNvi2PlNnayMZT5zgRtzuj85z4DzLFEZFS6JVF
Qy0jj1R/lfTJQsPkrhC9wnMw2cclW2EkbcwRJtbqya8fo3WWGscii9AA0gjH/G3OqWd3Aem4s/lW
6D1hjDmJ6625kSxKwrBQxIrtCTD/Ijc8NovyDJR1lXhKTYa5dorgUCfo1/oRsKpimI/wCtYBBdqT
U34SAK2jRuftIv4FyPDJH/LneMM/nL5oP6djivMglnrUt9Ebapb4h/Qp9DiEN8c/KFkGApNqEdGK
Zpk/ET9xdxORkZhvzrf1tAkgEekkzEwJVUnBxXh2H9Gl3uYguW80pi37bX2qTyruQSIB2q3+8T+W
zmu5dWRZol+ECHjzSoBWlKETRb4gRJGCJ7z9+lmtPXF1dTTaogO6u6qysjKRy0KK+3kRPylbWGAl
9CA4UWimrX2eroLlzEzBi3TULhrD3FBAoJ3PnLtx7+D/0Kike4GVTuymX8xuYcbI22l/0YKXKMeE
boVEuIFMuucQEEiAGIkozzy+EHN4yY27xcjc8wss8MqQSveDrPYUePTeg1F8TUxlXTlfIYZWuF79
sLcYi4/X/sNZKWtm4eYSXJrgVzvYp36nHUDJfoQ8obBEJwk/4hGzp5ZgLvdSfYBONB/mJ9rj31Cq
5U+IUfo3V3862t/wUuxHddFPbATuFyw/DbIQZuic4xm2w4hoC3F6qM8TnBGE3vAOljbBE3pHqB7G
ofwyfAki4NACvPr6SVebpcwEcRAsKwm0a4gE5mbqCiPIxZvSVpuRQ65o5LlWwKIY69nWx09DVkgg
hmI9adGXaRY0E53VNJqLoEUinHhsBoduILetEhSVZVBQxswc+MCOtdMbiRo9uZk+Xc7RWhkd0+cp
wkkFr0zzFqpGHv5aXfPqD9wYR0Kyj2jk2IzLo1GGr0AHEqgOCueDmb8bqMJ1oY1VSHKIJvQK0ZkD
Xkp0CIixdHzG1tcw1IdnkhxSrdooUb7oen2uDqanwzjNFfNaqcwbgEs8B21TVCpouXNsatI7OnjD
jBejAYOSju4TP7lWvQIpS7vEdnayBsa+BuI9mN1yMsu1CpYmRyXzs4re3WRI53mkvCdxtXTKXZgO
G2N0QGKAi3KDdlWs5dtnDVbf1Ou+3TMEwmQtLG6r8uC8cfPRZeKSY/UFPRWamqWgecmoMiQtWrOc
qu4AgQQ/OiwVqfLwnWDKEBqvzhtF9G5uKSQNc6FqC4n53sfegNFR4z0ZR2R66CkULZGlBf+mYu8+
GoylR6YL6fusmYz30YN10GRDpsflSDbgDmQu6rLMxog23eBiMMK8O18ol5fkOdBhazeBkwSCjro1
DsI2wDpTa+IhkU1OEvWfiYGU8NTfBnn6rCySc6qoAV29SsWoSuGoUSfc3QlZWtJS/VTdm5+Hrx2i
vcXzO2tAqCWZypr4yjQvqbgl0wCr7I09xhstNQ+5IoghOX+CIRWqHngDItiNtwNyBgig8bPymiTr
ql4Rz3SUurBxMOYIwzK2CxSL2QspNTVSFc7R2oOlQawKUBKB58HwLnMizItUa4Q/BkYQkhXd+rhe
FSjew1NFXh/BZO5aKOaJZWpvBCMh6ZNPM6hgI1V37PfTcXwLv5qDz3mGjgSLHn1NerGEshTVTcyq
cDDuUemG0CDcRihKcYVRYXorrkNhd0lr6pIZ+CeyBXz3DUTTXQsTMNr198Gatb1r4jiHcsONbzrs
+Vt/GTUcpDzpUwJ64EwpZuPdINhLs58cEwiIbntwffJoTMEw6b2rGCrkXgqlnIQDmJKOM2cnYvpP
t2TCAmOjOz04mvkX/jyTZiNEf644wsm8XdbhcEZegCeGjvFRvOC3vHT21Tl51K/ZFV3lE62udfCK
kcTa4ftzJa9xvX/LXqtDsUBTF4Xl7JpdYaii9QwHMrlCXg5/oCOzxo74YQDqADD1VxTy9FO+Iba9
OXv/7t/VtXnxL/aHskIOwwrCeUB26QgynDbQk69UVqMj+++afwkrbZ8ZTHFX/rslfJDMjmxHgrbf
Rl91wh+2ooTLbHMlcyqFMQxTtT9mJXNMErJzEtoJWTAxZJIbVzVFy6E215Ec3YDO3jtbRqTGlOBf
0nsGhz/LOv9R+1heo1eo0OioVFCc2oNAJQ85k7QkYZLDYo6pgmsllbmtzIo0aSCEQuDSICOiPho0
ieRPWtBb+bV5ry6EX+RQqMeQw9+bTKoUF6KIzw/Oi3zKr+2DhPtBNZJxb6BYstRuSAu/G7f8qj6A
uOjxs/+tW399Lpp32LI8HFY1TGT84eGnF53LCDzmbEh2WUI5HeUdsFcIvVgoxtyDkQBqwEH7gcB0
5+2kd8IyLqdkA0B+BTA7gu/oLkWAakLXAtGeBrIdlKZvAgXtEJB4IhzdBQp50TYMkJpF8xOxHspy
Bo6cHwadvsRtEQplzA86QpuKZALaKxP8+BKI9IPirEHH4YnylkkxzLZPtU3TlYuYXrPUGW+ifxvV
LWG2GMNHqmM2bnWHKBR0GF85mrpzUFUcFov6oGrFfXR6FKMnhn9LY5fWwifFoEpHCgFe4LYIGuZK
M7ZAzGht1XBrRrof/bmORdFekWHYnfSl6+N7p6S3QZpwqulYuHUdXACNVZyvAtN/NzJylUiS9mHt
L7IkvyoJCBV3GmLJKfX7vQmD0NQYPyukZRabjCfVDAvh3afLQwhTq3vXjf4VpKD2spiOkGY+P5wU
+0lAmiamXZy0KoIISgNVhV4VfCtdQzNCw7MbfFohZKVUlnHiuynnQhhBfR16BBQs2wGioMqGX2fH
xQkqJUJRJqrhCg2wJ6wJIfn8PMZMjcSxPIuy3yT/iPP3Z73DCWAgw4z3OpjzN6tHxV2not8lCQwQ
wiiRAaApRRoasBdZPaN5YeAjCNAui1oXOT0sCxDKb+RzzsP8YKeHX4axLSwTduU2ZYXK06orj5DL
S7gG8bKl/YTCgJsjGpQt67ZZpmSdunWYLEr/yNMtt1EALp/KvA12EI1kQYpjrdaeg8AbzFZr7Wtr
03iNLO1VDvWFXB3g8y00CbX5aGv7jCMb0vOtZsw/UfvVE4UmCUZ3Wm0GRCMYpZIBrJoCNRPAPaNN
YACbyqUK0OvuRyg1qBLkONQwCTRMEmvC3trOiN9efTTrcSHZz0WOGKjqY5JU2ot4QFbCml77Qnnv
Bsqzp4XsVKg4b60NeN/7uKNhc6FsM4ce3Lgk65+st7AtCP2JV1psofyro0HjW1eb1RMy3TSV/qIf
BgReUbcIo0WL3WM0CGY0cQOLgj4q2JvNMq9YmlO47OSO1tIvhDLaHOkyS/qFbaIOhOsy2b1uji/W
VPLoVaE16ymWF1rvvClFsWotE+M5e1WSWhrIz5iCdRIyhAKI13HWtF1CV8OZ5bBKYwduw3P+dDrI
+f1WN6x5zTiinv6yRGdBDa4cVIsQHSlD6BinCYJfO9KpmVE4b9FgAfCEL6XKKL/OLEbF7KwfvLe0
QXNEV3J1XDHEUnU4AZYXCeWBhnRU6ZA01RvgJk7IUtoo5s0g3ZVzfRWB8Km2M2cZlcO4dHDFLBiC
jgk+Oq2LkCWUpozvRuHaYhA/hzWjhufYf26mqX3tSZUGEoy8Nhdqp7/VZrGuKBk7vD6jutn0TUx2
mq8axbPQgQoY4IYuwfkPmRfds4w8O1fsmYK4cq582WVCda+fUjWk4wgHOEXtChsWTe03atocTV9I
U9iMV85rFRkJOXuTreqlcMKtQ7oc9OtKY5IBNe94SD9zxCTRa6NKUBkmljSajAjSaMFnbqFIR7Ng
DOlx0r7pnNNUYrbYkRzW8suIbZwvi64WkVYLnzuRPcWwc3KEHwvjQ8PvakjVbYdmhTge8id2wjjn
YUZAm0af7NnzUAq4kFkuR89d2a7hmlUILTDn1+FNUH42KOjFQv9hSNASbZha0ggGoKGoLNhhvHhy
LNhILulFxHrE4UWrVirDuagC543vKWq8amXztStt6k0oEIWni5MbWpHNyLuOKnXKr5/D73DOzI+o
fq+la4AORNc/Mo4fs7nEBnxllExkm/FbXfyJispz7DPfbR06Rig4YmfQeGcDIlgDA7Opf8n4VR49
KlhjCu2Hfp3zNlXRekClMWD4FX8e9WrKWDTCRSkYnpR0RgpGJG9svHWwM9W5JPF0F8+vISVipaOr
MOUWJA8d74vhu2E4ZQpBrUAjwY0C9GNLWUjvdZDG4QAmNwMqRD9Eyls5ZRqK2F++Q/4eKcpJUxnj
y02mLPvc/wwUklCVDvcKwlV/9KPxnASpTocLEYg4J8uKHAJWVnXBxjJzhnaeJg0Aa4y/1RYp3aLY
phJmf53JOMZQKNAFGrnayTKxKx1CdaGbAZh74txhrFl7yB7dJiXTgmVM1E/9CbK+lFNwErMqpBug
MSracepz/KlHZdqGE9/MkEZ8a8Pk8CdGzLoB5qhZhMse6rYTRtVcidVxbUXYBVX5+JWZX6qjZV9O
InM2Fc5u6mVEjxxZ+qoqek1JKMXzRCpQzSub9hTQxq/CZ3c0M9Hqqp/E4+g5/lC31qtnMSaIzrFK
S11bJuPIGfUsG+jPGTpnTg49nP8qpzBey2QnvUFTG8Kz/Wz9TTjJzRukJLIjBx/hv7/UJpO+Roc6
nhbE3t9fhLYE27Bjo9ntCEQunpDmF7JTlf7dZVAXgqiT33ojG960lz5QBQmJBkvVqitZwl9D+9YN
x+v1fC9rZ1/hlA3yT2mkrxgUr9CJl86A9vhofqidsXrCTC8G6k8rOY60TbtCR0Sg7T9yvbmkJi0z
aEgW1p6YQGlBs0o6GX4UZWR5aP3qwynM7+cI0vJMb11AGG9KEH1MirVtSP/Ll8djbuleUwTvE8pI
E9qFiv3c9C2JOkFMs5WtHWqfaVu/y0nwqQAQjugw2RBOQi2Hwp/kP90NT7dd/jq80LBFQi6c5a/K
mXlAShtmTakdGD0758JnUZC6E3hYtMKgLM3Mow4Usu8/GEwYL/Y9ZJvQJ7glr8mDkbWTejH2/lbb
i1lXa+/sG0TYkkd4UM4oavE9PHTn4Rxcy1d8Z079Q6FU4UUR2KKWulAOkywjBgwrFXNN7GR4aPZI
TsON95Sf+PfuXN3E4NxAfSCS8upgrIyXcmfxdMIphszhhYAlM8+YzbtDcxAmK/VOPpXi/68O86gG
M5DY5DAUyrT5m8mQebIqNxABXmiF7YhLr/2bhoRlt5Y/00vGv1Xv4kWq9+7Q7qYjCpEv1qIWMvJL
FDG3HUOT+d7+xblyg0zoGj7Jql5GGKFJb8NL9gpz8KM46x8kBs5bd6O6Cx5Uc4yaYD3BfAcVPf1g
6MYI7RU3x8XA71XZMDHFqf7RfPs/9rv8k1ASIPtNX44pSdgeVzrP6oUKVLJmQBJcNhAAcAB4C8oZ
wTtFwAEUb1xEKhpeA1as3LvRgx8RUbtV5wK04mx78sewlz7ld04I0v/tBMmBk3/mUBnvzaO2fyL+
l56RWDu3S6oeXF/ah8EdhO/Fc9cnaiPjHDOJexJTeww6Mv5AvcMHAgUhzCk3+rvlNRtmvLvhjOoz
pmr4mDIio0Oq0Km1XeWmbZttTA73w9yIgx4fKR3sJYzLqYEQ+0DeGwVzcFEmtsK5aSwaA1YaU3NL
Cn5BBtOJYPRA3ZBEFyMTwFF6kp+UNeSZHaJ4CXe1Ozhn+kfjg4oO9IQf8yv4CRgA+4bD/994s1UL
KWrwZJ9SNnoED+4Tt0yQwRBowmIB3xBt5tN3PRMrhzP4gXAI4cozfWTPyFbqANq0UMHmRVJV2D7b
SN4FwMLCiwGZSWwnwJJAfYBoeGlUxBnfUB/DQTnGXxWjnvKp+2j3zw/5M77DAAXAtZfWl/7LjDOl
FqcgtUFzR7ov/KIXKz94ieJAJCG3Z9MiRfb33mJG2yCbWhTL4v1CqeLLxiKdWRELdT3uEz+K9dOL
bccyQXPRaMTbdoRxQaHMhkP3ISrb8MJLm7+UhChGAK3QPaNfh2AKYwWo+zIzTcJBwYncBCAS3BYg
AgoFXOied6FWwxQvdeYPSkI/ySeoL4IqiKO0rphKsF0haAcuDF6K188PpSuDldw/9BMYe+KvWQoU
FDw9rcwWhq/oTkC2ChgkmFxRo/AU6HgAvPPvEzp68+nPLg/PSyrcEXncHPzT42054Zw/5rmlH12Y
IpBzUMeav+YvsrQCQPd/TdQqVt16OOgn9WStqkPPUVW806jKHwiCZicb5R40ek7sn+RR3NSLAvHl
pjOvC4Jy1jgbkTrfStdsW26VjbPrv5Sd9VovkiWSj+/NC+upvpTEzlkKwHqa3sLPUgDXM6OaMa/7
Wq2w7UaxsliUuxbZS+usIZhZnuL3ieOzuaHG+ajO5lp7s4/PVf5T/0gnQfWDy3OQXp1d/Ba+qZwZ
5jtUqp16aDbSt37swJEM5mcFiDSBd91hb1S3iLEoVomPVppHbw38iwlbhAZAxEg5KiSIcu95ZsmP
/BoL6T1CiCwYZ2/tLcScKERnA5cQ9ACItuAxrGqXyQ+If2R3Banmb5m63eiSzikMWv/kFHygdwB+
iteg12zMQMBkbca7SVi8D/QFkLIUi/rvdLd4czd+x4R63SIVA9FlxhsDfQ1sFEY80GsRE2COkM4P
LjGQRzAsbN1wRHkdyJyBqei6sqTzK3u6PvG3KEVms+e5/6gv8dl6614IQN2Noyp7KA0xBRFylMlm
hEPmKIFqrYyD0vzgjfbizCUSIVgPagM0CFrPZrlZoDrVgQF8HqW4HCXTjX0dXLMTRwTX7YknJZ7D
NwHMcV6OgLz2TMgJ4MKQAKCCA7sBZKuf+Et/UIzBXIWAD6n8jsQ7fixgN5xzbKEe7+vJjRwMWCFq
zsKLtgCuKf8kf/8dCzmHFEfiPeHX++elQm6FHdkcacPyAHYxVBToAPBWxLPYgo2GVAlNC/hiHdJ2
TGfMIPj0D44noQeJoCVkris/svg5MVgurIWJMWXdQ2iWRcN+4PTgujbw0uh2kx8LE0OOFk6hQjwA
CycOfPPDejOP8TmE6IfiFAPfh/wH9PL5kp5R89xnaEdwYNu/DABxphg0TcCxaFd2GJQCSbeoZE5z
wHnhIWh7sKEETPb5vGvb8c1+GFuuI1A3F4/4Dyc4/IK8Do4oKAMmbAfoDRA/xVLizjlUxq1nsoi4
7cgIs8Y0BglkGBsuv4JBxt/ly2g3/YP4gdZVgIKFKa2A+zlhCX/ECz4pMfbfAc7BjuiFwysAxwJt
MHOAExHB/bO6VBfuLQfZQzoPzDOzEHGMkv6H8cGhTcLgn1MPk5v1lTkxMhv+kIXCO2H6izdGOA/R
3/0L8rF4ZYxn3fIRITR45tAm4vAGqFr4uKws+trliYyCfUVAFunFcOMWoSLCGDS8fvY+SDZZCDQB
wGXgY/5B/2hehBLrSdpHJ/8icsNE7AR8HJQb76IE0mQn9Sc2Z4YFXCNczlUiH+tlb3+y5NTP4oi1
BfJesDlogvMd+XJsUeiURsIsU3BiYbN8x5TY8G9d6/ZcPBftLlsVH91a+qI8iY8QFClLaT/B6mrQ
zIduU4J/UoS6zQ/FKbxzfcf4Jchktmdc/SDdeEeJ2OAcaETnHKls2pTYZlpUtzSpPRXB5L9Lh6Z0
wzr4u+TNoTsQSdlrABWoWoOMChIskYAZYjdEtPJKn5bkueMPwx9mw0p2Jv7yGDRAu2NCNfJozDD3
zi1v7pI9S0sPhZKIARlTdASBp9lOPDNPi+cXD9IHT+uWfdLc6orPODBlddffpg/t2O/KuX4tvpov
64A4uJAtddkGzKqgfo65B8PUQvIMRjB/DGm2orsA0kSrEDdEZmtFqywheCMxz+fmOzqgzJiBa9Oi
6OawLh3eCoTADwltyOrVfMkW1Ubd5ovmNdz5qGYh8rhg7oZE+wawNd6Sg/ySHQog0oOEAo9zeRIt
TvItNjx+6fArdER5D/l5YP/3M3lfZzNo+ujEzaLf7odaHdMBGBXfSAEE30RxwLrnl3G0ju3GOo77
7MX/nmDmUtXx3s/ancdXP7A2IWWhM3hIhHIFyQ9acfsYPZJkL30FL81H+4br/M56qXfGltNyyTDX
a0JnA0cZtGnS9zJiake2gl3op7eg9781LZwrdruSB9imAWYKY71Reu2r1g0Q35phq7ahNaCX2XuQ
6z/DQh4NalrzpY+YUWPKHx8W+vQ0o2UVjaG6/630bN/E2rVUVU+2u03Uc8ClFm0nf1H1Pn4h8YdM
RqMN6lzqpPdxYNJ46tdyrHyMMUQsg3YY48F9yYKMy8+C5FCSEbmEBCJpHPlPgyfpo/IrjRxIkSxQ
K0D/REMlILxVg7S2FXVrxi1j4SAScomJTx4FK8aXbCxq9ARycUwP2piWZUv7XObjySmDQzRFS3O6
pk2+4uzGXYkuXCKlL0FZ4CdTEUnoa3YMQoxWc0s6ZJXAhFWUjUt81wKQ/7a++JT4Acmf0kMNt7pX
23qu+rBdyBD8inAA9zTQJVw58jTPVCRfHJTn43IFTew0GWQZ8DMZTZvntEbrp78wbtjGqtXvAI8q
abKrPsgH0dNwZvL4ZwKLMjMuHxED/u74qf/S1egzj40BnqviG/ULy5vM8V+6aGEzlW7MCiLBGgHM
MX8p231ar2kkRirj5R5GTANYNaImhYvQFtoaXESJMRiUZHBhMOcZQ7XSEjqVQA4LqJgLZsh5u6l4
x8x90rdcpd2aWS5UtqZ+ExtQ4r1PE8dIcT5xZg0/rHrMAOBPELPjOzcvvmB/9y+oYycMnaC60+0J
UUtHEw41ET5dAYeDtf6LPovwCFAU5FdFCUQ/kxJIRpEBxa/JJUTCfsOIIGMaEz97jxMGNjAO7GIw
A56HGB7x7Ggl44BlfVtkFuM8ppmK6CqNQAYVK2aHPADdRuPEE75exY8WCLVCgHoeClNGQZMPQXQu
Ja3bTHRdkYkU+maaa4QI8K2wBuN7Va8lHArwgLQ8cni6RWGEVjQfk+ycHlMtExoX5DE6MquKOO4T
nCsNYdIXYZGNOl0zb7GaT1cmKHTnaijbkKbQZoLOrHmYx3cmM2cerfiGyqB1qT8MlN5JAYBimQ38
e5Qzg27pdd1SxtuNl74AewknBqyh6hW1AJeNCpEthVwcSkikUARlnhuTJiEkBBCYXwEGzskLtSLi
05DTHXWrDQcr3BtQfsYFom7CKU7GG2yBjVrLVrZu+fRuJQsLdQrZxcYa4kuOJjuCh/ZcsMDGpYFG
OJJhvhcZSxuohxF+juFwgRqzH+98manqDRKpaD53zt6BQgZQM9ILmSMOAbmsyBfosNWktnQPujnf
xfELJMNGprGLwNG4fBoe4sMZ0DVmmOQVBD9rpn2EJw21mek9eUPfihgs/0L1+c0hq1HEvXYcKTP/
CqEy7oTLITkh2jj1Nx5QOEGTOpDI/sucYsHKFA1yAqsQj/nrdVI8UWZRbCHqKOHLJ1q4jM547ChW
qo8aKCLklHCM5txhM5DNO7cMBi912AxqcsoCQ1PpRzlSyY1CDjH4xtkZDgLBoceFCAgSabyc1/QI
IA0Wp8I3bOZ/ByQr0ow+gs3HJzEPSYlmDfpfdHgZfUHMqvT692pXk6GQ6aBvhW6H5BKtnsnySZ3P
ZaJ1RvmOIjuFOn1uvLnQzQE0YyTkOyPf5knYmnCsHt1rZM9iVJ9jWmAz647qxFfH/xUkI0QzClTq
Gvp1mosMD8gF7x510oCr7DHI1rhMuRPa/AeCPkRq7i2Kyj5iRYTD2JWvwW/wy1wwrjC/fFZTGGiO
u3Gfr6aLas1MEojY1S4o+OW3dFmcmt107XYtbqAPlGjgyConexWSb217GGB7BwnRdQ9l9lh+2Cv/
pt9oEpoNoAYBu32xLuY+fKCEa3jkA/zvdGiYx8BbF7ANAO8Q3ej39Gcm43qmL1BUBuwwXCS0OSfx
W6eJAQuCtF78CuhdQ2GUiwlsx1zj63iTSEUgBQEfQoM5F+KbQxtB1E8zEEdWKWOdIZYO4vsyDtAq
oMBBeZ18FWa5m3eLPF+NZ4idCfJYf6/X1n+7KvZIRZIKA9tlgacFVRNFBrXeuCWKYutcoIwxNba2
Zua5/ZQ1jU50xIy1371USAuWHrUnMLR6hGVBCUbx24GDdehPL6hjSajJkclz/QuTdRR8BGPy5/5B
eWbctHNxAAoiuSbTbx+UkTQQ+C7dSLD/UCSM7qg36ys5cHYlRaYuZ3Zevac3KkwA05HrSDedInbf
MuOCfhWXhVXxdKtb9vAvjr2wEcvmQtEOgu7x4AlHKEbjUrXnwGYSen8NWbrQvBtItR+UtukhOykv
YKTUBKEtoAjxEXrwtzWlZffe70VKG7kIbrtIwcT3VFDT5zK5N4bF0AuYt4L9iIYZaQHtDcxDBWo8
66looXQa8CEoQWC5hKK2tc68JcbVUk8AQxXjF4IUogoHPMEsBdhS8VcvvAGFJi7Og7KXMoM3kjMT
JHFMiEuKOwCYmHOL8BqcaOvMlCPnjP3dArfyidQHgBhPBnTWiyuQP+hTUonHwOJucO1uCCmVcBm9
QnGppClpxIj8HdzZwscWFJUL9aB/Pr6rB/U9/B6AVZgFofmABTXd/kP+Ne3ktf0xvfQn6KMMHAuW
H0GTMOVzbN0NlF7I/mb1TqWOVMCGzW9IKwRv6JgT4mLREuoVfx0xsBTMyONb9PY6V4BK4ZK6msoG
Yi2RDnYkGQ2XFv8j9NOIOgqW4kyyRHP/s7tL4O+FW6BDDWeVImpwSxzchEW6p9y6VUH5FkMKJtzh
HeeFtyL1AGIbkBMhlQCxz7PR1WHsjU9E6gq5wjzIgAj38S5fgtfkRMEGHwwCGNccNETu16wnKO4U
mJy8defxDuiKUiTjw6ByilGPcXKBtNESfs4FZxEWIwJvHCvIlghmmNcCt1Ye511B91VfJBlTUEwC
uswVpc9FKNTgXRlf9icTpNtyWEXai8GQebcw+4s9biDOIxXAgEcUroqJIf93R1vRIB7HjRUtaoN6
ZfHs3iyEa3DVDVcAw7bu7UETghC9rxWfJI4XEtZ8AQrmTJ6tMZVsynlXLaG74fBhxigneUEID3Je
LlmnNFhYb10iCvPqAseGpBrD6v6PO1OsYcXSySMPJGfJJEa258ngodEKAQ3yLJQEQWqBhtYJGyy4
nOmd8o3lwJoVQosEJULwg9VaElTw93nwCmwaNit7GDiApcvG5DawQ31JKP2BokQ73hh7IRMu0oCJ
GigCZXKf4hEcMr7rkRiDI7PpEzQhmR9DflVioElEYAeBhgO73CqEEw2IFJ+Ys4ZmiSY6NlO5hHZo
YyJB1kVJjXacNUNfB0IbaDuuKJqCQqqHQBhIJQigzvUSRD446vOSFFZfJhjSAPqxKPbm3cSRKPag
rElMvOGJHVN3w1Kac2oBetjdSss3cDdtPNGMZTQuobnA39KiBUphHWYKCH8yPNEsWGBogDD2uJDl
VdQsRqoBmxGqBaM6arBo1TWADS1T5lafrOsHVjEh7FF4GP26tufPaplKEEdQ/kKCax4ayzx+QUFk
JBMnGJBWMSDRr+DgxpIX2hsrX5vYlhheWHppu2ZNtvl8dFyMiRxKbxaqBDF9EVicGl4yCqtsvHDY
HZPvGcbSKJdQOQFB+NQhyRVa3L2LhIiQKW1EWprJrhUvMJeCNdbu6CbI3lP2RmLQ33YixZ2oQfJ5
qQpWY0p/wvICePvtEnyNRQWuDMTD0pQhBjCoNC7R3NCw+OE7YYCT6CkikOJ74FSkysBDzEEloB74
UnEyXlEgjRlLYlOf2l13hOwIakcthLdnTNc/BM0S0/HQvpHCIcsF0CPd5W9UUDNUpTOP/S7KBOgc
iEVWuI1P4hyOfwoctLYEBdZ4erd/YTORbgMMmrj8QDn75kVQOCRbI0HmtBjfMoIaiQSJCjAHbasj
ERmQ1EceTmD3TCaSeNK4wKmwYDwLRT2B3pMVUjhyKcAy4aHBrrUzj+ORI7hG5P57uD9LtFxB70jQ
qQUAivzf8ZNPILBAkeKR6wlvbPhtPAu5Pu+HcigsYMjDXeOdAH3yg/TVHOnHvtV73L2Xyot9Ieii
rEmzjShiw8L6wyunG/sQ6HIQMDgRlI1DzOYeBK1Q2mV9sf2AM0mA2ZOcrOxP4MGy9Wh3wRAFECUi
gULzQG4edE/7g7G4kHOALJwpOlJQ6hG25h2UjcQAWO0PmSPmjQ8iKZHoeUkvFIKghozSHEgmeEvs
fl6sTOYgq2xvMghrL+P/wb5GeQOgi7Mcsdgb2QVbNkeYjxOBfhUpX0taCxzMgIXbevBsqRUBmQBe
xhlhwkcWDhjpmr6of4zRUYLiDC2KACGIrLxAie0XTSzQUEAy9jPDN3NjpeMOzlJK7/oncVNEbVay
gpcJfAr6sLoAinN4v2RniUeLCwiMMTQRDS1KWo9KkHstBuXoyf+1YTgU6n3ieEYnYG9iE9sKF2E1
wd5zDlibldtSQx0S6aW5SFAY+0VCOliMCrO9nMCIDrtms4DmUamoQ3pYE3fOokDume2P9C8nvzNn
g8LuBGsN0YynN4CNh+GB6vKxiIxo8l85qEk3+AvpNtxZ/4Dt+Z4Cl8UJOM5/IUInxJZsUZNSY1aa
Vz0X6AuD8xbajGlkxs5GROE61+B5aFrkAjYmn2Kbs8f5T64JDQpA5AQDLBdtCpYBd5YcBvQFrjHn
20RKw5VvqRM9O1hFCQCNO5HyFlT8JFyerDIY4yq6IA4Q2RsTC5QVysyEVHR/cv2AfR5zaTHKNiqS
lJ4KWYrxElWUYUQ+SjUqedp1gkHK5mBqgl1IJd8uIZTilABxGpVzhCIyRgLmsiJmgzFPAL/FwZov
0gGU5oHvwE0Sy7MRDaOC0em+YVpEcQpxGVB5El5GosLZaj8QTfXP9Ae0HUCaG0s0FpcjcAXNXLRN
VowgctILv2dGiiDN8TgZVX2ohcuiXRESuL4cV6QYQHfI0JOYUK0WtCn2OYrb7GQ2GOEMnnQerIgJ
xCs2Xom8Jf2ke3oePxi94szZddRGuE/RUNZc1Bx9ZNTAmD/zH3ZNjy3p6JJI9YipgX+wBDnrS28y
mQDwxnc42XBIem2mkCvTCCK5gwbONEvskqFlX/Dcjb3zRg7OnmU11UvMraklaVJd6VQRqYnewiSa
3Job98c3Z3XojwJl3wrRdtFRIuOjOEkc+EkioQuYGkXk+LfVXMSuFB/mjMtEaMtt4y41bhvwiYnn
8zpAzW6uWcy6e8733+fJYBpLM2X0YBXKMfFppvMDEZ/oAm2DUwkNNgoUhGbu8AcqPhUB7wRZqJEF
tRxS68jn7eY0OALqECx8lUWnMCnJ7+d8WRzkI1zXuYOGLgKCdFzAHVN+dkfFqz2loMLbKPVWwroB
PiTcv4HkeBn6yI6K4Qe0zUle6m4ORI+aC5GWNoQRLuRuRQuS9JAjjldWrTkqVyPOrljetCtLdpuR
pvNfCYVwggIYhP2u18fLqWCMbU6f26Rv5buQ43lfiuXy1TOto1J9wt+k9+VmVH0kOblHA9FHCRBr
LsYs4iWbkiYKsCPK2QR2TIgoQYhm1ZxBN84XqVhlgsE6Y1XKeGQgLG6KLhpHBH05bdvvgTnYcFSG
zZ/bHcUcaWFgiA0dVktlgjWGcSaxktALDMgX5yGbkwhGXG3ApNCYx9sBhBC9QAuevGhXkXb0nKXY
5jFMoMC4E2MIRDGWOctRKMww8i5uoMzt5KIQqGhEw7K/Qf+4yY9yxwwdHHUGWiD5g3eJQ2vOQcUx
a6KZL3ljK5TdKdPoJJEFScRGSmTCI1q/1KrtfFQE3STOvE5ZIgk7oqncLqlGEsRUIQcUlBJEFxqI
bkvcY+hL4RDe6Fid/WWcAWaZ5J35okKv/yZfenoEgJXwQxUSJ2A1JubQAfWaapEiq49FO6rlyIOP
4nmhRE6VCymS/SFu7Aimhoomcj00jhcsar7yAeqlmMvQnwujhnZJGePCCT0zK6tg/jqTKCSvbPTy
Z1yw7ZOt+q68yR/jxbxzGcfLeIHH5LxRrUcnLi07xHgLXqe3/qLf7aN80T/YScmyO8e4G7bL8Ou5
sG7J9WhA4OfMolsn2lgn4RpLYBopEK5UkuWVigAqEnAKQAe07cYlcyNOTRQKgTgHrFt/KvmJiAnA
QBO7ZHrfxeaek4LRbI5MuJfEJo4VKoKeaR8k2h+0AwdnYVjMa0matjdG1ELRbsmVfm4G5ap/Bmid
R1Rbv5HTfNddt0k2TiZ6U3W2yyNEYhwUwygBbVYkNOAEn4dhOmqmCnfWoOmOuuavkba/TaR9lKhE
saA6s9lAYtG1xV+OBeGClSpZqxZdjuZmN3uY+/7z5Rnuk2ldRuui3oQ6Uei1jlcpYKrgD28Le4k7
Q2AsfMwBhJwhIiTzyFhUWPTYyyfEonGOjALxBWSaWKOPc9BwYGdLcxHRoBkWPBHa9PjXCT2CHtcV
wSmJOZ7R0PrLFwnSFLgMSzEBalP2YYLECMPfdgIgr/dsPfJzgjvZosRzo0XxTWlAIsO9Au4hUGGH
CV+M/7Qf9ieblOfWP3lwd1eOXET2Pl3Lh3pKf8arKAhAXuhJ7Hlakli+kzAMBCjWYSUSWspWHhSJ
niGQP+1g0oTnnTw4gJ4GRZDEFzoN4xm0dlRhixiRFNz/hgxJyKlNJlt8R3GUfIY+NnkRX+RW1O+0
HCmeEHeayHaAh/hw8C+ZXBa7eyaalqw0cG9FVKz658i4xoX0XGIwlAEQ3i3MHagAx+LIPHxBrcpw
KZgAEy5kcoytELO0m8OGBuh6ExQg9bv5QPSMoUmhxM/An6DkuCC13JuKy/nXrqFdKQg7dGxJPJ5z
PirtXL7rvzRtjiPLahYeo2/jvfoyDtG5IVLv6g0SG/HWv/o4WDESymgA/U6sHCnSd5DRqy//FHxi
AyBDEhKgER/OwHC0+ygu9BHA++RPCgVKCioTe8PCoFtQ3Lndw9GgOPqPq/NaTmVZtvYTdUR7czuF
904IuOkAJNrS3j/9+Yr1/+fiRLC1NaWFgO6qysyRI8dwaHyIhI6UE/kLLjQoGHeJe0W7gPqhvhui
6YwJJfdEVFDULhdNDL3UL7o4vPAAMiJmXyAicb7SvDb+jaxjylu94BjkcKo6/1wmjQT6ixWU+T0c
watDrsJFpmhD9Bbwmvki9fb5JxOw7ncA5h6Ds9DhYsmPebj6ROomuTINMeJivFXDVk8YxkN6o5/h
/9qFaIXxlQdkKC4PRO6MWsqYAMFz4RCYoFUn4GlyvwvgDXIL0V19eQfryb/Sc3CP7s6T5xJw+JSg
PWAedFcDbGo+7CnRxaFmBb7/ELP+m/GhtOTa6mc2A8ZcmRCUbw/NFi2JEC7chXzYvA8M1ul3m5E6
849D4AAKdHfh/hAve7rWX/ABKCFhjvE6fB+faFP154HvULGhXN3xptgLVK5sCvTCwl8Y+URD/5fy
k5IRihbFJ4GlB9/4pwqCCA+edOMp+uvDkVM5IJBmRms7wBCDqpBSlI3GreUVeHU+Df/kz1AWU45y
51uIaF98ft4p8Vd6cpm5/5SaXGGWMZef7nN09+4MP7Fy6ZewsiEX0vhkLQIiaYUYNORT0veIMEui
N4cZKfSEQ7mpD+65g4NBvQfBGx2T6ItKk4cYPqXEO6a3Zjec5DtVMldBJOK8Qfja1VhkArCpPpQ5
BrGYRQZxIDFgafPxoPtw2vBpqaTM94iPoDKFhSsTWQSZLleIB7SBjBGWL3oOqLawFAHscjwB0TDg
7GT3Ms3g8Fa+aohYvVgB9qITZqscFJD8GWQmWWkRlDgwccUugkJHWc1GKhh0ovXYgFTgQSuOGAXN
5TNHCEchJ6v54vKSpZPWsJ34JFym/wBFcEQh2eFT4c14xzSeGfyhe4sGPzeRQ0JGUpZxaYYHWHHA
bI04VXlt82yf8eWmuOoEfZI+OaAzWFELZIrxEFaepHP1CAiecot0BoyeWlT6IR5zYne/HJJUlxXb
FE9n1J/oQFqiegMt4HICLgBCxG+6oiPeE31DUhimTW3xADPk0gRYh8BC+nQ/aXfSQmbMhLKIuy6A
CGIcaxKkhFmXDwBS37mK/nXNHF/2m/2qZ/Xc31GegKUajMBfABNtaFwgAyE4j2iGcipF3oRTiVML
yJEymef2KaOrgugpvqLxDyhMfXVuD9Uv1sp8+Xw+pvL//KfArEhn0GID4IPlSPA5JcuCAWVaCxQB
NBRDxAe+6ECUaH4zkd/SsEKEV3wVGAUEOIAAmhM7AIf3n4Z3b7PtWcX1HnbND5zfNY7O35SqVLO0
LApKLVh2wIwfxAKgk0I3O1KGc1C/2AMcydm1+VXvgmBNeCFYuufw8vGKh06Z0F5hAPaGswmbBKVy
sPdUdAv4DXwzgbikXw1UHdJZPtgn2UseNhcD9B14FfbuX72Wv9tDsSMvWfT38s6Cs56YynzWnf/L
EccJI13yQ3mQ1+xF44eE7NNiofynwBGvA7pIFwV3o2iMmTMoAQkblbVIx6jdYUEjnMR7/XxaSFfg
tyBBXAXma6/0jzxR5fFmgr3yAA8G2SVnAxYqv3GA/7N3xaP7oXeqPeBJ+ZfwySUASuUERVZR4GOs
HN4jKx/6KqZDVNywGrBYo2TnAZ1ZwiIOPysetFbZrmQO9LGROvrlsKN8AAbjqQQvwbHCJoCTIf+i
8SP6DhiEQNElCUIRCXOEN8rvX9AJOCiIHPAr+MqB477HJFm0YTkayzsHIdGBU5dTWBQ3nI4f1I/W
OafD8MH1mEzlKPrvvOaa13ekKOIr9c1ZvauwLvmgF7Yi6THcNS4pdTFXiWyXBDONhb4IhwenDDUQ
f0fsK0aM9EkJ9IB8UPyFrMO7Z4fDo4bKPDIIfV8FLTooVBQPBrcOWwS0Tv9VNGyf+M86K2nCZDog
BC1IWqf0wOmTSzTWKHH/+LYAofqmhym7I1xwaRhtYEOlD4XCGM2Hv5BNsqx/UR1BEE1lgJSUnoQQ
CFYn+/oXQEaAs41IGd0aAXGBt4GPTGuJdAsyEDUKw2iLHmV4pNiN0VeRUc5O0CCmYcoQlArRHXU+
ylzGUWic4UGkjHPan+hGoAHPWmQmhmHydoK0wQCGnk3sYMLfpYfLyF2hTmh78u4bExxgMtiYGIyr
aCTBU5VHDqedisbaVwqkLH3RIW4ZXqETx2JFlJvmK2UFojvmV89K1SEdMuf8r6KihCQGZcEVlqPW
ibwFUIcrD10kYsDAQbtOXOIIbApYE4q4hVozHfVxnU95tksbD7VewhGtKcFERA0OpTBL+Zf6X3JG
BgEDDFkOee/+odTHn3f/uJ3mt/I7/EIR04WOR3WBkkCMBXrySdCGOT+j/U+sZWkSllidwpuNZgzf
U3V/oh2HM3iUwckMwv1fsUD+qJKsA8/R4hwT5PjeA9TSx9QRLbwUDuf/1iy0F3tEdg4vjyYEZzGn
MJ25gQxR525/xcxR6l8ZIjgatvP0Bv9RLr9xhKFsodqkY1KS5wkvLuIx4KnII0Uf0OAAB3kme4RD
8Ql97B8ioXQxX+WBDQ96yldiKLxA5AjsM9GHqK7eyUP6u9hvv+TMpBJkceULCg8kuOD1scoTBDvW
DmvVxfCbikgw/1zs98j567Fl0idmGHaErLQUjCQTwZFpJr41Cc9YRhxkSGsfZiA8QZkzH+xEmbAM
WIF4fMIYRAiquw6UUj79HbLikY78EoBTPEpRumOb4S8oXpoOCJ+SySgG6P4pV97UwNIBbNm5d3Wt
bLUtDo6r5mTQPiVmwV2+cPDrjJp3ImprP9qDs1RkQVy5Dzjm0EBg7glD3f+otxz2zEISa0qizgAF
X5C4iQjAh9Q/+R7dlXPxCwElm8uv9z2/w22+iNQBCdwnlo34Xp7LF8wlCC6kQVH/z74Fr7RApVI8
+n31BNihlCOZpSckMBGmgoneLKUOEFmUBCwNUhkyB9EmhguSoIT6j6FQl/ESRCbIL/f+E/YuGL5M
5K03wym7hpfmt7zJ6AWBKP//SHMDtLWcCZ8ANtWhPdDemBiz+sZHaY79hj6iyUwIDAHGysmcyABZ
E4IbS7ZAyU7eV1yNVbAcVgwqeDPkk3fxKb97B05qIiyP4MAX7Ld2JrNHH9fOZZpN1TOLiqf053Ij
wszMmFW7DwFcP5PxkHVYEMFJ2rkK7oswSTrGViP+eNiOsompIiD4DKLHUqo4QcwgYaPPgXSpagj+
E3kvoYnNV3lTeFFUKDb+qf6Y5IgMmRxY5PvsCFa1KxJA/hq8NaIcTASKUIY4CH2keKTh7BFiACk+
SXqJxrZIb8WWoOvEcU8VCULGLh0TiNgkJPCEC+af2SvJPFRZoHCyp8QvihkSOM+cECcp8wbk2owx
260DwOeOi7bImLKZB9U4jzQZSfasVuZDv6yaKeqjmK9kEHOVuYsETYOg1lxHPqaaGMMkQyOV6sJm
p09Df9qVcz1ekB5yiegdxxBAMZPzsSwVxELqYS4g94ULy+cBFuAzkM6R/nGcsOTYDRT22bH/A90j
NrbfpKsg5XAgQk5NknZg4j1YANeaGMh5gcMsZRGnE3G/YQONvHJi9JMhFo+EiRawM0aUGU71R9xF
qjqCM4cRR1LL4kYogjqZCcIPFwFvVWIvDUABO0Cs5LPdNZo6ojv5RYznBblfmMBSTLEoPk1Gfkb3
xpTG/Ff8XdYFF5uv/AdUQnk54XglUaY2Es0/rHVop6NnzR2Euih6EKKihC6mIydHQk+9JTSrRXnA
GyVPIbsgtRgGTKwEK4PijbwYJzbuG2gGqBoAa8NmwtoHngpNVIRsAduJbAT2/1qiEEie/TpE6wxC
dIR90AQyAZqYHB1QaYBmO0ohGPZ3KGjwOLgipFPZ5+SmlkIBETSX45yc5z9XSFYggwhYDGGkW9+z
U3wKDqw9kiNwE9axdIkO3Fj53uzYUIOQ52LpNrv+ZqyEWlZ/TjciE6U+ZHszrm2TTo7ZXe87XAou
ARUwNBXml7UvHGXzfix5Ix6QUjOdvvYIyAxUIArn4GUAZ5YyGkpGav9fYzklHMb/6IuIncKNpHDS
Rd3AzWbXDJ9KQuX8AAbiA4ONwbj5rm/9t/SghqI11K/zm/VT/xXH8kb/UT2Lqj3ZTSpmGf1rsAyW
+G4v+jFTeafobu/fm+TEMWu+qOZIEhkBY/Vz29nkfMz0Lm0p1rEIDq/2n8hzeVUuylWixg9G5Kx8
wz3l+KR1vfMvCB6so5kzsXBa7e/ui0tJIhwSMji17smJJi9NZO4Gv6AS5kRWOc1AeFgthFaWlinu
DusV9mJ993+lJxeZywoExcaTwQTqO4cdv+Wg4U9xHvI8/holFtfi3sy9ZbspduFVeEZaF2sX/8n0
fH1UChDzG8WAs7QlkWoiKOX/qr8Crz5SSf4DaRd+51QExCwmuWb5UttBr/uuf8qlufGxtSWd+pVO
Bmf6AY9beBQn6ZT+mBsHw5x/iEau05/0kf7o/CBfGlf8rfHklR9Ih63lpb/I1t7R2+LqsPX38jLg
+/ZHmrePdol9t4Gx/HtprZQ5YvSbfIlp0AFqPmMvD+eKUMmfCyrJdNQWS+JdtJXm9Q/v9y+c8tLS
Kp3Fl+Kp35gkYNAA8XgyNEOESqy4ezIvKD5Y2CEBzYWM/knknxdnhlDIwtuUL+y7j+0CayfM0O1b
vELuct0u+j2eehfMcTF7xzp+7q/KxXDVD/kjXoff7RIp6P4nvCEWf20f0s7dJN/lDx0+1ByX5kHd
+Cv6idwc0rqn8yTTK8/5uX9hz3jGzJJ0ELPkc7xqhKelhXJbfDG/BcRWLrwz8qJn5cL6I19kkpB7
T2DgqAG6UZ7Ks7vwVmEgAlLC8qdToTDMjxoQjfkv7eQ9SHHJY8l/NdpjlBgjMiEXMi9SUGIAX1Aj
lStJcIcpDB0kHB1pWNGkovMP/4aGEsxFBJ8wbUSF6fPwWwL6F3ZmUMcz2urtvzfdHKgB8dgnFgDM
IXhHuipS6okJ3krvBAOBBj0ZNvaXhDKiPOFBVlcinguoyigshFIPv4qJFk0Y0n+/x5g8hQja0dpC
ssX6cv/QMaABS5ihHqcO+sV1jBSLah5+LF03ZxQ8PEif1/TBJ+05phgGvZg3bjRTA5BYSZyR7Aks
4J2xmQliPG4HAb0YbKHyUYhjTS3yJ772WBxAq2RILx5hbAHITpMqA44eRxBa5T3KDZXDvfiijstf
7h+vROlG5t+ShZIGG5wczGbBE/pH8ti0oqTjKlFIVFfgYC42D37ZMWoD7wgVJkALiCmIAwr/x39c
MD4k3Hw0NLhCAcuFFUIBXvxbDr855iQe/SVRCnIFuJGItTMEwz5l9oWcl5tKEqtdyanzH/OABzWM
W0yTVv0CsHkebWC6zemqz3Imv4TvKlAdjl5guNQ4jEvB6mL1oI0littbeSP+eBzYigDa+QYzYto7
HH3YbPAT6I5wkfA+pa9NfOhOlAAcP6Q99ovwyklanwmY6ovyPD2zgC2HeWFhIw/KbN/oq9y6i72P
V9UEvcabvVbYf/Y6XqkLfYEe5Tm/k13V55qhq+hQnNBu3ikkjLQkwezbjbFKrhQ41a45pQf3BS4u
XUiuxIME7fdzOpMDbhkWpAKmVt6JZyH4MFHP1QnW270+RxvvwHZi3pfIDZrLKUuuwbsnYUPdkAf5
N+cyKQRFEOkG0YgcDEUGYDVO308QJQ/iKOf8FUfwMKZIwqce9V3GD8krSJF4HmGLB5eHEotcmBIr
EtMDInER5BEgaLY5ZHGOMd6CB5xCaUaL1KZTzWKNEX8BWhz5tC5pFuMNzkpnlObTdQFZIxYQ5Mlf
SFsI4mQxpLAkaqSU5FcAJWB34CZcGC6TH4zgfZIg8QHC6y07qWJWWEDJJNYXYzs87W/3mxoppXKl
F68QjEdUvfS7InJp+BbOPxxI25bh6xldLPJk9Ooage+Qt1GO0n2lqmW2YhH+wjn40ia8EqUkFHxo
WgAsjgM3Y5Kak6oCVxYzOh6FKwLPNF/KiTxsu3oK/pjGC0Tx0KJucc/mj1fTtsDPaWzl6Ksy5TS2
ZeYkaKti7oR41NQqZu0wQ8KFrltX4vvwpVzklws/iLq1IoscZ/aMVB/MiQjPFSKBp+HGOwb0RsDP
LiYhoyj8XXdM+4c+XoesKnU2bISXJhY6+RdFGGf3Xqbz4DyTE+uD7N18pWQQoO3ahYtoTqVj+cKi
6zOuQg+EKMQ0nPa8EApY/yIUDNBS786FPZPsSNe4P+6LFVIwJEjew3qryhG3qCSTp/rndEC+EQwb
mi5yuNG8LSeKM80qGptjkgaezr4jiTgwyQdAVVyFHkC+b7+zI8oOjDzIDDhkO/XMa5BIkTuL7hiX
gB3KRyDVZdGTzJIESRd+xv/DGq3vpGEsb3IUqg2jEQ18CgU2E/kY95GCkneqI4a5puxsfunE0xkU
LNJfPhPpCxkJBRDlBU9nSJQ4fmBxOx/gV7xLJlTgfUM6/NTGOYbs/5wHZAP6luWtOgJr+k/qCiv6
8i/WDITNf8LMI9WKr5STn0aISuFIEkRWnTPaDsJ8qu/CC7u/SwxhflW0ALsjMvRg63QSPxMbkAxr
RAm+0z3Wk+tuXnGA8E65KLBxKORYHOx/Bj3owYjcn07ak+SL2aW9tFWewnc8J4xnq/r1Pjc0+zRc
qK2jt8lW+oJlsc3P77O6Ryr72O7lG+lGJTIS7wcjFeYBiRUHkqZfcWhf3z+EDOnknNLl+yEtxaik
v1LX3ovnLuAzqTyZpcJRszZvw1ZdRw/5YH4T/qRl8aQrR8BHG5bcBslYsp5Ld3H33qE8kzdk8bcJ
SKcBXjvJzUQLEDcARCr1CdrkF6oUD1uyZehr+7K33sQk9I2cAeA3tP33FFmn6hCmTkVFTt85NaPd
50d9L33bhdqMjcSFxeSXFriekm8qw482cum8j5p+8Fu3nuZ+XXGCZNahd2XrULXV0WhdFMjdxJ9g
6AYztfOKxRD6VL5B0PMOdNZD6qr2pI3iXZpVxmEQz+hU7xgmBuIr4SyvU2RjQqJnK+PcHYsfa1l1
iZp6WCRsFUttvWOk2d4xfzMlloX2vAmx/609jsCkgk5jxMq4azP9QHYYx+YhCzvzkLejd177Ewcb
Z3rA0KUVj1NE9h3zIIGnxIlV7z7/0ioN20nZZFZR4YAtg7ElRdGqS2wmTe3W37cmNAan3hVvq0Sa
exYPWbgP2xS92y5Yp3ULFdujCjJCK1nYjNUrb8KxUTzidOgWpSuHuIx60b6TNUDguElniW20075O
CbU6bGvs3/bqu/Qwh8D5q48iVMfyAiatkmvjxrXBEMRLVnMtKNzdoMVojjKq6drWqyzREkIHIe94
N+HDVgZzVXblMnb6YG+6JtYTXTn9fBapyK2pbie03LOakbpeWypWeCCEYBGp7/77vDkySkqhr4s6
WOji45VZUYMu0JtJndZap/23CMmswdhhe/tqrsw/z7QSa2KHsrEuqx5hBT11J3Ugm5PehK/0uYyI
aNKpcOituYVCyTKs9K5EkE6vfabCpJuVEbtTKYk2YWqrk8xxnE2f9kLnm1zTNjzGqg3Uq4ze7neK
i8PYO4zqveXSbjNb68dLlfKgKFT7ftogn9IhFG0of7n0bqllWPRNp1szRWkxVDN1qnc3l4ZZHnjP
t17jXhxX2MQhmbV5f36bx5ys4rdVaKMfDk1ucFp5k2oJOINqNVtb7+JZizr9O2sV/PXwrvh8+fzT
auBuWf3QsSpc6H9DsnByaNu90h7KyB6WjdMz4eFZP02TmMjD8qPPz+HYQ2zWqQYdSHGGWsdIYsoV
BTnAnJOYy8ga9JFgc2FjjqfPslYulXlrYGXadBpMD/itK79SARyDuk+CPynktoOsJ5ny5SsConiP
U6xRXA/CO3FCkzwwh2KZ4Aof8t8YCZIQXQTIQPNApSExPPwjdKvEnEbKdFQDhpQEj0qnupQoWRn+
soiNCnmqhx0bzn7q9l2sZHMTRL8ygypqcO4s7hE5sJrd1HmnzspkZb+3eO01zs41Vsb7z7MerQYC
m2MtNKmIrKrwgtmo/cT1bzUUhDD7kerfzrnmRKKEZkEA/KRqIDzlyy5sQRXUiRAeZt06mX1LeU8f
INMZbeE9OOj0OKDMUZIw0udM+5ZWDMC8AqUqIhq8XeTeGV3w8WVykHCWtCkTWDpEP3/WDCNnUz2w
sLaRYKDJ2aGaF3K8yeNa3hb+3Ws40FXiHOO0BhLrjQJHMKYspcAJqid+KJQg0L3oLLTQQiwAt97v
STPhSUdEWjg9xcLSV5nxJ2mvhIohDUGxBpBwxK+Mk6fSFq2FwgCqAAPjd5uk4XatSm9vcc1CZsK0
dFtIW7d6Ou/voDq/06PbnyporNQsofL7BrQOtLWZYDFwcaD1Ri3qpm11ZlVJzaZKKWtoueZkzB4f
JPJO4IixS5Ksul+Ztc26XWqhxZHoE68sx4aKz1Q5BW5kBsUN5r1y1ZDvYEWsNf9uGQfsyP9pZbRU
Q8IUpaRvnCXkTZyacgckI5slAzbJWHbO/R4ZR8Ed7HBqXWsSmSaM/XlmrL1wqckQnbxf2LNCeK+E
yZq8HcYomSSp6YZqSHdI7TSgYZlnd5u7/u5hjtI8GtIzgr4x4i2wXTGmt9AgWaoYkVRrmw5cvwqN
eRUxRkhLIcoOObmMhm4aZZgyrps5DtskQ0239FIkdpZOuh3iW21fcMBzOyoebmTZQYlpFl2xLYuN
Ym2lYSVj2qnj7bttmACyZwFmKNrZrBCGXKnZRsNMJxiHLTnujoIBDB9AWJEm7nvZW0dXX+oSQp8/
A31IXME0e975h/ZVmksMo8r8+UYlwOFG48/0jrCTPGqdxuzHBMSKiSkD/47uDIRILyipZmSVqjzP
KFk1FO/1lWMdMndukyM4kAxzqvrC2+j9t2b9tu3DGJaRCsZIiR3TUUhZMoCWUQmgGfwlmMXIUGqV
NHFmuUYb6k3tWxc739u19rLQX5Z2rvWTay89ewfjL/DmVrqQa4yWUDic9v4+kX/04pzlW9+kZUk2
BEu93Jf50sxXfbdOTdR0L358N1oEdmD6Rvq1sQ66srVLRNTmiv3EfMEo91Y2f0e7xFxo5Ua1zln7
lP0zsd8IT652RO8uR9lIW/o1eqJbPd44TGHFKBOF/s3MJmU01Yy1HS59Zm+yCW1ddLvN/qZHx45y
BFuFSn9q/c5Qzop0C+2tJ5HgL0nxqmaf16+o2lTBJgX/btCeeG8DEmMJwWjqBbEBXQ9GLals7qN3
Zn+rztGDRiXZ9w7PXHOJCZPqjJk6y+xFrM/ScKr5wPWjvBmlOCH1QuhYpnCKsBU7u9XBCFd+uEKJ
nJmdvkXFUsA/F7zaFWtRtcwVYVdJYyuYQKGv2rPnLcxgpNbXTr131aZXlxrzBfaSi9jYNIm9XVr9
vp1lHixCBAC9pVLO3/JWMQ51+jeAO6E5X0CeSLZmMMeYOk92nrNJWITFTO7nnTSJko2i/tKvzLJ9
6vwkQHS5steQ5HA2ajpuNDRFr668CBnSx8aimUr6StX3mNy8h5vf/VgR1S2HVUPIaN9HNZ7R0AWO
9JcKI4hCGoxoazLmrZ05UWub9aidUv3EqaX686DZlv4vprBysArcbWoc/BRn3nmbrHz7hNFQj4Wk
gR2UB2VzofUrvGaV/JjRMvfoAcrNtUD30dmbyiXS8WViTGLehnND8KVwd5vhgsOyCJJD3c5px7ni
racYn2He1MY/qYQg48Lz5m8K9ZCWndHBXkGkwvafJhyLFompTR097PjBkaAx1a0DdUBBZs/WNHF7
hejrtyONC93iL4UBHwcNqv361fcf72BmpxNZOoQVTpj/UhastKw03s3dnFvanNtPkoFXWkVWLErO
CKWi3xIdIo1zflky7drsEV7tOWcz5IGGZV1NLGPOuWZ3exkPTMrxtgbxaWWYo6T9e7liKh0ytqIg
EZPddEqORgcUVKNpXAiNJ4BDE9tK8b3yquBXV0w2J0NPa59RKvcvxQRD9XFTmfO+bc55/ygzkFV5
kC7A7MTZAT8mJLOrI7pIjDarYfRvXtNzj9O9W/WQJY4aXet3vFOlcxQ/mxYuWgIhkrF2iQ4sztYw
iWjz8z8j1EYVPd0geQ7GPVcupQdPBTo2fsCgLbdK6K8ywTGMGgxGZTQx5yail4vO018SE+tOcXK0
VeGus34TWVelxjduOUBgbOkwUjZQpjl3vzhJ7nca7LP4kBGVJf2uGjTBgGFE9lQYNLnsq+ufM+aT
imTXm9+VfkMS+Z9+TfVyFGuCJJ0NK7s/KRDmypPmPcx8J8fLxNgiT0tWty7Sn0KbNeaanEyTN5F2
zXqkK8N/MqDt21rGGgoVC0VeJearMrZlMFUkOHjMiHckKm8IHl3zN8gHqz72UD00D5jH+zZpFsXt
lCNNr1ZyPjGS7zg7hfmp6I9u3iOR9ROV36F9S82dFpx8N2VifxMaM0rKuji/1XXnzNp4J9l7x+bs
PaXNvql2hbUffDBloRB6JtlkTbb53Ow3VftdZ2tUhx1zX2WCByHNou9ywDAEBj36dTHElgxFF83R
xgMwaAXXvqheWXnQRZOnPDCd0bb7CPZROAlhZun47JGaWjqwDF00m4juMCIW6Ez+88Lp6N3MfGuv
SvNYmxX1K6yhokKp6es7aFJU32P6zJ32snTk4dkjmi6UUgwqbThr5SlUN1F+8Mm7lPDKLCW62qmC
9ulcTX4CiPUxzUMEK2rbYbiNpQuCqoG3VS0Cu0sX8fwAyt3P29r5WNoF97hb0gmzXQalcHUz6Lb3
GmKEdGIS3DO0FoUp+w2icpP6Seggc6xf6+HUyE9KN2Lq0yNRb/WfTDlo0amGMag7QJrg7/2FqYMm
/alwtG7WfrdT0dB8Y+aS3xMbwXGWyaH3cM0844sYqDMc33sNr7WVypK2J8yiMrEKlaRykMdZEoNy
7epaS6OdGPo8rpeiOQxIhO0iTfwe8zpofiXF0UTtueFLtmzdrXHPFTrMobkN4mmEor26S5pLlCKZ
/+NnF6wZk/4IG7hlnqa8SObDJ2GV7Ede/A75lfBldT8NgzIDCZ+El6q/0Z0V/LWiO2f9b2WI/Gmb
eN9SvG+KYxMwvwZQapq7Nty1/TSTYLRtTXYGFXDJKKHcBOOqYaIF8xRbOvbVrQJE7/sTY7u6d3G0
s2+S+dXPvvrVva1s/vTRWeWEKE0FiYYXSzpSkRWIN0o7sbplh2NrtcvLjT7g8roNoFTjhq6DePyk
6jivN2Uwj5xNAcm+726xvQ3siafeU7rmuYZEzTWwTgify809BCZjl7VJDwq3D615/X5hnhoPf6a1
K1G8yLUlLsQ++sT51MVGfOx2EzXZDtJFgVSEY4DF1A2paCExFwyI590M5AOqW+bu7fLXcr81fJ9p
7dC05RhT4Fjp6dGJrjnJjX0tUDgo73l/Tbynx2BgyhSSgcHHW+FEpxWRvFR5hui3xK5KCia5quyr
JIKRonz12QH0LAHRSehuYcbV9L9WcVToIPrOLccgmjTVHRYGSfKg300B9nGEDVgGN+2GAzb2NzXN
gyQlkXvhhZbHZ81jcNU66+6hDZYYkQAe0rTvm4dPYiel28hfWwYjae+b4TwidZ21KDwt1OwuhRgP
Q+WYSiGe7GfHxuN45DiTnBl8Y2t2U0UMUMGjmgRMeaqCE6u3cIRHSb9y3GUebuRwCkBjaKgcwWpb
OLUQsGTUzps70RYZesdaF94t0x6xv4qQGqJ8ig6xt6nfP7lxInOIkU/nANKBZBrkbVJ2aC1o6yLg
w2zQ/b8GPLjnXCLQIC1h2SRc64ACD1qxELpkjtUr5qGHN95MQ8afgw8p3W4zyGO3njE0BvyfKBuf
ExujPMa7O++7rG8myfZAn/SN7AYDIFnN6AxiqYQg4PpeveX1U5IeoXoQIbUwp6m9k4ajrxzRdcd7
xFVmEIElaVI4AFF3g+o5+o5QwFVPdb+lS6rg56UvW6YA/bPMAJ6GKgobmbd1LBCK5c8nEA+FsVfl
gznAho6hWQeAQopBCxxlwkR/eQzwyekrDA/vYmc3qyGblz0zpD236l9lzt/lXddB+iwdvh6zH8kR
NfSyhYtqnDVktEz8ymwCFYdfGdDDvETGNd7FohSxvuJsHgupjo3WvPpUqM/QnRlGGvG+YTaf3dDG
HJxMKxlHvNX8ahnKjwhzlQjq0DUc/rz38p38ZIMCwgDNCEjciQ6mMovbiRNsdSaAsSRxsNMUQ9ch
SjOo2lNytx0G8gUEn3nBlEz7qkzYY/3TU5YplsbWPqrhaunHwUcMxIfcahPrD4b7cJpF3WAWN9O0
uQynLRt3Fs71tNqQ1e+uMUYXsCrCdZ4flORS6TMLqQCTmVeY1NaSm1fi8sQbpSAt6n8oRzkGV/Nk
YUVC60iZUSd63XdMhyGrF90wMTGhg23JxPAwEhgrCl/xVHYwfKD4N740/VL3u8ZYvIPzO7nXvGvJ
xDGjQIPBGvnaeyqRubTua7Bo3gTPFHzlGEv4PKxKeik97b6W/y/kR4IuU5TcM+v6rk8agI3SPrlu
VozOKdM51cvJj2Zx65BzbdaABRmLqhs7/k+ZOBObWase/C5LCvoRBmKp7dmmdorlQyoqmLHWYhtx
dJyna5yC6jvy4S4ttWbn6b4zSWV1ZaSoIDqqom57WFBdG1ABdu+Lu/M4Zrza2WXvql0m4ovtRe1S
HhKfw8iEP2onqIOVvtkuND3oFlnTTEJXPvdFtrELeu95PKtyCV0Qc9kMMEbb0JmVccAC0+dJECQw
jctLZXivd4AkeDJsA8qJrOSFaNKqId1hfEpapZzZ7dxrIY2qjUIbw0puyN/vLBv2Sc45ab/djWRn
TyUhINjZRM8GJkxLVVtZErOjnVXOYzlJl3puqKukMrRxmJbe0R8ghptNtnB8xsc706ZbXOvZIv/f
L5/fEijR9hb/3ecX/+efn1/YRV+AisRnQ1FxvK7ILd+OV43JiP2ZKffYyhmQ59rcfAWNTr3Y7RuV
wqBA4y6L2vT8ls65pCSnvq7HroGfaRcBZ2dKKf+EJQYgGC5AtbbKh+5G6lUiy0soDtaARCwHq0e8
w7P7lZSZ9jbNSrrFamvPOr3XJzUaE3WRMMuZ5t9WWQ2zxMq8aQSKwRQwVU9ngI2Cm0AiHuC79111
lEwcrvTuGOmQvIag+clrYEdNn4W+e8fTd5VV6Vh+rwJp8lZXBeW23B1bb1yGqyBG4QUgd6akYng3
wFIOPqw+sueK8p2GY3Y91o9MTsuIGMfToJjhMNANc7clcN0kd8yvCigANHDzaYKZasHXGQIYSBkx
H4oUkk99DfLq7t8mnc1xGk3NZu6XbHAU591JyEy3t9K3gCFf3lw9msf3KprDWzu623CTz9vVe+cs
6jmdi7G3K+7+wZkq4+JQ7qoN1MWRPSv23rM+llucdqfVtPtrvtNjtC1g2tTDKIPX+5fRQWQKBH68
aOVDuR+FHN31tIYK6Y/0p3sUo9hP6c88WYfmgQA6QwLRHj3gfbUslvbKoLUHQeFUX5kNR+b5mT9J
uplElgs4giimf3mrrGd2GBqqmGw14JAh8kWK6k9cfFMhkDwAjuzTsBkO5kmfD7PhoSGglt76PxRt
j/7FeRgPxhhIxv7yv/y7+XE2FIxotd4YzLCvJgr8YuADV136aPgvsvNB7B78S9sw+HqS4a/I4jcE
K+8PPQm6CQp8pj8SSn8LnqBtjLW1fq+oPJN7cOJgLc7h5r3iG8cAv/8nPz26f5fO+NcsZFTw/tXX
+MebSgdzp1+zJZjGMT7Ll/qCxPIEuOhhnwosx4A+Zt44Qmef8aP/Iem8lhtVgjD8RFSRRLi1Iso5
3VCKRCGiAD39fqOts8ertWxEmOnp6f7DtHHwgx1kc3Ct22he7akYA/gRnKQfbI62Hj098oVy2jnS
bFS77tA/1VBSIDtGY9dBBnsnigQ6BmZpP3lqK8SvZ9YimkLv6QfDcmQsPxPDoZZyMucRZ/eaSdyp
HMlni6dn9qngHcy+6iAtjBC0slbWsiMvsWKciGeZHrxdMPN23M0l4oc9+k+DZiT1y5G6lE/qUneo
hdHeO3XmwdDsLpW5tP8Oy7E70nuqo/O5Fv/bfOrnYNR/xkmak0fsXKe5vh/8P/NW1gl7gId39s7Z
kALkCMHAHo1ohEA+m2hiT6o1JB8wECWmArDAeA73DMKLQHegtvsSNKJSYDdEm7hYSQfavwratr4A
O9ZoogYrodD/7moKHKVutmOsFg9TaBAph+9EuSLeQXXEO/PgKbWha/25IioE50bogCsDxFA4cUbW
S2fbCCSDFesvP7hbA6YFAwkwwem79mYmz917SGv3VDy+h3gD3Q1KD5yPQBwZTSRNiAcLKjScGrI9
vADEgOMltj5IQLHYF/5IMWbw0TlhfoGvwSp68OkpkqgPtuOUMPG3+HHnIB7RKxOayxAcZtWD/SIS
PDB1XkDWPiAlBaMdTvUXyBMSdWk/Qp2N36S/DY/CYriLP0hy+FKXr9TJi6jPh/LzdHZRBkCgAFkO
JobNrUdk6UT3JkZIEG4nQKJ1ys+tYf7gfzCgB8Ck4x1xcw5Qfmj8AwHH5y0EY0vdRAiWCfoSXP1T
KP+hU0DF3T8Y2+9K3yDn5QMfONuXChUatuxU6LZx2k/fvRJgGfrDp+gnaMFBOCxEo4YikyQoUVxQ
Qizwj8YDvIAF+dK4gCrfda7sWtIF+CSAsPVDO2S7ghHG/efhA6XXDjXIT3VnX+uhO35fXhc4vKJ5
Du8AavePZQiEPxCAJfHnTk58qS6UApiW3gVomLmpniDtYcfeyPXsW+lA/tmB1N8Rkqrda4WWFaIF
yQYtN8GCrx4w4EUF/sBeuHjA0AOT20BVaf7iwXvVGflHoPbu3gVT8QPs0A3CleVOP4w9LKgFgAeg
XEFJZHMAQNmcJssaOlm57EyhATNRsnG1K3ZMI2quPDHmN40r9C7E/OYpcrc+B55Sc1UOFIo2zYaC
ydepkQeSL+SVQjFMwTJDOeB6CFOTSXQoHsE5OGtERZAQO39DVUWa84U3dVJZZLCw7aq7yG4xT3jK
/NPGUsHqo4f1etAs/F7hlvH3/3HO6KLI7SNxJ5R/hDiLAGpgrrD5sBf7Mx4Axpi22Ti8IQtEE7jd
NRtcdtOuHPVwxdtF4+LxJtwx9hiDEn0LRHqvDDr+8NnA1BiQE75PlN3ac28VsC6wIwO9ERBGBB/1
u62Et4nQ7tZ31D2oOS11Ag7AExmvX2AqKKpbz3LL/QbUokHgc3+Iqwnm2QKtvqOxBewEzJt5fa06
2BhyotUDsRpxeQ/ktzfFjhWpoU1FbVYQIRQ2h/+jQHMgAiH4ev1cmZTcRsIx7KprsMKxe9E4SNQu
vZExJkVlN7dkORh/pkDaICJcqDF560GwrvZ0W7xRumU7YwllKXyLLj+MM9voZkuKG0waKLUC4+LU
e2A50Tq7ANvq3ADUtU+o5fbCvAmuNLAVrDSOvPS3grXyWmt8gIpOqgJoFFPaY8h2QpDQs712A2Xn
38Oljfh0K+we7SM3iP0c9yxfpstqnd45g2z8dT5bRCj32dw+fqfFPAZlIxi8X0cwUcEEQqXMF7Qr
uZ/zagUJVQCR4xMAmyXVANY1HiyfCwdiUp3rM7rq7Vye2ZPPpt7hQYPgNc8LRZkRw/eC7GAB3trA
qJhClw77zhzw/TO6SnRny4Xg4TSOOAvOH2CtfYs5u3TKzsO/y3toGFzCV3AJcyT0kxPAO9aS5s5Y
VLbCJSdfIPzETEa+BWwRpZwdPeGKCeXDLKSsRbcVEBKYd+CgWOtouPB0mEPVjghNYCTmfK6MzN8y
LealPdfJJ+FRzRDWP7+G4SY4dybQ7PDjkWewfnbEZeNkor0ifIn4m64qi5DpIcmKcw1jnfHPMYiv
SHoRi0204ojI79nrIeGsY69ZJFhmh+WENMZFEpHUYBIOMBY/AoCjiMnXlghG7/uj9MKqC/S5g3l0
2gXSCkL4P1qY7YzFifxoa/T1qJPVVBfoTlBOFjKuvOB7/IYlAGyo0/OViu5H0NmqZ41CdcxDFxO4
WNVDMe/YGytbe2Lsm82PDevuo1E9/zpfyFLvdbRG/YKRzQD3l8kW9Dts1u80vxt7k3hVz98rRoJA
qPGc27M25W6PZVZ8wbV09yUM2HhZo2MA7H3JINfH6jNZ5ttm2myNPSSmBnfHPwVqlvhMGQnMfAMr
aKr223mIF64yqX4eRZ8Jd/i9i1adazHE6ocJ5gC/i09Is20JlpAaminDP77/Difvc0CiQFcQaaOu
AXUKIQxmZgyjjcnJ4IJi4T6ZrEQU6ZZv9We1l2yBowxhdqPR+upDqmfl0Y5vMP9o1wE91J9iqgEe
LS78JqQAJDt4Ed6FZA5kGrvLrAOmySe1F9CrLFII+XLZPXBvnztzyr/pjUDgMlGEncb394pvISrH
JYVgqX+QXe4lvAhXFESFioaIiGe9z9Nae+zhgc1yYKRz4PEB0oZihwodZLE97zBL6HIwpQndQtwa
wgMrGMKaGDMTsjtocDRCOcO+KmQNtBQAjWX9bzamR0rnHPmdvB5gGW9Dgqt6UGVpDdPlpVNEt+M/
zwWCGWwXdF/IbGhvcgSCb3WOexJ05Vt2Zv7h9kDcrXTBTkYmJhvGAg3IW1g2cBHVmieTsMPvmkdg
i9xcIKY8E+IBmT+lFQgeWOqyyP50TmEtEqu2IPz8e703niz4hNECbHGwri8/j/mQNzIRjI2xecsu
Ih6Cis2nnynHj8jjpVuMRkhx8Zf27ce/ji751N+SYgzVvgEU4XXWDr+VA39hFobojMVSKPjSoASa
CbpFO+NEmFgz53mb70cPljRhReZvtAMGLgxVjUUtWkXn9wyl/0FHLCALFnC8eRavnbQmJJDu8avv
nUiXrqCCrp8DFY+xcB97nZMNP0wO8j8V5Qaiw8OKi4odXM9rCuMQ1ONY3alIdAG7RA6FZaxzZQK3
DxZttu7mlV8oLWCFfX5NBMLha6wi8oMAy1nwnsfqg+kaVggrMvaMRwjxG1FMjXLdgodjXw3acEJm
7E+6pgvEb3noHH4HkER4Ob1XNcnbFZEDjkg2wL8YSzxabFlBXNkHxGr4NoOHkyMUU1NvqN2jOMLy
DA8YqsFNugL9IX/9CpWEb4pUAafP0v87DidlHvybfY1v1r6Cq6ReUngwcGySE6QrBC85ajSOVvWD
RYg7w9g+1Od2HqC1IxiF5VY6MqWRTqC2Cfa7hqz1WwxT/JQB2KB+g2aHgLKiDHFjuCnbbAzzDZx8
O+dCuH4lQma6y5XYVw4fAiQiKQBUgncJ5uZVj2yeZ2O6iNvDJhNbBQY+X4szmR/qCwCDGYjvOcSd
H/yc8PkB0CpEWveNw6UowvVGBhhvPF9g34lUyxfpnpgD63gpQyZiF4ULOGK01xo9ZUqUO4/e6Y5V
KzrDinrEkC81vN0EtZ1+0sXGeAK7iQ3ZG4XDgRjqr0tzJN6SSmBqtTHO1o4FRPQPj+4MjOuFevhP
9n/1HkUH8yRtoeB+ASghC7SmRD6BU2HM6PmQgsNdCVHaJf7REN5CBKB6ihAcPGyRvrQk2sJWAJFx
DSqGL5YrPioXqxoi9Ch6sJCBouVNUOnGDmIIeJrIZOHiJ/lTAMd6NqCQ2j9lA//nJtE1znshwgIb
Vi2On/XDqbRRxPXwqTIfuJGqHxcBkDwXSIvpCNcHhQO6ruhGHHn5vSsbDh48aUZwUrDGO6XQHKlh
Jz/eI3MK9LYYS6O27cIeIAsBNI1KAXklUEEGTr7l6RUXCFtwIRhCQM15wfpQTsn0KHaBzgcZCF4f
BQTCEQh+tAbyO0Aini6xC+o1zAC2xqKT0wX7DXA6v3+gzqanas67fA60RgE8QqUFdQ4yK4DssEzQ
DiXiCYw0L1lDrAc5CLXPDWqrVJFP0SQ5fdiLCQGOav7Zkp+swpt9yClBlPf0lPMZQFPeawY8GTSe
iz/4d3tBcKGYMwCtPb4/aKQxcoV8BjDzF7qFhB02i9lDQTDr7wuyWOwdKfGIHQhmjHCjgb04GcaI
NqaEal8YPL3nrH+5Q69EObZPe8GuK5oHa+7lz94ZKoP7LNkTtaSI0rUzMi6NQ+yHr7hkjmjHbA+U
vgKOnTuzmBjv05Xqmehi+Cd1H01oxzDMt4KMkE4TxsDnaGEX7MOpQPeoGv8fBTw/5IE4B/RaAH0j
d8NBeHAI4JhH4IvvCx8C+yqnWewjeNbnc+E58BRZ7eFbwDMSKTj6QzmICoSsJtB4JYi7kApQXv55
93FoqIVSNfwNCZ76/+MyIFlzREIA9ODWIAS5pbouGAvkGzBHwTX+hhWaQZBbedZoOxHOuG62rPYi
uDB8zU0qBiwMcLxjGSVdXegsMfJ9spNXD3YmCRwMVQiZMHBQ/0EFyV3hL0J3hw+DXybmJYslDGlk
X1hUYU9ArP0xcjkDvgMRAyIyPwm/k+NxuRZyFiBnt7zPVXdu3D1VaKNwg0Cs6yvlxmdx29776kkv
Eg6E8MdpBvLwc6x50MKGl0SH3c9XbDUYeIuB/rCvSIyCMzuEm+YAf5iqR7EjmOJluJKu9VrDudKb
iOQsXAZrfxnMSafG0rGYZ2vhUMlWh/N5JttsHsMM0jDPau7vFYT0U7os5u5Y3r8gEwkfJ86NZ81T
LZ6U47hh2ZNoJRS5PjdtUx61jbv7QnNE1aFZKHeIXO4FcQdIX6A53QezP7gC6SBhl3glr7VkgOeB
CByb5Eisej3p27DBf4bcwV9yjrYWoQeEPhGRvwPGbedm3ghKwQVytYAhCGkuuiLarX26K3NhcNem
3L3SFioUvxg1K29HKDrn99NHQ3Mljb6L5JjckiMssXqV3whZb30AN+CpoaTOQH8SiDswuNgJx6id
C6JbCKcj6xFb+RHOjs4h4ZXo5j1h3FWsgQAwbWA7iCv/hbAB8UwATEM6gcAmZdWDueGCimcAZvPI
hGUimDeUsCKQL37X9rCYQ+ZSPPwGC0uo1r/XJMe/bakmMjZdGTKD+KOBmsB05cIIZDJlFntrFBqF
LJl3MTflzZ0xmtwVywU03BtrDmRYxe/DC2PCvNb6nunDZBLUSCI+zBKIV0iDcahn8BPKgAzkzRvK
/dlKV8bWGQ8Y2+txQ/MjN2sXHLiods0VJ8f0Fjzd5i+/cStMhf4jrti9r9J7AXzwhnY+Kquh0fYT
b/hOhp0b9STmBJ/c0fvMNCjqYmrFYyQD8maSaFMmDSZJXC0QdnDTYdmHPv6WR5Eq7gqX5H1ROXEg
UAEsZlYJ2RpK6DDQfmfu7VnmODt6Soy4t91jgwZ46w3xjpnEz54ZGSxuZdUF6xtcEMHhBrPKchxj
xTK945kz6dpx6AD1HUrH+pKglRDeuY1bQVQxIXsx5qucWCjkswh9v99IjwAm3Acj5XNzzx4kF0pj
qG8BO929ni70MHmlLYrn55g4n6l8oXGPZjELDRBHY9+Z6pgf1OQZ5rWa0QEnXZtlY2E9C0qU/5Je
NA76GKMNO5OgL2RlU8oknYl5DcYVmS8Jy0ihr/KXbuKFSIrjzZdvUH5j+/0id4tWLDm/5FWkt2xl
SZ/tqz0h/WrwKfUp3DRY0iYH/U6D2Lh/KKiZLKKi6phMEIayUaASlofauTiCkfmLn9nRmCYHnz0H
GcDEmJY08jbf1Uvgm//0W7KP99XNPNdLdxrMygPuwlfU6CkAULpklftcLTrR1HEfFKxiF+KBEJxy
NSZzD4iPDhH0JxKL0Oc77Mns465IxtIL0UQd9Y8fYXk0KQiQ3qN+j3CIwBZTAaCJAkfsKqN0S445
QdqKMwPfBO4n03vNleL0zFhGQ6//GpuDBEEua1/TOb5YSHg0ohRnH8zDL7OvzuWS7ICUld1htSK1
zs7FjiArKnpKl04Vsv1CkxPOEKXln4cDOTdFdyTG6jP+HKDJRK5NkV0UW4WIOHJawgCEU6Tp4qSj
eKIwzYQCMePuhiipzzqJYkT+u42bgIzopp3R66JTJgrJCOCGfcqYVDAdIEDSPF6gBDrzSd6TE5vQ
7MzjZSSImloo7hFbID6Q+idgdwz+6J5Rrw8hwnJJJxmxThZgmtS4bANf5PnSnGoX0oN+FR1onq21
5cPlU3zFDlCUGHF/l6hu/6rjFNH/b69wZwaLQJ3PIv3voqLPdkO74piCxFaGjgo7FxZz8ZpWw6ES
JWEh9JIshAvfg/bAz9OD41LR4UIp1/hFl5YakJSflK9F5kWz4RqiXSQLOXT+UIsV44hrW2a/XAcp
yK8lRrd2YEOGIgubrmyFjCd/fXpsXSiQE7UI1TBOBmxhduIx/Z8Pv10g8yA6U63ksGiRLfgMlzAy
bK600eg9wLw7WdPvXJvHV+lR3NKnumlW75sxFQ7Yr+nb8Uf6tF4YKMeQVi7fW4VyESGCqgVVdbQm
wXgAZ+pqpGwInMCjRRqJZJi06KY2A3vnEzF+UreoFMfVgEdS0SnQoD2IB6gmU54hkxOmiLhqBmK8
YFBRXmevAhvZt8RzwbLVXGsAAAH49LS8a1Iqx22m7L0w6oQPTZWYvJcimgDx98prfGVKlcJsRHwT
iXs6NXR4HsGOpiBTLQSltaQxGV/b5Yvt3U06l0/woBJtfhY18iauhSyp7rXxIEPZSAULC/WDLAiU
Bxrm/ZoFCMNM1BLQa/1LqbK2QuPapJJC/QIJfUnI1Kl3xpxPC07fco76nZBTnOSlz4xFjZehCQZJ
3AaCRjmyKLT0WF8m9roxGRhQ2mho/q8PmqLc+J4xMRn79LvE8JJ4oow+bGjYm7OplK40Ceiiaofg
TH+Illj2qJlFn0WKzdiSbkNJUw34CNkTtUO0JfD5prVSrz8U3qJJ8VCuyP4XDzSeqcUgkooP9utM
xRL5cqr8zfUXVPmCVC8xhT10usD0rKUWhXwuQkZUzNnAsr9/n2XK+wmlPn/5FjqIf4DgQYSKBbzE
fUbFyPxXzEeYDnFqRiXxhmti8mUPm0DOSEepVhR7aF+c9Ue5qc5Jj9fUA4EOzESH+FcjIkKhLCN2
rNfiTO2eV50p84WVIaeKQOuXTmBE4wRlLyDBv34GYybtF3oPqyTmQEat4ucrzb1kj47QInyS/10A
+m6osNBuo2mCEYsbArgTziXEPmKlyerAFLpS5eeekLKGR/ZC6gMu7KWd18PqrBIRiFmcqXald40O
wpo+9ilnWfpM3BPxjJAXzZLri5XkV5sUJV/kASYwGRyQLfmIcY1z09Wi5aut0wnd1B1DmtP2qEyz
Zjjegx957dhfMcWJWPTNF0QNrh9jo81rzHlRHrHpjz5kCiT+DVPJBzec1iKeLe8HM44okGyiIW63
45cTX6yjvcKd4NcE36rHlAykq6Ca2umn0KWRKENNHbbwX3ukXc5EiemqoRNaiLdfNFjwG0PjfSpR
ioG75WFNLSaHTjoV921A5igFfXqa0fNYHYJpzsY67gZwKVCn9/pfNDxR0jq3wHTpkgkdR1zFgaUI
qXeF6L9lKUTy3RB1NckUj44bRm5wkOY8EO5KeaDxQgFSOHEJPQO35oct4AqopjMbS9bTk3u37gGm
hkembHFSF8E07eOrROJ0dBcA1pGooGbb/nWe/tpdpHv7rK3iJydGKLMvyrmqhBeFvcOmXt7YF2+K
wfzFRcMUhZtdRRR10fBU6C0JjyZWQens75Hq/7RdQD6/D/oJ9yvCiV7dcIgdh1hJe07HmNZLUNvh
IbkSNDzh/qRuO3zsrjNrF9rMmtLO70uzYtqC8tW7kAa0Z+cZ3NtpAOtkXm07+2JbTfN9hebIOt8T
pIjPeV+cQzD1HHfEIN/Gh3QEpmGiOu7UmspLdUksWpJesJIGw+BhnQhPnxHLFyQ+loyG0iUDzV6D
SaLbS8eDYUo7+Eu5M9vBBRLvsoa/ZuUVS3nqlNEOpexusGNx5fts5CaiNFpkyTC1za4lnDzTeEQB
/ZPY+1dHXyhFaWERWD7gd9ICIRUh5om9HzVipJEw2aJoKuILY5sQSKgRbc3r/ymTg2XQ7+oyPEjg
TZhirC+wG1nKS/kv3DA3kLtE4IKoyZwT5j60X1CDl0RA5fwYOPwhoeKWcwRpD6WIu/7LHRjJEP0Y
w/HTPANyrqhZqQMOxlkw7wgO4EscwkeAURjBIgKH2KvVAbBVusKotRIvIZuLhZoqfEcYy6Sn4Cfr
TQ0RAMRnQ/JKBks6gKHYz9pJlExTHKh/ynB8xYoJwMHPd4zGOOcslgzWyQdnzYwQixoTRJrTkico
0VsiaSS98Gbqydt5PBTjZIPOoH/0EObHOSsQVegdt+134dgzAuRgApFGzuz1D9cxt04soPaaB8/P
l9cP3SeeOhAFelXRjsExl+Y89fIaPTj2DNukAL02KR28dphjn98ircxEx+t7aK6EdqJOM2HQDKNZ
8ODz+TSSZc7BOLEM1nBFiEX00D4THLYeZl9by0tl/hlLO4+t80pZfefeVF7A9ByjYI8xxdzditMX
uvYkWRyMf4m2Gk11llU6prL4Spj1N9bvct1terDu6cG9h3jWsIkn3aC3gGCK94d5FPAF9geEG76y
GrP8mmtuLngEEnESCAYUd8R7cMZ3Mkj2EMj2y+kfFT0UCX7hiojl3olT5HgcVjH/mC+I+bc1IVSs
9J01ovvL6mTuSFGrm4iN++TZ3j50ZI7AMC1a993ySWTNnxmJMkBuVVh7pIgyzEBqMd60q0g4azA0
9jXfiFVTSLjwFHY8eZ654QQIc/zJS2sLj3dO7sOSwzLGDrL8Sw7KXN0C4NK3/lNZAeYZGL3XLr8C
+OCRch3JqDNnhv8ARMyFdU6MCA8QdHc4Zjveig8sHgWIAbAgJ244d1iga0g7yF4L/bcrAJgBWZxx
irjmoXNQHyyQ9DuYL3yTajepAwkERInf/qRaaZNiJ1BMfM6GyKgTkKNpOSZVB8zlKPPkoIFoMpw3
YzM/xFewytN0ot/Zds/JraMhuMKZcfOWDcokTwvpzOVr690/F3gDBtU1AruaVCc3pfhdUGDyabog
DFDvWqnO+yVa9LrWGX+jFLC8VMCFUALlxrc9ezCqBQKimz5aWKXlX8GGQP+r5b8KA8470lfo71j4
eIg9TPdNHh8M3sINA+hq16QQLqG92+NFRbS4SlhI1E6n7NkJVQNRTKnwAgFCgTIN0fYE1RgppQan
C2q/G8rMHdJ/VB1sSkUDiilIMiNXQpUZqYIQjTCrh3Y5HUUUmhFsM9EqLBzEKvCzRYmNul5hoqE6
YPePihAKFaIpzCvKP9BQKX9yaBdJF4p5iLGZQjeFr9jnYmGAUlJUo2rmvN/7HENdY0ShyG2gaA8a
nC3Qm9IxtBhgruuTF6tdtDkpiyU3pIjoAAS4i0nAoXq6Pozf2OAhI43jMJcDlwExP8f7juRkri2s
duQlAM0PsYuuvaPZM/U1fH1HqK188hE0Qtx6PKpE35GUObKL3N2cjwdLmwlwaI82NaU29cxFoU1D
QSuj0/Bz+OX8UahBbc4uxi/uAo4yWAPVPdfopeUQ9Cq/ghwVB6DkgaQqRRtKR6K6+VSfyOVQtec2
U8uisoMqjAS950knQm1kZABQSFOigeL1+F0jRuOHEr3Xz97pA77r5fUKb5qLjlCN1nPe4M/7PsVt
M8q1aFy94F7qPjruVj/OSBAUGecE8pKtKEk2U0qn/r2Z+nfaAvYxXKICUIPYoMxEiZOGQLJEl4X+
wgda5PY1amfFDLzJBEwAwZQJ/lujWd8Y3k3aJ4qxB5H29iVH/YinsSWrODQjlpp44Z7ejzd4cxJk
pvMjWpEoMjNZg1CRXuQLkYUzm70V+zBcrEHDQXwUn8EfQgoOloiSa0Igm9Xz/0ZFPYGLXNLgvMab
nD4jlp4l6ya5OfU17p3oFPOCmgONPMAVIny9V9mqWkUTuSJMvduh9U327UuZxNH281bmhWlPXTwC
yq+1SZSq/63Kay4Dzip8aZ3ZGYysmVKjwKY31HdcNWAlcQcl6i5mlA1eGOtVHwlqbrFRddwXg2jS
2G3fzZP+x2wdvQ1GtZSQHZMUSf7w+z429XelpvD4XZndh1ZPTTrWWgIs2EtXpZmvRVnzq+HKjRTo
N6NOj+CJMjEUIA4wllRUz1z1NdBNfQM+HK4JqF093EFXWyj57GXaTqBoaIVUKBhEI0/HaOxNEfBl
4ISMGNebym39tadlSqaZttVYs+ydVNeOGt/1N2qukbrMi4Ng9SnjdxONEr90vhpySj7T5CYVwSRT
slVtv+aR13GaKB4oX3VcfzvD15sHHtkjO/0O3PD2fld97wWOv/Q2lk1dbhPXhuO6C7/RBil2519b
PvqJasLzSW+abw1DWbEcTTFXFbbR9TcJ6PZre79JkZlsVAnw7EFSgnoUKOm07UQetokmir96HA+l
1uygugy5tDHiQSAl+gjCTDO2DANiSSGdEh0mqVx2ioGU8uBUSaGhVRSHjiypI6uhg+UVbxXGguUN
6m/jdqm6FLWM6g8b1BiqfeJhxPRBwrONULcw8AIJoSMr3iQzjJlfyjzR5r1tsxJmUw4OsH7X6cIv
Miw85YnVs+Ncx/xqZcZViZGG7h3kGM8fVtvURUa2yJ2i9obwDPpGlVHkcXOfMCtTSgdb0fmkp1Si
HkGHTuPsU6rEfo6SBzglEx1LzwyGuWT1zNJ3qCbhfxhH4SiPk2kjfWfox1CqQ6AmRA9L9ycvOR3W
FspedZsK5uYxaSgwR+HA0ysUNeR+gBy2aZDTJcXICBG7hxLV4pZgpsNX2Pyl7JXePhFB/WtNzwk/
sBBItus2GASKMtL1xtEz+OQJwr55M7ZZqFyWEY48QUXLDwFYfb0xjupmkIFXyUM6UTrKdr7yRsOl
tPetbw+rqBz7yWcAz/aTYfgttwPZB+cU14+vfSrCR5CEQ++F9hZKrFJ9CAL611LVofb2cdlFqyP5
bU4DmZ1UPXe9dtEhh7DDFkEhIF5lOXFx/PGwXkuAB3pNB0avC+L08sZtYFyp29Ad2q9tlPCY/gIj
L/ZWHhTDSvuwMg2tDy5QcQR2RQ/iVZ0E6UI3knDa2Gxj9UCtLnZ5bDN0hGq9QlzXoCro+nUwf2kr
xfXKae5TfP8o9bYuzWKXXUyZlVlvhIQpsmNfRypJKiSLyp3/9Z82uom296FW5HvRUjdsYEGBahyU
2EJx7Zt8epX09SZvt5lYIaSgsrRP5euN6LDhPZs8BTtgg0Br7ERzPsobYkskoc6oIoyhO8pH1ykC
pMqiYaoP3cBkE4S6QvC+qjDimW/pzLDTo29B3rYtvZ7EVp6M1JevOx31NUGkhsaF2lYLKVSbflET
fUsjTOYqVltvm8pQpFXaUo9JbzQUc/y2jI6yJS+Cmr1866nR0vPw9GsMaVhGEqtsqFwiKYsH3KN5
LEf2n2qnKdQHmuge2xuFJrQlWUe3odDgybmTGOZUk3ISIdR3xp2q1oZKhNahTqoapLG8DV9fyuXm
iwBmFteyBNrnZVFIqDDPTBdAGDkOr5ZPu6w1yg6NdhA5SATYEc+uY81aoBRpZs9RzJA6n33+eR0a
3yZJU0ahJY+/ON1TP8zNz1plc1t6WKs20KVyJO1I9uuBjsVaMChTgwKfY+nq9CsD263b9YchZYbx
7dWWbdeqaRAGvEUT3mMH2YEb0MSfz84u3Nc01BQnk9R50yrVToulfGa+KnJMr725VA49DQxdprBs
fyUrd6IIXkTeibplQ+vcg/kXpiQ0FvnG9wMcugGvFZAd0amX3+hsKubIb4Jlnb82ZghnrkkLsKx6
MpY1tiSGbSBKGFK4/LSvdRVmhYNnBnoP2QurokxlX6VKg1R5rVQby10b5KtO5TBtHftqfshE3kr4
HnUaq28LOSadQlS4VsPs0Ilh+dlwMHNZmX2426pabdOmGSWucjM8fSgH9TgpPgNdzUYdO9zUL5Ap
kfseqF5JOSiTHCu1Dn4ESTmddpoCgALdJNzRKa9VMlqIwNMUaDRS7q5sGWNBpTN7K/KwbXWwaAWl
SY8UGXnJD/mcpqCYCziSAqYlc0sxS5ex5K1Cq18DjDU9oAiU60P2S9GLHRvA2pesT/C68Axy7Ngo
WqRgg4GhIcur2oNEgjFR48Tym9PbyJ26Elu4QB8a2CB8VeR59FQdB512L0yfcvYw1ShI8VGJ4K+X
3RIxFlWn7hf2PVcevbEpNGO8liP0+V7RxIMxaiLfUMi0SL6QUctZQnKly9+NFlSjVP30Itme1iSu
mHwazUX2vJEc6k7t4YIVlKP3W+G34HNaIAj1FivQahA3zRAhqwkQAQ2LYEiXRbzUGlSpVHAZKNt6
LUgSUisjRrwGTe4CU28eCDevcGqb1E9N9mmlT1tTnXc8iT2q3zptnIKQM0sn+cTt+EM980vJz0eS
tGOu37hlalo2KwNzEBkJamMSYuIqdmVeX0ZZzoxA7qvhgB3LK+0mhjIo0W0tubE2ZohGR50bttoP
jXzom/7wkze9l531XgaF/ZA1MajsfqmbXtf7sGM0FJCoWJ2mCJjE3+SoJpTLYXeBANdurqLdX27C
nLBBnnt+W/dilaZo0qJpKzoB8QEJJXJVrJVtGm3qhHwj0gZUQ3NKiuUESBbBKdW6qPjR4iQHXUk3
+p5QRAu4f0NcgW0ddZc+dDcZs4cbG7Q2ccSu7sDWScqAZn78aOSS7X8iAfQyl2+rcj65Nfp+pM3X
7sxzsRnSV7Cp0wg1jXdMjEbzrnh3Jq0EoFOu8VO3e1CiMQVnV/HCSjLE/u2L7QS+yCDuM912KkpE
1JuHykAbgJwdG0PQHM5nQHfbKQcoHPc+A1Y6hFObozEU/yGq1M+n1lAe24vQaRFPxfjTkfnN0Cn6
Rb/qW8PUgU/YU8fNoBkkjhBYRRsAtHDVF78vd4GU978Df2sN82nqpA7jsS/3xe8AL/79DiaHA3yD
up2e2TMduwcwp2v0rW7Ydft2z+t5A28QD+NhPcLAogfGYAggC9eMtFeNywHoht67b/UljoHHQw+D
4z/e6aL8NlBndDZ7Wf/dr8bVWMXgAUnHEY9ihPRo3xh3BrgwDRE87yJh3kdc/w+n2g3KbH8LNk3u
sDPQerhuDtMBuKaBNl1czwSFuLe9ar2FxiEax6bXHE3ogVPAADAs98961xuBrGl65B3HM1WUXjIA
7XNgjz9YXPmgrgRQC6n3sbgRereda6NkwLsc7wuk++sUK0Dro3xhwmVCXpOGSotnDxBLGA3Zim4p
kpvRqFpDRNgLUGF4F//ZRwAq8r4WYL1s/lq/eb8GvBKMsrW890ZZ33eq7l37W1FP7tUTt3vnXnbZ
mXf3YXdv9KvuPu3p8/1qf9eW9Wh1B4zSX1WT4rqynXvSfXq9DYWvPybk0O496deOgt5qtdoEm3oU
zu716u52N5jSdOu/VbRhsvX9v43XW93zAd2xrjR5rjbPtKtPiJ6LzbMdJcPVk6nW9XrPp9TD2p7X
Qc9aQeLpyzwv30Gl0AHwBhwWkBWjxx2W3HKA/042D0buOHewNxtLCzYS8CAA5ni140a9zijp6X3M
SLqw9FFL9ybp0psEo+80vsfItMM4WMqzbGUfXuN6p01ScAI84Ekw9sYhgFh/gdIcYNiZv3gPv6Pq
AYd7kAFYTXqNQ/axDdacyfQ1f8+1AdQD8J34TRQImeGh7SAqjF6nwYBndRu7w7AK1x0rQ74CjKIg
ANXodAOyqvdAsobZPJvnyMeHd+RiF+FgG4wxVJ2FPYwfBpxQH4wS//GvHsFliELQb5yiNTKmdTTg
vLphb/0ertG47SojOIKjmFeY5gzg43eBwHRhLAFa+p3ivHSCUTNFFG8vbkc00qb40wHKtMbROlkK
CJMA0Hkjd2gNAc2teBp8lcfSpjmCzVFRMTc3BPSB71gzedyOicfDxPkOAMpNobdPvXUwN4bNP5bO
bEtRZonCT+RaiAhyK7MTiFpWeeOqwQYEZBSQpz9f+p+u7q4qRUiSzMjIiL132Ar3j/65wGFe98lu
/gsrhFyd5vf/FvvxEyhO8qEf5r6yn/sDaJyENQSOweywOD1X2Sf2xnmtNF9A+/Fc7JaI5S+dBipI
+6XK0wuQ2i/4IPa59+NiH+2S3eSg+XMM1d2Lvuc+Cqom/BUdYJ7qoNEChWP6me4Gt3Vx687zMHWI
o2wzINIPu1jlAEQaJ903tzuIZ0LjyX48P9D2278DztUpO6QX0gNEHPMLb5PfAvMK5J83on2zLU73
Q35iD+2ocEnbsxq0sB5FmHsREM9YBOlpwcspWG09FITKN/k0PoiBWq1K+4GZoH6xTdjQgFRmaNAa
M4wLWVgoMv+9mwBumTJIqbDhVM6dJz+uR5cF2EgsME+MDf4J4oZbANuoOCbi2HHJmZgKD1OcFwgF
Ni0zhTnC8PD6jJ8FowmihZFb8AER8ibYZ/73VdpUybbFp1OAINN144j35lRHSVeZjfKeaxR7MSzF
peE2bacUfZ2uo9W4XnhIX5hiEBJcWqJ16dAhW3KCQe3OwzkkVJkeIZxMF5HauYnYr+gueioQaYB8
i2QALJX4QK8FhPChZuUn5A8JxZNxCfJb90M6jl+jC//hYhBDEsTFG2+THBAZJPLMIlcL8kdAs9Ec
s68m7p/5WN6AMDqQJNyFN7HUYDw328dBW/cOvW0PaxLMvHM1IVpbZBDp5feMEpnWtW7B1FkJ1uzM
Qf4g0C2UJ7YcQXlq4IXraE+lbn8BczcxKrO2RE35ZvP4joIRueLvFhKqobHxICj9W2xQI2JYH7p/
8ufid/Er8BDKp/qZHtmLHu9hEqTHwiPvNvzrCdKeefTb6fotr44iEJAO0d3snLBUnasECzi0mhVt
ru7oUJAXvm0gE7t/rJHHXeOrcGMLj1cg+5aWiOu/b9QkFwb5t3anO0HkFTckbomvU3FCysPns4Tq
U6jAePK75BTxjBKyLPoO2YEw2ZIf2M4FhYilVSyreGqsfASt+TdukverkiVWzKmJG87CKo6jjIVY
9OZ2EeIzc5BYh1NXmG1KtjIeVUYm+gGcjqIGRvo+AvbzktACp6fowv9H9cMUI7dhtqQW4ETjWGD4
hNmkwiMPkCpwpviJicLwFycUg1isuRCNPKIu/CQmGkRq0GO8s+RkHMsE41/jCOPLKcUvI+u/eNsn
A7n0h2XYLUNglsujNyyD3AhhyYrfhJF+/8e3n6Pv+R4Z7KXv2ePSOyZLj2/8te+mffRyy7M9mxcj
XgEIuTwevWTJT+KLy/IyfzmJYvzYdrPcxsaRT5Q2n/Iqg1NiCY7HaBnCtI6WdmEcObHvHT3vOHVp
QLoXZ1zxumgWLbHFP66DQaE/2FIaHn+4GNcZuFRheBiiI9F8fhmXy6PNTfA27eH9/25BXDayQqaI
5zle6Hm5sfRutzBaBh6N9GwO4BycN7G4ydA/Hv3LhTd8cVvekcbbseH59pY/tvjjb8UNebelaAqf
Ixa/DrxlGCy9X4ezBk4gLkL62hCX9t6n4UjxlMUXbzj0FtNVPHFQT9yDWDjFEoqcGz8JQykWTQCS
FuoIvCZGhC+e6sDXDWvBN054W2IdDDqXTl3ebgAQsGW3q8n7E4v/kCswGR6Of8Rii9lnwPlaYlDF
/dI/HCLMrP/j+/6PuBJPk07lilve5TuFqN6L+d30RJeyeIch1YpotWh7xX2IcUt8znq3mNfFk+pz
ic+mFkOMxQGTj4uAwu7b/DMs+ZRY+O8mskFGbBeYt9jGhhoLE8i5STDJvC4fyy8gIsvBWixRkFjW
yxM4TROA7RJpQPHeF+LvBoBt/pHoWrbL34A7B69ri+bEPBROCZ+/c69m4uhGBI1fwaiqZmIkXEy3
hMlHTNr4PT/NzhgM9kVLzQiy5TkIlOWG79mS38iTLn8V8VOgGWfeSYxNwGsYcSNQOJv4nOf8clre
wF4HoI2WZ2vj0NggXOrGb2Ny4JlVebn8Oge/gXML2+WNGBALTmcQ0eKL/TEf46JPWxxH9tn6DRIH
C+guHWwlOQOOXg7MZNUMQqQ5uJmA31LjxojoGBHR8sZA8MKBw3h84gVeEq/dQodZVoh5z60zOnh+
WIGrGUYXcOiMNP/Ios3TFk9GzDAe3N1kUj3sI4bgeGyckSU9FGcMxRH8lFhezIC5OWTxXX4HoLMX
b93NHFPEiB+X3Q+X4E2uxEd4KC6tIQluTIwbJfrcG0+BI+UgDMObWOfoPsp2c7CYocejcC+FoaFi
B/9Dc1xHoAzJiGMUlke/2gsb59E4diLCM+aQx4H2JZZoSkPLHpyL2+BeEot3mVwOH32brGQvPNG7
yceOwnRSavO/u566x5HX8UvE5zh2xTlwHfBFKkNYGHGX3rgWM2BwsQLiyMIRr6ZOyKJqv48Zmb63
/BTemNeumPf/3YZoCu2Y4d2Iqc2E8YX5u/t8KNmLa3Fxak7SSE7Fx+gJVje6iSZt3/aDn8WTgr3J
7KGTmEJvm4qIwvsA0d9gU8V9hjn17W8hvjfQINFMQ7iTtIVmVCfaLr6GH7JfTGw+Jh6HcMbFbZjH
d9OnZ/HSIuD5icfoiSbkDq0V04wrhLEdhhMjPHYu44bX/3/W2AeigbUS3hwDCM/vyFnv5oj193Be
RbfQitFNsBTCHvBRHBchw0ErAXSIywrYBSfn9Ox5OEYMs8QSjS54ZCNXXMY2Lb1+0X4+P7xdoP9a
Jpa9dbgwwxZlEnEy8cUHjuDeaDmtv5qLrzDkrYN4S9/BWqNxvCDOFeMUjquXPRgzJ7i6OCnL4JYY
YcIm5hyEcDdJBy5vEyN3+IVJwBeZn/UtFLcj1jgWHtFV/z+jvgvEi/QOmnp4wyGNDQXgBM+TWfnf
HEaNRCylwtCSWwjeNwXGI4Q5yVQJmSHvN8XtTwy4j8y1BQ9Nt4TrEPsgU4wWCB0ukBHewEXfVE+4
U7dAmCvQT3bQfDlnYcSCxHA4gjumCaKXcHuZgfzFA8ZURt5gnM/CviJhbFzN2+02QVWFtROLw+7E
uOmYz2CgiQoLnuxh0jirI4xttg7Om7mzExa7A4CVbp52b0cbxNPD8Fc3HCJf4BeGsLaC2VbynV/R
VtGnAvpyC2gqUXKMoMJaTRvx+oxgw3n65Rm8Nm9NHXV5PqMseuY7d6IZU2fcn2XfIZllOFjc8xmY
44ZnFnl8O2J0H66jWboxrAI6QDQo3SRgz9QN2AuP1vBgACsDtRX4+MVftF2Q032h7wlKF1iq9DUD
fwdonmzrHzCyHw5c/IEXeWNb6rXiSV/RVmEJRuM7AO4DmlUNeB182QPcjfKl/oHXBoMPbuP+IwUg
7vF3VU/+Ih8gcHnierNQ/kNLyZ0JnQuAHsfFpo0Ethte4R8QwFHA7ybf0h8IkaYn+C0azc8jotzL
6SX/RK5tIRsjOjkvo0etfBAILoVNOaKGAHWp4BqZU1AAQBCBWCAJTzjuakWIlMNxIMRPUQgQiaX4
W8LGYBGHhAkIHbrQQfXvHwJMJ/kvn2TxcXa5/1NhphK6/Jzv44/43xMEx/l+zn7A8H1B+f3/FglA
FCpUoHbZjb6FYxJS629VFnLs/GUfBGM21CKB5prv6KPFEQFIPzuwWaMUSn8pv95aBC1Gn1w6iHBS
+QItjUarcf0CGAYiEmwYd4ukzYB1zC+ggkV6HR2L2oAUTYDq8rqotwVpJMKPAliObMn2+oVWjxdt
7+fmKz7ziK9/ZPOD6QXUW/V5/6ipRUcxLkR+zefUBNd5Bz8B4w0ZMHoaFiKOk2SAMRhfZoLzg8Lh
nw6Am7o3zyWd2BIKyCCFmzK8T7ZG/2riqRcEynuDWD2PEPRXDy6mNlAxLacWePAJKsOE3xAY7in9
i96XwFsxCgA5KfXrmyTXrC+oJanN7BR60OTxAoyZvmy5VPZxj0hFnW2aFiVzZHfaKt6/MsCu8PHK
fhHMUzo3V2UbUBdwif8QdaAcgT+DOUwuwCIIJaDyQwIYAR3iS1hL0Hdo60ynBjtVcIj/vcs2VvQ1
thQjMjVa9uSwi0cThb8S2Co3ALx/aiB1dn1DWEFVgiUTPIHD4yv7qjsDWmUzUseGaOd3DBT8H6p7
5JE7yD6C74nqACUPF9CZCGgh9/0m/+UEGvCb8HsSg9IVCRVIgHiKZLuoy6mizoAEBgjvGAAVWGQi
oTVDEtgmgHJRGXUqApWgQBj7OJgQqKFlwx28lPBhyYlRpYBJDgGhWCHMtWcV1X6AIpK+gA8uCUkM
PkD8nEFUtkINgMpUemmS1bn/8trwJxNgPag3aRAqBfxVbygSQA+HHw00Q2DGU7BBgtgthJpY0A/A
OkB1QTtwpk5tkTc15kbmgpdyY7fx9FV1lO1mM1vNVq/PYnP/BhsHrnZx2KB123wqB+WgX9SDBJBf
+pQ/oyDb3cNyV4bxukGUHKnqBDW4f+VH9g2eea9vJ5dEzwkQT8lbDq9yM8KoYY1HIBTJJWBqQCVE
8ypWAqD0tSDeyF/lD4iX9mcgkoMGrU/W/49nQDKm/1YsSPohorfQYpo3oN2fnEtEyr61X0qoEmcM
kDYh4DC3SMyZYKnPPUjFEDQlIUvo+4yxh98Py95R4NKy4F+P4H6twX06kcvOegtOvqD3cRh+rsB1
H662rz8aHNePqTMnkFKcaC+p0CEHJ7hs0VVLbLD8h1qEIitKYYr9is6aNsH9Iyom/C2ABEvJKhEp
SnQLrZN4RuBoBs0Kustsra15ZJMfTgvHHgTfHB75pCIERnOcqTBW4DQhHsGF+gHlGx8qWs5ZilXv
qFCQSuKwuHIX8TKjRlKWIjyR8onJ7u4/VeOIctIJdvyCsUUAvT5w9FYKrkRD6RK4UDvQiRsVGTIR
5+0hL6M0j9SpTcLzdYEeAJqQPFJ5jn8wzpOThhcyWyv4k5kFSJgmE/rL97mb797yKOSQHM1N9h25
c0HVUP8SoaGQ76mV9V2TyADvBewTUVKhCoCkAIQKipffWO8e58Wxg5I2HEA11X6FXpFq1EdmHhIQ
goMMSbnJ3GiNgu1JX4+tQP5z0zizN4n1jyoHP91PuS4+VT8ORYjotYRD4rRWYxPY2SVoxsHQ36ar
6QYVKLSBSazDSP9TTtrPCPha8EfE4LsT+GpCdUUx6LdcSAbCC+lnsQzgCbEk0wWIHI0QDoNWyJgA
F0PNh+cKChe1J+hNF81twhiA/e5JeCo7APG9pG9SONJkIDZ/ZHhGB3JzDmJ99c9whpe3qfZE2s/V
PgK2+i3DOP9Af2Nd+5SFQ6fMSdbRetgwG6jpyzgjAMlOSgQrNRFhIsZMJjVMwtfHHDKdqzokR8na
xJhAna14cyIKygYqWqVE1EtiqY/D9IeAvzM9KkZPjT6Karl1gEbPGlFk9pstfqbI9kTrZjf55DZT
t/VToglwJyyKMFvq8rswCxviBrZgXCGpyD4Y1/2y8FrcY3Dg1Za9+14hiHUl6ExJYRJZiEMTISdp
4JZBokFIbnbx1xTy37vqLPdC46CcFJeUoOlVxIDNLFDgVsZMxE9KKxuxdV9lztOdeRDLXWWvH3IK
7PY7TGLtp6vq9o5XFw4IZVaHfEvVQHT/5r939AIOJtUpqTgKhMWZmhodI6KzCAGuSwT7tB1bSkK6
MnEvZDxAhO9LuyWP1ZJJky/UsTax8xvI/ojGsQfRdxLodityVEIii4B1TiD+Yj8iNNyfMOZoNG1R
KER58CP7mh6puWnqFsAvB3XMTYmcYbceETLEDJB8SN1idVVQpriulH9knAd75kNNVfYznYJOS5IH
MMvh9pgYG4EvjC4sipixYY23g2y6PTKddIsc8TNMIOKRaaScD4kSv99P1v0KelBDOtHRbMLpK/Y3
RJ8ZW1b/wdJWoZxmTG10M7+FzA7Cig4G8SYcffzcuTPfUzLQJ7LBk2XJjixUrmfEJme2sko/SGWk
3/K/CbBgV3NnLkIspHS3j3W3mq464Yr0NqFo5xokK8qx6HMfDRvEUAAsoycG9kx+mFTUrjSb5B5r
v7TBOrB8zX8o5q4Rfnx7Czhhe3DN2lmIbiyEik4XIAJ/KA/4C0wroZaGq4bwLFCYh2Dr0DFPAASk
Ot/oaGTdcth+9rS0UCdkFYEOh00QqkioxXlUgv/tItCxRv7xJCf/uVjVQbEiH8bi9kbW/0R7pvGc
nJBITlYrAOL2dHNlQM/91/56Qif7n7zKjiLhiCT8RQG4ybaC41F0IaLkA69mj6H6C//1KWGcHi4E
Q3KkT0JMlHghMaW+hBrB/W+6eV0aybgzCgTlCROg3DTUuNG94NZqC3iFOd1ELqkgfDMSO5mhMAxx
BAtqSy8Fa3tO7COoVi923S5KbeQLZ5/q6rp6OrX/OGDZn8j4tX7iXuZ27UVoSF1XMxvOgMPYYZw1
ZBXR2RAaLR4aaB/U72Pv4gFe9HiD4liIBkDBvKXbep2tm9+IPSJbqM3LL9nVv58oFtKbJTTIEEXu
n5JVMcreMkv9RZhG6IL4TFsxYQpWEbJyHhXJ1yRBCPKB8nK4PtJF5nO/IJxHcIg1K1k9DjOC42gG
IZ1wLBsTB6/9I9JhQ851B9LBpc2pe5RQXZHJmP8kFzhK6HvNCOOPLrowdhTGRx35gdcKhWtycd7T
6uzBn1NSsicTDc3Enf2IFc6GZkZZKuu1xTKRQ45Y6si86b86zhFJwREtOINywtZi1yDpR/FmCsKD
mqbEKlnaI3feHufJsv+Gh8P3EuQAGFxGPAo3uokw8OJUf2p+smtR8SIhwNQrwseRhID7JAfzYIJm
Qdm4+NULAapYUASTHm12PNMBhTb1u03M6wqJtLD4hukOzhp7gQCC9suPjUy2Ex/1+hH/lof5T8Xi
l+/kleLMPwskSepAqXfTI54m/qbMfobVDJR006AYUgbsazJybNFe5AjJ32Bm8CfRI6uEeKL8vfhH
JzBuJxg4UOJIGgWPP/xqmnbLGRQvXyJ2x0Bg5flDMFEirc84mvyysDYf3YZAl1Od2GRhz1Cgujaw
+Pot0GVdwYcYz3q2tSESYUtY3M914c0o6+B2QQ8qG/k3NsCxn+yfFKvrbMSbmO+YDPxqr7GfdnRU
D1MHFdVACCtCogEUzUavPMxcfJbnVrdHipU/jvpvTGX2mkw6mUcSGRQmdeb+A6svMntI5kJaQpBQ
sJQTVFbRPEUCisQyq3C+EvN5WF03zGoOx7tpkO2j2vkHGd3pZ/MByjwOcDQaVK/AN1iaS33ZggTc
4KbMlpxYYLQiXIOcBYaoOQHDD3FneoLfUARc6QN0p8LGg9nZ/OOcGFqAYcxPaAQ/zwG1qPagCBg4
TiW+DZqNxBaLFRuCFwsryfiEPQ2z5LrEwiR4uXNXHBeTWidbKVv1QT+3h9kaMwtO2hhManizOKZh
s6NGNMsV0QVKJ5Pyf5IbShBXfGBG2EhtMWeji8yMU/pPhyuykIpdmw+dLL9IvQWfXT6NxxFLbnab
dFegxkh3l8tIIpnFahd2TNTegcDSlu9ySqcUYAK7qvYIxGTVreG+YBZEV6nm08695wZclNnY87BE
gnNh16SuKFZ0m57xU1t/PMZf6P8k4A1YlFhT2UmpL6cdN/EUA6qihjM5az9CQHPbUkOBJIVyY8/F
Dp1i81Qf7Rye33P/Qgc0PsxJS7PO4aY69GKfucqqX7W/EdqOFPplIk/RmED3KpMAEKU7MYTysBHT
Am1+vG0QYuwlmC7EDartU1B3N/K38oEwn1AsZo5R1ZZS5Vb6ASp2B+0gRKQFhRqx9mJ91uyCqdWA
S3G9W6/OyslsPljrNISA0ATc3f/mn/HxSjnn7isC/4YuwI7ipexk0jAKX0I0hGHXo+vYh7htyAal
K23dIf9QoBiBXxrO8NVUc+ao/tNeMDf/ZmQsiWZjokQiMd2zZlKkek+VDFKWxQ62xuOYw59hSeGJ
O2R2t3AcgbAROE2s/nRFng0e+idCesIrRjeTRU0WwnuTT8V6OiUUUiYhnDpKPojxBimPdQGjzhat
mLhzKGEeGtCb+z/RHpK3UJiFCpGEl/7eiF9XPWwMTQNHbhQn8AcP5L5WqUuZVRzLl92/LFANYXdE
0Gkyt+o/+cS+64JLz9w/60Dc0Sik2CNhbkqjGoL3NCeFe7cf9C1QFwc2AzuRAQ+YKeHLpx5BGxow
RXzIKSi7at//pA+EmTpEksBhv5mJFEXgSQsORmVRv7sPq712fp6iFfYPliQ3RiSPwIrkdS51LQeD
WkRYUmIaoC2Qu9TWbDg0AoIc85pSYwHKsRYixYfLAmWbASq2dgNLEUivEqcLJ34bRdRNFRHB4oSw
3EG+5YB16h9iLtIfITz1K129tsQCmKXskvAq0ThgZsZ+fQbaD4KPpwC7AMPSfPRQlwCAzoTnMIMS
I32M6Ez2JzjdkdFezeokfOLO11zM48IqZWu2xiiml2ph4WZBNdx2tAVhsiVbAwwtvnTisNtvPmFQ
eEDZPcSZzfuH4PL6hLuIgoZsOJEgafYRhGOxjOlEAvbIzBbW9NhvUSR5QxkQ8gwf69l2cioRH/vM
GHItDO1k9Z/vLuAn5Mz1TwIz+cNCAGcQZcuZJK3/vDQIhBLr20EIDFhCCC1s1M18264yXF8RTIV3
aJL2t5JjPbHmDikyoCL0ktYFJcC3OpC/R4+Ju0CesULaAc8Xx3ly7vzOe4EtQ8l193SSlS5iqFr4
9mTE2OlZt4dK7I+FYTowKIQAC3F042WPq+l+DqCgcN6bjv+LkFLdCpVdYf8A8bdHHacjdRNX/8S7
mwuFRDBbduYTzWzYrF6hBA5Gg0gPcasE8An7dv7ShVyPKXtibInFcF8gapygcjhz718vwIoFanJ1
0AXPkLptICdiuLCnqtw0+Ev5Fsk8Ag7qF+xMKJ7EOUfC/iCJFxZDCCHxHe2oPlBMqoEUL2e1GZEb
BG9NZBCy9qk17XYTI3hXZI7GJhrS0uNqKsQaZk56TDdXAbZn+7yRvPpFcXJLkA4BVwux0GTAZYvW
z2+1Xsq5RZzxhQZqHDsI6QSi2MmTHriuRL0LrE++n/GA+/BORe8OUZ8VITuJMcNtc1HmAJwsHi5h
2uY2vEUCeyGpZwIHLy4AmPXEhiQF6pz4ZyKKtr/+jb8Q2+SLFL7Q5Zxa2l+FYAyl2WJjCBRsejBn
210LSrGKiF+DrCGxykVvRDcA75PvDCdlDS1bqPIKOVW2Jtkf5g8iEOYv/sp3aHpxV/Fm5vXrid2v
YmBZMfJYWHzhVRLN6Hdi/0HnPr+LkBI8W56nzoiQPxgMVLkj6Zad09Yktk/0OD2xOjD+SVOu85Bo
AfKLn/WBPZN0A7tjDxv5Xw1qGcBaGiKh9IS+gtwGmgI79aamQiXxHYgg9OR3PjqlCZGrxia9siZV
ySaPjNGxgqx+JC8hAjkzgSdYwaYu/4RF/5VBqb41qXBxUBFmZSNJWJ8JH0+pniNi0fG3qi+jo+LP
CPH/m+yHfw3bgwhkEwFJtMLKAG1jr/M6H/v0HB39Z7pm2C6KTcWaSeDTRwX4RvyY0QjRrl13PyiX
rNN1Fui/s08awArX4lKnRILTdq3Oktbu7zUuLDNgbhVFBiGnbzZdZc27IvWq51S284GrXbtr7fSP
hiKNRN1B/CfhvJRQ8Upya9IXMPxn5bbmnG2km3GDdxSro07R+nEHftFV0xs1KV6Dn6kKarLXi1oD
8eoe7BIU/fungRHbY/MfpDQeXX3uZGLDbBRlhaVicp2a6bynaO6zNe5Xom1d+/OKhjIEBJUpGlpV
Gih57XHvnSi7VJIcO5OWgsJXuYYOmo8/s+I+WlI0OWcjpeWesnZ1AZOrktI78WOYOklUwruMG68F
UZYME09Wq343VYqcwm+StJ7f0WzopIHI01QFL6w1x15bAGOuEuIbi+R72vZbtSZbQ4UPFK5nw76U
Z9S+WDyCxbwCQDHWj3Aywg7oc7wLuC7LupLnjpItNtN2RiUD/f6ddQ808apr5krPQE2xt7GkV4Y6
L0pLa+81JTYp73aN0aS7MkDyCpXaeORh1wrKgVqLJ5c9FoDg8d5bFiypNKc53JB5P9dsKVWsfpiA
C+gksFKSec/acBq/1tc5gsBKwgkn0suSriXFfLLa0h5VbVKZbLbYKllVbCi8giZiikPUwHmfFMRx
+SXP4YFp/+L0ylYvfiXW9YFJnEW/D0U2lZzgu9yptVX1emcV11iyq1eEYwxhj6fQX61JXr1cZdAQ
HSybmVPOYZP3k35B4T/p6koSiJGhVp0sG6QPWddXci+3rjR7Uj9Vkh2l1rN/eg4ovHwgP/SarAZZ
Ps3GWl4/50+q/naQI+R7vaK4XWKmDYJBA4yM2VxWD0pLUKzHDZkMUrzSimpySNnfR8ycR1p0B2X+
mjl3SFaIc7T1uil10BEZ1RdUHTkJCoobZSYPQt3pFROKn2dDbA13gkhaRmmvSZ1sXw1556eEEEyJ
Nkg32cgEjbISFU9tpgSbBLGdov2kql6Qz/HXFiWl4HUg+d2rG5c6KojSy1wA6UfcdcrueW5n+RB0
jfLC/S8W5sKNX0Y97kty+dGp0vwWH35BrFi3yn0m+F1HncKqr/n3oj1ogFUjA8KnPdyUyro250n8
jzpmxE0a5TSkTh2hdSI5Cgmmu52Om4oz8fReDxSwho+K0AkKEBkEQQAAsl0it1BuII46eRe593ns
ahRj7eHooM339Th12JJ++NPu66fixf12kQMPT+x7OiO9A6/ksYr8KbycCBpkaf8rFDelTn0/d4ou
6BHmUUbFeM59hs067wFTILbRe1SrtGucqBe6ekPmvNzDU1sNCbJrwgK6/K8RvMrmZssy2lsZQulT
5gD4u3ZilKnzHH91HL2W9FQjhS60XCWx61PZE/xwBpmqIqfntXVHNSihHHDUM99mpS3Bp1dfG7Rk
agR2nuY0LrYd53mkVB2KrYnGjVdzJx0Hp4gqKkkj5t1a+fX03KRBPlRm5Y1q7qO7JOEO467PCXRM
rxvqj25abbKKk3g1jjPKAFA82m8eYOuftZUkABmT2JaflHKZSrbSTWzGpXNfLbRLWYsOsbQOJ3XY
Snf2p81zc1fJFVKpS6cqLsGKRWNlYD1p0itax7VulBWI9Km0Tu8U3g3n0WgqraegxEcZe1S0JfLl
dWKMseJMqt55RBBWhCzowi5mA8RykGIT1XolT6tpKBjCsq493Yk0dRZrip0q42FujF1kqy/kU6nU
dJ8l8O8UyKidGdfI+DwoOkJJRtjbGLB08YC5P+yEZnFkfJeyx5hHkbAtdxmVPx/9Y4m4JqFW9aNR
kFmhtBFpRdN6bZjeEJ1TlLdTvBvs8ALrWnZ2FkpmvasIExXNUauMxbSy0y8NJiYwfpWEoDq3rirR
V6LciCfxLIenn+p3XLRhkw/xenBmbUVdY+HMEkF9prZMhbIpxW/baebkzydMM8VJSRrP4tWCLMKZ
/yrpipDpZJt3u8SUUl/J96kd976CyICMIU8G9AGpI50pSGHNdX8uazu4QtxS+9sxcvVqq78okCxR
6a/WvSKdGRG+C+zkrlrf8TjyjCimxGR/+m1Gsmw+iF7MyVP189TUcyJWQazjLq8od/8vnl/tUnm5
JSVvu4E0ErWJC51z3SaOBPVMKLR/8EPHFGABrHdPb5X/VRG1ZEVqf7qFZyhn2+5BkdrTLJPXL2Qi
yjAryv0wZsEjVnbllSTOkh3f1O2evzRWme7qZ+ykn2U0Uu9Xs6v74OT1nfDbzK3lwhtz1cse5epu
PdvWau8gbMmypronJxQ214yirWEm626C95nFXmou1t1lIm8z2YMN+KFQhr76Kl+lVyweq+pRravo
8nqWThUPWyrHwh3eTGU2A6+EAmveoZ1q5/oWzfN1VxcU5h5NidAYaeplPwdFhOCObEPeQkyJIIWu
bV7rWKXCB5lcpKoQ11gNBdw51OFl42E9SYMlh8FJ4oWrzjXvijuJKUu/2suTtUm/lMlK0UD8aHP8
jzPcSyvqVJQ6VrW2q0hyxonTSKNTPfYIfZEslQ1IvBR0xgyBXWgisyo+o9dgTouXrWTz5asDqDyf
Mu5QNm1DlUB+alw7SnJhHNvtABM8HXYceH+5GiH8k579SRLxooKIT45iYVtbxWM/y4Lpq/XzAmOe
QGwCvMlpSOy8PrLOT0nAqudmQYLkGtSVtB977zH86B+Rzj5lX2jOA2sapYMTaQTTHvsCVlgMuzqf
9d4Mda3qOFvAgnmMK5LZ6KzNIAeCq9DYbS9f1P4L2uqfRPBApe6lyvBSNrNisKQys2TCFLKRolSB
pkD2hV6QUZjJp1hs9SpfNX4RDat7nG/yjpTxgANKVHrYFaWrIRQzEthSoDxlpPYRddkzT3IzN+UC
mEu87Lajuqv8xVkp3bpN7Vx52g+JaNODKmZUI2Yv1o8UGj0/2Wykdi89VqUj078jljNvoPqk0Sr3
myr1ktKVWuJRB/rURX8lR24qmA9bOUv9pkahUx2tMaNemqqFh9RGhqSg1NZzdNWJ4k4z3Y0J7gIp
KPrcpBAm8gZLjUjn1TNmFnMmKhfLmjgSmBxWnPsssmYTCQSLaraEsAhNCmJ5NfOqRFolUGrHWzqJ
NnJKGrbJt81T2iLM8FJWeNxXHPoFEmgQmCvCyjml7VQbX5zKa/X9AbUZrEz8k1FDc9DG7aTttngR
4+u1yslox+T/jDvb0Xv9USiQetrrOppVxlB/tKPVePivXpZp7mKMLeUeSrDTx2+M5nYKuHY+bufY
+8lp2PVR0Mj494twRCMtmmdWHZMFb+4rBNYeC7OrCiuWe0vvNEtCCboufhZtY9c8HIxmrEE2jGZG
nRzwqZUE7iUqFH3qjZiqOLKV+S1dDNuxRkOg2VZXJ5u6DRWPO+c1Y4MYXb1nu+8elJ8zcO83rY67
li82iradPMjMq6MRq4cqvmgFwALCMNWfNDx2sVAQn28ferOpFZ0thD+twgnU8vql7Hu9ObSVfCyB
8jzXA6XpVQI+ZZ9QzjrbTNNyI82Ro2sfm0eTbHRQJudhW++VlgUGvHK+U0s3ISatZndreuvR0mmQ
z1HXRRZbKvsGROd6awGzMKLoVTHzytm66YP7Qt7oGSUpa2eS5pYeJ+b0fneqZDjEVjIp11XWriUB
ekL8NHs5BVvAGbog5WvVsg1zcXko/dvUzvXuayV02M/mCvDqktbqqjYK9cq1H3aLV4i7npTE2Gc/
VYfQYiEHT8BqY9WtXlkXVhC4BjutppukmWwjUjPdilgRAiXVXbYWEqwoiNKT6oUjeLUrNoYKysFT
PXbZjTyfw66JUr9MzWG8G9PeZTU39eFlUpqgYwF6Uo79DrkzqtyCyt3p4+FpMISHHrme3kpBe9jI
X3Vmnn4xqetLyvUW5x5pFD27r7oIYlz+kc9qn0lZykGKA9Gy1f+7jowMmNJPNd6UuiE/JCe6s5DK
0FW7ws7vT2twhgXJipoKYuwM1QIcTewtBn0Vac6EMlivGPWK62hOti/ko90OHN7r89V8RveTRnjQ
7loQN7FkfFV3yghuqo1eI1Rk/o+m89iNHMnW8BMRoDdbJT3TKiWV2RDlmjbo/dPPlxe4QPdiCj0q
pWHEOb9dhPaRZgp7//7RriUV7cPzOGzXtExP6qaHrpCaE5II42oqB2nKcRSW9OpW0uBpHGQ9r4Vi
HBs4MDXwW/eXY0+v5bTeTSV9kERSg61uHFkcOZFViVg3QdZ5/jUzjTsppwK4TuS1TNZvdXE8Vwz9
/9gy/i/pySiv0or4Z76m04qCK5xD2SDCQIr2WYlomzf3G7cW+1lvZf5MzuC+/XMGKABhnh2hwrdN
J1svLvYKQowDGIiFbfCbgeBpvjn17+xZBypCrSVFHzyP4Ty2oaMgkfqs2yFStUhtsyRbEoOYoXHh
oa+TxYGAnGBzfsvZ+ahcMXaoqmTVcRsbjmAbmRjZsrfDtQV/1gpPPhavwTXNDJg7iDiNxsfN7+/c
lPJu+uok+XpfBXncVFpk73qU2YNrIqHrMifKx5+GBio3wEqOzyrDErwZQU6Gk8J2phveTIh2yeyq
fI355A8rjmF0jNp5tZukVNvEmM1zxvPrqH2wjNuta/X7upqPIRiGkXuAuO1pd0+2dpKkb4UdEtE6
pdfhQJwogkP7aHDHt2af5KoUdwLdx1zH8gpwpJaR6Vv24C8HmrmWENHRSrpCO7OIkJFGtJU7jOvD
0XAburODTFfdzh2AuNN/ql3H131iUH9O1YwcELzU1XLpw9Blr+pNr6+PW7sV9135rU8ax7zzaO/S
sD1k1+iVe90ib+evfEX2eX1ODzwc1THzvKyubXweOTZI85dExKm+XDU9u5feuP/LiNUAxkPq++/o
/PxNJauId9ZkbL07QF2VX6hXhhFInC+lmWJt4JG1BpZampVOekbe/lsmAeYhz8O8BQy61MH2U5Xc
XeY8JR1hAz1CMoJUdHQ7csAkkrpeXwOJ2emE1BAH3Kn2Gsc7NgLoiI50KAsh97DmS1UI5dyat7TL
bsewhAoSpEaFmd9hBkuMZhSL8o4+dJaimj5jMZA3aamBNfAxEdlQJjXxvcdCtDtLgb3ypgx7sgTa
hnqr8kfUet78yo+Wr6b1Z90Ju5Ks4HB2TmERTIXp2wRPVBj+Wbrpwua8JEBsHs14LfLzchkV/dwN
6qW3UcS2J32r/VrzDUcOHZ1uhJTIaAtwD0SvMf0jpdIeduiASCPPVNPd3E79ZtnfVwYSQyujodKv
JDhoC5716XgoFGhJj9RBhpKiVVKnYNTw94IYTU1Qatje8yzIDB0rLOpWINyBQ9HE7Sm+nRxU1Axu
A/RsNntdxn7/tn4c+mNhiPPl/sY/Sx3tNGu/3qzmGMjjjg2zIE+SOxLxx004ccFJCt5CRAUBxKhR
eg2xk1QNTN0OKNQvKV8izRC3xtauo15e9zPJm5cOLe1mN247b8lobPFyrXsrPMosjOOGp0+2Um9k
Z4RXX3D6pSIAVAzkI6PFllxvWw5H0woltY5shkqi5PSQ6l0Bn5v+mAGBM9GRD+nm1u6RXt8pZyU1
Lp1uXifTJuyNnCve9LHuH4z2j43MLFABvb4NWn2T1c/Mr+CBDSLNV16V7PYfpm6EFiETfR6Yh78L
n9vTMVS3ceyk79KYKt+Jk54OiRRpRVrcmoaJJvWLe4cjanUtp02mxU7UdTirQvVNncRa0CpFu/YZ
TbCKuGmquBn914QRiv6/d2j0e0+6XvbY5+EzQ5+7Wk1ULUFu+utwsQnacbu9JGqHqXaOmQMVeLfa
ufdohUyu5JpENz5txyIcanyUCkn3OXkhAI2mGqR7E1hckjaXZKlr3pJlPiP+oLnLeivXJXQMJtLh
ljsq8YmGq1xSAda1jB6ZZ57EcWyrO8N4pnndFvFkH8ZyeqJejxVCLECYpgxkapb8MhZUZyuMs0Ub
VNl5r8x4nOBp/smldAENlfTFn81LKy42ZR2ODSDNpa1cWpXoAZMLWHJF970GNYK7Zf6QI10DSmLp
ODgAmLTYwg4G3nWHjq05g+QtXqc6lixm3SqqJCIADsSZ4qwfVdLuRbzvEicAlNIUvVar3fSM6h/Z
Q8hsf+sOSRDVGOmtEZTvKcmZFb3ZJSmfQ33R5fIiK+Vlz5GFY2p12K7n7618XVUjHPI1VI6eAnSJ
UR9h1ZOoEV8vhL/NmW9Rbjea+Bk2co7Gy7G5jlxfs6pmhVUuWp+dG/wzO0W5w8DzzjoMMdX2UW/3
sV33yZKJc7rW/j5j/5glTxxgkIj/Ot3bdL6N89OekXWRdVXkW6B0EnhQZPOg91Pro3OwvX2kUoZO
huw6ZSmr0hQOOiArg6PSUrbenEQDsz891ttgzVwWoDei8HZWSz7jyoavPDE8uDxtJBK8lXpi8tAL
0L4BAigncniYlpicojIbrzaU02tEm5vlvai2Z3cRxucGojVB2gsnMgiaBh5VSBCaZJull0LbvnyM
or41npVq530ia9Lbnx1fy2GzPDtFoVaR9HlYD960KIPD6om/nG3SHzFqwY0ODohJXd9qo77s6p96
ggRTcMpwhY/2GprETC5FyOZ3LnvfxK9N3ZVqXXSLftXsKozW3WfVb7kXlV/6iMH5KmzijZVbybE5
ESTZZJOb8oBsIvP26oeOR1yDtt0fa1XdGpNRi++nUWaexFmeTs/uoYfgBUL5M0u218Pwe4WDGyWf
fZNgK0SLnIqcrTIhBTzDx2Iks90nmaPF61LHiiek7bJ0TJyofF/RddsSt6uZ6OiqK5t85fa4lZ4a
bge2mQqPaKNeFJrfhTJd9W676u127ffpmrkdpi9Vo45xYmsCnNUPur5RyJ52VKJl0uCDl0Y+0Arl
4f4ujuO0j8iGVf+0kyylgqUmNfNHVWE2N6XvM5Uik8MzRO28SsaoBJ+ntm6mR4SPFoSuFZ0XHsAt
VtteK0O/skLetAENFpFSlczsg3Wjd5u09xw6ybcWcEjzARdVcpC1jKEdFY4HDpPJLoFO5H0vrgQ8
N8/fdNCO1LztsusU/4GC6RWhAvsQ5Xypym6MTfZ3baqJdXrsvjGXkUxtjKiKL6mzPnVp+SwO46Ns
A22t79a4v1fglcd65YDYJftsE2KpXuQDYRWdQ40ECihAZRrPFtK9e9fTFFT6l6EPfqYYrood15aC
wzMloo30c8thu/X3BkcEGWswFigiRp5Ap7+XXZJZ77u0AypT0AdqfM2JBEtRYhRByYvXGAcLTn4b
6d/y3pV5rM8qaWvUsixJzRg1cX0por3wJVtz7WY2+73yF5hwNnr1aOJV7mNJsMnxFm+r7K+2ygaL
Tk6oJ3WoAmfvA4t8qUo8jk0GlEdw+SrTdEKro1jceYx7G5rqGupCDQV4Rtf9mvJ4bsxk2gPh+M6m
hbbToaGdkrxrkz3/scjfbYD6nZKb+UjfZI2HkNRFhREYBaHsjmUdjaxne8d7UIfbvAYnNf+dOqU/
D/Dso+FZMAEsFI5GhuHHa9IWoxXsYKg181GB/tM4PD3vo45LhkOX2LHhc7bsD20tP5ul/GR+Iysu
0PeFwCl4W5WLMZvDVP470XtFrxTHl8RKZdmj2zN5Lfny1Dpih+vtU2DyE8dTXo4vZvVTSoCT3eqe
UJgzMhHyIr2D34jw3DRuZiXRj+bcb/rZqq4Z4XkFSdF9g0zTJEmILUYa7jW5SpqBihbv0fFCQFhi
bJYY2EOF8C2D5tARq6nA/EduUV0koKNKc17T4sKge6nAu1okktvxtW4joqifsyUSY412iQYJBQJd
TonEtTlC3UrXbuXu3LR4sce4JFy2g0/rCNjX+5oZzYkqAb/ceE21RLYoIu0kxi3htI0tKYt1p4+W
67rER47GByKinOvQtPRgxXe8TmQzZuEyOWFrEvz3T3sd29Kc6ATbdZ15Frx8o0omzrkyzj2LWFTB
iK4bx6kVOwP/eXzWKKy5iba247fB3va9hstM6ZarXlFDak4N+dtearHJS8x3oi2QT/CmyIil5zwC
64/yYQaLKlwHAr8uA2EPwdxD7Ky2N0DMv7QDjwH9Qf2S0s1Js/Ffj08gkI8DrN5Cts1/Ihc/UsIh
BzT3WMG6dow6Hjur8diK37v3DjPCrwYv3nj46uCK/dkcsDOLHW+NGkv5GlcIk7MNn5Cb7yjYMtmH
V/T7+jzJFqm9md/BMUDSeTnfgxzPlpwHTktAMGpglE6GitcVKnsJKvKZiTibhpNCYJm5TZ7d0IEK
5bCKj1zcmTgTPRGaZ7Rm5BhswtJZTFRnaFqy1NzSaBpXlzS+S5OtF0uhw0Gm1NVez/PxtDlSph5/
oknsVmZFnKD5kLQH+Q2u8mJHNBLcfy8/0+ZhUhvPfQuw8yit/lZ23cUhzxV0uQL+iJZs84xXzpAM
z4zVYyqIxi+7UCpZ6zFTLWXQrO52Wsfyaq3iJo/Src2X+3HqRzlRZqKNWlbpTLu/DqHfojMANLW7
Kpa7csrk+do4ORG2v5eDF+oE9aIgMEDPfk7Zx1NuYIOjsOIo7Am5nMEeWmXz90YOd/nVGnjTLWKX
jybYq/ntc0/La2nxEfxgDOfxzyMFfFSOV3QrHJbb8F+bfWWkAWUOM4skYmM8vMw4GQYwCbKdWiO6
QzVdmaFXPdcL6TuHEpR4MHbFGyQ5mGrPLPqLtaXXGfOY9HGU/7aLxokyMHyuMmmFJIsOM7jjT5Ix
Fdtt5ldgHvb1u7zExq89GrnqhpIbm2zVsYitjo9D4cSMINCklOdnIgdt+FciTB+upfhmqkjBT4Uh
3exavTLcaHBF44DXBhVbs0EjKDeJJa2VPl5kSOWmeghaJ9rvmnk9cpuSQV/RsneV4VstOfH3r8px
Ak2XAzns7A6Aawy77LlnZxPBSkFAv2vA75BK6RR9XA3lqZqh/Lx1wlFxUjLfyEEcJ5W4vFjSiWRr
93DB5NTiisGuwKZuWABPX1uwvIMyjjkyL/N0NHtUzA/+Ufp/5ao8WrN1ZTxSu7PcNmZcbbngQS7l
90FfnljhGgVsdI7HTY7rX3C9H6QFjxsJvPLLdUFlcUrwMhib0e/vNYCGMSIBsNmi/l73Jdgscd7G
DlAM1WXZkhZuECG/BTPcmAP1WdjJFAxwowbRzmNvBaZdM9cTHqeyv0+XfLn1xvhU0b/t1UXt+BMg
Fl3yOCZqNmOh/8fbVjXrTeSU5HqKyjZDLm+7WY+uce5FK98sabz2uXNusZamK7z+AuoVaDWnC+oN
V9nKqOqlsJVulfm3tM3odTYXRR0xk4sGTaanihMjz2tmgIgdYWkFc64GZMyB6RWW5uZ0LZXAZLb8
l7BuKrtYcnevBXvPe7ignq43ZPcHDv2KVLtFdiVhM8djgnJPXDOUS5XBpCUqShTNhgYZkEc6NK2R
M7AbYXoz2XRoUZFSFICplGR3JbOwD8hnSmba9JLChrQ9TmxzOB9dkktNmBma2yiMdm/Qefd2JlJo
DVSQml3zTBiNTbVOkHomL2SpTD9HcM/cJ28jggPJX9gbdj7EBXhUnRY/BUZZxEZM+umU9j90YLX5
9zzZDHhLZGnxtvy2BArDXruY6RtKnDc+ClHypTgdcn4nrRAshPyvbLoqTXFR0ikox3tGGK3zssaM
cU+ir6WNZ+t1PNSCGdtV6Jnf3L6Tqank4GQ6lW32HJVCXKb+VYD6t2E+8c1mHj9Ulepp7EGQOc1w
dQILX14znzXtYx3beBx4wh0t0o0+SrHNpbHTgcw7EIpKZC5SOJY7P/KzV5GVo6Te5+fISvEiTDTK
4iKxBK3wbS0/Q7gAY+GRFI1f7bkvGYYnj5gc+DaMaumR8snvSCbMdBE2HmVR0OzWu/bKPM5nfvCZ
m3y8liN7Jc1YL0oQpsRwbeIxN1xZuXre1zSZd8qp0Z1ztjj5Wa2tuAazTw44IuAepWINsLPYXtSo
ziDvRxaEIoAN2TVMS4AuLTJiPL9znqy7RJwz95Y9h/pIZMaOqI8BaExRU5DrRo+u5FbpYyVvtAXX
18D1jSzadXz1BQBLzd1rovwZb/2iPcxxuZdZFfPz5Qwh+uwEDFjwhggw60rcdgYpGVRIdaz3xbqD
4pyMzj/YyLfjtLUbJeUYqJWHOaOELHHEfi0czLXQg6MHbCVKEhBO66ZAhrROBxWtWh9pq9eVmrdV
hPDiuqynFwiIBKw8rZ0V5J6jQ3SDOhtFGWyoUdK2C6as5UJEb9F0XBwx+CoH5snOCb2ktTpHmYjJ
ncx7JD7iFfzcnVt5YILiPZd+tZLkV8NLZyV8lSRn+83oCGCUtJu+OldbZFcFKRKZtiBXge3nbB4N
t67zILz8XTTNY96IFtcsVGvHBSb3tBxGvEoyt/6EqFQae29+NqzxdSqxsxII3rEWmbgHxyrY4R0+
DW6LQhLBehzEqpOVhUzR+KfiEjRZU6dv6bGeVLieqlYDjUAT9nDHKJJu/KPY+bU+jgt6aPNNqRHK
w6VAIZ/UFVr8OJGvqq5jUBu8V+hJdHXzy464OmJ+zW73BkD/7QrLUI+hquRM+Fk85VI8YibrdNeC
KFouGYqKcv55FPm1giNXHf9FMW46vzMryUA9j8mkLvM7wrRgUHEmBlg9KVDn3LIOyJpoa7XwpflM
KnqwY8rj9xMqiUno1CvkQqAyBaJOGEazPDfHrc6OuG6NuB79YrPcRvuQHSjJleGnLKJ1scNsCdRa
euaoZcAFDTAX+zs6lVnGtpl+qtItG/KEqTquS0yYCv+HAomy8rTkAiGwzpu4h5iZoOWsjgoL+K8J
249JzkP7t8I7M1gvHxBZPURJWCksc4VzZlG81Bk8EBePb4KL7oxnNKW+lpnPncS95lqWLVav+t4a
nxL6iw1+UVb1k3LhVnIXboLKIQqhvplt4ynb7BUC74cteTqgkl1/zPbKbU4Cs/p772ClqBXZkJrm
cY/WecwxWcEB1On2sVe3FDRPGXGEKQi2+DFMH9KM73f/4NiH4jyM/XLIy9VUdqzx3Wta79XTnoEb
jmCRq+TKKUcd4FxTQg3CzFKZMiKlreMdjY+xFeE8GEEzIEgCYs8ZNvo9KXf1fSu6i6LFGYORRGwD
yhRQnn5pLug9E0AJiyWrkK/Gq6d7d+iazt9OW9V96Tkyff0sFONDq9ZnNtMi+yp7FNDDaiKan2Pa
J5U1AfivnnZQf2o6n7X4tmDyL0h5Bv5vYcMt7k2dZT+v1P/Y50e7DBf+aHQiLsc3dYaKdVCImf1C
iniyAhc4gVmSNmEbkEQrkuQFHEC/lN2/DscBCiaiCJBgrq6ZZqElHc/ekj8KY/ncuvrey3dS4mW5
J6X7rAI9Ok5+cRZasvYtlkfYdjXOMYSuGmlZrO+uQ6uJOoRryv5UIprInWsPo59pQySlUyx14bTM
575bULh1XsO2VvVocwXeGVTahpHeVIEY3iKWWPqagNctRIBM+uUUdJyHTarepIwPb6OkpTLcbSXo
GLH6hK8AVEihJaZRnFMxml+dSotY9YplGD9NOQ/7OT2RxlM4l/KwzqVwklpWY5Orrj+w0tiIJaiA
WUySSM02HBfyW1FHyPZ9HO13C0dvVrZcV+JroNlHEd6kfuiUycjaSYfPniVmYDJy1vamNPNNrtdb
/WKuL8htQmk0EhSfCWKkZBbADJB/FYJ/ez7b3YdEKIv9KWHqq3B7sphOsMLIjxiGtF13GSouxU5E
YY+zL79UWM5XW3wieiEHg75jGiBU4vK1wHbAP0yMM4oa2AW54RYhqsNXwWlhpl0waHE522Rcs/K3
Y8KazJyVvxDlsrnMJFIsK6GRIMsQG2/GoHjFBk1S1GfZbZbVBy0DIieZjqlQ16tTld07acRhwpDO
GCCK3w3w7LtSWJG06WGqL24H57wNedDfM7v0wQUgspjJBNnMaC3Ikfeagb21LQOZdN6tiKcgt+8C
yERPpiNIf68tH4KmR9KAbActnGLUUfPIavy2o6Ac57KaCzQc6fEmHifEu44z+KhRPJNqJmCr2tfY
ocpZItfmG4phnyGTZgZUVRlp0nwXG75z2YeVIUxJ+ZuHgc/kt5HlD0cpoWxp8OvTBPZDrpuL3gDA
N/I5pVXBYTXhbmllx0+JA0hFTCB+pMGqZuYc9qUdtICls6QAHHsAzBrdePcCY33peK/OEqSa+yEn
iy7F/fJd+q+zzMtYvaL5NSqE6ForMX0HpkRKah4Zy0/FpgF+IfOuRgQ4HN5qK6fc8lfNAYOkofal
yu04U02qmFdsvRicJCg7DNTbFO6EHxcMQ0KD2wMCWmWCDVIrlqEGB+iKLNJlqDYyXI6vlxyO8oMb
ufL3vZ0f5fCpp7cXEVGp0JV49OSGndP4N0YGXAMDIpQ7idvyFhxmGVRA4aPew0053jD9HWKHF+/A
j6WBrouwSNdwYlcrYUt07KQqEt5mxxuLlw8tG+d32kKnsBDDSgvAUFWTaQBhhEPjya6hC5hAfk5p
PWkocQ9+8kb0Di/9KqEEWc5SkYFUk7N02DEDL9kU/FLIdyHobCqHipD5ZWz8/5/8q5ZjxwZ4QiOi
c+qL3XFrYw/TlLqlnbhhRB1syPKE4a1aw3p9PxCvZlUfsGNOBjISjfvJ+rYW7rB10bjlvjzjHQTx
34Z4qkUylZjJ3+ydeHT1OC/oUZrhVBW/LRv30g7YIrmL0UazeuokGdEfhKNMWxRQWQfwBfNZxtu0
x+o3JLR8cX01OWblXV7ap94rT4RelKekfs4C3VzQtLwJxEGNqnzZ9oey/BiOjTOq+OjM/LkdkDb1
DDUCpGuhPNufqq085Pe21ZmrTfo3EIdiFpqGPmpy+o+191k3aebeogLPr5pm3iJmOnFEVMoLlQBI
1zI1rPo2XJZHQylspqzBYBZB9U2jAFgMCRCPY1ByNCUVTwsChDc81+NIbwCR16sMnMT8qtCpMxKh
ZDHeb0XEeGtgw8UnoEtlYOLr7bW4Tpuz/BCDncw1piQJH3oqowBLr63ldt1HozofKob3hmxJJWCg
NYYwcs2jjLu8AwymrR2bk3UwZnppaoYr4JLy3bJxhAnsO/ybNWvg/BEq8vH5PXOI8Wbz5ypv1tw7
QL+KigD91QKKWl1jLxGVoUX9q63WQxXOfd4K15QpUPkhyzccNop023gIc8MIpWwMl4/mL6SfK6t2
0u99WIkOCRVBtxNur+Ui198bRDYpafG7/Cacwq3RfaVQk6taXB2jRUz4vTbJF3irLOw24PMGMQty
kBq4z8xIbxxUphjca8RwMOpRikxePr7Ei/tvyYGYf6YOdTdvenIwWq8IDh25jVZqgVL9VrbrPSuL
R930nsTj2ixYufoyYHAGQmNeXBmKrphRUPRDtLGGmHeTMSpNKdXZw00idyIYsyxYZZ2eFtpNNb8x
d394NTQ0jf/CJ4WmY/HZPclA4gqMoBm6W3ZoS2m1pHHKpr17Q/3RFmSVoBFQ9S9GGZ2pDb//fxUP
dic9sSL0Q/0keSFTz5y6h1hcVXUPTX+u+tno/lMPf+lpl9xv9EzdFr46v7IaVA8Jiijfa36lAtQU
VTdDsdTSo8J2BoZzSFe2+NT6sJf6CWNf2NgAIE+InBhRki7KYzoytxl/mzOy84tdGfRR1ZetH8Hg
jsuIr2BkiMqA9LYe9euhu4Zpv01fgEN+LYfIkyIN/YHQoBDgXTFy1+mlEemF6WBJFfRqkdR392me
zuYQHct80im66BeqLIUeWmCBukaMgHwtjvkq1BL5wBv/a5XmwJ7HYHcbi7Rs6VanbChmf1HlHamO
moAsxfZuROiN3pZOhZp/Uy7V6xJUPZ1/13TwGhmDjxMcEzoUAw+BJvucRftLaHeEzW6CtugXYo90
PFN80NZGpw1/LwUgwWtLJ+t8tUPLIiWhfZsl5r42R3VHVkY/BBAS/kvlX7SY80BK9SEPRVe7JZ+4
qkwXaVgANZElW9pyVWybmd66SCrNL+J9z0C+Nu2pbdVHWgwfuEEUOsEK9Pbrq5kkyDGTAsno2hR1
jRU2Wh+ClwamUgRSR6BA5ZfqzaHuXj04arao9iZ0RU5Dm0QuxyjdkDMeJ9VdgC9Mf+RXUzXCHzOC
cFAl7NxjJveYArcjowRYxH2l12iB5c42CsM0/dQfX9NPKojwDansrSvnbyoSSNZSC3IscEpx4b6Q
qQ2xdADeA4M+DBc1d/fhfT4IcuQTkNnQlYNDJbttOBYUOO+XY6FtWLFQOdRIEtc89zup9S1k2oif
8tnyAEmCGv5QPHt9QmerxOv2ldLcUaJabdLzeKvSPw1hRdSdBKnkmpI7aMyhS6KW5WUlQq2Dcigo
YUJ6nOQHApdjdTXztMj4LQnvoUQuw8cr9ve2+uxa2FitfJea6TFuRaDCReDhSsUNHft13o1z6SxJ
VQA+CL+wKjcXSQGqNg17kALldt+79qXEAv8Ue2J03XmGtAL4ZYc9/qEFUHGGIVZCpo8Lop0Ud6Xz
tRrr52qW7y+5QrWp0ZDRJP9jgb1LdcenfQx557tQlEtDKiHMwUYE/zFA87SdKzgj58M474joUACh
Z9DEFwR7X7odH3lN4AmFbplVhh3YnemsiKvG2roLTbqNXX5Df52goUwPX9d6uC4kui8aAHzTll1N
2MkwLhdJqTFBxDVSERmFgsHWVZo4GGn7ebNQEc+oiLuujHWazzLe8gaDVk/HYgMiuG5b0i9JPv6p
SEZpk7HXvu9Z9R38FtenddaRNY3Z7wZIVy70mwGkq9dLYHwZ2Uc6RSInaESvvVac91T3y2L1t64M
VhOAi2moK8LsL4KflwPotdsaVhljGaSKaIlMTgGkIlW6XTp5OtNg4+lIwcUhRcKC78Xj0LKecXX1
Kv4SFAo9qFxZV3TQPCZQawaFYLDhjR14QsJOh7pwBXcQi/D+GHQNc5PDpI/lCc0mjO+GEDOxyr+N
nWQsDUquRFUHiBG9Hox9UT3OsrwdAtHRLCkhW9YpO3FI/OVkL0QeOocZtOW7Ntr+Du3Vf2SCNC7x
zYkP3tMuWec2tpHf0nUnrD7azZdCqg1lgNQFb4heTXweZs01qVegiy+O7R+yAtTeWKX2tAqKv4qz
Jw5fWmFrcQM9o7LwSv2/waF2gASjvhzDzFEDVAFlGtUo5RU9c8tRD01tDnEKd7N7mJC6NhbMgX3n
r24NZ8Og0tyS40xWGX7fQKadCryEgLoSMsWz5JHRkNA0ywIlwRXsFszCltgZj+ntRNm4mwyt+AMH
lNGHZkGoFUke58wFzkrSUJFflpn0nm+pVsAU4Kiy+DCoWk6hEtb/ZM7LHpHTuv7XT4iNMrQTyr1R
gJgAJ6EStAyHVf7oHR0pa0+mxFkGEjnKA6XUHGdjHfc4xpiKlfth87EDIGfKVavXeKFKzUKsmGlb
wMjFakn0D1U+0u9ORkrKzlU5qZfnq89srJlD0ltUeJr7hTHDAcXsB4ylHdaLjqpAzBc1X900/9UA
TzTKRXzobf2cuv19Y3PF53kwXeHPuU3962vbXzTJTjB1oMQx2UfVgzmKxqwMOauuEzlDPXLJfksm
CAek/m24vJATtN6a0kaFrvCWAufmb4pu3xAutNZP00TUXhRo4tS3zkw/sf2WvNVix0GoiURVRcIF
n2ZmnG1/maKGyfBTWC10UW84uximZiitarku2U1/oc5IJqZJjrYNafxP3YgUIhnB62eNQ+I8zsRG
qm7Pl3dafmZspA469t26VPWPlYvFQTs19DtWBPtUKX+Gg4NEBsuJESOEzpb5Lf7CBn524yYqD+PU
FTDQFnkaZpjXf5VevzPwvqeL8lQ082PGTNVqLKGG5I0vicGngXtPWxdiQ2mWt0qSYdpznmQyCQOc
q5hVkS+AZqk2wsFkVaSzNh/XKhtd+eMlkdnJacCNQE0uVxV6sxqzr4kcZkTiMP3coCRT+Q8OxgSR
OrTxVu+JRKv9zjNOwJLinBmmq/ExNPIjp8ismFBIUGYg9HvRzI9Xs1WruDKYTtFPlzrHX8qDZ6BO
5uZj/tbDRpUDQ5EDyfmqALuPtAkM414Y3AurhQu8TpCGKAgoTWSK21+BtFQq5cfQWrBl+6Uf1Edh
0BWzLW8lbABSCc/0qeLE0vo/ns5jyXEki7JfBDNosaWApAqGzg0sKgW0cmh8/Ry0zcwizLqrsysZ
JOj+xL3nogDbFVJ7dbXlc5ijC1UAGJXrvYrx141qwIxtQotjUdiOgcIuxKG0zbjHpQ3zhThtXPS5
BimIFjXuCJqcF59DiwkoWl2YROpHETsfKq/dTmcyGk9pG18JZmQgFePKRRwuQkQTqUKfxLRPE38y
zqKS2Erd+FjHnuhs4K3PSmWinL3MhnFa0bptJLipRuyPhh7s8jfR8SbQQTyq3EXmfBzl31P22lJs
YRCpcrztuzuTcYDKp2ihZi+8GVmDXGsnvHicIUidPs2x/8ps6atjqJaO+pfQP2fHeLBXecZNWE/x
u1bTguBflmbUnzZibB7r7I17673BeinuWQ+Vt81ejYF0FbqO2saYuqWfTW18Fmv9NX/ac+yruAuk
/CEvC5uiSFKofaewMB2XjEavcQVLXDuH8KJpbr8ZhzA/yG9YbnbsBU0PcZS1wuzIPDGfRfeELQTw
JGYvk0AxxNo2vmIFVxiN8qHkmzKuUV19jiPDxe3VUdpTwXx+HQnmo4xYxYs9z4FU9oGcsA9dsD6O
sMNjagWwTvUC7cMaPOVMequ/qUwHdDisNdvzZCOsOY39jJR7FI6mjSUlwTU7xO7GeqAirWqXGNmK
y0LYGRY2+wYp13/tpToNaqBwVgoTTDg7kgEzQrN/U64d4g0dmes2zC8oWhmoejjpxpbTWa2D6aCo
PpvzmNhaHF+Z/vj7sOike9kgq/1RmuZpvcfZWQ5y6GPGCz0Jz7NIYUXaBVY6ZQpTCF8UMdjvs/mz
E+ie0V71rtLbJ60vUDYNH2k3fqY3K4O0ODmnwiIZvc0vBuqycczeR3V+sxT9NTfMJzG5h9pafRT+
zRYuqD82dq7NROqp7HWoBpKqfuGUeCD0josxMpTytiu8Ua2npBCq5HVz9jT1r4Ghw9EZlXPx3cJH
mKevvvhxWsWt+y3Uxj6Y0QkLCObz7pekVZkM6ARy2PYAfibrZGKlV9ac5OTlmmpsDdGmbkkg7TK8
0dPY6caKwKHAzATwBayoep3J4TuWXFLK4Gey4c3f6owceJLOImeaCgbLSCFYSZOnrBKf7OCniuNj
fZXmwRtAADKA7kaKD4cDiKVV2d8ZJj3SBW2F8l3QEc8Znqb2ME3aZeuZX9SNO/EmzvgC7e4mN/Vt
LFZ27Ux2reJu9s4tV6gfEsa67Lckzi7IalraIresb0jKTrQ+R2vZrjX7LRMaOIsgiqIKJFHBagCV
tI/1xda499DCleo165MrcrVL95hjk4RLtFI2Cc3l2eK42nfdA3VN15QYFsYzCeqz/FKzpaejO6lS
+V53y4eddVjR+NKjykpRZQHorInyyjWu7eJR4a0bqH+B88QLD202nRF7nnEESgi8MX8hcTzUNUJq
hbUZhA3jja1U8cz9Yo0jR7XDTnZhkWPPaSGgm7vib6apjy9qGgOxaJhx4ogB/9nZ10RiMgJnRwG2
VrdBka+vYgCRSnbdWnzUOdKvBcSO3d8m6Tba+bNBImfW2CfYuKqRQd2YrzZVTuNq0qs82oEztIHe
yn7S0wcy80HNzzZfHgJ7lvx8V72kPa57tn6Kz/GWknaPWJlafLYpJvPnqJZ4AHMGjaRC+zr3iR7z
pBINB+kRA1dKOqpEGqY4U8UyHqjOQvuScdz/z3r62pFNFe+6BMqYbg4KA6BGinE9WizzEif1dTor
iPQNO7ubaXq3kPZvs3XTTOCqSD7mks3kkZ1JVGODJI2IsaViDrhLUm/MeV87ooHkY8VfvcvaBRNJ
6ydd2OsxEmhB3QnLnV5mZNwOoVJw+cxZfBjy3RnHu3YsUWqnKLWRQfsNhUIM+bNWWndqAWG1/w1k
SiKPnwAHbZgwYiLazOJWYiEavAr7YYmGv8DDng+aZ9SSh5bAn7bej/HnbQZqoKvatJ6u/RSDfpFK
Dlm0+KIm4Q1HmN0qcL05/7nn7arw+M09JsQJszM+CnAWXL+ba2gYwbT/DJWhM2Oq7V1glVIb9WGN
+os1B+Y8o8nBjLDdxab5dpSZgcDG0z13yfjK6gFEPC9193kxJwDl0kVK+8QvNra5vwz4edCopozM
JMTKI6iKTtYDkBvkQhchhEwaIdlh+5BM13YS1zyuAU8gZm85mtAwFpKXzy0qcI4AaBUO43VGtdL0
7RBtq03FI7VgiZWMsFPzUSTxw04py+WnQvS56N6F6m4jpmMuWv6iqZCp8ewHGi+3twUrbnwsSDx1
v0f2iNEcRAm8hHuIMOCsNjAIUvGcmaAjWoXVM1YyMhuVRfy8F5HnlANArd4d8Rj3HeyetlOVkg9g
khhPOrwAUW+QKV2g8tP2FV4G/AwPKni+xy6p4crxtqB46DTVM+k4V0Tn2beF66CUCndkcSx1EHCa
6sjcrMdtxWN6ysZgv82nFzaVwOM/U+MFSTIZ8+6cgc7X3wZZfSrntt0AohogqAjptRLEzoUvGTYG
AQTnvRyYu4L+ZUSnnaafR2bstgLgVcJsXijXJY+vhihvZlXf5pMz2KEByw9vZY6ocknZNF8Qjf3L
n8vHzEZH5Bi/6FhVB4xtH0yoQtAP+gJ10aIBWaQIkTfwZaC26ZdYPFi5drFT4yYJ/bEMxFawoOAi
TgCHbc3/Nwf5RDoiJ21gylj4hKRuDEwH43Vx0BWiZg95S2BqLgfJqS+LQJfEpVkX9rNwqwpM39Z1
xYg94NBVR/WlfFkZncgagng98Xb3q6npXoK1TaeQxoq6asslL9Mrmq7rpBtXMCSL/LW01NGE5CIN
Zawx/BRcIE0u45cMJoH3EGzQXnWiGJoVUm/lPDjH1u+996vBd7AiHbMwnZ8aAgCr/6i+a40H1aN2
tunhB6O8xdJyGczptgjJMxzlMHBxmKixbi2fvg52pYXJP75suvGM1z9wvyxgJfhjyURNu8DU1kDd
aN5Sh+M2DWm/TmmCG3TaBeiPtQ1jmdQAQz5KMCkZ+9cbLZNeeNXFktgNTerRUF5G8E2WxkHxGWcs
W3KiYkTtyc560MbuTmxdqmeRLMh+SONwNdD8NqA2jAjjQ2/ZF6PoWG/LEfbdVNvArAyXhlFwpV4m
DfQacz7OAiY+6Bgk8W+17iqkyWnqw8ljQ8do0q+wa9RMQbFlHxZEtxQfZ9uV6v0o7rHZIQfU09Bc
/9ZcFYQ+S+UH5Usuy4gDymPRQtxkPtZWMF92GxnQ8DFyTBmlIwQNdPFdAQqQ7pAjw0Sut+T4jTNc
oWw922Zkyv2mIc7dkuSiAQEeC0ThgMasLBoGIzTZVki1gHSALo5xR8Vv7UhHIwGLnDENB8VyqdQY
2zJbBNSbFCJbZDr/VaPBqJxdH3eAscdaH9V9w/fHsKmwRookhUOj090uQWSDmM8YJ78861J20teP
irUyfaypcu1nvOFyHjW64hrGZzcnPjs/1WJYnZXeoPiFeS7SyNl9DPZF6dVot3DG3Jy8UFTK+y5g
s78UdgP/b52QI3fmdQPzOc9GfV6QyqWgDOrpd25DXY81rwmmMiwN4+5srAi68lWS8E8gWBJa+phH
7mukQLo2ByO5TVFvpwdHCRbD5BnmtxP6/6RZs/ynbvhEGYsmatTFZoS3KlK3FFq3u/ybDC2QdDPQ
TC1IRtoAez2tvPHmIEKjOhnjc5uZx62L1+qDN8GAmbCEUZbYbCUU3bwmVGZq/iPhsmwJzTAy2LJQ
aQvz3tpQExzzlhUOC9CR7POvquowKzphD3in4I5x0GWynSNtJ57OdnM3yMkUp6XfrqOuXxvmKdSu
JSJnsCs5ou2uHq/bVDK81C6x8XcqsMJocphLbYiH8LBCipBEG9BZUjQyUBeONxCw3MyhwNzGgrnJ
ZEBB/XH4Eat9krTBWwWi2DXS43fuG7pdgLO7/Z0ZOoCalEOCdnrhQCVJNgOlIF/SKT4Viv3M4uSV
9+LZCfnJoZkoI6Vgem55NAcG0Mf11I4X8ZODqZ4VX6UjW4XEU7P6etv6PTghAXJffZmM1WOF5cn8
8hlohQFRLL7dFrVFVkWmLocd55epABppLB87wJEhSHEwUTnKb5Npe6ls+gL+uIPiq2Rqs0ljlGf/
5BHpID6DDSyC7BtW6veCsBON7AegZmvmnNjB4/W0U+J+z7P83IO5JUJhrHg9boWncA4byeu8fezK
Pg05lMrUVL2M0oz2prnloeAPb+haRkZ3JMk/t6WljhZgerIluVrAJJZfMzsMQIVQiVqkEgx5WNDs
BrvBsz/Rb8D3WL0Fo126C2swpHYEARUf24KITlmv+a8WoDCIoLW5a4v5HMz4OQ0q7qr0tBaW2yiP
WOSIBNuLxeLgMwO0QoPZa2a41gUT0QER5g5eJD98QK6QqVGbM4eJD7MwPlKKbeMflaeQTS/lwkwZ
irZK50sdHFFMonpJJOc2u90EtIqsFTWcczzQ4mUZdj0MxC3TusdbfoY1hIFrR6Ik3AoEVSKjrMeY
53bDL3ofgWT3MGcyGz/WLM7lyFuh0cL1T8exvZaOjKshh0GWqMlBgKKUJvLPgPLZ9Xe86i6x6q5q
05FvuWd5TPBsAwNoBQhS7c4WHMZYwdId3zgckPJHvVyfU8RhC2Nj/qOwCGfn22NI01X0eAEZqjeS
cpk3V4n7cFabe6Ybt1b8iXHqAw8fviz0Js1io5OnqX1IXtbiNu7ky2IhAZeyiH19O2Vnq0zfiiF/
27QOHhE+72IFs4vOYWEOYZbPui5fCkT4C18CHB7Kz6oixuK0270+OaddLkP2VJZTwRrcHqMRp8w4
0R4m06Ee5FOKMq1q1mM5/RLNuZaEm+YtR57pOsbk4WFzIAOVKHXbvrmNVg3JbT1PHwmN/VH89HlO
gbY81tOIi0znlhxj83VMm6fY2odx7B4jdx7EhvO6YdvefjoaHoPx5lCT6supPeItqcOBsYzOVqBk
7CS43tqMske2PYuHtGWNMGWrD7TDK+vlaaXZK39Ui+X7VFev/r+1myOpbqJsxCLY6+EiiTC17EAd
3Sal64DIDEkDdSc/YgbK0wB36Jj70z6gzQGnUfVHWbDDKOSbNfVXWtVYvypLuWv4nBSxSRZZ/Jhl
Go2UBoyBjfbWGRrkiCPHfWhlMAMchjwIfDJ8vLmi+DZcMlGfNtZRao8cQBx/0KZeYquOHGqCeTdI
2rtpOBOkF+DfmtGQbgxzjWL1S3qJAtKPg7WI8w4zRFV/dQWbZZb9cVvdrPyRznrUxqyh2vfKstHA
5lFSbzwfM4R/rl3yPqQPtTTDZrrxLN+TZrzMEjrRysP4VABgSfn0neLWqdVj6S4mpSltDiCcAXkQ
Jm/XJKzA2L8JLBNt0YLTvq5MADVsVPsB0pIkRK0OkMmhLylNNrcFPCKj9K2h8OUMvXJ8LBsJkS28
qAzfWDVcx08BMmI4tfqhsaDYybNvkKowUWoN9NvjNobQpCjnq8CGRWsjfKbeGEEuFXjVrMTT8n8q
1YShUWzPOAsRoNL2oPjNsMqAsuOsKdlGJN95QxoSXe6YI1+3ubWKNVA43lc67wJZ+7Sct19obAOI
kpG9snpDb9vu+n59ASjIeomwSxxR1shsjonZ4Ff0FkW+HeZA6PMtq/IrPbuzfjsVEil07cfKLLyp
xs13VzlN6KV54QY+fNUba8Nbtl8JMxmDsqPIkd6pJwmociOAqhRbsGwtlDUpzD/UxvazYcUeSQCl
uQSWAqJsu8eBhUBmzH9XY+mlWoq/3nZtXXUVc0Yr3br58lv0CIlievSz7PACVhxlNhSEcTtbzBN4
/s5al5H7EUvxeVqPjYPzdqBQlVhXE2/Ml440GZnoIF39mJCpFp/q8jrUtF4rIekjYLa2fkhN+0im
/FE52n2jPFilnxX9YEb9aEk52VCsHmTqY13DhhhHkgn5Mk2RK8++gNSz8e1XELyyJMd6MHaTWy+o
/vapEAqQinX3pBXMPuxT53LIoxokHgVZXILHAuoUAM4QjfaZNVoGKY+Jq1m+J1Sj2ezwJQiHvA/U
+N5Ammh/ulw/7ORNiZ++Dyrb8lpaOx5w/I8o2q8JMxaeq+6oFxJMpfXdWce3qkpf845E5nmlxDCn
MWz03J0huSOiiOl/4PPpb1LzD+G+Z7RQ5hAb6BnPJqCKYSbYNUErl6wnzLWtJdxWy9zSMs5ZOZ9z
A+Eav9uAw7QMFAXiHnLeRW05p8TBnhZfkzN/VXEkDhj0xCOBWTrwdyiU5goiMolMAHxoOle8ZwyX
RbGjXTo6/l/pKK0bJkCW1cjTVnS/DQwQpC+Napxao/FAO7jpOrs2YkvK96kMhjK7CTBTGQvLorrk
WvHYaKlNvpcgbBE5ZQZe76GIcLtv03yjcB1Rj2dYw6YNarlc3sD6RAMfRKtoZ/kiq/nDnpg1+jWT
5113t6nmdZZveLL2oy/qMNBBEQ3Y2c6TCPs3pL8mRRLTgcFgspKWXtKwdOAANYvKxRJ1HinJ5n1a
djI+8INcRmbyW/3aPIx2fNbL8NDqT7yHh/Wtoz5djOqiJFvU/JFgUJiuAvvEqEdXx61ngXrL++bs
lNp5YCEQ60XIxs30ERrSydIX4/FtkkeMrEc3/yVxF4h58G007KPCBGf2mXFi+Kb5cZePijvb3NZL
w0Qf2WZN+5sjeAXUdUYtlTCosFKSvHGo1FJ+QgBQ9GQlgZIT4kem8y5sAuO/Mr36oPY+CuooQ18j
BWisBBhmu1tOGW1xiYkZHI1jhq34KGdw0IV1iQ8wFIvUwzN//Vn5zCuEps2gulPJb5pXDKeP1RAM
m/FCCwQgKECQ1zHthzG2sLc+5r1ztHhnNvSwJlpM1G3nVIdxpdjnmYysbUfawTSBWYci3lGc86RU
rlgHliioUY7NTOcKXEYCjUHlO/aA15PLWLMlaCffSFa/5keSDrH838Lf1VTv0FsyybhtPV4tHZ2T
brpiWu5WRtDRhpgZZR5USxOlac/GiYKh3S0gmK5AfWmnuEDGrfjlgsAQ7Jy5XTYNQ91fEKM4YZvo
f2ga8d6GUrtyV7PdgUXQrNFi3tZa8subWLVL0heRtR6mYbjkOQulFMZPxby3aSNtNEKLVY1iujl4
pIU31tC0Czy3NflP++gH/1srW+Jv+gDechM5CbQ6UnjGOUif7HiOdDWHFgXUtnS+PsPfYcbexZa3
sDswqPIKbEk1+VYUEEtYSk4w3Gr4cJueB9UIkq3UjoX1U2tfVYpPT8OpVF3bYbtVZnzn34xtUi3u
Yzy+D393lLn8ZnbdewJEppLQhd8Bo8l2d8l7Zof2djCKD9kXiAGa5e8MZLYhRGjIH5lm3VG73htA
LTpqvF6st2q1rwYyPGcaCDwsL3wDULQUaAgxNGKQg5ldZgcu4X2ytgPTWIU1nZ8nA4xf9di8qeD5
sjGO9HyMutQKqQEcKLLqqiJpOzVplK05qtnM12wSA4nDXOmWOs+JNcocJuhpGaYS4QIYGgzpGkNj
iZUoHhuA3Mp9O05ZG61qF9XrFGlFS8f2F2zNDKRCjVfk+smtC0apu22ayZ700PXbyzYMj9z4bnBX
VKYWGf8cC1EYKUZ2+VwbC9TUeh/m+LqVgbxFqyCBk2O+M6D2yajGSqpILZiWCkWAfuZ8cxSWedh2
kCXFAejuUMhrGE9m1HMQZCnuK0hCOKGL+bNRhK/prqXIfPtQ99TfIylPqWDyZ87HGbHpYk3+0O+M
UnD56BqU5LQk8q0JUqb2Fesdi8m93DKsRIC09b817EtLaV2qsry8yzo8dcK3gNCUJZYLxk/9ISdJ
DxE02xOuFNS09r1c+eXgyWyJO7A8tFDQzynZmes/XSppozd/iDOGjUvA13mm1rTRyauKErSZE3SQ
O9AENEsRtknO71mEcXVIXjXiS/WmORW241XoR9DRHNup8LWRqStNOE/onorJsm5UmRgeNiwqAkXU
Bti85HA0mPPqw66VOcxDet9NvQw4EEyJQ0Lc2sIcEfRZdZIIBNnCXAVCK8awwhZi+pPBfN1aT7Id
9On5W/9iJHGxO+Z9S/qIGTo0CxVNJxOF2eJNUsaLSV2vovGjpwAw5TTpfli5EqXmptWnnGGpsMNS
zSJ8LfuhDYdn0hmy4jFWC3DiUlACRdS7WyrxJWSGolyhhFzbzbxaqXZF1XoVTErqBeb7Gp/6sbn0
b6byGIogxnqVJ9KTKkX/1ot3WaJd1pvTpH9rTeUhrUYLNvsVCFKWt0xQUo9VMZB0QCMXiNsRL1CR
bhIYgfqXw/hto9Ktk+mEi0eAyHWac471RKCUTICvCQonnaAgsTBqg4ExYnUAJZtel3bDnEaAoEHO
jqzdbCkh3hXI1dTdM/pWNY95i8SuOaadycc+Sto0wrB42jtXlXb9Zp33TXEyaCe5BeMi48iYDCo8
sB4WuZIzlQjcYlyzBL7VCqsLpfZzHnBHKD4AiJx+uqs4fuUkqFkdW4jxGOYBqvBz5Trm61lMir8Q
ehsXNomXzZdcSZ8FrnJaS2PjEJPuFXftat1S/TtGrLvrK8DLuwWXnDmcqyTS3b37bGbU5g/scie0
KK0BSPzAazjXtxLgcEcFIy0EO02EWvg/zYYcmqekEmpgbHfDlpkvg1lqW0A5rIFZi/b7Yp8eYpAY
c/cvVHTgqPS9kUCljVBB3qRT+zTN5t7Y+Y1Q3YucCSBDYQ+nLjGdKE6RIvXbbWCbY7gJy3lVmDih
9fZLzlDLiDroDPINW2bDqa8A6MtncUwcACTPofvTcazJPUcItYTprrSqDqppDZsNXKYYleUy/FZH
rCAkDMTxOS9md9UkF4aG155TCXuJ1PjAcC6Sxpzsn+IVfcoJaFw+kddEVXaoCg7swUFllRxBZV70
36whLxaTQQ3AscqTvjbK9dv8KlopYI5VVkf7AOzQeTcVStWEe2Ig63OdgzyfX9lGnYxp/Rjl7F35
WCjpJ6CFDaenicYOVWMarfN4zSwZKVF1ZUt2Ey+aDnxvCbq1enSvMB76MmqS9FJ35sWOmYGF8loD
HW3O5oSeGVGeSVDw3FbXJWmuTNSRqlXXUUVG62HGmQ8J1vI06KaYE0nzq5aQeIz4QExOq5T5c2p5
zC0861SAco57ROuX1DNXfjJ0VT1JsOOLMcv4+wnLitczFMBzNgvXeNXL9NEZzQtirpDDvm80t5WF
b/9S7SYCRFcUwGZYhkFP4pzPTSaRtRlqiogsWY9yu7yo2285tl0LGpqNWJ3JYTVTiZ0zHT1uc12d
AkcmIRoCzXcPoK17G6DprRuMH66erlVvRX2ke4viTkG+ayNRb1kl44jflWKxQ5Rebl/q0ImZQhoz
fnQTD0EdDMYpH53j9FyDnaHSkPCjLrrbZvT0Te1pKRN/gM16Sxm8hA193ma4uVH7Q6mGeaWGE4I/
iYqGFz4iCkvLS8IWWWXxw24E+tPyw0hLh6GGMZKvS3iWGIcxrGrRqwNvMao7Gw+29NeVARh/tHaY
ppSHW0//Z+9bClnxLeScG6NtvLCext6gpbWPsSO9nnXVeDPwiFRxgB7kOnX5HSmvgxJaoIIejiG8
CHfQS4RAHEGgco9JBTYrQhN5nTLtJjvmfazMhwVIOpmAsooNP67yLA1g/focZq+blN7lLLnLNurB
ebhthQOqGam2AfMxNiLrNB5qGRYjvAnIByonhLb43eJ4TsVjB3c2ISoCm7yZ+NvezOtjkOSfymZS
NLOjTz3r1ThoXf60ewDCo3UUw/ym6dP7/E8TGfsUXM38mBshwwVZtH1N1MQ5m4ZwZO8mTNbus3rv
cuuaY88k2azOkUCMjA+29GhNu771nOymLnBFnMhNTX2kP4z7l1CUG1Dkou3uJ5nPsT9a90iQPUdw
CHymTH1zSvV1JNdzD2URrgPrL5f+qhQXhABOEuzpCT+kKPz8HWvtqRsBtrxbaR9yvKfsJzNdO1iL
50gWu/0JfSubR/k/mfTZfB8eO2GhQq+zUHVMjHcI7er577GEYh0K3ugW9os09X7HEr9Ei9G+OzVI
KQtpz4xfEJzL9rQd5jiaN/L/s/TPLSGjxCDICIXilmsojG4OyDBFQ4YjaQ9jOlvzcUQuNuSszXba
Lzcf2Tk3q+BrUl0oTc+2Q0oh000OBbTlAi2L3pvnlmiZeOetVS86m95F5WMZI+Zi2PYsKsEMlhtj
H76JFoAFmW/lqs8BALCawBqNNZ5J+7jxjqCebwzc07B+6tS4S1Xyon8iC4lRjIH7iRW8XgYKWW57
bd4ZMERppWaoaDPrhnTXF55QrR0KlrgaJKUcNYQJKXJJD+/IQzW8LeJ/a7RPR9I+JaP9tMv0Lmnf
ybZ4MnOjlXJpkIJ+3egpJF9ClGFntqfiomnSfTKBFOK9zF52lYqwej8nY5Sr+qdEHK/9dQgB1Cq3
QobWr/96QBxCgcelaD5KEcJPHLayie6VrAjXi2ALvDDO1xjns6sEqiJ3p4Ec2XqxAYQKpq/W+bji
tR6hzudZ67bzfRsSxOAZU9+Ft1xHtWrnO3SKP0xgI27/jkFjqmBH3XcmB0mT6XBZwDBhXNBIjEw3
C+eFpdGFrJZLSrjHPpJUapjXkTU3B8GlFZCxoa5/uNZGyXbB3IaaCkzUou7OAmcB+j+IoCWvAJ/W
wFp7RmA3o9+xLcjr1S8ePzfn62CMF0vFEGHmV4SXei5uNScQSjZPVx9ItfYlf8Wv2HFQwcJyk845
lPiKoVU0f2RG4Mxb4ApfnWy4ITS/yvzv9GqaAR3lb8bJJ1GVDmzdWqg3EmoxCkKF4Q/doVehmrZY
iyQozDDKExNvaT6EilJKr1KuXc0UPrN2d7QXYQhX8uxYJaBZ+KXyq+ruKcMYDYdNgW4/Sf9TEYoO
znyxKytS+5RQJmYeCEgIUmCElmhFpJYCob91HW1GZS8cH/+TSefL1YBj7hRrpFqhNK+njuVpdxnq
CmNocVcM+26W6uN1Sv2yB6MN4R4s+D2750D07ApUTS/uuCDu8UqbJkUmWhTeKc9IX9lUtpr2Ok/d
O5+TLpDonkT2TwEvkujxC/Hx44TDFBcavt4Kl+loVk/5PzWWnu3avc5K/9poP7HeXSopwnuQcySU
0Hp7pJ6dEhbrEBYcPIssbqumXa0RJxW7FAZWNer87mmyYjfUr7pYD3oNRyn5hAqHs02V/3TIwf84
zXRGs4Jd1j6hMD5Z6Rs+54MyFGwmgfrzL6t4gtoXDf2fDRBVWYmyNBfl9NtS2ktOjYZD07AxYyUk
OTBkOKeDfeqTH5dZdvfi9AmiQx8JVzn9jBoOhx/ZmZ7pdi+yGrkgiRqGa5LZy0d3JpGcqvPYrWTi
Klg5GftoCC5TbgzLqo7f5I3Y/wk065ZC+Y32JfzesIyoh0zQA/5S/plf6kiMWm3vdDOiDVxnj5OS
WC4kE+XSHOjrEIAwRBxcBdZIJ4u/W2JYYT5rLHQZQmVYAX0Dc/I4UA+Q10RI2I3N11FDIppsbJIF
xjM69sFQ7lUAk8JK56Ou/W3EFggMl0xMoIt62fIpLRgHW8RaSNpm7JXyiNl6YuCpr6wIVzazw4ga
idXMblKXQoeJLaAc3AZZyPA8WGO0rQNrxIFquDmKZgraLnIYE8p6jKuEFnJ4X35JmEDEBUhevl6d
AiMwsnLQNQ2DRBWp0MSfpMtxflXoopUWErjRUTzF+CdQADdSxNuZZd3NmL/hCwJMfWW7jdPMmYq3
ZSzeehrdGYaj9Zm/Z4zAAnX+0O1fewoY6bmMT1FoTCNyGRwZAiVtkYeMtQFeHfGkDzqvJKrUZymz
O8923kGgWI9B4lS5rFB05PxnSuoQ/TlqDV/uSd66MwqAq6zjNRnxmhSmfpSTd9Viw4H9UrKwveNc
g9qG/Sur2LpUm2elBXoL9BQD6j7ijiQglvFJIUAtlokd0nF0p64Oj1fNVVdKUi+D9tU+m3V4jeX6
Td+9+y9djf7fPHRseFfWGarJEH1BAcEPhGa/MVuPad7TRP/DNvcqSbvp/7jiBx8gNK0mmw7VE/j/
yG7zNl1F0q541VD5Oj+8FuSErb9/FvAIDKc9aH0fQXEhx+BmO/p1n7HGzFjb1Yi6uQznN4M5s073
NarYO7DJIYNGhjuhq0fXSJihRMasLUUjUhcNgxnA7K6PYOXW1te0kFZe+KQxjBneeYkNQ+yK2HAd
0ufa4cGCNkPDe5ShUSsMC3qJzboD64D7IEes1iNWcxhiGNCNNJYaKiboqiZf3n41tScRayvuDRWr
CzEoaK6a+jdODC6mh068Qyq46AstcqTvCRNsO9/QvOCcMO5VZT9iKlQSr7eCjfBAWODGyuNfK+Tr
stGoOG+tCuTMdDwum9n6rOLlcxPp5zSUH0pzqlUyVZWSt3N0CQSdYwOV83VjX57QH6X3tV4ZJcKz
15pI+lvrLqs6cB+Vu+KIlaTEQ7FB4gdVzeaOEpb7noL/x2x7hDco6/uz03CulAaNLfPMwuFCdryF
H/xWGUlIzEGzgeQu++rYFjt567DXxdhRUQ/gqYuRAKGb75zh3G+LG9egEtiOayg1sJOeqiYLEw4Y
gLRsmKSAnViwi+0yZpbTop253/hUtf+xBYqSSET+OTQVUOIgEsT7pHDjM9HEE43Sp7Las5EdkymO
QPck/4en82puG1uz6C9C1UEGXgmSAJgpikovKMmykXPGr5+Frpl5UFV332tbpoBzvrD32jWDVTlw
R2pd3nrjXCNaGiQIafs2/o64gRfmQh0/apmxAksfPU2ulpFcRsSPCrQbJdSOMkNCG58HShDMYygX
usi+rU/sVD0QVx0skEitkO4pXX1SPDuEOrH+1hraXo4+yuCnQYi1fJssIAf9tQeOk6o53wGsxTl1
w8F0a97gCUhv58bEM6tlyZh+JBYMZx7WAkkxoKXX+5IMpnpc5baIMiye05I1CK3SxaYuQapEChYu
p2NBZtf80MTkdYBTQ3/B8zhL+VGTX0wWVD1xP8zlrmCZSJMOXcUsTuoT0S6zQWI7EaO1uCPC36aG
u5ICO5auStwfMZdeg26+EKuJ1zKsY9gtLSNRGBiwITA74bPq9NZT8Vl1JISEflQLvyemFpNCYQyQ
Ap+xFEESg+KPzjfatLcau3f7v4j7kuTlIGAr9TBRs9S9QoEo3/QFGRbIXPZCyHvgtZn7zpr3Alj0
wOKLdB8JbcFkolsk2K7HAoOhOFg3R1m+b4WyU3gQD6V4jFgVyVWfi5vSmLcAbcQkQ6W0bYRtwO34
/RaZW5COXPRw4Mi4U9wc6PGEZ8+AtczUcJ0QwrVciIhbtj3WkhKdAYB5mUSqDDJDvZIZVnZVDvmI
8QeBaDWEPSPsD8+oiTfFC7Ey26T+p/NzJSgDhVhzWHIIYxJ7EvSrOjvagZ4Dw1RVEEgno97Fi6Mj
iphM4YKAQ9exr5wWXZxMJWktrNeQq9+q2HDLnPcpx3QaRpdY/KnyZt0wd5m4RHi+leV93YdnjThV
G0438ucRbkkU6x2wO7spYLbY7AMIftNRknUcxHBsLgi3L+sTuYwGROoZODtTFQBXI2y3UD1K1F7a
+K8sUHfDD8EfZeusWHhjprzDh4OhiISerYS4cZDpO43iILTkyNy+AmoNDPh1HpLt2lEtHN1pXrs0
/Z6NUS00ZX+1lqbYX/SZuWC1RRTFkOeXtIFqhcaqh0r5SHE+a7RthT3s9ZZdlfJjsBkc030DMo14
iMBmx0JNWaODPkP7+w81ZvHB2QgqpejRNWiJa9uDP+EbsonYYhTrfD9lGZq4KprrKKJ+A7otAa4P
Y2Zcb2ZrQ9MDNTZzZ/JxBQgbW6yZccmoJX9bgTTMGRLtrFfLZTEgU77mC2bJ7gzn1g0w9LHJUsTi
2bzxSfuEHQn9zdMtGChq4M94zxvjMsyvDXw3zBMspJyIxhMDdm1cG50hfkNrXXVHldmSbWanvmRi
j6YW3D+1CxGAsPAuiCUuiv3Z0YuCQs1R2iMEzojBSavGM4bbQIgPQALPJBCqxPGFbBVFtZFOZ5Mg
k4SAUAaeGymr3ig3RYEii3lpilWnwjYw0BazjF7M5hHP6p1axZHsGXcGgupuT8/di8KNWtpIGI/T
ypFd/vbmvzL7jpmvyeOVuWtGwrc1otFFBhTHyq5sXe00jsVZr6vtjCRJEWTwLeVNqbyIoY9WBzdg
ryr2bcaWB+s95ZGv4Jjr2qu89lrstnGEcEwSG0HGQTWsr+XG+caDPfvh+EHFZC4x7qMHJrINf0kk
vjU4l5rjbWbsjTPnQNMM1VQB3EWKVNULKELbku+pH9NTzbCNFqFkfrBT/wK/h/cfTzfaFYXkJPR3
A/GupwU3ZkkDnQPvjSbkGywoI8y+YJ4mvxwQMR1G1H41HGle6tW+OcmIf1GAd2Rp04GvEAK1xL5E
zXrKUXCX83hsApKdDHY9NWtp5gfk6ywGuKA7/7vcz2jg//WEqPYasb0hAnfHMAviL8ReJ1FNyl/x
Qz2T+ZVpoIVoKcVoRe7wTCi3ccHZfdIRd0XKByD0O5bABh4xpk85z4//JUCmXezPiiM3N2G9COws
8IO9HGoCdH3kdpbsF5io0kO+gg627S1gc5jy17eKCDERq5WaeRahiiZSMgb8UxUwXqBeo9et09NM
+mg6ClyO8QU1867N7wN+VTXGJUlQL0k/JGbwhly1lgtu/tZU/G0pWmlL81t66gF/udiU6rDlRzAb
KXEQULWClYDUcWr8hEjOplUIp5Ido9H1u3GSspztvbKo/zuU5L9YV3Xcstiqjf+0QMT1ItpuLyNd
aEycWlTXbAFRuOX3BH3WVGBuMg9T1pOtWm11TTmlKdKWBBRlI3y7bg/KFB4T2gnl2Lgq4aU0VJ2a
+YHROJXKTZd5bGEhCgZeNTb+SrzlRtWvvUkr2TF7+FIVTCxSQ4yO4U7o4abnIsencMRvq87nMGEt
tYsZE/VxstPpWRh76WTcDPZJ5SU3085lsQeK2qoYup/bAvFYO12SGnTKBgfQ1uLilZi1TuusFczp
HMDv7F1ZrZhvZXtthJSFsSihlHmudALBuVTb+dFco7QDV0dz5cC03iRAFjMvaRDO/tEITtf5gQ+9
dERoxpwWXaW3hNN2zNTbotlXbvFrSM4IKEW4sy/SIcXRz57xWAynEZ136Ojd6JYYjZlIkcNn7SQA
dLjODCTOBReTWeOB8aYnUOp9ExnI9zNO796rm5RhqLbB6e912CgUqfJRjTBSgn5tn9UZq4FjZ+1d
7a27CLbJXF3nwTwDHsJR0655PvPw/9eUwjU1RY9Q/rPkf8y+YLl3zI1nJ/Og9WvGj0xMaPUhLYcA
5dioe2XnZAiECa27WOQdVIT26S1SgAYkEdv5iv5i/XFAcg3F31YOjyYxgvDq+i+JLDRithJjcE37
NMIpBZaKUKIRHrk7OE93obTgkcBJw5AJeM8IYVGBeVHgmotEtR9DE8tYS6kD7203Mv6WkG2s7EQJ
vRH+VmtNo+GMIcTFY36xPjqdMC4RaQJLhNp8Ss9ptW2ZPdTMbLSmueZ6cm2SWy+WXacSlW7sg1Uw
VF01hF5MiZGAJgvRHzC5ivgQq0yRyKDWKONLyvdWJ7Z+1HaI59KeNQGKOEnoH9KQfOYJifJI7fGV
0Ea9z1PztmJ18t8paC9NVtHsxFuSeZLxJeYQCTT8H7eUFxi5w1br31dMQxecCtIGcHMZuJlMHVK7
vxoLBpVjtLK9YWp8PVf9Hh9/R2jAEgOvPhBVOhmAZ9hWj8gTpIQtZU7TZKAwBu9U9m6eISHGf4X3
0DW7zE1LiZUbCmjWj+qnaY1XeYSkCxqUKRbKGopEgmeCxd6U2rQRdO0jAjYmlLsS+W2Oj6m1ZQSg
3RYrLXvgY2v4bf7VUMuiYFK1l7Fp7l03X9UWVnp7g2xOEuzyjIT7TOWHnAzHrjdO9ZJfcnLwuA44
Tko8E6AkpEI6dgw97SV0BVSyKKxfer9jWj2jQbXWe3va1QCL07lkrdwSpTF5OCC4ciWWJQkkqILD
ami+h4lpBIc2C0W2MquRQ1sspI6tZ/W628ILKPYNTFAWr9bQEPxg7MQUIU68Fm3B8000apc6JQlC
xKepxHAr0gppQ9s5JZ1jI39qwf6SBj2KR6XfE3qjFCckvNgJuXJHw1bzaVWU1jpr4Dxy1g8shkGv
AntCr0wCArqiG1ImIxncpo3ckGiOmGM+Dd/gEScUbaS1kzXdLKwOqgl+znRrO76/4aQmUDOQXQ2X
9NNC3plsIjQcMiWvAYWFYI29oACRUTcDjNZRQ8/S60CtS8QfcSbG70SNUyo90WPKY7SSF06t3WAL
9k41RcZMfyEofEMbyDUZM+R5Yzh2LU4D7Kvqk8CwbXOAeLyzYB/kTBwZu4oOMa8+EXKBOjTjcFw1
4/s1qnB6lvRHKicHHdZmrdbquiBiEtAtEmgJCXRA3oU1YyKnDSnv63UYJnstB+MrtnEHjXuVR7FP
bWoMUT8ZXkepJbAFyVbQQSTiLbXMTciBRfzKrWYLIOuEEvP4dkysztWZaRrvx60aUZtIRykWeA3s
g528dfGIK7u8ZbJ2VYbiqnZbswS+zmCbQocz8Z2fPDEJvOfhGsd25opysuI7JGQgYmvYAG9bYNjF
BRVXcUd0h3/4OnHsRREYIIZxjDD0YmNlnS8rMvPFTwXfKSOEj5BcXXZ1DYVXCM5M0LEiaxFgg0rr
PFdscWBLcFlxTtcGS60FtSDSdtpBF5Ah0/9j2VCcVtlxNb8BMdC5jFPdT1dfpPRWwk/Rmvo2GU62
rOfH4GEjQ5MMyD9VPFkVYBoWr53RQ45cMD6FO72mTtJP8hiq8CXX7BvCcjtOSU9Bk4yGo2eCObPD
gynGlAr3KRnbJLVY0F5eBhR3KkLbinPOFrkfLYjzMDUOl5WJ6OCkhVHsF9SuNY4IJeLUl6vHmkCp
aw8LvfyIC7NQLrjhu5eKONzoAr41HBieYL8pkAxHhupmCiZaYKGIVfFUNqjRek9JIUctX1zjvN3C
w8qjWi92Mb/oInpB7HdPf5P8gGsXqC4YlWffwxI1wQrN9bZGXjGbzW5Ah0WktUlFTRG3YajnxWjB
lhFzHZojgOHqN/J9OT8MUPf+zpoD/cMf4V1aurajrlGUGOSxfLYXjL+/eQ3X8ZZMA4Vk6Rv6t9gg
P0BLYV2Lr6Bt97R9DSPDwbn0v4gODo3CeLq2faJzjtDCBvgIsMOxqhBUUj+Getmo2Z84hgKMoEmz
UQIjaJoJR53ivz0O3xY0TnoxwwfKLbbFGw56oljjT+LnNY/gBA3pIbxvHJ5kRst/oiQmKom4NqTx
YOLWhA+JpZyNKYeyAqU7y8xudd2JGmNKFFF1vtqS5FkVSZKk8j2W9YZxRP4BbC9aUUgtT7HFSEDb
6dJL4Y7H8GqG5GXE6SPE9YYbuXEUnGA28hXaLlvjyUJMrJIuG1f88o10UN8yswPOIfbE6KyxnVp7
jnK2qEd1l3hMRvHRRmTURZUrBPFMELMM3iU7Zc3+jAuUhwaWzLTlr1BuUmXkzGxJDKxvWfrosn/y
wkUbYZMRNFfqABwnubByhgg7C1K/kadWYFYUjG3IBEgvm3cG7t+5F8fsMo0RDHvzKsHWmxbzYmhk
b5CIPpjaRp+7k21AtDpWAExbwkVHrvUFKim5orO+0TKLaVW60cmjUefrcuDwfkfdo/1KiEWcpZxB
3e1Myjc0rHrHwHd+wdA2QyXCaFcq06ad3xMYeiaT3pyJcwDtSw19OzHJiGPAYhdeSt1KkjGCHknl
+Ly3OA1UVdrgnRGdh+4TfSzwbUYr6+b1vc7JMbHhCr/YDCrzXxtN4dxE1xqHr86ofqxwB10WVhFY
Ew1GSDnyBZuS2n6rGe7h9NffsIEc4ClVjI9qoIbrHpYuoGx7aKAFPMhpGxTmNiJ/Xu7bnYHStp8t
Am5BJOkdKdfVxizmPRFEe5UEJRXN4ZISg0SmfX6O6m+b6QTY8+2kP/qZKq86hctv1X2BArX4ADjn
Mv0h3uvhog3WRVMgpJXDNUqnKzK0TZw6VbLOpvNbQjqROW4ylvQi1jcYh50mfvQD+PVkn9ANzQCn
VPt90XqQ/o5dvg3z5IQNg7DqESJosMP5OYv8rSNfR1aPmS4xPiFhyNEb/dgPAg3zroRLvlQaTlfY
4gvmQeiREjFOQLIGvuP4E62tWv9NP6UDrflqDDcRDUbHSWNVzC5zgjUuw2gHN7VfP2+BSlX/Htfg
kvBK5sM+A1jQB/I+WsmxHUQdSsLQNj0l+VxTvc82aXGocncdwPkacEpxkAgiGemvE+UrZz8u5AV/
y/RikMnmTPan0l1HeAOShcD22f1E3Kvddnhn7jpgnV7zxDAVgz7prnLgdDW7pnRraspBAZ9a8YuE
YfkYGSTg4+Gv5JBkrDx0/bBkxWkx7tYEQKEZz7hELrOMVZxcKmsf5q2bThhz4UnHaLjY3rYo34OE
pjr5slCXhgpMVejZYgLDym6w6xjrbm2jYrL3Mu9PUvlrWKtr3hXTI412Wn2PWhAPzpCNTPknUC2T
q/EFIZj9TIADOgd7fRPLBUwE+hMCb+aIJs1+xjfDJEWPeDlL+2cz11+Le7lsNyTZoD/1MH6dkHN6
NebLKGCSlAt0/4UnB5I7tFgj6OlK5J4NP9/ukoPNE1J91B1uGLd/Be1tLjsFsNvIUFmD+jYxSTJH
NBvpedgEGknQg7fZy1qPWeUfHZ5gwfWi6kgfLW2bd/0W1gr41z3G64neNDjBUj1LY36Q7Nts9rch
s+9Jn+60EFoVo01kT+TCQ0apM2dsEeJNoPpkTwPAFuF+VHXcpoz3OGRqKCLIli/hQnaPEV2MD4A2
rjbKmyyoNlRC8JPgbdHLS+z+oYaKNbKULoBEHvg2vG++wC6NvW4ZOi9thFv+t5oEFpCH+Gf7PTUM
W0x+gx8Vdb3MKcd9p9VETFulb+X3GiqUFbzKoQ93TxHMNyrsoTLZkqDVYV8ZxqUG2qScV6h9UaLp
wJfCsvleTJ+Gfg16giajEC9V6atABRRt8GeIAoGY/Xr9Kj0zDvYhj2f9OuMLKbF+0N2a5Qmxb5O9
VV/DX6MBN57Tyjly8VNnxk3k/R32OXywtlxuhA5gqoVWkzuccfouagLoZX9MGka482i2CJ0IO57b
DeiLt9l6Ub/72+o2KIh1zqx3JlR0RvauojZIFfAmOc5cAlQzsseKCYUKgjvOsC+DAHA8vocBp9Cw
eKLojlMtH/Eyqdg/U2zyuwTtSv0U8b4AlgGvSr9qBLBrtn4Jw/TcOT1aSRvrEWJoRWwD3Sv4pwSp
T+rlGWbmpfGLPDyYxU8rYePIY54R9IRld2xsco+ZHRRekDfwTWmNcIPJZY+te2uTleYg/p+0Nb6A
bf1gwd3fZee+QwKafUx/l7ZlvqAhRz6j9hmLj2UGDl0VTvMU71R1LSOhsm02NZE4ojdIv4Uyrewe
ttYTtKgcAZaTmU12JqhycjDV/QClguc2sh8hDKHcwuzdfuTUO5shtuEuoMaIibHTCk9T/5Vq+aHR
3PbJaxNp71kfvoOXb1h4WdrbhDNhRZWtUtocB5YefchQmlTQPAXbaqzZAbyg//4VEV9q+yxMIPkm
eXUP2uamaxNbJ6CGacOqNjnrso7wbjwQR3oYHyDEWxlBxXYeUA1k9F4LSR7NiU8zk/2GzAgNXUHE
Cb+u7bIVNEIXiIjHAVve0AWSFGCXbqCGnqyrXtZPvobvI2gZfkt45/j44cYp7xZw3JJaL1Ux+CUq
0HHmAXwNoeHPqwsx3IRXQtqQyFISFMGFHfQlQiKEursZtIOwlIOdz4dBKg8L8ltW4Sp6ZayVhv5F
+B6XT2LCGTMIQcAfMKPuMnUXovyqIYys4RRmPcDSzWBFR30yD2Vj7SqS4Qde7/CzRFASJeeWZw3T
uBlkV3mixcq0W8qb1LNfN1vr7oRbVWMAiHq1lVfpGtax9lUL+4dNbwfmhoZTZwxAgkTC8iAu+FDT
E321qSEVR0O0ok+gLRYwxcbrwKSTkrUykZOe8Bn7EYlCGsSaIsxPo/yiS28W0yiJiC/E60yrDUQ3
tTNHqmfQcDB1FaszRC2vzTSu+xPAjPopCH4EmzV51knUwOhqBR5sMtCMbaG4K7Eic1au0SYyN6RC
U55zlFdy7hecCzaAugY+K+UKrjT+L+2ll7TzgLikhDdFVuTOgrsiA13tLcJ6hJu9KBqqUvun0hNS
oDgZASrALdj31adg4DSiXEc0Cw0eKmK2y2BlkZIOAQJf0ZDspnLk1I6vKeL3qf5TNNGN3UTas5BD
0LghYfYrHpOz1dMY/ZFLYDXovzoqA1AhKXJIVmobLE0fvUZ0jo4YhstjCJkkjBYs1nsHCC16m7mr
BvRQoFMKzirMZAmtPlm2Mupe65vs9Q2uiq39nO3DjSLKT8OYAs44KBKW5S8GhMd0iHh+Eke07C1X
oWm9W3J5NwREuFFKUew1Ksd69QaOpadH3i/Ncpbh1lhTcrEG6FAWFA9KcW082XzhmTipUQgihpwQ
+FeZ4M4kkyeDBE6wOI93GSATtvGYY+TKNFdh1Mrs0uQojOXUaU/m0jxCAJt17tAz3ARcX+o0WNhK
2FyGHEKE8TchAOMXrK0NS/uylsET1zth8G6EzXEiJyYwZAcYIRCV7WA7BntVtTJPJRXOoAv0V06E
VZcskhamTwzPdWIoRv3lJgHvUfO7IFFdbfRr4iGHzQXl2etIODgNJ9dEvY9wVCIztrr+3JbZyQIS
RlKHU9EgaXQWYgWv3Nfl+poDV7NqW5frKsBznhQ7pB4UOuc3dTtCggCXSCB4DAqQEQV6wkZ3BeAa
0EWx8U+BVwQ7ABQb6H7+FlgLOb+YQs0jDD5MGWRsYZNFdZBw89JY5tnDbv7ENOUTvgbJooVIoldt
JLD8n6G/mOzPZUapAdiEpiXmuTjK0m4xPxYT3nIj+QuMHZU/DUTb2BxGMC1IeC1M5ZM9e0DQWF+5
8vjDcEsB0zYVeNhgtBUz60zZa6tx0zEemadoNxP1kfM6lsDKzPZggyTplq84+A5z9SNiFmtnjyyH
pIkEDdta+dRz/G9W4igfUfAIJTYldXIDPnHTouU2Ruqt+lYwBFh5f7ZHLHlZ5TAixWVxqf9TsnfV
32VOGVxbvhkIf0Ukla0EbkJ4LZmIWaoxvP93IBKwwtDQqVQaMHCm4D0ceo91FIYkFr9YRcatNkhX
1CTJrShth+KmQ/0Uc5n37B1mFj4Klvvl0OLMJTj1UBNmFne6X5JI2BYxia5JDZRPrDb1yFkjmNcH
sNfR+NvzoaqtA1wZoR507D8hSBmNr0pG+zejmpkmXouNUUoeohVTOWhWes3YooMDuFTYmtNBP2UW
/Bt256N8MbV7bexCuOBZDDaWxO4pSfySPPDha7aRcJNGiiSsupfqz3NqyA5Ow4fOVTILJwAXrSod
YlMYGKCwe6YEllnSR8DL3s2vJBnm+Z5kgV0xtbuI4X7LcF9nuD8pKM+zS1sRycY+mAXQ3F0ZbjlW
/gTXPNH6s0hfWKSnLPwbZUsTF6BvawyWVnZ/HNC3oSCd41uYzzdZfEQlI+CFcFrTRPIwH2nLnGhX
E4wk4LxP5Y/UEYY3pGtBp1eDT3g5JuU/KpvaMEII3TKvrYKdDSYCaT7AW3KLhq1Ku6WDT5ugntDd
pnRc61CSRDMF7SOrW18GhCKJHFMWcR/8c8asx5hnhyla2lTeLF8a9B0RC6YAGAtMsCiy1xlZveDF
QhurguFL05rGLr6aVJlN8TsEyAh6xR2qmHCOjoYSo51qe02XIEao/PoUW3gAyr/NW0TI6YydLF5u
IdHIkJ8WUlVrcgP0GfkkoZU86xXujATnEGvToXlrITbwLSSobuv8azwxZ8P0YlheA4m7yZRrukKR
rjUkgG6mlt13kuGZ7mAPCJWRHfFczdxwM9hYpmbouioHysmGOAiLOHZOwhxdD/4tyEx/w5JS0gPE
gLZ8fM0I7RyAZipIbzSGyMM4unhjgTK2dY3M92sUw24VVo/4z5iPjct4jEnt7c6RpZ/7uj9RxE+l
k0hvE8hBJSVItT6EGnVWepWSCOpPxwG7FoGhX8aKy8wf/SHQ84UxqUV+baVstXcUPRFz5STeh2YG
8eA6CZssYlLezj2L0jigApZRKs7AAKH3kWTBVRQk6BFYAVskxTLRqN9q3y4r30hjX6aiNIhA0Bip
imjbKO7qSJVtarj4XIIf5mA8RWm+NbLneuIhlcW13pLsRxQWEU9AR17yCa1T+5uRSV2nyNporxg5
LrnmxiXStn5T8kYsaCg6F7wi1CXGLSGqg5Blq8QoFMVGUhh+RzB3N32ildhoA2wwwhXH3dBIbIWa
v7LaQxGBPFY4dvvLXKabk5OpWoeuCVAT3s2+ZR9MU3ktU7Ss7Ea0hXunIrJcZnqxZtaIkLYCg0JH
Mko8bWX4+CM2cwMfPFEWgKiEgkaO9UFo1OQ2kZbQXMcycFKkUfocwsg5KraXM3cdQxSH1UtHrzez
mWHYDBIpGNg5FrkrQ49atWdKiEAWY03PGmjmk2OoBZeER7XVBdQ0iXNSf5v4T1lEhc1epMrwyVc/
y1fPErJjxC9fG8IXpoatNg5IECHBcrUk7HLJfMV/ggc3KiI3J9ejUe+syTlmhJPNOSr6ymM+Bv2O
7G70wmy7ALZcEguyK9cDjCsKNRxliCex8gIubSYSx/LpmCCtdDvMSD1oufq4sI1f/8z1zdH+Wfl4
zeXyanX2paQYSakgiaI1Md/W82ZkmVHCQZy4/yzuJWuj5AMTIYtVw7PpsptOTxyOLXhM5bJID6lB
oUvsCJ+SEf6sn8dSU7cuD+zyBD0eVHTFkyrzw9C3anityTTHCK3hXRuL9Ep524Xv9AAKsTRFtFlv
lWKRNg3159xYXrXgU2LGuZWgysZx7EcxC4YvRdYIuEQSdZf76GaRSKcP6o48j3dVMd9WzaPavySQ
7Ek5uQRpts1Ig9YZtyeS6hOB4wMxhpG6TdOXb0qAbw5MWtA6dyX5CybYqBWOzodp7cVrKV9gTi+l
iRidjCggBpHYVeiW6Op6czrYGECk+UwOhWNAoJ65OCXm+QUfAqMIF3tROWx7lEAs/vYS3WCv0o+B
0AFZXI7ThuyMiGIm8AXe/JKr6qqd2BZNLnJoro3qQwEs0oL42mtia7Ibt7i8RvPK4Ue2VA/QoX/A
Cl9FWXWE/St+wNVkZEtkDA4BmWqOL/ILzG9LuTG1aHrknfl2JhEJTVnLwjsp3pTqA7N8mAzOGoqh
0tUBHrfsr4J/s+Hbg8Jg9yqiS4/jUoPtwh9o/jMx7IxoU3gN7xLXqkFuLI9WmzgEtAzFn6S9adpP
TzU/1MwEK+JzEUsOd0RRjtDJQSdfGskcM85Ny/YNbiquCgsGMVy/sbLwXryAJ2LCS0ckX8Dey2ga
LM4qCCk8rZX+qtFuaRR1BschQ0+dJac4WUQvN+jezF8DK2sP3A+NEmbAaWFGVLLaIo25OTPeZ/00
7MTHQhbNAkI0dKl8nLr8BLvTTSz0Vd6IBWoBnQHAqzzIz0twaz/w7V5Va9yNGqepws4ESBfGQlpw
81XCvRvhUjV/KsAOfXJaRH6QcS3k5k+zIMGAxNhRy6IIJYKHA7X8kGLGevQrMINL4LujGmF/WS5z
4/fIYiwWlDYu0fXnKD1D5AB4nrZhXnIsYFTA95KCLXNsCuSxt1H6mPdU/QtIdrcohSesZ9erp2jK
T6H6tloHwllx7cXPwI/EOOhTKrevGYu2rVYHI3qJVYphjsZe6rDMAffrWEMhxg6ycg/oiDkafRjp
T7n+kpRM6FjdAFMAocNfZeU9OpEyv9pLfmVrfQsVeausDh9ZRkAcOvAxI4obzkA06kBE1+1+fSR/
cTOPtJqScWI+WcOfUQn2KUzk4qbw9RFQuUIzWH0WJpH3A38kqrcQqAxCz0NhhAeiPSostEmKrxuN
jNUVeK2Ms8WBKuzidQAihpU5wltesNtWzD9JhJ0o58THuXxraYhM7MAhWT7QAlU0bcL25cz0GlgV
Y7viavyMgVxeQC8bXKuCFx9kr5GJBL+WV7O7l466q+LAp3CJs54r3pUjloyFDn/chDGwOBFJAln3
NBbEHGGEh7ZinbIhu+ykaPJJutOk6oV+6FBlKKj/LRVQ5qKeMJ6dKhR0wCVbUz2oBQKe51BTvJls
YL5TxH6RtOo03A65ROryKvdQIWn3ptDXE8q0FldKiUpQ2vF0P/JofoxhcIhpNeKE1TlZNK0F8y90
qwVnx3Ig++5g8okRA0VqE1LsYLnVCxNHntoZ6Crhn/lOEDxyDelnR3FbKvzJBjaIMd3h7UEQ5RHl
iX5heJt2vZ6/VYZC1oP+OhEfVQ3JyVre+0pCj1xyhxBWQcINAQgZbH7TSQxmjFV4lxMcAXEhXwTF
/IjuCkGw2uB5K+UNXnFnevZThok//KoWfhy8So0y71v7afLACgN4So60Tt+ZSrM3x5rl4nNKWTfp
+4Lw4XwxGYNM+8pOIdq4zOp2GT6V3lCvUaZsUCAzt92mjQnSCNXBTOIC9pyevJw/Q5DvBZub0r7m
mbKPO3IqxmoLjRITXDDTaRoH6FSlWvhi7NAk9wxsMAcpnKMoefXkMETcgFTmjDl+B3xK7A+YTBJU
g10Y1844ua0cnaiKpHC6s6UlLQwdIde32Pe5tHvJYlQy4a7nSSpYQWppc7CC8Mj5lud+j6qo5x0d
gF2NGVOSK0slHBvtoQqGQwsawuwIKotei0o8UrXcWvyWQMAY0yOSkgm8QsGgrSFQhBmyTjCnc0yn
Zhc7oB82LsO1aif5zpfDYde393V13dOVctmT0sUGBUie/UMju6VV9wc4ACYcgCo1Uf3zEp5t3s/u
O/gw4+SqKT1WQHbBlOlZK04lR3JDdZ6jqBtm8sybS0zJthigt5AiF9Cvu6J0e3yhOViaLvkLRDhH
htF84XprrTUiCiG2TIm462RtZcOxiWYo1ta3YKL2xreRV6d4GHalobKzDXbrl2Xdg9JbrUTY8ppx
11oEIka86dYl7KaNoUKAg0XdMlayDWwYqfNoE21X0+IhmWTZDTDjEPfLU0bCiC9mmgkiVp8xOaut
QltFakluj7A6P4rip4JcGaJQqsUfVeciK37GtTkcsdyWw1eUZOBkr8tSMywj5JQGmj2iJ9bfxrjO
NTt6LD7IvqP5j1ijnfK7Wu2FMuNJo3Nu1/tFcpaFbCqyCQtzY/3ISB5b8ywj/l6mTSS6a1wZt4L0
FgudtoTdkLYGrRZFg3Ex6++KXxwzYM3ewrEjkoy5FBPbCCvFMn2uCtsxPKF8AGD02up+tToHrIfU
vrSTdYoVA6lZt/uPIb/kB7s1znEaH7RrUV5s+shexesfLCyRDU8+KI3fIqjoWZtNbM4yySeOEgNL
cxCF5auYgr67Zq/ebU11R8w0I7+aWICN0uob8dE1DHd7T401T8d4n4xIflT3/yb3IZ6omS+I5p4y
1NtI/cQX0ZDGAImj/Gv0WKboQ8N3u53f4kU8Z318bcgnWQHG5KJpjWfjztaw2VVvA4Gd/0XEym6V
Nh+DkDa9/TQU9YjMS14ggVhHZPPHdQw2qa992pB6vk0ncbQibI6dPwAzW4v1AFvxmO91G3VjeAwI
zImq6G4NaHgYuzY8yReJYlCyekC7bDDMaWswTEWvpkpMS7q9lSr4GNBnT4mruxlFirFJTVpSapPO
Us7WkFwGDFGEm17gXokSZYHsanQEgCcqTmwv0lU3qWOvwpkUshriDnWW9sWUiDQ3aZ/U3zmajp3y
ukA0mPPyNMjjSdPlU0L5CUHRKaA/qRl8zZ2awxDW/nGWrvIB8r5i4w/hUgSCT3vTTQXmb6xoPV8G
h9oUTzvGzjKGCq0v8CXjDLNweJ06wpoQN4QyrxvX1LyN5cvynQ4fS3RnWIvXVwvI02XOgxwPZ1HP
ttraEwLITRF8IJNJP9DWhbW/5J4OVh7G4Fo6/g9PZ7YcKRIl0S/CjDWA1wRy31Op7QWTVBL7vvP1
c+gZG7Putu6uKkmZCUGEX/fjF3ZmNWqLRLNbFYVYPNt1f0LXXTcgRLoGDuMwbxLMhgOXMyBYGDLG
9KXQf2PrlLE63T+rfzeIKeN3Rwbf9pHyX91QOLK/1lEWq+iVlMtLwDyGqJo6Pzp2Pl5rjE59NwnF
GNYDZ2cwxfe+/lH9L7SBhPho2do3ueSgl/U3EUtXuq5RcL8U7aaWF1vyBFeRjgyXc0yZcFoEJLQk
dJLC5IvxDg3NYYnS06Uot2wU6HSIWSFCr15gDlXPBUdbLqeBuci8J8dpbwSDgBzcGZCryUkRHApY
McqBFY/bv8Mf0U1/rH2pzB5y+h25rLHmfZJxJwlEmuUwKD+MFyn2I+URdDvNZqicZBdqVfjxZso1
GEzLnCvY0xPxoYtZU9onG7VzGbxHVfNSR8OjejGZgViBceJjFQRnGvpmTcYtsYxEZpHGLdhKQfmz
0aRLfTF79Oel3K8F/sMrZwRsSotcOOwF5vICplfm2nTwNMV7x5CmExcNlQFc7KVOr/GAveKxpHqi
Px7TG7YnlkEFO6uaCTSTF6pGAU7j3wBZDi83a8ebbuwCbVoRKKgI7FvtQ0vPOUlnni24NdxlAWW1
JxjxVJOPegkq0dAkc4SRZXYMKbOXlQa8itiCRWTRmG6+6pE+rFTHhGIAw7/2kvHqlxgbVgwJas8u
8XgQHtUYCkyttWsnZqUBY6n0ORChD2mm0ONTToHxWeW/04b+nOQQfDgzaMg4pM8JQGFm3n3ac8hX
LnMdi98HXI+mYTaumHKY8xbkBmWIq2rNRAc9e5m8WwhlUgmBEr4beheFoU3jmpk7dpgnXLv81cxD
0b0jS+780OuKhUbJxS/RlbKzQT1z7TX6EYRRBf+XIia26Kn/yFT3g0frpDNQ2I/VK9exT6BRxmno
QPCe7Kf+nlbmE4NrV+AzTdIbOCUwpatOudIhRnc5VrDlMueUljW3vL+3lL8jdMlb+y9eTCsAE8Ic
IR53nT6Zt6qeYcwCkuDMx3p9KIjHIfODQuvNysMXz+6tE3AhwegkH0VzEtNBCQS8fKxp+EHFCpID
nTHfKaLriI0HSewZ8P5G7tla03XBP0FiJu2pyZ69trHW1UeNjpy8+1RUVthphebK8ABhGmbYuiJi
2HRGaKXBLZ2ulz2lL4lDz/Oh0bX/4JK5PbkeYxu05+XoXr+S933OHp/wD/9zOV3bGzwUbIly4Hm0
pLHl70PJocuQ4j2i7xbvj2yodJfRE4dSS5M44AUvPWcVzy0C5bl5sDeED9iFKjpjsPI3atJ9wYpi
U0s4sGvGmWbjN6Czwv8ulc+ejVvaH9G1ko+E1GeXfPEoolDRB4YDb/1kSTc7wXdCQXLPDQq0p1Op
86tY1B2Yp+kAmiqWdrX9oDlzOZZO6isLFvDwFZmT1lXofLDGyxy019QKbnY43sJz3lggns5MNi8D
LdXZvgwBLspXdeL8ov/aRrCnqnsHABFMIYl6oNc8bpjFMQg/lqXuDLiHEvKywmujU5gDlEpXX8+2
eYX8nhof9ACaZBBNqaQ2rTvIxgjkHswgvdjDeG24VEJcPM3i4iFonoJdmTJPt7jg//eZZbAZb4Gd
Ty5UhxsH7JGm6fZwpbUYQs2S22cNs1sKldkCTdquSut9I+y9blDBbCG4lTPc4TVPccaow4IfKCqa
5nYAxdin1DgM0oYdEb6mjiJi3bwyB2bUuEktbU1Jm2++yu3koTfWsXAmw3Sj2nCx2NIWu1J3SIBe
vvDEwtjhL04oUpDtyrnx5uInVFLa9JJjZF+a1DoJVTnbcXcZe/vCnHwiSzAGyjULzGsWaVeZMETh
+vJVUYrNQE9jxqPZ+j9AWAIgTBrKdcYUEn+5aU+bOTqZRkOn/AMsjMRKbzbBm4+mb00RN8/5zK2M
zoMiBNwX/7Zmnut8OKnY2Oz6N1m6PXVgQOhGIRGXKb1Q1Ck4MhOVoNVw0ZH5kAsTAm8I/kmrcMzM
XpfRanIdMqcbUaSh5Fn9aYju6AXgGXyif2jeISqbQpY6sczFtdgXf1mjvcu9eFtmCyOptIrOWX4k
IuA3GJo6/qW6+S7ZS6E/nJam32sUPyWTCZ8NlVnGY1G1R6Nu8QmlXkKMr6xjclYEDLAtDZAuEj7V
UsEo9SXQOQRUX5xY9CTFXykFVHIcnNQ5ZvzhkDs+tK9jwPAW4WKcS1fjZC+gQGVQoKBQHBY1uTP/
5VpG4zQAyNUAtoKSpENHvBUNESa/TCGSqoeu8WwwNccHdE+OdOIgxuxUWO05caVM0H1R0TgL6aJu
PA3fdtAPh3TWDzVe9AlJWRxww1NoGYCvzu3KZc7TUYhif9hR58RFcVB9jdtXeXJRB7V/acA/n6s3
6ah85L0XyhDjMJaltPpIXKBNeJkLR0AtLbEG4fIQ0bsesfL21zgxPO4d+LniPXCZiAYXG14MrGYS
ItrgZNNRVX+KQD5IuFoYwKSIlt14lX1seP7ax5QuVfcgwvduIgHdzWgbD8dsYhO5tGnF5Dcbp7Dy
A3JL2/yGRIpDnSFFfaFoKS9YEGiWhVWrjhRnzcrNyj8rRD6N1+AQIE80uk9ynryARjEi8zwI87dY
22xba/ELrWrfYsRyFjPoWx+wLr2qEvsuNT1WxChQtaSFe8ErtmqqFHCmM6MYAuR35NZrLZ3hwnzR
fVeSFZ/IXBv6i6Bo1f/G68VZOuEC7zLWJv014AnV6i8gDOVP3dq2rP1lyrFoV9eviYbmpXG4DiSn
1V5mFC9M29QALLUM+5luHep797nFej4z9PC/G3tpnOlWEdMR0sSYcJURX9Q1Wrp1NRKfXDgVM1/S
h9MOQxV0WG71RGNQ31FJhnBEhS3b5qzQOZjjLaLFWqK7MCc9nbkZm8Uk+LQKcRXfDU83kWMxL+30
YkzpZunaQ3C7mPVwnchcDBZekBUgo8+Ib60eWlaG0GvK7hrHAYCotc9fbXBAHO/w8mD0H022q69z
rdxkbnibKYztM20gRsp7XprrLmo5+wTQGeEd6ihE1a4goUjT77oS3bq8UVJwscrqpiXMvwq3Lif6
bxwEBZVpaNOclrKh5dyVS/1eN7VL1zWXOYwvk9KdVXCNafWrJTuN56ZKHKjAVqHBuZTXin32kVMC
+zlCXjQYSUZtuMa0EFNzDD8rjAZHSVHMSIAD2LQsRpYAv/x23FtIqVpwGv+onrroLBO+1YIBABxo
lhs248Q1MhVWg9skHAqkhdFyw2YaVqDbId4co/Exov4H44Guwp0MI5leFg+gzQTc3OifyaK9TPT7
LSS2O72Ja3A5oQm+EYWIAuMVOdgkPvKlYp20f0qe4wOKKh7D7xHGmg40Nm2hVqlsWql4wBSDlRDq
YEQLwF0u/E0Y6FvdlqEafSl5wwEmoAYxT/+GopCxfSg/0Ezb5M+3fiWfA6kmvcVltI70eZO3BYa0
dTh80kGioBAySJnl8/ShwB+EpQw0ArLGyG0Dx5yacRNAqtaFe7w1O9U87mbj5LNTp0mC87FpLNGy
rTb60IClrWpjLYjs7VTQKRKp23wE+xRReGViTUJp4BgYjTt1Ku62nt7MDACiuu3L9mz05hEDQZ+E
e5GHR/pQKlwrCkEHDiO8a8jNPNYH1VhlNuXggYm356qXq04u1iVNGTZNGRb1GAPP5LKERdQs2d3R
Mz7laVz5c70t1fYex4uDmT8Qb6Rvw9j5MJYr2loHOjo7m7FrMxMwNXkEFCd48gKIWVzsUPaEia1g
5AT/DMRZqBMbWEZvzeQVnCn9/EdvvuTNcGNK2uU7f8BJHTaHMSzwOmTs1OwTZNf53NXVhZlLjpM8
neRXmgH3o4Z/QpFfu1cz1q5Vo3hRAYXpPtP09O/VfKlMaRV8Txq2ap2ti8w5wCBLrZJDnPbZivgZ
ha/ZkXK9I3ubU4rUAOTESt5kC38YtazGPYFLrMzKm2+Ub2C4XnXRPvukuXM6MhiJ5rciVy/N6J/I
WxwNKm/9+FdJyHsNzVWVrVuEv1hs2nz1bVB9OFB9aFrMXaFJzL8jiSTpTZuzq6iH28B3q2btUW2w
uhNO8UHgVqnOCCxAvTYIZZjOej7Am4OTnh78j8U2eBdNcO8PO1Oo+yho9pljZJwlqvudZ0AMdcx6
UT/sc2bnZ87JJ60k7mitV79Nf8vf8vnbyhFslMLZqDyult4EOoE+tNDkml9J7dX+zo3xuKOHiL5k
H7VS49a2SsZ72S1Eti6SGyNFhtwmJWr6s7WtVz2a3jK7eEk4p3EqjOqXCCaSkSoPeSYxaVUuUJqB
4H4JdzNJ8K0mRIvncKMQGGvmpVTR8ILB+SGs5xkdDSutQVaVCPZfgG29TxT2sBEuwnGb7DC4sB+F
4aQBnY3CHgqPug6VjZIzqULLbjNrTfiWXNi2qGWmOamrg/SvlmwIa6AQe47A1AIsG5yO0l+DpqYY
20EANM0OB+gHMWbLHK/QWULPw+YlV8UaQbqixz6/U54AeLXNfC+/L1tK6DBrBU+jCr2E3gpyHZLL
89gIkAC0dWAE1Ft9TWZFkdF/HLZnWxF+DI81lF2NVpsQyu6Soho4nmZ0DxmkNo1Q+e9AAJQDOugm
lpiaxu3aDC7LXqEmm27Z4GkkpvsBz9NiZ2f2rrMBASSLK2xNOCONilcR1G+qEb2nUvn+VzKVty5B
2V+mw7TdJlLHckvJOOfaQkAPw4WMY+s5dOWmQWoY2Z0WIXXlgENLqtdgfOAY3HFP7wi/S0K/RGq+
zhoZQyy+ogwqpIk1K2BkJDSG2qaHg59ab8OTTFbjloiHVOzyEVhHtPKjo3kaWa1Xnt+mnpx/FBxx
UKvnmicpVtSMY9mpJLZm3o6D8aOLZJfNFUaybof2RIfmtx3v/PhZ4caPiCDg+dHV17j/Ale9WTIY
2p9iYeSr+PypxtSGjMk69kqiKH1lHGbZOoQonRWn2QmPtMWSOpCFRD4ApyPJONUQ+ksw7solJGoU
Buk2Q0vtZ15GugR8fjCTL10wFZEeeJEMDuFLqe1+eWqi7J8YhYyM8v0Z6/M44iPx3forP9OS2+HL
6NA3TLw+WIvL33PNmGoElq+WElkm3JIwjThB2wCju0G7FXN+1elQC6FXlPWyqnudAriBa6Zj39bs
0im9Kq8J/081EFrG9jiWVC7F5r75h63TxoSJvBgH7KgglvCD4aoEv8vOTXS41xjYKml2sKhewg9s
1Fc62x0tiCgcC05DaR4Cn0JBfMblFHkGb5Nm2vgRlyBiqdg3qRmvo2GepcjcWe2uKzVEZFDYzoDo
b5HGlGxeC0OjGYclgAXdmXkzcDmOTKTeKtISpfzJjQYC19xzBHIDiw/MqbU9OkrfHPLZ2tsSKjzY
a1mxtoIgeKzuQJZuDKNiW1SsiEt0zQZ/c+wfe6z+2xmXGTH3Qz8DQCUbr3Ls65vXtOYKm56hWeDX
FuuA0G9iUjjE/aRzPyGkrusbuvnG/459A9y/OBehdjGq5tpR4GDGkJMGkva5DOdvuP2FHULntujO
orsuPNMoW4BBJpO6Fbpl+I+0CTHi6cTcP9Zf/Lh4JEPijjyAo0G9TPF7R7Ci25XjeyNQyBdnne3m
XekVseJ1dbSerLNKWdW9xWBP+4s1wrn6M5rkZI/qUYCC0s4j7/zQ7yu4YgLib1VJp2y2zpZfUUe4
rYvhWvCjR8yx7MNDjP8whknMJ8N9xBrB0wXc2LQNHvaAzpCC6bUsh4F6Wv/6kGC5VhArFZUuqAde
V0Rh4fZk9EK6oQjBeTqMIyigq0b7HssJXRZ0nP1ZN1gVcXMc6+ik9cqtuhaocQq2j65n0yAOS7PD
0O5Kk2IhHSeDPZKVIMOmBA/qKl5CsmP1ZL7oP4n2Wo7+O1Pxj4+6vBZQe5LWwgP2bvPqw2A4NR0c
vfSW1+01L6fLmGMYQH8kXOfWobLGAqGAlxtmCHl07gyI+eVXSS5R18xL1TcXpZLOPKTdcrW4zAFs
622xVzm9VGdKI13zb5DHdUacZwkopHz1VmbI+n8BhQFRDZWpASzRTl8FSnAZFdsl5btUgC+ke1Q/
qSxvEb/xP1daEp27sDmykC5wEZnKIW3BeDbTRmdAXIIS6IDBFAkFqqq5a+hBLIm5hB6lWpemBWdO
Q2E1H+vmk/3IPgCF/tplLx34fgN8fyKIPBDLKJ3KHIgFQtg33pBGUj1CpUUWQtevTN/zUeXhiNd5
/IBFfTf0j8LWgO0PGNDicxiPR9mOD21RbGTxBTgxpwUqtq5K81Qh2ahdspGDkemd2PRPeFAvAfHa
SSHdGxSvVGO+zlXuRvDpRCSdysI+TROZMTp5A204wX/XfUfDsFKHju0OEEpyRjY3ralZntVLnjAt
zGbX/qgGfcdpWwcYPhXIzNx9YW/QmaqsJ3gCAZPYbgLdx8krr8WW7uWV/CbK/Wyah3rJ8QIE+TVR
c2sQcdIAv75H1b4bFOMq3aXC8FgHPPgnfphkK5IXoWcbHPzYXf3xH9j8NK88JWSSmQ7gGX9Aft19
G9qH/ugVzH9UKerFdlq12XDL0uASjwWYgGQd46bsg8ck3202cwD+Vk2JS4UK12WCzQQ2S6TTXy+Y
vUjrMCS8T8A8o2e3mKJVyt5PK+4DZQpRApZP9RicTwFn1+YzTIEohJGnAcHFQtiSAT/nVK0s/78n
vayLkr1estY4r9ryu4VCZOuPYpE0mOgyaLATTr0+Y4zUCaSPNMXXaEduzQagwvaQuNPcv+A/UZE8
wMIUM8SffCuw/rIhW1q+GBM7BTNcme1CtA4DzeuIYTQVCsu0W34CPt9tRE/rSvAllBjPzoS8ZDta
hk+fLk/yqgHjXrKqjPwW5KXAV2okVy6LZY0Fy7tIL/KApEB96RBoi+kYXEod4QYA2JvHCdbmjcmX
lcab4psHv4SJyq/Etr8fSXlV9l7hddkkgRT+EKj/DR47zOfT+lGEgO1tKKzktfO+87pY+RcvNk7j
POQdy7pv0+eL5MBUaWhnWi0WiWdy+pKqvSnBJ7ljr7sAcleMndJgP/PFpIb1G6eyAliFecuZW3FT
dLM79rRqdQ6QtmGKXkomJ9Y0OHLfnoK+5bmm/dDx1LQdAWm6ayIUPAgFPWsoafXFFx6TOUCjWokF
7tZILzHzGKYwCZoS1cEIX+ZHHMnvBWieFsteyaJcYEyeP3I/uAdKRCgzOhQx14/VkQwnKUickLSL
aos3Hvak8NwwpkMsmLcWCLIMg4IUd9zfrRMUykc/l9cI61oZgj+TwIoaLxp+QvKWBApWKfYwZPQW
VrG51VTwEBBAGuykuSszfLVymYFd+mKlZCH2Zlpec7hYkvpRzGcZ59ccQqUqY/x5Do22R6vJuePq
41QjiJs0cuCfXPxDAd4hvTQ45OLHcxRZO5Y8SZJng8knpjFszuVjHVfHejAOi6Cu8nfd/kTEhVO7
B5IrM90v1/AicxpuI/hhgEvrlTB/A8dnWxE5aOv6VF8pbzzTXHg2s5+4EuROSdRSzlzg7Yz64EKk
BycE3NJ8lcOLtWf2bfnKJppo8eGEMdtDmb0yFnbw03NanObWPvncILKypyjtVMu+I76NGuFd5QDB
TCujhasCnZZjnwcHYofV3sfrO8Talg6mYFtVrok8szz2xHgYNPEYcbf0GJZh6U88vfvmpATvlf5q
UrY4Ey9r+WeIqheY1c4gga4EBekP4GxduKnqYmXVXEr0nreMauOTLOnnKLacvvliCr0OmSNV6aVL
IQryJDEXwB7SW9Ethd2EMenIWsyPRYG5TYNC1R/i0aTwOV8P058ywswCdCrydaQ6urFtmFN1P4GY
juNGMF6iEpQpJAWI5NozRj9p7cZ0vqWCcblAJaSNliPHbLEcM5cd8MHE6GlKa6xbNdjobxQAuL5F
0WSukjBOHWUBvpHKSzkaXUzjkRsfhmwc1FXB3FZSi0PGgXyYx3NDrJOUwrBkPtaPmD9mgz6ZiopX
xnwVbmE67gTVVgERcKOu2N1Mi/kRN3vt+NmNHgaUsX6dAUthcUvLe7LGOYZhw6LvplxW3prVgil4
1Tjd0LhgFTDdVtR8qUetvhb8i5Zi7JZgYYPTizBeZSwI+Mvx9QxeW0uHcinZ24bddKlk5QTmJaIT
SmOtkcytLIBVCHYp83oi5JgvUC+CGtP4mzHirSrHNN7KTd+5Fu3pKEpL5gq+F3Ye8ZZdcOXbLFxc
cpg6GeXwXIpcKO4VAfARD7xc0ScQ7nNIQvAOdYfrUNePtH0X6rVu/qk9RF/K7lYzCop6xGn6gfk5
BE2Jd3y1YlEfwzfd342fgngqKkfKh2l19Ype4H0WHi0D//RRK8lF8PNTMu+vSwiY4DjJCCjQj3W9
3cuHPtiJsvZyOm0JoPBnWEo7Vnwp/bG+Zz4AdfzLSf1SQbLG6gvGSna05NqoXoJ/p8ExzBZ1AGOF
7rJy+hGDdQWvuz00XMP6tCty1ql/s9AcCB3xbZ/LdABB5yDjsEQdpGEbcgKMqnWsB06D1clanrzT
K6SIDPK8iuGJTMuYarQsQPeHddYklzL+t+x28vDPGE4mbLpScGSV33t+i8qmK+LZbIS/2UU0dFWl
5ES9/pezwS1FFyNx07msbAQTeCoqIONm0eD3ZAcprzT+lY7gkV8pJ2p71bVJG6/fhrv6hCULCurS
6nWQVJKj8VtmrbagLflKnAa57XpgwUXiTM1jeYyKUHLjz/qkEosI2GDslwHKVmUzU7HRwALGDE7I
qwBQWsNv73jhufFQ5gaMvnpsSW4NgsVeg5jAYQQzWW+cjdRfd3jCiF9PK4DNK7Xaz8/FkhFClUy5
Q3OeXWOgcZ66JaDd4SD6w8YYtirp85EHb80LLdcK91OCYyvcOvxa3X4qdMjNMiS1dsgeiQx6kjMQ
Sagz+MFm/lfRBiDMDNsSh75s2rCRoKIBWADokufMtTGo7GZNZ86WkQvDfHqNG+NLhZW7hmooF9Wt
ij94J7Ce1eNqWpxrIV6Ml0UoSX9AUbQP4vI2VjZUg2L8k+sN+WyTb2VFeA1K4UGGCU2aSetnndMl
bO7ZhjMVSGfaLKGs6Nst/VOCVD5kP02OAaHTRJGVe6lX9mbyWlXiMCbukGW37AGSsS7vFvubRzb2
Hudk/VCxBxD9ecqgcNu3caaIqU428U3/fmhcXr6MJfzQc41I4wuIHZQbPPgPbNhMSLHArif67zDl
lZTT1BtU0SWgjyMvOPa/JKMcGzZHILnCD9Zzcqj13pF1ClpNSGpUw119cWInlBhfWVQdYHh4sv/S
4fRj0sE2zR6RN+jP5euLt5JvQk3YRHtKzVZLUDgHMeosbyURU2wBAq/E9j+lbmtqjuCdY1vHxx2m
AArZgm8yfdimn3TtHpQJsM2ZU2ogu41P7vt/27Bps1qrOpKp7OGszW7VkF1D5sp0hfgur9RUMYNA
UK8ZZnty+xi61gOko7IoNmTR4fkXjilQGT4IfsK+OVr6tk5AYERnX//KeBpJ0Qnjs9F+8kD7lern
3FOTvUr3MzV+BrtKZTj1croB7LDVv0Mq0X4VtnoVXR3Loc7roBk9YN57fBe+8WgfLXttdS23GpjW
nJC4K02lQ5MOwf/0mriPxMXTrG51zDqEK/Ya3wekOK54L4PtJfSvLldWBktFjG7ciNSZWN5D6TXF
sDNn0SXlum5B1PbcIznIh5yKgxEyGP2g+2AKd2Ez7sJlR1r1e7Mx8QwlyioOdzPeyZ7WKazcGmBA
mP3zP8dAwtfhJR0CwoXluF0ua6ljGsMQhfAvWpThPgw2Ov2lBOAGdre8lcBK4+ljGK4DgWjAg0SX
Ic05AZsAbCGbxPUXXG5AzhLgffuIyh2tlf44uhkmoo4Dv8/GuKaMKGjfxBsJgsQyHg0XpiX/kFne
QuPKWvXGghSrS1SIsDxdxQKMLeM5hdOChJlU3irSa72BGLQlHLaPMIvy7ehXN8Rbx7OnCGtCSdGp
CfAdfwjeR3L3DXEIngwrPvgEQKCtHZr8FmO6ZGACqnMRbXZSSdn3qqV3i4+Ud8WmG32ETspOqIHb
dzGobFF+SKGA5AKoBmCDlSpZviRfWyWvkXiypmPKeMlv/YyJ7jAApHNnPqJJufuceXg/eeRj4OgW
b9CD9Y77SCSXHjYHU/z8xKLH5TBzaJmmVxanYUC+5sRxSm+MKPWn3SgHOX8vWK45fUI8IOYF7L0j
eqaw08nTK28Fz1abWB5/nJSVVdVb8S3e8JNZ6Us9Go4PUnx0ioBemQAN8kKdqBLtu5q9pXQAmQc1
hONY5OIEnJg9W0b0xtThmABk6XhOT4+RDqr6HmYlTbnmYS7afQ/xGsshzWkIQsCMEIVktoOmVKxb
TjM2jZ0tTN5w3C4fYI9Rj/UrWcudfLL9gNxWdba5n1CnQ+qxJx2ficiedu9jG/5nsGa2EXBGOqpR
gsDN4M5M4EWT9N+MZM20GnsTuP6FuaI5CAKNvbNpR4xl/wgVfR1FHg2badatA3hBOtEfLpU1TRHG
K8Pzqv6gFxdvffT/pkONdueRpOoTsngYKCjhH51unQXidnlpKvWq5LqLWIEObJBCict/s93elx7C
CPMGRLsSexYgr6o4ZkF6bDULlPC40D0x06Bo4oVUXsMhdbAXa36DgMb1y/BAQVFSQF6MIC/QeV1p
piPW7NyudaTZcMBhEvsxAAj6o7S2sIdbtblJy3yrcpmEhb3lTM2Bd20gJ05MmpXYq3LiEWO6D+LJ
LWnDwH+EWYjo69K7l6uBG/gdjv38MSvibgj6YKZHR2diYvwzMvxC/KrVNhsprSE3r0Kp80oMLEHU
3P2yp6mpvNpZfJkr7dTVdGGxhmexvu8uonsY6qdPbSw8Xexta+Ys1ymvrxhMRpPumOkBamU/8f0x
J6esVykUTeUW4GgNuUZ16z7G3b1ptRuRT50WRYp7zLtGPSuxMdZ8ByKG9U7JE9GO2cq3lG44KqCm
kfyS1gpXypd4eHntzeSmkiNSBtdXj6Gu7WqaWiK6aXNpl2MdCwiPxGB6/7Le37Av3saZvZFx3eBL
3WTIgaJvNv91RG6KKjwgCJ+UW8Yk2dT6rR9K2xonditjLZPjvVp14Mnxvrg9kuZyvPWROJdClYJC
lSx5FvpvSiudMTxL3gUYtQctKw/SYO1lmQGBHeMcQ+E+oiZsyvragXJbkK5gGU3BTQs7CSNiUXWn
NiFnx5hAn/2NKo8blernTjmrXezO1BqX+ApCPIga+HhtvqVFBNCdKb5Biig/SQWOnxxZCkGIId10
m/Po0Ubli8VSawXVfzlwE4Ph0SJUhSbZl9Kq/B2T+dEa3UPu/0aupdngi75KER2T8m/uc0po153h
FfQOa1kG+049d2mAgppSUY+SFGIF06lt7hCveCZyQiDSali4zUjpEM9Rw35TAvo7zPSTw+CwYXkM
u9QkCueZiJcRVZPkDDiGclXNWD4qTosSpKlga8XMBCNy9nwWUYo5cPksQPHnI2E1gwAewyA6Z0Is
3yV9ElOl7nqB/aWdd3EEHi5tdh2wquifmaa3mEnKjOFmpnUBP28vYzAn/BgDcetpy/PRjbKd3L2n
DAebgmezN2J0TQmSAXM+DKSJpjUFr9NUOYvXoZzijU+1jRHVG7le7qUB1qRX91jjopVB51STXwLV
3ISUZA6kyjDdl/KTQMEo3oExWD1WTgDqm774AdZcELlsbe4GWziyBkPZ54mqbeM/DZZ9fJ4CMDQ+
CegVabuDfWr3y9AUmNw/WVlV74XiGqfmHbMFVe9WFjh5iXWeaHdxHOptRB6/ttkbYsbtsYrWIy10
xoa6+prrnfFXOZKjBcsne8EyG30pkuali0g2Tnz43csyczzF+XgbXyX/He8+BpxmxVeqacZLxHGa
R85ZTON2ISmPAXNrg9Bl1TsrpOCjWAU+aEGnjYx9DQbF4igogHrNrEqX4GVlY90YJtCW0EsxzOnB
hY7ya1LjAMTNZZ8tC3Cirlz6Ir1OeBQT6YynxWYWJ5MV7kFmyaTsDQu+Gal5olFMNg+VLlhIECjj
M5Lgtrfe6e3Qa7xu9OpO86ILWy5GllSHos/QUOLvhV6XYDPUOYGO5JmGCLpTuhUGqEX0GYkFhJdt
WIYjQNYlY7fH7jwcOx6uNi0dOVRHf6BKgRZSSzv2ADTTwNonMI2s/Aa2BuzDzC6EZmAm+Xw4UsO+
Tuxm3EwEoPfyG1r2chKtu5pBAM3XALzyRN6hKvR/yYKhAmbUqvUZ1fE8j/vOGB6BoEB0aRrGZtNe
qpAnVEuqksMQ0xrCiWnN9Ly81Ilww4SpQFi788CMAEh+Ixy8KRCnn7aPjyldtRRXLLX2hZD3gVMp
2baeKL3n/gjEuO6UdB2zvRUdWJJ2s1CY8Zn7Qb8KfmBAK8y3MooP7H3GRljBzhP2N4IcO5UYqN3U
RBsjzMbKDWn6ZsT2Ffb0VelwfH5NXbqfgoNJi3QI+lXCICrLGBZIPBm3xRUkFjqHTP9xtM+NZt9U
J0kt72ap3lXFukPOvdpwRHIKZGyZboLi1PQricvVSOxrTmeGbhSXxIzPmP+CU68YhxhwVU8vGIeW
ucPsILyeKrzC2Bq47hdkfdSWm7FgceDg1GU0JvbzTaT6JYVBgTtqAeMtXBRdyRnZDo40UO80GDfw
7q4XA3hPsOaR6gPvx8F483HGXQmYa4RBIdmd12Bvz5fQJPNWw++8OtZeh3h4tn34Msr8vGTMVhIq
n19ddB25CtY9k+drTnCB79AQY6edMizuBQJnJHTPJn0cZDFFOy47oG682ZG40D6lWyezIPEomStq
Wc7FVF0HFjIoYFUMFwt5V2zwJo+0HIWQ+ti61NZh1hDT8NljUcZfE5ZQMajTVuSDMhr7ysTrgR8v
A6oW9OpWaeUdJ44JOhQM+8zg1GDra+NrbECpEqa2BL4e0+ngliM7enaNFUQGKJqszBjVNe62GWUD
NFZwKTAzNGhUqjydSZ5UBTRWMbdkFghrARMCkpwsMCU7dV+7uGQcolCq5GM0hx2ljBxuynVND+2o
AidrTvUcHwPCrcwVOBvI+3F+adhOV/TuRNn/a3DgvTm7TLwNhYCI49ns0f+HpfNabhzLmu4TIQLe
3NLA0ogUJVX1DULl4L05AJ7+W5j/v+iIiZmebpUI4py9M3OlUuIVSjQo3KOU3Ni/zAVRlmwnjUFF
Q1bN0X2SuOV7yMpTK66qArcaQobKcK6A92CgE8a30S139gW2UoeWgm/dpMZuzF7dMr9acigTuwGZ
3SrGO9SY3JovBQ13pdc6SyTVR4gLpN6fDYZevm5vMS5crAuF3twHbbq16nV/9nLJIr5hnhYub0X+
zPnISOqVygqxiiUJ6F/Ksv2hXyAgjTu+lzd9xv92zvFv2ujyBWxufeluMfYLVYpmPXnkc/nMney9
ygnZWQV5k/oFxPPVYKUg9DtyzmaEc8cJ5d7T1eXQF7hVZvuqN9M1H2232X2owL5EhvzSp6DP9Wc3
tO80ob+Tu0kNOrmbv6Kub30CoEX63u0UZ6PVXppavrRUEF0cnmvCvhicELbR3ZR/S1gAk1dD7Ghl
zHSlN7EQEFTDMN1S9tYx6OHqD2lcoIpIKPOJsa8gAAwDH7gHQ52O+CJTkruWr1GSjylTBJR6gsv0
UvJ8KYIgMUs3VYUoPC4+yqVvFEHqDwG94hKoSEV67PyJdXZOmtE+VWz4BMkyWQ7bw2Y4wUCTFfvQ
QJAEKIvlLC51qqNOU9YJjQv4NA4il2OSgeYuoQpoQGNnNBaVJjs60g2W+jrh8Fu/fBiw8uI2nAYC
N9kacLUMKuBZUFEb7TrbJs2U/4+SugoavLP8tND5CytLcBlb9sY0LmNpHW5yc1ba6c7Xds7fhKPd
sc7fJS+NDYzqWVx9mo3yarq7zEsKeAZ6qT/1tMYoGC50jD7b5grRejF41XnXT7j/UGxfX0StX7uy
uGdoXNTnGCXn1ULnMIgmiZo2qLVf7fCx7U1CeYdivSoFCrQ36eOx77KTiadLBYKWsDiZifCl+EWO
XX03oKDOMYgZmqoNBjqRXZYRQYB3LaaUQQ4tLmKLo0QKvOtUhtjIhSdP5csg2xet4z56cEZwZTzz
On91vImpq93DGs14zs3V6xYBy66mB4p1UOvqvBCAul6WRo1qQwobSPj8eLxZQH3uoQ5Szf8LdYwb
5BQJ1V+DoJp1XrabAuqv5Gh17MGRJcbZvFDVe6MAVScQrhnv3HHDoYrf0kl/7FBJCxoM5U+YpegG
P7R2cqJ8iOa3MygKt0Klk1m6rClYP5JeMdM9oXcGglMa5UCGyDLHBPyHN1P6WIj7TWXp9avhmvni
Ta3C6OAcRGwhExA2UfkaIGNm+ofREJp2HI9D531vNpycH2X77ZCIWhhEZtBmjVDdAfKURmJonKRD
2j/NPHXh+bjg9DMik3pxrfP0lnTJHUV4RcKpt71I7WpO6oP3WyXQu+YxMlGHYwbnid5i2hx+5W1z
xtmC23DYYVUOqK08zGx+K+i4qF8RAO1V+7C78UpuByOz1JTsLbYIohS+y+K6NerVIpSrppChypL1
G6z45C5hhOouQ8PlJOTlib2qXJKnMPAk7THS2HljcnBlS3i0t3hW821RftTkfNKZcyqmJFK1keHr
h7GbY/iA7Nl8JP32bAuPTQBxtwlpc2Q1TG6XhomWhglzHQ5dTh5+nmndTaFNHnXxI3PG09r+GOSU
1zJiycYumAWC0J1IW5yrZmP46nc7YPZGRO8xoicl2i9N+uRl1FYUN6UpPL3TxF4JykK3SER0HrNO
JSE7t0pufC3/A0rT40BsKgCEXYUilOKe/K+waLnaaIbIFAy0r+NoUu2iaEworWuREtsQ9XomKzXl
F9my1ELQgyZpFrSF0ZJ5p72K/D42wIHrHcOnZhcu8c6MEGfyswJt28IhJyK42rySJl+nUy8rGeJw
Khoxaef6d4tQvIAzS60eW8wRotnTaMcH4XwWB3tECjH6svL/seDTtBKBLP5mvDPuxiVYdDmV5aeN
e1Z+Xo34riKmK/MvFQi0TDgzBxUnY7SkLS25j2RSUPqcz1EXZwhu3KkW16FCIZ7ZYbAo6fhNsfZX
JIuOklvdiodjczOqQSezl0t7jKwoCbO2vKxcfSFZVtj0CXcoE75HB7iRRglg2sJSD3NWxSQbeKU1
yFEtEO7Bwmq6UFUDvKLZsPXgTcnwgy9S7VnzVe+ad2c0nhX1s87QBGStHqIhu0nGGmOcDP59XB8S
+/7Y7r0Fka5PtqiVy6tup5ea5Ggvnk68uvAc8KtlP9SVdTdJNjxDHaB3bQuthapaAjBi34Eg/INu
6qGHEQmtY0YeuvdKbk4JC9qOi0ZLBwoPSYqJf87ehto8q33PsjjU+uJtnJK3ViXoPrZ3Xeg3qz7G
fR7RckBAg5/AolOjYGibahf7MnrLcKm2NtKLGJglHfSDc1i9paWMkxZyTEiMcCa4OqScsXMzpuNy
1d2B0bgvXRlYDGZqjr8R+XfyNDJsBaWvCiQJMqBbAZ9ov2nhFDHfFKz1U0v/Lz0DJhGjWko41luM
8Yu/BqkCZqLo6QyBXgRNLYnkofjfeynVils9YkdCKGMRum6fII3FO8VcMe9pcHXbP+xfnjHfk+zU
ksvs2cnAXcr+NFAZago/Mgt0Xrt+SNnkmuV/hiMHsjO45XPhP6X6K5/zAzXUSgqfUiLRL/+rNMlV
G/4QutuN6Unry2eh8rZedOqUQNe9LYAE+S4cbRF/dL35yovmne5056zkk5dji940wCPTwynHo/jZ
GqAuUhaaB/006WkgTQnD4EGzZVA204l8wGWirpNBir7WKpf8SuH4ujYXlrCRiU2iJIqkUnlfXnHK
mFL2IG33MDLjDQ4Rmo5gjpPu+8Vh9GsAbTLX6JGr3Pa5yRactqOGI3lvo+ZysX3Lw8uk2J172OFg
KdmVFbfYZFZi1DTZNUy+hFUaNOFtdqeegalATwdqVn8w15+mdvYwH7i5RcoGWCaso9YCn0B2Y+Ng
76fqrCZnrA+KrUS12dJ/ZFyahcbtVzL4WLWAsyZtpGHlTQjQ9WqYkEs1+WtnFzS4eVt7jb4t7m41
6/4jXbexsb3JU3mfe/WgPGtFOcMnzVgfF2Nk2G1EG3bUtkmki2MszQ/mi7dR7i6r4vKmSeKb/Qe1
C9rfFBGiC5OSjj4a52vT+61oJlXpz7UTh7jzgZXLNfe4JffnkMoW5cJ3IamwnLGaBGt0bo3q2OEu
Xvh61hQzp45XpSkkiP8gcsQ71MqpyKcqj1TAatlhYVJIlq+pvyxb++rSc9JfjQmG76q/KyR8host
8ABcdSvlWlt4+ug5axIuJhVHWBSWhYUwS5WyhvU/3eZe3HCYeqWMPO58tCoCd8bkgoElwypI+KqH
sQfJPRiTGCEfJIx2qqiKF1SBQlJcF56rKfczJ1zZBGgPINSghViws71eL7dR/0m2GauuukaZbF9b
cGKTzsX1yKSK+n+2ADf2FHOOWnxahHwyHZx1ZtChPsSAIOGYsR9QjP664c6Zq2vOhSKd4ltlQArs
TYThXR8s/2vQk5Ve44/LNZMQvaSGRW6GMawxq+FygrpRblZYTzpFLpCX55/AZbS++dqotgiKLbsl
bYjHwHijDLHwO8PysJpw2EEdVaGOZquBUx3Pe0NpgYaKxSaKv2ZGkrZ6j+G6UgD8v7XhfkvEM+Zj
Uya31sgiQAEJjEL4zFg6iVeZX522lwvVlUv8zKLBKGusU3/8UMkEznsR0PovHShe4BfAUhZ3EFQN
FWOQmnYe2yf8S/CcEDMPuSbYqHZkGr6BiqD0arfWQVvnWkF6B1sNYJsiOX7gv+BgTwGjIXE33M5Q
RLGTNNhJhI0dArNZiXYt4whhYW9RlYWmShVVHb/XzfKBSYK4w6xb4YA9o3qHuhJNMZ11uAKV479G
4qTmc9jXncV5BBRl1+JU9i1WnvU0U9WRg1KUqBrD/mGlR1LBDcAm21D9vIAcz1a01n3NcEUKuaBB
pDqPY3lNWZPA6lLX9t2sxVMG3TsDLdSn/m1kUD9CNXsz0ABaODfgNuFDbODAVRpClOtemaE0Jtvs
/MwxwiGv/jBRtfwav6uFGhWjDMKdkqKE3moLBONAZcDS0l3fXwZc/gRBJJKx9DkqKYbVj5x3V3Ke
RwTXs0i3R0PfRxqPz5SfvJQlVpoUjQBbjGvOpU/Hwa5OEqC1Am2ln2pFlGj4SmD7c7TT3Hrt8K9w
mtPcYXSBeUdEaqBjO0MhMKYHI/U6TH5echOnM1x5dWt7XpstKEo7MJQ81EAfDrvFOdQc9dOU5c/c
Xl8c7LJq3JTyqyRLaeTiXXJKEI3LmwhSHMa5AZ2O3fzs6BGVnNcSGmrcr2+ppkewvpuueN8FyuyR
skk0+OXvBcyzql2SorzARTjt9Abtc5H2lZ+PLmMPaiDLMDtwfoNUZkKaQSroveTnTD1xSyGn8UqX
/qRRRSPvOYLjOtdXpSJ4j6lopO/RphUs/uqFEplc92e1v3JPus0x20qrRFkr2DUInGg60W6XmD/N
OzqtO7toWNcIIsdCVZgewVikf82FywpQ/UH8W7/q/xLqT/VfOmR9iNj0BliGT/RYaiuwgajeRC3z
Lj6jghnHEqzlPP1Gl44wZ3dC2Qs85w1kYxu1pDRzCaQ1ffZjFkr/hv4xNPWNRPaAHsMLsRX3ZCZA
2dA9epWy9sOSxw82E7I0RjLk5lKDjin7Fmg3YfKRUVLv2EkoeDPUsNfYomkbNVgUqKm4A3maeEoh
Tq5qMGJCpL+d4oifgCsgpHEk0a3EPaeYs7D7Y6R6sFIzo7M8symLHqfey36k2ERnNRy0LWATH0wA
FWXjQyU+uVCCRFExtTHprsyYCiIc0cuBOBiuJn7ZrUoNYB19w5Xc7+bm+JnQVF3I6ntiSA+8bCZU
s4T939IGxscUsNO7K9y8fSBp40pSBpJkfN47+RIIiz0oeV7rTQpqGQsmjLAkJo57E/wg5XkoO9e2
iFfsvBqHOy6mXJOJk0SRnXYujiPfULECp5+mNX2WhvJpZYRnxcPentmGdWgG8ItFePq1Kf2tosC9
+9KlqLMxi3vOLLsO/drwcrJgg5lfw0dFwTPhhoqXkrXkMKBXVhNSGXA5bicNO0GqyTAiidnGg8Fa
yGtt7bjPxKWBW7DPtbM6Ksedjo+NwgFHdWxKklf1cXhfhoQ30PvaBmJVH/O4vePjNekw63ak8gQd
hKacND7MHcMsu0zlztmwAWduEtocMyRMP1ZUXxO0eAC8m1Y+Mkx8qhksqhNw/sToRLmeh9y29z0d
FFgX8A054u1BiedjyqU3GcB1LGHVUW/VW2FSFpMa1Lm7QJziPDQVQTrd8q208XcpGVx/x5UrA0O7
7eUWJ7tkydN1j+bO+7faS0zWBel6Rktf0NJ5HgrubWMcEUjOCWbzZejzNVAbfrkl3fPDJ+S601Tg
56fyWLkCXjcmSlT0qCG0VeBulDa4r5q7MKBY59ni5xu8mEpkSaJGjfWDfGAr8+jRWZsn2/NkDAwi
RwqF1A4QJ53c2cDfZ3vxNngzZdWYwYz6qG7M5RSoYUNVofU2Mk/4niThaMUCIsOzNiBMlQ8708IS
o2R7bO5lJ9446FBi6QfPKz/DUt6CI9TVq1weM1D5gjIC50ycAJsKm84meRYZT7Vpo4DwCgVWtfPx
Bsl0LcpisCzTNWWspz2wVrW2D6JwJCCmmwuoawKa1hjpPKB7YapxQo+by1exiNcwGS/DXF+KUZ9a
1GV5o6WaOJVu2U9rcx5t+kNdsH4ypeNLDtfOokeEPcFlmZSzRShVJobJ1MyK0JX5feyFWQpfOeSt
EzoCR/xIvFRyNFp55f8VztaPhSqFsv8Ucf9Ff0dcnqbt1tv4vtgtSUCkoHhk0teUz4/EfNYr1fSO
+IoTj/YKntKcCcDWdvbV7KGLYecPNJqe6w0Ln4sSp0VZorMu+k2R4nkqNZ/8cKDzb6W6ZZf20o7u
d75ApxQPEUYfXgGVZwORK/uPAZCT1l+IbF/EhXtAbEOGwnqJ3dEjVlF+CVU58KZruQ2pCG0SVNFt
JHpjnYHTuWqmckbT9SNdllCpiWAONLzHYGcsybUgiFN8lFD4SMnDdpw5Quk4wmbQHwsNyzq0eKSg
rDouxfKYAHDvEgLS4CQ7H11SfyRS/Wrb/B1hI8H6xAv6pXTTfT3JknIrn1OvoHakN4ills3ySCdL
BvbJZGmL6cttUqBj2CD3WxjrFeIqOG+j3mDQmWQSi+Q7OQN1up9OTcuVN/OoGmJjsDbyUX7hRMnB
KkCfwc5uM6RgGNhrhkojxv7quB0dGLvXpUaeYYHAyLp9arp5rZ+3BsJJDgaLD0NHp3EIehfr+xzH
uFPKJ5IbUUHgsXyUyze0Q9diw2fxVM127/KoMa/zgNvn7md8YAiQK3LDqXWxluSssPfRtOqyg5sW
GJvT4scHkEn1wRjhFUBwzWYCvEyjyZ71lVwD2XvLgBCDFzBy+o5xyKurnw47YIOwz5piY9EJV7ZP
PA0PqV3eqlHcnflXP46QHnqnukxzCulDD8plDpWPtgBawfSeyfR8Y0qWgIbNPzrQ5zNdvG9zmvgt
q5ABzgL1xTrNpRYaZCahpbFxTX5bZYYdqXclKiBXnkWsmnpkyd2+ONOyJBDOg54w+AvIJ5sF55Gl
lI58+7dcB38pwGgt6PWp9LLr9MNJ1ReOb7WLHyl5v25HkBC3NENZcTwrWxntD7khBZNKvvhAqFW2
u4vkzJcpoUNPVS+lGnXyGlj5m+qoxywzTnWqXge5vQ66dXByJdp3LplAiu+dS2+T3tcUktnzYTS5
K1hkIOfSl7kDDMQ2neNIx0gZTy42aRmboUq8Wj+PH1JhI4avD/mrimmcGjdfdV5xSgubLvuix+gf
Lz5UArfhoCD0AHi5f5/II1OVCqaX9Z1FEwFPrDC/lQ9BNCi/kz/VwEcfh5c2FaQ0w3ypAkmGI46o
kAFDWzyJFWCsYalN6EWt/szcdeAI4ZPn7R67FUWFVlvT2YbpqZjPEuxlNkp8144lwh8W4IQbJWeE
QvnSSOVyvrhD67PO2Sd2j5IFEI+MiBAxaBo13ZLtp/P/L4n7WNg0lqeYKcxUtDaYx7vRunAL7If9
ndv3W58X3CviO+ZnrdUfc6M/lkLGfDReafNEWpu4jSS1PycSxbD881qS2cqHAtGI7zUp8IF8yscC
MQad76hY+aMhMp8l8117UxdxNZzk4KiST3Ouv2r/6bXlaWXyalXZW8fq9G/9lSasx496aoYVe7c4
YX6rV8L+M50cZdjRkiULZAUQXtN+vdsVYDdff7S9FZaaQco7gojs9VATlLQP57QJi39JzgRDMq6M
SrB3tegvCosT7Xd96UAwW3FytzdfqTnS4a9ilctb3/Z0YeL2a/0K+bQNilsSl5GpZ1ElS6HaG+HS
3m0oqoa0nPAvAB/poeYlDIBxpB+Lvn0YQqCZb1eBumEuZM6WmymIyjrFk5fcu1P/SGF7O1iC8+Xf
gvsc5Ot7n8Tvo1q9mjx5lfQUGk3znjXfZY5VMoY7wQ0NKiTtD2DtoBpop0HiS1bBDqTLr9fOWhd7
Slf5KfO63ENzowZr5kqB+U/Xcdm15D7tN1wVb05+AipWmkebrDooCn0uPw2lvDSQVMp2oAiaPmTI
Kxw2QZqDqcnyMC8OFDH83ON4nQ2kjagdocajCrom5SO0YwU2K9qGmL3kpMqwlRXZj0RkOel9WPWb
zBdY7Jy1L2d+WD0tpik0i3gEPRlKZsbeXnVreAdJxWripPwh+msoaDMwMVQWiGPL4hqKzqr6sj4F
Dnsxo9rHQVzfXTRAeBraT61sLlIH5Jk5RMreVTTTVh/fTUmKFOMPfmKiRrQsdMC/Kx/H4YHKHJ43
HV189grGor6Bg+NQH8xQDTGp9AaB8T+v3jFk8SpH1cJrxj5oFzGP+Insn9L6I8NFopJN1whxS50v
SJW1KJDPGIIDFrFNO2QQv+oW2VC/mmeHc9vk3KZp96xYyzmKP+JBXERrXjeKRhn7iWyTyqrfJqth
4EiffSk/syR/31y92Y4gyxkniesXGCJS2H9JBinNCJtvgier3xqyn4rzu0UpmiWhhmv5aV2WS1MA
Ee1rsmROBJ1/vJlpSg3ByywKz9ZZqPTQhw/aT87SPknRUedbe61l3rILMEhRXIea1RNuXkrA6C30
+vx3My+XSUIFJpclQ8hUArHNgb+z3LewGuqQcahpz5ssM+lIrDbcHiZ60p55istCCXOAjPABfMvY
7Vr/4WpoaON52BW5BAEvS4gwaexzVZHuSwtGkQUEwh81Uaj6lEMpdiKziuZiC7qtDfF+y+Zp68/I
zH6JCy5lB5ghfeqpEUIh4g2egW+3gQRxU/3dQk8rpYLLOr05lX0VIFWS216swqHVVpd6WK481pu1
eRnfLTP36ThdFDOkn3ukW3bVqHbNLzFgWjuAQexKHZeRDkebSVcuk0p/yeGcNwoXQ7yiOabWoQ+v
8wAKBQbaIHi/QxSHDDfGWyCNJVl32e/FoVBt95PbV8piuQ8clTZySfVIcfqp8rfs9urD8VBtGJvy
PtTVMrLtd5RZKpbyK75CdqvUVU3MWC4wus43ujIwi8bf3he+9nq0esVByKCXqeeEpE0ZDc1Y2m9d
wVfgLHts/UjwEauFq67HWKx+ydq8yDmvzYWTBxeh2lPO+l1oOaNEGYozX2t4RnK+PCq8qnyTwH9D
aHrT8/a24WxYU3HlvXwW6BPpcMW3+adMVsz7R/XfYGSROdthD6GqV95GPI9OQ3SGaDNHJdV75egb
04+OBAAtikPQjpI/sUZUQLnSMXqwjYRtoc6iX2HC47tjMMZDiMbz0/VgDXUqa+m8zCz9xCW3Ryy2
cOgT1/O0jYcKP5m9u5aBdzWJed9OvKRuSd1erUyPKrJfkX5OeaE/pxrlswkrffQlp4hmiT6lVg9S
FJk4dC4nIgsRmD7LcfPlRybpkZMe/qjQ+xAI4Z86Ia6jS6yqV8G6F5IPue/YVaXSUzPhdSbyROZ4
iwrmVauhxvc+PagbjQWNsMloE8SoPXViFci9c3SUC7Gsi8YYOuZTNAbT3iIKoiydQ5VmMd4YXgG1
fkSYHtY9oLSeK7962m3KFEWrRn1CBTLLyc1YQzsY1RbuJm0NrReqjUro3qImerGC7LPZeN89ZgiD
gq213SD658aO+HluCrhhIqMV8D4wOyrOytr20zE/l5McphUU01yl+0EEC8+MRf/bDAhaachUmHQz
M2yVxSVJlTdJ0j/y4qOR/eqGL0/LfZ06xpRGLPQunb8aYs3sPllQYKuIW5iKw2kc+cPi2U/RCiD+
I/uL2quYNYDHu0NGxUNFWE9cxpHc7LRetsRD94dGyLcnye8OK0Kjr2/bSbeZssAXWARk5aKKKCfz
jJLBy5Nx8meTGrHHEdzVebBiE4BpZ7nOTHuphZYbyMQX2153WdMlUC3UDMAGdVMTcMJ69TX7wLKT
sZynxQV++KTS6rEYklthzujL4U4M/U1lm9rw2c+nlpKAYiDbS753lPOr7KTXXrcvNhlfk7Lr/c+t
Yp5KbmpWRSW/BNoMzNWI6iYO20ViC/GeOu0Zj5sPzltiwVjGINTpf83PFa9SctKH1LBBIXBQDsAW
p+GwWTRl4EbxazWNFon/n53+mlIXlMRrSvvzykZvaNJjB92IIeVg/Sl5Mhkqz2OMGcmUTj0GVrvz
t4ZZuN9bgw6mOgVzxtMug7hcnklfvvR4+ZBW8AkYFrbrpK40LjgvzSLOABpDGT/sgbsyAOhBTK9s
kN81+aa5PcVyisIaDIzQ5gABlT5ktqgqr08+rQqawR4yYXGkG6eVNKng45DG5rSx+G6REfLfS+EA
Mh2guf0bB8tLks4vSMiIPZ1u3BcNREepgSiHc4gNQS2DHPRmzBEBTp8qevbfxhBkfR+0CSQuxSXC
fCr+PnUpZUr+NVYmhZ7nvpk8boCeA6SQiMIeMLGebaWc9IoHq/uaN6zJwp1/VX8LsrLadyWcC6H4
Swr7wRS4vZZbZsp3aA73VuedCU2QJs4t+Wk9GcVXiwVG/AtbOMEU1vJj8TAz5mRKJxZ2W1Qn89+o
BtBFG4ox81iKrYNFMzHMBGq2yjThsBJJOVpZTRztzVNYD2lsHmugLmIJKorGWjLKKxFgyVAob8Rt
YmNywY+H+WMziRURRnKgkVs7dInb/5RQNOp4XS55KnXY85cidAjMhzQlsZtj2rYVbyknj/vB1i2n
lOsFj4C7zfw8hIpbQkLLdhwSzYNCTvqU1Jm1c+j3VFm++hJAhImzCFVoIdU/p1D983M9gkCFVl2V
JxzXpwFNxTXxE2RujqmhZOsze/Vae3b3byV1r4Nmhf3EU5NjSkF5AEU64lVlScwzwWp0+2NyBkms
XecC2C63w4X8nYQQ3Njs8+hJzYt7R66Vq8LBtZdX9Z+GA68GNzO3E4FG50Jk4krp5rnddEZ53Wum
+8aqL3kUNCHx2Int02ANpnZNhKDglwn7uZSeguOIzB1nc4jRM4StHUjH7G9TgiqnKHtpuW041w7v
NU1GiQbKUN1ZwU6ER5D14L00kPM7UP89bAoYX3FytSyWyz9KQOxUaX4atKcYWf3gdAyxZbNK7ZBj
KYyt/Bgfl7UXU1NUlLtOTco1XTiLU19epxd6wVHL81PHnL4stxUZt88ACgEe1EXvZp3msnk/Dst0
mKXlVoL/FUQpDPkV41I38PavenpNYT5TV39tL0o9hbrWvoSd/YYrdhzxBEoxeA4bqBFvvrQgHt5y
Gdx7RC+C2hvTuyYqsO6+8omwNfTToNr5hNxyQPLmjy1pwu58MihoqtliqCaGpoEq2BzGR//eT8xl
jU37YH9j6JcHelft12zVXquxveIpzLimchOV7C0YWsTcljTgud52kKb6j+CYddHL6hqr30ZSIcwQ
pDMTFxH9lMz/xIJoYWXhTKtUmxBQljoCXIU7cEV1KFkDPYGqT/Lo0MZPh53KSbKMS6IqZyaC9Dop
xIEKcuS6eIoqvsey/rVkHP46rbtScjK596FznzVZerOHW8U7trJeqr7Rxxif1oT3CeJVvH0n3a9a
xrzAjdCeHGRiMmG5mwlG0YyB4iNeVtcgsDDkX73McUqzXwI3ordoNsoVsvvf/W4ql2byD2zLucfJ
LNWR6hS3pthvVVGtm39o3mHWqGGZP+n7jJLVDi1qNnvzL/8mK+GxA/8M92EDpjlgL9fZ5vRsfSm4
DlbqegyZXKEhB8PItwQoykbC3ZaPpvqTvIlHEm/V6Z0GIgaT+A7p+9YHbsk+j39Egie3Y60nWLmr
JerIhBcDzlDHQc0KRDBpjxwHLVQ5hcY2blXd6MYK2xIOgg3Z1aL1V6UXUUZSo40sQYbhRmMSY96/
8U31m8t7BodfJkWfOLO78dbr1V8JcAM+vfSI9rFCuzDwx450CnOMZjhmwaNK5LbnzvL0JMDuR5vq
fLXb7+o/DKoLi8DyE6xqtjdhGF4wfdir+ekgyA1GflJ+Aaejo4CfJaHmDxznpZ6qqyqMY/K/XwZd
6Vs4kg8uqjKiIJ3qrjGyRR8pORIaTozMPOI6WlX2+OKzyHlvt/PNpHUew066NJfuCf0DIwJpKFxj
NVe5e/0z5eWcRl35NYA1zk0tskHqyXRZC0y8VTaGa+wE6ueGR03AWzDBn+H3+E4dTtxXByHDbicO
g+tSd+6smTzrHPG8PLnbVNrgb7ZFsKMOqvK2Ek1G5Frq4tJJ80Xo6kXenMv2lYWws0Q/3hWrezaw
aMftszPqT3xNBAPIR+EuLbDNdJK4D5l1kFrragDXGWjhSS26XUH6WKnL1hLOBAlclD285NSVXUqO
X1JdEIrwAqhku4wZi7/KRt8GRmV+E2vmjDuM3MXFgzdgI86ZWZxJvtz2rUIyVeEO/19Uf1H/DHDG
UlKHTR70BXy+R4JFoTDkyFQa6Lt9NCbahaG7MohonXrbviPoPyyjeJr0Ksbp8i53dC3DMpJHstcq
OCnHeU9A/2OFmdAAYDGkWuvXSkr1M86KcfY0SyJ/5zvUJJiDNxSSO+BuGvixmc72dOOh0ac/Y0el
ekwLSfVngpI80tUNklaowUIGygSRy/XCPLJx4VrNJqTWLrUqXc3yX8YQh93uf+YyNTUPdkc+nTaj
ISWHRrHItOHmv+UaS7e6/4Qcnj5HfXDnXDrr64rxnb8d8mwvbSyDf/eVAf8bM2XLVrML5H+AfJ1E
PNdefaKCP3OJTgwLWgLu38L+MdBnNYOIVgZxJ5J3ciYyII5zT/EpZJFdc9cmI+ssmGam9kJLV9tg
CKR9d7vEWP+tbnqbq0dpl363AjnnTPPjJaHoqgriBwL8xlYkf1nJeb9FV9Q603SSFF9Ktj221npA
GsaF+BSb+VQ6+Zlb9ZPFq0O2SdEMNuLuGHTkCqkWYIfrLjW36vNJUQkpIk2bCJMxznHJ5hL/m54q
nxadq4BNIKU6wFArMCycf90lMTQfgM+1W/xNgurf1P5QrL7OCgnMLWvF6rEVd43wGHSFBrE+xRkJ
8Ki1mfY4Z9Y+EgbB52SlI22LtG7/1If3QcdpIv9iF8nF1AqsZad1PJVtO+sTEaXO4zz1/hK0LGm5
rjY3L4kr8X0xcTICc1dKFoTsSNaN6iic0mIiSsWzFItAmBfq2o8ZeF+qG5CSVPPi0KMNzG64WvIH
dzHAuLj2vFn50Ker8Vz5J9S/Yin4W27iqpQ6zHlI6QoNmizunOHgOd0GCp/uMAMCmOrHunOKKTpk
OjtLK9k5K9jG3MuV1yjP10I7GlN7gvkr8C1RPl1gBTscZC25TdZ0rRJ/lq0LcFnZUmEm/uz5uVCB
46Q4pL8G6XfBFYgX5zOWvLGtTlrmHOqGaxCJ0QO+A0+UG6UPbGh5XQBZPapvuQFrxqCBdIDMYX2W
I28Dm94eroW2pPDRf7aiuWJkjsYRZmD5j0vJFQdf/n8sndeO21q2Rb+IAHN4lUQxSFQsVdl+IWwf
F3MmN8PX36HGffBBo9HtUyWRe68w55hI6Se8U8raU/SAPxzIFuTtqYJcwcpIbO10iJPtZixSuMyv
PjUQKi83eahvmmXgXidjqv0loOKsLsFJe/nWO9jHIXCREgQqWexgdpj7xMMI1bAh8mSWNezU9xbR
sP+RGk2LNhGKjJZxMQjP4RTb4CCW+P6a7ljK0KCsJzZ611EQ6ZLEideXex3EzRqaM6iKHysM9rS9
5Zh9cVSlQgp1EizK36vJS97YyKmAO2lwFzQjWs2bJgH/3G229JDqFpPvRcbBhbNO28iNOdrVyOId
YHWXh5Nks4wG5OovK8kKTcx8ZzcglpvI3yTKh3UokntWh4tK50k7Mmt7+Z3UIPdhKwH4Qy6gK9yL
2TlDYJ3R7PbgYwaJiNpuN/yaya5Kl+SkzTMnhXSqfm3T5pdwjnaq9GlRjps9sW5/uNRH/thKedhi
EfTIFMwFspSBY0X6KKz4RWxGCtNGgJlT5u+tm7y1WD0sdlxEHbuepfoxcMdqSnVKduWznuZTfrX8
bZSirFGuhCBPdRNpWf9ocMnoJTo2EST0jF3m4G3eBXb13hzPFDTAPD8cFPaOlV9ZAA6lCGFshmCw
d6nNUyAuWdZcRikmImjFlfpbEKZLst+hIs4sBc2wpXqUZUh10n1DFwmMj7349Eqh8Wm9HGUIuHcT
2h576LEbFT+nuTwgx+LMaKfLpME4tCUfCCHOxMxq/W4ZfH1mZVOg5U6Q5NcGHfXR0vxYYxcODUd1
7EAg03dXNizpesbUyifjDNKepEVKYcSDZ8eRz6ohzsKIpoWwhsTxM/0icbzExR/VLsPWQAf8Wtki
I0daaIESxIuiAixzJh5eT8J8/gemCp1K3kSyvEZdpBYXtXkMwO3+LFsdduUQdnBJeFmxrEjVD+Sg
Xi0Szt57Wk3nCo3BPxNyH2ILHUn9rqBHWj6VE+LYb6G6GZCRTQ/h1ldF81rpbxDqQgm1UJMZnHCD
fRKpwRxobyKdjevyonfWRYNysDaKuybrdTS0a+14I2vlirUyMVwc1u72rkaZhufMJumojqO8cJXu
SjLJGxDHudlcaWh5gzBeMt1aTi2VgiH6XYfMp7HYovIR43lgE0FG4xI42Hja+Wjl3UFmkEYlhCBG
dc71ajNDoIKnGm1Nr5OUz3lGhIAZqFogJPmTCVqK/Iwc/bDK8QeSJglspqADHEl463i90sWgicDe
XYuADIV/Gzw3XWPFuwR9ix9WyVidW75YvGxgaogav42I9d2JcqDLgL4ke8ZwXR3+v/HD5jlk/N6M
iHrhZK6yq0hgb7ChsFFG0o1BIwtUvKLTR7HyXahfVJ0nzak/S7v+jOfykyfs1bOK6ZPbpDvPsTUe
1mFMmltOpkRq19xPfZBO0TRjHZLqY8Fppo6jV7HQYt2w53n1RUX0hStjKl7Wj+R3jjtMfU1uBQTc
2aMVrRLkZZzNzsgalLPZ4Wwu5ZyTbZdB0rRpOnqLUfzf9p2JjM9ZfXudaUgKBPphKkWDlrFHxyFU
paeUbued9YqdY+kjXPChgUFZwrQPn/TLkuLPprZfTvFHK4rjKEDa8fmooK/GEga8HTh1E2h4PR69
uV4yLdDLEunFt1ED9kB60DknqRpp5tmNW4hSLiV6EXXNEPHtV3JKYq07Dv8NuYYymDJiaT0T3zMo
vWIbCeJCU4ptJEFirQFTGE9dnJxVTsbiLGDMWwwiHJP5XGm43Os6LEQdL4+kyIgkZM+5VWRLb7Xm
pfquF6QshlQEnoZRasKlI7cHB6APNjIUQmaD+LU1T1WFRSBClR9KBv9tn5wWPQ4Zojvsqk0K94Hx
Voy/wombUJtZtVh8oj3mJGS3kGIFX3H1pWGu+MkIYNed6HE3mGKr7JtUIl1ieQ4+La4//VLEpzRd
w7p6YFlmMsDKnzW+gXODHs/iHaJrIvuxkvbrA1Tz3PqZjYma1QU3oqmTOdL8XevPXuSMCe41m93u
BxICqvvde0Ppih4wuxyqPGImJc43orIdWzN3wCiNsJ2IDRQyGB5ZmfJ8AAmoFnRshKsoDL2iEdNe
s0ck+X4sVe+dmvEpCYhY8EvV/5JPx8KXd5TvM2o59iXikPfpOcbdYZvYZed6P6WjvxxZU274HBRV
9RMNM7LiqQTKSf7Y5dEwDhftqpKoc1I9cQT+AbHNk53quFZ0AxVWjyzMjb+Y2dF1wv9yfDJU4Wfg
h2dTA3Pb6YN+ZnSPqb8/S1dZAkibSDeUsze5GW/iLCtAS02dtREh83zyDIW8iYFkfldQ4BbySxuj
lBILXnduf5eSFXW1c52NHbt+13imCMBsJmlH89fWsfpcSV97UkXsl5yz2SU/OPs1FVgZWMyq02t9
r9wVYI/OjlczI70nMormIpXqQU903GTrfY3b++T7emWBS7077RTgyNwWyO9HOGzo/N2ae1rLV+Yj
M5AI/nP/q1v/qrp6NTf7U0Zll5G0VJo+mZbBZrn0b+8gTyx0rzQRYSM+ewahyk1uv954H4VHZ68u
m5vTHlK8ZoprWxKlYup2GclLzH3z1P9edxhHRcbfkS2vtbw3cn1VWMETTBCkhnUq+i9zXlwaelAm
x3vMXptw5h0hmr7ds3YUkbn8RSfjg7ehRXs7qGpIdNsjToAmYJzQ3tux5B2Mfao0Fqk5AcMlxTa7
b2ln5z+aIsrivTHIOxIpa3qisTuPKuZzlWnP8m21840h9N0xb6NuYcGUSLt9r74LT5nBcvFHEyU8
Tux4Gk5c0OYlPKmJDJw0tBwjIMk0MBBQJNwGtjr6jhN7TbxnAsJEHQ1sUgLLVD6EhkldguXPnMtg
zjVIyJnEe+penyU79qb+ZNZ1OGtVkDqP2BbexqqdiRzeiJHjYD4oaRtKCVxi3KK1+FkNGLZZEMsq
Ngo5CzKOA5EfdFbHlamgf+9whJH+kt8ZehHfyiLf6YFn1cq+eFPqqmjVA2lJPIdBd1ePEb/bWOn3
Me7vtX7BQwVy9G/Kx6shE0aYvzcyNZr+p42VbBhSmnUu++G8OdZB5+C2yJxDiOTEUzixyOtGllLr
XfexxiS4Mg88BBVSUPWmn+Avjhz6DUACQOwZzkEGSd1sE3ZQehXVpZyv+634S1GLOT1lLlswrXxD
cUv4TCwz5YiM4Mhy6qhHdLtQfaXldk54SjjT+zfG1NrlrUr44IYkFfk/2Ko0klvlMjw54vz4a+yp
KASFXjpcxmW81sOAXOe/lbxMG5N6fnE46JQGOpfCIq6YL0vbXRM7sK8IoHWdR75IgDYzCsheZruE
FWuhTLXJklUvJsYjO/kL4DHT+zBmhGBEXYXHfzB8YaC0WJKwogj7HPnM1pvtTBSQm69F5ocaKDno
sq7x+lny1h7CqY3D6E5aDCRvvbcO01+t+cpMEmaqtzBi1ykbCae1NyRuzphyGyHJKB+ZRodH1pw6
n6Z+umxGdu3YISumcv1JTs5Mk2BKaRC/hQX1x1Q1R5qcw2yRlHkgeYJHH+MQqkNC2LcNMTfGaK0/
1vV4Hog+J8SR6G1I1i5KnYrMBShlYG8E0/VkdLH6k/EIdhSwk/13M1fI+OL0Dkpz0OhZ4nf8zphl
IJUIJCMATWA4wwswMepKBEgzSq9GV8ECk9x04EllGg2WQmoAtKLkB8rQGYeHg2mm/9wINNIG7iNU
5RtlNOoVG4ZbLd3Loqb1KD8qcnLb8TyVhqfSJ7cGE//4JLfx//IFJzxcAg/XW5HPhAd5p1tiRe+A
iz+AHYUL84weTlLWwe4loorRjSUUt4HjNSNEbTGHpM2Xar9HwRNvHvHD762KOCj64LdlEsCC7a6z
ebWRtV9TQkuzGtMek0DriyYDD1LpSpDaNsJGIbyprMWdPvkAPjiOnL8goaELoo0FvU9PSRdD4FbQ
wb9+wx9m9sk235gj2YEpvkfL8Jr1zNzb1R3ySRCiTwY9cusmBkVuiS/6czJIpkBw0zrv2RgTiZif
uHMTFHB4avEMjKCBC9ISiV3AEK1Tgw5bjKV5PrSvNnUCdJV3J2kYWLqZRnmhVA/uK1mwXCqc0ASZ
Bu3dxr5i+kI5GUZ64gF7h28zWSuD2FWnf/O7xtO+3nBz6HS+rSPEng4igzFIlsiII7N5CMKJFU68
bv6Op/qcjZRPTpigYkNFgA1YB2P29ow1+xhmLfJFqzJ9vUv8AR1B5VudjcoE8SIbh7eiKL92ix6M
qRYsGXrlagqa7YC0/2AXdxiccANnLCi9CItV57BzO1h+gLxxKgKkgD7am+APcK9UNgOxRly0CXMm
RVgen2wSj3rJOCl6xGh1XwxrRMhj217r929q7KSUUi7jh7j1DNaK7LPHyLqQXeIs44ExYUbHMOUu
kgTt6rjqbVKfK7k4fNkBrqM5/g/CKoVwJk2cHjK5obdlIu8A2bJ8V9r4YPwSg8XGbpchJZd+5exe
LPqRRqOQLaEI/aKy3LYEacVEO0fJhDZH+lVmLaHOfBwywT9aG3YMQdoqqEQKqufnliHJXUZmovUO
ugtGKt3GLHKrdznyqKKcohakjROnEefT2ZngxuQJYOyB+tlianaXwhGAy8Z2VSGEZqrZRPWfC5qV
qUuitmTINy6nHnIRsX218eGg87ecH076Y4D1AIIspjGf8+qIOD33R6R4sbIgDXVlnb78b11/bc7e
gAzTUB7NgeLqw10AdQSuY7FGKKCVkS+hjg1VI7G8Nw2YbSzfVu3deoOep21RPYg8Qzx/JUv/SSSd
XWVBkrDG7kAxwlQY/hOKTySw8Va440ueOV9ML08ZOIPhsIeg1MRJLmOIGB9r8mcqjH3KhB6/+IRf
XLLBOz/qSue9y7ziB0cIca+stRDK7FPQaB1YBZ3p5vgmPyq0KAnTAXhZiPQwfa2cSqs88QsFk8Dt
238mw0rQ2gsvpCziE2SkAT6Gi4omvcoJTo+gTnbWp310V7t120642VxeayOO0Aug6MluaBgPy3tZ
hyJNZiFTy+OuyQ/mJl89hxVwFUw8YSWBzzbv10BwL7UmDxrhZ1X2axNQ2QgwXZy3ugaWAom3+oeZ
2OjHMRRs6CQsfy25Fjt/enS7Ne8e4uOtkzSTwzwrrsSBmaG9zRz1YNFoQs5yF1m44ql/Jlrni48C
qFMD+2bQosoZzh/iI2HtspE8mBek18ELmrafjc5QTy+9YtYo1EnrjSSN1ovUegFItsr+2VV/NGi0
RDOd81Q5G6N+zp82jdaESxN+J/Ug/KliPw4bJoDZk+rJG/8o9nxclArHSuqZKzXgT8nJsT3OJ8k2
+YExuGpSYH/EMpiQAAP6Ko6dkR4b6e+oV0Epv9bGcYGE7hJ2ZEL+mPGI7ZJ/lmLxo6APnHnHSY8q
iSnCtAeG0l1/9jNxhZwpdF9oAjgHAaje5zr2pGn1xzYPTG4zwG1ZoC9EomEHSVkyGGnv7UhR7BC+
Tvdkqx9yoUTpdo2v1O7NTancRbwIvLpqBJfqpOhxbXC3fKmpxda1BMcMBHczLqCjESRiK0mQm4UW
ovl2+8KNk8brxwWqWIpSzOyjSaaTYUOPfj8najdd5uOMYSdJT4nikKL+zz6+JAAvCoiE8q2ufovU
JeKucQDHy3SZ55l35Z78x3omMW4pGzX5uhbbrZrzm7seUGP5UwkWCAaouJu9uHUmNF2LF0i8x3p4
6FVX5al++08WcgdYmmHspGDoWvTmy+lSTyRHrFdps5gEppeuByxRg+E16lOmwe9gFVwTFaVlbmVr
hx76FI6Udm/7hZXCDsdIZwznjMwYdakOxbxc6nm8DgKvEzRo2UcWvFyMcTxA2dJZhGooYpaK2Xa/
W3tMl92jHLad2fETGqsrNYYLbrZsucZkG2bttZG2UNV/v1HII1fqhK+on6N1iYNhKcK3T9VOLsJK
LuVr3SktcfEmvUofzCvLOHaph/38xdDkpabw9+lnUDmo8hyiZkmx72pZDF4Kgf1uPpm2fEkTlreo
RQiGyeaadlPGQGhFafyvkFNvIt9kYVFlvWcfr4YI0pHkrF6DawSrkI7P2FgJZ/ZRKvES8+qqLIEy
G1S+r26RXHmLQxIBJH/681EhhLAEroc5pWdsl9c3AQlAQ7+QMqHHM78oCvG7rD+qFe85YZIoOhzb
8Fq0+kX8U8U4N//Z9ImNHoFB+H43i26QV2NTAjb45+d6atfmCwh16vbtErTZ6qskYxLmy+QyJeVq
1+vOWY/nCJzynV0MDTc2blS2qa1e8BKX2sFWHEqgEEPbwzS6RzomzETGe2Ert1iY18wiRQD1rE30
KacIb7kiuAkENSk2BwmPJK5T+/fAXLoi/y1hepDgKN5K2rvlSaIiAYAHCfd7chm+9TED04fwYR0u
2WBdOiL++nNRhmaLZJB6V5oqX6beBVzMSG0lKghxK1g7WorLO2yQoKAQs2jzWxzTpsYIzwH1tA0Q
Qxi9ugTbIpjJRVl2dvk0yv8UeJsgKJx/BnSOsfqEOoV7BKp/7K3E0RlqE6hvTjBBaI7bsyPLyu7Q
VB9kdl1T2h2rKO49KqHlo1/zl6EaaJH/glF9OfnOEfMBYMGPBJnVZMHQ6tIvQ8QglAhNEEH1p7N/
1vwesqp7Ri15g3PXcw527JU0zvMMni/t71La3tusJMvKuMWQ5eJHAjtdQ1Tc1gTaZ/r1nVNUk4gE
uqAtUGBKjl8XLP77/+oHFcJKtAHq5FNH4GTx0MRDM/n9XBXirHowC+FJUBqdBg5pHyPx5oVNhwM6
A1iWnokcdftn63DQ1TggMTdM1PzEmtqbiBaUXNUiCIpYjNw+khzu2c8RAekiM8oha7iiuVM/Fgai
KvBcKWIquWsnM5pwktsRcWxSOV1lXQOoZl1jxbou6C4k571BenMr06tKNiougYasA4L8Fvk6L93O
svfoLR9xx+K21m5T/MeC0Yv4ZUZtYA/iKJtw/5H+TsV27xrtnsMnpDtSVJzEnwpOX6D8iCupkVMv
/mElbZSiVSgwSWRrcSK41n7oAHIgAyE9cDbwkwg89Nx5py1olAL9Wl62fI7o0TUQm60jfBUod8O2
lThptGwNmk59m/y5av0YcVNvM1QkvVb+XyxVjZ14QSvye+v+JXSKI+5M0vfIDMzbiKOr63Fevo1j
bzpjCn5FQR9GzBfaRoINRNoeCWywzEs2TbeJempxtSQPpNoMsGGqMIII+4ttIqbG7jWo5WcHNFLO
dRcSzI4SmGHgkfAAwhgsPvwFRW3hIkvuFQKzs9EjfwA5SoxOWXuRk+u0mrd+Zdf3AdYymCyhAWEq
YEI8uw1IpR4xV8DgyrUxMNV3cwa4AvjVvKCx0B2LPe5VbyKVgDSN1Ye2+oWG138o6PxxrdkNFpJc
faYo1w2CYYmxO6YlVJbvHA1yjgZZ5LQpznwrVwquziQmrgmmRPLL72rmXU8cTxnOHbPaqV3h2tgs
hCi69i2drcbYcdmudQkCGc+gsLAzZewaZhC1ycz5caDjNdXPFDWQ5KiR6UjRCNl4WSVE+9CvdmVt
o3worrOCxuWog7VxTAkOsHVcJ4b6XfNz45p5FDPWbP1hP5seSK1CNVK7At4eUYqwBfmL0nNZhA1F
+hCnn7TE9EOnwugfqhh/tKb8Y22kQOTiMNKux6jx7a4MHRN7i6MFai9Im14vugotqL7ZneRaQO5I
G6YFZvU2SL6VKIHVQmbM1DPIaSREJm5vRTdBGVReMid7bOEOSRZT1hCh+QUslTLRgWfwHgufe+tS
kXPSwcCPuYEFXyZ6klLTw7Zi6hCXHCgGmJ+Xo55mXeEZ5oFcfioFIuen3fsWzJK0Ly+tMlwUKhbk
8FgoOLpHju43TFpmp4BOXiVQdKtojE09EhIKpTrfgxkwW6jMv/Wkfm1l91HhvLdmjan8cjcl66rp
5QX5CJ4F89wclJfowTflbyP4cMjbN++zHrqzzp53rL9mShxiEtrJ2Q/ElLPyDtIB4F7VnZKsP5PS
glhCivaziWCJ4BVtOxWNebLN5FyX7bmI21PKOU4GWEbelf50wEzRlexkHEtNS7bIUv+YM8bpWoZp
mljy1CR5Q5yJRgfO7IhgXAnuXuU9gP5nuu6tlc1Gqp3nhjBvqIVrHd/69zqDzAkVNesqU+DnzStz
tJcCP2Yvivk2M6vk9asZ7bLBEGimlIUX+yAeOXajbWDwiU2gkTmXM3o03jYToDxhFia+O4ovWA0A
mCKOZw0nKEbQDamagVQtQbJcc5IZ+rKv1aglFa9BqWwmpxSMufJ745+q6hycGB8tMHOdo4FJwgsV
cMtOEju3IVlhc+x6Aj7K5ViD6wL4lTJ2QdB/zcWMO0TZ6dwTaSvhwF0+CUZBKXN9k6vm7a/CDLIW
7wyQxisnjSUfqin5mcbiufJ4gE+1zQ0qru3X2h1tqSuX7T4HbjoAiVyQyMeILcBldoQ/y3PGsrAH
m6c/RRaVZRbVemgOgvyq6qTQNScGcyifTsfVyTFKivVQQz1JK3AHsEdmVIB/jX8IxVHl7Cv9T9XW
rtb8ESNLpAEzVJGBHOiOBaPVioAPcgSPedhs26csdV851iTZeOYTymT7nfSxeSXoEW5l1HuEph5j
xpY1WGNfpkFuo0J5CJb0LWlaC6J81qZd96pq4r41lh/FetlU7SIgBa2JN+pgL+7GRHRS99fRRRRb
EnOC5pKV68XK6U+McLDMMNFZBlZqaEM1YU+J9KsKd8pGPGT5J1UdL7Au/1Kye22C5QdrINlCgo+k
MyQXONma8bA9/q0SX+NXhjtauQ9lcitj3jbep/WqfoyssJri6Aw60eQZcQCdK0K4/oGZYbaJGJGd
4mQ5kW6Fbyf3ue+5Lcm+HiwQFhoGTjjVCzCr+rs25Jv5nP8mI1bqO9ufsxPNrBzw84W6+q2ynWqd
KUgv+MP7LWo/Pda/u5j12DOZsCtVJd/vbuBmLD/mY/utLHh0z5rX6QzHf/Hv763sqStsr9tnKab9
vKCk+hTh4CQnrmIUJwqeiukFEvn3UqMx1AGSIdG3MeKraAuwUTvvQQVPi714IuNzUlrmDEezgbyr
TF5joyv3YodFSqr7W9oG+FIhPyRh+pv6DVeBGsJiCLc9a4d0uXXnZa1wazXn4oOHfE1gBN5iFbUN
+EcdZ1xs01Z/D+A8lCE/qyuyH0FmS72F5tFmerKhd8yY+PAEer2mHdWDhp1+8dkfeOMdU0zRIYMD
GUYuIkt1SRzthBhZwGkotEmuQqKOyojHInc31/lu1PoEToJxR0nrSSQTwvDdetBZJVs2vwTD2RlU
xETdjiCeCqpAZ9kR6EO8iaBVyyk/pkZ3S7a0Oglzy8qkTT1InEL1yVhscoqa8HeKZPP3T+btLWAc
Pq15n1YcyxuUUzLGOtbQTZv6nal6Jtx7Rb/Htn6EQGssR7EiSFwtt4YnyPznOLEIbugmyS9p6JvC
7jl3/cemKy9WHDKx23AfieJpUzajfsvUcWXC7Hclq1b7nOByXH3OmQT1qM3Qy8J4NBfysfR7Ftcx
/jgrVNRprxKLRaMT8kNyUNun6jAY5KaRtjl2/ZFF6MHmxFGUqNqolIG0wFCEJG+vU5hMmMVXpBLM
ZtCmOwph7P9lA9JdOBuDegNX45e+So5azBZr0HpW2B3NJRydyOzvmkTwX2GdGxvkFCXtCD/Q0uC5
7mvluhJCceEvRNa8pw0NbXDJWR0yW2GfmHiteSBYMSjdpNbeUaMnlRN/VPsoxnm7ELGTtA4imKvq
g3G4KO1y7UZcvgA8cm6fFHklsUA6eVSKTbo1oCVugxWVAGUI808tXBgby1/j7M/kA0JEhduirYJv
dfIKyMYSTZfK/dfqKDtGAWqbomMggeofmpKDJD7GicCgCYyl5ba8thMBLn3PddORJOhb5EkVh/q+
1uCkyYrrOUdx3+3ITDHgrrHvHgsqLWh8NR21NXMYH7bVfirO8pKVHtYuIA4p/mo/raz32Ph7nTN5
On+GcxNwUT53lINK9uXQIeaEFjcfNr3AnUDjUGpABQnqE6xK4HEQBEhXJiaHvo0jN7utah61gp0x
VJPdIE8XO08u1jJEXaqeFVf5nHh/zLcPF1Vvmt17whS3hbHcyq9k/xMtjLnqNqJMYWPWsM/5/5VE
1WL1d80vRlSYpNwansGWoTBB46Rm/uq8lG+jH04zDtOWR03rUI0jXhiOcSnOvWmfCq0+ydoSzgE4
aaIFp1DhdsbfSq57F4Do3le5yqSHXaCHpEgtDxh1S43Zkn6GNO6L5k93DWV0SIZie3pt3tBoxBRp
oMRwtz0bXC0lMDAyidFQLXir7iq7jNGjGXDfBKDO6UkLKlhWQvZ0QAK3hROkrtlX0WDPIKtjt6FL
q53kIgXkZMxpyNmlD/o5VdSzoT0LWYO8oR9ELw7WAC8A/B3K4Rp3+lmyKB5W9vvf+o4ZDWQ5BCMx
5l6mUISnxwAE5tX7K8K5W44eIyubmISe/81OzDiIktST2dItaAIxtKS4uGpL83p8BcmHuVNTccNB
cSuStwpzCIzEuUHKZXm/HZjnfhcIqog8IswSrQ3ig5BdP1fSoVkr0nm1ACQAmw4AvLcUNma9nMRU
4p034DBwkc9nPAYaODmJObaAwSc1+Zv5cKINlY452h/37BiIcoi3tpYk2Io2MCWgUePMYJ2v01n4
HF6ZxFr5DfXbO46IpHEggCPH6Wmdre9hjb1EJwmZ9rBKSzSt+3OjQU1l3Xb5SZr5ZJohuwVY5dHM
TkFXuqiV0sgKnZanfZ4vNg7XFTf5lmcRTX+PLz02/ZHeaJa7/YgAU0WHtLiDpfpvtDIjfVSq26/x
0x2yLNjX217JlNtPYlayxzyhgEFueaiG4sSUPWxxYvQok5VtD3ceiN6EdaT6D0oIaiJ63EzDlTci
BiwOltG4ibZD3lbift2T7lkOmGdvM+HRCLkZUqc8gya0NiWoRy0wfURX2kvLU/5JXVlYdZj8JYdD
IkdytGVMTSjZFrbSyHao9NhY/xx5zIbzeMdveJ3qO5tNJTRkHHUtmV5Vf5NKwA/xjnfnRzbEWEH/
IVVM2kdpDU/5TW+HSXRRSdeVGidUvhyVnUql+pm7drTB09UsdMbfRdjbO0Vs3hAbnoL3DBO5VyIM
VPBSYTTyVWulCuOXe3P8yAASJFYa/pyRIQKTt9sxorLSC64kAbVnYjgwpLqnQzLdsIu2yIuw0ag2
/FjoNP1/mBBOx8xvknpP1XBcUx2n5b4H8Rzjo8NMtCtMkHKqa1GY41+D85sh/mGewIc2Cb/FDGER
iNlZ3MqkG+Udm307A8ALPzTFJ8FHycwhmek0DkPD5wlweFVHwhp3Y2l7/cRVEq9B64xhfQRNRhDd
a0QMDtP4LS6HyZAhe1bBTezQJUI/1qKyF9g6un0y6HuHETGpGAfTxAa5YT3fsFBinQQYMrAxD5rH
JMdI0YAAyTsGvn57M8BDIQ6P4cALdgZbFbDWUFrAu7/fbeO1gCSQRH+sYzU/RIDlB4oMn0cKtVER
pour2NffY24yz3n0pztpw39Bt3XhfJmgzRSn7KSZK+h99Bp5RQAXN+NVh+C8wJQaMC+wVbMihVD2
xTYhUoGuHk8rgAngwQWPx4S2RdeZ4iVEqZBBnbHNxXTrtRrj3R3yssY3hwJ0VeonO015owVZEPNZ
VPrPuCbHQ/+YZjJ2LUgtGxyxHz8kMg+T31ra3xI7uaPq4E5BLYSmfAnVEMbwJ5Ts1/ApXdPbWjo4
GTHzIjopnwwDYXfgLMh2TU3q5MIuhzhnLCnJQmjvuLjL5JybkZvYfhnJyDxOeZQADKcVyUu9N0fL
T8U7NWI/dSxqOvBvqLdV1NvJfBhggW7ohGu8J0i+JGk+rVN1/kF8MikzUGMtFDGyPKOq4MTPYDan
h9L+s9qw2GqoteUdm+UNjpIx7YmjrsvnQHaVZtUPi/kdnnp9VZCbDH7MI9TETJmQ7me+vldi++w0
xEWv5MugFmkpB+jnC4gzVvFzo6WHkHyeo1FsD1HGT+GUL1Jx8YDAND6iw22hlaJIwRJn0FpNN2U1
7wYcRd66tfHrZ6OhmmYJGddL0BlffY93Gy2PsyrB9F5ygxX1Pkp6tDyrA5HWgYmUOb4tvtW68UA3
mYoHW7ZH9TIc58ZG795WkOyakwX/tSq3r/ID02fLoWwOjH/VhSQ/NOV4i1hhX6RC3JJNg+SNqnmr
/RzCXK+Ty1CS8mxTdRZ2oIGSI/PanZ3ms7LVz7JWIkV05MAmX93vGXZF760lmmT5ApP1UDHO3IiP
gJj4tMOobLabQ4hGsiJAKdSLES+RlpcIWpDmDv1NW4frsXn0rIhFedZHGhss9w1ncYW/Ssdf1ddA
5trcg42exGdLDEfDN7tdAilwfKoVTpxfAeqyu7xUz6PzZ5GbJyUxnbXVOExp8UghuhjBtahAmhpw
LWsGH1Pu0IsOYFv22+mj7KubNWKLTtFwNNWtF/FVnCqkcqgU0HEyYDZTVCVb2NkU7+SwGr1OGVwF
BHf5BrYMbOUecRl1F8oBkRnrQbvEdkJpRJ4P3u8po2gzE59aY3AaGmcjwDL1x6JB7kqQtD/7p/NW
iFAdoVg/DZ71pbEGdRK2xzaTL3ag4NMgovB1kbhn/rP8a0U2lwqBOibgRE4JGdkKv8WiW6e0ObQk
nWciec1IoN2sOcpjLcqoqRWKZ6CFUd/KpNW00eQkEfMoqb4Ur8pavlCPRmpX45Zu/6ww7cbUvKs3
bzPaYxJVjDWyj1GRHuMpA9aQ7AKsZ4Cgklw/LFP2GP9UnhjQboy2J2wF0/f/0XRey22j6xJ9IlQh
h1uCJALBKIqSfIOSLRs5Zzz9Xpg658K7pma2Ewn8ob/u1XDUCZhCeTPFmvuAgAF6l1b9uZ9/SH5P
AhjUQ/EeSiOL0g4zSoR+HCk8/4s3Yc3WQC7/jVCg+o9xVKF7x3slHLGPhg9d1B+k9C4DkDtODGuT
+KYBiXiZvBCvsmYSu6ElaTO3CpY3bzXKk6OPvQvKxSlrGez8PqoXt6XdQyWtFxm2Rk/L9vmnOIiH
CEBCaASTdml7/a5K2QPsGzaKGg9KrJ+nsQL5lXvFmRQxLpYYJlOG/zdNMLFas9uf+gpSVlO5QDEO
UmhbjyjU3k1lN48EdKDSKNLkhE8xVA+PwRAO0CIpKUuF4SW3/UcrWB+5knwKw02csaAJnXMUHg20
mozPzEPcqopLrHynAxzU+gJ8+JwC4WoyF/oa6I6Z3hnC3nqg/xQNVV9m4qL+7NLCOMvzGKB4F1F2
FOiIEKotlm/T0HisPk3GgZHMUIKggF6HzmG991J0x695w42VhO2zNDmuwdMG4KhSBn6QTmjd2GD8
qA2pjimvubkjq7XMh3VX2cysqMdbYhodyGNYoWHPv6VTQ5VXcmjskmxgNQMWZBj1O/Fxr6y77K5m
f3BJ8l/15DObbeljCqunYa1PyOP7soLnFbVPa0OYhtcaT0xRKBSN7ayHN8LAegAfEEVnPNUhJ9ST
NkheqtVeTIfuGGEjthljtmV05beQpN89czUCE91M7wZDNT8jY0FsIVjXffPe5st9AyxH1Z0C0ruI
WTUn8LF2p2xiglVRijtdjco3l0+cZCPurF2Pc74QtbNC8k3Ghp6Rsc3pVDM1H4dQDFdmD+WAMvgM
a5JAYVSjBro6BmGdBKLR0CejP8HzsSasFRZyfK84N+tdk8hUb9qt20Q/lvHsWvNqDu1Fp/COOGQ3
4+OofjEEPXQiOuDmRSiTGA9fghnH1mLTn8U6iBWiwFjqZbk/iCQDpd2COxBujBPFe7wslFXRsP5a
kNRmaQEJJWJwXng39yl0GJ5kuIot6gBeunj1W4FUTDT5Td/6mlFgjdwzsMxoZsCAwMnlHOrjVcXf
AqPHm31OAfYHRTRwjrgodbTEzb3uyBYAxc42NPBdOxF+McYlrIxVnO8bDA4hvpPtikI6s331M/yi
f3PDJTVdDimcAa5XVVe8Pb0mI8+UwYHsbrBFD8zlaHJBRWe0/LaCoWDNgaV/5FWlq2LdoUfbRL92
Lc4RnLeX7YsZ5/JayAwosuIyJv25Pe0KDDa9S4i0u2qPCN+sZT/GOQrWKj05kHDpATBLZhgGyhH5
J1GUd4Z9C7PytDoN0zqI9QDxtEMzcRIwiKzAByh04Ughjj3I/3JGwtRXOit3qbG6FtZ6FY/LUSHw
jwNwMU9K/ha69QhlUY+9vvgrk5Ar8tavdMuXOQlmnrhQTTPcWgnN/3eYSw+lFI71zAHPmEF5sGqu
8vVvFK9BA4Zexe7CBL0lpzSx3HDQYWdSssQlZJgJECoaHqeejQOzCgezcGUGKe8gwJZzdWAC5k4Z
E/Tviqbc8SEa0duB9+E7vsxFGgxrG9QNYXZaiyQVW8VBi5pnzayY/HJiCnjhJyhP6psql08NBHy9
7EYcp10v3PW1OYcN/Tor17wrR4hxSD0glkRQM8/kB9hH8XPtFbAwqiv5OZOcrRCRbvYMVEyNHyUp
RZyJMofjP82kPvSM4O0i3GssZDLllyugSKVerpptUVHGJRoWfw6FeUH5p/WT2BQbiN7Orkh5LT6t
2Nz3ZkmRNHeiFsI7116eXy5XDM/RJQEi4dSQbaF9tRBdiDZc+V4uaWMEUTOchAzTHLoxEvah04xz
92aeWuoApzgO6GHFlqL3NCTTGy+2OHuz4o7ZtJLmIKfcOI4PZCb4G3diCdm65+TJ88QVmYH7ZQqk
gWEnw4f8obTMu1aaGShPU2hISD/mtOS/rz7GofGUdSa9D1ldXSt9uTWZcZ8VGJUDL/1n0CwKucXk
NPCuUa8ZY0cQP4XCstOLeo2jwqn0wZnC1RFn2YEhCdOEQ7UOfUiAPtQFA+WFMnEjJANdxJWNdbrb
R3CQSpleMUwzLWTbpKOVo05vtnHvkOAzSz9ZPClFBU29JXpJXXJ+Lrya0lONf6827btp4nfaWDez
bOuf077iol88wZwAGiRz5S77JpOeqay+mZL6EAs7nYbrIKe3tK/Rrm3RKqlWt/WW6z7QBx4SNFzU
XZa5gWXuI+OvpTAL3YVvIn+6sZJI0uk0AuCywIBICKR9dOLNTMpzMaoP1Xpv1SlAi0DbdtGf2EYB
PPJUJDwVEhDXZmFalJClbf62HeGixrpUwMYNt5Owh//fiFfhJ6mGjjrlyPy8kX7QVPqFhmLBk4Vm
s1dKxHvcEqvBYFpImQFI/zWHhqjFNJOFs8KabRNxOpjgi2ENJPzqkaVcq2cZkYysxGCibbnl+KTx
H2wYWslZmPqARlLi4dzTORyQIN1qdhRnTiQC8xwFhtyFlOFKW/ty3tLXKPrLCpGwqYOWMhG/Y0jJ
6IxiF3KVrm28SjwEEE0srj7jQYSmbBjLIVetgzb8KubYZrFjZpGzPyOqzBzo9K1EVaQ8uH4xJ6T+
bzhy/sWDnHKX1HyC2SeZoXlu1EHPUWXW47MAYFikvd1wy+9AIgj0GUwUK2hM0kNrZ+7yMSWhkW6o
21gja1snftRQBNrLXrad/KhWWNajUTAgHmdX+GeMGjI5xklkne42MGEg9oRBUQAB1mo1e5Yj71La
rpKFDrE2xcGiYGiPbAi6rNIGU4PGXwQOxEl8yPZciG5VMcAd1O/6kjw0AiQ1/ESwhLcuE90MtLqM
bwfttKNgDZ+TpyY5VFw+YvfbHhSBvDtVnSwbEnSk4phWh4QhclezpVFy0SnWfkpmu6bUxOFktDaX
4bP+xz/1zXnp00u/KpeO7WK1xUV2Vv1zCM2DjDOeDe48oY7meHkBFgZ9KQZVkgfrQT4OVUoF7dyT
SN/4v+njQkoDsX9KQINOjw5TonWO2Y/1q8z6En6wGzP2UQen7egDw1IBpHeCZA04lxeIaf5z9DUF
hZPJq2m818iLfIEuRQjrWARdfiwlyysoTtMX0svAE3ek2U9jt5mqFvw2+744LBVow4KXXZsxMOue
nif+qhS+pNUb4NQX7vI8Hw35rkKDge3Pa4hQOhXDOVLSc/8dd+YxxdnYeYetFrpm8GgYFjZ6sJc/
I0yW5sr0BceNEY9eWQMqVUHc/SlUe0sTVeeckRDAmZj3BJzoKZTJju0m2vlETMcJMdboS23nk0A1
STblvqn1nl988aIwnOLt6VMIATtllu65pe5SLA5GM52Nab1QTFXrXrLhUYThhJ9hzSHSglAEx1OI
tyxv7hEXugFR2HWFRT1BvGLivxN/6xZjQ+m3ho4TkdnmytnsyJGFa+jqVcZgoQLx1zLAtaWi/BKA
3Q8cntL9PzNnLblZ4UYTkfxq6X1YxJrGuGR1DLJwttRZn6qpf2q8uMNkl9wj6hjsJ+dTi/NpyFMB
WIQ679vMqj0Vj1nYtWAUsozrthdhkgefe4R9lNp1VXlWatDZvGKc8EeGumo97zv3Po6RY9wUHGfU
KbB0mc9E8HrAAhXXX8ISf1ag6c3WxPy5SUNky5b2oOKQt/Q0gFyCK1fmJxhfyqX8qGRCeHA/Crvo
l3NkROeEkVRW0wkWYp3ARwiHfda1U1z3PnmpU+/3wD0kR2d+htTVE+LY16AczVHak+oQxuZw+2vp
2o1kwFU0X2GIzEABoB4f4e+Ze02hx2niljAxOB1eK790H+1UL5mQow1UJmEnG+CRY8ueGtfI6uPA
ZYlD/+a3PhYNGIuwcaSctfu1Q8jAgXleF+4vPC0SbJEEeAhWYBnBaoHf1Gd0Ipija0aim+j0nHAM
4bKCZ+O05LVLfOLfhCQm363yPNBNW0mByADL2GL9zM2CrUeLL7Cp9kbMQUhdzmPaXPrJvOhrfTWS
Fa6Iek3RdVh5xfNMaKZa/Cj6N5MEb7hqd+dQbEkUcR0rhFMKcLDTbaNcH2s0PmY3frPUK95jHsN7
6LXRcO+nl87X2n/U+Ktr/NUGhQj68ilnvwGFHVZwxr2+XLmxDODcwxaBsmPBrqBxqf+dlKPJzlb5
qGs6aHw70Vb2nn05vMNX+Mnn62Y3OSnVQfgef1cEwHuVTuTavKRjf1En7VxxvCIOpqlwMH7USLYz
YnHKsAnpya7vBpCO3qCGp2m1mPxMezWayWGlH4MBvl9nxKPuy5EIY2EdhVgiMNO5yDqcLvlD6rpb
KDSW4e7ukCTYlCZzCJit7xPKuFocWHEWO0yRHeDCDshbssmVg3e5qpjG9p+GpuPM5IA1N/ttD8jo
6TRz7KcC+JyWduU1oToS6PoglUg6BJW7OwR48kUVKGxUsdHvX6Adt3wNtWfcEuv1LmcC6lx629IM
Qv0vl3JwNNR58VS24rVJlzNl8BeBGKU2XlTj3FfIHzQZhngjl5g41F/kBr6idcZpcpFh2uXFVu3Z
kXhRSfUKqMhwGUfmn9AzsOAqgOWzL6OmO8b8ZUzVaVmrNyOun7NuuzrVP1KIrfdIuHfsDnOmHDCj
dka/H/glI4o6ptg6JiZCtMlEFWzD6ps4e+OD+TEbUAKyypkA3sazq3X4JiLOoZXbCL2rIFRJmIYX
QplE4+PUl6KU2yWJ/THz8V34OU1sOmVOeqye46qCzitdVLhfBmuMbj4xX4zpuzHqzwFjbfema9Pb
AHc41kryj/tefss1md8CvPZcu1lGLG/w5hhb9IjoKYIy5qJaTPK+iTUfqoS6Ck5JIjmE69mHsSei
7bwy0zZ2e5QYV1PI6YlOW0+gC5RdqGp2v69I16GcjpHPsoBh7Gj+6r9CBeDov2iynMV4U5Z1L7ME
pjHQuIYqunCieqwONBKLw8FKhJNgvXjfjuY07qGD300eQwS3crYeNPFw5SXYQrQZ/asmtoUNawBM
MBx+1qLYheldGPKruChnwhCSmjjpNB4XJ6/svSJziBDlD3S0jhaULu3Pq7oRLXfREgUIlIcOUgE6
Dtd0JrJF5+LPtGv+L8ZPotdHMUyOhaEclIHOcE73OsE4Q9vLzbjvMOao5zQfLiWBJollr5yUfT71
b8ySHnqtH7UtYeHSGQGbDpGANOhMTz3T6QxpADqVu26no785jlHqWApiS/OuQeWV/ragF3Umv1rO
FDiyx7GirU09ZUvJn1k/RCoqEab7BIALjBsCZGr+zrgdROB3/ItkmWdEqL3E6lZidQijjihP/ppt
8efS1xJiMwIpHbLpBjOCvUYVH7KlQfZzCQ/6HIzQ3CMUWljWPONWB38e5Cy951+U3xofpR76EoXN
CYiVTHbJwfe6XfYL7/8OsiXelj3VXJHRX2owlg1sNJUkAqWK9/pcmbvsmt4BZ11G/O09mMx3Bope
O7Reoo1e/KvLgdB39vKhW0jiqehRY9gO+3zUXyUcUl8HRW8ACVmkrdcHdj4IEXJGy74ORR4um5O9
c8H3RkHPss8fuX6cAjy8nPjBfzBvy0oSaD7rDQPjhX/OvqpkX0LiT5SZgVrIEallmSCiETLfmmnB
2fwcwrqT/lpQKEQqVveFzEIeFo6tvGs9lvh4y3My6Lc8XXqoIzzuE3XDLEiwvE8yC5LJN1dh8j2v
ksYTPb/p+T2LGibE2ZO6VUYbZzP+0k1e3ih7E+XmAYL0oxjLz1i3izF0IRW7w6n7CKnlKSQbXZz4
0wgsl300TFy52PFNhRgbNHkEUwsBu05P1hNjsSrlL8yVfT5BnzRfqrBc54L2yu5WrYOTqBWNVPeF
cUfKRYTxdNXFx6/yteTUexKJVXLlKX9m27ikYdIk+Gli12AQjUCpL8bIXHQOgSZzl8xgSqi9MwFN
ziSWQ+o9hudMFBsv2UJU84bAOpe3dRAQDJSzLLTB8CNSNUN8guvSmWnvPiNXVVKIli7DQaJUiB7T
g3pixDr1plf8cLwNteuUg9emelxZz2lNSAaSXdxZXoPFXiXoPYrNY1GEW96plxA0W3hGR+gmX7VU
r/ojfM895coF2EtbfGNDCDJKoMcN5qBzQH+/WXN1Xqz5ArbxZaayt5K8oLmGEpSHfo1KGVsdZYuL
/L4u/Wu1o2dCH56FUhCiEgwqWb8XtptKT+5NY+J/xAkW21Gzenole0Vpep3g57V5xMDqZbXpsQN7
Wy9muPtgSuBNJY2p3+k3acaoqALOcrngaTIRXrXwxZrbVTDbAscQs7oLsvCuzdm7/KlU0Udg7qgU
ueVQHvIoxkNi3BpPj+FQ4+aX4/ApxRaPlrolEETM9lqsX+ltsKUSBzt70qiRUexMt6LcperA1Ijr
E+l2HujdGPFtC/JeHp5qLzrqM15VN0tNwAa6FymWP3C74H9pKBHA/eR9gLYe0MCgjeeqNv+rVNSp
VEzY7WYlUBmiJQOyUHqvd/W3iImZjwrg382AkBUq1XU2IV1aM2KE32W5B1AekFfvN18Ndfcldrhx
a74wy2PPzh0C80NUcqYZ938OtqxbSTUXoG0TEGaXrFbPKpwc/ZQmjSv1M9/Ac0nMQDO18zTMF1JA
V4lAWQfQCsBSmSleYSIaqC9iO+OiP61Of2XK8GpW1srOjgpGo+SksIfbkPI+S1iSab9eoO3ltXoz
5IiJaPI2LD8VPNhkv/nitsodA/g9P6yRkE4r+QlrssmFRR5Knw4B8ioRFIxNb4mzgK09DSnrLb2i
Ir/cpafmg9oLwmBG8hrEnTGQYlRilBzcxmugifQCKfJp7pGGQEyA+1E2QCLks4idaOKMaMoeyXHO
EJSN8/rb1nMaf+77tfklfYnD34H2rHoVYGXSLFkMB+WHU5qv7fdSXXmmremwDyNKcGEzdP8GzYAU
BdyhnnawcIo6OYwzrZSwsBqgmF3Cmw4WIYSmW9/NhbMk0hoTrM4gQiwM95Q2Xl3sIHSEB2ufvkfH
aoAQM6pY7l8NwmlN7S9sGLJSicAk1ToPy3Ck4nVnytOZeSFve4lD64HLN5wOyzEL5lZhderPGNwo
5rmOuE4WXkyJgMia9TfxWAVJ5OCevWY6Zw1D+ai8AuS4hq6XjvGtWBjt69q1r3uWdzZyonhLV16E
IcVJurM51WaJR9aPpzNm4ttevus5v/VWceWaw4m5jz6M0DhYOL0nfXougvlQXl9KxCdPORHahugO
qHpCu+PwzDnRxehGNzUeHsBDav/ZfsuUCbTwpopGcxCYnFTDAaalfHA6bkjM5Zarl7Xd/DSk1DCQ
pgMbPnWt9BBlWHC2V2Oi6XgBZlyTUhneLKzhZfNID5eKQG9GfnUg8F9pGmZ2XbNotmbP1lDduaTl
g77PI9nvUUdj+rXJkvLbTY2XZ65GbrOjX5FbxiS+Mgo9dTpSC+qY/0EHspMnavkUw/HWk+sqzNd6
tpBpmpx89Ivbl+kE4p9x0RgUvVSLALqO1+uo/oEbrun1s6qTd1wv4z+MdnhNGg+V3LpXLYhSSAsJ
rCaQoHjRsdp0TkJngskhsLN4sn/AcaFVLW+Szfmdj3STTBuQdtwoK1Fz80qF+CW6QBUPDM353Pkz
12nnGfwwd18VUUCzeSKFS1g6MiwdGE141v1DJGBCrv5uuIbxZTkALn4W9GGcqrvez0Pe/TQiRIdm
Ed4SRNaWZ5zCHq+aFZ8JRxlhS+XiuTTEjSt7UsgsCkFhTrcFZnrEMU/kwmLOb9UruuD+f08K411H
GStwGHDNE8cV1wKr6J9JOjcoOEVqBOLYBxz5Txko8hyjBZUHMuVPCiseTKCWcjkNHl+lICPqkaP/
DVvzhlT1sMQ/OsXocNZe01/ehg5mCvmDMhzsOM0PJceQWuwvwrrdJeiQVFqy4syCTgpaQUXf8kYP
H1sEwdFikFp/lJHlO8bDoi94wcau1B7dA+5Q8KBQ3dl3tGvYPQAQM58dC75HJnHN4HOTO4W8x+zn
MFbblAAvwdJWQPHUb1PY3JX+gRW8KrNt8nRTk9e6Yui26yh+H8L8rZbr+9Lm18QOg6bfIxTc0mk9
ABqoXahI8E5q+oNEih4q8Cu0sMRQBDWBUTZnUAytltHdoI/bEaTzhEYclVtOFa5uwdZDP4HXCrem
lQ9aiDc1mP9li+iHNLEa8ldOiYquKOyje1khJTna/WmdDTd63+XcIsScRGsOAs3AZWxOXhIOSOWd
W1W9B9XK647Dn6VtCMaD48u7a17kt//Os+dIay7zGnnm/JEqqJuBYfGgfBI8gPtRHtSmvOmq+RCj
7pGae6arT6TPtyKqHnP3QqFllCTNGtIpbr7JaQzOtt112KezCHcB79YGCBuI0nNdJdSVdM1eEB2p
nIiii8dm46KluEuh96iGQ3uhs3CC0RJs+LeFuZ107Uzi1S/q1RoxDqZYvNZaca0U7ZKxMFJ0eKaW
Op9Q3lQbjYHkDQvEMrvTpIH9wcNSyc6sdS6FKalpY+fAKC6czBXpEdGm/NXaJQg8UV88Uuc+54tj
Pl6thUKn/hwKuDZwB7XzPWqLC1woUjDs5WJyaVftnGnM76QT15I6lL18NMCJX3vGlgSoWL13QhBd
SWo+27x/Qj11ekW+dL/ZYoeKq4rGvxgh4HUd95h9h9lWFjYnrIxhtj3PxghZE+LFoeuTZ67Oz8Q6
TlFC96v8RJ0E28ZKCxX/oM14rFlpDZyFcZk67XzuG3z5hKYnC/9zh/lPVFwVFROjr1JeV3rRhEmk
I4Io5ceYrnTiIf8wgd3w5DNelNDmgbdwMBJc4oY1/ayzyGbQOXMXOSK+GnJJKfH7JayYBBOL21lG
emdjpIBsJw1UQAmr1xMZqTMX4x/5oxNcr0hhUILvphVtLUduBJ4j4gWG2RW1uBi29G8Gb/BmdeAN
lcmOWHTDt1jFWrtEHhFJNXwIdfkmm7+rJjwJGFDgOnBVbQBfKpc4hKS95SCXgcEktyVZCqjKPgsa
nzebBCRwJO5Zrf2B3O9WJVy3f1oMDBpsLNKERMwVll96POpDY2rBMhunXlfwCfzR82/GXHuM/Wv1
sLT83mTZba4x3sJUF2/WFIygXnMAJQNZokk84YuCYBiCJ4TkSQnExv4WKYEwYH9nOa1pR2Xrz0bC
0WA5YqfKxP7YvtXHSU2wvPD1T8dChpkL/7uh5hq1wemJ2yqUJplH3PTOSAxcGC66lHvJPX9jzegN
nF8pTRBTRTsxMrUOW8OqGbVm3mOsGTVOtpyP8NgqfDERnKSLJagotYyliDJNk3GMqv7IbtxbjWux
wBWsKRFOgcmgqP69JhJjYjhJJVcYFS/k3S51idyc20vZsRDbzdLAsILdh3KkNjB6JcjikhwmyJhD
l9F4Px3Non4DwxF0agIu9IF3JmhjkYlkGND2wRC6xQ4t8ANjnSfLDYJ74VEzkeLA3lfEvQRtcVN6
ADBbc2Xy+6hEm2UfmiT8eLBQ+XvNENwTroQUhOhbEeHCraU9FeTZSCUPchDisBsImptEqoY94U/q
QtVPBuO11tkp26swRAzIwEfllzEarhFtYRoCIfHUdBhPmqNF9amIOIcR+aRo8AKO7hKRllRbN6YP
e2Ksm9Y/Gst58kyouy+hUhv8qKfvqhVPPTNPfTsVqqhcGnUC/AhHfJwKAD+4jjKwEPE6RveiU+51
bmEwiG9zDnqnH20dK2u+4SPchHiwxnOi0cqndT8xXt1RM31TXXZain1uP65PQXIN0iLCrFCNgb3A
oJxOhd8DwpYU/XFKvwxzOPFpEWjXsCuIOwFbrFgGsmAEYVXhQjShWynnNQ8p5IGhlO9UHZoOsJAc
WEhf5QwxTt2wvuvz+qqbxZ8iqoZ2vW0WtAfX6JxDzZRXoewPv26+uBxWXDYqr7bdqLfjhQo/bf9m
kv0bxRSzTATkIvdMVl0LTyYhTzUVzqqG+gvPRR1hYJSxo9Dw9S0JxEBk2VGj0ZkEqJThu1W8sVTa
SYk1e2uH1m41VSpjyrMTrnsjJ4QHpLMgyjGwa7WsZAaWWKAiZmvQiBv3bDnjL6HFL6U7BorxTOGQ
1S7UdqQ8UDKZrNilIgL7niflhW9FbxNBmhItLf6rxGjO81F6z5LZiSSeRA0K6gAqshhwgi+0lNxT
VuWspEnpZBZUV6Ju4cXqpMegND45sxSOW7bPrZglmxMMEYdEmdxxBYu7hO4sCNyLMy+BBMEkObrO
Zci4Qb00xQzV31ZwZozrr7KGuNLLD1ZGRaCBK4oYCd8TheYjgdC4RQFi3Xnd+JkpoCuTzoUy6kqw
TJVDzXB65WRoDfoj/TZJPYtNd23y6dpPqWfqf4ond75LSqxg3UI0wPdDAAcFJm5AjxLLRjHZnUF1
5l4MOlzcRUfH+ApDCzepvMNPz+GO99D8WG2BjHZWkpIkCBGbhT0uxeH/sw862QcTIhIz82DZf+s0
b0W94G2BeYEDANY20ITmEXfkoWL6MIr5Dn/jiHs2HhzBgPgC7YCFQuQJog1gBTqxNjS7RuaRLxr2
Tikg2YOWkS06JLQTA0hZ4gGBYG/EnqaQbqku6bocR33EF0eoj45gARKHRObCEM+R+lfXCT0XvRsa
rZuXBJrxO1uOHFkwxem1AL0Zb35+GWpPx56JUQk5quUWVuPnj9gP6HNo6G8aGTsfsonDAVSWidpn
fAYa+j5hh5k5ZqlUnqbCCc68df1iH4aTYu7DljJNTlV4mg4yfbQh+nkHDlyg9niN7akCBZUa7yVj
TYpAHB3wiYbQze1nMXHdWJtmRoQJsyp6HZF6IfPjMTlpMiejEedKvtOA4GGU3mXaH6ONH9PCRXJq
uePAr7u2MiewfvU0CuZmhdKIJLVLasWt6VSbK3u45bGklKD+DLT5j7LNHyyi6aRd4wVDB2ATTaXX
QVc+Jqn6jPrlk1vRLMiv4gkY5pro7YEgDxxoMKTTjIwadyfAXH2ZuMq4uCa+Ix0nHX9MkfPz6o8y
rYi0t4wWx2ZErlZVkLAA3yqWRwQAExIZtj2oC3y4HD5QHsaXsOiEanQ7zH+N9eQMLCAL1iNC9AMR
j540bj6dh7ANIhLcoLuY2/XVxAKPysOr0MMawi+oASiNrEeSq1ftNYLZENUDdD/MOFt85ThCV7Qu
GVP4uO3OogyXFv97TcQWyO6O4PVBUpVL3klAMTU77ZlIbYAEBNCOVpt+a7VJdrSnUacBKwZ0vpZk
cKM0IEaMfGaBEtzSFn+ijtahJrkgCwSIxmdhSa6j3VQxR8hTI9BKpFKmRNFyvt34EvYMccQkXELK
f9G0UrWLnUjBrrT2Mw5RDY9XNF0WBgo4FO7DZxQt6Fe0XGMrqiPg0kBiZfUg0eKZU6rD+DYpeFcT
YErhWxgJb2kVPxeS3Jmub8xcOx7Kt6WccPvP97Lvb/UDC+qeFPsui/tj3v0MtIRJcegZWbgpcDtL
gcfe7Uxo/YtgQOeGim941XKbUqrUFPqNJvVs/DKYxbUZetgATrlNnQzYHI+/MdLGUUiuUtIVsEiB
LohnmIpmTJlKyy8u3guJuwZnlaxlDGXXU3dZqQZL2AE0CXm1vBWCv6r1Q6t/lBRfIbjmnIEjxiv1
c2Unt/Tal+scpDDNrzII0MH5AhiG0b91+FydArAIHwLhdNqqFtD80LmLH0OLPCWd0MlVLK/bsVRk
polG8mNiNer1hMhteFDeh4WZPKYBICJSBzTJ+Mgaigjm01asMX0oVfE5KdUnpgcMw/Y8x7eKA4MI
+6mt/01xe+ny93JK4PljxsRqskVtMN7VFfW9CSi+wQck5OWuCnfKLKNz2ggXOsUucPAFrv2WGYwF
YBByGGZU7pUYQJAADE6OYRKB29xjuGDsMQwASAqUUdEuTayeJotVhuLHbmBN+S4lEZvEbC5bfXdz
TNXkSLnsgfOqOYx2C+BKpIcBP/Ghw1VV7LW+DuZ6ZIoKRI/YTWUPAnQnrD/KQSCHEAsGHxFqX5RQ
lmJ35uKlQ7lX2V9j3fAXxqNr7PZMNkfUrb4jpFzA/aCwa1W/iEMQTKetm7Dg8Bun72k9mGn5nhbT
m4GHJOoY6H69oykwWzF2pAfxozPAEiVfKVnx5S6AtHketb3EeSk71lBu6xECvExlbtg9TI2fRBB4
oWX2LaI9CMPzXe1arn+JP+hn7BKacKinrz6BTzgpbwojF4YD6hszSXN6WdHfdHEmN//LwXAnWchz
NSibjFp1ML3wknaTOjmLRCd3x2ADm6na32BL2jLWEOtpMJGjb4Lbb6PM/0FYpghbBSc8iBRVFqip
FIyA98l4Fhps8HpfRh5ZUVfNniY5gAa+j8LJpgUerg063CB4NqGfxA312AQYcgJvs4VJge0hReWk
uLV0VCUi3UWNGJk92Fm0bxLqAvBvTMc2AnAKi3zurAPAO4Urhqg6whMSpyaUh6GkfjfCZJW+y1Px
LKz0TYtIgsMiRXfB5bJ+0UI5yJNjYKKfh7MypfbaC7tepgwPOTFb8iO0yixReE+o7Kzoced2VGaQ
Vp3JxPhNczdEiSBXuE1P/CRhw67vRpKoIRbyuef7hJBRfct1dDIx4JbzfW16IoL9FVyRJDoTU1xt
9gfQlgvVeUueOchTCoChlF4TSRyPEuBmKwHnxYTUm8zuVPT/cnh0P328AExYWPm1AL9ODUIFx+Uw
/rQ6JUJ4ReMUShM48ej3lvPJVZ8atypUsfz+Vtv8NY9PKXlZbUenZeT+j6bz2nEc25LoFxGgN68i
JRp5KV3VC5GV1UXvzSH59bM0mAFuAhfd6KxKJc3ZOyJWbL9E+9mw5WLTdeiUBNIxTSts0Ebr5a4/
WaK7VCt0pObC0Jut60EGq1XrIEn11j9rCc8a2q/Uu8F5QKX/jzdJT4uvfbZqVi/Q85fIGKajIB7N
Hq03PApuZqqNG9S0383U7FuaV4uY5AveutaFxTyg0g89Cdfmtuk/VuJhRtxpDo7+XvIoos2o9cmT
77kmsDUYuzX6GsUR7Buw7TUy79bMi0d9c8w/sXFMvus+VCQyK84z2zgtrTt7kiJprI+zTccU5606
TNendO1fG99+Vw+Bpf3bCLolICjBkq8YYunAxb0+1TbOk2yXO7zTOL+o8KkMjSubp9HG6hk/Eb7B
utPpY7c8Od9486FAa3uIK6HVytGwrEczgTfUf+n6QUdzc1iltsNLuoM1OIRaFb/IYackpogev7V0
HVMwYv1JQ5Z01HY/finFcGXr0AOsyzYOPDkPGV4UuHtl06DyZrcMHJa0ed/+EB6mZ0ij69s5aya7
op0qcvbMTNwgf1/+XVLMCy9oOZIxy33LpChffH371knJXVSeiud6ylUmyl1m5tHL2WQQ/JPAr8mR
NqGcTEaI7c7qQss0sM8+JEMDOoNBPqG/gYOATLIrYTocOEzByygdr9X+cJlE07RG3Ku7zqAaTU9v
hjVdZLI+wyXOyJqLPwMOzqKvD61CYbQi7zAc7caMUoqJ/uO7mCjhQ7ZO4VXjmFIXtEiaZmZQOuCq
k41LmQi8A/6GM5qb5Z/G1SCDtfLQPOnFvZxnH3uUL5SUylxYFewqVjpEKAWtyBB2uKCHMVqkMbTz
81rFgaptJ6W6qrWGLwvPYYWpdgSU5xQgkV05Fb6MlZLqxkAMHUyEfZEDpCO4sdxyW99T5BpwWiL4
X9odbZCvc/IQaD1NUqJCH5P82QozLiO27CbfTJpVfjSmNJzYYZa04arLuw4g7Bjjm1kvwwTPGXy6
1eQ3HWCquXE+lRkqDNLkRgikODRNLSxQXCECh4b0LW8bvrCbWN5Tkrm0bB2B8zU77lSkOhUWNPvt
lCARaYoM2b9nxKIUyDpoJ9oxqY20PQW4TUHelX7o/UiCvxIvbtFOGSh3ulcCeW4az41SXAxDvyjH
aj/EELgxneXJx7C7/s5RZwZ6dOvkpGt2ZClYevucI84hB32t5K9iYjzD+V6nEqaCKnGw/kCFdWtx
y9v+LamWd+0T7y11DVdo7btEnncVmDGV/ZXlsIjNIXHHAsOI+moy95ngNDq2dBHBBN9Rpw266q+G
25EkEs8SxwwMG5FAcs4Lm0wzwUGPIRcAlgz3ApY9seu6+hiedYMVTUM2qJJoBr3UsLTeKhb0neK9
KMSjTGeGYZzrhfzcZsOpeYH9+tOo9Wc1MBySGU5yGtSFdhfzJJvZed2NS8EKDqJfWu0p1nFLykiK
4Zb1hCAJgdoNwU/cn6r2bqbG7sXnd1bnVMKMshpiy803ZZh+L6unbnC17SudPDDJ6d0o+kNb7Eca
BYxmCnVjCGW7Ze/LU6h94Kj0x8Vd+c2iU9K83bK8gZax2v7432iBpfc0aNdjK8GY/8q3/pj+ZgoL
tkXD+Nx5dfY3wwkjcjVgpRHk1RzoFTtWaF402aGJu40QgQLV2SRxxCnbuhU9pwZrz0X+VhrpEy8m
janI2U98HCPtGaViHXvSrHdbYN2pqSymdYiTCxoMNBvEWupPdouZ+Rlt8tlUv6C3+3Qb9yPs54rs
jPas+k9NGzwBNbLb6EgefMMGsX7cCGIqBDHVF8E5OzZwOVmk5F4/yNQgIy1jfyy4t9NIfhja4HOm
T3gRCvZCg99gNeHAuF9KAu8ahwH5l96ULrAZHiHWtKPuSowwg+lqzzQiV7b23pLWLQxolJn5Tm+X
r/Nmt34t4l6LoNef7FQ6g4EPeL/Co1xjjqE44Xdc7byCX5Es/nqGtJMdrjVTPZrI4dnIaUreIRBP
aR/MM2WhVIbJdKbGAwniqseNaAXareLdvcR9tOauib81rTgQmRRtUlJUZzdTzq+WFzPWTbZ2EIx1
JWOdFEMRHW6tSZkZxtmaREXGFd4JenTW/UjvRfbi5fOyr5nqZN4aatLDv1xhIvBp2KifVnZPyHYU
5MZ0a44c4ycxaVpgYMsJJMV1GmU63GxL+eDF+mkY+Sdsoo9B/sPTYVjxr6+RCtK3nsnbsyR3lJ5w
FsgmzGu14FTFz6u8stAWF+p0tm7O/MvIcPdILUgf42aW1S1PISD3jAr42ROynBILvcGKzP5T/UyT
9m2TMQy26bvQynfW5rs8+2tQyIB435OZ1yiAMhI5VHMXZWHM6WRUUTyXEBTihEef7QgCA0Z2nnU9
z7qKQ2GlujK3v8Yj59lGqwwXYuG9U/KvZ9bpEuv0Au9lgfdS5cA4M/GrHHD7924WoPX1owoFLqcf
uj7PKCSAb7KDo/cX4bQXaSwuLaoPL3RGc8KIjfxCqnHbu9On3cj4edtziQNbAsS2VA8D2yCX6X0d
a0Iy7UV2PKBe007jNfA+G25NuUU80Wj8K58ssuqv3m7bb0olIIwUJluLyYljWzM8zPOH4jhumze7
Rphhh3HiRM1J/2WeMxXqrIHhn9nWJuCWDH+2Btc2wTaJm0mqf+XpayqqqER+5WeAj9d7GVbl8PFV
YRBtSmo+ZDkibhtJP0xy0D5ai4cIwoQUVLYDpVtlxzXQCodWivHazoPNw6IOsQES4sSNVFVkwXJ/
pHZ88zab5D7zVz54xYyhs76Y7KssJxqieDwskghWlSUN0tgY7+Wq8mriKmD6LJ6pjXOTeTJNPFPa
3CuzOdBoBYRMu6NpIECMUDX7YBg1x5yjYdOrbuCQp2FVHGLOcillMSvnuZLwKGeMRpYorqzOeUbl
S1BM39Sb09HQrIxTd/QAR9Vuhu3QTfZ71TSgR8TtMstnwPbF+kCH8Ww3Tf5awzXJzP3WCfoM6r2F
t32u3/XedSjsNLg/lepkmeTt6reUE+Tr/+Gwr179OAuQPgfbCxBLzZjogVCJFdE5MOyzb2UFeEzz
ef0KeeGjomKFkIjTQfYvmmBpKatAzUKqNnbmmYpz7K0zSzpEInxOvW4ey3o98XQ/N93PqODsGZF1
c+niEOyqy/mQmTuQdWpCDwPQXExbk8G2+se56lZ5hK/Edo5SPDgi7kaDcaWsgadHDbqLzZfzU1z6
VrtPFmT3JQ9/Q6et0/Q5psOjxcHgGXggWjwQKa2BhJUPsmPQRMQcRCEZkf2p9g+ZnvvTyLp1VA/r
9/oNBvYyj6QIgkEtb1JnHbdsP8Enb0ocOHTCJzWbQbdYlGOv1qelMIOM9Hqz4jBWnU+kgSGGZUN4
UNC8UGARtSFNkYXfLxVvXzTHdR52LMBc6i7equnCg6kQ/xIrMvLWs+BVWbTQat+Ufq5W5qrtwIQ6
4kP4rRiDt4KKTvDs62YFmiH9VLfi7yI6X1Wrx8sICOHjZQR1cjBYWnmdBTTwFVMJVeNWDvaloKTZ
rvp9+Y7PlemxaRXYLAEXaEhbVUhEKVSz5ErH8MUZYBIoG9Ig/LHcoq0NidB5kwC2PZoa9kp5VwFn
ya+ALEOy4I3OlG6QRpEdOmmXv/SA70aDGja85JV5LFLiHthSpzF1028NaUqhOM6EHkGU08m3T7l7
4y1fbmxjZH+A3F8fMV/pf+0rzxyAM4OPfO5PE75T9d6K95awyGRd2tm69IYGLJ8Nv4Xr/MGmVMY3
uoElspqzNZRnYtnnZgMVMoSrNBFK4H/NHiuZPyDVbWzCH5raH3LDuDoFOEH6SArCNU063JM9z4Hj
CJH6Wb/yEO4DZvBu+UyfFtuOlQ57/CqYCLKdgenUVuRglzJruHEO1lYKrVEP0YNUlatqaZlyd2bY
fqoUnuFirgF0kyXwyj//pTVLcUo3c5DwVROkn/MOZuPuP3/rzAPenh7RW2Sh6TyYbu03lD3ffNMe
tgdrRb3VQpypr+QwyrTROSKcwd7/hYcZOi5b/j2v8lKArHk9fdJDScf8SGxMEQeVetGNTczW+hMc
+iRfAsV+chWC81xCcgzR4DXGT//vptUVQVGFHTDav1Sci/bc4U23DHGb3VsLqLAOHCguJ9OLDzPQ
f6VhsP0/kq7CeRFbW31NKhjXJ98aUekcikSROrAGxTKnCcDjrBrxoBymg3GuSsJuLH3xyLWLP4EY
+Mw/CALueuNr0oGT9ly/9pMtdhef4ydhMtoi4x5wBShKwtMS6uPH4DGvMuMvjDvgAKvdxEI+5szu
003A8d0ifP7ycjV+vVF4iOrKUo+3Gw4XlluNHckO10JFbsGl+obEjiFLQKMLNvjFNIb1xwIUGi/J
JwnE4gDaEbCAtymRwjBfMHXNKuHg+0BlImjvynpdeJTXzhm9TIQYdtb99V1Eiw5QPvPtKmWQctbq
xIoVC0p7Y1OWcHADaQVPJDRzuDZOck/T8Z6DmOiK+d5vEBW+4vIg1uWwKebZSsS5T/E1Y5pTSMV1
7kQo2cIW19xW/MrdCS8auHixx4bHp6nkIpK9qeOlzFb81FCOaLiyIV1FhQVEQodAweqPotGOcdYx
/ANyhhvHbMXOrtWOS4PjXAa1rXbRc05c6mS8V29Qa5464Oz0zZ3tlRLfAki/b5j9hZNK6swnCzNH
TpmnFNaPTkCnHJ27ZhhftuBBP+G4XzFbzMYHJZLvtak/G9W6jzbYZeWqeiM7WbUz6BksMRzB/+XU
JFgSZcVyaAmQABXkHCdSaul+elfONYAf1bEd8AAkiCQdPzBrt0xeTk2inAZJPkmeJt42ToWV6XzC
F//QJ93PY8szL/S4qNvbnFTPITXvIs9uTOCEiaSDJxN1mF41v6+bLqAu1aHaj1VjH9UlLtDupSBV
J0l1Gb0JMsboYHmjcsEivcHZJJw3u4KiS07BI/yOApTSOmVwvGMfQqcnkyJSrIJIA8ekeHd2rhgB
jn3zSxfmo0ek/Mgrg4ZZxDy+SssisstUS9KhGtw6r+9OwaFelDfW1oyUMW0vdMcpcBkaUCg9Q+q/
6mMevqTntC8HAdxEYxpAD8qsAw7iOvR03ImQktpTRtnI6mKBactzZ83n7uMsj4+Zax2wEVF+eh5c
62c7mKr9OemIptDE9sll/Mq2IM1sLMTOudWUS9JTqHVhM05IRv1odrS/QIyg2c5Bq17m1FtlJ3SS
7yGn+Nscov7Eh2wGuZq6OrtB9PwoqbazDF23QdPJdniCY2rmS4Td0sXZfOBHSTdWX8bOguSt/1QF
BNAP3uc11hw0mWFJTy332CD3p14ORxLkMwa8LV+ov94T7wFgaJ+Qynjv7aT7Rlp7tQvfwmK4nz80
MblKarF/olLBea+wVea9fdDwgncAUyv+U7s1TplYcddS1zd7xEjLMjDKKEVq6NZ0X7FolCrj2IqK
iqqDOZK0r/uoEtBmZ7qFm+JYgGfXkKJzake07qjC2K7etH90hgesoQNJZEFPbGOstkgzIpxiuDFY
4kIuNTi6a7fZnn1z6YNxuVrxjPMDyqm1YRpPAfo1Ac8pTmChzJ/a8KfK3R20XRBz9C5y1gcmMHsk
4w652ORLf4UMFZ4joqOsClKJdpPm8tYjPo4qrvFEwZhieEgZpsJRcXq8jDCbloSVZvC7F4FEe06W
2Fjw2TaDs89Kn9NC+qfo76ucnxv8eJXoaDbPPPM6MLxCoetehcMuVUFrey9OFr9raSY/OY5hq2ph
qiTRIMp9o/1bK8LALuNSBA5YfDvmgoefIGQ+nTFPnRt4VkqMVjOVkITeLZhyEi/+HGS39W+Rnhit
d6VuXFVLuw7TAMwUij8bVQPqVDqR/fveCEMXQAt0zesaABF2NE48v1NwDsjXtg72pPrIlfEjMbiZ
Plo192fj5d7RvE0OaiQ1so6H2uwJyBAYgIeegjbHLVCzrhsMXyZEKPYmlQ4N3jpwhNLyztLsqMs4
/lc1VE+g1vepXuxTw/QE/USOOXnTtXnV6TAxxtCfK1AVTFvWiDODtHh66l8+v9PW6h4HszrSiIbw
02HAOcx+Zk6Qe9ApN/ls2/plLpSrAfypwPchVeRckYLrjVIKBnvqZkxNBSxPm5rBqxdbqoRLlJPK
Oy/QbGf9dmQ/FUxvnAG0u7KigXE7NvnvSlUubU4qFHOynp6XhuD0diuJVonUUyKc0LA79IYg2fqc
AFQgX7IMBAZhYT0VjQ+aAHsJv3e5+hXH8rlj17ytx+mLFQFkcfnZNoQrTOfFCNGEduptFv7CQ76w
yeC1uuwNyH4vOn2P9GfoGKjxE4hMXHNW1ejYgZaHo2j5NJeQqoMAUVhRnXDtAC3ZrGqSCPZ62BoY
BHoA0uTmV9Vd/rX8C2R1NNckalp4AryYLXajcDK42WMZDytkgRYuiOFcTfwLi/I7nhAymt7X+e3O
aHtWT4oVlZNG2ng9StRmcVqtxi96at+AK/O3Jv6zHPXlk/vgmTukCzJItlMW5M0/PHJtfIH7cVBo
vN0wJKI0R8xSeRHY7RpoCVlDY/KsBEdCXx7lTjq2JdJy0Zzrp9kkb+XzzVHja33tBdRLlgqKSAIT
jS03SyKPPlXOn+i+KaUg8e119l3T8mgqMe3SSkTLfG5iLh2FN+G4lPD26oYUiAzUZXspmv48lvWJ
1pmdlNMh9rdjS21R3G4ZGFfYJ7DmNe4N4NwU12UPqPvmox9dEt4WaN+z0C6t4GZr/RKqUD2rLpvM
g33t4IPgjTRE+dgaDEN7/SdrOTVgn2CTHOar6TXst3BXhs1AbohVNaeGXYlxi/rmaggnyr6+UbK2
Ir/KJkFal0gtLKaMe6vaCYV/kEvDvq0/LZrWJc30rHTzWsAPwqKqAMFpgSPa4FulfkLAYT2URGiK
Ekv2eFz+Qyg/UDBEqg/nKQmJiscfum91gIN2BHs14uAt78/MZnmhWVHrogD0A6LnUxnNYJhSok4g
Q0sWGUNYu+m9hNE5LvOumzhvjNlNls3rOkEDXWlGT6/1OARO8hejyhnn9CrOSrKd9Ewc7W6MjmTI
E86ay+Gj2X8sEtfXCkefzshKSvzeY1Hq+Jll4uaF/9heBtDsDfF5/WNkjpYsT2Pbr2bf8SJ5dlKG
G8xY1OvA3ADujQZ1H8TWqSkiBC6itJtJIOBuwHQCMQ7hPKPWwFYlJAXh5qvHbeuBowd3DuB+v2hw
s/TizFGRTs6FnXD3vUFbrf/U5Q2cHMUMk/pnovejRSOVA72vzq8aPuobpuLqLPgu8aSzEVtyahoY
yjruaq+b8psD2Wg0P5u3+QOKsqOcWNydwWCrukFJFGgsOrI1EVVUAMxxOBKgiaVXXA1LZhPZXMsW
e/U6WFiRdniTp+1IYOhYK/tHf+zMJWiRUGkal8kGW6IM/ssJBy+bffhx3AmpL2FFGYPZXCx/JbAe
d8tBgunxpK7DPd2s3424qtp8cT7fOErgu44P1MD4XbP6RTSdG8LV+PvhQaColC9w0on4HQ0xYTH2
4fZJUah0zO6iq73rPLs5gq+cHHRDh3McSasB2wyUHX0rlCpMph6JUTp2RLvWFEwCQ6CDkgUZEwOj
YBaSkoMDfXtcmqf2pzwMEoTpqrlM83xpJfmS/DZn0hHqu0y6Q41rn3o1P/UI2G0nlbtwmig+Yz+6
0PmdHDNqghPTCOM3kB9tHRUuK3wKD9df0sNqWF/SgWuz+ZBW5TApM6Ss7L2weD3P6innVts7gxIq
BOcaCW6Zsx+bNAIL644IrEDRfce1ydBZGGfyKT6IHpiJP9YXDGW7jQ6WRR729lK4vIIKmSKEMTtI
zHAI0q7moMzqr+DiX/sUQ5ckoGdPj+w/1bRuVGvHhX2vmIx7lAQJg96rp62Umn36x8qtM4HOxBc1
7XPVtFPfSotdfRaspPhu86cqs1sx5QtQN9WywyV2+6S7WRdrROx3DRmlU1GjtCaxJRnBq5Iggdy5
gyn+VH5bbitj1tOV407cMhP2+DD6n6YnSfNx/Zvg6KwvmW97ZkiX3SV+e+ELjIv9VpZ46M0M/zSA
s3rxxoq3rbFfKPFKTj/YBa3OYi+aHFaelx1Za+vCv5BJmjl4hW1olIipvp6yQ+T3sW3Ae9g/5II+
Zdzj6o3Wy5yxQvwyabgirGhm5DHRyYHh0AquPruuO7Dop4LCzfa7zu9AYhZ3GbgsQQfE2RKxFiDJ
Hbxu0ApM/FAOR3QIPP87AemwwtMtAx60aSTWbzmKaQaRFS7qQYMZ4rg3HdhlB+bwP90mnL0S9CeH
2k/kC79ILWDhN4jyp5NKLwteEzPAZEwVFzLqfma0qqt9sTSeev0cckhPtrjnW/xg+B6S7W74p87A
HcEMnl7sa4w8LuziBagqdGQyuQv7ug0lvjrW9oBDe0+aUQzE9CZOkp9iPIK6fKlhzM+AO1o+u552
PkU7DDy5c415c5T2JjbJxKr3NM1KzqmW40vVm7flncrku+lUb4MgcgnHj5xcuZyAKdYyi3Z+hnqo
9mia496BA2cRCNRRM1W8cBOS2mA+rPeSdECZMhuSWtU/OykwgK+UMjRDBVeK4FJWfxljdrEbaux5
NBHfkfU+Sj9bwG1NYQcytcE/Mitf6uJq+4nmaJ963so4Ino+TjP93RWDvy0S99oK+3JnmVzVAAam
eH1mCJNtOFcczhwoAWNgogmwrpITgD41pY5VyHc7FksctTx4nMuQyZ4uZpDz0jEe9TNCvsc2OEiB
/A01j0JmxZ7WqO02eJ/ZkD+AyDwlFjkJv6WG35IGcyu3wRu6xlY+pra+wQ03nf5RbukjG1oYPyo1
Z9J+Rk+yQAOx/QhVchMc5AQmP5U1Yb79Xuz0bJfJ+YLYMhEfhtmN63HkLIf77aak6rURziU28ksu
l2fZTk9OFfWG6WuM6LxaC6wKiR3oloJXbOWbA4SW3mY5Oy3kX3hhKaRhLc2+chVg6BhJj4xcIL05
+gORio3lNa9LrIHXkWogmspOSgZ8hqlBHOECZjOkX50AbDo/sUw17anKlZOWp+eODl4ZyC+QAGhR
sN8UlsASLwPi7fdk4os/UJ1pPh1YnoCFJ3ekUud+VOXsnM2wX3je5vlFyGWQUZOuP9ph9v9fAV3a
6lAdl5fHHJk3Lv2Nir9awtO3gy5LNDmyW7i/lKgg5aR4/e3zjA1XoQNUPRtp5ZrsMHp4z6Z0xqiC
mjjTnqzED+caEyWNQS+X7sqQlF2kmrp0QwstYp204rELYfeRT/bD3KR3G/L4t2qXXvWR/ufMy9vI
nsW8GKFhrRdsVkW1+Smc9mrlME8g1eRvIpMZ4xEtrZ7ynQ+OP8mDX/D0U0VzeG88BysAJd/HpzuD
QNFijtt0MGF0bzC68y7K2c9hadeRrhvZOW6URYnyTaZjPLlLjXzPcN70pu1WpYqEA0FFArmo3n59
Sork5+ZR/VlcewWgw2gPW0Qtrko1epmwvIJaOOnuCNOXa8NfQHrIjeGDDCR8RcKGNeI8+KtU+AVs
zuFCh22fnFdasCTOJtYL/z+xdaWrksSpQrd0hRNOUPxSs20ThybBcxTXRzmGKmnhBv4FGwc8K2MA
MU/PgCIu5QDNGDjtzpc3y+++JtFiedlx86V9pNFFhteI3opq8AGmEZKYWDDNo2+xK50pOZJZTlYe
G2ft0LFChTc8GqR69woBmZFSIhKsghA/B/Qep7gN64GbbMvNXUEGfgBICFRbqz7WzXlPy8D8YYxk
3ZTseeXAs59vstqdt/pv+rHEFRAe3KicZ7C5XTUoC6kXA5oaoNhAZXWSEeEoOZr5GmWmRGrm5ddk
73J09noO4u0NzA7z44A5mAn0U0+tvUqVrZML3tcZDxu84cO/pKWvqKY6VDvFkEfkxHOaLuiB+PQp
T/oCuvI/445cDU4Jq3DbVLzqxpAZCVmfbRD1jyn1jxKrae3OkI6g5+y6sUMCMxCxSUekbWDPBBgZ
KIHQCXM4ZG+VDrpSat96DMUydedaKz/XDE6Smj7KJfOyNT3UCXQEN3eImVAFUyiDr8bIvahyA0VW
djm40ouSiZWce2YMwQBHYB8mXJ8ale0/ndZiTxF+oyEEsmiO+XuQ2w4GNLJ+ZGo+lN8WDRJj55YL
9jilw5+/BuWFsqYspfhqvlk2OBmmoe/vIp+OJB0iKelAAu1aUrKqZxBBmSX7qHW8gufymO4wwaqc
51l1OP2/eGw8WV48qCywWRosWYJcYIcfSz0WahzM1IqVHSWpqgL9OA5Z3s3+2Bd3rc2ezaa/mTGr
aKA/5DlHojREwShEpqXpUMJnlYn4eziAqWDa206/J2VBo7nh2fz5OVI1/NacG8RgJMuSd4fDbiyq
s/m5ztW5kfsr9K6dioNnwA1Y1uJeTvYdKEq11pFY6qhNqqgCGOQ4Ukg9sUtbyaI96ewijApYVt4V
oH95ynjxqvsTX/FCjWmt+ejpnDowB1k4yvYxOdTLa2QBx7HrSrLIi3kmRnyWF9gDeP6qyu07Wgt7
NBQKnyZ67YylvJRKqCNBTwiOQzIeXuEWAjxNbO5T2BIxRWAVdD82rnzAQZ3nYfLVEMIzQQxv71QG
iOE2bsrDyds3zUDCs/7RpRNMShmJW6uPaLkYXRccvtwIhBFeW5Syy0NFRzDdHIAc9P4SWB/+dNZr
t8ZuBxtF3/8Qa+KbYcAlxp2P4+nC2Nky21Mg0mHZLh8zG7FlhQNrwEfOZ9/gCKSyKy0C0UKJAQaT
518oKi7lwXsjb4IiFkG7TkQfhyjazo7dnxuxedSWeHJX3YmePhALZA2qnIFJzwP3jfFBPeKQIk9W
cPV0EWach9JVz4pZSOS3F0zO6/vsQK85PlqE3cS49/vczJ7GffiJjT9SxcOUEGNOYlDn2SORrqPj
i0cteT9E/BA8P3aNE/Whp8195dscHuBz3r6nSvEuS86b3Xs1iJY+0X15fR0jwL/Wh471zUTZecke
MycaQ0+4jW9IJIflQjAps0JuXXDE+W77nWibPy8zxWl1aNRJ5Kh6pAIMx40GWhYK1Li9ADeyrJNy
cMIg/nJUTHKaFBGSd7RIkSBf2scUz73dycFyYVXTZTHF2c47FA0kaw3JWlIllgZ/M0vhasETiCHK
Mvav18hKj1wHSGuGnpgzdOMJAL/pcreWpatkkbxbwwELv23hVyf+XpMcE5w0FPtSqG7nZJcN5oiy
64Tk5upXjuXaxoaFOdKywk44Uc4cPyT5uYMA4QQr/XGdSpMBatCcJ1HHDSwbNBbD71Bjld4VV+JJ
bF3pDGQ14jT66zEE+JaenCWhXHI7OhZOXvVP0nP3vOAlN/Or7q13MnU39qhgst7KNn9yoGjmU6LK
R2dUo0oGL+ORKpr+ZlJ6mtCjtjMsRwMUo5V2EfSLUJp1SKfr+JbqvNUqomVGdgJ8eJZr5IjYvDbP
2rSv0qjfi2dWqrd070KkfRWu04gdQ+tZPixbu+iAU1HTpKw9J05/EuE2LbdUF5f8f899Lbpu9voM
Hhq7hpHYmmWjHVb9xT4Iim/GFNN9KuFYK72mfsNE6644To0eEDwyhP3qNK9NHp6UORwJqpx0OL85
ifROOSY4/Wj6OCtSfU7n4jz90cARmS2Ts/FoFeKd8mUygDqo9IxQXfCja/sfXoFcJoAPvSGfom0N
fmbBrgE0ayKTDoQ3MiuR87tUEcyT2bNHP5mIflSkyoHYMeIf4F6iWeLO3pNae2R6/ViFdM969rwu
Eeu9nYHOawEdVTLylXbpd9/Zqt3xwO4LwnTDXweIDFHN6gqVCiMpmG3lOpnataQ2t9S7vdOwOmHh
XtyqN5ujATM7Ib0a40ZqkT7GEZFKVaTPRji1WdgBMVc4mA9qeshoJELHBYlHjQ6xs56QC7e9MQ57
XBU2ai5LNcrIMVrFq72fHwspSXtp/agGOzwHvVjCEkcDvt/W2bdTcVjXLUAaInAohxp9UTrts5C5
o5gSiwaKAWL2TkftIcHduqy0+A9QCeT4sMEEaEndsPahbX3OMbe91rcnq9ZIEaxvtVq+GaQ0aeja
MByyXkuiatnCGWNSPepBmTSBVOj+aL/OG3SPKQd8rIpylCzcoNDcumG92RjQCcHavTs2pLgbcXe0
4tG6HM9GcGZ/Epb7q6kwneNsKnKfVzvse8+SeefqMAw6Vt7tQaPxqhRkZeCuytABtqm4DIo7FRYJ
Us2fcD2ymKE2868cu7Nu+Hqz8ZxvSQ1MBolomffxDhoUIM27XUs3+E1hc3uxkZq/GZPT3EM8VK5N
erSZhemUZCQnXyvmGbSghM2I26Cj9YqmKRmawswnV/LJvbAlKv0FtNtq5l5KMLClLW0Nr45Iw63e
nKZli1KEOkNvDpmMUHWpsfEff3TeoPLp0pZsObyyzM7mgeYucw0ySglzjWCsxZLQm1+1S8ol0tgt
TVza0h71o0TMpnuse31Tq7qmEJS29miROVVMarpZECHLSAotM2I6q4N1LBmFiADhs6QQ9Njf44QV
izpfyNU33T0txseUwB9GaJXT+Jld27OxJI9Mqx78DqkiXw0oZY/6vZ4Ml6IwqnrX13ErO4/kUhbp
Pwu6v04DcdNfqS+i1T0SxnrNWTlPv5pPNKCiA0aXTCwr6PaCxGcWe3PfH0om7cnVuHJB2jfmgeYv
heZkIxIwTSepP+ONF4p6ln0o4+18VP3xoOA4dzCb6b4qiV2h1J5FfADT6dHcQqn609hblC56VL9T
rfc/LJ3HkuNYtmy/CGbQYkpCEaAMhqwJLDIjA1prfP1b6HfNmpPqzCrKc7ZwX75YTiocKxw80aO6
tL35tiKd1Ml9V3HGxS9lLR2nzXCjo47oRDPdKEIfSrQyCY4YtwkFPMq4+I2Fsj5BBceidg+m70iG
2KzW7XYVab86lN+gWAvkePPuHdX+0PcgUi1RDWJB4CYvGlyC1Y0O6Vzq+rlq6ViNP1Vnt8ZBxFsX
EzrLMuOriIBjtfi5eMu6LaywjYDKZ1Oul+prsxnPyNkmx7ijAg5KoloMowgGk2HCsQ1HEm80ongN
MMmQudi8azzNNMOgfIKfvi3xNf1YWBeLaBWVDwnYvyB4pUnoPC6sQVPBBZphCbxqYDJehDWljVL9
6aziPK5WqOpb2I7yY7holeDlukfg0lc3/YmARk1dS4zeyphQ8WkqcvgTgho24le0GngVOF8hGuAu
VXn5mXZO6v7SFIePmETzcYTLUN/ET4myoCSFD0T2MV1kr4VUsiKrFGjH5qwhJKD1S3a6/SzwvO9E
b7B0La6z20blBR/qxbzNS3cW2fWJuYAogBwdYAc9a9pVy5h7v0k01TPDdSMoqob2LApQqtuGjKZk
IBVDQnmUUP0rrS8Uqke4CI15WdMw2cr3/3Cnmr3vB3T2AxEsu305YFUmsjaK3t0KYEcfKz58q3ET
7FNRDWElX4mXP8R/NUGEvdedxs7wNMnYSfcuu12Gy9UhIZGzrzhwSOUk8pefpGGXbEhhC8Q6dbl1
2f6Z/XjXevEBzg69U/0k2FGQQQo6Vb28GGn6LGVHorMQTs8VrPjY5Ni4sfy0ZL0WKAVyEntIWyq4
zX6tL0LsHevuI1VZanRFH5X3K0iu2rJmx6kFJYo1ktonH13bnZAER1fRVC4qYToKIuR6brEtuD4v
FMTJrP+VlXd11WwkB1rQsiHJgrLFisf8hYob5axg0fcecqV3BShhW5DRsRp4iY3Hwi32UebaebQY
nkXiq5LFb7ulW7t/zXht4w8l1e4CeQlnI5dckPRoEAAMIcEcxPJGJ3+T0hWhYHvb1PK2yhqMHVSH
N4nPdy6PyS8FKtrLv+0m+w0GkhY5R1miEpf1IEPEJ8hrODkCvfWEbQgBFBIBam1mbuSunLvK6aI+
SHOqNiDjfNT4WWMjNBUlbHJ6RdBxOv2REJdhBYydSeA4d8Qi6FwtTM0PxKa+VCVUMCNzFapbhZMQ
GgOuICUfjkL9ZHHyX0uiiQ7GgcOyjB0QbE5DnKVVE2sEEVHk7oQd6sICI1eO9EZ3hE1iaS32SbJq
2txLmV+LdeOVPKiy+CiZ2B849dSleDdNrJczGtf+Dez0S/KvDxk/iq8s2KEptRTK5Q6Ssov/4+Sj
rlTY7PLtY19hVo8p+9UQKIkIlAbvjLyR/9HBUv8TGQOxzsIbHFvjvWbbPlX/VutWn+n1y1W5GaoQ
TsgR07dYym8KLq0OWVgNdVBsm0MWQ43gc27z7c6J6Mx5dCyJYZemcB7J523kwCDWNNfeTRRWkpxB
p5z9OjMBUBzorsulZlFEYkgZMpI+diguILaeNjpOeJlNU4a8jkYcnYXeIeu4arbXQaRGIdFwaVav
agRv3mqaP3tTDVwXRaila1gTQQiPLqOdk91GE/2GDDA2kqCsSbtpSGmmvwHRmmdu+TVZn6Via1Ls
iDrqke1bG//KsGd6tq4pW1dgSbZZCHb3aKAQqGMwiSOBWtNRZbTBgCzs2Fty4LTiSSiyoFok8nNO
zag+UJWxs4eLV+bPSO6fgr1GAB1xrZLWdVqU8VmJ1kuS8Etl2CQnVlCqnb0H0ZWtcVKs3044CMBV
4CGexATGgZaHZWGgrOzwAZmMJr0F+R/CP4A3BGpHhHsZplMwoYVfjQvt7MorrO3Ks4gy6MFq6fJE
dENCZMkTny6wXHZL39II6grjrUFfNiILnnwqv+SEeA2PGjD5KYB6GWhbG2q781vKAolwHeNQJsds
IXGneSTd6OfLf0nfosmsUTKJzoqUlWhhWZ0uOXH3K5Eoacscy/TI1rxb2cQ4brgvdXdfi50o8iYh
3qrREFXCE+fSy/Da9pxrhxR+dY0xK/V0TOXYC6HTHYk/I8O7eB07kuZTd2EcBnSRX57sGjf5WuoR
eUeyHc8D+YnhVjBnHI5digkb/0EQ6YU3FvY8WqfIujPw8dTeROOOABQBp3abYwIqoy+sAmgE/9ap
6rZpjgbfCoUMhIbynkXaGzEf0XCvGii2YJAMg20ZnhSyxUTdOJrOY1yA2xxSpfPSEmGrxlL6mUvr
ibzXQ6M3PrhsN39ijUfmdzbi+KEKeJ4i467Ba5SOci5cajBaU15fWwplLMTkrbEBFBVEhhCwEsyB
MPcVTzCZA5aGJ2R2+txgGSU80C/4zMgdpoVlebEm65yQOlzEDdNz78HPJ5RS3ZbVDov44Kk8S5Vn
2colomfISBM7T3ueqluULldJItOjxHpNAoF1hnZZDzXZh5hOdsaMyusDgIzN6gNmDiCsnigxZr0+
/qiIrWapS16ZNsBn4JKvTPAxBhmHUSFp7DVPyyscOWrlZzUb4TptAVzp1wxv+mItnnoVMhjDuzZc
IFWJ1j+HhV6BP+/YzUPU/6oSUtNFydl+lNOaobgFI01MqWNFroy7wSIK461ApttXzJ5GdmTHaF7d
kgjc9H1WFa8TWJj5e+4wjkf2EBnObAJX05gzR3T7DYrj2vMTxrGpl16OpGoGJZTZCgldDJ0Zkx97
NXuwy7kVYnNNRPF8QAea3GcGAgD4hXcDikoc42/ZnHk+TCg1dcGzcPZvbi6wX+Ndws3sHDQmW8xB
UGCzwn7pGFkhU7GQqBwUiWckOaa9xFCH+AOqrp21ZgtTpQ4GZni44um2G2s6RsDAyHNzYH1SJhz1
xf1nZt2lWJtzlbD6uYlzezSIqWRPyexKUPzit0E+PNnTetwdgDJJTecKrI7JThaLvHgcGXKhXL10
JbYOKirkVZIh3olrzd71aH3ArAB8NvGWS5KDcGGfgjkEoCf7WpMF+mBDeo7JcEpb1WlILqYcLPDk
mFflgkv1BgIV0aMe1tUXKpFn8s1MlJUsHWzkjbYlKlfBoHmRIQYcR7BRygJY6rpHJbRUb5iT+fn3
dFZ853tWuiizciCNk9G8Noxly94vzxb5JAOK7Ganb/1GsW1sERaijMzBI/uEvm2ekMafOX4fCV20
vM6v8CXxJeEAm7RXaYSJLJjPaGuem1PR2hXA8NP+0rUWPk2CcjZmnLPM4KJ0F0VxjO/ESEmxIj8R
ov0wLre8SR/quL00gvHECPjY0AxIEo0NAFmhDaqN5LWQ23TkE+s71TVjsJno40oR+YqzztNtqs17
ybpIwUOar/WTwd26fyPbxlNTDEGNAE1zJgKDJNbmEinNZf6A1F0uEeCthED0JCjwVbCVwdNmmRiy
hfEMXymsT0suni1Pa5neFUHH2RrVVzlfr/puJAq7AviDiEAYiBxqq3AG2NZ25on8EZ0uO1XFwMIz
o/ldP/gt8fHDQFJgEXvbhmH6dUuIMtYshxHcYemQXx//N2TY/ylbVMcYCgRX0ble1vP0Hc0JHrE/
ylFD2KnuVJlvwCdK93SG76jc7hteVVxV+/gXDPuKYDxf2bvx9g9AVScGlSwUyN/mlsNCJxxl9VzO
3R0K1jfyW6jYnTi8L6yShsOcwYyHmlZcS/DJEJdZDzKvmwOiLQOVWJYIwAAqNoidYIh8uBx9SbU3
ulNV7TJ1K06vVHCkAmiYtRU7NZZgegzvUVfd11a6kN+iFAdHmvoLf/RSl8QYqqQWoFYdCSdfyjkQ
MvA5jeGvp/FnEWe3AAOKphKy2vRf4eCOjfrpvFj0YH1yacbtOkp/C04qDfDYbP7XSRYVL86pvnfl
ZHGtSHYXFeH5P+NfnvzXBMq7gvl5TQd3BRAHuyfxSjVzFFzPfcsm2tocJRIozd5Wfv0RxXBHMSzt
GrSA73nKzoU99GLpJ4NMb3Ez/YWtzKIy/oIMr7sxk3JKtfU5S8PFkoZbaYtVG5JP/J865BgDq8Nk
8nz+2zpY5lVCMogKC2q4Dv/aWL0AteO95/oGSnN/KovNTJk59oh8obadVdSYkOphWiyXLS1vDVYD
5VaBRSOQlXPumH41QF522zfjOrazE/NojXk0S1uSmIG4yjvg+TiqIIaccZO5tzuwmwJBAP9ftK/9
n2hf0omClY4o/bT4xSyXpy6YrwL6/LYEDL7DpMprbMU4s5OjjDJJjsQrfdXvtG6fShl/cq3thHeI
YmuooD2Rl5+yg+hWcenzKP6BwN9LiGL3jqMYuZQjFRpeJxitp4SHVtNM4fs79sszx5GW7efD7HUN
9+YmMzHQPLZoK1ixkS1+LV0YVmCkPjYICKxBo31x0bbsDB2dWr9gAEgPM6Jz5D3DRJEwECmO5Wrc
dPPN6kZgYqrMp6wf+k/si5zp7BOnrnilNHyzuAY4oCvY6DVk0X4ofQva8rQ2tiB/5ciwJ+qea0tK
DGbEvg85LC4VDjHOYyJ3OCoOMnC+AlwU4cHUE7IXs70YKugEUwUXIHIxuo/bGKwjytYR4GI5+1dp
sFhlgqlD9SYsp2TuHSRlGlO+jFYUGGkpXVfy9gixuONgB5sxOVanPtQtfVnDiAxxBL7+zO+ClIW2
/1yt5LFgppCyj1aL3zN8piU72KL7Lwe4UgFcSQCugEmZD2SNQ1tJB1JfyNSRCbDAI9qhUsAuWYZl
dEyAVJq140cY/k3spkS3VMf4z0NBwxQRLHJolv5uWaBt6qP2rdX8pb/GeyT8yTFptlmJab446WoS
WLEQJCoJSv14Fg8ZI4V0vqMknBHcFQju2paMMuM5KuVrY9avhk5iGjIuw52Tr7bBcRsXoV+nOBpp
MQ9guAhzwlaaH2WfWdxLlC2sD+HOgNNu8AqvPjOP+wR2JM8yt8cNtiyIWMVDfDOl9IKU+GwINe4T
5H6+qUl3Cj75O/k3+7N6m/nXjvKbijJRZh2J/ZRZhNMlWG1LBPzF5qtm6g/AqnryMH4ip5/+gc9z
JBPZxD2PR3YHciiSe8qKmKhVKb76+NQRC2APxcVvQ0uckbk1ZCMplmLzwdoUqrZI0YYZj12q4laf
fZ9cxwFS1Qxa813CyN1j5P5kgMfZ7G8Vxlxj8Jm6EL4z/okRP3Ck6MpFs6BGsE8drDOd6UfTt14u
QmeNrtSnFxazZ0taQgZ18fgz5Tk9YYaSfnfiKmYSKJ1DUPn+NJBtIWVd7lMi0uRYdoreT+5eoEA7
FJN2DvkS/XWg3FqFFsmqQ1kjO2Mm1g+wBKaSSVIvoGuuyBXR29n61JBtSmKysZ1TKbnIniFJ1+iS
YUqpiureWuo9vWJ3Rc+RZPNN+5viRZ3nt1jPXYmUsQ4pufzbVdS4L9kr2WyH8nssDsmWwDLXDkh4
RjEkEkH8HfMmHOCsIk/sQLJ0AQOvAOgXVdN6kLGB2kXef8yO28/5O6CSVGC8sJ7xnz/69Di+D+WE
v0uAC4ADjNTr5GuzUbJ5fXvFCsh2ZJ5wj5g0hG72g6CswOfVdrO3JKRlA9zUIJXJnOa5TvoHZSDT
6uWCrxLyLtojl9EAbu7Ry5L9nCBuHnajIva+WslkYwBZiCBOF2G3QiItiDhWR0xemNgn8WgaeDYn
mjfaK8ZXC17HWhv8Uip8Q4i8hDBhkW5jnAgWbZ8popW+C2ugrPLShBvxWuAY7WxqCLSTnLhCp9wR
eSp0i7ugBZOxH1vYjwvyJFOccHqX+noe1HJgp8yw2/2ooPPS17M24ybhoWuwxicTYqjh6TOnCBsM
82UByZINSCbvAlMb4n4KnrrsC8gW9TbojkR3qxNDKJK6ug7luuabbX5S+vG0r2Mzs3ZX+uObPtZM
8c3I+rCamPWE8TFmjTMTWm3Hti7ADkMjIeHGNB+FBlXgFaID8DkHl+dBurf+QHKzBMwnEdZzGU4Z
8lEkwHEc1l3kxxEaDX1XxtzGQ/9H5hLTvkbygtD9ikaoMPFfVOH+MxKlMlKBN9ds7I9apNhkS4QI
ISRiRbrzhLLogI3usiWY2XW2SEiSjxa76xjjZKGUSMRkTE1EDk32MsX2HTvoOIYl3ct8X++KJvl6
28JA7IK8ilmcQlFrjhlmRpWOXM6xRPeWa8JoytHlZVyNeHG86KYROwv9Ra2R5dXNvSqfagyG6w73
BtZJ501Y7SWwcvO5fZ0U3beIvb01NdznRnGx1axwbBiYqLeUSWKTawHIe/huOpQi4WomXLcjFkTQ
SUkRSBLTDP2AHcdfeBA/6TdoWeCxp2zErTUnuCa7mqYFfHpmhUJdn0mvykrsgUlZcBxbTHIFSc9Y
MDqMkHSs75o5HVS3fkUY/hI1N3WE4kXYSjIJ10hYYI8X50YuTwKSFJyPUN+R/RsjJgU0GI0lUNvT
CjLb15EtQI5yectib0hRv9IUEAvMBpK5JCqyQfzk2kOtvkPT2qFClZSe5VQPF3EMtS+e7Eq46ZgH
AP8voz/6O5OLDRyrlOIoMEYbOf4jJyIevEM2a2LDb/mJGa9o7WOYqrnglgKRpE6BsBahpZcRzMIb
jGSYn312yIAlN3T+EfHP0bg5hOzhrz0KBK2Xi3iqPlmNVGsPXiO39bdyOABhvqPibl1I2DssaWOx
3dIVgemtI8mtGbsJIpmdbfeOnIxa/z6QBwAgOBojTzqqUfxElHQrB6fAyUgr1+KalVtHyE5Nx36C
hzkvfBizJ/FFsfiiAFyGgr90hCzPk5fIaGsJjsNhjJek8QaAZpb0hvqFSR9pd+EQxgLncRsBse3Y
7wM9zo7F3J63bnSl+mMDdJd5UQtv99CFUceCl9jBlplccpsWjqqVhGH9ocLx3qa/g/46tPB+Ctw1
yB8HRrSsblLTFRdYFSxH13MOZx/JmICDuUO4NhrUHUb/WKRHhCAreh5GSQ/Y5oU05pOueBWHV6n8
GvQhKqY6ZaTMw1CHTNDHSYV9D5ejGKBdGkrxXKQtUSTJWcIK1LdJWECIJ8T0JNp4wjKdEC1sQtCw
PVO1kPYzteB9WFwz2hy9y6g5OfxjyiWKO2LXWTatoSqld90CtSzC5NheDJGzmJUkRkiR2jNht6AR
W6/G5zzXQ3/6l89z2ANyZFiaP1Wmt9PyWA3LW6fYT/PMZ1dUs0CmOEE2wox5av4qzG+MJsXXt6JN
DHWCAaQgNoVLqwF5MyS6Cx6WdE0y8Qqp6FA2Grjy6LI4JCT0ECS+q9+hs25s6++4aYrunbvoIzWy
z34UHlgD+Z5NwEU17jc6z9/OatCeYM3AqCcd05Op6ne9Fh7zYr7w33iijjaVfwIyvH2jAYZg1i9b
Hl0UNl4yg42Sqz7Fn1PcU/WIucBMEf6OZAjsKxcgsXOWkJSO8gNl4HLvBf7tIvp2hVlWYtxxmAxs
PGwSSDB+rlPK6XWYSBAzAixLjvKr/HYQacBFIfqUU5HvFyRmeAS7UBnAjtej+kzRryb+SFTopAoB
8PNgKBhJVqMrk6ik4C6x+B6iXgDUtHh9z4e7oJKeck+Fehj9IUJVR8WMA83TxNZLsI5oiFeZFvtT
ifd+5bm36AvkK5MIjdA4ALIIL1hdQvubn9osv0CKf6i1cr+OpFXW1DTIaWK06Ae1QRrgt3cOwWuu
wLfZT81zoVNPJcVZoeCIU3sWLVeSvRR9UjylQasNJ42fLUTTg+4akXUaY8b+0Uqd7qwShKbDKNfn
hutpVbubyhzmTQ0nAn850180oPpaYTpEHGHPIexEgCkODkDCv8BtsZEwNVeJy7V8jCbVlcWOtG75
qd8sVl8bYs0BarkyfSuzbsOYPdXLQDDEwNqhP6EZALmfvfyVsF2IUXRSqBSN/0CxByRni9I5Jvmm
HrOrYpHC+ltvy8WIiMwccSKTYTH25qUfzMvaSBdT6c71q8QYYVd3f/fteq3z+BrrLP87gnN/xml7
rDNbqtR0WIcY5sv0jSd2twAqTROmuhhsgnVqNir5kSEN7DYRay9GMeVt6acLYdfBFlPxMzND1Gvc
u624bjpmRON/ecx9ao8oAmXZQj8IGX7ryMbpMWVIVMmg45iose7KGbJ3rZPQKMmd7lR56mZRjRJ4
woUkunkB3pwmRLsWHYDznAluE9slCCEWwGcUa2jC8DXmTdCLbWARI8WVIU3qJzIF8mGQZ+vVuZ/H
u5U2L1Ifv2Zs44VwY4ldNC9M1LqGv9Iy7F7QG6zrBdHaxRLGC2oJ4ZTkdLFZ5c++uGhPqsRDTNNg
GQxiJX686sNQDrw61vF1v4/MVqDqiGM60KZoBSDZHypJQ8hSedJpiXNGw5JD9o6rAK2o0DmX0qva
6/Z+AuB5PLbMCsSvGLc1XJs2N92WwrJNmYxBZUhlAdkiqygVJNjGOJxmo1zf8+gqCOWjIFdRkMT3
Bs4rXTbTKas7WROpPmerHgOEoEfYZ+cZc1hdxKHJyj7x/N1chjiO/2MlU6qIftMdfgeHbDywWzto
P/RiU7S46jVjwCC7HaqHsUSWBJhne/agMqL5NqmbT4FWI3ggO8uJ8IFogP4s3OHcOQLUpELb3A2L
/FzfofnBVko2PcgNKdR08pTG7DJhpD5MyRLGV5MJq0LFVutY5AiRSEagKTHnUiLCF2zgnx4Tjqmx
PWJ0VlowwpJ108jgNlhjgvnj0cBEYiE4sLKRluOWo2s5Xgx2NOV7YbWPeDtW56g1roNlBUt70Wia
OPRvtSXdomy9sdDl1WMdh8A+nbN7tLYIv9TL+m4GShtfNKK4WDLZNQXBxFPBu8/qFfgQVMy9xeE4
nNHescNDGA419NAkEFTS755tR4yDXSWZucxpLbZjfdUQ1stVyc+PPEKd73pBJVCcSxjBWkyoByEj
4Y/WwVe/j3hjdGx7nRvilqveJAH3GY6HpU3OVZ9d7IuQpJizXmJEXnP0YaS888TSfxoHE4eJhcME
jXugak3Q0N+Rb6guc7hAYUeuhfSx37XLxWu5/Csm6MODFKiRHKSpHiyEmBmkLo9/5Lx9q9Xt1Xyp
e93tZERL08PMSehiwwBw8WoSIicjcI+lwc/I6KFdnr4U0jSV8QGYR2zRHOISJS05wt2TxS8NTZXy
VF8MGPPWIvrKaZnG0Ij5wlf+6pFBTdjvics+jV9NY34WnijF55q2Y9njaVOi0JyCeTBs3UsLzr5d
pEOhtQ6F0+JMkvHO2DpI8vm4vK8Lfa5YhbGpBOJUkz9xvE6lfmhe0CF/IiYLtbw984aqaLSgM88Q
szfIzLNqQJj/1EiSV1od3fV/RkO45x6MQ6mScSqx0KJ9KoBw3rLfZNq4PZ25QJC0lsGUaQzR69DR
HqqePvJcebSdfc/+dBJzrG3wrZSu0aj9Bv6cDCcPaGE8uUZ1V0U9MJ/Ma+WTXjLlnYN0pcUDBsqC
CDrzv3vyoY0UqJXizLEtDG/nzbPejBpL3HPawJvAoLV4Vkj3Q8WUwhxbns5eh8g95TefWb6qeED2
KhdB/WbdRkoUJV9vC6Zzk8AteobrFCXXmTtDtJ2e6Xe5Ps2BxcUds1Kc88NBn1HH4k3DsMRg3DTz
W0xuEAPtq2wsl8RPlsa1yBSAn3WoRgWTgfAwgCEdp9/iOyIysF/qG/aLJO+8hYfAI5FqUqZZW4Ak
SJPYywQoWnbSNafN/DQlzW4M1inSTYX39l2fI3BKRsouEl8HUgRauJnqfGZ+OCMNZcuKKHk5OaiF
bB3yjJEWj3bsgmz5Nrbkri89SYRYLITqVGP9r9uz4qiFDK4yD9uZROBRB5JT2AXe9LEBYFXp93HW
H3WChCIJohKbCtpThPup2yaMluWL2T/zpD3FKULdMr6tf7oYx9yhOvRd85xy8ckCAEYQtglGKGbU
vUzv5do8h3x8oRB8qG5CnZVkOCjc+h5XyZN19qGi5qLy7uVwqkgC7zFZ1mm4Zh2ylSNeSJYsy7WB
LAyNIWuvWR9d27m7bQtMPfhX/XPL5YuKlkeneSW0xkDOM3fPzIB7bvuiKt/WuboBrwbF1JLyCYZV
NV0Y5O7PUr8p+wysl88Ju1XoCMqSwb7g1SIBnHgkTBw3TXZlOrc9vBCl2mq4GNvrPz1AGj1nTMCy
W4eVLt3XTsUxVmDbkV21hxRcoHRhoEZeuVWxz3qtaO53Iz+MyuTYj7TtNY7WNOG3UlCjARLJCn8g
7bKdJVjGxwp9UIzgubdYaNPBZFc2KxepMM5tUZw7vI7b+kZEVMDk71Qsg7+vhEDkJQvfAikUc1hE
aHYPHUB4PC0aY0LNNrIfJBWyX99WLJLtO3HPfOTygiDQ3BM3et/oK84au+YbgNIrowbZ2oDRzVPR
6F3pq0WWbWpLsSOptqIVr303PZZvIFyNOF/VAQIiPpVRG4PRzEK5ItgnmQ6ToJGEmN70P/uga1ox
qTSdLzPk0nqdex3YiESZCeVdT6tTyn0VWHrLFnULJ6Tl88oYk4iw8S4UP1hOSKqQPXMgM29LTpEm
nQBFBZK2/yjoSYV37tke0ViNk3/TPmKC4vY4rgyOpK4wxxXX04pZDwp5jpWkE0VvSxiBIDIaRtoy
49HW6jkBIsqoWVsAo6kUD3wJgDWdtdcBb7mqneb4kP5RrQUD1wFLPa9ISY/UViusmPSDEe+ooNxm
6iY10IFLfzGYx12ln71mot1zis/9+yF2gFSCipA5KzZPKlzCHiY94w2K78jAMy7/SEhgq0x2yfzh
BO29uZQ846bORK8JCOLgVbH/8FixR49LSilhYbPoDrOGfRjim2turEQQ35J9sxQv+faSK8xj6d0Z
+deMsBPc9PsXHI1mm7H8msljJJ4QeKCC7bCGAFoGaQsNcGYJeFpM5aRP2ynVcObiQCONop+O8t5M
Kcmd6JKrIvcXYj+OMnkGtc5ctJecCkH+9s6fxYs1bQXIw+S1ZNlicIbFFOmRKOAK4s/Nna2m6k0i
yY+V4sS5IKMykjok4Nu/BuHTpPVnRV8vEiDhhk0aKThPCSx0keD91T05E+wYJ/+K3YjfBmtjqpea
H5Ce+JQt2CeG+LPQx08NYnu0gh9Pis+69rd1ebXs32zsQgCyTBZE9cZE/lZn5bWcGwTjx5rbl/cH
oSPv77VHk3qqP0Dunso/i7WdjPI7UST+ofxR4eDPh+QkRe85y+nBxLVnXpMZWJeFn99lzKQpTyX2
Gw4cv7jo2qUcJqBQTPEzcv1kzoE42IBKpMxyJwZNQrR4pCay2jWZ5qpX1H0jgeRMOMZiuYL3uZrp
cCkVthft627UpGIB0uaTvEUyiD0pFdWZjhjpZ67GRyulL3E2vfyuBz9Z84tgV0b2sYFyTSZoQKUO
B7p6N+ODregopAH3lqa7qRobSuMylWvAN1kBpodWHmAQA6EamXHLnmI/V9fhvjUd+781sPAu9Sxz
iMdES1z9pSsogUTFvzpSWp5sCcOWjOQLCXMJmwwa3WOct0dtYafJkiZPVEJSy94iFmzDhbHr4uRg
7RiH8fJyCjK0150sHSwrYUExHtLEvOpmdM4LYr+iPDBh2fH7MQ06b4QvfWn3gPhYkO/mSyoiYlhw
MI6IZ03AAS0By7VtvKabBTMIUCVq96E/GGfYjqkFiKaon1ZmPlYBoTCfNNPDqS1BDxuOgUT00CHV
ESYRqY6MTjIilwvdTpQwaai7AwkJsBMZkaf8qrHb2NszHwAkMtyANLDHax46t9Y7YkVq5l3YfrXy
qxXag/ZMpQeYf9gJizcuCRJeQJ2MWEngSJz0c0RaK7QoK4kTzufNbR5WK95VRBSbVJ6iMIuhdGFb
bTtnJKS96ltcayKwD8wrMVTPxpGZBo3ggNJAJINah4jdi2i1RVpGVb8mhnkzCvOO6zmLnktX2RVP
fi3duk3eQFy/sWfU1fG9KLN3TDWNNIbthuXrnjQdIvi3iVVYqqn+jMopIpZAK7+rFmFqU3gqENs6
bBmFLmCLm/FhEr0kajL6dNDKrokSF3EIYu6RAz8ne2dQ3bEdnEgifAgigCF3V3a4cnpKRa6GcGLX
laULR1NqL116BtVzyUg87lOFuWd/Jqg+nGRc4HzXQozBwLVBxMcwE14rdQadFTNXZIicWS5GEO76
OsT/TOzbciaSopFJ44gZGkBOIZFrYxhm+ALJWoAZTppYUBiRoQcPKHb9LNVPe4btsJH5pp8KHlpM
tNDMvE1+0xXsSDPEVkaGES66FT1WcQIq7/9opwGhO0HUzeCW048J/yHjuJExGCCr37TEmUXUFNTN
6D6LlyUvfdzirGztCIO4srh6D6MnhqC5nZjBcncmtHXKucfkkRrEGGDREoJ4S1xTUR02DO8CxtIY
hUHWku8RLWf0xwqSwFL2CJfUGhRireyjmzlFUX9ScjoFysNGs5VhJfCBWilDbkZuSfW2wZlgu0T0
mg5ARDmZ63qapgtJCpd1ay4dERjDQBRBlZ7Hkb+oKHcVfWA0vqeQNKwKyvILzv/zzBciNb7MChVy
7yi96rKGnEpMusLoEtvtZjLnO/0IxptTQkbDuBG4A4xuiZ11yahVFCQ2dahDdTNuC2MtbJuz5ls3
PSNwdsUzVByNGzuEsH6XLflyWSzhMmN0GTG6FDU0CDFj/hBsbQqRrb9IzFzYSPRNbkuk6BlzHg54
VIWDhlnPuazc1VDhcOyqOHanRT71RENIkPUmJswWa3+MZtqZgQQ4e/YTxJ/LEyls61dLDs1MtN3A
2zvPXOUhgqH5BRQMEZ3lascEnhgitELBJDKEu6XRA2udwyTuzlkMFg+avdFzl2/O0upH1SI+loyz
Ub9bjcF08r3qNVJIID+0qJEldC70XUzP/x9T57XjOnZt0S8iwBxeSYqiSOWSKr0QJxVzzvx6DzVw
gYvuYxtud5+yRO69wpxjFgjX+04hbMRirg5vFzYgulE3Iq5+4G4x72RHUu85Rbx6isTfgLGiLm6l
CpBruqzpV5ZNJ5WUb3YRD2uGm2XcR4HdkrDSyzJX+z36VMKjGm7sVUTyv3sJZ4f7V6mfKWvqjcAR
9ASNAkNKJqD++GHwY+A62E8/FR4kUUfLham9xLtVSAM2JrKkZZzx27fQYBKlssjaK9nqbksnxbzS
2xB6GGiSCFrxNiLFUPuUxVHdckIKb/TFGMSwzoIA2jCF1IUSCpZ8VMO3TVgBAprckPoZjFi70FrL
H42TX4oWv2hIj4RM1chfHMIyZOIezYCAyHXEYYlqxxSac6N1WNuG81gjTTUFvs2HMjJzuxtfVjY8
lKiiqT6XbXpvVek62qzsAVO+eN6IX16RdIyH0xqgxHwbMrDyQnVjTlecwEh8ZO246+AIbacWDZzW
/UKJsxv2NYV47kuR6Lfku+WqdIBhlbTzNWl/vYBWpXWzuu24xAOaEEqQflP3G9pYJDH7zdC4R9jO
WhIGoJUZOfCABrPbRBRbzasdPVYydyQWhNp0g/KiJrQ5j8hydR0Yq/lVDKZdFMZOg8/DeouolcaD
gMElqJ5NqIfG3HDKH2PxyWZ0getPcW+UoueGKP8RShOAnBnnSV2vwljdBY7Wz5I3WE6URwXlZ4KB
WNXdu4f5iIq1/eQxIn7qWM+ya8UQ+rbKN0+sUEuG7uWyfz9xNRQWYUGsxRD1aXb0nLWMZdfXZMLq
fdFkCU1uCE3u4sav19WfyYjoeBsHi2QbwsLET0/6FDkAODjHjm0+Z0BtJGc9+JZ67d1AFzZU0kMW
o2MmPNPu36p1bv+C9o/sBWsu7Wy4VEt3Vs8D4K/QenSywAVIXGCsQPnHuMvFXSHaFVw/6xWSnuZD
DSejQTtWSQgBNOSS38nqYGCdsfFnCQDI7gVwZta5M6r4Jqo8PlN5lfKdZuKZWqaHDtZZQA6gLfoj
NzbCfYsacET7lknWvcR8rMZnNC6mnF2kmV6uy3PeNpSxaIRGANTREOOXif1uROGq81Cwrm95Efdm
imKZsNdatphS/m0r6MmOPs6+bKW+QYWTLuVrhqX8le8xSiEyA4+Y684ppgsL1DmIRDagBoCM+HcC
JLnRS1+NeeURjdbdEcb6TAZ5a3IYMS1GmN1aHlxHfw7mnr9K+7x8d8DoAeLtiazb0gpn8HaOWHdP
RKDrQ3upDnKgg6M5yWe5HBjBAUkjO0HIwoamojePIkNyWz0lMiM1M/Yzlmtv0NFg7UTl2SScde5Y
42nhqDd4t9ACQQdNgbya30KUu6OJCpqdon7TOa4mRWZpBQfXhh074TOXqpvUi8TVQO2HQz6FW431
elDO5U/LxnQS33A+Tuu9mJZrZI1nB9Pj9gtYAtUXm0W8eUVjw/UcMs5g3BslWLxRwwHMYHwcyX5U
91jZ/NX4Zkzi6uxYKcCMbg1mtuwmG1AHnUUKEYg1Q+IxjLk2WwP8alePRhglJMXiatYSglDf4wO0
qzL1BWLtdDWzi2wgp/vadYZNVWI326n/BCLNqlZAmmqvPCqW3wrGQUAw3B3TcQFchZmM6PGPnsfi
LZbf04OKplT3PpZAXZCJk/Zobotd4TpoqDOq99RCvidXDzY6S4mI2CtAGQiYFwZcGpPEhTNiERCC
PlrcFfT7ShpbFyzvqAYUIrRbZAiN06hkrjGnM9gcYEFGzyhA7iwYJY9Z6fW5tWsHkZeh3a3Wnzjh
h3TnXPHH2dgruuJbvXjoxikwc3SY5reaEJ0MIqi4ZSLNPIFmfHohvq1wDbunhESgHplE5w8pt/wc
9Yt562P9asTidU1HOpqn8TXbwpj7Ewls2ZQ/atN6kxsWreSj0P9dMYtKqXobDXzoLBtlKJconNku
CP4CeWsE/Z8DmWbY5iOQBNafLUYgY3hEqc6mRQUtByxfuoMYDo3kndadtHlY7AvK4JPe26PdxSzE
CDd0TObQKqGh4sx4MeYNeRPv83zMM/ah3CsP/CUI8zQycRS+GbtS1zPMlKM8E36TtRfYqkyyeoCt
nI39bkyI72PygfZA3M2OJXqrpe9HgQuZsVpKij1pg+ROzfN3Jyg2Ud+QCEEg/9WaGjy7Z4B0kAQv
eurig5bNWdrFK3ilze/qT656vUiGsFaH4s1o8dZk85lKpuz1U0P5nI+HSp7tBTVBRm2YZ49ti9Fd
0k5icV7EGhEsijpiWpUaiAqYJBTqknLtomYXE3DSERejiO9yx4tJfENM6phZkSZLNjiwN2m9SvWC
RiYCD0ZiVNe6qnVomYlq+DV0U8drlPt5iW7djUFu1YfnDvioC4sNM2LmWnn3CgJBGpDWOFDgy3Am
jzUjVZkXhBjfNgU0mqQhZ6COJpLIEoJeLkK+XOZ1wCqG7RgQY7GdJLC5M5YiXFOEm6UjaAa29fLR
thcHjaWnzoq7zh8CXBBkLWVqK2p6qd4VHO0Lvmy8xnuZmojvgiQGavqNmp48Nv5Ul/bQ59LJQE0N
H3Cx1QhG3DPJH9A9yZfsYUzot9J5seZ4P8D+egbB078GvE92wSeIRj7eLUb7gbb6g6LrvUpZh2hX
ha2aQqpGwwKvGIeATTEZiO+0maZSBCn8jyxz5vFQaqwEYgoSjai90o5i+cDugHQ5+Pe0crof6yYS
/9wTAC9RWGiBSJB95vYdtrXhWg6RI/aI+glnhPqREEXlZG8s7a8oo685NCz2pnKJ0C0LwYxEgp0k
dr3PDOGujtpd1vt7Oj962Qitsy7XnmZ+zVCK+D0MuQnlHB3EtIsecs/8MXKoexRurBQvSQ05MsUn
RGP+Ih21lnIdq/xa56T58SOt7BVnXHdJAKv6oyFsCKYFYQHYXBSlAwa1M/++fnY5pcXWbxXJYswM
xCumMuM11m7tyLUUhjDjzlAOJL7088PEfk0uMxLj2K80BDXkz+4bnkagYL2iUeaydCPRp8A9BWe1
zbDRs5is+M0Mp8A7PpOn09v5DP4DGg75pOz0Kwd6PzALbyAHWGM5QDZEz6dissllfn9FdZYhYeiJ
zfKU4rRtd2XMwpLDR1R5rivUfP+a312z7efMzYkftApmnyIpbMelUw+ktaWnqq5wIYOXja13afmj
6NJVY1RJmlOOovnV9b3FbX4vlfNAMWgCcVBhme1jDVQWb7a41xlDj9zrn/PXSPaBUR6mfPP/NJi6
yU3JUKTypHU1bxy5EEYojuQfLiTfsYmu+GFlZhPxH2NV+dhsVJgYlG0R+upfBc8PSFtTxxR5kkXF
aZXzRtZhkoEGUiykxSfQy8Rf2cJLfAdWjOOXHQwgzBmPvAGUrZXYrUPmwG+OXt98QPx+dNF6ZzYo
Ems/gXg6dFHqmYxV/70kh2RP0P1XA1iMxuuQArcLEVr6DkrmjpyCsoIIxYTAlfCL6e166pgtpZyB
KTEn7mAoOHCB7nO2thEUEBaiMU46MKheqdaUw9u921wxIfbGKgJVIpGRV4xZfMxNylNubmOYaoR6
YGBMh8uUlOdWiU8GSzrmzlG6U84qm1XmXBFaw5lzkmy+Sd1znh1Q3PrrBmBN6BlAMsGoPIPLsF64
Gklfa3S0wZ1vUiaYkxJoJDWKf2QhDiVhA80DuuPYaKx5D3K/Iz+ZQ8M18kAjQ0FBoJ9YZA7y648g
Q2ibD8Tw4nwBAowXzeDLHxnvfWxW+Cc6rozWGN1nIFH2cmOvGQTqRjqQ3Fgtthaz6wz5jqNpR/dN
2cr/lLVp1OVovo7GJB16Su5ZxAu6ibwI4TZcDVxXqWX6CQ66js9h6M9TkYUYkQPFeBM7iQcMlGY7
+h3XyT+zkB8psI5qutRUz/q2PNLa6UZAyjkLEHRWmMgrbmyDT+5VKh8Mq7kV0XJVDJu976bMuLLo
NfixdHk3Eo1G/g2B8J8Rk2DzEcc+W6qzNqYosJzBz+GH8JVbDg/VZNpLO17XPL+VAHwKQv6S+NY+
xTm+6uSMTusR7xvLVmz0uYMgD3s6WVGtigSy5Q5nktex8YJdvfyZIqe2Ihi1eTgbXaCSa7gA+hq9
a7+wNE9uo8y3TfU/59NZivCCH+oJs+KmIMFEpEfeyHKJoPLE4qPH8DCQxzBW7U5phhPWGj7+I26k
6q2tLF8mSI6Y0gMf4qEw4fZFF2GJLsgCLkJVnnP8J6X92lNAt4KPi7uKz7HIjD0LCkRK/Z5Eb6Y4
B3Q02hWMrRO5kUEm4Iv1jXoWuRyx3H38gtPjij8Rpux20k5n+KBvtF7GW60nbw0+UxphBvsV1xLp
LSnD4+EK9DgjpOyljf9ncvrzFwP5C4Bt3wZbJx0mW3z1OzM+dKcha7bD+oC/4oXNXmpyz4ibrUzc
avUEd9WESMyz+7QSNDeMsGpXyHovsQi//dBocggW6fYjyJurWZB3hM+RMmPFuwP/dQN/kBxfGNSy
XR1G0wzG6z73F4WZsi/06b3Qi1tfx1hbzfOchocI705HwBWbSYMjgEmJmXhiBtC1yc9prqOIvmbL
cVIIoISk04cg8fyJ47kSyEv/M2BRrXguVgL3EMldZ5VcHHO5dYxrCUI0Up+Vt8yGvcQeGQuML5yF
b2wCXC3cRdr/UrgXJFWt4RZ6OTSIZPX1XgrqE1+sX58aVmViNR5quAkCTEvuGn8URV/se5+BLmNK
JDIeq1pgtofY1rQONzvLJ0LQjEyzO/YerFLOnL769mlq10OuvHQ5RigA542gbjeXzBLwzmege8TT
hkoFa2e65xNYh+VB9ZYwCeEe0iFWvsTVtgDE7yHsNHypZnTqpndNG0mj4HifITXrOWNgl+wdrj2q
kYGD3XjwZfGkoaGiKfL0Rdy9vi69/6LizBKs2Rw3pQKcEnvCQgPybRmoL9F/mnseSQtbEIa2Vn1b
UuUxtuKzTdN3JdhqLZhQWmG0zLFbYBFEAa7V+kmnLN74/4D0o53CAQLIuCiuoEHExwBeYQCfu3Qv
A/WwhO3cKcoZubwwvYta+V4Cd5sm7vaNNeMyn9G2TSmgmsa4xkVxoXazXkVvvJPB/2VI1MTkmG0j
/mdUZnCTUo0RqTuDnY6Jq2vkmHUBqix4HZndMuvn30pN3bUYwGYMYGTquFUHogYDXKRHuw7qQHlc
t7+RhUiSsLvEgBatq2f1t8iKWISIvlYdBMXJL9hbY0aepDvGsLhob7qkvRVF/Fgj902yOJiliFFY
x6JVomi6lFHswdF9hc+wUzbyPhDcRKvvyZbfs9qxKHHY2Y8cVzUtu8BsZGzJJSLZkgl7dp2hAars
YXDcQSkk4oZdLMCcufbVsvPXD3NDtUWfP+dMdqjF+C+rZyvOUNLnFxLXTwzwfptLaCfOBI27pEk4
ZjjeKdJTZcef3belUjSWhMJhPSVpu6Z76G9kd8OosiMSG7vcMWc0kmZxgYaXQ4GNGhmywY8xq6St
xvf4pZ6YfRR7vsoir5WffY/WGY+lrgKEnHyNm0KCsrzwRJJQ71Y517WcXts383dcooQch1M+467c
RSreJTbuBNIJjJFTPExIgZtO90XqvPjQqtMHo7DPTNo+qYUz9Q2i7dGitCbKzGDeQ9BYPoCE4Rfe
tMVR1oF0N2wiMyEV232qt7cy5jlJs52lLFCtcdK1t0jxcfyc/Oap1JM/m4Mv8eEZE/ye0TWj5ibz
EjMm7F9spPQyZOfi1GvCHZjrQO9gaNVzMYU3NfFAAJkL+YxDZY99eZKk9WRkuqsyQ9Ea+oTuo6pk
dyywuVgqi7PaXpA+X8V2J0/JYdroL5qFrS8laE8KNgLoGQH0kEOBhqH6MrnVCZLxJd7L3WKn1XJO
X9cQ2wZpdqZ43a8ivAGO1YTPG/UD2xiEGxrz1sr8j9hUsswlgCvVG7wYeiBttGgOY62GThMZ/opN
AyTKLseoLfEbtsSXiOklNmYSAEy3tuZd/2OIymViJnNv0MBzcK/cuTrQcbEZzgtlmFHjhTRM72f+
ndbSm8ExCV8gvkhq7eHY1FlQM9RTMvPa/RvJidt4ENajuuSBTEM0o7hkULEgipx0u5RJnUjpawwD
TRcxEmhFa2TjkmqE4+++Yderm3BcNQDm9MoiDkv5lwz0SeFiMWtzV/6ewKzHgx0xJjwIx+4ptr1n
lL+ZRNh1Whx6TfN56B3z05qKsyZzltWsCVvgjCUhXAXgnTKktEaSGsz5C7ISbZD4s9TXyIXX8eS2
no6BVFDUIN/msGZPwc13xCWkQzK+xH8i/mrn4GIIpeQtwfejmfKx5KHnk9A/VI6MPKXEUNdDuxGc
7A5bc1mV57D07+7bQBLq+lHhRCevFdFshW25v/URM51/BMQRTTCI66mOlNMiE9vLIttCbbM8Y3KY
qoS3Yik4aMOxllxhblH4wEyH+oCRDjYnpJmxYM9OXZUg3kcIWPfhnNcEsIze1n5LmmULD2MW9zmG
j78mfmb5mBJEnmdxqMjCoS/tzWgJPcKl4Pw1iWtv0g0NjHR8mS/OqTx8Is/5kFF6YaDb6y9VtbMr
ZLxcu12JQDk5ZRZkuk/9NeyRbelnNVvUXY1UPOK/5zGO9zqzMhNd1Gr9HgHLTC8+yuQ1rDx6GLbt
fxu9qCb5l/qzsQbOfsMD+owrcycWlpdm7KNbphgIQ1Cio5iRYRyiG4cBBaKMoOZI2omqT6kDwWXy
ZTKCm1POv4r95gtfU2uPBd1qNx6yUjzgLbMtMhD7xTjUc3QQyXEYibvGNkbxmcgn351K68Sa4LSZ
8akelqMPWh1Ul5Qp+FvbPU59DAS7WNrNWnlQdXp7thBpR1IYC0KxX44kakP34R0A+p9prSuIXmZq
bgjkr9bPCjcMLWQJZq2a7R89McARznuNZ43itQ/bJHHLbdupd+wKaFjP1P4fRJdY7pIOH3/p0Xkh
x485VEiPTSLhEA3GQeemaWJoEseNyVSuXuCFjgVAPwpFUYm9QZN3GqmeL8/myxCLntTthH0lhiXN
H/FwBSzGGTvsXN8VhgNgvhsdkRjLbjMnaTYMmbBJpLUVI/mHP0yn7Rw7nP6OTYaXi+muacFTqC8M
KugyRz87aDLhUYTcRebITFc+dKSC1fD/embIogJm56AL1+5ouJMwBiDPX2vVVHoOE2I1dP0q4z62
GRVJsb0ueuZ6QpR2KDRzV1d/ge7xGM2RV0b0M4mGcoZyNQoihuPb3B2pSQqCpXU8Y8ilAQqIwTTa
GikmCytZlcsKjZqnlSgSRyw+/M1NW/qGHeKZVzH8uQv/zKopfeTffFugkqry0FtAaDWQ49gN4JGr
AVgVAGc6AiUvLpJHNCWfRi58yPX2YSrGe4kbpyNLO022h1ASKDo53SPLCpRcOND4+Yg1anCkwNHt
9ek001aArrGYtjDuKqfkWq3CJYKdU+bLFQ3D1fgUHTKvA26gbdP8vtECrtcgH2byoe4xtn+rK4Js
0GhjCdQznM2VHcmC/w4CJcWWAB53YtwtAduRU48LfWvdKWc2xNYxguA0rGkgqSbfK5kTClDC9UtK
kuPwVgfpUJ/XVQo6Y7pGyaXPP/+7lawS8Mo5BhvCKFFWsiPX0rUeFUj6kMte6TzZTrJyV2ldkV3u
yi53RIpuIUWvYKNX5BjwYwByZOyxfKobrDKOv8WxIMtJVew2Au2FIKG8LEFWOVkL6u31B0lCJOoF
LtMlmRXP9oeoQ5cG2Sf6wYcKC0Fq+wOpR/nV0RcUQnZrIxq4BHrbZF62tbg0KwvQJnG6vGdPf99w
B7SkSbIFKlgRAmCFGWi5JUBAqflDLjQlWMhcLJAV1tliGrak1sWlIwnMCrOKeelwVavuOuAOyuL5
BMU3kuuLiW53XZHWPoYICEKang1DOS5t2KsEZToNeIUgI/KgogBnFoRnZyqVXcvWvcW3Y6U/DaAM
MqYBkFasoNah9zLANuWG1MwkZR5Vo64j0wXSqSGymPI/ecMiXg4EdQ1nWQllHMXAtjWc9ct/SAKt
s9FwWgKkExAJQtCw5WgJpyvYcEj8avA85jraPQLIIDpMBeBK7Vghx05FMYScIWQzuxZykXvLkadP
xBp7C1RIPDFQT5GPYPQrMGAnAfzXQIAvaU0HMOPHQcpP7UQK11Cel3k6+0mwNWwyNnwuo6vNargI
XPRi7rYr+kk0bSqZ43RRQUQNbRAQtQpEuOVwHUfax5FaybAcLYN0XrYHzJAzWAvb9C15Zv7d1TVD
UxP47AxycKcxsWHym3FasxkJaJvldXB6Gcd6v2DwUs79aFzgg16ygdTLGeJc2Yf5poRZmR3JqwGB
5fC5H8u+CmmnQpnwj5LwD0fduiMq8aOoM2gkhq6WUQF7wku7nWSXtFvPXYeFDIdmv2JTtRil92Gs
jEGBhLb2dZmw96Fi1RUfJktx1pVgpAjbhwWKVjDC4VR9i0Z61iL5DD73Avt7bxApUDnSgGl4ju9W
yvrdIdr6xvhwDGdmLv9hQMX4SC5ZeEP5q7KaqDqa26j1SGHP4tGJucLSfNjJaLt0tF36c3TamRPE
lwDFxyG+MLelmEyWT2CTLtzMXblB8b+o4G7G7xx7YFSgoXcHzR2eCWqs7iFb41Ns2veIoF6RMmYN
07eB3e2iEmKHfNxeWPzym4ZJU4epVIbC4MYQq2LGASlVYC4onqyj5GRBbaBVaygBMaPvwrV2B5gP
FcwHNZNcbPAQMHbb1yAnl9jCC1IxKYiPGeuLBFjr/MpY2HxZqA+6hoZ/jw3rRkSWQL87eOD2SICp
mmyXJ06qW1i0nIKHQGq18/RpsOV2kLnx3g+Vp56Y/1XPDumb3P9ab1RBse5Xf2q1cBsCyHI0TD0B
ZAKmA4RzCFEMJ2HMB9NIJV6S2wielckscIZu8MJQpDi8xYsElCaHRr4MQaIzlvhA29WbxjGKkPNY
DxnLS1PLgQzHGqWIrjCko+4mFtURKAzBvWtkDxfypS06xoFuqUSIxFvCQmRPt6gjysbeIqDuSI0T
4NDdxCgE+AjkALPBO8C0UDTtfAUPx5jYTLkccXwyEmQhQTSIcMw5rJc3sn76Tr5JGVklS/9UKEqr
iP5UNh8iGeLkOwXth0bV3jGMhumy0xmnVXLvojbdokBmjMWde5WM7mY0toa4ER9r/ZTM+oiuOdz0
joPZVtkT6Gq6azrk221OeMh2YXxDQokXGVIApyGRo+vkzY7A3W+QGziagycQa/OZosGyT69Im9Gd
u9+Kkh9mWTxgjKbVJp2Ko1VUgrIzQbSm4bcYqH1y/9Qn/e6CYZMfC9XydtJahBlFdNIE4dTL8uvq
p9eTTp3SnhTdPNbnrcfCvu3KO//3cF4qRRSM67MUrkRtvPWQrruUy2uU1pCZxs+ocaPBYKnf6Q6t
rLtq8XZVMIOqw28Dtw+0vE/SNz8KdI3z8JlWNNl9vK/lBr3Expol4lwiCJabSMo3W2Ghubl9/2m2
JrZjOpY/4JT9HjOwtf8Y+N11EyQ4nG1C5vYS++oYxB4ROU5bfHeaamuUke1hUAHO37tfGbAmyaFb
EaQzIguyHIQqextE69YImqOypI4JpFO07UQSS1jNArj5JYhhfjGdMvlnM2o3DSwf9SGV1YOJri6r
er4mibSF/AKy6lWAM8bj6e1oYEzchkZAzoygx+DVtJOBvrHo81OSb8ciIuSorNzVFOwpWQNz56pQ
2FwCrVPWOcPIMVQC5SCgGjkuIMBhtNdl914gM8eV4r+LCI+8eCXki+Fn0eBe17CGJy8QHrC6avCI
tc8wbWs1/tPpODriWR/eYUZU0ltPykmM9KZn6vUj3phmUqugAKwTyVVr5NDyXhGYF3yjzQXRz628
Y0MYdwe0TkHnkhhCDpJGnNXYpO5knZaK+djeHY3By5CD6HA4GGXZEaEoKsr3GFO31ZEE5Hwag+AO
Sb5bKaEhMmxZTco3AgGQl+vsR+cXwcU45uyyIscvmZNa7gAEA2tpUDAWqIdzSdyZm5z62Aoq4sMo
TI2YGYlAEBM4Oo6AwmguY0NsVNzch3h6I6A7N69rQqIek/LV7p5dx488fym82QJvtjJCJkWxGwvg
4dGBZbB8dZGqkGk+mtNx/MfCBi64FGw8lPD0BWSq9PDajMJzl15FC/U9Ueh0ygUfMr6PtR1PfQWT
WdwIpzXCHg/XuIAwWwSfnceSe+jwvLRliV9DoMsIMuLhini4Kh6unIercbZNeVuz6ApJXlqzpzye
eb41IkeBGrYWMuzyZijJSeKyRXjtDj8SRzrl/vpJSDxGtBq4ARlAeMlFGC5gBWZX+inav7MigZ2m
pM9TUKeqK5B/bSOHjk6Wgnhjj1PY/ooIStH6HYopGU8w4/RDch9+EvZh1XvPP86NEWNOEk1IhopA
CZvmaqDuyZsojPg19VqILgggl1FkbwtsYnY5eXUupxHNposx0CIAmoNJlYnoIVxFU+WnKJRPuGP6
n3LEiLfnElU63c1WNC4x4TODRjzldjTYtZs0L0tlIFbRLltEBpzyM8llMOSYlgbh1r2jhHkuaJmB
lDwmBccLrjpV+9frZNvXxlWV+gsK73HGW2R5nQAzEHqpWLpyku4NS9zHwFbNTPPZJ5X6oeTeH0sG
TgBao3EmQUgOmwKyLDOd9E3+aPU5QA0tBaXgvAkqarZ1ctVXB84ATkRiR84dymdzTc91URMVgMw/
utN5MTjD0xulvvLa+rCkwAvK2m32pq8a/dlg5PAgPmMMfjMGv9Eh+UY/JpV2zn9GovtaovuWVQdk
QkIVkPEEzmQ/oK3WD/pNKV7ZOQCK7ChzNPmlQOvfYhLiTOVai3abyLfJnLCQAYM0iB4C/mEeCsRf
NQEtVUllhCJdbMl/0bV7KUW3CZSCKj2BwCAPNF/C+yg+13F7tsbpXG/DuUVS+XqJtx5BBkZ6zCZ+
yaWMuAYjrJL8LNJEgIKCB+nc4vDoX7Gp4BHa/xAJVb5Szs/7JiNEaZmgW/YEFrYvNpmSaLuYBbDw
dzYrnDsOf3AmjKYWJKe/1HgZQ40ZyYGSFuCUo4DaqmxMnrbhzOJeZNHUclYqX5H0y3BvSDaT58Js
VwUKUjKCUOfKizBdXTfMxSb78JGFdJlxKySOdLAkROq4pXVCBptPV0S2Tf+06z61HqfUSNMHEGRi
lZST/dkvXv4+sWQWLovG1a04i8Dq0MxvUqHcRNqO3GCzEZwUDMWtsOvI0uZ+Z4aDI4rqyaq4qU+i
qB/dwbOUu9AjJzvRlRvtVT+ddCi4zK+n+ahYwylLgA3Ae9GnZ92Bg7R6p+yT6wqiFvTpNXtEehNY
LZwEzECjbh1Op1lUiKapj+uueYi44puEiA673uH4SRfJm9c7klDEDBoWa/m+fGmsZwqW+cqj9iUs
ITDZ3VDfZdiK4EKcFgZCq1bAg83fMvgJy9JTvU1+yhh6pvST1MaPMMd0AFdnG6h3kRBwooADWTjY
javMUHpj/lkTBamyHCo0bC+/Ixzccqi3GdQfDYIBGbEvj7Hg61PhiyM4NtRDcbJdJrP5nBIGwKN+
HiPlHR2zMFxRujFEwkTRDedobE7JPsTuYOD2H3B+oGBCegAb3LLCcp1O0sV8Qpzy8rpwzPJvIsGf
EY09T1Ah7V3YDc0Nse8Ot2ZTDA+Jp8Y4JQOeBaKaTGELtDQNcw93BaaD4fTKoHMsBC/x1ttyq++0
cnmq6/aOTfjDET/QPoZdsoZQgGhxltBvKils2xkDJRsntoRtHYO1aQtEAgX9omiQzBxR01EFY+Ib
K49W6COZuHyULlAoigGoCuC9/g/0P2qhhGCShgivUwLJ/yU902qTzqDbV5oTITtSdCosnfRq8VEA
LorIzMr60xItZ5fRBGkB2SstAKFgShBoU9srBLA4XmxxiwlcaALQqUHGw14tvkLy8+cLOvtN66fI
PSIdVEVCdNDSo6KMiBjmEOHmDOoEmKOP7II9guJNTD0KGaayw5pxH9XjR7XgeyBHDR+chB24hbIs
mfdsVllUcH5Q0YzU6L/ISdsG0y8NyzcTw08b1c/pKcg1StWvDPRlNlvnJCkI4gCxDJvfzE6YQY8L
2l0S/hyebT+f9EPnbmSWO7NT72IREANJT9JLbMlnIBLBYRrogoT5xj7kjlnWU9TN3bxZDhZQzjXx
1UguiHuIg3Un4mxEL4DCQkABu1YSObTa/jP9ZfIfX7VwOxw7stZLPKObd5JlMljTyhMJr6RrR6Sz
zxP5OoDT05nzFJJ6qQtokxb9xbaxHy3msBgQiJPqWodZHl8hCrhGErsJhWDn0teU5YfwNXYJ82Vz
j7ZfQNJeSgawJ8VPl5mREJJPrEhkSChffcJKmCNUxFSKuIlwB1JYak9GtEfD4MgL9Dq09saKoX12
ozS5DJtyjGG+jOgAZ8bijDxGlvGP4VfXrc/oU4nAmQrgpxuuOibaWUWeXRJa83tqaPvEE+Rujzdp
L4IVE3LoZlZKHKFBEi1NuQEwbXVFQMLWjgWwCAEtNwg5j3g+8s2rpopJJa0PjRJ2Kof5qIbKYKp8
JSFqTmCMUpjEy+9SYFjgWskOIAC+cI0uOxz1ixR95AeGgMwuKFoMRDFzXJ1WLz+khvq08qCoNIRg
xrOHSRx/SD+jkAMVLABMIWlqFhJ30rBArf6f2zviK9+2w/woN+UW9+JlXMeTub0neHid1pul3kaV
WTLLMsDmpl3L6s2448XGVXQvh/ZZysV7Ykjv1TN/U+Uh+HmrTWnXtyDbGNTN6ergfRL76Bbl8m0w
s1uMfoX+X2oHj9g1jzZ3QihcCOp/8+zx/82zLV+8rwpva4rMP3VfazD5O3sZXVVrJqQmOg1wAkGL
tv8j6syWHNWyJPpDjRnz8CohAQI0xpgvWOaNvMzzzNf3orrM+iHMqqv6VmWGBOds3+7LyxYOI/A1
ntH98JpkGTF24vKcBYUsBS3fPhYnWbS8OiF61S1KEGzBuPispy0MJ5tNvNcU6XktQCLrvLUpFqTv
J4L6XeVB24zBUOrBkiZht0DaTGrgwTUpSegi2AXT7VpECkKkx1N0G5rpKjcGT2ga/mDnWrgg/VlF
Lv0/boQwYrHYmTgechwg24zXnhChxc21n4+5AfdNaMkJUfHICn3pHPqfzgXBwmL2ZjSiFjsE1Qtu
hhNDw7SifZfb+L5ba/TxKdUwq9XuQdJ34ahbB1oOWp6njN4kAN/H0u/4xqCX1xQgR+1kWxqKB9fR
YnAi0TgNSY2YYlSonCAGOr5fyvDMW/U1ngoTVNRqvBlN9x5lXpF0j/jZURiS5qREk/mj/2063Ugz
5iW/DslpaoLj9ECDP+UwqUYxGBoIVcTaikk7y1bJw7I5i8ijLWOBq4JGJwcDjm5WyNW0Q4hnCHAy
sH7oQmVCLZakHuNCv6gDa66uJiNGx8Tc+RPCU1k8TEQnxfrYZN4tneU3pOWL7WvAoFYcu1+ziiLb
6740boHOEjimZoRNZsGYWxrFu7FJ76WhvBuz9L5N4dqlHOHb21Arr7wIGymDePxZ8BDLK5kpUvaN
/EoW5DQSmebT4tK24Mls4NdDB9c5vEAy0TiMxa+j29jQjhaSp6Ydx89h4qJJD3obPSgyDhoOauJb
VMORsU3wHLGr/U/GtslYzlHIkyKPEbTDgLk0SJ6oE7TObeBJoJQN39FvDNOntvxhqWdbJPhUT+Am
wp2JxTGgv3DkujhyXdR2L0/PX7jN+bsPQaIu/rC73VTZQxa8Q3bHRRj0iKjwpcfhnqypN7M7J7o7
GKxRFNuSYcGSgdPRtdKIvqdzS6NYyNvw2+Y/zpPEo8rEbTXSYe1ZOG8ETmDcWJHoK9FyqV3k9HO6
3DSUrEWmpfq8PkrKNEcTLzWoyb0voVmcijdehNNlE2LXesUVZNxaeYIBoU6b+cPrttSTtMW1lW8Z
Morm7TUrWvOepYLPyF498E/d8z66kRPSou5udtVtQpMyJFYT2I5MYh4D7kfc2LDQgGNxE2CZSQea
QjwDGYhqSI0E70yEhOWwwCb/Q3kNXKJ+lVDZ0Uzzvf020Gsq+qozFqfzpPCLouJUFo8iFUUZnu9t
qAiIY1VvlVNfxFQf8ZeE70Y/HuZX47dGcba5SLe+xF5iBkJuhtMZ0FUGr33KzgMBwt17rePWb44r
9qxlVnyxGAKtOFbjsTZYQCfH9t+VroiF8NwAzpDUAxIpV1yE8t4WBV4kCo4X1BwWKZcWM/CMVqBB
njGhzghc/vGSV1DkhTjcxQkjNQ5WlOHJyQKQgPzPxb7189DYk4J7JaCK8Mo9603gXM0JSkr3Hrz8
vifixkBCQrL7Skcs0e2O7nJLGp0x/cwRUljuzRes+/ToCKC7yL603bnZ2qvx6k+buYGij70cgkAt
K160Hg1xAZBT+YKeO3PL1CFbjwrEdU2IKPEllhPzyHDx8zs+fucAV6PMPEiXIV0ebaU8klZ7DLX0
WO3TFGc3NXaKxXqczC+1r4PieWKD4Cfy5KMcszzxZWm5ML0AZY7UQAIBvpRN2KaqH/lqIGBw2gAf
F512InJxrrDnlTvAC5xQgQa00EJ8OFYVqZSYPqsFBjCXgq57U3MpKFYyBCdtna/xMGK+bYP+DsAr
HRnGyMxotZPM6IxyeqJsqTusPdVRkN7mBamLSD5KM/Wtg2eRIBL0+QAQagbFdZCH0cF1j45gsR/K
3QTG28SMEkuzKzGjYHtSWLxU7JT5YFONmzZBeSWzSWS6rVoBTQfmUOOh/9uAxI8obZzZmdbSben6
x8jRPsj5m5XX7yqmDKvJz+IfvZVeg2a81lXjZ3azbDx2ZvIStvqpmsMjjtt7cZxxUyc7ZMj4MNTW
TrmZo/+62dFig/3ZdlgJWMHlWmTXsWTXA3C3McMhLdv1Bjqxw5/h4D1QklfJdLJEIG5FbiLWidxH
jZ9PGPQP5IcPXFoTkUSK1j4abD5WRt9E0pxUy5aJzs/KLY6FQPkx3jqCbxoUlLVxEhIbvAKQ+5b7
3NGPvB1NGhE+pHualPc2mq/b3RRZqRjcJViOLOK/EuSMdg+sNsoJs4WeHRGu5Uf5L1ngl1rd8X7A
Qp30ieZ0KnAbIuWYMlKY4o35oXGlW/uRLXuDTXdP2mdHPjuYXv1FOeypkbmkNGEgvjYBZOXCDlEo
lfoLHhGONcVPWHnXZX+YNuYVXSOYUR7ky4T/KftLkJJsI2up1esS4W1GoGMbSmvtXYgg8nfxnfDz
O9UqGFygGRQKW8Cz2UcuyT+XauR90/WIVOneUGXAByaSpoCyQR2S0UyUk+i7xhplX7Uv4KwAN1O5
nbH4mpoAd52hgvBfD4Wxsvnn9ZPyPdP5i/reG0+Bu8e2iVgpzdAIfKgfOFt9eiWM9JJYMkFTeW2f
ibrdh0K/VmIc0mfASPq3zcyLnR/SHOzYYZXlsLWiK0nIu6nXj/KDQKJTzsZbWawfLMt74TEY3dNo
FoBtpIbi8alfxFrF7Cy56wm7JGCWwnJyKgIhR3gl3T85nx73ub1L9/jgSdM4KhdPZm6YIMqRgD1G
S8xC9CBtU6AAw13r9sL+FbjoMUkyVCdbEbfzUqQOMmvFjiy1cteWH92XqojwWhSfO9MmoGNEnyzG
GmKuKQHWyinT/IXjb7LmdyGS3iYLPP/hRyBnMQGnVuDYqVwrJoisfMaK/EmQhTzQoforVdlHkejv
/aemwMRBbJiwglYrQh6WspmyPPXZ7u0k2IKn6jhZy1mA6aJvEm0j1am/sOtL/R/SMYDBFZNw410z
KKqP+3PNbw9vNyXew4LuwbVPp4SFFVjL9zxLD4zmfM15sEDwUJLLbr+eV0io+ct6ZcEqrCe6NJFX
KMImw52afH9BMa+yLcdMk+fOHnImkxzDUvYc9OVl6OLbKEg793Bn67UyquZ6rZvqhWgEoAFZj2CB
k6/0jRKvFA3FUQpywhl1HkBkzdxyQuEmisaHIkEEQOPhYOb2I/lLFQH3yYJ+KwOJ5vl0fbVS91Ia
TiluK3UMIp0kUCtSCfonryxfq1SfYcGdJHxvqIujw2Qhc4/axtoGk2NDSrRnNoB6OHUZxyONmFnk
D6Yz0fkepr8VQ3yDb0Jig3Y73sLli0Jw+C+izwrlc9qMz9W3ZDmokF5WrkvArC8682hMaiRp2EeL
FZ4wfXQEhExLulgVle+mYzxWIHIdELnRBqU/l4HaYcHTpKBbFNpA9DT5NtKFPMzNgtpMvidODw2P
ycZjYmy7NO4boAaadIci481UKH+sHA0zTe+ZA9MD9D7DWjzUa8cq4vcUHPJJAA5WUMquZ26DWkYO
qG1BsqLqzp5sYeiZzKOBG7pMehyux5GF2rh5rci0NJbetmGizDC9YCbp34RUeE5d8zD09naEqRXT
bHYUc6Byb9SKtT/ZIF+aVbuQn7YGZ6N4NxfJ61UUKuAy7F9aW+HU1V0KtwIpzW6C0VOPt3PO6Dox
qCrvf4als5ME0S6mglSjLFTB+J2mSKuKQ1pEWTgsAkxoXkHzl0TzV42WhV/TL0SUVZmCHjtmgJDK
P1KjPuJWf3S79QWSes2ftH2X2wmEsnWXNAzPsRxScMgGG+n3PDCtMkXC1ADAQ4dcHmZH+DkEMq2l
8MSOcY/BdOpf01I/V3UlP4oxEc7dsDEXm3H0grf9VqppOCq/S7bGsb2y17fUKei5ccFA6sziUtGt
q/E2k617nHW3SpUQD+k1bZHXP7oFy/OBZf4qBvM2Xdj3txOLfCoBLS6cOqaIgWtOftqoxFT2cmu1
P3/JjwpRVa/gbHWfe9T0IOw8EisOmWyPvIOPC0fwzq4s/8uuHGaUL8WZ59KJBulc4hngZaFARIwF
9SJM/qhs1zUt7na+ggNB6du8akQLwoq6McQPEHdS6YbbkrcpBNC5YI9jWfhVoJyvmV85yiq9F4v0
bn3rf8yke856/1o1KDBxwJjTqcRg4Dxonw2vw0hrP9t2+0hx87Cf3jDLWyT/WYH+K6vtU0UGMuYw
F/+pd9BWvt1ALd2av1azXgb0h1RHzKxWOoOTU0/sRRLqy84MysnvGJ5sHAxGLvqxnATgycLW9qfo
zJv0LRDt5YetRYeJOKOJtKDhLVKoBfo18b5chF8pfVc4hM8GNgNQsrf4N4trLX2MxE7kFvuJ/rQW
DTZxc2TPYEsUiaRtdhgQo5h+lLBTowNLSK5Y0ssHUbncJhlvX4VOnYOsyikbOWSBChqdPkAcPDWz
SCNJQSOUoUAau0r/EfH4dnIVpn+a1C+b9tIrpWf28aVjcGzSU4Kkr4eCG00r+HpKwBtk3J6bi37g
DjdwxHdCxcMh4Jq0mz04ILIt1P8YqIZSl5062C0yZ5bSOH4Dzloueh8WXzmBMgJewo68FAT2ULMD
afSUvI28voYWF8CAAZAflpyXzJpRbLArLdy0yvIxifEzMRJXNN3mGh0y82vMYvpGkjfleEpMwWm4
mtOm7rRx63CDNrrXou3Vjekpy/Rb3MdY1YVgVSklh4KcENScNukpu6JYIXOZTPh831eDEAfLwnHi
Dt4fTb4GjczQi1Lzd120lzS0rz6lfzfXH5wVpjVw16CQqptPMSgoknfBB7uA1d4JQbWBuEt4RaXU
a0cllf5yE/yGT6vn0zK7oDci4L/znXvUUx9/1+D24+GeETvcLSf8U/vhso+9+kIRe+dnTBcKUoFO
jrquNXfEnpdABOG1+M7im7IGypBpB9qJzj3et0Num9pwKWoaGDJQGrXuT8V6XugGmapAHisKLkDx
4lHZhsuYfGNnPi1WeiFt42XOv9BDgozQ3nxQvtF0vZn8UwNuTV1ZYuwghZ0OlSIFG+lZ8HV8uhJD
/GJAIWVxwDclhbUJxhoyquhrI+wEW/8l7vWrXbqr7D5WjsG4kW24N5nygF1LEBCU1GTHxhTajaqG
2VsFsy1+TfaaTjajoWVMt0zV7+NYPFXSooMr0l8IPUfK3Hxo3ZkX1rUYFkKLXCnqg8A+diCLV+y2
ZJGWLMn0pTM0B+KjVR0IP6Ce2gP2WyUl7gshPrKGx2w8qjg6F7F2wrDSidN55MLE9yrmEquwFhxX
O8cR2+mgtRlfox5MdXf40myzWegJPuigoNJhcCyFxoZfCX9mPMxLCanLsUyO4e6rNnR3/ygyk1tM
fREv2G5z69jJgTIs5xIQgT6kxymzcVFwOH8UmI43raLH4tgT1hKLWyas1yTMyw2qSXUQUQ138In1
t1vDZcUHsBx7cO6rZRzWoJ7o+YKnLeujOxULsOenKSPek39tz0bXXARoURq0qFFIw+k9GYGuUEhQ
R3PYlnDY5eHaOHg32TjneiDMFnawiRi8Goyf+URUPXZxBDk6LTMW6ca1AriER6+PO5cWIbqu2Z/1
bk4OV0JDYmD7L7jYIGs7IjUWXwZnOlaiU0nbXAFCk04xxGmzp9Oo9sS55H3ALmg8TJMZpAasn/5e
Wv2D98dTg1g6MlTsn0RbSG7zlY+rK/PrhqD/j5y5qUrToSr4YO4DuSpCfiv01vE6RGOm+DiZM4oZ
wetV+onbFnMSVkBykhYQ28FVchCLh6SnhgLciTjzV1n68xYWSJURTGBODEeh6iCdWjp6er475VMW
hOdiji8ei5amOpz6dPhF4h91mWzRVPGJym5MzLAj326g35nX/s9/PHsbk1hNsKzDl1r+6ZMybH1c
QNgeYUXHdNhWzD9FF44zS/dlTxI9BpoCZYAkMyNv4vH/2ON3HGRnBTQjc/u2XtaC94n4bEHEPB9v
EgVSXYD0flVWlufXyptYImUpWgukqHv/0e+DEY8RVHqxto4LsPrYLAnUml5nYPuECozXI4eGht6M
SVTpYh5EcNJQQVa7XuYQFY98Rs+feQwnih3bvdiR6VUluDuecv6vTDiYfPLDNSnJkX/L1YKZ0+tq
VocWRKrkwDaPm9Q5EfeE2pGycWa8+RJHCJ00lJakMYehPdQRW+LB+cLxLF5mqXK3cnEtBUCoarll
5dAX2KC6wnp6qesBKgo7r/FEpYUGurqYF2fjx4QPMoLVX3Ct8CZ2iC4Jm7UbvcaDymPFxpuw5YaU
EBg/dDkw1ZUkMxrb+OFfYGqm4PhTWoVT6+IGwE4rnz70k1lEXtwbbr6IXtKOLjYX9EAONAH1cH2w
ILrEqeZnNBj1ZzMcrMPAzGSW8zlqlfPKewfq2UFkvKlXZHZpdeSEt+DwHFjXfc20I0OxDtJysHvz
2BINKKLAUoSwyIKJ33ONgzoay0AeACcvWShA1ZbEJSwqKcyoHsMBHmMuFd3xIyOXoZBUZkGZVqSc
QNDSdG33H7xwk+0izcuF79qlpXl57s8VecQdBWv7BBqk2BY19EYRrp56Wul0Ulj6K9BV0vYfoknH
eT3h4Zwr2l2vHFqCWl8gpB7LxDqAe08odfUhAsqMnJwNw8/Wf1d0thsDPXyMRlphSxgqdQZHVaaL
e2+I3LyxLK6RTB2HQPeyKt0wjt3L9ohXgY3kCGVmuuTCdEmf9W9Nq4hbN14NmLya5oMJ15NPmsyL
cRtH42MbpU9Nqr+qYf0aMSCI2dMYDO4a6knHIVHHBwS1u3w0s+w2xVoowkovqTg4L3b6HNnLNqJw
q+b+tlCeZZiBIt3JM14iCqeJrv4U4Pybe6uQ6jZlTDqzPWlB3oIS6NECpY2AeYk14LAm1jGOer65
bEaJjCh6YIbaLaO0eerc2Lr2pwxihxniiZclNmLlfSlEWyWak476zSSu5doWcr8sw2VJqPaD5SDf
Zk05k+4SlCNNqwOpXri3bEnZCg041hqY/8kQ5BIstI3Zkza2SHxuG6+RU4ECoAqNT3+ML8XYGfXe
o7QmY0nfs59n1eNH1+qoQIchq3cYYf9Tu3gwYQG0WR5UQxpYXsxOsLplRXQ18+WKTWUgQ4enYQFi
aHIqCMrii8t2Men2g5s3IG+KWBm670gd3QbpFtqLk0Yq4+DsLalJL8FJWGyD76wi3DIZCEjUMl+D
nTDt6ZAAJBg1eh7Ieej2AHkmQbZfWXmQ12toz6bue1da7IaJSw9INZI3V99UbxG+VE+5WscxvUrP
e+N3xHkO8k+NSi9jZl8aiH7SdpZfVEMz6Y9g6bJ/J0Ya2yTREOEdlwuMVidqTThpFAeWMzff1Nqc
3Bu/JkhMsjk9rcrvJ8w+FJSCpRtbd69xwVNG7QgvI0tdHRFj8/Bo9EMr1VArpXulWrdY+5gn2RvH
6tr3VShK5F5NOMzs5BSamlhamV1otOmN4yBz9aj1cthWJ1MXsaTRvrRi7v/qwIqRBO+pmNZ+tfZB
IUSI+apU0kulMpBza6ElUrTITIN54TSJsdgiFCi/SmYKnVoEOQ1EqrWEDPkxPSfTe7qwVeSqMu/p
DZb7/OgH4ZeY7bx78A+bgnXdutSLL2OLkGfroBWvCF9dqboLVteOt+A4klnpLilhlbgTvEJg+q5o
SOwFdte83mLCfBgjrIyvZXNPxuY6jEn4DvQMTV055dVybnQOH7QAWqawMMluDlHOqsmHqSy8cLpe
epWWZVra84FyIwMfGb55VWWDQsOjqTCrqonzbwE4dhJSpwKbbUDWUJb1xGAuABAkE1UARmJJcjd+
NK9ajDMSr93+idT/6B1huwRjNECPS7rCncvC07TWJa88+SDvEAEHfpnHabSOZZ2dKmXGqWaeTPrb
zWnDGxWdm18V4XvZhe+qRq65Be1I6slPjYHalQg03vA+jxA/upxug5pY3AhrkO8XV1C+YbHscPHd
AFSBfMAvIay3bGxu4qJeASQPB+0buNlTyeM3Tf1cpo4/r/YqQkM1jwpaL6e731exn+TrpYc7YAiz
BwQYn4xutW7p7zClGhNyByuW52Z/onTdtlHyOc/3oyyzkOYqnjzItICnxmHf+jipCEm6kdwhE1xN
X9jBp0cBYEu7nRWtcSEdUeBhWBU1oqwaUDOmJg1GgNVdiWs+OyaYWddp8nxi50wuIuW2CXUQzOjs
l+/YmuP0JqDBTDhPCQzEJflZHIWrOIdiJgT+AKZT80ordX9KlKvRvIHBypLhDdY/Bj7rjj9OA2fH
jT37Es7AogZcVQbGXUg0iNsp2meBX3iMLjPcSH3ozjKl6FiF8AYrrWcgvrOuQfmyTiJrOhEreseT
gKlXpyAEnAMbeBqusbxI3Ifp0xSl9dygaGDZLqfWjZ/Zlj2xVT9mHThAcrXr9Y/yk8fQltsCONpy
zmbaBCX9zsc1aK7SDV7CtIB77EiR5778wN8VjD2cI3ayErgs8nyfEbclQfrsL3bZUR080amiCQFf
zZOok/pjmCdybWf9ScWeLHPTaKlQhhiINXnVh6dYVi/8+E/tH2upb7zK5yp5my2uT8L0mtmcFJcW
DUL6+an/REfhh4vFTzqoXlJ1XpS+tRbIW0jcSsP1zpQpdMyOKsm3gZBnhMOPePrQwsLP51Ol16eZ
HprMlG34vuLiHilR4RCuqxlPN/k8yvUU2g1EIdCU6dol2i2vojvlns9ewulDwrazxhfov5Yl1u4w
TWsPCJ1dQi7KIUrTo8DgK+R3he6MFQDAUvQP9tkPg7CMQXC/OhJLaeMvRZY/BVuXC2BZOZcZnhbA
kuuFqg+6fQ/rhLltTKh3NzxNkL0iW7xlJr3HbgTfEalQo2FmgLWUmN19xWLSKXTeDtlFqx9dqRwJ
12l8ACNNLC2rXTSNy1z94KBR8S5m0RAix0MgMa7c745fKVOsaUzuwGuTG7rbkPATY8PVeWkKoubK
XPy6isiDoj8XZQWUBr7ddAZBc2MNzIWrzPS/Na4xiCQXY6fpEls1roLPnkAShmNjwR0ZmlAR8ecU
+HCWS9LdifWdSex6BY1LGiWu20CBPEtFSjVanYHukVjGuZghwUzQdNpDp648ae1VnM1rNQy37q/c
s90bX8KIU3u8snpjeuV2J6Zflh3ftoYIbHuIzeaaClFI+Cc0eiuQAFUNEGma2jMyBh62CqrmxX9q
7DukZ09Gz1X9MOyN4zHS/BYaeWZrbP1xAog6zlpbem1Jdodb8hRS+bUYLU5ep/DMX1ITDl8J+p9O
qrMYSaIyFxhU+pTy/ruIgrnXQ2O96mJ5ydfyJmtY3XCM1lVz7wK7VbSvioLOYvhOqLSbGTDlsKkG
j3ffchOL1hWJJABQJDe1scb2tbc+uX0IwaL30ISwbM1H2rNSQzikLC+78aE02OMefmI9V0zoFK7T
tqIulrulMHfjwQUAXAQL9+dugRyewMqea+C2uGYUoIDQklLwIW8LnG4MDoAkSN7m1ZGCEP6MtsSn
reFNMGSyCANap2Jr9GPG2A4KXE0qSP/MLQUMP0cqJduVu9MG0sVl5WudBHTK6LcGg58+ilMJayiR
/hoJr7OdQ0mVzUxl+7FTCCPSc4jZOmfPI1XyaQCOBg+PCG7dUr9Ar3d8rLp3Ch3hhSbsBzD5GFBL
4Vms+i/6N2wW42AkngpbZpNX/0q2gcrD4/6DyIBFNxaXYGs2WCQb5BGcsdWzHiMPLy+3NuulpOUL
0r4uEanL3jLquWen5hY19Kpv5LVvKuRgeRSr+n3FEtap96rMXZCZZDjUMy9eSLp+0kFDiE7xonvJ
yFq4Q3ThUqDQhQHXrrQlbMBVLHpz/iBTCggIm6Vj8DU1jPuW48pfMRQaJ73YkHs5Atklz/tXl2fx
kA0kpqdHJQJLQP/OoicFPThGSepF8DVcJPu8sfD6N375OfXGZVAEDqrMi4AqqsmnMgHUxQoBoQMZ
fOEpoGaDEqMu3WHAEYWfSgDgcsR+WoLQK85ywtPa0ieF4DVpbDSPzVdEQs/keKr4fED2sIbjHRVy
3Xd7stBg+lTKKGfDYFrI7+XrVeog6iBKdvi1NxrhFtVPLhYEu7j+UkVC8aXMWwzQDbp8GSuXFXtS
wUQUX8T8rXLGW9rrl2QQ/KxJGJKEMGdxGb1PcXKFV3gwxepLNoWvV/ZQoWFAH5mXv8nJ7bBz/RVB
kOdPzbSedS+9dJj6sXQlG/bWGPXbhlcfYfGFPiL8zUbxuIJj2sXJvQ1af85Q+xfkuQ7Ks8UETi/E
yaDoR7RQqIn0GlS6XAq9Oqrr4uHEQW+yWyiLNUuPhlVkezJD8E8u7+JOyVmnmNC9tpCAUmwg3fLf
S2sABDDULpLVxYnCy7k2fQOaRqHGt0Rf7/yizVcVtCdxiD1LhZdS7xST1S4QvkF5fElJeYRRMAiY
0CZu66DtyzroVorbR/Ok0zyi4wesMGHEGMUtdvUR8BVTLtyY4CU+/Da+09l52nb6DZfRI0LObuOF
ZpA7smRwuJuONFH5hHF63S4FL9Cx4iZ/2oObtoFJvYJkp8HU3rWiiOxSTdceoH4YwH6jDCfqY7bq
VgVEMuf/+76t2M30MAWRwiIO/0n6MG60Rk2vpsUtPINn1uyYZefu/QdS+J8498w1qGGtu8e5jZv1
amHTZmN7yOQDWnNJLOmcedvceniMWq4aA8iU87z3UoJwHrviI6I6YXxJKY2GY8iF9R7LEaRk6U51
RaCU2OW4RADi7ebpCIMK5jPFarir8h4chemAAkAODuqN9cx8TzbizerCc+ISS7sBJD8w5b4VcIs2
8nMyh2z90RZIA9T90Y7xofWz11YUmhLSm7XzQGmRSGFRTmGRFo0OjVv2ZFRvgqa/puhdlZRgkoTH
wspxYi2bOWFLtl6MnOqnLpfTaJyFEnglpVrk3dzhrP5amLn7Etg0kQhztjwQrxdJ/tsZvEIXBcrr
0SComCdi0IlmYGRxuJ1rw3yt+/er622EJkdqmKEmbCemO8/wxnRkDo6uRFFu5sNg8Vv+3r7itrgu
iXHeNU1a/shgKch8MFKW4YO/4afxT/m7VonF8CM0GubTlYRlfAIhTu1DQ+1DuyYEbABK5O1HChy9
xZjMPejQG2loJXWY/GrCcrZ8wVMNYJK0pk2ZHmypHmjlFkQE1XLclG01E4yPfR5WuqxL2vVYGori
DR3ISnR31lN3PIysoGpUQKARI6QNwHkJEI0I6c0kAGwIWImFFNqEwdv1R+wr/un0mjh7UW2MO+Zf
seCzAaZWT/pt4TSnBja0haDgkAN4/EbXyksWCwzbKxdL/vdobCAkRgVFGM17F/j/V0gz/4rOV/OP
xNEpVh/o+U39xqbiSIr2HEO94CJ9xmXraJPsiMkRHOoaIvnBI5rwMqI1A63Vcj/KI0/leiCLF83A
MCBESDzxeWLDnXcXTup2cfwiIBHp9QZRR4XlTMOwbk+9cJPaB7d/C0QRDWKvRe6fgizcDaG/zfNG
epJNLj7cnkgoEis7RjJtFSochmlLvXxIgAsFND3SoxIKGnFJxlWHSHc6AmlNzHPETqJFQ+3oEZaw
u3IZULkuj1mYZFKIiw5uxsWchAvt5VeuE2/YcgGFmfxsjYxT8GmZfwa2tWrGi2aE2WdkkB4VD+cZ
YIBVQBtDq5GQgMwSKk56ntK9EQp1kIFVx4LbuxSc81mTzuk2H8f9pSPrT1MGkVBSyTHjkuzIxnGU
VNw+6pN/dxCWa0cNTDrmPMV7fUtDuwUcGW7NAqI2sAmRZXN31k+7QdnEoNwiIpsFntjzfm3cQLDv
d0ad3WiDU1TnHCRXCick8YBGlrbWL5zZgydrIlov40pyyc02mKwpgCwaLFxFBJ3ewbQJNJ1fUrsg
f7vUK+f1vU2m28QwCCOUm7bTSNRSb805VTBiHnBxOvMwnTlsBcB6PMSZHuYR3EEIzRLWNSt/Wu2M
gW4n8791tc7WXxlv8nCQfcJR7mSmXt/YQJLOnCDnJc2cDgEDnidnxgLbpEDG0JExGgHxujlJifxG
qPZN69pXLLXPSTqrUErjv70cU2cjPUcWlyUAVBpfZp75TG/tbOqusRpSlQIlhY7jv4peuysbA3l1
439H2TzMhc1uKSX3aXDAUrM0L8jORn6C00z+z977cXJsQBFtLfA+dIu1TZV5M6oTz08j506WYVRZ
b5FghdJWEbhG34/Z2GHR6GrHWmHIiY+G1fFkJJ5ivLe0+W4sxQVMkrA2NFgbvEpjDgfY6YcE2Lc8
k0JRzg1jCWtzJ5UOBjB2mpyOChlcfqGKWnhZu8DgYmxLs0vB26fU3yur+mA+gXWmZPEbcdtqRB5J
DRyygG0yYh24AiJvw/2ak0MnzIq7ILczdokFoK7sexeTEhqSYQeM03RSGyp10ZNafgw+BFbpELIq
3oU9GKQcb7VNpxjhD/BEzsQrRufGqkudY4olK4fY6SZPh8EKHQpD1T1qHKHerUZt+dXP1WWI0NMs
08sYPHvf6ppbPwxX4Q0qmzlTV9R+YqHsFn7t5yxsqI9vNe2+Vzp1dzFlrzSB6/jUctX/n4hxTozA
gtMwYw+L6sWP8S+FY/6Af6JvD7DiEFemUBdISUYYi5f6Hnfzg0ajtbsVK5yHcr4PTMfDZtf4uasv
kiUftGl98Iz3ovFMe+VZR+NzLvWHRizAXACjvSmMeUv6oSCcCa14xmlJiQSizFJSk2g3R0EXnabv
Kfn9K6WeGWvOxuoqQzxarWTnSUt4lLeGykL2IP9T1Qso9mbvytmYHg1vWnjdchGV5vxS1zSQ8kR1
0SNFW+pPjbbYM7nrqVucDoOwzjJzG3euyIfov0SJG5VtSKbzvxyd13Lj1hZEf8ioQg6vAEGCYA4K
oxfUBAk5pwN8/V28VR67yh5rJJIA9tndvbppKmh8jAo1stFjeZHN/pvqJDe59JW9jbEqMq4NJZ0p
OWfAm66jftidh+UlZ5cE68z+QdjKOtJM+UHwKOjvir79r3ViwyhijbtK9zEkWTAA0uyg9pXgQ9V6
dM1rDlpUS1HYteYcn9hylSedSQvP7bn0pPOsytxrXefs3HVA430eLhyaRxIxNCKV2uIPg/JI/ZR9
74jOHbQpzyg26lJy4Cf5E+P2kxoqez/MGMQvLpmZW62MsRRZmWne2byPoVBTN59MTF3LLl9/srS8
WJQwqQE1ONsKCKO2FjtsqVyi7n96TfSBERqvSPE5dXlYRus+Z/0bxJzFXLvP3tgvOJN1t2C1SGkQ
68Yu+he/tbVXUvtcv8FpSZgYhKhCwpamp+Tlh1Dtdylp31uzeispKWgAxUD+yC/UYGUalgBLoT/J
uvRaj3+JxZ5lhzUNM+meBUOYkr/t+ZIKHMNxnT6C5KtnIwoncDdNiH5FS6eofV0m8yYtLI5TGyWk
52bK5ynDSj5UdYJYhxpos7EcYNTjh8xhdtXiU2px5QV64+K35PyWvnChakJCyFewpHGRZxvIWyrj
Rkrygt86JtRh6xuFysbmI+VDPxDdsufQfi1Q/0AU1qERTOV+LMLhyMwaASeRmAUIBlqGeGSa87Qz
641Fq21MJGjGPJwRAaN4RkGOt90QhQN4kziLjrhvs2OFWy+py6DBEr/QZeApb2MPs0QjArKRI7iT
dph3JOftEFJobkN5niyfWbJLMPMl6d5BSoTQAPCTaJVrpXtXWPau/Tu3m/+mhjYKra+dvSnLrmYv
+xjScnbPRLpbYnObpfiTKt+mUBT3BE4prLe9fAZid7RTJuRo+4LEuA0/dsTYv9DAW91ywCKOupx0
I+VuO51TIgAWrnR7J3JpZxrOLipOMXYnvEEOEJ56JSF9wV/FQs4JC3TgiZXVeNfs5ETzM/UNDU3d
4+//Rjm3dVWbyQMgylrmTS/vRXohLveiotsw2q5Fz9MDCjIDqN+lhBD0TaNd5KvATGlIQdZ+dFhN
ubvUNHH1NXMxm9GBhzgBCQgbUcOtObqnxHPOo5YcbPmw6qcG3NtarIA640CBhVflIaAyKEeR+kER
C0WwU0AmGta5vm+0/SD+GtM/ObpL3XBWwMKmOMAbEq2giRhEVpbWczx6xZ+4K7es9nyQsLH6sMZ3
fkOSXjRFc+P2a4z+zRz1bNbYYJs8q/+piTvWvpaB7/5XiCOeqE4cZ3k6JnyDWcpbDlKMNYZqWpue
ANyegh/cdiS8t7C40Mw37iRrJ6cG2AvxKjG2O5468sLGDRwJ7InkMv/KPuwo6JHwKtzoRBWBcWev
XTTDvZzHNJvVhGHmfV5rwXJtYoqGWLN6MzRvyyz9IVV8mWOkRgE0SwPdH+R8q9Ktq87Ustcpsky3
c2RcXORGBRg4BTGYjixa5RN0eXuZdiVkHyr2pqY866BEVpOCLqyJKS6etbiMXb03lLd8B2GX8/Yu
5g00+8YTym/6wbaCPAsEdOMsk5NUuFExDXl0d8tB19SwwzEG4azum3a3i0/l8uk6vjFj9DGarUIk
0/FN2HkTsLPCBAAtKRvlbj9Vhv/RFu7Vfkb82PRG78yNuo9wB2Fvh1FKIG7yP645BS9QL6Oc86dC
GwdtD6R9LFbCI2GuhMi5kT5XByYcSMQ4tIl/jfgW9QQjkFJ7C9zlEW7gXB0RYCnBkXdw0sf6bW7s
nUxelf9tLGnDsjFVpgeFe2QGgA3TXVNSwl3w2QyQYLyYOxvnLGn8bsafBVPkQDNSYW8VYmyYHiZQ
0TKHcxheNFjJoIFwtL/u6SXn2CFxlTt2SbelKodgqK+3kRfb71j1YZUQK2bJVq0G3/4GiN9LLyEL
0bAhMGMJuSggw9lhluooU9Dm69IOaCNAB1cSmViqmmdM25nOwcZRSNo/NfK1Q8Jslbpr6ETzLY9e
ojL4Km6hPT06lsLVwC7ovsLDsZP7Opm88adF+xE/ohmO3Czk0VONu9BreJWqYGaXKV9aL7iOAq0a
gvTKe57XEyAHN6aRMMYzwsG3qsMSQ2KKGXEhOWPJn2lrHPso4goJBjpL7nPjDtjCe1fJFFCGb9VB
Z/0ay7x+f6ucFQeFNpFmg+wA2lNxgIa173D3jVQsTztFSEcsDIVSHZ3B7clbTHQIXqrXJuthxc6z
esQ1VvxVD/k4hVhDPKE6niK7sdBDLuWaqtZYUDjpkmU/UI1nGn4jO2ed+94Y2KXOyL0Co6NQpVZ3
STEiaRX7tDb3bctKbCPH2rnJaMWKu4024ifI1asNyZ36jJtOLoQOt6sIaK1L8mMO8FpPc3eIwAzT
hgZifBM7lJipCasC9FDCy6Rb0eFjhbbZJOyWHlK2COTFwE0jSClIOwWzrL35jq6S1FDppgd6DfTK
K56yAA2ETYHOdR77oIrnTXnuwRkuUnHQf5QtdM0LBRS/xYRAizHH0XXaOASpm/tqZicTguGsVSxl
+0NliBDUzF6t56CxogDsxL4OOSGziOX113KW65flZBRUx7OpXn4wW9BGr4VNRttgax5SuT+mvvHn
mbK6tC2oWpp+HqhAJVl5yaJfVSPOamq+7dfcK4tDLfZalz+2Y9o8Ixk0llK8p18vns1t/QDkVkvN
p4B6YkKAIsWU5IQ4oSsLvf0gTPwOAW9bEG5dGvsaAehZ2vUxGhvjo2gCRY4gMefH4qFS80O1zjF7
LN9tUZ84OzRCP3Ydfl4y5dqyF8YlgT2SyMM5gz2CAZ902YnmFKjaoAQJp2yYDHpbDla+qpwfdM5r
RQwy5+11AKiM8o5X8L6yXcQBclA+FHjFK7ziDBrJSuFWxi+4O65EyZfQHUz0Cvdj7EkYo/IdstN5
dZrzXfAFJOPaoZogiNFpbcr2RV1tpFrgqLZNaJvVn7eCrWWhuoB0HMwvKibDmib7bhmYdAJuMmkH
HLE95Q15d0BLm2L0HKULZI4EGUd2IwIm81g/e9u+6vFpnDQOaOstq7Vb/ZsnxKHue9wrvDuKFNqh
WWAb4CUR0mWrdJBc5+yYBqyaJm6j4wHCYZkmuM2jAIkqXsjC4aitRvNgyPrRyHD4VZ8t54ICqsq4
6bATNLp1d7T+kRFwq9/WPysku1kbD3pdH/SEIesb7AXwxO8oWXZw6vXNTHbbyJ5yR6GHw9oUy3EG
yy9mtBE18FxebR6wuL9WdMDonH5V5OCxhI95kM4l4KUXt5O6dvrOyhF5ayYhRN8ZR4Ilq6kUGC6l
t1q41caDoNmXccTAVAkCKqFuIBGIpoecALVNRVfxmnNbqGQLUme+KZ2CDKdyVGXnqINnTgucSd1O
AYVSJWeGk60YmTYXXAnd6jYkojlST5dBodJz2pgKcGfBuTPze05qCUkKpcPEmac8MqnEVCnm6tft
+AZaxVS3zWy6zxQcyE4T0PZj5CqbAwpE/BUufuvubarEKc6c0nClzkj11d95tekVLBV+N9XM0B6Q
KIkiOE4t/COBgDdWSI7I4rhbY7TLEnEzKIV0LvGVYYRwtRi9RqEdQRtDuXdhlcD9/1EYRKcKHwWx
0KaHi6g/hqFxlcU5r7rnZL/tyd4mbG5Kgx3WJPsJSjY3JHw4MM6k1BsX3S0BMPBw36p+TIuabcEy
i42z2UmHV+PIuG5mxfGpONymFaItIfKFxE9L+8NikMlfsMOl24IaS28iatIjiWuOV2QNIbDUQybn
5JazuokJjBjoe24uvHkGN5V8r2N3iUVzEX13kYzs0nM5to44wEev1s0AHWh4MTOSiQQntLyGTYwU
qDi3s7UI1Gv0L2cy0nLYBps6Hfc2/oGOZHIywHNrHiNKQTbwlLSKHXu2bWQsQNkSQQ489cdXNADB
Up8QGKlhUy+0ToyFEo46aYCq5tHZQ7z35lViecV7cnTe0OOOUtoDkot/WSiHxrLsejO+ROYfvVAx
DxN/NaZ3qCG5Uj1XrQqaxjhQPQa7lYKA8mFOfGajh10VD0sx7xiYSfiPM9qCLfOytJukGQIVZaNq
hyty6mVVrPOSwJgDOGFVaOftxIuee7EuINfRukOH16/YyfiEar7qqmA98SHJGJ46fGQsV00MpSg0
2mCdu9YrfpNnSmd8wwNaEfPC5OKexI6OZ7gO9SSh/ygLXv8R9Xtrah76LiZeXKdUd3/ZqXEcp/aU
0J3Qw/3KVi97j+OIsFNMqLM+TNObCqpjbG2v0rB2td7abbPGYpmNmZwmnuba2yV3A9rNFkz+XioO
Ns6wZ/fDOLqvXoIk/scpOeZLd1xf98MIlzaCKbooScLJrX7bPXKl5FMOxBTdlwHE2nbTw73QcRS6
lkNzSsEQNGkhtXzpMbd0DuaJO+WozLr62dCuUnyzTjVwdlRQ5Vym262sfAgdqVatzzZ7nfnv/Jcd
425ARZ0A3GDqAJfaeD2Ci23m+wy5ZZyHvRYK6G1mV7EtfX0tG0IwOgnMWZtmvRXebF8gX0Suuh2w
4hTrFVWgBHw2Obx42jaCg7lw21moICM/f2g6TIQqxWRAG5jlWgyD61coodD2GFZ71dz2I2s1Cz9E
lAR5MgaJAvlmO4pXHU3uzc5K/ATeireaH/w9omedBQe936f2VxFjsP9LOVJixOycFIzbYJwUJqDu
F70T8CBSuz1Iix0mSRsqqcLqIgrKoQmQj3xCZmWGq8iV08mbvqYbUu5u+hIU/OBwkP+5wzyHqYGv
TB89PM6uAtWJ0dLyoRvJo8+djj8DHEbMZMk5i3nM0754m/0S+Z3264tOvHjOMMKOu1y12APngWG4
xuItMUOEOQVFuRn8SaMpD8ovTaKMyNFFf1b9GX+xjkzgUasD6qDjdr4B2V1tFzwE49pvY03a/iWd
MvO0+PtXxo59pf0oCvBKyj63KurDVOILZRSknuOtg3UECGFHFJGrnNMZaTdEWECFtITWrJ3IALrG
Bh846a0oWsD45hWKmt+nNJkVhC0oWMQytYJkkuNQLC5J084mQ0BBtp3v8fFxrGeIT6X1wvngAlkH
KIMS5CZ27yHdTeUml6StCgaI44LNnXS4reWGv2RpODhFc0iYB2YT9XrT9mk44qqcxIaEHfu5jj9y
6T87kN7tsQRQvnp5oxKu0eBG4IdDJmt+d+VGKq03WThvSWu9FaW4WvVB8L0RwqapKk5uQ+JcuxzJ
EvW6+Wiq5n3txE1Zfbbejxgw/HSlwvU8KviAlQG22UbiAtSFP8yW3y7FtmHz2svmNoIUl8ntbozI
tQZWB05QH1xYM8z3GHwnIvy3/EH99TG2WvhoPdfriujss4/zS57889CRD3UHm75Oq/DaJXZf7JQV
dkqCEjbkG68UMkJ9zN6TIBHMfDh4br+8VxogEm0OClkjnRDvS1J8FDGL+KBOZ91Y9p74jsf2arHD
UeHt+xPyxopJIiJuzIypqOT78ktNWy7veO247A3XU0ELNGkP7dviEZ4G5OeT1Tl5xUStNpu2ZMJP
1/I68iz2Gmrb5hI6ODm3uoGiVGyAY7dFz0rS8aTsp7KoHWhefQQCJTQqN0m6PtvYuUM1PU1UtcTm
2XHISazTpfD5vjiQZW5G+gIRv02WI59K9UnyHs+pHsa6TzTl0OKQ0ChFUdwRqwOQ40CmTghTI1RB
WabNeDObUWhSpgwZlQ+Uw/7StBNYiteBkoy+UcI+7sNkY43KPmcPkdAlQfvCC9QzYQsdt4q+20/N
fFjV30WL2X+v4WbQUDCpQ2MYbktBSR3lv4mpB/jd8zdL0Grz0dvrle5Ba21fNXYdl0aC69KQ0RH+
Ta9ZG5GCUi+QWlhVZqwqghWzPk67mpKv1/aqm97jlfsPe+SyMHh1lm2LskpdxHaGlSDtekxK4PUt
/7WRpkGu+jNLYwisCsEKs/ZTbh1/+WU/i9fhDnf0jsokkexK4CwttwVDJQykfI9g2v0Wjoyte1n/
yFnUcD4tv8XShpx+JEGryJqe9cWgxw8DWqUfzfFUKk0w4IaJ4b7u3QEcBJKdnrFA6DzZ7K66RJgl
SqkexZVErslE7FTNQw0BJT8qtzULqKYcQbW6L8I+8Q8WgoyvasJRHKeXgdNrYUm3Jl6v4avg8GDy
++30NoiGg2e06Yu/ZI4IOzXBmEH5j+ny5WNvoHLIyymjkKOqqTHbcdGeYje+EeB7q0f2MPONMXNX
qsq7LaK3mJWYtj7hXj+6IrpZLO5MhbzB1brrOmtta3lMhH+J39osaNCzX8h8NnFtSk8itvqIbddx
oQTTMNanrWyjlx3hU4rLD9413srupOTSsfnDwZzCv9LrCKDjbCHQOZZPO1bujhc9x6LbZ2yQ2BQW
HzLZGpOH/L4JUlA4/ITUUmguk5C9T2aiJ1mx7hsAzVGxS5K7MdIMsKG9OGcugU1HYruMT5lQvFhZ
oGTYGxVX19tUkTfJAsNVjD9k/U3nypTld+JMtiWaL0SxfTTAKRPey3bC2tu3gLMhg/sAezrEjEr5
maDl5t0fBLtZ/oVMuFT/tOUKQYaOzEU6Dp8EWqiyaj8dZfBfOJyF8WuDG03FfKbLvwxklhHzqt79
AUooqqejTm/jjy4hUDmgeP46+j8nPSbACYifD5+0X3j5jwkUaRnfKoJBLOxYK1nYSym2spE3SQrp
Nxq3AHnyVGSQ7y+NWt5UlbcGQ4+ky089wpc6udqCzFrUbvsD+B68De6WaPy9VCReSXLxwE1/W7YT
LjCtOLGRvajdlNV8yYCDYvm3y74EhRhwZwcE4pY/d+brb1r2Rwof4He1JsGG952NIHlLrgcgJzUr
Vtq3Y2ZD5jJV+OslLX7GiNI6Pk3q6CtsUl8Ea6s8pbx5dPbm6z7p4VbPkBQlx9NvFdmQrmbAFeFg
pbe6NG5Cqe4ime/xvUDchw9VEvmjbWO5NzWoq+SD3I4ntQWW79kfsQ6/qA54Khedk8Mp0ponYjgX
7M1yLqltHpOnLYkL/vnLyJA5Zb8aG5N/p+yIpuDYuVYcTFEBWHkBMtQH3ybhWHU02ANdtGcDxT7e
jlK5rQigL4zAvOnVj75Ibg7KxESREL6UnB173OKt6F7p9nY+pgyfiVaSLOVfJHi64C1vc+zYYApB
U9hIckDlBSo58uHC2aI4Ul3hD5rkzbZ8Vbj3Y7aNOiVIMNtCB2BRhuU+CnHknWCnG/hzB6gWA2ER
5WavGpbO9KKW44U9xCVlENGz5bKIlh2VLdbTqN2yHnhsyhjNo18bEWL9tsZQyxEsn4Oyd3aSTR83
qAOZRGFOjaXZL9u0yXZs64jX0B9m7WZn2QmdW4LqVfSFDLoIx5wQP4uzcXLgP6k8a5V9+bpyo529
POsEbJJXIM5b0y4zaKKcOHDbd7Kprgz0ceJCz5kSOOjBiqMMCe4QQcbSLw3QuyYgsY5m4FGQvnhT
AacJysRYUTpBgkZkyiedI4Uq4fDh/krDkz8cCT0A/ztqrEy78eJIoWkuO9ZQFoFRFuSEPudq3pJr
1o3SQ1NncddvzeUy9dFOxRFPntDhJFIRg0GmDkgz0fjHlcHyCzT6kCcXO5fPYgwTmQSaJU5mwYRp
Jqhm5cFZ6hDY6YxwE3MKpfI4rzmdEq8QxCtWqpxSVeYohqHE7cvloC5ssifJ09ic6RnNgNhSFhgT
CR3SosX2jzFG/vxShbKbO6Bw+W9VsHONQA15OT+OYKFSSxI3H3hkrFLwR/CWUqzIwBLDhKL4ABfj
GsePtjepgeo8U+TP7NI6NJlMngE+iRo90RQbMFL+okMopjh54StlUUkOjCWpic8z3vfMR+i8sI4L
vtF/04ALTFK3U8UiMd0sHVwp2oElNn4zqSRKwGx/WDCDg22gWnQpvTIjIpyRJOjdpf1dSHR9WpJv
5brfIdzP6HyG/tu0mWTs42i2PA2Mk5MWIKtmz25H11oozxg3mcMSKyOznYrTasLx/KXlRkCEYp81
2kbhlJTFfl8DCEi/x2Y9OwJd1/6yV3gI5W1xum2bR4EhjB1hRDxNhiyAaLyxDmJXiZaYILPASIFJ
oadHU5x0emUQF1F4yQi/sQ/wgKPHaQfh8Wn9MZQkHEqdq+Qc09JaNhSrkyxi2efkSQBmiPypVffP
XtEfhaLfp0m7SYyGrzsTlRqkeaZ7Pys7JmvLuBNn9eIUFJmBB7GmoW9ePCWTgzqe8QeT3rFZeWLo
mRUUq72u1UgMzDI4EgYOKHwie13ljs2Hk0yg3uieKWvbbAqbK5RVaN7bKUHPFKg8EHQEVKTlLcts
dKhyp3BsdnAdNuYG/rFTEWUuUeSz70mePZkVOekIV+jRXtV0rFEnjtAJzTsjo2Y0guAMefvG5Sap
f8zaS8ev1H2WpclTi2cXJVmgXnYGT2f1m23vTndo2C4+1Fx7z/vmrS3nhzGvt/4unk6CjyDrDp1Z
HRnETmBEvLzzVixKdeQhpMvvswZAzeP8mYvUd5o0BJAPxsMiyqBKfTCHKp0aVZqGPJ8K51KknFxo
uBpLe+tYEp1BLHo0ktofK8c4+pFaW30vIufd1OMwtQ3P1IZ3/WfUGbkU5AmnCqqVOwOxW4xeVMna
PIkq45DSuyL0f+ui7tb6oiJnZe1TkhIiXv+klQ+nrp8EBPUZt2YTMRvPigvZEPAXgDJg9MAjdjOx
XpKNW+f1LHYbVB5ZMXcO1k0nKZCXzG2RDttcALZvF399piVhLNIRfPoEY2Bl0wFCl40gvBzJuEoi
f35bHfMyswxduRyRlW8WW/Qcc63RnGr+6Vh/BX9OYerbZZ63S001ifOp09fRP2d7Y7Kuly76D1VO
Uu+1cLAFSKGKITx6WHLrKfYfHsKBNtr/5/rqsxJYdKfRy+pmfaCOmq+x16knpFXB288upVBSGtiN
94zz08wJB3AdcZ+DOcFZoO5kP4o386cgLs/G20p/07LJYW98vsJAN0HIAmtKmnOCraRHcY1E9cgU
lmXp4AFLRRoazvZ7lEtesVAGtD7SITpJkX2krm/d8pGhPjDCqQbZ/id6PWS5qWv8et3UU4U2VhFG
1iYmNAq4DP3A4sjdZuiMgytHYm8m014f7/XEfd/kE95jeGnwNmqg32kJXfZrxL2kvEDm3BNhGWDd
JnCpK3u6sLrFg80bBQ1xVngm1HgPsUAwxSGw5fKpKq2b9rc6Viz96uVLYHQU7a3EXNGy07QgvTbq
Y4DzP1L7jdEr3qWSvyzFvV4xKk1AFeGwVKjFbFjG3txlA4zIQXEzJpjXRAOGFBH2nNXZdfEa7bus
yX1BoUqeECNrPo4YvY3hzn7KxvVckRptM4DOeKaMmGcSSTGD8q8Gw3lSsrJryYCUlEzl4tQ5WAf6
TVZkbq6RQYrlUJsozLGABrVn8vWkb7qLSM39MP/Cn9ESs6gEMWKD9E8ctFRBRABFcWR1fXwnCTPV
5vtqzG9ZHPSozREEMGsOE9X2kkj3IVECezqZqQP2eJsVHj8hh+n+wr5dYRBdbku47ObKPOnmy3IQ
LLEeTN1nCXgzx07Z80LUXboZ7XGvsrEiSma5Valuy1czCmuZfGACFSxryI/zq19WogCNR+LTNElQ
TPxrCafE8ST41CtbhWVgyzKwYBk4ofkJNL8CtnLUrV7SXuYRXqkGm5swGS0X5FCkjWZqG72ZNiXX
rzXQfujXI8wIUityZlx4eN6kLH6oafNsivViGBcJwW6Y1/fYbyE7JX2xVcp6I8XjLQI5vMYj5G1W
3K15FgsUdDvZ5ORF0C6oFemBlLJwDguyBYW4vNblo4TuWvopcaUxJE8WCW0rcYEgNiECcAd4aZUx
PvB2xava+ixtNPYTHB0t+aOJCXAzyAi6F2S6q9pW5wdJfRKOyLZUO4QtnAkpg0ik6oc1ao9aZB3V
rtq0heWxEzytfyaBIyspQ1NKQ7ywNYXgJf6kYsKHSDNgZzb0ubmSrxmY9mNSm8ZO0ijQVgOTSuSZ
4hQV0Mgrd60lF/X6PWUykWODhw9yv3zQIdyZGitvbQPJLwQsf5h7+8g3RYANcGAKH0/tw1Y1Q0uq
GdI8yk6LvrgbVDJICmN0dG0K7tXbzscm54w6HZkatMomHKtf3l+2mx2pC3bF0PrBAig7hSsJFAd+
EGc3A7lfjI3UYkInfKWcyIwH+pC/qz+dPD8H8y4rzsVoZD83PpcXQLV+j9FGU0IGJOeNB8SCF4Au
xpcciW4brwso1jeJzBj6uuHo3mLww8dJwN1ASTGi0YI26EA/0z1p68DAvUz34A4XajxbQY8JY0kY
oTOvIWeXM0Mw2hX4s2cDCC+LI9GDh6eObuFam8ZtBKrZaHFZ0N+yYMnh1dxKsHrpZHAJX17HDknQ
shz4bOy82Jg0lD0XTbEvy9qLf2LITMhcqIREwqgXJfOwKhxR4+ph1++Vc9E4RBZkNUyOgAlbVa2W
Dxkzt441t8PpPtd/M9wGEQdGM/1oHSiMuAb0emGLTeuBKm16M4dyuWtFv2ksgHI7MzHOc69exSDu
hpXfZ9vlfdGiS1yq1yqvb3Kj3l630frVSeeqxW0w6Sqb+XxO+kG1Vjfe1CXczonHAr0pQM+K2MEd
vJLWftQTEWdohtCu9dQTy6c1MTQQpsRt3MESdjBOkZgyvArf1dpZYTfgM0A6rnHC2TzMZUp3SAmm
GI4HILs151RgwxMUK9ARGiuH2Gy/GIeUh0ZRSFn9i2PTnWd1Y2I35i5mifOIolG9Qpqi8yX5O6uf
Lw2KNSHcirVif9aDC5KhXImTo/JxhnBG1m1CavjkC5ya7I9GtZfZRT4Alo58oP4F5S2lNCOdVr+n
Z65gDfLuaOc4L8811uvWaG5leoki8J7t29KU12iKLiBX5ZKDfhHi6oSi7kaUSr8Knupa+0wIvWla
mOtauOK8L+cxbOQv8A8ihV72TPt9zeSTKfG+mggupwk0jO+yBx2gOm/p+tCa73mmzlEowShBHagT
UIQ+w0Me7chTLXtFgWcAU5n4bGv/np3CfZmyHHDCLbmoEbd9zEMqz3pP69mYqT9oWSWRQJ6H7ZJt
+cZjKo5sNhQSaxmurdoZb43S3Otj/MT7/p6chy46DmZ9SispgLQMosOfKkBeTn3KxuI0pNaRmuzj
fIxXsUtjXOtGtlMZn2SdP737Jed0W0emb2Wv0/uuKVNsFdJJnc881nDx/rJH6iyBGEddCaaRnaru
01DA9N+DEHhT4ApGRrlhe2peNNPE1d9z6FBhVWoS6dlrL4wNhozAeqWrJfqUYMXVTQ2vg4kC0D76
Bds7GeDe8kzRHO145uliA1peIAQn2QRGAd76irmU6oXUbPcrJjsL/2K51QrnyhHm2nJd6U9jzfaw
vQPRnoUDS5MDRKUi4/QxdISYQuHkgIZEXTHFsAVcHNY3beXTKr5Jlj1/0Rvyj680ETcQLHawBTWg
CAZOERgYimJfdyaJHo7/xQQlTkDOqHJ4ZjrZbHhyLWTSIaKmEbr/hHVJZVJYV1L6xV6hUXLQDiqH
Kn9Na09n9/3AvnyqperCeVCtXLDlQOzknWL0gan90VBLNkQuV30+Ou37oP0qkvaItfSYtBhl3IqX
JaZ62VYRNRdamTGN0sLrTv3KBg4DlE1B4Fbw0zfxNjFrnjvOltxKV4b6+qjIipvIbfVocELfDctv
ZRyuVFXiDo7lj9IkiLw2hB/mgc9p5Ql7Caa49fJfQ/dda2Jn8hNkUGarYvIldgNUu/k5mmCSPpZj
Q460cDwsj+wRJ3ZG2RYooyu4F47cC2VHIYtEtBXKRGr9nh/gHNrvdEbBatJ90aeugEoZKwjYJwe/
T9WchDRhkUj9qAQFkyGw9S8zVbKrJ1b8bWhw3nWwQWoQZ8djLcunZo7OU/JIJAY2DuZinc603dsI
WGRfrnlO/O6CK+C49MPJpqswrAfPTPj6QF0TfeewLKKvZzeUoe2sG8tmjTQCGeQdVwlkANJbmr3q
4N/rKYaEPqCJ9ah1KhWH69mYcI0YWJdjtAa0A6llVPxlNJS6NKFtnpJqIVWhc6FJ7CaSoHoNNsCD
J7ZDek0qIJP3LMhpQeOczil9xNpSnbrYpOtkoqoDAwsJhx7qU8bDHk7zimHWwB6aYA9dKPlJeXaO
KqF0Ld0pg1fNHf3no0cfo07jzcoDt0IaSGTtdyL967FnKnhp6SQuwAULfQaNY6NadueZMAIiGLA1
PK08UbWXj7fnBfqbzqQkkX2gnH4vfEOlpewym7Th9E+hS1y1qZlkC69WHF1I4K7JNYbaVDkEXtV/
suX40M6P5KZtxzORaFObpkZIe5L9nn29emxKXT+nGDUIbrDCqXdZw4PCPuoIMi0xEAMkWgdVxMFA
OgcdRW+ps/2p5l9pEl1LwtDOlL2xL3+WFWXgU/kqvieW5VzlYXqWlvOo+pawc3sf00ury+exDmfj
azbVUH9p8E4RTrax7yv9tSOAplQMF8VZzpx3zHUgAKXpgcYL4azmL8nBF2RJy9FK0Ham9t6BJsGt
YRMEf/GlCxqRE7jaPWGjqNSIOeEXYzqbpeOU9RfVlK8T+1Fowe7UsWbgRtPxFGSnXIp4rzl8UB+O
YV619A3GXVShcD5lUxCqh+das1nggWLHXhH76bQApuRSuSWAkcuu5CHHdQjmXelV8sCE/T8r+0Ij
AOuGsWPhB+R1/lKWDgJCts8YMatqDC2VMDWogohoLUz71txIXYWjV/4fR+ex5DaWBdEfakTAmy0A
EgToyfIbhKqkgvceXz8Hs5jQRLe6JBq8d03myd2QRvtmIsUMpGmWkrYqvUwjhmUE1Fzh/ESWHGne
ASvL8/O0FkGIHWyobgv6k4oXky4NShjNjsXqY/odMU6/QCJlQpRazU3OrHvTknuf2wh5ThWLfGar
avg+RHCD0hlSkuakdecm0BjthbhA6W0E9q0RuzysnKMj1nzLHiiSP7LuIoYfOBWYMw2+rgBg0ZC9
agN+B1YHHW1VR1s1Ed+iwrlX5NMxG5AltIS2oqg1qTf69mMAvdxv0ACgWyUqEgSdLHhT10peLbYV
6pjsxV7Z6ZppMwf6HJPSnhuFbCwS46gw6viPom66F1z+m4TAYqENB7ZgDG9cc/nEekMGArm6Jpel
eYTZLEk2dfu5rIn7+AJ1PQrpPsJfOEYmmsDUHuVN3goDMVbZOgM7xnW3Qj5TWDxqI8YeE2SjltP8
p4wHgBGzVIjgJiHzELX5VaKvx//Iy95T9ztzi8cmCxhQuWL9zNAf632IgoXLPOlsUcsOE3qaElYB
zCnMjimoCMtSkRFcRbaS/EtqMcyU9sgVM5DzVyHggECKyzjFejAap0Em6uGx6HxtZf3Ac4sxPjtk
mr65wmvaWySrlIksZxZiFfiCvoFbiN4nmeQEYyaLZtd/6rKfDHs31VHqx2x2AEbIgoKJ1zzI5dsk
bNGk2dHAF4nZSbEzWbT59Lhi0UvqNnWC08BYLVml4taWxtJPMl4cJv4QjHxV//TDvcvSY5osHEfP
YniV+IPvsiDZslhdRqOhd8gflkpGTfjOFNM5G8XV6h1+W8XSK9NrmNMRRL3BFfPfUDZvFU4i0LDs
o3ht+b+kTO0wwV7i6ohMJFPfS7j2umIHxwlny3M7H5JcYf9snXk0l/QpQDfXOHHH5sNtgERoqy/B
+pU26LnZo+4Q7QI/ycDfVf67HSchoFp+IaYmm2dn0JZAhJE0T0+U/5sHf2DxlfN1wNbLz+gbzHcM
txZ/A3fiapJZ2JFR6SJacKcyRwUwgiH+VXsuENRJ/KVU6Cf6XAcSu/xBIa+U55QvLxEvJGM0WHCb
jU/H9ynMfwWZI/qXTeJGKZ3+VrVxZtJ0FvLklEqs9AFfyYmTtzXaeeWgRsUmMAxW6STNEsS+U06i
/NZIHzBaLRJrrPK14hrK+DTIcDHYi6Vn1bBuM/JM4MzcOyIAwS2sqJ8wRMr7+0yKLORwIWW5glSq
JWlmdNPkkmO34DqAB73fqEPAB7bOJiRqBBT9YF4idHI3+rRd+QP3BndR4rU6s8GLRA9qkSy/Rb0o
tDKniq9zQbxXE2kEgyrH5M2sU9wpqx/9mcKdWv6dwa2vwj6HVratHMPAkN6qX/IFYiFjxs13Z3uq
9HMDfDElAYhYo6i2C+3cvUOWAhB5VwkejQjn0hwJIWGZ8gCxm1auzIDTljrn2JHPHJH7seAWhXnq
Rt/plnpR6zyQpB0ShCRg7M/QvHgFx/sW8yEwAPtEtbl996F+CBy7/LYvmljYvWbir39xArsJ37MK
9pLbsqfoFjd5bgPN7tkOLmQsvCJh8bGaJyT9aAXXCcvKDoa/KKIedPBzJgxNXvp/fY34unTiXTTt
ZTYYqG9m1a6FN8owBCxLs5OR3SS6F7T1I90tZKM8n2l+M3s7RWog7wF5mgFPJMnMpl2U5wk49gw4
vXfSQDJBo9AbEyMwHEPSfYnl7p9wZlX5u4+c50hAx/ia9U7LMuXT0N9T8L00RLtU/sjzY8O8Hz1P
8WINbt2cJN0IOIT0d5XwnmcUjfgPThI9i0HQHvHqgJSzaBeKNuRfhGtmkKf/yupbmp2i9qUR5URN
A0Q6bli/GAi3I1bQ9Z+6zxFieJPLBJmc+g+LudPy3iovmxo7haGyn4nyhIuhIM4DjIoPPPUV7bhU
5KNN721vuii9oI+RsIYrOQSrh8JitJ5h9WKNPdMwcnifg7ozKY/LI1BrGa3K4mTWFd274TdhAFBQ
HcAjBisECX5snPoNSjb+G0T4RyYCa7BEbpn/5jYqb5VDXCCJqj/LxmvNJIdPWnqT6p/CuqbV33cZ
fL51zpI8SFMtqAYnzrRgIKxd/kFy0+3J23UROjuofWYnJgdGGZDS26u6bygpxOhRcP21Jbnz5nGq
aO3eZpNYH/2IKEqUnCR2yba56NZVld9I1NCOkZb5Gpv6yghvYvzoLNsSGajbKcKTAWbjLN0ntiH1
HET8F9oYWMiyMjrRsbpIbMnSE9fxGt4m3gmuWskjigo/KGj+9SwV3k9H1sfY/wGO5rOYDMPVqXvD
Wfnp7XLtTE+D+pfhmrluSQbrWYUhPsUPazmsVD0Cn1az3m7Nou9yqMsDbmFABMDBgcl7dMueuGEK
jW9T+Zsg1cS+AyrJgR3sGiCJSulT2nB/WLAWPlqVFY/Aiofj+0PhCl3AUSqPsVGY2BNMk/Zumj0n
zIgWZzn/EimVRvS5mlUnNdNOdZ2fdYoi8VX/ySdXygtfR/87yDRL7yxkWN1j31D1wEzio/6DM2xJ
24CY8mNpUhjZMvgzZAGAO10ks0J4a9IvEZRvwcB+ZdU8q9oei/MepS8uuifDkJmGiHI1IhyxI3MM
F7DwVVaXcG7QBWnHcOIhg6fc+yUhQrL8tmi1l6+9B5febsQMp/99ybgzQ9jc741KTKsxg0Fm8ybe
WE2RZHHKAB3g3cFGl5J4m/KS1O+emk5TsYNigCyH3lNydqM8DCNkvIxCsHEVQjYVOIsMPJFae0lM
8iFKpsjC2iAR05ailHWZ32rfrLR2LVYx7aumJCIbes97hOKKi6ZpCEHpXMG66fCFy/a7puiGTdd1
lyHaqYON2i9o8GQDSrGq7U54SRVq+NZ0xVm51r+WjmLikP7GiEUovLMPqYyDcfpRFvEizOKJZcUl
5W2qoH1Qk0RJwHyn/yNX8d7WT5Cg2c2A6hRbsOU8URp7LDhzEDf5RmBNg37iFOZv3v3GgHMs4AAT
N3WuAkwiDHVy41+5OQyzTpohkyfKxRQ0RYaXDT0glGzjPLKltZv+asWIh+U/LR5pofDHVHkAQrtJ
FhEe+/DFIpi4Ka8NfrjK+sd2Zqgn/I0l2nYPIGhumTx5pj8uTFxGBXmuL/vCm7jExON+ycu2IQw9
tdUOgtH60j3rgmQj9VOBNTwqyyGOCN/j0yMK3aBkmtWEGEj273kNoJMF8qK6FnMmE7qsZ63dpTGk
ywxzBXjPpWdwZAi81Ky+tDX675pQJ8hPReFAPG1cIVXZNmfv5I+951P8ITGCljEWTO+Dkryv3Z7S
cVg5bvAwuCcRNU+FU36TVsjRM0dnrY7YbxMca5H7LqPJj3ngOwQ/+SyA4ieFh5MVUzYTDcZ+tGto
+yv+znxROQ++tTU+lzjRmH0O8QbMcqTqp9srHXEDSLv4zUwO4GyyIBr2A2WqKWAxaKcTxyaay5cO
K+GmXwuJM9Q2+APJylaIQoAZTfl3UAZkZ04GGGVYeqeS/gkUKDLiYPLKL7xVO/HakPbCPBtmAx8Q
41XdlsT7IhD+iXi0wPWjP8FrA3dbaL7lXyxFko3QElkDFzB0qfQrhwWYwEsp2I37CwlSho8WrtAB
NJQMinW7nL464LcLNU09MroHopVjK0+0u7GGD2X1K+Wf1NKnaKyc8elL5vvIR7FdhEifYpeXmUvn
gTUzG1e1FHwdeU8Re7lGeB70JpPEadURzEtTsAJk/p4M3ljKj3xqnwpTBVPxFNJDkRMbSImLVvYX
5bSuQrCEaDvalwI1UzS2QUW/pManWYDUX+D5izDI55i7pu+MoobW52DVzBnyXWKmR7G0p1NbLaiQ
FCgB+W4qa8fpo5lwz+FYZiXyDhW5kBUUEhZAA4oN8ii8z17CrkzfKLIaLnV2ZdZbpKHCEfWDqqs+
v1vPG1+BDejOVUWClb8uwy6Y6k1PthszezAIymi6u1V+W2T75kbqQkhEm80aDy9aOpuw0C9Q/iVU
IUyk88LuGEVFRe/D9PYKRpmCYiFqb/cJMscZIY1AkGSSyaR+R4f23Ioob42vKQEDhhlqkPB1GFAz
CfU0v4xkfMaV8EKTsjn0iIEyo5MOIWhCQoaUAWRLSrpDhVixJszoauXHuYAVNRIa15y4efMQoq/J
dIHpWqYgT8UsgEoolhqvmYiKbpC9D3sM7Vm6n2odnS8RmJHpiFIT1GdLby9Wtl7E+a+Iiy3jf9FT
BKbSzhgH1/nEEmRJhrsZ5veQM09CbjKeyqQjQ2k32XX6Q6Za18cgoo9UxIsE8DVu/P51zJJn1rGn
QDXEZHyOsrvwaUWHTo1OCpBTSUC/nb0oUUAQpBEfWLPslZhjVHpF9Pam8EZZG9OkjT5afk0xCpUT
Z1JbMiRuzX3CAlXLMXqziSwnXp2e7mVKzZhIanuRllOrhOCrOezlNmiBfTdBg74swSSSmacxiy9y
TczTegxJ3WTgDg24ODP+P4jds5oNTsb6kNd/jDG7TMccpWzJkEfMqdJy4WQ+ygya3xqdQMjWFAm8
VnA5HvCm+5pHL0mTvGw4Fyi8G4k3KjNGutH/SbytJhNPBcg36W2mmYhfRJusOGwFfpYnL1r0N2us
Y5SfSy7rFf0lIrKhOzTg0ySGDb24v0/KweQyImO6av1tl2eq6qGJMBRKf/TGeGiicJviyg2hlFfH
7DuvFRzYAUzY9bto48AwK4Ib6PAbD68msHxbZPNSJVf9sho7QtJUNWKkJe2X8Cilg7/keBSB5HPV
FjCs8mofR7OPr++gygdZOYgqMHFomzF2Uys8zyCx+T0mmnBuu8r6JM0jRs7GnlN+SetHEgH3Ms23
vunfxRUF7HuXcSgBuFgAXMTp4okaHgG5hYBG9RImngn5d9RulsxHIsU8OKhxMZ2G/yIjPA+LcYpM
7cilHSvyziTCSn8Vkl30rsfCPpm+NBprBMpR6E5teAU4mekHQOQmgpNHpBywutIomICdLoYm+9qL
SCpewdCjKNcjcTBsf/V662vdGa0QtlxsesxLGtlugXUqsW9U9+WRoZsjugwJ8yjjUAKVivFHAckt
u0mJcwacqkEcQOWvggcQkjyPhUT0hRZdZM6ywRUlwVcUey6RRd+6ow6JJObQWgVWFgTPAQfpUslN
GIEWtY56DiX+bknUU7TUR3m1W5yO76R4mDAnCdoFgHnmrstLZwqP8WuMT1NeHirpfB0ylpJprrlv
VCrMmG3t42/RsrtCXy+0Df70xFnRBSjyM8VmpYgnSRCPGW9YMzn9PDpSrmItuQlT5Fi4PsrEVUTk
6TT7rGQ11pucESHPHLdKZu65jDuVXXLrofkn+zXkU3oO7CKNBNRU5ivmW25KZ+Az2QRkMd0kQCDw
jF0rPwWyyZJvNSWhLJecVNpj1D9Ms+XhNZP8eYvK7hD2SSdSZSIAgkkN5Hv+ETrWw9r0FlkSgq/b
tslh9zzWvL4YO3dEFcnoXN1385VHaTEm0ts028oz15p0b5x1TzdwCCEhatTeGbLQ+Y/qQQWz2omQ
WnaQYPUKZlUF35zjZZ83kruU8KHJPVMB04mXcsGPZznxJ1FpoQUJ1IlBgEtSQ3YWLpiNz4j9gecv
bzYVe7uvu0/TUm3FFZLyaCnqycDH3SYxJUu77w1qFKF16/LcLHcVmbMb5tJOaMAxlMeJ+DS1SQ66
h0KA/ZMn1k6s/sABlax5p2O7GAl7r3t2iQq2wGjm2FH3a89aqkm8OTzr61Yf9B+JIX4M8fTRSOfi
gkwFjkflksAnyBcUAUQraxFhW5rgDylLUyNQqa3zNkerUx/UzF7ZSIESHQ6orIxP9mMnQSA9dD7F
/DIuw5G1YGCoSVApV4GvHdtHNVtRRBKlajpmlzCPpTiup8OMOCdF2D84Ov9EZE4WYRKz1+HOXK4d
Xkh1ZzU21/7c/WNHAi6KacyVgqwtA7N4xVggTH8WbIULSCZUUzOqcgIsV+EqYz+3s673x3jd0b1H
5GMy0wMIqiGoXxnjhdK/nBoIvj3mmOEEbDWyZSE6LvF8XBkv0laRxXvVGSB30Z+IWErc17UsEDBH
/zwymKaT4s/Qx4dOJ7dE7S03q/tsPc3CuizLHmp+KiPEORuk0OC1KzsvN7p7ilPMBF+Xrf2zFG4U
SIH6QwHZm+BC9yu0L+LzeqbL1J+h3ENpqU+iIJwE6J5A9f/LljnUxyRdfGPsfBVyhXSpCv1SMJrL
OF3WoQ/GGlOyyltr6MgaoKRDqmD+dRL69DghqjEFGp2oh/b0nmHbyJE5cDmywl9OZpOR546sodce
NSGOBvQEJZv+1boEXpcI8XwQZmfVGiiFKfnhMgKrhR9ZsqA12im2LTPElwidP6dQs61kwNFhHZqZ
CWcrYoRgnJqm8AA7hCRSsMCE4LyVCC3uQXUJgg22bm/FEUEE8sXoL2sX+mYoncGxn9hP86WsoZoY
hd9w15WwO0jKMsgugS8Po/1r4fYy9PTUmgjV5KvF+F4FiTQTEalAuxAwmjWwo8pNZCEiC+d4RV68
eag6SD0QJfCcTAbNtnan/9MUMP5aFDSG7suh6Asq9WWR+LPSODW7q0IoDxN2aw3fbAZxe2RqMDZu
LYrBFE3UsU6jy1xRMQWSvSjqUy2B/xRsHtR/WnVVUFIg4MbDm7Bv6ft5j9bHJFRuqPHwofJc20OK
u8mK+MgQGxXqBx8l7zAb6BStbUFywmXTFwoR6iWuK2KKHU0CUilMaNRoI1HzGOyyGyi8Mt38xrdH
D5irnT1RiXRFfs4Q9tUvLTOGhgdAL1lWsDzDAhJuiyhz2qHM4RBmTCmpMM9GCSV4ilK93+XCXhGz
U8QBNaFNqcXmYlbNNVTGswwudhmQnqJjyaW3REBj9KuQfgNoOR9id2T6Tp/NTiAc4suMFnKOCHch
sgB+fN5dJ8bepiS6TPNvaliRJddVia0uZOmEdhbzh+XpixQGoDG1Jt6vUnoImf1U46sJMs0EyFLz
Zmq8clgtzmj05wyKBPP7hL6yjNiFkGQnMZAwaZDl+kfrY0bj0kkcX5fesCNr8Kekv4FARMxmbLuo
+wq9W5j1YG3grX9pCT5qbEU1MYQ5JJy4J0OGypwlWZ5+Df3gIOjMORa67Nltbp+F6TaZXYyBtn/J
ZvgKrDmlb2vGP9IsY+1ez8Wsw+b9R25wJ55xDpCNCpSLvV5cfa6bbccgHoYlXc7ELyaXW1iCCFsC
+kQDqWKSykFFFKauaXtRBqDF2qzS9lWMsJUwM4XOWt8sO+AIlx826v6aHnPAgdbIs7V4PL9ex7z4
Wk++wH58YD+ur/BI1M4nfRizVeIBYIJDyGSeDQ/r/HIOGuDylAB309BuJbTfes6vvfm2UD21KaIq
CwFnpt4Nf16MZ5tIMEHTew3ApAPviGmYsspuoR+bOrs9U3NFaruh4JtdbW4CxDb4gU3SwXKG5ofk
lzUx0XUTOjSW8kjV7jgJmXTPbp7AQ4YFtPagePGK4cYA2bXu1pS4AD2h5H3RyETJ148ylQBRp8d6
POAP8gqRSyEG9dTTOXFXCTqOkoRQ6crrq7uulTbLCmrliTXhpH5oGYaIvPMsLtyIoVk5MCDnqF/h
yCGgRHRxgPzJlqUjo4BYagrrnViGJ7M79YPilhYdBiLkkGWQm6jJzRrEe4Ouc1wYY6eVVwOOik9T
Dm1cv5Ad4JWxzl+kPDRVY2cm+BQsC3AWJJrbdP2STNHBWZyWuxZZsiUBKn2EhAoqeAOtmiSP+Vjn
8LNaD2VWIjVHcAD6B8TXowWmoBH0o0GwXK+8sOGkGMw4t7Tgc0bWLJSdXQ6tY+Ut3uZdj9Td2OwF
ZX5I8PioMr4y9Xlp31qRPnn6E/ePNJaDrrJ1drIZ0WXRVF3rwo1W2ROK3VCh16D57Bdkn66aAwZR
XaXdYy4m+5ztHCbvhpFuP3sL/N64fu0i7yRuk/zhTDLYTqYXGDT1bGJXhuPOsjk5pg9dLx91K92N
39K0mI8tvsVsEEjGG4vFLPvirEIi51Zt/Yx5RQUUtrU/GYi8zPUKCyHUfsAJcLYoxQ4pI24jJDw9
B8o9iaKzzJDY+jNOfC33Udp5aWvbpKOiWrf4RppY3DgCmp46zLbSj5hUCSxoISEQ2WQjcDmtBmOh
wTNYRi4JoffU/BImz8IH61uWN5GBhYZ8idmd+uRxoTH9kF/MST78VB89UseO0Xdy4noHTEFzfivb
o0oJZkyTh13dYKnZsQ5IN3tbuzcswr/BU7CkqOCm14gcEGAv7Ba/V4yC5syPudZcAHOAcqFdELi1
Plo43KW6/p2h9Q579B4viWEF8s8sFUE3odoutGB715aKSq1g1lh6pVgBBwOdLpwT4M6tnHpixBii
wzxRPBv+kTGhEltqnlluOi3fCjHqPgSBpmWrzT1c611UfZYsJsJz1Fuvo6ixDvAjIbAIOFanAluC
jq1ght3FzoBPi51I2Wc7C2XsyH4/ktpdXf6zsmf6Br5CNRDTJ1Cts7s1CrZczJ6M989Mi8N/Rgy/
oABn4kuHxgub6paV3S0ySaHVV9tUv6Zs8Mx+dDFHsj3DvzVsyp+tN4Z7F1tBapwYJDT2yJa74GcA
/ipU5BpYEb4U779URfS3hoje7ORVoGlWP1l3G4J0SM7Rqz7e6wapwvCLIAy5xnavsH/l+gXGtRQY
axK3bjed7dYe7zIoAU2yN4CZ823xxkCEhveA6nHr6cFDojGQycPoqzRSTfclUlQy3upxh9ATwLUH
FS4nmE4trZOxk28alucCOQWCTpl+GaLTDv13TY+rn4jtiUnDwf4ARSEB8eLznZVWNoe49GF35DLP
A83ERPRLazNewJ/mKIx0i2oOdKY7c+jGJTuS9RGLxaPKkaAb8b1hCtZzBEg8SkH/nkXUTM7IKjwc
0OiF0mEk2q/m7CaT2gM/R/4eFdnICV0TLQYIVn41ifNJzv27MP8gyYhnVOodXnt09JO3F0nSQKY1
CdVpaNVj+NLTCaCWpwWHSJOUfzj/H4LTYBmXNUclg8NYYw4/AofcGARR1atcirhs6BaQRysEAht0
8gqf84iiN8ReHNK6TxNof6BxmYBgBHnRu1AQh2kUaNSYRX2hDa6y7hSFVNO4znTAXYPfZ5n/UNLM
l1bjEFcrFqr6YIk4RsIZhwszCDZOMpg1XgqyayS0PIx2qvF8KZovkoGCzZC1+VCx9SG1QkLNEGEo
j/fI61heJIWvwF5H78s3MYQcny+CNyvjQY7RS98zRK4jKzq2Qk1lWzwsUUz9jbz7OiTSNaN7LeIK
SvZ0I5kTBFvH2EtM8buo+SH8jJ8TgntjfQzQoh/65Kxiga03DKJ8CYwOwbzDvchbHYzWFs8bH3SE
bd0hASJ6Gk2TKauNRnxiMqIv4168DSUG9D46RQLVJ/ncgEQjRB2lyyG6EJcp9CxQYdpRcjrZALPP
oJrmy43Hvcr4i9lt5Zq3rBkv/wRFIc7ZMWcRJ1TrqTdoAORkZKztBYlISlIyanQxIxtRXP1R2Zxr
yleKS1kSzrxfsj8p2VEYoD2jy4BUfZ4Scu9A1CFV6odDC4uWtrN6S4FSj91FhWuflYw/YkeWyEzb
hU+9YlpUi3ScLmhsuukVWy7EHVqJwVTciF/D+KudKRfYd8avK0EkGFeWiIcAmsmprki+JkNU93PR
Nh5ehmVh5bsRE4cCsaE7K0RTYKS/dFp+Je39imoeaWCISqMEWEQoVnrLki4w+aDqGjGDyCTePGr1
fIzHzVAuBwOaH0B2vraXVdXN8egCE/NVRqlGjf/MX9iHGW5M9T2zc11jvkTnJbz1ipNS4GahO6qk
waNnA+xczT+pQp2CGhIpsaAKN/X/gdi2nlyNSoEG4GbKBIzrS6YZXOoZYxpTc+ZA0/Lot0wR1JAd
XFEZJe2LMByW9kj02FTHTpy8cXkGSrln2rK5BYgWUpk3VYpfFlR+dHVS/Jb1JEBN8lGxJKdCWiNy
JWRqigINgDpnU7SeF/CMA/GKFTlWGk1S+JVafzIqpAUemxfGJRmWz9yILsO3DAmw66xjtz6SITz0
PbNAldQaPCMxgwzFJFvOImeC+Wh3HGO+nanimgMnC2qYUn0XwumRepom3BrG9jPqxQF96DzyXw/+
0IKV0WaAfYgjWvfvWzL+xUFux9VrnrBRs+XW2RfwjAxq0c6g2txPq+UdW3CcFvTTvHikET8Gp71x
yrkHVgHV91I5gnGdKkC1EyLprzY5rjxi0ie8I8aRX0cpueklklp0ov14n+iJKwFXAdEC82cPu1dm
58OXCyi3AkVZw33QqFCYOB+V6lVcmkdF4qPyNyYy83tUO3eYtSeZBZuQs9EMskHfrAU9CuTnrNft
dsWSyX2o4A6tpIDUpKZeWerg35cEVGvTWxjvtfDRHRsmmpoKZqhypjjGgJiRYPAJi/nSUQbO44s+
QqLMspvKV4RWQfpklr3KTyohO1Xex/LPRhVUa9+wzMO4wj9pVU/xO+i3m4i2tRqnUr8K2H2TSGk7
BzPHgPywmHwMhCmwngsMELozDcA4do7IaVWxLB57N+Q67BQOAMigcbGRFRdX2UZck/qVDqMta0HL
7IswFOo0J+KvaXCqowuq4QCv4CqqV6UD+MSQknGT1/NBqDpTIAsnEHUvnHuVgaVr6afNYiMyaKCT
y95Xup2lTI9yTqt00tVtvUMlA1Z1i9XAEiijpyOIOElw8NE3hpGzfs467HWBuvc2Cz9bTtK6VCxA
WNw5ffxW6cq+R7somWdg9CJhTEV6EHgsYgX/9F3JF5dRHQK7naVarsLBS0BQhTxP7NzcyIg/FVl7
34bhrQfBC5vyTUfrRD6sBmB2lhREqUxN5UC/JO3GVst9gi9qaY+CGUAxbPaRIF/tJUXFHHVHSSGO
l6zI3Rj+wwZBm/5ImWUzCR/igj9kL4kMV54DR/Q6InQ00Ve4SNIS88Wq26NsuZBVGgUGoPQnJQ1H
bI98WhPzHE3QnYqBZIlE6yePAgvmSlSoJzRbqEj/MjtyKsAi+QCUXG/wpgowRg2s0y9W8tMQqNcd
51W+hNOPsFGuRbtWGNAQ6ULnmLYjhwSVQDXTWPM5lYDt4h/R7M5c5kZ7rVGLkkYBHQJjwRh4IZ1f
huoncoE9OJGgcL4it+1OfI4g0Vk40xpPXAQR/VJEShYkXD3Ekh+7avxFcRfSenvTLSMhSflSkfuu
yH2xD9z+05jXRqTgklBHgVPPQAxrb4VwbJVwxsGRrIj5l4rBEkwzgHinkKDyUT7VCjk9YnIcqu7Y
Z/ORc3xNRCf/p1siSrRs37bofJrkNBz50pKDohUL1Ubs/ZdjMTaGaC2D8HMlo6onIG484puL/9o+
uU1noVZP7XfaG34GTrq2CoYQrG1Q92DQwmNR17R0PQPrlyguIVfZbzKVB3EHk+7Mg523XDVkIljg
vrpo3fHx7hjx7tOM7ZET5zgRaDAEBeX/SsAuU19dZywSaqeQ/n89KFZxkFWJ8UvhJUCeG5SzSve5
xNG+pywdZsO1WhuwRN+cTWZXE37UEsDFqi1bk+2qP/JPrbKgdwoSaQj0OrdGhbm5PNc0FLmdYMIu
0UGnzn+LaLBMXRrTh06KMh2/e/xW9NvPAVowwMdQP1JsPF/pDDG3Dspapxy99AaUK0JKYtRzmGlX
pyfYstc2paQjKDhq0PD1UBmJATMTt6hPeghHuiJ2fsq9+TveW0l0bdv2qhawh0Lkb/V40XnwxVMq
UuSQJDkiuKTIcfpSJzeRq1OfjuYcE4Y1XbQNPkK3qlwRtaq3qLTueEUfZbXJeQ3ilVXOoTaLzt36
ZTZ4B+DhmJ4AgljnH+nniu9FBTouDzhpCQb6P8TKumGneKxMpcVIv2o5C+NFI6UaW0Vx1E77ZaCY
CxRGzJKrFMzBGHb1vlkVwYvISdTuyrF38vjUAQoeZ7hE93G6Wd/tc9Z719rTtN/EAtZIRq2PpbRs
2WerVH81ToAJWSzJOTFFt1V5c4FSn5ThIWHLRLRorVGlzW5vrDtV1R7tlLy0ffxaRQ4TPU+3NEbr
lrfq2/8KEKIbQDM6JCM+wwxRNkHy60edDicffTgSKDU+MJ70Gl3zxPRCFoObq45IYNZEmBqyPwXq
2O+EXaw8tcKefgEvNXrOljJDRtwBZWUY/sTym9UShJnY+teg5ww7t7U0DvZniKkLsyZWAxqQhbpT
YGYmuxZalY6DS8aDM2dXVKxrfc8Rxoz6N6ZHvy7aYKu48Y82BEfMI2E1SkWkl0rbxTanQkqfl6Q4
+tAu9bF/XeQXnDGy9JL6GoqzcbVlVOv9csmW3aw1943CU0L6KQnJjOentN5CEBU/BaJ08ia6JcXC
uFIqdqR86YlPUgFDEi9kRiDljv41J/NBoa1GLlqbsS8xGWQK748KcU941QrWGEgmdy1ipRY5Xsgb
tyqGB7j1UGCkDzFNm+aIIIIhkDPGj8gCHMkjF7GvgOCkAuQ2Diu4+PihZJTFMd6LBnRk1V1VXbp+
SD+8TnY4doiMUQzKH7O4iZwyfT1zIDB1mIFxgqMZzFONWnEx1kuJEFAmcEP1pmBRMXHco3Y8whtw
IMlxQPNMRMM5+dNS91RyIBV5cAbX7AyQJ0vJZOB0WvO9oTPdlt0J/M9guXSgAmKRsTnytqpc69Qe
OldycWT0LNCKF4QkKrHojhRv+YeAjD+kicdct+8ba8+XoUd62LMV2MadGFLH8iEL61O/MwJO1ulk
3pndkzwdep38GfXrGXdeDDI5SZ+1aj7kannov64uv/BeKdmXKH9i38w38rys7aHCa1SwVy1C1WQX
vyuhCsQxmvqC3MKp5Pgs4WGF70SeOSOIyWBWBZhp5BOUfqK3lP///292SESfdmJJddYRiaqgYyoZ
8z1zs5ez0U8vhvxWt5Q0NEBAh6bkfzSd2XLbWrZsf0iIQN+8kgBBgGAnkZTsF4Qtb6Hve3z9Gai4
Nyr0UrtqW2azMFfOzJHRU/tWel9Wtp7i1Kej3midFuziwp4BKbwoKTVlFk1wJDSlvzCnpiqwj8mb
rf8ELjd1dx3wkYxwxFrBNQb8YMTvWGPTSiluuZ6vrPlb8MArMZGTi0WblD6k/qyZhkcM+jRQdAQ0
oRBpxHSJTyjVHS+uvYTwMZddaxWXUCPaDgmHb7DSnww0/vlLhpgFvmZfWgOlQloQNflZXLiiRk81
i54SBaUavViNBPp9+TAUQGPs+vmSRcTjl3HP71npEfRGtv8mZl/2Dv/qEs54gpMMKho3GcGwaKDZ
1lznKZJYHvLWU8dNqWqmV6e8awMBCzDbNpr9WLHvKa/kIsTchQdzsxCzqitvS9Lja4aTWV7zGig/
UyER39a8VstxskZOqVOtkrIt3BaAVo1KUBFdLULxsPgpsVZVpgcERyBvN+dMNOIo7RwTYzDQXRh8
WK1L0rbVrpNYbn3EoeGtbL+IWXJUiX+z5XtAh/tXpzd4v+36laxkTyGnznBav3EH4WOio+7ajtp7
/jRW7SxZw3lNicQzBeMnKSWa4tDjeR1nCtCEli9wRHQS+zDJBhob8MR0Sn1fjOEa/dWU2yC1e7kb
DvRqogRYys1kqIpSvlBMVDEIKEZ/RFMy5AlyJwZXTFQEH9URQZaURXsQM45e+d+yfZihFh2jbB9P
zqoq+zyj8oA13jl2RDmzwb7syjW7zBNUVwcPVS6JhyS8A5SW9/Rw8lm6dVPsNRjhZRNi1PfMYZSI
xnWlda5E6hYhxly6CRrqS14u3P08Pcx3xP3vbIVCscTs5Wl8WSoOQ4lNfLfSV19qD6ELPisiZKTD
ItNbzOfEciJkBap/RI/MZEWXQtaolp35vxP0lSgvvZY/cpTUlu1WguYuCI9yqdwIwG8T252knGLx
iMvSImyQT276pxfPI3L2YvCA2xMr3uXTc5DhjmgsVVEJlRcqvU68GNfgdBLQUnFE094m8J3Ide2g
wqBLhASf9b+M52wefQr1ixH0VMW2wZiJX/vEqXDQ6n9gmzHxYkszlpMEtxwM6qlIQx9gvnFKJ4Uu
OMNp1L1C1FNoeanw2zbDVZr+WLHy0nrjWU0TQM3i1HlULO3k2O4HkNjZ8N48ZjpoiwF06RQ/WvQM
ugrtqVs9sMms9EdPXHE+X0KmtokgM4+onShi4P2aGj6GntbSwQerYaFNkH/NvgNZMs2KP5nuJP/Q
T4hC7faTvbltrSuvLMdda6/Uv2v7cGwDpQ55pGBM2PNl/5CAMbQvslp1sxd7emhx5Mo+Vdi7RP2v
FJyo82AUA3FV8NRmjw3g2mrgDHYTI1bRYvDkbtBqnvYzqjS08T8S7p1EZFc8a6xlFvHFDkc0xyfg
02e/7pWfHlR0Cg8K+pWoNmdAlcEUEbajxk+/GoT+zK2bzlY/KFtZU/ovytuIRT6mvYVIGp5ugwCj
ApwvhxOxYhvhyKITpQTER64VCUrOGC8ZkweQTho2w59PcFXpjM+7TxxwGBX1mieC+YEofdRF6ddH
ffoyib3I+lOkvFWemktdkyQgTZnJBx1qpSL+wpiWkBbs7A6A0KdSUTR8BXPGLMpNPfugV2r5FYFs
gckoavEBPixv+EH8B57BmbmLidb7YL1rzNbcY6aTrLV+zQnaRIQGsEKtJBMBBVB19qVzOVuwjoXx
fuKskPLD0KPMin4s0RCEJztR1kOJKSnNWHcSK06DCIcOd42KnpqJhauKJV4iPh8D4tDJzjcDhxL8
pQiIDxeI9k8XEc+qTmhm3DQY7m/bKixCGpzxaGhr59V4ZnioQcPIuRVzVVW1yrdQMbhRpkO4iwVW
0byaDZ2LEYqbSyTLqE326IC7VS5xxMlMiKqiy4f9MDO51cV/IRHLqqNDnIf6kLrYT12AUIrR7Qf5
v9T6iLGX4KGOeUaP1gqIySkGwZZL/VOhX2iTqyNH0r+UGJx0a57HLufZgm6U0hXAzqYTNcrttSAv
xMBMx6BSYlw7l1rnNVodRalY109QFToPQLrAJbQCHMxultOZLqLItGxzCwwiiPRzflRbCJXxQE8g
p35WEFkDTsawvnROw+59DMH5AdsZ2XppUY2BkdjGbmS/FmnUD/P0UTjTCtTUrmatxJZSyCB4DITf
lf2mOp7qZduZVccMg7zS3dg/YIX9mBVOCGW9aXj91UoOes4dBqA+8imvvRlS/66QkJqlX8A8wAH/
65flWHHVHGlcWMC11ea50L9NgcDPjP6IH1mpMbeQ1lPWIpjFIqikOKgS42QuGNhKV8R8pRqKb4i/
hSENBqhpRnNGowsyGinIhBmbd8q0IxzZkxxDMcDnmmDUxFUifaekPU0Tao4cwibFjtD/fVsyfY0n
c7G8/COJlyOZCiqzvbhZD7QH9GDWojWnUgTLWOLrksjXj2Y72WvY2VGTMWErNahvFpFa58p0JuQN
geqpAS/iIH+urN3wVAHZ/7ESfQ8tGsWdXcZA0nHUcyjn8w6qjqOnfL6RXxB/pPYk8SYb/5vIaDXZ
NgzB9xDFvtIfI53yHbbspn7fRF1pjnGqHk2RaC7lg0hIknyZ83eSEgPbir9huh4rQzqWdKikI8pU
yaxw2uLx9qZepghM/Si6Wby5nWl4o9qplw4RORRlrV3TxKx6rswPen4PhLYVlLyCQyr7K7GfT1Dc
5rija50/1dNKDQs02XkUtaIxWezDQOCLtoAvpVRMniiyMT/KgBO7iJ16yR9jfZu7/ByH8TmeOORL
MehXZ7Jw6tvcS+28Gx59Ze2bsSC73ewEungt3twJtsXCZ8OrOB/eyrGLozAsLY8L5kF3a+tpFEG7
UkbMPxWmLNFSnflwKk2XTZuI6pok3zgVmWLhpMEbyLgsUmbejGQzkA4xiqBKAiu9CgpRC5pOchWf
61XLJJIpDs/JCMYm01cjHsK1OvSar3YqxNrOoxCakLXkNd/jpHijJJxW3Jf9sO5C5GEt3HW/EgGw
OVitiShMjouMyoUvElZ1x4qVZi+sMVJKZxX0IB2ZcJeN1hUHSpcbz+SSqMtD3ro8ntJXVHcnujc0
8GYZ/W4t744BOyUCkjWaAlAijMeGzZV0UZaHWSgPcVY/Ep5k0wOtNiHP1SlBxEq+q7LX+oWuCSnF
cBNV4AhJjuljaPtfc1T8Ethfg/7vPImknxoq7m/MWw+ZR+1R/RHS6aX/dLTLxJgRQJ70OhhOaG0W
/CXm0/GUQk1fIW/XJUHfLjtJh3j93xU/ex+wDS/+gCIwF72b+9xBo31x2Kcr4vnOnPUdK24ivpJH
EPFKvsNV12QHlOEOQVwu5ZtQTfek8ZECXEIFcctGF7JEjWm9zi/iETRS0nj5PaqzIMmkoD2LOyvT
bdp1I553iipCYaPSh1WceMp/Zx1WdGk5126KlwUnr6KdlZqgciKco2t0DfGTW3AYxiSExPVkGOcB
SIJOO2AR13CnLIyc/eIpYKmBRhmZvQLAHBEbCnxKDPpHQtGuWQAl2CfV5GhD42iEEurQTnlKQjdu
iq25jF0OduWZyULmg4lvKRpRXFYISOx/V3KYBH6s/qBiv5Xl2RY3G+JQNbGZpT7LQk3kov6cWj4b
CQDYBcgKDkRJes7hvoWPpN7w303VwSDIOYOVogX11gMSnmiOgGSaaIfMwjGr7WPJsaCSwJygmccv
j7PeuASzWATCgOTXKPA3NIo7Y1bFo0XYy+nCytEdqgtSqh920r+BfLGi00REIlY5gNLr/8USVDJe
lqbH2EYRiAIhFs/6JNZnGOGO1DzTcvRzFkepfjMMFqXKHxm7I89VZNFlkrxBYZM2B60u22/ci+U5
NNrUp9AuQ6dM0Snd/DORDnlHd9NxpAIhJRG90y6LbNyKPr9GWXsOB93nqvLpJpxZbkxiXQwHdiaR
S0KNGNjMzGP5sCbHs2X1d0OyXJNVFCR2E9U7U9wBMYkjgBImmVY4DL04XXFRGmwOq70+0J+qV+8V
CQoVcEDdXLsfZdI/ulR5FA1D+D1+VK+EdCDXyoN5X0VC0g2zf3Ej0FCS4QNcZZLlA2BFH5E7EFaI
FfFYhvORC59hlM8+7R8hAn9CskBLzfs/0zFgkZiOeZHi2evwePeLeJx5Taygjn4IS+xLt+oArjZ8
wXeYXcvmWRTxk6vkW9zJmZjP0eqpCehuNlAlcwGUOkuxLYUCsHH4BlrtMJNlCwMgXpI6yrEa+xqL
sTbIYyyT5gaPNE76MNpVqjvQAg5MR29L2sV6XxeWZyR0V2k95TqC+18fU2oCvDO9T5R5s2YzjD6Y
Jr+QP+mWc+nZ2S+32Ew9JudskxTOMukrEWroQty7tZ4JxQz5Q/UlAJ0KansF5q23TIcUZ8tBVnGQ
iRxkJnIh2wQ+W7II6q5RMX3Fp6xtMJM4keSk4b9CoTIP7opJDCedKEsAvGKWHo1gZ2dBCZKTmAAN
1pavt1JRREVXRc2jbtuydXsCaU9fn4iZXXLpKKwVrAFq67Fj6CbYI5WffvaM013KU36m5BjLIZz2
9cIr7PZ8ogwILDbNeoTojwOgB5xMOid0seP6GtRLzCy2HkQFdSsOd3P/zE/suEXCckD47O09KovW
7v3N5ss60GE5XBwJL4KFwGwB5QuunMMfYsawjXjsUeDU7UPYaBGAPijuMql1qzsNIGMmEK1Rw7SL
vkolYVl4yy1n8cPiZSESYLQDtSHXKLeCMA5E9i7GXvyl49DQLmt6JyIJ7w+iuqthJ+TswNpPKxFT
IoMXBX858/Bev6Vp8tCVHWJCrGu3Yka34F5Wv0slEXiSFEn51wh5WKCehvuMOKmeIzHQcTKbrkSV
WM4P/dkZb1cMNh2fhIQbcSHDlCAi06w8XHVB88Jlcab0pacz67LKG4CCLRotOGQICHPSXIf0ybP2
VckIg8iF+gAgEnvCDAHEUrj5gJmUuLk5a4vf1qc9wqXDWSkHsNnYoscTNa27GJOkvL3fMSXngUmZ
tT5ZDBcVgYokaLD0kAoNsaHxOSQl4cRjHrA3rNHfaT1i2Jutf/T9ornYSvJqNDEwTLI/CtdSPNxk
gsAkgnv0JyKnfL8i20LOTLjjhCNeDlXzxUL1NlqGSus7gwQgKpWj3jJfw0qLdGgdJLoqwxUQsOwM
We8keHtaQ+MzmKCNQPIJkr8JXhhcvmb8yIGrEhjJoHFNTg2pMaOTdNrLjNgU5dopzbNGUPN6rBN9
UprDeoAnvZPM3yszU4mFcIVgN5bc8/jdIQcliHBs2DD7KLaunnQ8AwU8Dzx1m8LIlbHlrgKPCBxx
3LSc6MUZrq0WXfEBpJDyOUNfufYe0kS6TmwJosEl8aCPv/Vn1/9UVnOse8p4Eko9h8fa/YpKxVmY
3nOMQSlbu+Inw9+3bhb4PDrVVHWKuHzYhIFZD/jCn0akT0w7QoPJJYLf1+oXKqImrs4pW3v9nS2l
ZAq28BBUEMp8tEPjl2JBDXogHPhZfFDY0aqXTpKcPumchG9OwR15xpg9QFmcqsSWATQDJYLWERMJ
wqVlYA2vqBgI8CZbrWOOMUDB5poHeNoPynIZa9pQDn1pQsqqAr5CMrYmCaceIiW7DryOlihT0Yur
b9UpepJ3qtt/x2T9bcZhB1a0XRnHef8JS2HJGTTMo+Kqkd19AUhAlCAVTW4fQ5LAe0xzTk/GPlEz
T42cqBYpkSqC8GOSX4Ah5DEOJJ/cxFLOqMxEjtHDt10+8uStLnYLgJwiCUzyxRWYSi79w4xDZkCR
lI5Fg7dxoT+UT24LZfFs5dR9G3cNF4d0p6Gkh3zKSLBVvbJYICg66+g9p35bJHBn6CXUtRCRrGYU
ImxO8+/vEj/bym802St7TBxC3M6huPD8TUZHNtCswHDFVKoqHLQwKphJgrBM+aOdLUPfTpxBm6rM
hhPPsMpaiJSn37fMlGD6Wangn/mWm9AFixWdwwnEqysPHp21CqTITiZZbFfCJiSstNaxYu5AzBQb
yBr5F6B9AR5FqJVgwlo5H0ykg1Xb9YpnXMBjZ9GWsmJGgpVYrC7ahjtw4wKp1lPWJPxJRYjBVK/y
bvPZmTlmhBYsFOSkZSFp3AdZyPdDpFTiz1tarZm5aBKpWlb1Ipw0W6eytaieeoXkzpfFoJmnumPW
+Q+GpRfGvmolnmSMnoxAUtDl2N5JgE5NcuvM5SpyZKEStzKVKXj36vF/+/sBGSJJWifFay6F+t5o
2cahhg319a1LSjVNhtLwYi7c2iqdJYO/4wkQAQOfUBlAc62DDPEFnLcxOT1amCJ3BwmF6hyl8tHE
/MMdZSjFcyQm3JZBzCk421mqz7OtleGBEqyDaXQU04DyHmxQKXnE/aLhWoQ8JODBPOLkXZDcR7oa
QAKCN/5XQ2t+6wn7KpmCCWsqbYphDtaBqgXK+2oNa1hPSa+KS3K3ZMuLNMYZq0oOtEMXfxW7Btbn
dIu7xt7QruGZsAGUhw7A37CN3gA+alfTCaRfI5htW+fEsR7prhWeikidrTwf4oW551jiAG5sPmmg
QpY9HuJCOIxk1zOvnXWPdQE1B39NGCHqTKkiK6ehWYJtPw7QYl53hosh2oj3iKcoyCB4HA5aTwAk
U/OBTTP7TS0ELY5XGU2N66jIJGoO3bElsGpl7Hqaz0nVSF/sllje0wF4iSbym9it0HImtws7l2pg
NZPeU+23ggWfNcitMpzQqIIb8F26/rBd6lQQb8rZetn1K6eI+EIr2ykBjQkJa6+JBj0lKe0R0vDK
M6jm5Z1k0v2rPzd4Erjb2JVY7LXj385iC+XggaidThtss1ptpdMfiTp9sG3MaVe2cCtSOmGDOfyr
MtiGHBMjBXJMIexTTupFucUuUhcxyi032mNsBHS1PUmZLFoepg0zhUHlWMskDzODCCFkgI4FGL21
Xmy60Ssck1Os6ad5ueAOSWe341gZPipMTlVqHdQe04AhugZf8WStjiMtPo1177ajpDt1DDKX5Fan
2k3m6SL4kSL6Qlj7uYWd2QnxsjhvkagkTZ7zwVOG1RVk9WIAqcjguLM6vodt6yUj8Y3a70i65mxz
sgF6KRDNxumxDLHTc2StOgnAZPLglW3IHDKe1bVcBF/gRxu2MuYgpSCk4Bb9FhviKrSmonsibz7g
3sCK9A2UAl6ZY6Q6Jg1jEw4kesqFdMsIEWMDOCRJ7rzYIdOjdKllgD5Ld1iBKkwN5J7FVeNnW/wr
U5M/VKShDn8g9XWmykJLbdz0u/HF6FMZMm8565ixlTIwS4isbXUxsLji3Cs/xPQfXNRQvtAtmy7W
qcrsViAUpMJRvJTlLts6Shf9ks36JUr+LatvDINb00+lnSBPTYXd7MlqOXS5YXOug6Qj+U25qJA9
tJLgwGk9jRN4Q8pJ8HEgYcZdfO2ia/feZJ/9lsKpDgxlLLoSFDWZ4UdgD8ceaF5J5jzi5NIDdgSZ
hQJSEwHFfBtGOar9xeqgV9OABRBvgHEIBkbZKVg52/6xrvojX/THAn214E3EqUpa3C47OsoMP60V
IiG6jTZFNm03jCGW/vrQFeTI5uR9HaJ3xn0cWCKJ2AXgzi6JMEaqLZfzUzuIe3w5RscLNBm+vEwg
ep1ezC65mD4TMbwCTlcX7C1FtmvfyzY/RtJn26OOaRa1A9PBUHN30UHWxQ2bAXcaB/etVYYyVKIV
2KF5WJWrIVacQYeKPf0lq4DhrCvpEybl7wwgSLlSMfbU8+hLRtvgRj5ntHSCeOzgJ68sk6L+PJR4
rd1S+rMIHncl6C0GmuWTBjmUPmhgAs846go6jFqbFeopCeIH2rVxYTkYc6cUKOV0VLwQdd3B/HXK
NPEbtfPnFc08iU8RW5kv0uy17HyV3RfRgf0SSvgt40CjlVITBmroAfP+jg26gKRAZ0gVa9sa0MUJ
LJv05Wac10L+VIXhFYJUyMv10gOhlXtcCJNv6nzUhB+iA048keQD7gzg3iAkopYvUyInleo+/nFI
O+D7lGdfRfZbmtWLPiwU/CqqfNK4nJ2M9EEt1rTTcRRLCC2lejXb9tQNhu/SsyX8x6ySad37Yo33
vPSseL5o79y2shlv8e8G3VXQ7z2NQdn7oq63aHSy/fKrPtWDfk1cN+FBOJvE0tiqxT2uaQm9ZMD2
r5QvSyufcvOhJNZZ+pVP+bUpjHPZ4KaPW0dSs1Nxki99eMTUq5YzHlZSZ1nonbd12XbJM7jU68BS
GsuTdRggO3xgvb5/S3qx6cskS0iZpA7JS6ip+bGPDHekC024pSzA47TZJ5y2QhRSyRoRRNjhCVmz
YNdjw61x/uHk9euhw0Go3JicitE4CXR0J3udls39zkAF3OWngWeJLjj5mvkegP8Qz0t1HnLrqBM7
3FIhbVNQizi6CaC+GA8FDxNektDqWQjuhiF0RgSnDMFJZTm9uLgxqJFnU48l+dewB3NgGzyW5jB0
ZuU9m8ujluNh7anpWQ4VgyX07Cn7WPzxK1WzYAa3FS2X4Wfx5RUwGr2FGfXMJRuOUJg+xEr6mI4C
YbxTVPIsFuZjdI3vsrSP/YnSm3Hxq0h2q7oD9lHZSqkHzfJPwziMZd+2zBGfm81lHIdbqUpttCSR
X9JFU4o0UCxQt3rLHfrCBUFqLg5AX3qROwn6O4+lwiltVWbQqeIz6NeMqJW2Yn+hXWproNPIlMwB
/iRgggkza0bRdHHG11zr6O4QKmTquueJpQsYB6onrUvcfmTMBqNMcsnJmOD7qxHh0CCpUmrdyXXH
8Zs2z0ehhrvVxa7b9q4ZHuRNuZu0vRFpx3qIwdcE1KcH0kC9tWGg9VrBTvtbEohTTCD72gWSmZ+g
1qCgItg0GBC3PRQ5Eg5AlQtBJlOAleW3SY/uW2wgAnunj+czQa5zoRJFNVJYmYvbRtElH6jl4KnH
+oZUvzw9LF3/UFX9vREpQcnoi0YA6iEz9UcpQ/uA9Gy2+DFyeFroJcD6WlB4RVifBgtyg1mf+iQ/
STL9XOdOZG/a3GpRvTK8KMqnPsyOBoGjJBuCb2C39HwaPrFiXdsputSUGe70maaRxV5RTEfUpXDw
cwNy5XAvMNF2t2JSzlFHvymc7CPFBezcJ0hajBmZq7I9Fcr+ULJ11SDztyaxVaQiZYXZUNsj7iTx
ruMnA+TKGkWJcr8VMEeADP9/4/nm4ojMg9WFzEv8irJ2G1ThcrrXkeJy2CPpT3a/V7A0lOK8j1K8
R0TEt3Jhff4wInZ7sfgBGIw9QTW4VT95F6xWKvdF9rr1U2f9LbP+7nhKdNlTtMpHPZUfkpm/91rl
ClDrY1ZHPTtfUrmLuDWgbHt7Pq7ZXv8WdJFrCduZfvUE4ovtH3OaoJrDIssTr1R/TRp35GQ6rlV+
VHhUjQ2s2VP7LsY9ySJQfDOwRx5Lfqga0IMyhwZHBCnmgOJQw0Nj7TRMEjAQXI/4e2UyvwrlfiZX
2hwTBWy3krwy2ZAwfnVT8qkZymfK3flNVzM1jlYx2WJMUjU+0NU+CGrVlHIkPLT2USceVnZ5Spkf
MFuT5uJi2eCTyrCzluifWuxYu3IujnHJggZbR4awF2KqMOBnz/Vm5bkMJns07qcygGCPzHfRoTBT
5AKoFijeMVXkI7ngfSph16hJI1LbSrk9VUU0lUoWUEYFg8gsR24k75tu87e1uCond3uYbc2t3S/C
f6BGjoN5xQQ9+m/Is0JnlVZE3y1kbQAL1aPR4o8x0e+m2d7Ybs3tiQU5k9Il2SgyFD9KrX4ot4wc
Ni+r9VVN88xHn1PJmUg2wefooKNvsUNX//VDxCQlsQOI3Jonig6nixsSwjaOOghZH7eSOZF8Y8dF
h3swD22LtPuAXdswMCjeBPTxGk5fTVZmlBTODrRTsT7O0d8VaIfQjftEkiDpJMfotFIaoR7KbjwM
fBi6GFoFY8vmT2ODRF+WieF5ckTjMIkmiOagJI9U4STt/PZb2xzeLFTqLwr45utyL0T5DDn5+hU+
CwobolfBXdHArrTszbPUQSi6feGuxKgXAhge4IH1oYCu/wx/S+glAzzjYPGbn/nLmD4F+l7Flhov
BxjGQutM586b71zZRwqzH8RCFeVDR0zonMVXKGEodBI1xU9uWv40Um3Xnu4NxhyRbLm9ztzoqu5o
Ii5uMlkaUrmzgRs0G/AD8gRd22e+EcDMxDswcnQGkWYKiSDqSlVzVN3UHggoiXaGs0P3k1KDYLUT
0Lju0v7JqHlKmxVuHYNqm/j1lO/GeLbjI7amkADpcA0o5gs/Up4IERaaYsvxdlvctMKFon+VQ3OU
8v6YXn718uLmpuLGgFpmfrb8r7HZZ+hgihcdm7Xigs1eYjBuOoRIpQhE8fLWhOvEa9TgBSi4UDrL
z0K5Foelq/CzyL3LkcAthxeU3GpN9oFs6mF6mQCmYPQw//8pgbfUMKY0GFMCbdmSQA95v68lNiwf
43lk7BMFVhYnuPkUr2MLKPMTMKMTDu/TmAun5a8COJxHew2sslLfx8Klm0SGh8LEBxE6PE63/79J
WzqN8xrthU9rzxc4BCRQM8a9LdNMhXxMZiWF5riItJ0o6l6LP7Hb2m/jYsmFpXKfxkNzrXRuXBa9
HuDCYXJulL4S+gSnUcz0SKnUAPKXO3Rv/PzFgGFl//vLm/C1ki20+8WbGK+zn3GzVA4LxqXlld8s
1rgv1uBes6sfs5peZC6dxuCb4RQQVjqND6oJXHrYgXJVh7+tRbMYZZB1nJAQpq1ZyI/cxpXvodDu
0hctNaZJyFQhypMj02uvwZlJ/YHzVrjN8x+pMu4SrTbYoYTqF5aYa17s/+ftemJfHlO6FEYC6KS1
IRZsAj1lCUl/zy5KmAUN9VsG5gPdH7b/ehMx7Cia7XQC00RmPWqumqzaIELF/NKKwDxN3KCK6VPQ
4gwqu/5Ggy7ICi0kFgZ4OBF9ltHsbGNX5rDV/TQGuMFqANc4djoZmGaLdbRam3NsVuf4nZPyUjAx
dEB1lJwm8opi4R5yKC/CkhS4/sjiT+jnNDPsZ6IQ3J/cstddA6KPJOOWnfDHiQsrT9xR1S8cZcMs
fWb6uxml91arP0NFfM2lk8BhzFf2NFHjv8kzHV7wygQvq5gvvJzP7jaamM2rXjWwvbJn7aJ3FvUZ
RJqETtFWzeCEZmjDEuET9NIXVhJmQJw5zIoQ8u+K3wR1Id2x7TBtNue3MTWqpJEgo5hwJRJz9tKH
RXKGPdlPhtzao+Eq6LZh2QeNxvGYI+Xtw14BuFfsqYq7V8wtqUe01P9KYxjVJUZCIATJpR2HC+Ck
8/Z/xx4foN7r9/mQ4YqGAXOmskyGOC8wOAIU4HCwNALQHlhZ/H8u/AinENhpz3yRZ7IitMAmHNb4
IIUBaxknJYC4H52/kwlXthqse1VL9/RW4g1TmrPAIlFO0ysdJMfe/J4S2ON94gM+saMM2vsSAMhR
9hlJlbpePQWZ1vQRu09n/b5+CR9z2T4zaWKE6nfa91fOXQeAT0HnCjfGLAVCWpFnYZrE0rAXNJxj
32kkvi9b87OJyeeKWaRPxXfzznq6ImtlQA28L2C13cEhf3lt6vyGHT3iBAsxdIWQORdIwilO7j/F
nwiUzFd4r63x9ZU+0LbAxkhuQTdjs/bP6B3dJVr9EpDqTKv8YehMX6l+FXF9r+P0zv3xZpXjjS3F
oprQ8YvrmLSX0Rub+qj1BCpYrRUzDjooe6PxU8abDQW70YeaHbuX3Pa0plQBRRlOZoo4DYzTsu4X
Z2A42i8yKAuWg9k7//hLwFyyvYk4QJHHaeAkYEYdAkmGOH3WuP01/q4jOgkq1Np45dx7Bj/90ntz
7DSvBLxFkBHtXPhRrGc4Q+bkBKdMlZ1p7IYbwkrQDsoh5NskeGRCL0hVe/1n5BKJ3Lt+hgldkpR2
7c/9aKJYasdEWzgUMY7AQAM4uHzUMgB5vm3l8h5ppGDUlETBaQ5+68qvjdefTSQHKfJeCnj/oWvl
IvP9oTFmz7rWwbTWn3mtf1Z/hC598ILz1EZQtFCRBkg39hcKyMhf+kGY7NWopR3SCjYCHxP40X1Y
yF/5A9qJTJoup787yv9sXXqjtZypfR8zFEIowlhTUByk/4zYBAWnBlIxnmHwUBgPRD1JrkqUbFBx
QaWiIF6vMH1a8XP4m2BWVFgYp2eZGJAWGwHZRrkI6gsRsz4Fr12AxVrZULDclxpvJv9fAzYqjs7y
pdEvcZDJSzENATnHGchvTsNY+2Ifl4lATda90/Qmbbvk3t8Z0S8iTNINC4FzHScCxvBXxrE9ik+u
c9FNy7bv9K4XhJPQaaetkAg36D41Ih+okY6DmF2FL/NNtFKcLS8gtIFegiEPG8960YfttX7xLUYs
jtrq3HE3Az4+yzlBVzA2eN+iBZIXYmptisdJN45dnXkw1LExmgSXojJmuNcV3iCxw+uU8QG5S/+l
LAGo45vVwqFyQkDXDUW7pFaDnATV9T1x5wqTgxVR8DaLR2tvYjWJDzGl6PVJoA9GyE2Hiq/LXPoN
VQjJvsf1R1ShKE+ra1XjyVSHYGt6l+6f69axui9Dp2OTAFNuhB5c19+WUgfLt7rhvVlWQZBJPOuM
leSkpGkgnEvDvE0a4n7Hjq+CMMzBF2v1e4cNsTnDeuR6m54rzQw6L8/ri6To55rWog6WhGy0weD5
SzJheT/q1IeWOh1VDL2W2R5i6kOVbnUE7uCI65QTXyMr5d46B+sZ3axk1yGMhwZpAFuFqzXrTipg
HtIoGCn0dzBVI1xnNMiE/lwwDekA4OPltBxpKwoBY3nLp6iRumh20AuohvrO7KggiY5NJtdNW0NH
R9Nh2MA23lv5Jdl/F6y+YCRAGHAKetNUWzREMg9rsG4A6da4fsqcWPx7Nnsu8hiK3rsx/DcBJKw/
s9U4xXV6yoia92LtqbYZILNRiPB/fJ3HkuNolqVfpa3WARto0TY9CxKCAAgK1+4bWIRHBLTWePr5
WG2zmJqxsjKvRWZWpQcJcf97zvmOON/lT0EooxVKmLacRfQwpSjdHvdiz44aIIe2DkGFM5ekOwq7
ywcbToRHSozN2kh/pOoImgjwFp4MTzZYNtSaSQWsMfr6wLqwdrutTglYBxrPlKt3ViSQj0wERAN3
xOSluCRWBRYhSusDTEYNiQ0RSGRv5H1bG40CHXmRK+DbQgxv7xLUkWLq/Jm1EqP+Q4z8p22fSC+6
4t856GX9TKhBbqbL+gh/BNNH5qdxj7Q4CsjMQMd/cNQZRT1RLX/WvlRh94sen2lIc0Ftk9eQPzOq
RWOsOBM0H+MEW/r03YYa72ORzVvDRmmnUpZlGvU98QPCePa2mhFKkqN94NUB0z2rYB7wGLZE3oKU
XTYynTXQFyiNzDfZyUBbxsG8Cv5w2M9Ih5AOiUrWCiwF81oeR2s9TVmP2WG2Y+lVx6tTC6v3YFjO
6DTUAAHftrUXvBGEuHURfR61qEVKybi1gwbWLaEbVfZ7ftlZrdzpeWVpzAqj/RVTqi1lCnya3JOg
KsVs+H9kSqxBLBcMX88viFSsEtffdM5UcFwXPHf8Je2Bb0pjdwLlmqTYNsrBnRsCYk/pzDIFZ+dy
XOX9Bc/Q88OaRX2erGr41963ZsMLPgaieilT1V3I9o6EaWe4IDlJgeTw0mP8IWH6kvG4097lLvk4
aNP8khyeFlI1VSRNxPRUe90xNxiFV0Pe0YzWq03cHHyJoCtm4HekUEqLhKMso7lQetv03sTCyRBt
I2M7jT18bo74v1pyGxmMwM6p/eonNKagpJVvFHmhAC7gV0mAVAOuEAm/7pgZJ2OJTFN44o27avm7
Iktv8lS+GTcp93TYuDr66UnYlOfMhWtF6bNFR5so7x6ipoBt1iguqhlf4196W91rAROK9DRGVErg
hWo3KCgspIrcU/aOT/0ARILRksbo+Zrk5vFHvKXDYmqD5hOWoWBGpGkp3Lr68EX8o50gw9/lv0XX
3uL+uzHM98fkAQSVIMj4LQmCN2jrIbGYWy6lTAuNgOchPvyY9HGgTk40GTGo0RC4JqqDhQxEwLQb
8JFz/axEhMczVaPFeovH8rYl3IhxcZ3W5bJIe9SRAbZ05On0sApKSOR++VgAeNZW9Hd6bzfzaiUr
Jl5wi5Di2buHnO7H0iOI57HC+gOflYa/cK3h77z+nqAjKPA26q695kgj/Eobf4N2JNLuQon7j3KK
OEP8HCLhwfcEW2cmuOUI/jat29MrYbTdw3NhqMXdfH5fNcWDyODRWvBIGRls2iB/LwzxZbOuxdjR
5btMhSvjm2P407f0lpxEhDKeRTb60c+kUqLNEQ7pOLyUv/HgX5NUvdDy59dIgTMAOHhecP1LpQu7
/UvvNApIZwba/E48VxPfzL/TTzneEGK2Y5WAAOuSe75LT2wUCww9zkAhe8sp8RkgmI4zvNtxIDk5
k9MkuL1OeRVHucWuTXKVYu3UunLhm7rs8GOr1pUAXAlNdoLVtfNehB54ZprQWipDCDeUgm/dqR39
zX/3JDorEp36Tgxv/PiRAmhstSqmkJmwVPxGrsYpSYgJi9/QhPwspmAodZqmdMP7Ee+gEsqYRaK2
c8Zg6li9auz9luSU+dNwV4um5/RhirolXQEakgrETj/SfIc+2iojh1hlxJLaHsyOuk+PAB+nkl3R
yaRd00EHxPmlWtYRstZR7x38MT8moxYp1JIxjtGKzErMKIrnpPAUpY10MDJ7xVvS3cCPdwlvUFat
tOqSCqm2cF8BEMpvaAoexI1Z7qjHQiqYgZocWBnNvKZZHbpZ5RA4OHWwYzuERixMj+Sh0AHXnwPC
y7XB8fYyNHbKZSjGIDXxDIN9SfnejltGdnf/qhkeNH6y9nNqMG5g6W/3r45q7OyfgUaXXu6TyU9n
9qd55cAG4t5V59SdOSQsyRTS675ZnkFGasQ72S7e5cckDdssbeS26GolmQqwNOoi5LAXSGfHtYoo
dwshJlcSvzIkRUPSKKNPHarhLpLJsosDuU5x2Y9dq0Uw4pjvqgkxxLjETEFmQJ8aSZPDfBaS2VNQ
Bts183ZZdRK5QenDPdfRgVcEIHP+zyAk9uJBwU4xsV9T7oq5OD9UPdnJy+mp3wOjryNV1pyvqK+G
dzPYHGU27kb/skLcW88pCfo1U6/iz+6g1BWiYe2yynX1BvHNsz7MbOWI0jHwmpbib28NW3vtha/N
FRbrkm34M3vBmcQJlmFUyXuwE2oaKiyZBkD8Plpidt8wlDORV/SLoNy0F/nSqzcd3QnX/92i6ZLn
8IbQm3M6U+zlKiGk50Dxp+eclrSJB4Bg9xyRFOqymtFbo4118Mo6OKdHSGIZrFoMKeNXuiQPRmuk
P1tOSQTE2Gy93aKlGs4I+xYIRPUh9bWlX0PDwd2dmu6BomtSmwt78iFhuiHXsun+u2JsQVzjulDd
H92yzfOywLZU5tHpr6KSeLPVe6IueoNXBMYvmbK/P2ov2iO7isf5/FAYxEyn6iYvtDUdioVZ+WvK
q6vw8JS181Pt9huz6lVBpa7cEhQ+nuoNHX8o7GWW2TFzABgfx4hzZVRP24Gcfs85bvNynvvk33v8
ZSKwhp4kjoZnAvWN6tbtvra1XeS5ixaYXOe5D8sIwlBLdHaEm7bQD4qV+gW3biRv27njwjIpQSYy
MumIxRCV8023P/nKORb92NnDL12sC6TOvgapjwApREWgqeoFiMA1WXlXlH7HMaSSY2ZCFi7hdGFL
MgiO7Ixmi1AY23G241diod01jkC2aOXbyw2II8cZgj4f6ToObga20NQMd8cTDBCIxILGHxgAmbcf
qK8R2ACnJ7+8Wqrf24Kqh/FX/DUBUBVZTdkGsy3Fyl5y0R6gt6KEOjcEs6gEraYHX8ll1edXJVZf
TT1UTH9Y0f9JaqxUMBG7aOFpz+jIIzqymM8+6J4WcK7Z0yW1u/1uRrGEmgvyYRMGcE5asPqyI2bY
RwQYDCVtM/jLuvKCbZSVJY7obc4cIPAgLFK8eSX3ma189Oqf4fH4lkYeKdzYFmR+NgPxA4JF0gGI
F0/LV3qpu7G7WjMo2zSCHFukaOmvBfg1SJJ1RZ3KN65lPeh+Gg2bD4apWN/w/g50xgM9bFkC7orL
nsOmLIie5LQLJvotqtY4LUp2iiFWjDm+pTzlYw5mYfYXL8nMUO/08ywszMHVZSO8QSEQ3j2Vy/FL
0WJfeIdWXMwYQizZW/2uWu1iwWUtHXaThU0hnq1vW2qxFjPYtf54Hs9qpt2S9efasV038bIPuInQ
YjPLOGc2QtEgPaX3fk2eMAA96xmvELtSprc2pk2s5ugRSwhQyzMcKbsBB8B0ehRjXgwEqtZQI1lU
pOTZ5luODbpM/4LL08hbtDihxfcU21dMlUn1omNnmSrp2fjsUm7y99rLpyJKmt1toT0KhNSm2m+h
gcvAdCfJbzvuJvWLRgBpoNwQVoMvxocs7p1E4XinYZGrF1uG4Ya5ikFEQm/pKZiSdbeDMyHgkBpb
rteuP42vIsbiks68UrNPxJdFbpjn5irLqj+XcG6HLZC2jidJ1EG4zYQ27MoxrIEKauWpXPxMoJrv
vMCC9uvJXti4HEXaL3SBfV2UTNiZPtNg1qZwGwhI++bUnPLFTwzJ6XB967h0KOaE11LNbpaobsyr
1xXiKZLIVzEhS93witLWxIUzSrmtP6WRXkQrfpHd0VgNH5ezli4n9vnT0gcaO3UUfJLFfwWYd/l4
7PhPuf9+mSLsMXfUw6fSNVPyWqbwQansJyPZx7h9D7VGpTRG+lp879rhrV7Nlz7MBstp8R4ZeI9i
2vja/Fgaul2Rc7aE2l6oHF3vFBQgcEB7Wi2aZzvde38vaMmeeoq/ODSe10Aazj1eDPACPWUE43C2
noRLb4pnMP1nXimyXkcmLMMauP8YWs7W6pc1Y37HSzKb01Wzwqn9Io9/mjUy9TSpWw9MMud8KoWy
/ShCkPYOicjXwhF77fSoQBGa1TLU66tgijcrHu4mesAn3hLQBZnPcwWqUHFeiCSMvAyAcvHuwBfS
EeM1te9yNuF7kRzCltYT028wyLf39Mnkj5RGhOU4Jy0tAj23tsLQsSuNx+qDXsK9HcDd6662LC65
RGqdWlUn9FVzUFTcOmf9Kr5pEvBPPfEWhA0sjdLi5K1Gzhg/M6+alha8nO69Cv/yg9dLS1uoy06n
15xxKDNTkSaaW3XFyz7xIi+crheoEaBqgdQt6mRO2lx7NC2frB4p73Ae1jxquyHCbie6qibjskPH
7GlyND62RaB+lLogWKVlTuxqJJ9zMAKzENjnDv4PLda1VtmZU2QK3OcumPvYl/NDtT0IjedOtSIM
9tHewKE4sVKw6BcyZGBChLbk53X/FJ8TRKkcUWrE5IiXePLff1R7nlksnawTprcjHvxrQ04Jgure
r/aQzkGTewI23okrUPcfYF0YUkdv0Gkb/609JYV578PUfMH5v/Tqwa+OuMOK9M+0ECFuJ09Y3rSU
7WrC1bUZRHxkNhljMIBSpe5h/DW+1zTKtZyiNDRkM5PtFlegcmr3X8YFCHRhzbeNeXdbHq1Z9nDM
4XyVeM5N1oWirYncncNM0qc9jG4IHJyuAmeoAUxWfAz6lynPJ52S1JUeeAkfbG7NtnYlf7slgMqO
OdybSW7/aRkTUQH2iVdJQnyr+CrRWKr9KMVjmLH005oPPVXfiZe/VRY2J4seEX7zGbIsMaRFoq46
7o46ML2dT1xWvQGk5TpwBiQd2x7Ko20UhNGSNshfMRlQkhVUlnwcgPAVGrEgcgL9lzIRbiTRtMHk
AqmHDVNgtIlPsyiebIHKBDAcc0oJm8K7EW/Vzpt7feQe7aLPX5pyeIk3Yh0xlFbDlnOkDIeyDhQV
cIGzckc6waciBLxZgmzKAiGonzphOQ6ooWo5haJ9SeT8pcqaJ33luG6pDc6oqeUjJH7WjOadxh88
VdaD34wF0WrsPqve67R70+A8mPvNEOUrPqdm5M8hK4eO8OuUbkGtflnEWUjOHYaMDhwTH3fqpNKr
yq4nV64w0DxSgtpwy3R4jYZqF3wI1H1KAwPAbNfpEDYGqcPmZnLh6Segnu+e4mkktFxhi7aEQmh6
H4Txql5XCFrTz3ne7rVrhBY+x6b5FRsaiaf/np2UHC67NFC9tp+GHKmVN7gC6WubKOPZYvJZB2pR
Tzn96PPeBXJOpUHbhFlCWQDvG5GxMZmuU8JuixUQLUgNRdka567deuLkYxMosuuJ7F962AnCFBU8
A/yEEZioPvOSPofXjxU7cTd6k6FdiUvsjjg7aomomVifHm25K1vIuTVP1RuR4tOuF3SAbyQOpGOP
xUYzTpI+Oiwr6UnBrv66kgoLkvcejykk/JFqXPkLPIb40itPLEecPBUdg840Kmx0jtusfNmwqvdw
T3hA7cBiJYwkiDdrhz+FKABmtSPkgmPd9sHHw5/V+w2h9kwiNQPvgUO7gtu3dIuqfkbYSnjtSfxP
OlgZgxg2ot/r3wY4lpwkJl1CTMJpeTfT9F5l3IrwWywvbnhcM4lNTGISKrhooBpiXzM/erqqi+5J
pf5pkbg8DsI4u1bxUx17b06ZST6mXAhStT6LrxtVFZsBuZGfJDtN1tmkqagD98IZsEmXs2SCUqb4
V5ZewTmhEr3yGW7JFi4bdieRCk11dmd+uYZdhv5VNDQ3AxhRAxP6N0MTLrmDMpqXIiEVmvydNyJS
meibpHB4BFQxCfS4vxtAgHXhJo/tcccHAyWrICqkUU/bAMUxOdje6l+KFuysOEXCJU2MHUCBbZCy
zHmA8kY4G8fM+mvRJ/Fp9MQi7xkYtEC/jUJ2skbV27qveiVcqLUkemAvqYc/Jm1/fo+oZNav4NOz
SnPnE8ZWk9ADuGCkvHixM7wRCz/qwxtRVV6nH1ZEPVGew0URsBxSK6JyvCC/zMG/xzw4HL4SuYw2
wQwH3JZW04VGqNir+JvQm1tSvtVRvhVX2XUGc8p8hrU4qIisatIvpjeHXFaxJU+m1jzlshNTQpBy
eCsEcFzchfEmHkRy8XzMcZ1w8VZOnon3ytBuY5vcsPDrxUcz6u7CXykGrGebI4MYHXBZKp151ff2
kvySY+JDyDBy5+7XCVQVANb1uxgfsyYZxTUsyNrO+Y4OYHGMKcLB1AkVEMYh1ZyStiH/UQ2XwUSS
kX5b2a9iLcPSUs9m8y1Rz9HSRjnRGE64YtatQKT4wijj0ODBu5kvLflUHBYTHs+VFYBBeuuWl7/2
h9eA6hvrjEHHteD+K9LsLRk7XJNCi/lU6+LD1mNjmSxBu0+xehq7mvyexoQK0WblTz0y/W/1h9gP
H6V5LnqqaCtMz/WTCLl5aJKwkF9NVKvHn3VuSGCZrLQLgGH7LyxBailD1AtIrHBEFr7JcdP3TiQf
AIVcfQwF1gcWuZlp1/nvhVMjvFz+wekmZeYt2eND3I9I2nFQ8yOWhgclmox9IGQwZjMeXGzE2sIb
F+U5/UrX4RUW6yuYlteHS+u2KSXgZXLEDthLuwODiJ7Uib5QVRyEkyPwu4l+u2fpD+XBBTyB8StO
MFoQwQfearf8ZGN3w9g/D4p3KlxtQCejHdUo98tAAqKVQZ5i0V3+YjM4xL+anSe4UgTFFAqSR6hh
7siSH4UFz6HsVHAKtBdxyx0TR7iOPyNj0YkcKhAL1HWwH1Qo6oCGXw04ISaPbxqOOTh2aRwMlh60
IsOQYKexEOrpzxymCcUYsPysxgwMrcQZ/rhvGEy6o5YLF2b668BtOGKmSMyJ5S+stStXfHoRofbS
SnFpx18PcNSuEYiT3xLoS+eWIkuqrCdY7TFd6YmnI5UbJdjuAOMqlyu12kLCg/iNzFXxXD3SyZsS
oEygJe75OwCzg47NbN7JRE9XuFM6SyGMFOQYxG9asUb8i8rjNPNS869utO9465D0qQTnNaPRDUPz
clCwUY5VAFo8KA9pypb9ZVnfSzg6Scf3JgEp5J5deAVp+sdkK3hFkp65E3hUDpo5phOMPcGA5v3w
cIkSVzwSBTmP+DqO+AIpObHkUyZSZci+3OL5heex+l2l5TXVPsv1p95HrRiZ7Yv5cGTIvGkrwe9o
tuyB0C12emn0FrbPbyaSowIRy8IO8aMoN8mSxRY52KK33gos7TSrv7Qe9OJ6KfYyFAms4AgIMGt3
vBip+EBhfbPiAvQ/jaTnsijCLH43+g/ySUdCOO46Ic5meAncmT6qrC88kf5kidae4QO2GTbEyd3v
DWtpa13pDPlLXTR1Tk6uzfS68ZFU+QuGJ0/hAOZN7pBZl7JJb8bD+4UtXGR5DBHaughwUbl5HlwT
TkyczT+ZRdkqZWdlqsKMsPeI9rkcrWY9KxfdFvDt71Qw0FRt+wWNXuPaXzOn5N0qlPcFVkxWEZKs
aadZ4XU6hqGdJ0r16owyJqKxNMJ3OokKrMBCbIXb1gAUmy45WPscfU4+5MCyVNwhgoO9qLhgyxvT
+LLpcZTyfzVTGyeync+k8YRfU6VOtPQsiq1q7RfLyYTEepZSQvu1DgUZYAhxII9NkqbwY5zJlqrx
XL6dZVmnOQptVxshiWGDMOiuqvmW7AXQJGBwT6JFC6QRtiBTfvuhjJ2oF52Am2o/6Aj2R9watfKH
PtF//Mf/+F//83v9z+RPc0PGTJr6P2qWiE1Wj8N//UMWzX/8R/vff93//V//0HXNkk3FEA1LNxVN
VzSDv//98ymrE/5x6ccG4IqqkdVissESQZMQdjzxXhy0l97VuzbCDFszzIk1ab3cuvMe45qK4S8n
+Lx2pT8R6By6U79qp0W1TsNEzarbIu6pe4MduPZ6kCdjca4wtzwsijvVGtZG0rVi6SWeRu2vwd5H
3bJTgY1Z10dvWnsicCRSwOR2xKYoLS0wEat86dhsxS1YOY9DW6A/4s7b/KKFkzyc8ziLZgps1D2U
xuoCXOwPVbjuEFmiyhJvODT9q2qkvOAwUtT4ZJjuxWQ7Gb/6VAmru2ItkcZFlct7yFXV02eMwf7Q
PcJR3WucBG05nbG5kVXBMggx3TLB5MmQ0wYfjhmP43deeHbG2PNoQeZaZppRsFlrcI8LPM9yTCkZ
aU4Mroc6rMiR0JhMk4+OJXUfnY7y5QRCUDIdRUwUKxbbZeiw7+4uK6icR1g2p/ZSyf4wHXtxc4VB
cSUOnckMk/MK1G58lPPhLzCwlC0oFcQO55NiPIpHWeD+MVAvyqo8tZfZmbG3mtMxb7bXWjdeyidz
4SCRUVCG28nqQqk2zr3IB2thtmo2bJLIlDBinnt99ua2iXY+97pfr2m33GCs3gmQ01SZn7p8fqJ7
XjFOM6x/aRkIfOhaJPBqM8f9VdmGNxBF914OtzAxFsJW/OCfX4XB6yfYKEiLj95MlgF4ie30Vfs0
qXzrBQzYRGRlzRN0YpeqV5fZ2TqPCl/EUdPMkxyNnzK5cbs5PY4iPZ3T//5OkQzxX+4UQ5INQJ0G
I76hKZZp/cudok17LK7V6pvzF77oBuvGgnUDRNdIh0gOUbZVnUGFV0Tz1oY5azrVwn5iN35SuTPy
9NGJXAEayP254GQ+aQfcbx/8qBPKdyOQqeVU3aonoRBPEl6uhrtClHRPOOx6508iUIntdexhyJfY
nQcwoWQzVmBxMFpdimStkhNSNC+72ylqgIoXinF5jnUZW1sRCaMYGZpXtaxQmVZxUN+4j49APFny
LrdWCDUO5zuNuPMJ/CAbjH6bXteG5CPQPOlVXEs6qmbchuJlu7X8phb438mRgVaJ9BhgYQVlrc5h
MbeOzMGrs0vUGyUUE439G/0UjFewmVZKb1SoJst+W0SqH3hhJwnBVSl2G86Jpl54n1QqS0owMKz0
I2QDIpurk6M2qQj8IKzEJX8xzfE5raYnoQE6bFpXRVKgBVTHVoupdIYW1xyOHZcixWJt6ajEJQlU
63UJxnigO09x1NCUVzBp3OhoK7oGTTKxXMKm3qRX3mNIXLegSimrNxdPkQ03e35UvS7lXaTtteDK
rbhyZbnHq8zjriRloJm8+YHb5w7IKtEY72teoGJ14U4yIB9KX3xSH24yIGPs4yAYxrXN08xWQej9
+8tVFuX/53JlXFBUSzMtQ5XIZ/zL5aqOq7gu+urX6XY2X+GF4PFv7bdH+9f6qDOnl2XpEoej8fjx
VsHPelzCbvmhiTKVfFGvzVfQf8FS/mVDZgB4XrBsflmJcicvy9IF+Nthe9CiNwbPzsfO61eVPZem
b5VZQGNsYKHVKwiZnTkEADkD3WgDgUAeeuEBKytdnRVABCWP+kE75xN9chb17kwm5QIMNzQe7R8V
+6v+0ddhXMxcj9LV7YY5yhRWvRDui1680QIKKzzYOv01jc03grFIQJp+LWcUlTR3ymK7JcVyW99H
BvudrdzACiO+HZZUYQpAVQSQPxqYqiQWs3Q96DlNGKT2tKdWTAHsSGZrL7j+eAA9FXtyJC3lr+Lg
b7l+gkgxU3mTmBAXJeE0teRgYxakCXNBO9HofMQhwZF3cjKc8Alh9YkSLqoFISPsdSiROkgLYI2r
u9Z/GoQ8gbLB6cLFfBEKltRv2h1bHBY5riomKpxy24NMJmOyt+6bXD8lUg83/yXT6qd4NO5jNdKX
oN3SIr/i97UFI8T4QLU6Jla2gD1yd3czQVizhvWKrPMyxXK1bXElLHMFzTHc7hhi2/aXOUo22Qbf
bPUg2ZewSHqet9Y5A4aiVrkLyl+PP000iZFDLwyXpzIeniqpeqJB5F4J431bFpzgfEnScZlUTxpn
7/fdYKnZGfffBMCMEVYUR3sL8D7ON1ezVEekQ8+kTuoBTWYd9u9vComs+v/nrrAsi78ji6KpmdL/
fVcYsmAVaSdSN6NJwWqCTGRFVYi0vk5Oy06t+9geCIPNs06nhO4ErflCX7IlAiUCq3hp53l73isu
zFlFcIhyKn9PVrdGjZhB55bgYegSfTG4WQZYpUYpoz5DLIcD1UA44dm2u8ZLUcfX35pd0ve4YUlL
fr3FuC0nkpcpPRp59bl0IEPFwe2ZuwVm7tLcvRmBpAL9PDCRHMRgzrS3Ftu+yi3OHurDHGi3G7az
yuq6djkk4xR2sLvM+WedpZ/Tm4VhNedm09S/XdG9iDiUKyN2VRWSeS/dRsLfsTJEMM9IQydgsEfo
06sCQhUTW5n4CydanRPtLuwB7PGaiBguZ84JYuJlmPvbIxHFhQpyGWjbfiqoSGM7MUza89hpT7kX
PxlybtsxZSxd7yfrbzOfrzNmozlld7L30AmmsFxeyH0IZE1yKxpSaHLNcDYBKoIH1WzofvKTwu5U
om5MvHANJRlNiJwAzfuaFrd9B/hFNY2WDWfSgd9qY4YqjWIpsgs9yt/SbcIlmVZqAFrN+m1Oql+O
KgDgPsxxMC2sWxhmg2IAkWbQ6FsHOPFk4FFv1vnhy8uF7yHpCVjE9tAqwCUADZon0aPRTVz9eWH/
CYrapPM2ZT+2oe920Ict1p+TDYQO9SLSJ4S8uLmoUCAJXMhBgf0Y2DOW/5gsIPVaHCRTpB0FmMmK
deqxs8DjIQhUMooWjZCyO1H4pwqFO8a6U5eLY7DWRNXLPKtaHF3ryCZWp1YARm/ydAOVUOlGsGLN
IgyhoF5q9bXW9Ws+UmdCf1afb7c627Dmd7f4Js9OfOMRGDQgsDd2OlM3nI1Lt7yAP3qp0EKTgz88
zfJB0ZsPTJmkSJU8fS4M9ZAM6qnppFtvNld2M7jqcrCsrFcVJ/9YJ9SvWsV2Qd89JXjiH0NX7Gka
keQ4GmHHnGbRXr62tgVeBaNsnZzhKKeKmy6cTwc4UPXmyQIjTA3bb+aGSU8jo/zODvHQIOlmeADK
KpqSzOmpS8COolD5UJPLLa2IEtSIyuUZvaLyKTY8jaHgmAaFEXtBAbojj2wJqt6vW4fKbGgwSTRC
tewxtrbGwx3lT/z7ClL9mT/OmzfW3Wk+Ahat1DDtcEYOn2NMQpAmWQ0pKp1O6PsVgEpt89Xc4qci
zHPovtRW9GnqCJYRrYWkV2fRGIy0kkwPGE7i7wneWBNfOhxGZZf8HTzCjgN/oMU0cbQy0kAemDMI
sU2GiEMTx614zffydWmLl8Ne3GkczyKZHvW2EKNlks/GLoe4kUUZpgjZRg7Ym2lBtk2DccrCWCrO
2ZhHo2BFwpf5Ur67M1yXwTGtvzXTQRuWv7IeB8ojNQiZhLFPZuzLUONAfCFja2H/3GdsdeuPYQTT
vwA46m6CMh6mQT+tWXUnCXzv1GeDDtaaHzUHWmo6EJNpHJnpg0In7zJcZJf9fVnUcC4ALzN7yVM4
1XBLyKG88+h1pDKKBWhwjKhshv2ao5fBgji3FYt7E0dVQe/8mKJ4QIrJebPsEx5biZeg24fYXOAH
7MANvF5uQxJs+EjmxC1V4Dcpj0oefYNbmwVLS2AvI9vFiegXx1WxJyPZkW2p6AeCLLy3MwFZrAVy
5lKBAFul/o027kwVnhi9cbLwC24bMh1QywfadPXUUfAABoSVo4lsRGci7rh3eYt6S9QBrnabZbNl
+NsYA/rY8mgTOdUKb88Jey2ix4o6w0Y+U29xgi0KFwNKgGfmw00ampPAOmXO5msHe6sBaCAcB6u/
FbF12UX1JE90csghrYjeNmpRI2xn+uYU4ZJ28qGLrF+TWTyNhnqpOAZ/mcWtNJh+DTaLxP9o6Auz
OTs3U3Zexuw8j1Y4Ppb7NTU25LZDnfpmxLEjYbSEHhBsZp1J0GFQfU1logI9iu5VWtkphdeEKdjj
4pNvBaAlmntRzfHH96D9FovK+oWKJ1+5JJ0RWLVEfeZBpSOIi8auOvBROSVrFP4ZHP+YgCj2IOLF
0lWvLgXlqOozTd6acztkpOT5+iX6EhUgXY+DNCnLgwwbZphzN63+KI/O6R5tt4m9bkCl/qKLVIeS
TG1D/PEdZySrrdCgWwToFUKL9+BpGWV6KHbpmMPgTawrfuVYhzDDFPxXgj32aEA112uZt7ftAwfu
Wr+sR+x9hAOJ6VvSix6PUYKzzDpkvMET5gICFu665hAPak/YECrG1esS0St/ZsPA44VFSKhLayTL
K/60KSohcMRAQp8ehK4cQhdbcux/WjguVahzLJYFX+sgh/ZhxzNJkSv6P7Eka7o99EqgNSzmlPg4
h/6GYJc28V1GcwT0Y2oB+KWObX79bv6UBdAptI9CpUGCyvRP4hxyxhXBjcA0UG2ohB3CNBOBpEm+
yUQwrFIweM1XgndlwQGtgjXlLKd4w2sGvgDn4waqBpL9IEa7pUSKqfBSFqP11CApldJMAUbji3jI
stfiziyRjk9z/Kly4e3vZiZiPtxuA2fUqS1uwpOE8Zy1olUBQ9UvOmUmgvx4f/5p0D/SCkzd+g27
9akyqFqgl/IP3WozL20NHWg9islvRPuU8Ux+X/fpTfdjvxRnf80Kemz1U/KY/ms/pn4eiL8iLhjR
U08nOAHMedYU+E6100oTFECwlYojMllYGUvVyhFEGg25WTblSmutUUwvsqa+Cpr8hgGxENZn/Zst
rpcRc9hZCGwovst9gQG9PtfU9m3LOe9iqt6PxlJRTzH9b8bObDlyLLuyv1KW76jGPJi1+gGAO+AO
HzmTLzAGk8Q8z/j6XkiVZJkpWasfwqSsYERwcL849+y914Y6O23bmh+SbOxxO2/coR9suP9ltzlD
wtJkT2wdVg3lUrebFkkBZPGEpbTfXo/FUW7Zv0wrGQgMF4XhT3HnE/CBHEPLCKa2LVFh7C6flQRn
bRe9D6YSRHMWZO9DFwdSXG4mUgqZdgJf0HI4smA3gN9oZGw4dDSxC8qsPJomchzSpMBjHJvuIJKI
IL+kB+tR1MKbWQt3AlGWwB1MSB6JMTltASmBQOdYqnSLqgyLsp8+CIw+Zd37s1n6IJTJXUwK7Uyk
iG129HMcvWQG6GVXFodjJd8SjFdtMp/KUDhiWbS6+qDBrwCy4eviqygIDtekEEumuimJFkQflXub
dGyJnMzPWlOfCpaGdNNSosKFr/PHZGEhCb8QobbVAT2EfsWvUPwlYByaOMfiQM4skg8qytB4XDok
GComlQSoV30QaPjDhqTKKp7izLeM2cuw9ADf7Sm6nVgiAKaLQRbQ/4Pnh9qjMmLBIB5T3GrpsziC
jijIBbGEMOVXwxjeINn+pAUYEd18UlXzSdfXp8Hv8HpRKBekx7bFVABPpDGnsxJ/J5byHEXxC44a
dUNJ536GxatM8BSkhjeZ3EmLAekLVC8mTk+UnrfWch/gz5TKdwUhN342Dp0kPNDqe58MO20szDs9
qj4tR4wPCeODwjqRqBQRXq4mIoZ8uDAZEYm6pOyFjAYlLyEVloBV9hIn3cItKKPCXRe56bLeCe8k
DcFK0Elnl+RHbNMQnf3wQ5U8D9fViTsYndpjOK/ewJPQ5EcDozGjpi1NKClcCGKivJB5QGp0Fw7K
ghz8BL+2xlxP/qnJnunRgEJaeuYK/wRcdWvTbiK49SeHRhhO135UL9FZbju/fOXuLgubxjux7Yk9
6QFvGTQjcIQg+FASXXHg7d3q/F9boN9Om0iXvcjXQoK+xracC3257MRmZhFkeNwplSHZl2hWsqbf
zPI90/sg/mSesri9q57KsicDPLtMHt0he7wsnoK5IFGQ6FRspOeCXVm3wGOi27rItycGLBJOCgXn
RbtgqOOtW7j8yCv5sYaSmgOdz7mgLNBtbzrAaVpm1gEqp0U7D7WkPCrU/j2iQPVXCG6e+NxOBzcv
qvGO5+sUlkfRmIIbI4OpHVpLsMVKo0qzvAs02QxYGrZzz8BroKuUSgVdTZLrMf0VMwtGfKe+cMKv
PX0Aw05MvJQrkogVQ/iE8HVKzYvMh1fmdZLlWy33D0AsMyO6ooV8wJ/cDsy0IEVtsjV9KE7WR1Iu
8JBPbCHqn9c8tODf6hSzklAsVorQmWCiaISf0YLThT2g/x6eoEFZmCqi+ag1zREL06GQZx8udXjS
IbkUKiNcEJasLuZrOSkHaubwbO5vryv9hy13MCSskTZjk8+CmW+/9cgIkZ/Eta8UEAwkegk4qvY6
ImUe1k80t6fG28Q0TuiXhbwS05stHRPMKnlVHMS3ZBaPIpYQWjBfcjRXVpiTq8Hxj4FeSTCZlYuh
KhfiJBeYc864gsN8io3phOp5UswFXeUa5mRGP82o38cR7yJD27UwKhvzISeUZFBeIHE1z8h9Do9R
Cy1UzXDUGxho6VLGbbA2dnlnBZm5jfCUFIA7W1YEUnioNMqn7xnoHebSkOyHboY745vF/w7AxbDc
wml9GMLiyYzV54h7SYWGkcThK7TGt1Zc39DQk6U5zmmCxKs+SW32pBcVtVK4sjIv6nS7hDsb5SvV
JUgZgBLrD5Phmx5L+OxxUAnasUdaV0xemtRICSZ+npkgHUuHEaKR6MiXeBWvVNAKcG0rsHpS77xo
MilfcQ6s6qOPI1fHkscSc4AtwM1epDe3JeA4KBcN++N1HXj35C4xlSW5lKqJG6h38zY7l/J40rb6
qJUXKgVypEXtYvr9Tt9Cm8pu88qhqC8WnB+PtNYuQ6jkSVVJTME8MMf2Uk3GiZ0jCiZ+ll3UbuCQ
vTgqByrfumMJolYjlsJavpKecFrFBHe7HajKHdgL5lG+KY+iimOKm7hK8CnW8NLgsVjRpWvWSMJw
08zkHgNkZE0UIZ+t5ONibOAqjUkKi06K6mvmQoF7Sao6MqbgefLvUM1waN+R+m6dX8M3MmjRCHCV
cAEBJsItTP5UYHdLpCRjUpKUTfqdT29V3ZlXU2KZz9la595K/WmFMacjPbphgCvWObQpQFUxMXLr
bMFG6OHSo1m+YMS1ZwAZ81Xvn0N4unDlfM2un8nzfdA5eTIT6bTFViQ6LebsvPhK3T+ZxAHDtXjq
sY61sRCEu1CVsZdUgckIWpvVcaYVZBoP+oh+ZDYOEX0BaFi2ev07PwNxTq+A8olYUmVheZlhT/Nu
mUQqXCMMwB/D4vQLigFVOdnwaQD797G/n83E79OOWPfqYnV0E/QzdfHpQcxluqGs+SEGEDzkD1qU
P9IT54rR6Er0l1Gs04FriHRsPaPumZgCLMsukvnWpfMNBi4RIqPrHGGks8MWVZClgMxFkd4c04Vw
aFJnoPJda7fvmoVxUMOPsXWYznuLHr3khZcJZc+kX25YZo4hkPZmivDE6jeGSyKLKWYXgOwaluCe
wMCQvSpfWyFmHF6jbq92xqXQ6gd6Xx6QEx7STHQkXh1jOd6Tki5kw7juxZ9UQHuNohMGtLyrjp00
wie2M/NtIE1tael5TD/j5Ka50juIh3MaYR3Su4AVTIL8/jqYNOVonzHGsnD+7tWRB/QWijAZMyN/
0aHu0r1eEqoWwsUhg0JMATuQzuJDqCC1zz+RCN82TY+PC325baAQo54sGcOOznEATHgdWEPKQcpl
v48tv0iwoMN2PeXY7c2wC0RDO4a6wR5dtZelO+iG5IMS8Cq/8lXlw2cFhpgiiLQ27Qqlxggr40l7
b4TsPMrRNZf1W6O9KQVtb9HgxyxZOEMO9A8fJpYs83BN8nRfwyh0smvRDl6y/E75wLO6kA5lPJmi
Bm0Y1H/IirQl7Q95PHkZjPreBenOGIedwoOsMbpHtr4g3Rh8DwLROnDGJPxAp7Pv0OXxICEyUJIB
MBgHi9AsroFoFCIaWVG4t1wB010Ff27NT10+BWOlHkPHutUjhun4ndOHHm9cOql1DFFo+3uLP7gS
hmsxFgEm1xLOJdx5KIi2kHOEy6449jhdXkBJ/A87dGsTjv7sGDAkBT1KsgxFtkRTVP7mGNDrzGy5
lE+HTndLmbPCgNXFxryFdQcEy0pEXBbxeesxF0QOQUm6DsUuHzUXm8XJQtQu8Svngr5vDWFPLbGj
h68RNxxlsPY1OtDspU9A0VAWj2IN2gbneMk9mJpAggrjma5r2gaj81riimaO2Namw0OvoUCia2Df
wvEp+oYI18KQWd4QeHHKlvep1ECLB9PbSKdpgE9i99eyBo26WzDA152+W0oy6nAVV1qjiV6Nycya
Vd4ngJQXZMESWVChFVdrgKjHvdciYLd4vXshmCLT7RUUQx/twSMJQzt4uhuZv2vAeZQOUIWBynJE
DDp+fw9UPAg7/aDo9Z1cyy2F3WimPCLD7iwPRjCtWHpWmJgGa0vMSdQ/zsueSHyIikw7Wjh6gxn5
g4G6zHSUlcTf+XYa3Qn77FE6ysXsj4wt3A3BpaWHXUZMMx8HJ8yr/TakTIXyhjZHZJOgRfqeTMsb
PgdbrpfL4pJM4Mm+whzL/cpIH7JuvVnTRj/m+74hjDkAcwSP/ZwpO6Q+XvaoiWSzFsx/iQkcqueS
ET7J5MKXyvDqAhYw3oCEw2IaK9+CE9vzCzjZlkKbOMy5w8X1qZeNoLBCOlq2owJD19AfY107xOOd
ljNs03sRg0/0CxMJLdjo52c85hEbSqHND9vq3zjNnej98Xr/X3+xyHR/WGa+qnppk4go8F//8/+c
KXWouuqn/9/bH/vPD/vbR13r7/Kxb7+/+/Nn/feP/Msf5O//17/vfvaff/kPmjaTfrkP3+3y8N0N
ef8fZp7tI/9/f/Mf33/8LTB0v//tt69qKPvtb4uSqvztX7+1eX8kk3f2f5qFtr//X795+Sz4c5fv
6R8f35/5Z/n7f/lT359d/2+/CZKh/1MSuc+aoqqbhvbbP6bv7TckXfunKZH1xIRmWqaqoMKVVdvH
/BnZ+ie/I5qmKUuqJBE6+e0fXQVvgt/T5H/qBrKcZciSvjmSzN/+48v/l5fp338y/723ic/jLyeV
ZuoSCrioGjr/jKmY0t8k8EajYiE2BfFXWy9Oln8TzPDVkE3TZKH/2SR81/reurk+MHVFj6ZaP3Vj
/yysxcvCekVgE1OG1gs1Dy/1oWVaLy7Np6ipPKdZpzJEdCwrlLnwjYXyTBUXFxySeQGl74+x4pvg
Dkpk0GECa2Ltfxn7fIQieIBztM6+YXIcDpgDx5ngXM1d0O5JPmbbvPxYW+FVX9T7ROJTUYMQQ7eA
1IY8YGfychZXNIdK5lnHQUH4L8QCupr6sSrlI8lCMv4KudF9gRKlyMOlHQhqJfJpJeGvD+BLUvAX
RL6nh0wc4A/YlAeR2otbkaRhQ9Iv8ZdF94vmgYj5rlcx11X6cTTtOJcu5Puu9FSvWnIRi+lGynzu
bMGM+AL0k5zqJ6NVT4JBxpHih+hFQpjAHL3veWNz63ykch3JUBvO4ToCcKOyJtuFp/AwhThOXSax
BYKCde/4CptzZ9ToWLKzktGriO5V3Z6ylm71ReixVnlQMGCUHLs1TuGIfXSoObNZwya0NR6yCAFS
5Wbn9rVEiIybllxG7pmH7wKDtUdxAmh3Vgqvo44dGZAFDeK+Vkd+5liXUIy5gqge8HzKoI8LO4KM
jWDPlEd4k654IIJs0KcTYxqdEqxM8wHeSuJi2H2n5ido5/g8LNIFRuoNnsGi6YFtzdNpLaGsba19
pkAjWXmZINnNMxdPuWPVF+PYh4eav1oWc5CJ/wu1pUJt6bCI1SKXnqaBIkuekvgyu+WKaI/KvCu3
LI2E3Ev0wQMZ6FXMjBFJk5Yklh6fp47lv8aTpOt4fD4mgK5mhXpdSqX0ljFLU4LQLhQNfw2wskMq
ch2Fow9HbQVSNrnFIYHhVIE4SGrlrbQxs5Hstfbv2rGBUFo8rRShFlZ2zR+Eu7AJmoiZpIS9lV8V
GbVEpY/jM8dkS+YKrHfpKU5KSq03IAnjZa8RYlLuuRFqZqXmuwhqKV88eV/8OwiGnpKBSJxwkh/z
Xd1v5TXNuZ+qIGVNRMhuitUzayJWS7cpSe5m0tyTxzKs39okfxvo0VtfKFJ+0d47OujX8McyKTxq
2VY3+n7JWJ9AkE9+GeCCqzb1U1WBqVUdaFgQvyKjchrER9aoni6pnhgU10qEDA2FqY4oXJD2IbMe
1kSDeihn/Y6b7qgW97Ri4bVLpYymLFiVQgRvo7+U43gR0vWSVDOFFrycdSdC24vcoZ4Cq+ALglze
kj/jchT3gc7UugMQTUI7/+XHTMCWdDOa6EYI8FaH+Kpaa7vUbq5X+laCbUmXsaTLCVhi1zFZUyc0
iJp0o2mPBIhDlX6o+MLdqGyRaN23qq4cQ8m8rAQmhxMNqK26+rkovShS+aI/sB9gJ05rhFsQjsyd
7lVn164aktfkgzdu30KKkViyCyftUPSX2HMLq3ZdEFDWnmaHfRjjuGbuxtvhFoEJblSiuIfl2p+e
Tf+NkVXSLR43f55LTf4XjnvDgFdiqZoqbf69PzlZW7FSNO5MMvzkzlvpt6jYJ8SsgiLsHrSWcy+8
Jpp50+hDAjkSHZVmhrLtUFkt6b9GnNBkjDxDX2yKZ+i40I5mS1YEVJU2BQvupgXT/Y8gKdwY6hv6
/fqWxp+bfQPcGD+53pgcBIM/0BlMJtaFrKWo4HyS9WNaZsE0jgF+8GkMiDQGHTylTDLp8muJaIN3
PCdTsTPqp1T+Awg4TO6c8i51pnsOHxbdoduqcBaiSvO+RgFbKCFLYeLCtvdTfLg5TNxJsXwhx3kn
3Iq8PqxTT2hyOFjD9Ad9boCwk4b2lgvnzp4yicfYS+OO3gb6g2PZDpZtTc+9SiyObyH1rleayhLw
7uK7BKg1nAVPvEOfmRP6X+XsoF155kUPJieaOxiPoxaRCFwv0QuEeMLw5jnl24Bz91pCU3LDcw8a
pVtsVi+keVQA5A21PyaOCvqbnlIJv8Eo0ytm5+ZVo8uvjmAPZXudQuyl9xeTrUVrx4JdGnwLIvQZ
CMa9dBrL0EvoIDKMGBcaNEd4+CTMRCwGR57yoMhUYLO9MdN/A0K/g+9jjk5KpAYGTENgUmqbszl0
lwJ/G12DnlGfExM+CLsnPu0qDgEhdBcFHvdkJlfCkXM9s1YX/YYC3ydlwq81D5e+O0g8gzMF8N5W
8KbNsO1RrM3plBjAs/yhJQMwyoCN7QRmSaIelJNec000B19jElBKWKaKTY3baLfWl/w5k/9StYSV
wQLBjmsyrR80x+cznuCIHVAMEMpt2/apFs1nSf2c2/FqieUb2YnknuN7Fiaq8FI2grrlNUQLY9XH
vX+aswFLen5SENKIUKfTigUmDcYt0zO+YJc5Ynqj3Q070YHiOV/UYQHEFBsLuzhPqG/gR9gZBx5H
QrEZXAt/IdMKcHrAZgK6voqHQyqp/hfP91Y7LsXiRiDPWNmmKdIP7i53rN2O1sJO2y+NTfAhs2k8
vY8qtoTVA7flhPEPSbZsR18tKQRXzFyDk5MI1bdZOW2dwtTs9/WVm0ZGh6StZCw/XinV1oJfKXW1
BVZcriYm9U4kd2g/WmP7OgDFG68ZYFueoJ1nmTbMIZWt+tciQsp55qPwoEIRcRqcIopr+Pnc7Wf9
E3rqhpCntH7Gwq3sufVL2LVZH9PyjrWUihx+qDlulvGUiovTDF/tGDkN26zKkadfC/h5R8Ocil93
PHQt9ZEXjZj8YroxZ3kdQuuSPnoK7CYXzhWnOHVbPKiWQCX0XOmc3NItWaE7Q3fNuduCyz8VFhoi
3AR8hzanEgqFFijGV1JRUW58CTTaWXiGsShw0bVav0BU6yXUo7p3w4IgSBmiIzZ7vFAraKFSdQxB
gJNzSUd2nF+5PAOniR1KjdV2h5nDwfAuLLRQpc6Sy3g5XSjeaYnly9oX4WUCYin21n1tUjdrzD0F
htJCBJlwRsyaRLIxedWwiIbC5Q1k0C0rMZDIGcYA0V5IgWBfL+qb6fHPP5l3ZMR1SNFY+QFjepzh
Xc30F6SqbEtDsx/NxZYWMCV5aOdLChYk0DU81QkFYSRIDSzXJrdFZGL1GGmozemu+WX1rHO7oCmJ
ejoWTyWWiourdehATHtrqhDsOMV0S3XKFXfxaVjrwGpoYgklQtjGgYExVMHomoGYh6cltM49/7QB
a2DV16uRk74WxJvGzpcvN8fu3Z5YGEJivoe1dg/BfHAyHWZ3gH0xCrQYNYJPtBEf7RDoi7IbtR8k
YRvabzYu+6bnSFacZWE1PyWYV2qnRmA1mSGV3JEX7bpGmLHpt5eF6j5S/I5Vr9S8GWxwUe502CXi
nOygFc7z7NUkTmPGrtk1fzQGvXmgjky35UT19Lr11gxeTSruy9ourIaSYW2XRh2emHrHgCKxhqgl
KuW8Jx5yviU4vZoGagQQhItJ5wmjfu8AokVt8Shn1a5DBxSsATS79KiVEuUl1WNTSA8hd4WEMBhf
8V6aft8LOBQ00JhwyHPsqlh7pI6WLWnPAu46gBzQuslpquxijMnZoqdCJBm/xNJRGLoDoEN4b17H
MwIq6BFDWY3zsM4eY9pUNBLI0H/ZPp1ZLh60ND7MLJ0BOUreuEDJcSj9hlFG/52VvtVKeiKXeSoX
Z2rVXY83ROMUaHeKjtstqY5sYABKqKwZKXa2eK4X7L3iH15uJ5KUl4kJfKFDDR7ZPlMEpzDHh3Dp
HxephAavPMlkgoTkXn4il9LdUCQEh74BJaoMcnl+Nrr5JK5GoMvc5AhAUQBA89B2il1K872lTlRA
nrRQ+nTgjoVg3yB5HaG5HL6mm6FUQUYE1aoOBCyVf7EVt0BPVg1HnaUn5SXFvt91btjOx4jsngzt
VGYgaUwGzC80cbotAYTQQLvyGsx2VfhRkqWv4LbkKJ+ydUw6VrDPMbi4r+qrnj5Ye3KXwBXdvCU0
Misg3Rp6qhcq6GTKaFmIdl/K4qcofJyL692eqy/m6lGXjij5lW1Aopo89EQ8jtVEmRDuB5JsEQoE
Y5f6JJb7sd6qQGkGMBULG82NrqW5ih0EFoGC3HIvCrFDUMNO8DPpg4+i9h2n8+OyZE9KyhNxHJ8E
vN0DVm9rwm2MV6eqHge1exBRo3LzTu7gVi/pFXO/MK10q2RbQjsIG+VoGaQuhb1Zzp4+p37LRUtc
dEd/HL5qFvbqdbpRCz+xo2eK530usekfF0SRHnXuXbxlDlnNyIcNIFEnxR2UI+sY5wTW1n1FKcaE
UaBX0COjUzWGR+kiJsGBc3MCm5DN3kOTzgf9vbDyY/Stx+yQ1+RgaccBFoVsFT7qb0ubr7U9h4Z9
TM+CIryJBKNFFNkJ7bpHsyGo4oIbXUj3ImlOTgH2sRXAoUfLvjb3zL6uxbfUlq3yMk/1GWVZoohP
7ngNcUHDQNk9jnl436JXRHKK3Uz3gQ4MssLmvrXtzQ8d1Zx5vs01mq+0iTOBhQ55t0SSftSg2UUE
hzXy22KgGcLm5AOHvYHVRBLb3NMdDaSUpPBA1b8A5FGrMldegcsFtVSnv8QMhbM6wOK1xufk1lgN
FUTI5j2jgqWCXjSJtu5iaAbFQcoN7A6bMyIkqD/yQbFXDADKBmEHgmYPUgCzC3vn1LNSRFgdwcqn
MSxYBplX4qOQHOhuWrDoGrXTuGMXHQSonTGVr7aFM3yt6Y9fTgQia2B98xHn2UoHI0ghfunSy3iU
OInQ9fTlpiWvpnQq0ZQXNOVcBk7IsRD1R9ihoV+g9yAUZPvdxndYPR4ZHCT4ARWsQTXpuhbE2llF
hKPOoT6PuftF0iaMnfnhlvVugXa/Vrv1YlERCbsVFnOBSQW0bBsYBfjV5GlmpOb9QdOsyHImliaf
K7dvsjAR+SSjjwe4DVX0Rj7LRh85aeLwksfNs0l3JxCLMosw/B06uaRxJgxq3y51zPxQk+adwdmA
aUAvOW2xO+N9ig7zfR5ZZJvScaRisaViEQV9yp00YxjxyG1SUCN8DOpOu8/bXciSgpAoLwP4bgiH
k/rVddoTW9nnpE+eF2U+F8knWuAn8g2lFDZgP782SONWDI4p85Yie2Zlk7DVmXzk1jyYCBFRkh8W
XntRFqRtcZIHSMWfjdTSDFVdk0PSgqAyHzVBeIJ4j9NKIv3b9AKW/PY4OwOYRfGt5L5UNe0x5Jfa
D8ema48dm5+wIWIGb6OAnUPJ5cMAPr83z5AQgeMTJT5TEMC1xaZKu2jGu8QrUlhDl+RGNqoPei0+
UKa3M1budpN1r22yEJKw7Uk66R41682JffKfmH3TgxbfK4X1BqWws1lhBJf3k6rvw3nw9MyB09M1
OwFTdOtEeogyWuwh8CDt5znQJWWDdqhHZSsM0ooAUA9d9JeN+YRpWrRlcpEpVY/x2p0UDeZ2Dfp8
JUEXx+esFk4iRA+DTsLJjycLGQpnsdycRoSKnlJaMEvGrjDh2k/qVcvGSxiGJ5J2aBXJqu3F/pl6
Iq2nWXUhDjE2k63ZMJrPXXvCMrKD3XvULy2rNJOXeweazKgh8wl29qtdxV1gnWgZ3a1CvYtgVcx0
CbOYok9ZPBidctTJoFp+H1HcOuE5PlGQ2IGUpiPpUCAW5wkXlEtGkdhqwyGgFLBdAGmwilPm3slz
R6HgPW/hwkAAspZ2Z/KucvI0C3p2crBAtuujwIU2edFhj+oSy4LchTaa/NBtTyer/qGzTZQ92qIk
eYD6jsm8wtG4hfq1fY4wMwK3myqUPJKch5wxlU2K6czN6KHg7HOjISkCHvitrvoDXTodyztNst+6
fD1rAFsBq2Yz21c3ebUUArOluH8xxV2atgdCjWy4oizxWbf5OfO5V8ROv39RR9lt35rFqVoAZX7r
sqTeZSBOCBUOqkthcqrxrRbYEVgrEWXLKyK02gFs0i6sYNP/FHoCJBRVzGZQD7gvs/K8mOTmM+mc
Wxy9AF1eZmL6dUuvq+QT9ScZRcMoRfXmPZ0cXb5mMeO5zWIoawPp0HF/7gFqZfbvhsJ7yiIKPNU+
sUyPrARoVGKo7SG37LZHttEhdTf7PrXLbxwEPobYGMROdF3M+5LshYOPoQLjmbusVKEuxxx3tJuo
MGUUepkR485Rafvls/irAd2whPXhEVQ8NdsrGMkHtNDksWMDWjoiRnGq66is8x+L6tBNP8r2F5/j
D59Uf1ofF7+q3QrwHBVK0nIUdOuBx+FsAx5Eyy1qt32Gu4rTgtQHpXvQD3xQbVTqmrvF7n9CeESp
Wh+n6jrEJDEWojncAFJ8uMUBGspBZujf6FZ/kAA62nQA4Fe1Xz6MC59t5rzaYl4xqUVP+aA/DJia
uQTCKOCnlHBTaaktjT9LuAsgFUJ9dpHviNcXfGEELp2mMR2ZbGwYchMnhL3k5G4X2/hQeFKVhPOn
USMlURx6nISuhadApnRDbqnzVDxpMpwh/JTfxJCcn/xYzsbTsqeiVsqOwB1tXNZX+QtCb8SOqIHH
ypyDK4Q6kvICCWuMEA24a02UrDgGCwqMMLxqts5lXSfxvdfuvdztDAKCZ2H+kAkm82VQretOSe2Y
Nr1aq0lhWnXezYi8SyGdQ1zCShIseRzsuI8GmmwGYQXWZG5AMeQsvW27B+VkidvYAf8vhVU+0UH4
OC1ZsMw58GMqF0Jg/ZqtENXvGHu6xVPlyhczDKfolosx7IGI7XONvpfiaZFHd36WlZR/TA0iAZwm
dwWj4APS6qwaE6qzck4YBkDqCfjQQxw2QXwn2bgTx3007QXIsiW9x0/LwnXcDH3Tf+5ozmN4jcug
5c0bTQd9Fc9U3FwSS79if71l5XCX8GzmT9KMdgoQBedFr56W4HmNQzt7M8CbVoPhicA+hj47FLhx
cJw6CjU9wiQdI6MIMobi+aWqitdMGl+LyThEjw2hwwTYrZuqUEy74bAW4mFaCHJkqBI5Czv+Xt5I
ellz0y24cKMbLMM+fGAg9TBfJIYzgl1hWATcQEMspCVgrT3TZ8Iz38C7DwdBlii3EqXdbOJO5pGq
cqHuPEb0Hbsvluy6nj6Wcnkf4vZKksAWQ223sJ6xFYAPHrQnXT0Xv7hOJWAbO87xDNOPlJOFLGwQ
c/TVEk+wpNeEh/5rp8934M9XNoEraNb/YXVsbMntPzkaTMMSAcMiuLFBlg1L/ptOuIRLvQilbJBm
pKWTN8cJPtV+sm7NztVpk7JWJyMpm0+YN+hhVieK2xMB92K1T9Vuz2lmymz4iegRh8gGgFg5+a1Z
u4i5cFkK4aKJ2oVD7LLsxj4LrJCF8DIcJesgRbkn7vLf6bLgBUKUvR7tKKr8cGZKRVjn2qfyBJmo
uHuXQd7yKXCD3MxInR+zkqso5EPur85sFy7ltWNQ8BpnQJ4zDH/gRaLGCc0aLQriEiDXBt0MsBzr
DQjUUEBaLyrXQhgLD+MrhY12T5OqmLNKbbHXSKBKnKFsD7oqIIZN/mKFXuu3Pq3QBxM5SPENJ1Rb
GJXWIYY6MscsTfr5nCXYnKmy0NarHrc3DrAV8GpMO0dMvchSUv5bBcR0P2cre11hzHXUC1Q7Ta8f
SgUjVsew+KKhr4qE4OX9cR67gCmr+J2Fwg13+VV5mSPIitqKQTYMkgLzTJfu17PybFTY1aiLagJ5
GE7V1J9Xob2klQUt4vcJ2aoB+tMD/VkCGqCTffwRmuk11eVLso/2+F9LDy593t3Gsrph7hoL4itn
UTT4Big8p5mkSQbXrcmuqPQMLHH43GH3m6afL9RGsJFAutj3qHGp/f9+naKP/9fXqSErisGbSbbw
822//yeFQ1iKsNK7QX1f2tpVycUIWMs68sWkBT5E8V2EriEceDeO7MGW42oNt8jq7gEMUG3wNDAj
eQe6mwNp7XDHhNeCTbHxpeC40a3RZxN4MZqz6GyFTxcDTq3YbQsOJkQ2RUjM3YrHnxW3ILFYH2gt
MV26UJuiRL+TD4hkdGv1h6bWbisBQCnTgIiKfKKJIz0prbrXN3oEe4AGfa10By9DXTYi1lXHWUcH
MelhzzeKSubV809PIZYJ2zcfV8+0NI/6azbetvQqaODQsODIy0gaZfSqM0EIPvuRd2acv5VCIBIa
a7B9E0UpaTyANELLBHU70Kvykns9qM/eJ13uma5aRDcCNgE96Z2KnNYUgUfnyZrb+imqOPV03nQ2
JveWr1NGWPmII1yudJl46Y9KjVxDKbvBfy6UsmOMc2aeUNMek4cfIcgoM7lZHtKcDQ1MzEhUgtUU
Av5/iQgnghFdM6kkuxMDCPef0HoSpemJZ/ij8UP8mIOEFrI0Px1jPyL1uyKZCqpyEkDKzxWxTlbG
iuQLOuQUeL2YFa1pW+2RpWmO5FopKKnuj8wsyxREdQa7l6/8ue8/rDU7x8f8Y4nU87xkF5lMF/WC
Z3SvarzGgngtIXZya8DMWnHk8Jioo9T7oW8A4Zw4DDOADJo5gVfmghE02vQ5bbInWRQeGnO+p+yC
l8OWCWQl0XOqJ2P778acv/hy/oyuUTanyN+ObVlU0PpUfGgInNKW9f7T2wGueCTUGBfejawMzEI5
jRbgFySNlEyUa5qPhY1YRg90EpTY8PMiZD+enZqaqidAKaN4K6laQ8ivmKCzuji13XwWYutittYV
h1piv+Ec5l2jes1owEtD+JqRxFD/mki6hXdeoXS+xU/E3R7CKH2sPq0Fcm8871ZFckC2FBfCadQ6
/F/GzmtXcitbtl9EgN68Mg2ZSTL9NrVfiLL03vPr72CfC5yWGmidh4ZUQksq5U5yrTkjYsSYGjeG
lluci1cuExcDXnTWMysp6iEEhoLVWdC5HXR+lHeXjMI2SflhfcDEKyafy0KQU8sdS2xBdu0zp2tC
8Uzy1zkLTrH8Qe0oY4h+bNACy7P0Maj2qzENzxiR3aIdHil7tQ1BRikwzusP/tyi/Id4lrL+JIG6
I8hEMCFGg4oglfDHngHUA7xgNKsb3kriphPZvqKEP0lOTCgvVbcEiaX5ZWl5bHS6nIslyzoFue5x
Iw1ePCT6YSaCIx+JJh9krgxIQdpFT3/YEV1nxjHEEqLfRoAZITbljXo6AlDmmtHg8hL5+rUJfuuR
wOHiLVdZf1t5LO2EbeEOx68LUvdA9JV/vmmup7oOXXWuXVOfHfa29E4J+3XI9umHJrZ7jtw9qxKV
5WtSFG5U2VRd9E6l81+bma4i3g0kcn88K/MVWfCPQcxDIuZBMs5WBIVZvD1ZwccirA8rYHWyS071
nwW3QWVdC2x3a8KyiQzf1vpYnNKcoARrLoOEi2USCrfw3uORQNM/ZcnEYBnb7XcEuRM0mZOpNicR
jvj83YDzUlFVVsQmGTrCfD7NP8SuEjZ6CJbdsC8bYBLLTi5iQo0N2XLxsLkh0mk4NVc13yjt4cES
i+PIV+MJd5YCimR5b1kXWphqqu2HLuyIbR5LENjNCsvK1KC12ZBQy9/8UYl6R8dNE48NKdTScY33
VGSihCVn9qd4BiUiS2cX9uS1HPc9lEaD1AGIGZaZlFGXvvphWCDfDf26KAuoyIhlr34Te9vl4PZ6
ytLJVhyEkm9gIXnWKdr3SQk3Y9fpW4cTFwuuHPm8sL9Cp2TUTXn1MPQWk8QCzZbZ4uOJcWMOWQsV
V2vPcCpXaoascAD3h/k/JoyXZNIBJd7PhM91cAsP3uWwsssACB47lFaxSOKGxnAeDwYlEc0/GGRl
Xf/Le8m0qNSQNepXscarMjnTv10n66QoB60tim9dRbL8LonWuRZKHDVjYHbAQCx11+/p2yHtMsg0
dh9KH+0du66e3NvSuA8KHViN/FhK6sOSaYd5aVmToCW/oJJGaGdKqdQcs/y5V5FM+sAaBRI9nhwU
I7WqbKsYK4/6xCS337MI8veUGI8K0xFbe1Zxn2agxYILv/OkZNrJAoUvNTIL5e8kQbalGvAWykw4
P4/az6qHR8w1VuQaSwDiEmXixczqS54QiBLQPeY8WPd5x6IXdld3OZpyDxiPHxzQ+vYkxRGRX8bi
dVuOELPBdQS5YPWbS2w0WFfpZuK+G5uyI0mkwxQSu79wSB4rpp9juZc7qDLDeE7a3KuFyF9+V73k
Nai4UKfC5i2bE78HOgWZHJjXooqu1q5uyf+IU3LqdFx1Kn79xOCFFey3so6nNGTVDFMSe27eYcMd
AYNSNYIVaO6B3OG8IvxzieiXrnBfNdIzEnTbzOSDtesaGD4pHVRW6BpDdO7PYNtAHXXQCPP5iz35
UaRKCSMNCiJ+ITJh7EPDI+fFmd/8KF0GVkgNexdH+5Il+JYKlbDjWy8M+55hXWVYL7sUdgTvhQ64
+4vQv2yt16JLX2KP2cAynxleAFLVcqsFpFXYpBEoolDINitrv1K3pWHInorEaerZmeqQSwnfKOxg
+wG5ciG0ZGmfKZdAi5ZOJQPiXM28dkS3E85Vvt7bfL5LGRbz1LrphApi4RKqmLQF5dpLfAFEUpeP
dsET1ogI/2BG0A3N6rC8VspTq6yHcb8xlf6niSNWuCr3HdwCFG8Eayo96uu0Jrc4xTKdJIc67+5d
Ld8zYLMEkYY+vOeleg8fcSOdazgU3Ye1T1LaHKjqMnrSeWuBpqGeU6dz4eecqTI6cyO5IICSoANq
q9HJlsPOeFfhCKp9eVQM9Z/wStLmcv/fmZGHHL+RKlmKrBiyLiva5kb6t8tHxtrObIwq+6rax/qE
PbXc37s+PcsR4YkVK47gE3oOIvZndK31IMFKPwzmuLwsfKB62+7Yp4AnXI6Ud+ykT4NCK6kXPfWM
yVAN8J4GtPMESaIEZTkEGuAWEEB9xbc99/uTEpFS+sakhLk9clMsdJGSHLlp0xLrQy87lsVbL6Il
GulJ7epzPnABMqiaX3/Jh3HZ6moCCjfYRCXHhJrbBt653CzOVX0jk+RZBmE6fb8EJTaN8DKOQIOq
DrrQ+HhJHpgCdwLtAMdDT05YMXIqqSFVWECCERiSDBjAQZ+AY15Xe0w1fjX2yiNGrjb1z7FnE6o0
H+0Pa6kDWyhUP14iv1W/GigTjUDfh8Eai4dMYWG8ZE5q0jikra663AQS/VUsnAzOY/abC9/rrbDJ
POqp5rTbkAmC2OobLt4QACkapnlWwLOT6dl1Poz4Fr8TPByba61QtCIk17XiHUuzqkon05grQaen
gWm0frQTTdmuQ2pz9Iq5Y91bErzf+mhGBnGzbQHAn6MpEYTiKjEfIHEd6EZB8ETfp326djnndyqp
giZv9jFaCJwJ3lRgVwHeAmlX0egaioKdy6rVe/PYk+lTappAm73E8c4d/GBYtLHTYcPq4Mj6P++J
IIgO+oBdqLRSz5k7QDPswh7ha3JVfLHc2bdjNiRQsx2xIehcOpq/KdS/iTRbSITD0AF7gMkCNe2z
NPLtq3k+4iM32Li4NdCCWzjNglgGwyT/A22SkMh/PDUGNm3d1HXmVwtZ6K9PjVkqpRarZvmFs05w
o/x3MdOIQ4pvIcVn8CJNWb0UmN16gHJyrxG2L44L+1Nt2gu80vSIoa3VneZPjLsjr7hXZcJpBRPe
5KSD7J7dwtIrtApZFzpWv2spTxVk7lLQva7VPGJ9vEDLbHkWYfhgfkWruK7FVxsZ51hKbxHlYPFI
+QXKqXBS0K9SKoWz2C9aoGO6frG4hIP5JHCDD6C2LYp3ABx0q79wYcxSX/mpPdXULUaa7n62rI6y
Z9pNr2aW39JJfF92gUk1eN6ZrFhO4jqQLwJbyhgS37IlJmuh3fWsvsuFdPuycGeK/qzF/leRFZ6l
i2eZjMp27OPn60Q8qjgSbYuI1LjrkVgUC5NS2RvOwnpIMA13mjmBIf6M/x9UjWSWpGcIaYLGrJeM
gaRNQRWNwezNH2b9pkT5YTAF1+Sq30iim/yeCSUthJJUbfba5ilxE8PejtJf7/SSjPuOdYuMkG5O
nGxFICQ8WoeQOAgif8Vjz0UkpbzDYPyj8fzYEHiO/GS33GwV2DkRHxaGxtvYUFKPr/GjO5oCLQRA
MKjtmsiw75xaMfE7TqC0sFyg3CIuiWF9KPgbV+ytC/nKcSdnEyHh+bxYk1dzFCYcwpi8alPy1jW+
tKtyacbqyuRuM/3hGm+04m2d9QcyNF2Db1M4vgklPPn5LZmQnsX6OcPFUjCBxJ7IqD0o02mJGe/b
zj4jdCFI7c51gzWyJDskovChkKVgwgveCRkdLzOasY716gmop6XeN7kJgAvTiUFksIjOxE6fA6yX
aTRVggJvlJp49bQGmWaCbeOO56+V6CsptwZfJg/c2sk34g5oQWw8SEcVMh8c9rGEOpVRPKgheBxs
NSNLgHwQmOdcdcqcQgd+itlQCk36JXW3ivrTArm8plkmC9dzekbZNmPHokxpTHtnnVyjJEfmxXSn
po4GTptSYbtm0cKFB6SnoGJ3sPiGjBSLVzqEGqzSLAwn25W3l404nZmeQHKw4T9EPfFyQrW5SWmk
FRSL4RfN6lETIIqKXR0GdHnENYzz8FErl0OJW3kbwcqw79YcuxK/1HEM/x8u6dJf3cLb+W0Yqsm5
rdL1yB7hbym2oh/1ataE5sskqo4L6xK14X7tNYwIwr3f47W45k2gZJVfRSyfh/hB/3EvKZ4EDDoX
1Dcp0t5Ygr0thykCDcGmsn4tau9QI+DkhejEEAgSCw84tir58FWukv1j9YdZO4Nod2K4p1norlrl
Fm6f495PZiQ6NnO4jM0wOTE2p8PgrCKsI7mBokL67IWz4lXF1ZtVNm/xNfkS8vowZD+HyVVo2a0g
2Q2Zyw/O7RnhrY4og869fGVcApzeZxyWhV1svBQNF5dhPLb4VYNVLbvCDAOo9XrJZe3nhHc10/D7
RvCjTR+O4qACz1RFv8uNkfcQ+SeKpI51UjElXKxVdMsf7Gexf3ZGdRZGPK0D23xxJ3Sd3Y6FsxTg
zpHyx+Is0WkhyFCrzCLgqa5Z/7KNBRFCHY6mVXdVbh/9H1T6csofPVEQ6x6BTuFjfXbxQZnxzBrw
VcfFV+LGr/D/6d2legmmcrHaMMjaMmA35sta6eXAP/LCxsZt56m0k4I0V479Pc0g53ItjcuFGHBy
UvXlhF/FjajdM6azjORtnPsy5407eGkjeaJopzPhOnP0JzsHjTcKyVkwKKmlLIqbQQjc87egVK+a
VyQulkczvsus3PBX3Mxcv0XlcqPXYAtDE7sWk42Ru5WyqVZ9KmDNaEt+mmqyo9trN5ZdUM6u/jBO
62a73xCFuwh+op7zUVeR23gCz0bl/WqU/D7Iy1XnQVqbzmXpphI+nFqnK/WjTJdNZf3Tvdf8j+EW
tUSSZY0PSJXARf9tuE0sKypquoK/wuIWMWyEWCL1rx4UcehgW3TpsVdE6bIOBqZvGPBUlvF1XzF+
i3H8YlavUsbAO9sg2f+sfYV5d9bbh9Ed5ir0GpjzFa54JSrsMrIOFqH/JL1HE8rwUJy+YNLq0FTp
1NaloKmW65zKl6lSAlkfKSqxmWJpzSAJCFLWriP4s+OPAYpN03Uw1R4paZIfP0zoNXkvoJAjqLWX
WcsPmXdcJcwe72al2Ee2ahQkFe4xtZRzIcBZ0Vi0GvpOKko7gX+PsbVEAqOPoigjfijWSYjFs65P
4NesvQxK1/gh5cndGvS7FDYPdQGA+CwyO0ZZLGab6BU+DFP2ijS7wwm6d0lqD3FxXnLxXsbDvbDS
uxHOt4f10MhbIAk4MpEVasm5cuA3hggMyAxFTmNizX/M//Ju7Salewg72mfNV991zwHAR1Wdaoxb
6iBf6sHwRVXwK+CnRnFJWUfQTVZpDdOeDH9jov+KLBa2TXq5oZDHyuIB2kWSsU4FylvyUpwBYWFu
FRZ/HbNMGESvWv+kBVybFwy4m8fuV4XUkOhCoGEBmWWnTSxUB3IHG7z+vrB3bUdMl/yvnxoXmyEe
At7/zBmUTem2wrZ0ETHImHuzFx+zUJ8HndMEp0yV5lc1HeAHoz/vvpsTNuU/0CYR17FvpZ27vNIh
dlhVOmqSOMWGhssGl3ahw1zjzlDxFs+HlnJ1bW1PY5Cy3QOjrRXHkFnVoDVybHEaDXiD8ZxjhCIZ
h4/9vBBnjbbqnNpwegjiVl4irVXurEG2Db+1/Oj6YWPw9HC3O7cCXpez1ip432UKmAKwO+3AuVzY
SrsEueTheb3FQ37l+hJUh7sOfgFbov4wI7g4/Z3yFHPt96vwqzVml8gNkbQqMhxqay9lJEGqVLF7
ktwqQ7fE+VWHlO5x89315nCeY5aV7vhNBKBqkbJ5x6TZ7nhpHyXO2IRgOKg8HfPYf9emdPOv2tR2
nm4hUHhWik4GR/xXavzf5mFNLQ2BvPH0NUnDaazFM6YrkBdpSU4hgRpi5/zKWG56nLGq+Z9bPAml
BeggEsalWQpmMuVasDJNOgbd81DyTajqm97lt3nP9hGtnt3kr7TYTew2QeWQBa+GLjBQo5oVZ4Dm
i2nDHAkGVdhwi97y3YpzJ/LEP0Krf6RD+bEQ1vGymkBHPd+FT+rgl8LVVqQTC4+ABnJjTxd8F6Gj
e6li7M1Y2pUSYOKJXrg0ZRzGbNJf05+1yd9LBo22cVW/IIox6dZPC7LmoJrX7VSN4qcBY0PekaZ3
6E5yFxw+mvxDTKJT9TX9VtQe1xJdMosRKATOVf0K2OOGAnVrI/UwpAZpAf1aOKtbGNK7pJnvcbbj
YngVKAXAQM9bvr/mUXRtf5you97lz7o54Ej32vE24DdIursFvKAQyntN9/YS/yqczq4H8OGr4gim
jaPVnOyrFu81LP9abB3S0flCgVYEISD0HoTcNPt7yB6o6uubOgxX3HYX+b0TUCVCCndEUk2XSsTM
ObjS6wfW7AOmBm4zotlQ7hNSnZ26kSDCxilPMbpFptERgqw1dNd8sC5ao5HCgHtBSzPgp6BkHTSa
p3zNPDUpzzGe6+xA4x09ISexxH7TNwf8TIcupDwUx/fWbmWQ1MezLOPir0nTstyDQznGzUnF9qCs
KmWtxsma4jOP2b55gzjZczKLq6esK4CJ2eu5yhpAP+2eC6xJ/K5fwU87/Qe1fm9JoTxrHGyAoMkx
8qolHNrCKzH2SpI5v0tVA0zfX5dvkxk6Zkmd14rEBiUr6vdLWjrFygZQ6Nx2iE4dPQgTxYLDdY74
t1WLvVJOyW39SG2nk3EFz74kV9LG08BCJTftJv69um1D2nR3Xdf3VM/2cty4amO5FmuCVGY/NxFC
shxJxDYb2j35Et5KeT47pGAsm9aefsgAKvVBGTLZhnxN632yvd5SgFhS6uVsWMOL2PdX9jqSwsej
Lp0rFj+MuIE5wwqVteq6rVPxZFvcEtnUC2xUwfuYoEcjIvth23rCdiiZ2K3MYxcbtn6KgklQ7nma
3Cwrv5gyBd770mUCTg1ew51y6W2/aeKDiiEvCedDCDgZ+1AaI5ZR3BJFXKuH9JGs5qM4+Xknueuu
ifeqET0FTXjjv+pdsqogbXmLl/UbvXioaYHdgCk3zeHW4OadQdnlld8I8ckqvVop2YWruI5ucoa9
U+49RHCfa4vPPid7W4hw9PV7/4fSw2gSz1QundtJOJNV9cYUBmpWe1vHS2x4o5Z4W55KdDPyNDKt
hpJyLy3BqS/lo607+6LkdtfTmkTXVLxVRIJ7k05SvR7WlEMpaRwSw8ckZcHMCk5ieqTSKCcpVNp4
XqjiapUOKCo/vl2LpJTH3amh/WzV2YWjLKXwOTdE6cqabaB8KnX6knES1EeVG0canXdr9xOXrE4q
fcEkJWg925/cYW/UvVKh3gHg5yBAg+Z7lNRketeTQPnZurPg+hT08Cjn/Htt5l5PMD3p70023skx
c3obtxUZM2qnq6lhbyl2zIb03oIa9K2i8KISbEfsSTl03ex3AqGKnRLNzg42YL/YG414m6G1R0n0
5EF9FsuvqBOYCeO3PKreahqzBrXa15V1kw7fl2l2yZSRldit30NS9fg3Vyk5LAO1HoV1QBs9ZHDM
igWE1+ZP3RPz9ybhNXXEjBYxKAvFHpjVq+ZCFvxq/mhYytZ4vCaB7qHx0tMGsskm9XhddXytonmV
VvOKkgfl1BhUD3ibq2CGZuHcfFgnEaj2JEU+xq830NNoJ8dZmI8pW7WQLOMiSYc16QC9d3ZvvHNk
7vuBwkQmRpJ4EQZTVj76BPgX04wcCFK8a3CH63fjOTRw3c+obDCJsGSC15LVKRiHloh4EdwNXEUy
CRh4vzoDHPeDxjwQm4Kobc6uC4jGQnmN4Qi8KEsk+Yk8ljtG85Up7U6Hg0sDt8Tvkkh0NuzqKGJb
sQTCtAQx/wpSxd3UnA0zAUnMaiAbTnHQf/VSuFPd6Ge4AtTUn6JQPDDAJiBsVkwIqC/4zx7ypDxa
mBC8H6pojxXaVjOZ3g+WAorozuEMIgiBgReGtdeMg1YPhwLmTYXuq/L7El73gvDeDHZula9T01+6
AXSxfE1ht22FfiQAwQzVY+Zm2U44MTkTA+Uf+EOgZABVSKRSc26Af2VnUtJUYfjaNwttQC3YetYK
+8TfxchCXMzR/0jIAb4ux4u+7NV5PRi/9BxRiBHa3pekjHIV5PNkeNUqn9dnvkO8vLcsH8cCI8G3
7qOAu0O9eoYPOpmTgB5PfJeG9SdEG8kDZcx92loodyNZIWn/ZFL7W7x5u2BZ4qY3yBJ3LJLO22r1
3y5YfVRkgzSI65dRzUFz6M7G1LodsZ/mYKWLn22ts3F9KstvE71LNdRFYbpXc/4IR66WVfksmvK5
Eg6LZLSuccd25NGlA7A/Pq2cvhHDSUbSUTOYUR62bpQOtBaJzErqhNUPwmVpK37i0UoUDKnip580
7B0RR7g6fxJHg/Srcw7hG8ObuV1yNM7gBWStqV71trq9miBSKE+IEnp73xWK2Uql4OGrvJESED26
xL0RHLPfSirfzRsHJOUefpfWvtGV/poHcc+qxBlS7mWxYxA/NfnCA30/WSHm5KqCtaNgfxNsVvu2
40yG6bZ64vb2nJFIXXuvI/wumBla9E+bpjbmnpW5x//Qo/0H6t2kXDiALOp5JZHmvmKvEfkeauR+
qre6Ij+bdEKKHey3kD5THS8OoX9E/eaknZNUekVz+qrn/RRvwFQcF+/Vq08aDB0csVSqNykNzOzx
8rg5hwwtZMdcLJRsJY9nVqw9wVFbN9PtVuIXnRBIselhKBs4wcnZzeTsgFzsRYnqtYxVNJfGdcau
lVXkkhUC+585HK2l501XXYRFCwpCvVa5u7P+jzAJhoD3BJINTXha5hHSo+lKdef2M2Mw5Go73dG4
tzN30JoOC4HsVRX2Zqvu+yMY/+4PlGak0HQDUZwLT8PhNl/3nv7236cIQDB/1wcs3VAx9MhspXX2
BH/bLqzzWvSrlOpfxtIdZStyYDaxYjou/NwKQnjmDOtMx0fD3mF+mzT5vYXfAt6f0UHpVboXw0ev
mA8qKx50QBDqFN24m13dqnfigIWAXtvsOsoUgA0wUVR/HZwOg1ZWxS+zEp8iB3ddnyKTSzDSZ5ER
ASYpWa7w9CMTJv8Idm7rMd1pk3C6jq9JwYlngpltDyqIXAmvRi/NuHKNfV6R5RDHw4z/SuyPKnnl
8ljA/C7Z62W9wnWRJIGZu2nFxPjkJemlRe/JEdVIXOKiWrDtmhpEGTKawtV03joQgy1BCZ8jMPfW
pbKqc2Mg1TPuIHyGteJOgGdZILApMI6GJh5/DrSgJj17qmOkmQcumceom49aRnEUfu4xap0Jd0Cv
gI6iGU3XjiWldeWsB/Kn0pnnsJMPefVHPB7UKj/HWkoRj/pZ0V8k/SFJsozeojaeupReKglnpYIR
S86prWlUDCcA3Jh6TN2ueXps0+7yIejkfaXqz8ron+skP7RRu5OmPQvtezJMV9VML92q+Qr9vRJU
Ba1w6RmQp31a7xYaJbC7bDMykll04wmlgWptptvQLPeqnxmKhlOnGI8pz5753DyBc9IE1WLsLNSG
YNLGL1c9duCehW6sFrR4assubNSTgL1EzfTdO2V4iWXv813B9b6X5KOlgD80TktnuP/9yy6r/yEh
g1BDeqZXiuFNl/4uhlnVUtE4FNOpM+DrirAGtSfDcEJJcRaj8jqupxoNh6moBqZZXZCyzJDO4wMU
QD+pm2tcpbfhT0vhjikX55AMwsrrqUU4sNmzvLEzKwgBN/K8G1VCX53k9EzRYrMzIjRFLBqJmjr1
1ikBj7bz1BYykP2FCenUhnaKaaN9HUMB/wGx0Im+Ik1zWd669S9JITbOodD/Ypcym9AR8qBOUHea
P8WKVVfkejlRMPaz6LGZE6QHj3auxq9JzRkgrpoAbdsqr/hWDeMoi3B7st6Z4auEcAUFDvy5qA8b
p54tS6fvct18rxz6aHMrvVb6zhy7d13JfX0zEinKG477FzSfAWBg7xW8rhRXwHRk0U8pr6gIYFfz
5TEha64VuBdSJ01iHGQ4BvPpJ/nWjCBwoZ628isn25UEblRubEb/lqTrKaVFEU6sldki9HhL5yH+
cxPIvzYCId2CA6aU3I6TUiYAzAFSJYI7726DApkIoXJuGleWf5dmvp8I0MwEaKLN11Fqp+gVX5AD
9gwdW7X0vKvobLEzmN4ctBheCGvDAI2o0ANkDF5oL+2yl4RZtO4xaSumr9KTN6YvlUdpEtWHPij3
bU+m5m/LNkRbetBFnc8VHXJAEHq8aGi71VmNEfDBo4+XK7WJcWMwb3Q+E3M4yjE6MZ3wpcTrVvrZ
k5wTtPw0mPYYKZe03hi64Oqg7ODruc+mfCwnmq5D8cJvrwqtm3WaCAkNvsVNbCpZG9YXDM1BQcWj
Qn2Y+uBitrKWxGj9iy88XMQUuPOqXvDnXnT+Ku5ICtProBV+SWzLRkzWefYj6i84N72h9bTE2UuE
1GcCqP/ia+8Gfl7//cn8z2OIk0fDuCUrFJRa1G7//a41Fno6D1H53WwTr5cHPwPiH/bFtTtECL0C
1BQtgc3BojF2PjvUaqCGMEupecloatIL4APnRpC8bqHGyqRfYy38DWlkom3pdveO2dj8yPMOYkV+
M5YnZoO3sGhetao+ICjc9Tq94hu0vE3mrYt2i6dfTBjG+Z7cNpmWkOyKlEIcxfaOYiTZQBtx1tdn
E9O/JaZeQ4ODQYODoH9JKXB0rd11M+tevAczRoaFFpju1FHEE2cZwMrQbXoFC0HnMv7a86CecGd6
OELtFEFiK3FyytV8pZ23bk+ZxcrAhO7LLU2eHBUT/Eygi1ynFoMnZBIYsHnVB75bbMNxybfFQQqX
Q0/yTbUpVdS9EigPj5eugMHqDsXY+vr1o5ct19Sy0/JJfir9znhOZjRSANb0HDD1rxXLjGaxxzCB
X4J5sjfktvYp5+ZnOEz0aqUXDtUPOSEoml60eCaSpAD4MXxhTP0Sz1JGRWraIFP1J52lVXkQMzBj
ZXa1CsQggwV+Nz80OXqs9I7l1Vvap+/KpL+LPzT4KYydNvGZOxXmdju/VEg5VXNri+42Fc1NT7DC
1NKOIM1bRWOBSJ8OItwtadBomcSa0rwodXbJ4Iql5XfBqHz9IKOON3CzV0PbxzQXUizotaQhcz4+
DY8j1j7rH04eiYrLv3qnQfMpMuKnjCAEk0a0rL/Jn0odi3KDaRRmzGFq0DAws1noX1+01B2Wvt5H
bGzZk/QI6k3a+3j2xh7/AV+uxKey2ZB3tVzsI2LfFK3iaeXV3g+S30TTJU3TWxGK9/EzJns4Hjc6
Ubcs5EJNN6mmy5LVJ2vsT2r/MHVU8wIYff/ZVb+NnvRi9dva8maKHQY43rVmuIB62m9QXnPVrgPm
65H3nv4ZASLBPRVj8Ig4RWgPtMDLw8OwS17WlsFGjQZ6jUWJyIakyj/C32SJgPn42sj+788qY52g
1bpHjKUIRDNhGc100SCzqNgBK+yAI/wqXjZz6YPuglLN5mprPY74P4NbEQ+DXhyp3jqaxlPjc6ww
niqRQB1AddQGW+KeFZIQ1ZRfEsVVIglRQKcLTnIQfoDlFGfVWFQcugUdvDKD+IXtsVtSpwB0L+k4
KMVAZFRVPgWUZTHaq9azMgVPgnyWvEmzehR04aiWXoTvScbLV7MvKqAVdyZt6Ow1m5cmcfrySXDd
swuNph4SRtlXxoVXFANVQLWDUh4xz8T5F3YqsRdYfjZepXtZs1MzNj1NamsD2zN6cpU/koAYKQZA
tJ5Km75gaRQZBpVh8Xkb+qrQ7UKEnGndTQWsUkUOmtKgaVdnx6+BYUg1ti/cvrmrk6GofSv5Ehvl
QFHNQYjQ5nZJ9tTpZAa3YMD/UJNns56wTDfSa8oKvKoy3QTfIHYJM6+W4XtKHL/RXHkRN8LueeHl
xN+ghZG3ApjVQUBrma+vk48xKF9kgm4ADCxXXyOc2TiGhAP56jgY4wEPrvJTYls6cFUAMaOplG/y
KSb9D0sqH7XZPvTqd2KQmr9GyJPlQpfRraeUAoC6WJtnCf+3XtGm9az9qql2lf5JmFUtJJCNFkDG
HIGehwCeZITZWylPtYj5NYUYRfYAIIJATt3wavQEtbkUva+n4pOYPCZXe6p/FUq0UXQIltWtgvdk
hLk0uiKF0GQbOR6w5gi9pwIRh9azHC2SZ8aSPmq4+NHd4CrARybQF8HHIVPckW8Qh/SccBCTbpOw
LI0flDLrRJu04wRvBrylpxLgX39qxviYIZmELdDlWNx1q/EyHahkNUEKHkKVpiu3/IQqcu4jqhD5
5ptZx++bSChoBLkyLos1X5cyvxWCSAmAndS/FrrSB+7yBpCe5WySYdZJzrSnFShAn3W7QaJ9gJoA
EDf8m6SpoZiJbFf2JQ8Y+6BCdPWl+aOCgVF6oP2OVr3GgUwrKYjmU9QQlBqDcNhwNy0S1AmS6VMp
TJIdyyVcri0lXDg3LwJ+IAtnrZFNV9AjyS6OoVBAhE5sY/6Y1NI17M8GdlmlSldcv6MekDO5jHpz
qdqJbcUhyuimSB457CXa0PQoUDmXaLLK5vuEh3ZIYUSXB3IHtsldjpmLZm9YRgYL6dXITuSveMI1
a2Ne2nP4ncoLexzQXHhQuStQ0QpBHNQGhcL8nGVI3ViDEpoChj718Uap3N6xix+b+F4je8LBMtk9
N6LCvMfC0NoK09/E8hluIPXYrm+19l5PjPMN5XO/6tD0G8lNXIKMHFCBruNEn95Q16L8vGQfaolo
hjPhWEffA5KuFvfahr+CSrOIjpHIx1b/IdbtblXpqYFDN5ff5DU9d/V7Jt1Neqz2BooEdF4l0pxh
LV0yc/180ehcZAuzp+jiXHFy9Pz0UWPjiuYMuxhwnxL32qb9/8fReSw3rmRB9IsQAW+2IEiA3kmU
2SDUrX4oeG+/fg5moU2/GRmSqLom8yRS6ngJDDJJTZ1SSHb2XY6e1can8dcRD7yIqL6EHy5gkjjk
B74qZuzqTue4rxmIT8xdsrdWb56oGI5Z8jOVxV2xHjWDaMM8TLG8qbTu2TrDM5N+QorqmeO9mSeg
gM3BMh+RQ8QeqDWlOKoF5DNkc9CamCvF3d/K5BfPDxph8LUFAN1KAsG4PRW4KvKNkBPgPiPnbfuW
1/3DmpubBVeKZB+HJQ3CS8WLkf1KOdhGFUZZxkf3nOi/0CY2JVdA+SoBctisiAom/qbU3muQW6n8
5IRO529t0LcNymF26wVAH4WP8hIXrmGsItb5UjuVKzicFi16etVEt82fPCQPB9Gb5KwCibdhMN4y
ZXwTWM2cFGbrfbRlVwxQLI/EOECUAW8Kl6rIEZIswFpDeGMbCdF/ztDK7S0U+qQQZguzGZk8Ob70
9sXu1VjUJ4m+nSx5kgvcrBuLC9uO00jOcWkwZzMLwHGfxcR8iTNAw36kdJ96vXw4evKAKVhl4Zux
y/tH1ah7Zgry+IM+Ztv1y97OWtZiBXXxZkrCt7KXn42d0O6DApoLf6RTUdXNEO474z/hJLS80qWO
SIHokIlSeTLSTBjUDDFrCYMXfzMyLNlPZHIN9RtEjKM2kdOpUBB0rV/o/yXFwsvCal8jDqk9xiYY
LkCmhvlgtHwICbKVANsq0w60+K4rGDEVzxHpev5szZnPTb0bw5QdDyzPg2y6g5VcYl4KMj075D3x
IzHwGo8XqeOzj4HcAQHPQNkN+Vij0IaYiVLZBRLNefWXT62p3NvMOCCciX8idM7arHnxD1mSju0X
uPjJmyxKQAnNIUboqAFhLM9844bHS4+eKSRDlkmj4vf/gSI4l8x5coiY0m2CBQXGcsooqCi9ZKb/
Un7hcZ0mtEameZw+2//m8CMGHhD/iCG5SIjdukPM79AYTcBzCaGJTSx7pILGVpuevbGLreE5NOqT
fXLMEdidsuYcPSSnecBzsv+o3FZwmkKHKRsRKqkItBGIcmX4YwcvogFY/INMdl8t4z4nvYoGlOHW
oV7H0ikP2YK6rlF22slhoR3Vc1DPPSQUwn0r8BebsLoZJTkAzl7HZtUnrJJ/8i7a9UhMmGygSjIg
CoT/NdERWperMobSpthP2Y7BdK777oYuhFNdx81SozuY8xz+bOyrLDUNrm4JkQXgK0slXcPHP8dr
Q+xLeKIkPNVze1RQdcjtq872VfFdIAFc2FpZfUVMQuKiRtykFnBQ/7vMsjvASHgOR0mHMsinp3Eb
lowLbk3hsePy42Ikt+26SqCyj1YaDkrkW+XVKJn7mNq+atV9No1c8p8NyLK6eaX1hUS/OnvaUgV9
htg6Vx8NRHcFVmn0bagbZuMtNI9j+IzNnFDu7FDySk1ZtSmlZMMWjRVG9+m0xivJjPdsfSkLHfz1
pAQDJLHoLC3aIRzAMJTpmhp+lNV7vXxLSBOCoq7oGVkcUoUzLSIFYo8DYpfEvPcu8v9IyrwBnKDd
pLA4xXr5KeVXosHVYflbW+m9AnwBgTiFxjc5uL8kvG5nEt3P0pUSLh+0kwDIIV1XdGlg4yhvWYxm
tbqPeDk6Tg0Hv50zktErPFNHzYpNZcus+RSn2MBs7ViG8RHPkv4a4CJWUx6IQiDPIFPdYeQ7Afxj
IDN2z6Yb3wzbb/RfXWOhLM2HJLxmo/JRj+JTlTQCpdsP4DtNtw3z6lhH1dlWtVOtl1tVXtyr0P6N
s+Tm5menY+NNINwrJ2JGua/4GVCae9PXcGRjW8aw8OS5lJEezxAn2S7SFFfqY7GjJ2dtJwiDlWFV
1RsToktGT0W0Q343BXLGdl/GComaQe4YOxGmriEdFOoF2/oEvO4qgx0AA8uN7n2e+zdGC08bfJkU
LW6CdnpWKUTDoAJNZLzqRxG+F+ZvIUH7eybECyeRXwCCrgKDoIYG47HlYuakrqKKXDIIZWZ7GPrp
IIOPxDt1NanQ209Z+co1dptcZyPlE4wSGTxJCfCxgKWA6LOI5P+fG5BySJpnp52QxxmEIVYiLJXr
WKWipEaBgStxO7IprcB+YcokYFdlaZL4FgGQC0IOriDaVqi24fJDbV2CI2pA1ZaYiWqO0vBUQW8o
iFJOpO8xPbPI2fWEYI2w2mI0UrnjSXGL8Ffz0EMQ3ceYOXILMfG7lJQu0n4OlUMeflAz2NuR+B6l
xySMNkIiBa+/J87woG2TzPSkwLOqDOWkhyYe4wsN+Mm2Zk+lsIhz+YT31I/l7wy7FoNybrMy5za7
LXPyFvOWJP1yT5XsppLTgmD0qWr6M8nah145t1ogK0J4jky0WhN+m0ujOi7964IHrkD82MqnvnVb
5zPugFFw044dxo6SPJTQK8ApAS61LGcD3siGo42Dy81LC0qmr8FJLeGkxlK5k3GZsFeZ3YitB2KU
qv7SC3g7L/prRHigen6KmUzR2CCYeTpNCo++E1zlAbrIAEYBkJZxI2hnae65ySa/2Jb8yaAbfVm7
qwg1pFwQzAcUPP+uDHOj66Wv2+FOY3JszuRlV+G2+xVwnZYdedS0GnQCPXAcMgg3Qxkf1J6hQK5v
Ki6KiGpFccYPtZ9fycKLYX1O2Uylh8gT+lOG2RaI6gTuujousnysR6hiY3ywBO/qSQGA39mw4QcC
ECvwo6NXVYaX5rhtK/iVxswl49XFtrGRaP82rXOhS4Rw9WkeKEmy6lpIP3gL4/q3beHakhSFlaOF
+PJm80Tauk4k5SmxnDeHdrv6rTUQB+W1lQtw8fOjZUs1RD40+wJiDx8fKlN/ZEIC9SFYRTUH+h6u
bSMlZGNXranBxuCGyQfigAa8qQaViXaLQB/DPYYEmrJ4yjb17A7abzN+xCFUVc5QhGMqWQWIZNHe
t3yuiJ4v+GzWIxt6y0+iLWbjHSFUreqPJegrQimR74I6xLnfHuqUXHvkcuPo5dR+SfKu1a2fouPs
AEYwlu7AuYYFE0LM7h2LiwqQtYRWgZC7fW5re1CD+5ltwgTxvTvVXeyt8dbGrk2DqZ4/izYw/iqY
LPLyhLY+S8QxWZUOP3Un6KRdupG6/JdFwyllygDJz5QqHjDGVZuILWASaOtX9zlRUTZpvLfDi9Sr
wMZUSD97EV0cjTtE2y9KtyefczR2ltMde4W+SrrxXhXayZ6tlwB020pbZSCk8rPtH1GaPGPVfLB8
dJrE41yXVJBR4dGccG0lxNotu0XG1Fm9csolbqcpl4JWjvY1lSMFZFXSKYlz4YCIIo+p4AGoS+Ev
1TVMtTO/9JllvBgmqN36lsQjFRR16/IiSY3ETSQjmEM9qpl+hw3cHO3dXPa7KAbrEt8XjURTd8x5
R4RPYone/YmkIaiac/YmSWTyTV4U949llu4xqw7aaXRZKQgKiCqxA4kh83j6nMw65u2rtT0usf3Y
MY7rtqnUksOXb22VwHGwHX25LcE6RZDCQ7MHM615ZA+AjGZtxJRY48pwhj15CD2KSRNuBz6DXWtg
7ZcjXxqQQE6oFf+FFTKh5MmwmYKDEMhPwyw/o+knfUARPiK8rPlcfrbzcma5SEj3yjuwjkTmoJs+
qgovaqBZv1L23l+yX3lRAtCOIJJtspcNXr8SuqXS7u0VaowlWsLFJb96wUqKZtrIX5N0XrsOXpZl
YUMECGQdQWBnZu4eIWic0VETlFGisDIjuFE+IY9+YkyubpVEgHlS9Ce1sabhuewOqWx8ak72xW8L
8/QHYhHkZ8Li9gRhsFdL3AwyILPS8grNgB6e4LCL0nj5KG6LZl2tcrwaqB5pX6LQ2FBr0u8feAEU
EutRYOrZh5a+jxOESUi9+YPpiL8ekiXhsnNzqB+yCAMGwmhrmAmAkiPf4b4+hBJf8QKyU+xwdfgl
kUB9du4a45QyLqh0cZKnn9H+LKTzIBcbqwc8TfeaeuWPXiJIBDtL4GwlYStPr/2oP6dWfVKVLzA3
Q0tc1ndnRZmzPVMo/XOSXyEuZiUA9BoadQknD+/2iJq6Ylyd/Z1m+N0seuepvTH4p30RoKbzi1lu
ujaFFonCEU7Bkt/jHHCaCKCBz3joqvZj1r4KFu9ST+YHp1I1+oNU+TOjjjr/sKrrMHFxMhRjxZ5/
d4vk1aUvA57pNYk8NpvIEQr8aCVU5VuTT3LGJzm0jzzWFUS1nJZN0AJdDexcWsPvr+7Dw8zIZBg+
kVlYDpOxs1YMVEYgq8gOZGHDDK3hkS7S9xqeskSbZmU7XSLYzYxXAvZdq76sEEEcRkWxscv/WuWc
2EF64Sxo+FaoxpxlRZr+nfoNmMd6/s77eGs37Iki12YitbJ4AVM7zL6igZzvhF4RhPTnzLCDZNZD
XHJ5mXCFQdeml7Jgat0jwCEImALrzK743FcX9NmblhPI5ms9IhcYyxxBXUhINEfQEL5TXW2GFhFr
wUjMpLIQMH5/62WTt/Nr4fZkNQzOSqK6JCmuhr75oxjmFk1LXL+JfH5iXMmpYNg11otz78i6YdSh
AU1dxLaFPgDfPqe5CLWEcRloOGNizD1wXsAWHbtNRT3Y7NqBnrlPeTwINkVsadXcHE4WFBEa4kIN
ZuMSmjKGYbEnJWpvxPg8ofvNQ8mWvtjXWkxg82Sph0J9z9isLITwSuSNhzm7LEbSCQNwzDBWiA1r
/otv+gpCXSfjkXx4Sa8uXSoTsqWepEUl3MElrQRlN3SR4kDE0T7KAbaBsUKIdU4V5VJm6TFzIFcN
TGUL0pmB7pO28dS4PQbDlZLnkuBmQBAakYASu86jjOON7RCWoF0mvTrSI48cz6M8nKT2koX2gTDW
wfpCIlQtrDScB/2Gfu2I404M59b05tUGsLn0MdOm3wq+uu3qxZ/RZo9igMGof8bUn0y6TdQcyS80
5XcMe71I78TiWmy924ZuL+ipZuTmHOYqzM7INfJzLWZ3Lbz21vzbA1kLpzfFYerZ8SFnqhW+1RsW
WkwATotinZN+uiTSl/TH6j7GFlEVzuKigfp0HJzvWewru/NEXdONeX9yhVBL+TdK6eSIfu7zWw8B
DKh+5ifSfbgtykcZGm5O5AT6jOUrya9O2NIFRW6Pmad7oyGXyycpFD99WLA73E4hQz+iXys/bDB/
gP0PoSOu0Qh1Db/9KU/dKazU45RYDIHHvbrVN7lOShEuF8UglT05t7ZJRNgajsa8EXJeq0ErK/j8
FNpecQfKNseBmjnuSanaaRMJGyE37RJBTfhZEPlLJcbz/Dyr1s5OpFej2a+qpQ9Jpz2E+b0+ukqz
+jIcPrS0Ngrsr4iTWB59S1wt66/Z/o0Cpg3fqpVf8e5cogkl67S2OxdjV19UmY9LdT4PjPYAv3X7
EhjVekep4kEII0oljVtOEGX6MavllrV/0UHxMNzILLxkYM9RusmvofxLJIbI7tg4V9mI7lHp3ONS
fZQvh2O9Ez9SXu7KFu0EKyCHGWEE6Yrn6kzznuGjazOZgwRfm5qfEDfN0JUZAsKYYRXCVglDkGC2
2G7DVhCxxynKbEb/rVQFMprhL1w8mr0vJ9O36E65WOzhp0xVBll8g21Lf+sQOZeILQlEYL94Frh4
1qXGcoUv2raA7FnjYVosGCLwLw0jUn1Awp/PF87Q2MKJqr+KAnlaZxzlhrco+6iWXUWKUJFKN/RF
jJpsqXxlrHoKZ8M+ZT1zV8V0QRwhEQP6gdIeECeBUOzHosgKZL5yAdFNBrbRbZUdtWUld59Db35M
XitfkUViEEOhQVkQUxZEypVyXf7PSN7HtHonIUY/KGI40Y33sXEz2vS4WokpotaKsZbrK+9uVP8D
qsuQasQ5lPvRYO8a3mVn0+OeAKhMFlfnoDM3xj3BRaRQQPUgk4trrATmj1g91OlFU2/8j8jiRPgC
tN80PaVnoUsb0jldZKpeof9+ovhq+GPQ8CVIALkcGkSLavun7B6tk3mMm0PlDYFsa0Z3gd1uCc9k
irldzW5FIyXF7bidrCv7qgTCFXM+ptE9zQjLShkZpqNxow4OmOsDYIeNWv6y1ept0HgwSIt6DTD0
5IMVbXWYZ9ZKIsUFbpPVFW0iCG7toyz+TTQrnlTdwaDc8ZUMBVbmf3qsB+3oRc7TnvBuMj3oepYa
3L3ioRocAuvUxLjCoCrW/dUCoSzbdNrvov5DbuaZIFNydAjtqWMVusxIh38i9NRIBnYAVNySFkYH
pXRWSzTLGaM0v5wB6zjj1uG12usoc+iXcteo7gm/dt+w6z0vKHlKuiYiDwQrs4Ffie1lzXsQQdEf
C8BiJKK4afiRsuygRzPniTv/5Uw1UJ9oeBfigSa8MiY6yjcQAMn3jBjtNBEU3tG6CdDBE67XswzN
G8nINF+mNf0j2bNlZdyvMgxh7d3NeMX3jvLK1pBgxlEal/phpDMj+3rHWj3QCTcz/7Aqb2gGJf0v
uctrt0e6DgUKEDSnZKCDxLxjaV29ZVhnk7n0zDvlbkyZUf7GAKdRYugu05UYe5BTHtcfBM+4SE6I
qzRrG/14ecw2tDFwb/1LCLro2dASXcwdSnF4tkjT1u2noqJwFBCMHCY3jGYS9WUnAb8GwsKEKdF8
KYG/mgmSY3gsd7u4qQlQ8hISNrnVe1l54xULGa1ECtHJhxRYl0TAEZKpdZeYnVCVN3R5/a3lv3Ss
m0pmTDNpPfS1qfFZkzbQuAYYWtXYhVjL+CAkKSNpd+qEZwHfiF12S4rTkf92KnhdyP5j26xFCN6H
xS0sBpFm0PATv+f4YzTHO7Ai4Mpxd2qVA7gGMX7wPbJmJH/dIFUUtx32nxMaLDZWP+YZUuVojDdO
EHaP9s8sfzmi3RSqCmn9VZRiJ3C2dLXbeL3zkSOopl7oiqs27TqY8XmLC0XdatI3CKtC2O54MKDA
W5Ma9ODHohfCVxis0NygqnPoKy/z2yE6oxxNmLA7k8nYURo+gMQNlErRg8oxXUOYJNY0/P+NJwoH
ZbXZgKQvtM15uVaUQ5YE2666o2hlsPDMFK9PR/DxJ43+gc8eb15Xbl9mqTFRdgW/lUC7jImDZXtD
zINoku1RVHcPUeWicEfjWfmb4mMz6z+jc1tqr564bAyKqXdkGEn8PZEtgrWknIN0ALPJX9f9ZTxn
yLh2mfRYwMMbr1tzNU6N9lCtZzPfqhou+/qdG3JPSCa5KcTQSyCeQ6S1LBH7lnnZuJNJq27qTyQr
CvS7XvVsEuQ+ZOtCLDP41vbLZP5ZFq8kh8aT0qR81O1NCbPNusj01LE98L81CX2Ac9BAHZUPlPvZ
pio2URF74hRDai5JHF9/uml/qNq5mhLPKmvQh437ampPtagUvazWV/ptw4rTsK5VX6D6PmioX4Fu
ElbyFTGRnPn1zO69d25d+G224gLfTDW9XL6LU6p/Jsq/yPngTzeawyK/TBZftVcoOfEuN03+NwIl
7JNDfxicQ5v+p/KHW93mCFjXkdeDn9R3d5kIVprPU/Y1EG2OSJEEBIfdEIodM+CjHr2nybgzpHu/
0exzMXxY2VfDeqrBysL7oxib5YpOq9kVgNMVPg78S8xbxo+chqfC9zQRFncGkGmcdyCqqewoLeeN
TQXGz+ZNg+4yWk9PEicrP6WkUfQAQ2MGrE89v80NMhFcaAJnq69xh9LQFu9hNW3z9D9YXeI1Q4hQ
z0ipbSYCHwDWdlXNXibBu2cGPaRpspvHk8O/tabEQx1xmVVEFQaFfJzGg8nbVYAAzIeE/XO2lcQx
l5tNL/9Az+Up57tLmGDV6/Jbdv8WcatlXpJN2//KNaed/S+qPrR9iEWqbS+ArTTlWQc90bNWhyfn
Lf4zKLULKLez002J2Wc07zr/dQ1ftssPwjTcipVLYnH6ZQR5MSDD8eNQ3jhMYRlO0P7Ift7djslw
l/q7ScJ2rHhFcao4ckvBcHhfxLfcBA7jePVRDJj91fkPWR/w+udoM44UIIt8gXOzqB9NZWyIxin0
G9+8G90eaWRt3v/vEG5vkvNAeA6EyVX2MwyBGSx/jOOGfig6KDbzA6m5NZMfay8VnaJclqeCMZsi
5ycTdrncBi3ClFy6lqmMIAkvHGOBrUY0sCpZvipPvkVxc2Ampg7jVVmj1B1krDV+m5g9TcoLqMW3
kchbFAiT8ki2Zdm8lW39rhJ1qY3BM64PXcXdaJHzRiZ76qXLSg0ptgUW/iJtD/NMEhktnPld6epH
23zYH2HOHqUYkGQyz/tLQCNQC5ikJObQV6ZX2dw2NBxzt4EchwqQCjc5AkettGPVYhqeiDfLiEbi
MYuQTcqAM7I8fpp9/AZd901tcYAbyI5jFmtvHYpkk40gIAK0SlrKcxKYdr5Gnu5ZSh0UM9lDVoIO
/dCHTwuInNPsbPACUjltZbxp4C1MlYcmUM56bXhLlZN7P22tGo01bjaLLJth2aUxOmxS1kE0C9fi
t+kUcKpW7rYJSVsm5KwqCLHuUExUQ9BEc2AR6VEDbJHyIej/KGB7LKaJJnJNfRyDcJMruHpsyXP6
c1qummZvGsiRA6cTg9NJwdyl8LttVqUTmeQVe2ry5DOPeSI1fRQgUkkmsp6+l1Hzkj3mknlnImcr
Krz1XbTugCzSRrXV4w/uuk8cPl3Y9YBaFzGLzOhg8mVVNm4KbY/M0+yr3eywTWeon/xGMQgSzNdR
7fhgsfzw8P9BDCI+yIh2soO6VWgotlG+WoGj8D884rZQ1E0b7YwGHyImHPhmRsFvG3tm7ewrXuQk
kTedMODp5e8oMicIYFjfwnMezddCrUFvn8vwmbE6xexFFZ8bVFTcF4jMmNYZy8ViP203fwW8fkuB
oaN91T+tkgNoZIjGwFKFQjEX2zBp6Co9Xe98lMI0a0VZuiFTXoaXbL6RJUbdTnxJ/aFXOKsUTJ9n
ElzLKqWNC+z/HPM3+1VBX7O0BXZg/Jvy5RbLAuv3UVma9/IhOC5xH47avRuZJ2le4wS4YGXbS5tb
ONDgNTOnI54M5GNrS1Ut4tRWhFXWYDQKwumSU0oi3Lrly0JqSJc5Pv5gtyHWqzoD2nhrJPGKlrX7
iqT4SfiaPPxUdEzkGnE9r2LFtlRYTm4mLII5KzkTCWNGIht5M/7gfepz5yN3HFVz30u3GqliOb4L
7RSqbzoTIIQFob0VUe5G4SWqjLvVWHen0u5G2txN7YtJoJopyNUPzeBc8vrSCulRsQarmXdSGwlW
ZSVBZGTcbjO2Cj/0kK7uIBR9mrYnzdmh6uK9JZ9MprVSC0BC9uo89LSy2KaDJ2zs3eaG1rRJtGuv
Je/RRBtYPmR11xfTdRLTU5GNp/BE7rihLm8jQFiJWgEWiM5Wslmwfa6xwJOyrcVw6LBOmRUwlhDA
yegrAmEpcVzWRpX25sDp5Wmcy+B9bOsl0zqvQA/6Fk7+8oTGjAQDvxn+6+DuDam51fPFrbWBQ3YB
KLllQ6KTz6XxvNVBxI8AuIG+G2pDQytKmoc8KJ5OKuBNDnVfCTGUlwk+eW1f8MyliHz0faP91Hm8
cWRm59JXvmCaga32tErFbUGjVNFR18T6uRKi9qmUq8bHb18ASVEQbrMSpw88KKHLDPO/cNDeRCme
tkKBIdce/OWLvhk1HMsAv148XTGow9I3LNUv8wB6xau5Fd1brVyptbZpoDapp+koZ/BGMYLVufB5
m0bECSHhYxtSu45aLY5p0h1qoSMHZmWg7oaugjA1+Rm2LJYfUnOWWQjYqt+VrHZxG86KGzeXAQZW
DR8g714mE6zF3rMXscI/Y1QjpMNre0maeB8nZbDK7hms9CZWN+ebYL1jVexS/gxGxzyj74tDOCiO
Gcza49CwL3ypXNmSclqgLMraAT8aLj0Ql1bHKRfRhL/YxGWqDSEuqbITj9FB08ZjjrBoxlXXHeSp
PBJWibv3UH5X11Y8w+hz5C/IZcbc1aoa6cbw2EvxMYbPjTCswQYSC1Z+3ko6CMUeWWevoyrg6MwY
Q9fyXucRRdtA9u3J9rO3AR+VvVzTOnWJNjWxmRhVHgzOtRkxe7FDtMGOq8jI6P0lhNajPe1XWdH8
qCPEaCHEyp5HsfEYkRiNuguH2EuL6k5dXVSXpu3Pi9OQ4VFAdyBRa4Cf1HVv9pSh9VaOvWPQouqs
vdJr95yUMugSI4izI7LOyMIybLAgzAm0roK6jsh0wM7P8RfbyQlSPpodnPKJDvsAwrrXjPY1H19O
o7zLZv2Wp5T+jzUZ1kAD31PXjCiYZmu3sMUuW90bq3hbMo/Src1CiLEw9rLGHc/xRNNaEF7WziTY
dmcbOI2FllYzlYsJwtbu+QAf2nDa28hpOB9tBkIjMe56l+85I3ORHxfJPLBjRP7HSGtxuUyNhACY
Vvi4Lmdw3bzYE2C5gXmDhfRaGCSycwamgs9UvdGAvEvrTcggBdechWy1wfyB+0lFiUIWX2Uf6zg7
F2s/nByiEiDq+uIGi+JNcXEzzPyOiMmNpJGAv/VJw1PLnNMU55AMSdRAQ549W9kkI2Z+5GxO2+q/
kUGgrF2xENI3n1gSyhylTnof4+k+FNo9r427FLFFZ8uW3EzDuEbcVynrsplypD31eF2Jk6ymeg9B
URSQYDnOEZQZunJa8f9jRwRAH54kDEeJs8pXpK0B3mTSxMkBFMltwSwAE1jNNBNtoKKDM57bk46A
jumrgUc3tfcpBrUYpcgyyfg5+AAPqOjMA+g89lUIeoyJsTtjtGi0D2buyaNHOhh6HkIqwI45flMT
e2cOAS/ARCzomOylmlcURc4s3ZL/N+StTllU2gHgOSjRJDxH5AjjjRsYejoo5RTsuwP+OPbAKvt3
K4ye6Gh4pics8RCoqkJ+qDNW6Und0JTUFKV87vVQMLvXYI1trZZYDg3/DtLHS2MogHEtFEPkbHGe
Dn2LmgBmN9QOoswVO9AFlIzxMaWPWNN2Up7vND4/LdjQkciIf1YL4bCicFwGhD4EjMH6BB+zmzQQ
xAz6s67B+Biyu9858ZdAS7O89Y9BlsiLVn3s/RXL9+m9ttlsxoED8xmzNhrguNt9Rw3Zl7xHWiGv
0uP2xcBoh5wvvHbdJwoVlRCTOrxR7G/Gjj0qOSZM/5wnNOQUMJ1QEQfwgte84FGqB9bq2yDjetWt
9+gcCuHJceMnGuohxFCMW3Wh3NgjiepLRXqqoA3AgnQZbP08lf2ZOXjGAq4W/EGe0WUHgt4b+285
4TncLN5omWeKG2Uy9kjgjoAKkDhGR7BYQQhw0/7uZhVtxUfNjCfZlSTF8w8syei4tJSuy/ScXTQ4
ft3+CItAnKfYKAblA/Az6Ppp49UUBlFhe3JO2gX6NYz22zljM8u7vMnKZMcVjZG9R4Ui72CE7Mq1
GWEVoJgkVQvUuL5Qqq/pKGuJh4h+U1S00wKwUGZuq1O3WNe4Z8W7Dqa4JkL00JHfxS6wLXBScVCG
TBYwRAz0D8gJR8JyIYhojnmIs+WghtUh6TjqtY5dZGpop6VGDBmxdTUOTNX3raEESF3xJ2r4NLRj
sRtZGXnNlTEeOus8FIGqwLku8WmJiIEkSaAYYRWywtcg1iJXUDFCYSMLusSEQVq410fTe+gU71Oh
vyUkOqt14ZK0JtblKlrLltq7QhEXnwvN8PQ694uRoolRGee2nOMPjR9jeZzL2yjUQ8sqAdXddkbe
1Vbt0YCa2SmQ0XSqAPjhTL0GsDa0TWGJi6aAjLvK7cC9VDdpbq+1WPDk7qKcH1dbOE/AOTvFYazn
4/BshhSuLzryfqZ+TJ8O3WOstO9NVb8iFl+5BisUNFKn/eSIZxeJLn06Tiyu7fCJjL3t66uSjWy1
66us51eQsgkoY6LIwybom1c4hyfHbE6xEiSFeFZNcZ9ZOQ2JFlSiIQPDm6CYLD2xcam2LbDbpck6
+DgheZKXO5HdffoPY4qFokiVChTBrWey+q7ITmVRVzqyP1J8ORM+/KT2ccW2yMCUkbEdK23Uc5Ff
QX6cJREk5oidbINmf2aPrQye5tyRqvn6jI5AO4ZFiwlEOzQw/NPybmfjvVk3e0Cl2OknDpqdFdTi
9Sx+x7y7O58OEV5Ie9L0w0YoHrVU1NI2vLdsNzsCvRMRrJ9OgfRW5oEVP5WQbvMEnA0NGJWBmGTU
v/Ux1b+6Nj4QKLxXwoKkQVb61oNqzEG2glwLRUWC9N2SSd+rjvEcBxrQGS0efAPojEGORDNs5pJ7
v+MxQ2oT94zT1G/Z2Syo2Xo93sp40HsQLpGgDVUpqkfUdQ71qexhObL/s6vplnTjdf5Bc4/Z1m91
Ooi7as6EshUkrbDr7YB9mFuc+ZXiXKYohWuL2tBjHeig+R+w5bxyihsHC1l2YzmwTY0ZdONBNcSZ
6T1eJR9LJCoWY2vmW3x8LDmwaLHlWimP9QtXEuaqNdNZR9ufnZs6Qgu4aZAQSHwNaE5ziXQjNOoT
L4WBpcChZZtxB8ebiSfL5MkSQgtkNBNZRU6Qnm2J+pPIKYXnya2wrbpPtmkOKxnsKAhCYxK0J61B
+DR8olc8S7R+ajzd1Bb6XsTv1d1sDhaM7N7AZwDxTxdezay7aRPvHCnNU4IiaC1+Rujo4oL0iT3i
hLZOj7xviiDD/Jvg3St/0svoXHoqxrTwF+tPuV6s5ADUEAAcsgBwlPds9GIkZk00vsYxfVWrskg5
x4++/9NGDLH4rwbk9gWqRnOvUuuGrQCzQ39wHDWoK94MMoHZC7QOPoP2vCSPnruzm4hbsh5xw8I0
PKWkj5f/4+i8lttUwyj6RMzQyy0CBKjLRbZvGMdx6L3z9GfpXPgkkxOXIPTzlb3XVm5Sud0EbNCo
YyKT07FLwy9C6gOUfeM74KHLuO1SQ7sM0Vtp6mz+xXOr6ScFYbLm1el2qIAQbStVXEyecOnTsxAH
qa3jMW5gUSYE6QgO1G9sZ7K7aJFbLMyt2Av96aoU8WJ+Lxi2IDEmekjSLloHTwEMaL2qB7RhgEFX
wKD9b5ZIx0k3+NcQUMZ0vIcZR6gdi2NM6qKCcRe3KQa7lQGNrF3F+SaOxb4kZG0Ewr2RrzbXhACN
JxpAhe5yeYI5lEBILrq17K1xDtv00BPxQPAXTuntaWMjBjEmVTaVfRKT4tCc4BkILOmi2JWp91M2
G/h5O7oY1eRBMpwUfT5BC8Ie5DNA9TXgsA1w2EaFjaZfKIouo+AzxpNA//BYifXDwHvqLtKXwlwK
hulvA/PZgMmnRDUWBqQ/rwWck8FgM7CKl2z4nWD7FKTnjWQpgikEkEfkOGM2A5OiAkLlRNwGofFS
fy9VR0pmPGp/athVsnDtMloKTwfJpXkN6chSaYvL/+YVB8t+L/wl+CJISnxAvFcb4k5Ay6LzR7eB
PsTWR1LVWUuyItPNMKG+1tbphFOyS8B5ficqphTCvvI9IAYPZBZL/YeI9X9KMW8pk1sZFsKfzrPW
AHVsRnhGw74jld4F6Y5VGl1sfVtrSivjSrTibgJ8NLEDA+9EldUvsWe+J9rIA7APR0M9pEwp0JBQ
npD7ozaXbcD/m5P7/bJa8nmqLTQbxxWsR2eEWSyd03xDECKes7h10NQ5TIoj6SDkyVvTQ87VPQSr
doCoO8hkJG5ciY4rISUEPLxCbJcKHZbTp1xBdia96nnZ+NEkoDIsaZg9k8eMnU8+6+NrbBhOlW/0
SxA0/3R+RpKKqZcMC8+Fzl3pZrwqrfAjMMzmfpPJ2NuQUBTfM8KyHquBm6+1px/XiiMvcs1hdRt6
s1yzaLhspiJIsHbytath0oEAJO4njRSHXp7Rfza+D8ud7wHZ3+oWd7Qqt+UTaUcdYab585VsvclC
d7PYTfLZ0XZNiDV4gmvs9HfQqBm6mghF7KvIe8y23Y/kZBsEueT1W8lfmpm296Bcq12NRbeaOx4G
vDlEat7KHjg+bADxPtGFFX2N3AaL5XAg4FKvDJvMmTg+YBtC1eHVC8Lj0Y30QPysuG2qCXQWPmyj
tytBI3V5joFSsFuzdCbrqnjFIyf1mIliLy3TNyQj710Zk2gnFeTZLKO/Ux0Z4uoq0UYpoboweWWZ
E7OBgmFIjCq5flFyjNgpDMVFuo8x6xmwGyL4EYmczbL2pTNJYTudIVk1/7Tmewa3Sko6F+0ZbnoC
vp+xi+iaQpJJHNJMyQzkIJ7tdTnz2nXiKxOTVuLOWzz8EXjMtVkExIcY3V5NghlUJ6tZjdfBYLT+
wlQaz1Wpe6mOpY2qA8igOToWp9ZyXiYlWNZABWg4vidc5YnFjKnpHiptgm53oj5dhDg7xts1r9R7
W2bQcXbT9K9Q2zuOBjrH/2Of1Ji4iXYg7+3TYhqiTci+uWtk7hprJ8ZPCk4ebk0cCIYJZc8rJSdv
xVAtWO6EAuG66MObNcLDg0ad9lUm+iHVQPK/G5igcwxJLCb4b88LsDYLIu3F1/DLriyIhue40+AN
VIE/+u1MfkFumYDsHiObsFrQsOxoVg9zPGKgxFP1f6rFDjoe3EJhZ6RpzgjepyXccOToSPbKOKJN
uqagVvVc2ZWxk9Q5VtTFHSYwHqtN0fM5vLcZCYzYrDu2OyrTGtZcIvPyjhAizrJWtexMmSHycG4x
jSdB0H2eo0s/H+fUPOEHwR7WMbMfr1003zR9uC9R+tJhCNR/ZKJCRgpzeqyKjC8TWi0u4T75tpQV
78rKW4VftXVvMflIEBJopeOmvXJTpJPMFHzqxktUJJdygprHoomZBDhOsb9N28WCQDKISFADQYYD
KUy+xN7OyFgARwdOolVPQFmQjNO8wAfai2QPmpJkyzx3zpEgOdj88VYwCiSwkIpWZA1WrPXJykwv
N6gyZ+2C2QB6UgBwOrCyR4yMwBwxcT/QLnQECEezW+M8WdubCR91OpB9x+VnjTr6BaZkQ7F8sOnA
nXdKhW91dNU648BmBqmaLvqitq9tXp6jlJBeY3oGZfCaGG6XNx5tbt0GfQRGl1V6C7+lR9BgYSNv
/sEcTtoe9Wt7zfPJ1mSY/M3PQ9FX3C7fIx0zPzdQqb6j+ZI5obIgGrAZqmIgrLspH/xGvulj4kYY
XXJd9nOQqhlt40hnlIn+pqxMxuz4KpG2W/TPBQEISGxAhJ3DE/fAN8YFulrQjWpc7KHrepOJNEO6
lBS6KS5GSfukga2U1xFZSS4u1DS5r08JjvdrhMxHZqZB+Avz4Rob3zKZB3nujlzHFSe6hh/OssI2
A9Zownm0ikNNhMuFy4nDksujvBao+BeDzU1JA109rOZX7KrznEevYjy+xDuSwmj3WP9GGBuWkfxT
6ygBXnjWUVu41f/g5E8wGefWb/iK0zvOnxFZdMRHV1p76h96V5s89n/zwPQJB1CLMmVhipDcCR18
EeMeQWL6pv2vd91FOPgZiHjVd0YgjbnTiW7qTACZv22/fsQjhoKq+0ieRlLlczBWCi0myKjzpzdF
Yw6CnCqT4lDl0xIy2hlG9eJ1xfwt0h7KJTEgtIfiYJ0F8MCrA9f8NKyoa0ElxR8GOQznul8OGT6S
GB+JWUDAnexv4dQ173F7qhuOupWZaHFNLPVKrQT8dLlppXQre2U3Z4A5qYvNzLhK0klPXDGLzxHT
5/FeNkKw6HqQDzILxQk4Cw9c8WiOIHvkk7id89dN+xAxqQrmvt+Yov/8nzHVKZ6MDgeHRzJiKj8q
Xyk5bFURkWN4NLP+0uH8YO3OmmA99IQyL8jItUsZrdeMCeGYTDfy2s9Fj/hSuYk0fZth0Q42N8v4
EGJP5nG49XjMM2m/rDjR0TAvDLG6XYYMHp0Pqvm9gRhM7EDfShnWwNavoCYMWLC64pwor08SDPAO
onfdBsv9kAW8YiMZ4DGiO6gdSI8LutYlu08oj0p34IsvOxI0BMQo1Dsy4VkLOS7bhqtIxxJ/KD9Y
Uztb9qLO4NjRUzD2c2Wi38RX3ri2NH8ZbxgPV4sZwiOHCbmJt6W78xoc2g8JWgHI+m4s7UzcV+0f
orYYG9EiD5adHgkgIcxXjZj1PgOYjvS3jLXnYF8hhYl6p2NlHYMJ4XABY213haNv1Pr1q/TFs4Ju
q7IXYiLFV/ZJaHzxkaktI8mfhc+rqa+gA4uC5EXmtmN8OjtKSeCWOLicQwo/+7jo17lCzAjZVT5M
I75uzGBykFG4lVbtjMBulJMwbG48Zt4AqaM4mF137J11ZEH2onTD/moQec3To8bwtqkfti4A/54v
FqoMy+kRScxcKuW01W4nP/9UqV21wJePew8V21du/lPjN0xvqHHKoyw9wHmM6X5AYZEZ9iShbMYY
rbHdJUozO63dxfrWu0utJJ7Y+kVJrnyxS/4kEBgFyirAfS35C7qAwZcdVtWfW/pE0VhsrB4Ula0g
28lW7wxi26+Modj9Ojphh+AU/B/F8HArUjB/quT0Ud/RDGkxkJ9gRANR8lHzumfN41ntEilE6oy4
gpPmoTywTlonxOziv2I4x1oaAmUPFuHDFGHGi+7Az7dSNEpVEooCvZrVejJzS+h/naQi6mVM2eyz
NdmTINmh8XDa9KywWc5uHbJ4woK7DrsqapY5rCAGR4ktdgSaE0XQX+b03Az/ZhEgnltPGGeWjnfH
S4Gcg8/vrV/zOKHkGP+2yQ9rTL4e0SopOSRs6yYtpIoF6U8YzBYtVPAKESmPLbbJU9f/SpSCS+J1
vin8bOnrs79pq9FW7vzhql7nHqIA2D9xx/+vDddyCwrmhMdM8xDLu4L2A2a+DO3EfI/EA8tD3kPW
9rPpJzIhoXXG2ktFfwvxLbUCY0nCCcFBmdOuligwSPNZIM3HBE5HaUi7qg/+AtlVQGfQ9xxNBIto
8aeVoeqZ/lZFtePZODhZP5yX5rFIPKxeWVEs2+lrePqVMfLjsfkS4H8veDwqnXvC6I7SQOaDIYZ1
pgYDY/dcfx0ZvRc/aCrdZ8SRGDfYXOh4msjLpZYRwrafcySzndfuAjlGz7HbbKoEvEjKIHhKiygk
IcSLzCvEHXP2tlXJm8Q8vdyR07MO7JHzUFuOJpFYwkoPjkJCpjO/inRZ7bKPmMYQW4ScEOimPJ9y
szr1ouhLw5mZ53Ep5oOZA0aqoqA5qAWdDqIj8Ev4JqgcyqvwWzSRk/ToPszFzWSEZHvmtFKzR6u2
T5rUn7QJaByZJ3n/Icm9S0/L7Wq5o/OQZjThjqQLTNa6o8pWpsJfWmMu1VL5IP0zYuMY/03r5SB7
cWeyit6CPsivOp6P6ENGJ616M96yNn6r4CWU7eWtG4VzMaGEUNdjKuc8044CcPVlaF1Ze2tpGGYr
FJIX/XVlwd1WOzXoBWa7Mc1/B298tmljuOXG5Efkpm2gSzAXKB4E38sNaUcZ7MY3lTcnUI+Oncm0
mwoJ4tDTbtFQ7afJgIqRDdzfHN9g5ETyo6zfEGLA0ZC54SvU92zkJrc3GNPwnUnd3ta7on7VymNR
9wucgicxo2aswVOuduZ1Ik3PURWqaODjhWAbwEy1M70r1xCoHNSm6R1f1J9yhIqCRFvCcinsqgdT
SSh99sinCJJiy9foVelVRrKSPdASC4hkFg6Lph9CQ2ZJisxRPU3bTMk2OTWniUGsg4iMQjn3JSks
RN5u/XVa7pjBxuYrwXDMwV+qB84+oLqr/Jg0eUeE3DhSYIXkEyYiRTknjXkkpqwHsjqBJTHsfRr9
NVnAwWgYuIkafLSZHRX354lQl+jwez/fPV+Vpw5BWO6dYcvLh3wleq+0cIftBK5iRVpoaxEaQFQ0
iDZrZzppzBPqOT6hgFe8BU1Zmf/JFuZ6EWeHYHORhewGs8cegLsp0vcs4z5VidNNbFoTdBLXlsBe
fM3NQ40sr2tfQL51XPZOYGq6Mg4m0XUCGx/OXUuB96t+Rla7455t8ps4FEBZXnqG9FFKhgrwk29V
w57dQQ5OgHfRUKJoyyvE5a9qgZ4O3nD8Nxvs7sF7UUdIAuu0Mb2JQ61N3wud7PknNBqDSHqWMyY6
BKVMt4EEWCYA2tVsv3RwbD13pvleMQ6A/3Xup9eBK2Ii4dnx3TnFxn+gU9Ey7DYB06LpWdI3DqOd
MlyJDdImSCrZzizvRvuyLMQ+fM7Rv7S6F3jsZtb56WWcXOw+ZEVZ3GoptLwl5ebhwXGBlXjSCKeN
dhtgc05KNf4rRjnVM8hDRHsXYTVfDS5uO1ySlIXpHqIjCSMI3VmVBOi/hGIErvdUiMDQl6v3OO6v
Ss3R/MnYkC+AmsZVlUf+NvyJMrfpF2dNZaTWyimeb8n6Y/KaNMXp3kfzPX3jGslIVxs8XswIU6aJ
qt3M7/eo7UmV8mFvDq2w+y13Os4WcQrkTHbunXayuHbKRCfMAJLkkdKesBhTVUjjO5zwPHufI26Z
KjCvw4Ok9oA9kM5aI6GVhsvNHEtgW/diDfMuT42ddc6KW2c0INUvJkqYhLnl08/waOMQV1QfpXt0
RdmhVxp0hvbwSNsRgyq9quKXp+c3Rkk+d/0bX1zNyORAlPh0NVaCzb+OZ4IpMaBl0QMlK+r3i3aK
0Go5/FpZiE9+GaHOjRSSYcWf0vlCpS0u05+cHImCFMb+GX69rCSqzgi8newyN2wCnvLJmHJK+iPl
7c2ofcR8i9A+NtS3ekPaM2laOhHKWSs+BirFamSo0gRNnVDaK/42zUQ1Fq6Vn3gO7Ye1AzZKfC1F
LgCTQdxHz91ugasw9603dc4IN2XpJ/Uh9qx6aE8IvM7jqOGL0Y+R5LDuxeFDTIbdCDUzHo9naJr+
RJwJ9cR6d9mzlubBy4YN7ZnWgBux9ee2rXUZbGh3DJuq061zaJzx9h1JaC2bl0QXX0cXLUwcMu0M
OwS1YnQlYMenMZa7O8poxHvpQpaweUBiKbIoYOV7nHBpdzhiLLYOzwV61XGz/svPvWS8T+n8XnX0
OFW/S+Ptdf6m2owu6BtsoAdBRi2Q3xfn6b4xsuhd3uVgOrbNW/rb1onuRgJfnA90XCu6BM03VLqN
VdkbQNCOZURghQJ6sERhI9A++/3XbLS2l7sgyG2+oU0oko+W3s6zGgkx0z/xB6u5ix+mhi9iYPkY
xNPawvc06ciM+NwlwsnSgZbutfYxPdmNYwkTpXizAzPbx19Go74uGO1qZ8AQdl8QCK3XpU2vxKJc
hMY69LV31z/7jvVhpR67Qzxx//FgVCv1gP0qFLa3jQn0ahkBxlIqq/SI9bhqvAKJpXKzvlqFY6Do
7QgzytF8MTf26Et/HlIimJv+MrnHJm0OPXrGFgXsqnFOGM6igw0D/CEQlIyKYmC1jL/46UBiEwec
dq+NJsgKEIOs4DQcMZYbs35rPcxCM1YxcPewmpfTjkbWKu5yq1xXfNAtW8s07k45wEUizx32PDCh
jNVwa498RkkLptubRvCvnn8X/tuaOsKCl8Bk7dnvsw1HCumZjC5OomSeRQF4A3YajrtM4RXFt2N+
thHdBXijyvxUZCJTcUFIFhaQ/IMM0CR68oRhbB2V3rgLWFx5ghvPmpvy/jpHv8KKF2NAYYzNlzHb
RCk685TLeFpN7ii/tBOcSZ6iU4B6aIz/Cs0j1tkt8aX1MDNfSSxJ4sauBeyHLXsWFmxXi5KAB6HF
vI/N3c88U6bcpOl9Hon05qGJWYhJpCvTNvE3pC2nNgLHX94tqpSc2Rhjg+iXuqGMw77QwdwljpV/
mNMr20E6yZkux+YZxbEZmZyVi8p5zVjO1nHxcP7Ddc6ZJBLjRU5nEPF04ySW0os0Jai4rJNafcdJ
ZseEvR7MdICelL4adwKnbBIWW45JDvU+/i3J1vGikmxScl4AHvAAMabfjN+JGdaL+LTMEvWiL9wX
6LNsX63kAl+fWPKk/EhMxIvma/7WzYSA6vh8aY4yaB8wgnagvWWqMI5hHs0m7P7pMUSfQ8TzVXuo
bX2I+VgaaccGaien3BzVvW9Ge4x/ZwuzWc3iFYta/z52XwnIBhZTkcJQhsTCJEcQ5HP2IF45Ec+g
pFaoZ9sxsqJD2nYwi7DMa3Ig66YPsGrrdgptKSjL2Ypc+WkfYQef7vmGE5vyrt/Vb81WXaJPrc55
s0JJHO3EAcKUVujqaQCS+TcKyrdF5jqagHaaJ//WXh5JIbF8UdnudSjt7Ohz8YOJJ4/J84w5G3So
x+ITS+XeA2mkG/yEnMSX5b/delyQWiSJzXnRpjNTH9ph7grJxmvjRGQkp0ClzdvU71jrjE7yEpOy
BHeFWezjld/lZIq9UtELwvNvswjAO0TyBzqUl4YeLALcSD++2Bj6vGdfwm+DOMSOG7vbo1Xt7MXq
1Nf4Vp9acXR4e/HCAKV8iwlP/r2nX2VMi8QjyuUPT4j23foUu+YU3/lnX+qTKU27u8gGhsVhj2xY
XzKRSFXAU5lbMvjOLlXff8RffCdd3D44ZeDhZJeM51m8QzJwbFMlqGUvqezNJlL8JeVHRdT+MaMN
ad/qvL9xj2ac78p3MFjjLnapSbhZ09xuf7fZIPrasMlSMrpzqkw7zMdgTHswMwoyZdI6f0lYLpAT
/ZlQ6wxme6xyBvPLrdALX8PIlX8twyF1i4tJVhumJC7hNjkN1dSr9EfMkPitVVi/Ad0nj7F9C8ql
ZtLcBFyVR8x2tXDTL/41SA2XHC//8/pVE5kwmmGLmerUJ+4XXg1j/Qmood7KE2+IrcKfCct/3PNy
s4acDiaxJjP2d6gHFlMyPq/bjmLD9DKPKfY+k0bAIYGReGM2Ihzoryl51OwdPe82/wpTbNO5Fi/K
/E/ILhJSwj5QEPUkjIoLaTu0oA7zFK0TGa3LX41olH5bSfTdc7WzCwITXNt0dGuIzhirzZFokvRv
PDxrYHhQTKQY/VCe1fdxQl5qL+JdL5pjt/0kc2iNsp8ZZGf99It0mDngoFqjyltJZ8NmZJfq7KZx
7CHXgTO5QrhD48M8p3drNFm0EQk/yUQz0EHSsciqga2Yh42BKNbYJZVykA3rOBtGWGnU3RV7aKcf
t+PSl6dtFE96hIQXxd7zwnanOA6kx7S858/pMjFQqh0ksycdElwYM4onLa8C6c9cHPJePxa5empp
xxaGU8rDBImy7YlwOG9qdakT6YI09orqy4Jw+Kmo6b1r8hcZuwRKKdIDA1XFFg9oHW1HnLxvHHoC
Ib7qc5vbjdcnsq62Ea6hA+WuMvOzrMfXflUJiP2i4WqIOdtU8papkkziOvJh5WnvQAsx/WXLrmuR
XcYxOkm5fJTdSGaHp7uM1T2wxa5ijJ60EgaGHiiRYj8fJ994bPrmAlnpnpSECt5N3RHw6in9YynZ
5BsdD2+Grvc4M92nmga3fUQQuzdMwwFzWEu3179StZImCzVFZQajkdoOTsOC+29B6hcXds83hmGW
Mvpl2+2x4wvI+8WUfFQP8Gq4jn0gnlrDaxKIXKq5Z3uzo2nlYZ7zpEOTfR7L5ApA470tiCWPwhii
L4MFb4WVjrBw+5Gx+k69OykdehYZgbvu6ysSZUSFGri4CVKGiqysrRrka7bFwk6SF3oN2hD0SHlZ
+GZIBrwhflTQY2B3ZswpmGjIOw7GZELDzV3xCnfvRHbLcYmUgwEZwFrMwODKi/kvWziggHWpnKue
PXU73eM+fsWBDWikEz5T/ZEbyi54VWH2VWvy6GrOBBVGqA4xijrBksOI0Vm67rVq3CcOyne9Bx1Q
MO61O45kfVtdyNAHU44QhG8h8xTDAsFY92+yxpYIOVlGAws5RxpAD297EXt0hm1RcDY2gskW+5HY
+9RadlPyD4TgDnXnUCI76QkGy1HucMgGWanjI1MPmyGT6YIiMQJxJ+R0qvz9Dqv72IbM3Iw1PtrG
fTI0WFV5OKx9gNlq8TsEERmjlW1lTXmSzNlPsoUMQ6R98/ij7hYLHBXzYKpUv554r7PVFUjzQdM+
t8KhKAB87yKpf7fi7oF4Zl+ulhtp40fGMMWQWGpEHs9HHi1J0b4TF9cqB+HpR7BjYrdyqyDMZwd8
oCRtN8+KXeEIGIB5J6d7jaGIlRE28iOqxJiXAPXZA1QkafccrVRGf4WHhid9AjLHQ3vdkLNae8Es
sEzgOx83RA2GI2sPhSqE60suvBO135sUcQ+0YUuk75qkhGcOFCfSIX5qeZxWjt74KeUxvqfIIYOt
VF8h86Q6azFpC/vqG3qEoq2XLV7OMZtmX9hgJpQ9SsXbJP2T8PZufetZoL4BjnhEJpRysOVpaKBS
fvLu4GiE9NBhA+S8ko2DeR+x8eCeM2CvRNwIf1TQXRWByVfD2bTtKrbVJavWk6ZEB4tZHMTZtQNq
upz1SvEipJnaIBNXmfvR04g9SLYAmTdC9Lx4LSFu07ibN/zIpIHM1oRjk++fbOGYbrRuSKZDC1xW
r5BGKF66ZHZFDSdZ3cDbFdhOnA1dckxyMNWdkquEq4BiSoGv400Uy1O9YeRha1aRiPj8+D9I0CwP
Hc/5RD1BE3abLgduTLGd68CDE5KRynCQhzAxJVdTvll7hMsfChC6doIupkjGBhtdIyG/teVwFfR3
lERnevSiD1Py3lCw+Tj0napQcadnh7lUjnGGdtd4Q1wYaqrOLEQgMjW6QxKEIS3UG2d4fcLPFxJG
U6nqyYIYrfTmqRb1U8z0mXna1NfHNFlRM5N+NB4w6DL/xfxCLtMMvKZlbyO78zkvWo4AJ9mscP3K
Oz2YLe6i1Dz0nQ4542paCe2on6nEwJtkYItQFVN0svG9yaZ72Ul3cdbulGeTjKZV+c4zMK/CoTzZ
ZaXA0Zj3EcXZILFcoOycDOWkTutpy0uWIyoofd8yY7cdo50EABMoG0NB00/kwZeZZ03FMdqSw0Iw
jfWdWkloFWyBjHPkRx6HqV22H6ZgnKQeuVxMkDL9RJe6SzjtclgE7APBB08YrFYbJcrAfh4lQ1nI
rslySWQVtkox8894t4TGqYsK4h/WfcuqqpMqf6FraFCGp/DxLLZ64rgbTYgHMkxi5WjGGmRdoAbz
pww+Rc+EA7P4A8joUsEX2qMB0OQDQChiJJ4TKGrjVJ2Oyti/lNJhMcvAcqHtrQ2ShRKFfHzsOSma
mqcfjKB2gfBh1xBNvCpVQpE3tbh1B4uKKCNZdvUFQbDrqL9bjTtQuy9TekckhIVw//9c6Rk9p8pe
Kk0ekH0PQgRkuUh1GTm3OhvYmlyuqfCnsdsLv88r+IiSDKGadVun4UW7YfSbZOnSRPMVghGD56J3
IkjXuCcw4giMP7fwuWGMaxu9cOpKN44PwOoWb11V+lWEeD9LmyM2J+vLHjBtKNpBT5Rb3qp3Q51e
RpSJWAJJv5VWyAYEqwxNc6034RKl4kXu6Fj1oCfBqjlH4+LHYumPJF7rpErKisWJ2XlgZFQFhRXH
ac/Ri7gUhayHCLTjOCudJuS1pPtWDv020+z3jikbp+UXlqXH7eJhuMATQDQQEMhe7/bbhj3TmPcp
dm/9lPHKTjV+hFK+jQ9Wm3MrvWSa8SIE0z7WjZNOtE97UfoJhvauuhE2OtQK5P4kRBrvqKnoWrPm
ahgPcviGk0WizpR6cNo21WtB8mz1R5mZH6DzyMWp4GFFFhPozG/TO8KJ/phSfyL++jT0j66AlMx4
lDr9bCBP6skjT8xT8a9svrax3LdwFFjMAVY6QQO9lOrPVF0pVpmQ52n70iY9+D/0culvrlNvcsKR
VSwa11kqvb6bQqG1QhZj3FjC9sO4T86viQyItLlv9BKJgQlCHlCFYVQG2zB0QT9/VmOHKLK7rFNz
yVV7lcYPVhxKKOCkIuIKTFrkCQKgFapCbmoL5k3j5gWxN4TaJlPvqYnibRG7RwTQaGXrimc/GbEb
Gwlm3iv3TOsMnRVSEBwMgQn/bmjbq5azQk30a8SYsynPy5+NdQgzKtZ3OhSLlA9F4xkAgQCCVuKU
xWDr3fAQ1PSDXiKOw7wdbauEEZIdBrwCXZ2+5h0zW95w3N65IJJe3PIT355Y9w3yq2Gr/GEz6buU
6SBelhnth874Q8TEKlsHVs39eGyE+TT/kltDehCelH42b3ky3Fci0Qv9NK9huSEcoRXSaoHGUT9O
D7MiDIkGdxgjfzpIURnUuuDTYEhreor6S4ZMpEWrjy1PPo+sY2mbiRTt8uFArVSz3d8A1RA+mcPo
lFhR8kyHe7bQwkXqQ41xdOyEdj4oBlO0pIB+Z4RTi9BG2M9GGi6DFKRjEVSPjtUlewnmJB4DJ++p
rTQwpwOMahN8h2yJKdtmcZ8TU2TiAc3XyVPE2APv6kbcLzqIoKdCUqhBGiEi6BPRNWArjEYwSPdS
M0LaaVt86jiVS9G1V4FM3y6B80iZhLi/NSdo4fVrDQ6D7Pmdoas86n+eA26ru/XRdF1ZyEdMzApF
PPOWr1ltACpEGJ6jyppJI4W9IPGSjBVhySrfeK8Jym6NInJ4WmIjB9M6sZIj+nS08K3lL7ht0Qqw
DgOYqVw7f671c1oCsxPFI8p4jeBjhVUvYMItiAk4npjKajUmgfHIu3X5IvWBEZHAFJS9ULRg4gPa
KgpIsdlPplAUQaVJzdHs2lM29We5ry8l8y5tL/9U3Xaq5/pSRTM4C9kphe2CPPyYxFQGRn5Di3/b
CK2YUFfOTlEOvsKHufJMMKESlo1vRhGdPvsERBSNqO9b8P+kPJj9mRVUVleYgiJ3Q1TDDapBTzIP
0/RnkYKKGOXxNbN4eEhsY5GXq0wzCx2Ln+hNhPFOxV8dMV8eoYKYJkSD3D8ESyqeVNX70tHBD+Mc
SIEhSEhB8S3rqmuKTgKfJysV4KK5lwHsZ44eacFbRWkNsQJ8UHGoOFVTnU5LXY6WmOOSp/1VU2YE
WHPxV5CO1uRPzd6630wkFIa7LK+Ya00T8RBp9Hiyfb3s0JftStUnW5V4Vx5/n0Yr2BKuzWnL3qZc
AS45HKZVeptJPG37j1G3kBWA452CvwztfVwUFIYnfD7sbx2VwXYTJS9DIp9W7cR2WkxHYimjQKO5
yP9AriSR5Rwlw6mPDls6BlET+XXlq9ls16kXS9Q7Qs1HvltLwu0E4P1n0I4AeCKWkgVOPsqYKfor
i3dU8ngEB8oQLuQcBRln0QwhzDHatxQwWzscZDNc9cjNYSWU8m5tMpcC6GWozisRUlvRXiJFv1ro
xoDnYf6cDeGUR9/JtpNNwWOxezawgM6tde5F7axG0llCWtHfy0G5fTcg81gXmgK9Zn9RPZViEK8p
wBZ5wtldFJiTIcLT9ycMGuWJyJ5B9jFVmxoLIdyvFX166QwSAjrcOrno5GISjuoQ1ujgWDRcLGl0
lEQK5Mkk2buAhzv4abUTeFLXDMkbJWe9rfvZ5Kj54pVO9Ei0eD+p074vNWyo8HyIVaWf0LWXphRe
lUp/q9b+fRI/ZKxP/+Ym1OIUNJ4IJZ2ESzjOqejQm9gbLFtl6A9oXUf+rWMpXBXakJF2FQi/DtoC
ZOPGPdu1lUeIsFvHGHH+Y+nMdhtHsi36RQRIBsdXSdREzZKnfCHSmU6OwXn++rtYfYF2o7uQVWXL
EiPOPnuvDbMi98q584boNMrwML8tPx4Nlom7LWAZUQaiPNNh3FM+v3d0KgUNcLgVEmFKXWhDK5lJ
+4+1pX1uV0Ukg3iBhjE62DiJLQJrmn3I4H5Oxm8WAenWIV1bVNpmEu0FP858MjMM2Gp6TEuaxwE3
ldzMqpLX+ruM4xWoSTz19E/y5ISauM35hMRtt1P4hDT0VolvwyJUPv/NlOIBCU0r1vliGoZ/MmNa
ydBNab+Tgo1Sd0lRMkE/ZfjeFOC75kVG5Fe7jfKlVW+KNn8qvfHJqmQ1x+MjQKFXGfdRRIEE7yfj
IDuqoVb9dBSRRZEaFFOqAodgg/WPm1p9Bd4VoWtXzXrI7k6gwg++NLVGyyxpjPRm08RsdDgH5Iee
yo9hX/+kDhdH9yjKGeKxeooKXo5iqyS7+BqgAFPMRvZ6rX4Mwz9LeWVcGQTo7hSASESqMW7XGiyV
HPK3w90kx/sbmDsuQHc39Qf1T0X3LBc2x7pCjbgx0eWg5gitB86vBk3EceVr1Ju3EKRSg21g3k3F
p529t/qvPuSD5NwGDvsBdr827/QW73yGj8WeDtWTaoV84azCVK0Ljwr4tnnX0wzK2rVpD3mt++1D
bc6TVWxmSgTgIFJy63GwehSdeIn1lZg52AKVywsnVk7El+ZU/kVAHPLwgz0UHUj7KaOB8sdmoafq
zDvxT9M9WVmdRMCCbXYgo85X7kgVCwPDswvI/8J8OjRKxHCZIPZ+BHgf6YczsL4yqmgBF4p6K+aJ
4d0b5luiv+zyTwXgZIR04UA3aQFghK8wAkLxi7Y2Thk0AEwZ1DHAHraoIoqni/EnYhkVZptmfDrl
eVKoSE1+aaDVekzNSypykzaJN7PhM6d89VHkX+S57RiSec5i/I1SO5qQh+gN4d65OHDdneqzCzcK
1nuNt2pzzPASBhPdKKTfbfspPyfJbE5GrCOcQgiJ9qsPYonzPdg73b4c/pgFlNL2p+MM1kZCBQXZ
MlKN00aDrZu16zi+JP0W24KOaKQHP+FPoNBek4r/8hUV+Qqo7V+G+2NY6NMFYkcLRQqHphrtM3A5
M2nZwPxownVu7YaBNZmOeXMv+dNS8F33IeXDrW+htNSpCQnjWV7tVp4lN9CwfsRp/DRr7Wlw5YSf
5+LgivS18W5idQkvrTLx/HCvgzPxoYerTqyZcGhLQBYHyN5oW2iHoMblNpnNwxiY+94iPIWxu0Js
oAJkVLga6g57y2pvlvq+yd7D4pvvz+ofWQ07Lt8pJnCD/APZ4thaw0ElfMe0ZM/kwFR1XVWPelTI
1HTUlS8BaeJ5PFUdhiMxNaCIPmg3hMWi4gF44iyFKpJsQLlNbnxosj/NWq0Q+qMzzWDRejKd42y5
sATXs4PZMQnXiV0hTXDP1riRjgXNC2+Kw5URqZwlkcmnudEwOU0/ocbxr9Cw2AiA+spO2HjtnJI2
9OXWGHD+92PBOdruVdNc6Uj+HZm6GZOKnxgEr0R5NnXW//PDbKNj5SK5LBEO5M08+1xsNz2GlaL7
Gpx3+0MMpK6nv5qRby3X9kt679KgByrAM4hnkarpJ3kmdLKn/WnvJtBOH06Wbudqp6FoZTqebjhD
81zvSASNojxIjXO8B1LDVG+WfsCtgYtAofwtX73jPKpOQ/U5LukZCGgqfFTZ/CX43Dc9EnXMy49D
himeypO8cE7f2ivAokb1kPcdc6FyOSybdX0Imug1u87jF/9zoO7KiB6EyUbMCe2fivteU8+eYqNW
+Vd7VAD/kM0PskNk2Ycc3zSQl5quFSUGWwlDj/dUfsoSDRO1AgZrJQQNGkXtlT2hua5hXh2Oifkb
YZ1mBkAD9rG+ykfdwHFcGocYSgAW8cy2Masax1RqcM+Lg51P2Dqx/YyHkmxIPNiApLOtnDlVQ7FN
eoXAOecYN730rqfeHABnQ9m3DYkhbS0+5EyyaQQ4i8s8XsEH4TGnsNfC2S6napcQUUQq4liJlGFb
sfNLczzuR7UfPNnyV4n9KcIlF0NR1wqqQfDOOfRGAbLDbV+cK3gXhDc+xw/t/2ciPWyOkpqd4Sjq
9DgQB5Rlu8V9lWcz1rNshKv8d/oq3HE7OjGSg+bN7EXEOalSD/e73jC1T5bnGDj1/jkD3hgdpzn0
SpE5W6yO5l3CwiQI/ZxM7Ibaq6ICprd5j2xdeODBkz/D1uNSZt21J4Vp9cp12Ays8nPzFBfmySPE
oAxsRQFjgA0L6ngnjqS0cG0bNYECcBkaKSzKAbzaC5NftFyth5gmtqX0gOfORCy1ag/9OjLAbE+X
dmh3mav5wmLFuGr3GnZHJLC1wNLBrNq3R3Rpt/Exh+PU2o2FcShbez+gly/+TrN9swf6Z1oYXnjJ
N6HbXwNTv4nEpLYpv7nMyNB7f3TcIGq1bL8CfDbBsWVaGS4UK8JktIRHc6qgE3ekm8TC5QMpAWsl
jjyJcRqPeGN60oOBCC/WZR5VTkqpXfKxIqBo0GDE1T+bfCMqX3MTvY2ueEvHNY8mOd3ZsOrykYzx
gzV3kqMnB/Udrs9NViE2t+QqwtWub0dPWfdsA/rVIz4ju9zb1rpC1z6p5gB9XZybJN+kNgtZmjQB
bwgTUgmNVjY/d51pgAMw9ulATdCuJmNbks/B0R8jxZInHsibdJbN/HiciZzAG/XNWaFeJd3xvuXo
IPKjPyjPqLMXP/Fb5hbvKQnaVuIDGG8Um+2mLDyHsr9FXXaLb6DosOvZRwoW/LKkIq0rjk14CQOo
1ulwiP4VVeLh+tqrADO1qSE3N59gOa0wJ/q0PJ/Yy14Nnfffm4Ys13q70uvKuwHcc9Y5S9undcW+
OnO+rE3wYKG5NGZ1N9cJYN+WBBjqWO50h43qr9A9pSEh64W3MK7V4lv5BjahqFSDyXJtYBDsCnEu
WqpgnN43gZcJbtpd9KEH9nGgSRvUQY6PSSuBp47zvtm5xWvilgDIdiKj3HhJy4aj/gavizGwPkaz
OMb610wnwe/JLk/E5YQEIvg7qw6iiDyDn9cUjzIGfUx3ddJ46l0lDgJsdEJLLWlOC+Yn4FbIvIls
rqKNPIJym/KkRDjLotJXnJY5fvLZjRn6PTXPPfNhiRMD9KHveNUe4BkgAHQGRr6Q8xclbm9upOMc
8cbdrDrGa/5B7KjgsmLNX1rhbolJca0Kdnz4Xan6OgqorSinMOR1+Y1Tp7FxpBAyTH+XEyd74+w7
ujVEDiUSCj8mpr3Edt3ueeyxOk72bWAvnZ2E1ra/EoU0hZkAKcNZtCnCF2a4GWbi/3AhGYH7BReS
kTztGEaWGydNBaOM+Ez110HQW54nO3PP/1Py61SG91FnewaOJ9obiv2sGL4Mhq/S6d5VU3sP753Z
PR/EOparf2qv7QK613LmmmcbVj110DV2lnowdvWykpIdiUxcOZKqVaFvofBsa1//qjnilmzqxtk8
2GfwuAHw4BeZxhTpHKKAaNlQ7is93xkbu1d21R/qx3yNHF0RjJfWRlfbKjrBs5oheobnnMOmMfRj
h0cyaq/NtHwgMPWQ0dZfuMplxt0nRGb2tIWAEz8sSlyi1tknr4oiqSajcKA8aOyJBEl+PpsFYLvR
9AwqtAxyIY5KLm+G2Ksc8VtoDII6g6CmUpybWpRjr4XFfbimDHeLguEutW6nvtorvnIynHJjv/bA
YyHMXapBv/rikGCdDcCd95fcmU7ZJ+R92QN4HqOzcPgBC+UqkSCQ5VZizB9T0cBffSqT9TTCs9Nb
RBQ42fgqMjAXj+K3Yum0g/N4J2QXhsM+reGTYszpqfrSlnxj8ogB16MkFBL9GNcPFUQCOkVMBZFu
68QWgSuDR6CGE82sgawstrZBSIQte4x1L3gvbGN5/wBM3PVXmpPwL7EyzsMjd6ffaTkd2ng8Opbh
W+xcYRdsv1+hjom4WNNkdWfVsyqB0Re8qezeeLW6Z86jFwLox7Q0QSljDOQK5qg40+IztRROBR6Q
pGpBsWaS0XyFu2bdaoE/Ua7Q8xxJm+gcdvPFMMJbVFb3Lm0f2TXnsq3xMQlPil2dXPkJY4kLDlWS
zTGJv/Lc8rqEg55rRRUdJhiSEf7bof7Vaeo+I3o9K/F+qNm94yclnN+BJ48XexY7mmTed7PJuxoj
xIjzjP5q8jvKj0YX6sSdpuq3vG/p4SVK9l5ylDLM3oqCC+J0Kmr0ilW8z2/T75wgYZpv5l472/rE
u6vxizQ/1l8hS56Rcq5m4ALoAokZ5xOx/Kk+1Gx1Nba6mULzBsypLmSVUftaO/i2uuyBCuro0/KU
sBeYnRI6BDgd40KsXk/89E1h82ZR0zCHPMk1/SrwX6cKcXjjpiUvbKpO51xnjsS+i/n7wnNSHJ38
5CjDoevvVZ6eCQMZAF47bnzsllRgswNp14DCGBG2G8s5Uzioa8iHnDrdv0D5GwgcWlypYNgcZ/Tl
FH15IjfUt7dK16FmlVutZTERvaruVam+dSIiv8xh4qKDohxnX0Na03uvNHdYrpJFYgkQnZNL7r4o
VPsc5k9sYTkWhGj8G6deirULMZz7X1q9MSCSpl58Y5li3rAvOCc75j7k8g5GCwfFhr1hXQzl2iJ+
IIDqzfj6svHAG8Jc/tBwcLFD9+aux/DmJJte/F5cDybKCPvzXn6GWIuifdSAkFA0Bq9/0TZvI7j2
GQvL2XPwE3OXLvY2883LFRI7evNohx/hzKvRudfje5SzOabYhfoOllOBsg8Hr279Wt1MWbHD+Tin
hGVS6N0YqmQASQ96bBua+3ImwEtbSKVlB4xaxpCetVyS0thEm05FgoCPEdIyjNuOBO4OmZDT5DAg
aXNv4JIZEPGsp7+2aDd9GNKDXP93K7Z/odmdBpMFJTsNhZ9MHb46mt/s8jjLsw0szzmtKDKZMOtO
rp8zLindJUSxGvi3xF9ms24ltXDEhNzs3oNnSuuR5etj7C+KE6+7BIlqQ/FZ4HR+m66rqHin/KSX
dxWst8uNkodKerEEbWPJNnOGYwM/w+CfH1k7rBvaqyWKPhY2Rqnck+xe8ElwcqwZibeLKXrkMiEy
nQNNGG9axrOsWPMf91tSddNEw8niDMIXkVnSj6Dm6tvWpag1jmDbkLjGOQjR6BxthftyG+ME8jWH
nyxL3PW+BZoHaigTH247aaIXqduClarxFUHhUZ13B+4Xuwn2KbvRjj2uYTO3BLJDjfvPXAI0wC2Z
Wrb0+HrNl27Jy2DRaHruqoOL34EgmGNGh9h4KNV3qwLtlsM2B3hIm4chPOZIj5HKfZhgpfHBlhLy
7pG0LbZAY0uWaU8qzM8iJAg1OM643PklxV9Td63OcYQxXAEO119ilykeNTCcAOX1R4QAN6SjV1uP
LY7KOXvxUO/xWInWr3Z5A+bAOrfG7OHLU5Ei+/4yjJTUiT3uCm5ECa6QMRRr22Wznxkb17zWVMqD
cMMsQH0D1wiZ/p3hFKeo/qzkKaVJCR/dxDSAyvRjqL/XarhSUrvWLBAuWNhFfrbzMzFlwbirfNDL
4yYbvG6RuQYvRLSfv1+e8AysXDdeTc1P6mtAEoZmXpdobz2/clJ2HbA54nmucsBNIIbuyXfXs+1m
gthbWbEXq4p16UAyo022oHApr+VKbs87+Y++v8PyOWJdxODHz8zO4S2I75hSeXfBkWKOsnlA6O5H
4dcdbxW2c84PPImt4XCPttdK0h1LZevK69BN3NsAeygcaAw+7rXe9OW96PF41FBkVk1zquzh5sTm
/XOQ4Woi/abztZlsCx4Z9jCAggkN7VCA1lREjCbl2Mo+ieKDSaU77QOsYBOKgyDXgPCdrQf5Sgrp
e33T/QYnPHkVr5paGftaByCAM75+wUqxkosGa9zIKb9Rp7WNYCs0mE62fSiK2NcEksCmBkEWzupa
r99U6vWavn3hXcVESoSykYrfVLBr0kuplBcehcZ0xEh2bM2rYCLHybj4NBMV4J26YuhOnqbaXkza
0RgxxV4ovl1Hh8ClSY6vIXYh72HaADVjxp9peIh/8YnnEkCG9x40S6UfhkKok9FK+TRAqmojnZeI
+ZWGSWisNxqK0NKnWE3ebGYetFggwX/iKMV2rZ7afvRDU1k5FDZnKY2IEbtWL0K2AmfreqDgiGNt
WLPN7gF6VQgRw7LqLaDhxIBUcO5tbQPBI11KtqZhO5loZP3yOo6gL1xPfzNc8u6i2mXpl4WSFbAi
RovrXHWfYBCSQ30YMngPwQa3+kULqwsWJOr2uAjAxGna/iJFfSnn+OIcGjc8c3pKRTvL9hr/OGbA
fWl41n576goDIQrJeQZvojDw0A+/zXTlGpnF1ShKpKT8HEL29bP0twWam6yXbm/qv3BcS7Naz26y
jaPXQF96D9KHtKhnA0/TuHSzrmHL6YyHLI5O2dJS6QFoTWKG+z2xDjwA9t6kWHAxb2rMF13FCFG6
LKgWwKQs/nvyJoxywGBx7JEWvzpAj9gEEFulD4hAwBVNcSnjpAXTM/NPc9BXB/e7hitNUZo9Wvcg
i0EHofdOwbrPa0y62rfU58/CunUcn1LfztQSYTJQ2Noz/yyGYyXxlOQlYIpZLgypcB+nECUM+mPY
M3IVJsmW8MRsP5LhX2NkV0O2H06ovLe4OswzqjHPzZnnppmHvpFr8DVXeoANbbiEBnvNY06nUhvE
66TBS2q3RwXR0OIAszkC0xqby/xHU8fTYlJuBDJg191yPbiHvXxOyBIxduBprVsNzSLF2S5bVo6I
FlFLGe7G6OtzlrdnVsVcDx3zPBt8RniY1kZL8+d4bQ3rak8Bk2p8s2H4Q+7jOPaEiSBq7cwE4ItJ
Lpy+qp5uQtFfvsPZWUF9BJZVsCtybaYvXBsuYC9XZX038uLHf13FRvLFNRBcKXG/MrFgX/EbzEjl
9Gesn46LYKwvFTwoRxl0g4+IZi9T0My2s+EPuf1tSLxMGqfAoFOkO2tKcGK8EqyZO3wHotrabDsi
Pow2YwXT7UYHvZxoPU6U12CFuNvzbckDvrNtJmmoeSy0EKR3i+zH1iSmJyl8qvlzBAOhWfou+9KE
6lcld4KpPOi1xPnZ+rAyewyToTWdA7W/dOF6yiS+jh7CtmSosVaNzHwlY325BIyY7Y0OqGXnpyDF
nNJ38EKkGFjVpYWFMCE2bDx19sFW8boONkGnlSXCc22bftsMPCMKnsP9Jo5/tQTLi6zbLqH6KIOp
sOJY8GyK+JTCwQNzDQWg0hgrNBaSoCo3zjRt1BQl/YkSvlHJInVoJiFW0co66obhG/2MRHYjDJ6G
5q0+dTlGqvKSOtPGoVF3qeFDK2i05Ua6q0NAOkq5m7tjUbe3uhmu8KGQiz5T9vnBlJxiFTB3jWCr
UnOjkaziiENPq9jnORJBorZ3NiV0HcZUp7X2BbbyRWgtpq9EsM4ZOq/bsSP22oENwdjCIx63Gfml
pTmMYTduCehu1YjYPBvsjK+5YmFGgq63eR8ahyFSDzCQxuWmYYuba/xyHIqqdfVSDsNZ77KT0E2A
ttWRxY/2q+K/mp+QQb1DX23ExeLZT5LwkdvzpUhAeTRz/kqho1jRQ+S3DDphvygLMHX+hZO4ykq5
EhSaLgDcOZio+ZUG1Oc3S37l/1wsHBO9df0yVTvW3jFTelkq4oqLPM1AfqlxXtibqESaR3RX7tnI
v6Z61xzYp+LVncYRzrrEQWP8klVBxzonvDhEkPgn9z2aLNZjG21iAKJ/WIZ+P/JuKe1Dz9zYrxBE
/khLQTHFurgOsVTjHRh4QjrMP5o3Xf9QH3YKNXpLnSvz7NWIkE+zDV3ld6XPHpEePEQNmrjgwXep
TmDhQ7mu2/N04XvdFTO/v0Y9lDq9GmLbyQQ6b7drWoFOk+yGnyoHGVnjYMQ03KW3V876pKFUQWsw
EfPVUazAvAvBNOQG/NMm9Z6cKtV07D2hV6o1cgpIftU+jcYv+BONuo77VzLcTGaGGvN0eMi2YUlf
mnGp5ubNEsHbzFQUsu51+EvpLY/nK/UO6PYsxzLE5lA7hanFIhOTDbJNBhGua5uTGhL7TzU/wSvp
MNFiGsVwjEZrztEuw7nmvAifk8EyQ3mTSX+xQ55BMoI4tlJktZflPXSBelmbPLnHanfW8xfdspSE
1KgblMLcpHj09K7FtQ2lhW0xTRjT6o9BzaxbePh10gaml3GSs+UL+mYUqk5/u6SmNeKSSw0CEW1F
PfYuLUDT3tQXpjWXOiqOhuNCiYs7h3xj6xukEs04OCZCPaYgth2XFb9Xa+6WtVevKtxXCl4yfLTN
7FFo6RWGszFYBWd/0qT3VZabA/zVOIsujsKhNbE8z6gPbY27jQEm5AGZbBkiUz2BEhldcRMUw7ls
bB8oySlIfpI42BnteO2K8J7yu2ly9r+52GTEh7I3bvxKqn+mVfyl6OkXuSXeAXhV8QuI4Zxo5Vlo
NYmH76Lml6LavpUUfm9qdCSw8+SiuNpRYXnWq3ItsPxIxGW1dhCX44zIBOVJFa4qbffRNEcsFxfT
U94bLtqwhYmM/GmAblahudPuxMkflaG+KKWbQVTf3V6ebKa6aNbfeAyiOSD+18Tr+Jr3hwmWRYB3
ncK8Zdxn5W7N6k4EzkYGLMum7mnka4lcSzGQLx4r01Qusm3Wk2VvsGXpmLky6ojcIvSGsfb0pw2W
IUkxuTEIMHPNxlL1vjIrQWgUyHK0iRVJkNM4x2l+mcsBKMp5Xgt6/ehyjfijZcRGWONgJU7Tiplf
SsVm1yQARplJnyJnhy/CdCnZ6FGRh5ZsdDm76yX3aHyl56B/paZ67SrrpTDcSYnnEFFsnRgtRlcQ
uWy7eOVFPxx7+0txINHyDKECwKTptXQIgvOmxWNn/sIDN5HLpwBsoKKChSVxwIzXNVfGNyWd3lV6
uSuH5eibILGlGx+xbF/8Zp/DxFCpvZWk4624fTnBfOdbSN35riXxDT3ONH5lY3+obDbGrJy/ptjX
bxOr0rw5TZhNbbY32sNtf8zUPsP1O1nxxmVtU3fwSaiH6VSU6fLMObczgmJPpQmldwT/uehiTrD8
hOBOrDCLuGcxjBh4w3VLaYSxdGYZlwgUopi/s7g9Z/V4qrXf5bds5Rr8K+pVa3br5dGAQH0tTSKG
LzWokSHNA/mMSDlhdPRH9XeIdOWiUQ43aBEkZ5bIYJ5ShMG8GnwNpYsNbz/Y+XswB2/2sugtYEc2
a/aLD8VL6/Ja5P1lHIdzNFancaZinTIlyGqdQqB0sAicrNGPFOci7e42bDurY6OWFwHiHviMqbms
E0xZVcgHVZNXocurXqzirL8TpAyj6Cmj5jFn7q1BRl032VZLy0PaDocWtv4gfkJMgjaNLrAt+M3s
kkDxwavZ8KnEGttwwnu7mdX3sZreY5iiUOta+TSMfzQrslrqrmOlXFy54cqxTzC+YaqfvcE0sLyP
23wst0ZO8Gh+2u0fsN4xTKRVREUaT9naYCoIuWZszYsO/QQWBZ8r9ol4gv47xMfhJAxSBtkpHHfc
kfY43o8uGDbTG6fzlNiwm5G9Cc30kpEIDjJCVzJ+5MI6OsVfY1pbenGe2C4NkoAdAVtzNWc6YTVr
KymB7BryKB3eMwocw/ahhOW+jR4lNwv12CDw4DZYk4KYqYzvtJ3JMoClECiBHlxfG9EH3b85E1Bi
VjpPve5pM7THyo8Hx88g8G3yGarF7Dy4fULFH4hndRwTPaEMJtjsGT/0rHxTVPfNOv7qwaapZXe1
1eLag00T2wLomprXKMJbJDNPkDAjq7LFpMT5SLFcwvXWpIN88EaReLFJY4rWEKqisNTBSpt7Navx
dFmNf2v27KnCdwk6NPw8iW4cUvum1M02x1indtox0ICobrM+Jnovb2md3uLJueKtMsJDJbnPh2hI
Ow5lSScKW33tsX1Nxqp7k/3VXYJ+YNIFicpRnw6Eeg4DkVUn4g4zaYfQ03ONWORZd7tzVGjrICTX
ZM83wuSxoSxh82IJMKXbMbKYeglOVL+d3DpFtTwbsTxW4SGF3YYeRrHBEeICSbE9WWL5q3OM68Sl
o5SkCdPhxtlgZ8RLOgMt0twa5i2NmqNArplOartwf/cTLp1x8iK8nSHfxwR+hTSbK64ulWH6GDCE
AIgq+U6skjwP7CFc+LTgeJJNrUKpXjVoG6B2GxMCUS13tVh6JYBYR4pH8zqVCSPCiomwMoz6Tgk8
W0uONvkhpYvpOAN7FWDlp01mqPYzX8JinWolMERJbM/WLqAZrKq+mgRFiqtl7+uRjYMSCHoeAIK9
tTb0KMs9uND/g4U2bVYHozu6/xqt2vbGV6ePx6DDaulUB/nVA4RtBnNHOHJnQHyiO6GPn2DgLhG8
Etrb1H9cOG4hTxpCCDMWqbJd7pr7lM4qWA+UttMQl1LqkXG/JqxeRUTDfzOmFH9QJuxm1/AJHrtt
DsDYprYtt+46HLLlNaubG7SjnEwKoQSDLgE9aDeyE5u4UjY6+aomwwGNBl9Qp4aTy7EcOGpkDtpq
K7moF9a8hRcx0eetsT0VQ+9X2eg7Yp3Uf05VpO4dUtE1j1CVGkm0i7Z71LWf4E0xqIZnl70WyWep
vpFPsMGUuVQsP8v+PQ3/6jRBuwsJdlPS7JVcShkdIP8ynXehwdKBR99q7t+jmW94PLqgvvT85Cbk
/Yqn6nxKSdWo0YHlQcm+W5V7a3WKQuS4qWOwgD3F8Ne4EKuo/Kyt39JzEDBcpONQTfdpNrEZ6dcF
5i7CGYehHA+5ahwm5Id6J3jLB+p0ZqJEPh1DOrYYhIb+ImbSwpDrx3V8H+XZWQjZyEzxV7klMLWf
mvGAHlpenXIrEbRhTuBGBtVBBTjF5DLlvQpXu+BdmamHFrOlORr04qHuJr7kg1rFTFRkDeF3pW6M
vpvPG0Na+8Ae9w3LHKNydtyMBylXuvsvARiUWqin7YZ/eo/llERR2Z1qhrwOBdhsjVcRQaFS8rep
S95UjlrAH+q2KRRe2H+Vnnwk6rdln3DlPdCtxPNg8alk/CeiQmfySG9ecppRV8XeUXm1lB+BKxE4
F48Srj4P0y7vYyJvDlsfQkJ99Yz/tzAZicUht3MotOUxsF3oqTzc5+yQjhy3jyImRyxwRmjphmQ3
jcwjm4oo6FZ4jWbcSabi5+5d7U2OfiZMEtTibXJgMWXMXsC8dibwA8mOmX2MQO2fCeJ0GcHfl148
huiflbS7SaVGTbwRPMDHp3QQLXnVElQx925+ozwSLNKjfXrUxn88P+PsNi2GtOgf+eocmSJFpjBb
nkEclF8ul2kVWJWDk/ge2s51ksaNdjXhm5FDfds6o0TBE+Ro9AKleKWQ4zTRwpsK0hlmMW5jk6dn
7/P0jvGvdOUu0D7Vlm4F5qp23bcaIboNe6G2+BRA7p81DqAa8SQLmqeirrT8LoXcRsIzTRoX/USg
TIntdx5F8LzJ95DxsegJsCJO+CeG4vIzbQAaGSRRI/XoflREAGL1aJG1QYyn5NXED57+lN1HItdL
17XBV9idlCHyBhQIkbCU7Rs6FAlnDlC+3qMsePUN7Jpk8PSm5Vx2PEvtrpbZnOuwu4xDd5M5vCxt
8PJt26RPzirC2MEAyqE/ps177MBrzZ9LCDPUW0IgqyWESaWNmlm7uvxEuhip/XMAU+QX3BWb2N7I
VW1gAwvdnQQFi/LGigyjXqrsO0EhGRd5QLkEGDZN3ZzJ7Z9HeqR0tzgrenKOWe53CeiGyTmq7zMw
cn4RrMaLcdgWlGZp8GJsju7BSL0S2rGcNgJoem1z0etpYFJZvbbdKRb12e7lxdAsclGHElUwYcdF
aLN4Gx3xRtPJW8FicWDPWLCYWy6aPR/UjMqZ0dhVqJihte6XGMEubtKb3oU3VTdoFWuv1tcCIYeT
EernhG72RqdwZ7Yh/aer/CPD5p73L7XTTwsfHcsUCG3kBKh0DyvizVYSEoTjllQaQXOx73X+oSd9
IOHIhLxu8gpOfVJj7y7OpUdB/T61WUDJ+RAn2VHSIVx/M9hONn6FzNdgkVYYWzTbOp0yubHzxq/1
r6I1V5YTgGq9heHvig5smTH5TTg+N8wQiLDurgOVaieEOClb6kW+yYofHaeLQgdxeCuF+VmUX5W+
MYKrcVNMgvmYggsBYNd+BeAzx7o9ZgMXl0drv0KA5zh3xn4+qvWVPmB7QhivxEfBll51SZzVpONZ
tbn5xjVC3Ea2lzGIGBhxZp654dq01wTiwvrTPC9WPYfWJ5rJWv3ENVeufnClueWO3W8eVHvnNTA5
QHbXVFgdLHj+Q8Taa3FxR3dn41K/4QZwJstXbfUcE4xMOs5mHZ/MwKuFAKx4FXXVponqyLRgztvM
pInOVrbQtnaLlQoyXMa5SJRFndnt0NSecE6ijEsFAS4YedN9BipNr6woKiJYq+KFzi3lr2CixDSs
dmWFMhJZW9bGwXcAaAQHkOknzBdeiJcjW6cuyzF3JWzUfxyUAcbNOj8GXOXB24X88YWm02rKI4wM
ysrLmxld0108IYt+PRwrv+TQr618raYOT7f+ln/YmK3/j6Tz2m0cW6LoFxFgDq8SJVFUzrZfCLtt
MefMr7+Lc4HxzKDbliXy8JyqXTuIUKDRUY2TuOIwIHXnlYRgMO2vqRDtTHiHwdWXogOeftm6WxBH
to6Ceh02tpnj2I7gvGqlrfqJSRFmb3io3HlHhkEsT3cfGZoWc88VH5PB2GfFPJ9Ylu0lPrSxdMW6
TjcStwZPxF9va8QTeihvo0HGqOpjPMn/N2nHndDXdl2YILQsIdx0p4F44+jsmeUFcvg19PsrpQ39
WNYh38Rm2yR+NsKTGnreokNL0zEZIxo4WddytY/Il5QUc6cXILRdvBtK2WWHwTtflfqtZNpBnNp9
2rpmBxDS6kjz+yWwo2ER25dhzkZdRIW/WuiNetWgB4VxgRmpjslee8qmlbzOPRZem22IlUz6p2jL
cGy1TDm40wq9Ua1tGmJfioqNc2CbsnvMGyoXawcuG0ldJtVGv05IA6rPUVRcLfwexH56EOaT4n57
iNxZLJJMp7FXruJPTFGgYek5KLRjihNbLDon6GLU44RBfvoysLoyD1E8VPZs0tw0ESCjZUv4qoce
MYgCTJ8eZKHZ55K8i2rDDTEErWWnlfu1rbXQcVdddg0eJmRpHXF3jldhxog8IdKifgUrGU6AqOKD
HP9qg+SqFXY6HR4baIqiNbZHj/Smi7hK0nFEv6iJd23a7KJg3PGfevBgXRqOx8itd3QMZbQcEJCn
hyBxI9iZnubKcHmjzQAD28CcfSALZXKMs4+oq+xHxDnJtvckmMLPVno00H1kcsB1fG7R5c/VA+DG
RIjl5ErZ2sCTDxWpKRpO/eqIj0Fr6h2VHOwRXu0/6xOrvXxdT3YiBDb8Pfx+d13EKmJRjypL6FDQ
CnMomjFYPNaV09VTnARHJs5R/BGWXhUsS/3LmIoF8hBR+bZQ1JhJd6oYyqjZVusXPqgcnOzk0PPL
pxhzfXplPr+kmQzLoKxz7lCZVQU7bLnIRhftIuloVCX4t8FNSqBQM3riZDAgP5uwWUTMZTysqMIO
HaaNezdREgd9QJYFJoMkeKdYzyAKlwxORUgxcv8sy37nQ5hW+iWXRKhJmYAXqkIXMQj6QGJtbHq8
MGgkMA+0hGtIubb0MrRfSr8Qon+TQDpb7oTaqZaspeYTxIfr0ognEO8Ofb1JvalFZ7/avD2ctFoG
pLy5uuPX8bo9061/MmU2hZ3O+wd7gxS+99jnemg2FsgReUqZTx5UfK9ATwB2MvEDK1mTAKcUs3YU
9kng1oyZ+wJzt/4txnfmJjoKet9CZZGvPd5LqeinAo6FV9pkGi9b5bt48Nsx2mkTCbOGdVzHBKfj
UUoVKQfyxpu79WCTY5zWep9QBjc5Xy0uVm2rU+AkaBloZhlKknBhRc0r7p8jDrnxP6gCfMoX7T6I
yqroGUeQ8qKjJvrCuGuDL+joNkGy9HiHKtdU6KG2mvAa3kzN37EItwCz24i6gX5EII6les3SLF6c
j1VXzTLoP6f4qHKn8/mpMbaNz1CIdSJyAVucsDIy8SS4WwAx6rGDEdXFxxjiPq5W4brSlzD+HgFq
RW/4VaGajZL8xRMIZxrE04oxrpjohUQChBhnFfDkYeoHEKD9AIOljxRlBun1Pu+TmMJFo5+r+NlA
HI2Ge/AFiRTTAX8MXrXUvUQulxqdSr6XBYS8c+YWPOa/CW/MN/xd4b9FmCpetRgZnqfKg4RsQGe+
Exg7RBIawllSuZLBX+XTIKbtfjQvaSfjrBAvfZCKlugZ9p5banJGChgRNasm+CuC8RWeGoKom/zW
Ox1NQo5SjEJN2xBwW3+VtBlUgjIkIWkWIgxPpFYiTUmLhRRaqbLDvo6QGahTkUZk0/DLdUO8cK3U
G3O1kUbhL8LueB65gKOE3qdMy8gKodORaWZQsYjz3GPZ83zCMdgl85/MwjsYnel15N7zO4c4+TCo
IJ0KnpKc3oUzZksMeNahwFG1Lv4G78ntLza9ooL2Ddt8eCJDpn/N6ZtfHVCuYOdiiZwbsBjDtWC4
C5/8GsIbFs24iYcAST+HHX4yfFpuBZMG/sK/Rnp+DfNt9cepvFFYpxWsUNtAUqFIa2n+1GA/rEFW
K2wGX3lkwR+GCxoek5HlH2PpxzQvxljz0P6SvrdUaHB5x33JzPcvY9ZvhMFBZqpRukozUq3TWWcM
QAFRWWSjApdrgtnwxTMUGgSED880QPcTu1zmYuN792AoGCFtl2OHHcBW53bFp1ZLdw7C7PRHnfD1
+prHsnWKIPZaq99alcFfRqdFV9m3WOuoN2TcgrwiPfia0LHBC2hPbQZlk86O42UR0bhNhsQgaYPT
E/5W+wllZSbhNesvwwL8SvoYaCCVAcFZ8GfIyVana84+CphXfbUZYgoUDVv3jxCGlIkWzfiKYLwO
4ya0VfVbr5vlTeHlKozdpr0EUQs96xyAdfQytKu9A+zHA4SHj5CxoHlpqOB813xHHF8i0NW6V0H8
6of3EP2GOBcVsDC6EENQFGElOV/RAHcIl5oAbbG0llFDm6axMKHmtuNb1WEDpjp9ZQVtGPSduEcS
NiNCXdpW4inXlugfcj1zTbZGnTkQ5VYbdsu2HxYhPE08vMxhOd7MJkMD6q/EILMV2cfrEJkY/KJM
nkPDZfLUGLmVyWUwbaU8ko3UZbe2IVGJsaDMGK8pz6ZerRDHbHLtLaaYKNIEaPkryojp4TFSfCbh
wRmf8Wy00WcQPJ0beI3GdwaJJqYcJEo3gg7hdVMOAC5Bu9lkkbUwLOlC3hPCekSArBcCWwPJFon8
QZhR3PD5WYiKncLFgDrMeMvcmOHgCJHbCN1SKLDlsk4t4PEA/hCXONcEIHHXKHaEUnLkEkzdP6Rk
drQamWAAVF0+LcfW22Q4RxBIK4WJ02gIFPTdpBFI1KWOEmPm1IXUAdaGMDn0TnbUaRcltc5HHc0l
88OKq+BhbpKfRqpBBniHwCMsMfgI4H5irGYO2r7AcCfT0lVKkGju26P/+JabDk3D1przrpV+FQzG
yqwBRTGxU7D7g6fO/bWSZoNlyoYDDZY+6jM0lzQeEaBUMpKdLpY31mkUjq9mMCjvfy0CrxU8iZAi
MoSLEOyr8nHsm2NAvZFMeyw0D0lzghpm9r9t/7RsqoS/CNQfr7XdXAJYXbVj/LbWqFlGZh/YAS9G
qL1jmzs14XFqdYOFD+HPwwA6/G3YTiTIUTn1EL7F4e9EalixDKpHOOprj+e8y3703jyi1jxFhnoK
Brpni1I1ZFc0lgUhcBYTOK36ogCiKAAauRrgU4QcpkN2wvLsqDV2k/4QpBAidMylkrLRriUwWYMW
U59cvGHm4xJbmiJ9igtmL6s+LteCiFECDBsPTGpWIHl3HdMtpMExCgqTTRV3fmAxdGnDbcSJIPpV
LXrYVNxaoY4H8DJljCv3gYt7z7bgy8PTucRB1LdziD6ScmuojIqxm8soUlYWOtQ5zmoNJNDDwcFh
ppd8SRGH+YTb6WwINDBlwccki5/si62crcfXFOuPWFce1qdvfGWleglb72LBkcooxzy8iYxz2CPA
h9iRs9H5zQ1iKuxebNnsENPnOm4vciZj1jlekkcur6DPckD6XDJ4xD05DoFh1+mHkOtO0ilQ8CYH
vbxjNATQTuuwb9fFQ4qHkwyKJlLOjmQvh3SEVrSK1JuAW0v5FAHiks1bhmxbCzuRZkMyT1DATgjL
fcioRaTjGQ3LhPOT0mLokw21JqcejIkF3nqfquDZlNi89QVWDBqsFqYPGs7axbdfzKn1BOJ9ku3p
8zRg0cThjicLx/ygSwsyVmZj22nTeM+S15NFb0U501G/1HOJCH84HxEw8ldi4colYoHohB8hBtnh
SXxpVD8THvQDTHluKM0XKoJXE5AZE/x5abxF5RUMC07wGKCxB4ix3NlQiMM+mONDmVVYuxKwN/O3
A0PuYajwN9505cPwI5d59C4ZLgVPULguzBVK2jgzEEOYG1oEnHEKTkOObNrO/RiuM3iDuHgMpwIu
5nCv+3dag6hBPjKURxUNV6tj2r3KNolJRihsYrCOHFr22tNPiZguvR+GpOvhUY9vueiuPVWgRQso
YrSEchfeSqVAroG1xGSg950O9aXO1U74tLcWp6q6mxxVMyCpw9886XwygQcwYXQYxRDLQUwo7W9t
vSw6jagmlE/WTYrSm5jblCENbWg7t6E/NDVUwiVeAxachNYstnwz/UbRqjsaoYIpY/8O+vqh9ReP
pgRKvT5ducY69z2LMseYPuYbqNI+RNqrHN5dSdhJ/bTqLxjeLPPJbq2LqZ2SyHc5pnM0xVpSw8Pq
Xao1zSBKGqw+kRHeG4bTlyRMHoJVYQInkuZTANK3Iqga900GpPf58kZ1ie6X7h7+rXVPc+mm+EzY
MHqXROsqD+l1GjY8wDGLIsivIo4jTFYMMjLzkp9U7Ez28UkwQRffKANTy+XTBdSxpmmCHOFqTamh
GjeAGM+Wo1OlJdBxkn1Jq0Mxl861foHZcnuODRdf8XVPjYHJKn/ODkJowogVHTeeKytL6V3rScoj
+236ABSSYfjnV6roHNc6vrUaYZjlG48nkjZVTD/C2bM2XkbFN5hMOPcf8GkhjeTt1okwWxl/5nK2
4snkLkBQp+2LYNy1RB0A1908JGICpavn8cz+cH7Me3Q2eLzj7/+eNN8797so3lHRq/BHfajDQc+P
OL5+8AsId8kK1g4F8VZEhkuBatLQDPRFGEstZJnefuZijPozp2Qbij0lnCVyRj5rM9h4sNct8lB8
vULZtQ0tyJl4UBQrdvoy6dGQKBuezk7F/gVrQh4uBYRWEYjp4mYYW+szLOqPaTZpUejPjeyat4Fr
YYrEoBJHaWYJ287CfdH/VASGi9K6qKma2Ei0/Lvj3mTUkzihQ8ykt4m1Uzz3n7txF+MxZvluygQZ
V3moEUqIrMXGjoOPneXXGhko74FLzpFJ98zOTsvLS9A00X2EeJzG5yrEDQUkIByeLSa6n1jazu1M
zeGYUZpX3pM9s2Iz8QWmoAENJc8fNgSgjDjMX1gOc4fEbXvH+FtWMvHS+pk2SWdZsoeFymNeWqCh
JCl2i6z4DgIma6Jj5d/0BCpSFkrTMF3RahXyem7lBx16SG7zLk2uATsdocXpB+uBxgWw7kibOrAy
gl6ce02txsSwZ7C3o3cfX3JyafBK9AlobE8hTCAcyAbo7LT28T+ezZJjXVDtkE/yruKVTmNR6jPL
F4Ky3fCyCA3YMhkiYQb8MIfflq6NbpNqYsjTW0uRzIc3xXHLBsGLezFQDwRGxwlPAHd9Yx7ZPXmz
UkxLlh5GaZny4iOFis/ayunzaGjpORsspKzuk6sKdsJzTQ1Alzl3WjyctL5Vb6LvfYw7vw9e/OT4
Ejin0UTQ5hKl6aixDB+fLszHmgdBJgcMFgApqjWCVSBgPycWEeN2mnVv27+m8FcY9KNoXgK8EPj9
po9eiuAtwQ5PJo8TjiOp4Wb85Xy2fAGmFJxL84M2lqS/Qslqdi3PJceEdhSC4ZGVj0B7hXRA6lS6
o0U+y7GFGECjHN44nLDgmbynL1us3vuAOEaIzm8i4RbZgxONmzI/LQX9Lpco+BpikdnBwez/4l5f
o/NbJlowM1EXNItQz+drEYKu3E2of/+VNli8gvNgU5IyOH8Uw0X1ZDemVw3XozinUSx5EJL4X0QX
St53vJH1LxZEzf30TzVPkoobLX17+tMgbQK4EFl7rCGdjxxz+3mTBZEQ9KB00/Qs2aPhlRL/Vslr
ue5RAD3ZSct5531UnLAmpm6s6AYEQPwYYY8QDyCq826bs+GIGJTNoG9mz3sy10bmt406PjFvlrew
0+C1FOBq2V8466mGO5+B8WmBIEJE3YxihuwfuszJnv2q8EJEj2UzmGSnZR/MwJQAgbuNAzw3DeVN
+GQdl+KVgNOJK8GPsUtwYXiuqvh4qwJzvuy6/pVoNlv3qBKXTMsvbLlIBZhIYVPfzL8pKvZDC6Ux
JOGbq0nspzUvxHkVTjxUXNAI09ITiE80LGALbPP6FkOc5upN7SniLU3cYiQTXXsy+cgF8SA8HCq8
0Olf8YfDBoZEKDJxhiY9OEIA3ztEosOq1K7hLdu0bB5zEcUuoXsIUElguoEfqY5sXlru0rx0OSF4
7EdUlAjsodbphXPhtO0/05iwgXGe0+BuR6Dvmc9xSrFKD9nJ0R8Ic+o1V8dhW2fAowHOFAcv/Shr
8YDVa6kfBFgcK4WVyO3ItBd1Q2m4OF3DQOXaYB42XFLkKjycRL1CTgRyortlN5wBrJBGgIpQgJu9
LnkOFOrF+U+4j0SzNpLLblj8mVxKM/1omP13VMXcwOLRI8ykAvOjcSmwYLYFj0wKU4elXz4AKO3x
pwPHkilQ2D1klgpHgsRuIHO55kvCYcS7w8qnKdMba+WQxE9KSUpQXn+E34g7CbrPQtqx9ejtEaHf
EhDxPYxu3CmUG78Um5eAjYxeebjNpwF3tMI+MGUxF4f59yncN5Eh3rqElapzTkbZiguJ8Ju8A8Km
OfazDx992DAPNE4SzwhxdtzJTyuIV+EJIuMeFgvfPuM/OZY+GSUqlwDcEf+gjp3IVorvBEfcHtgp
W7bDnwVzwoInEPDeZC7pCGSqR2jn2S3HdrDh+IPWyOCULBEywoHQB/irw1rlE2hYvnjKtEpn8/vw
c+odESwP0ChpUR5qK7HUYVZioNp/KgFLc02xWqFMmv6BskAnYtvMuN7pKsOpEKYGooSPHlgUOgwR
IhhPJFRHB9AbMJhwrTc8D2DFb70NljjsoAUG1lxWzZeMBFcVUY7A8/DWEc6hTbHHd0qXfgCORtUZ
gdKoQrKvMR9xMkVE/u0J5lqndnZibMzjm59BEDEcNrHsw4pIoc11EhARNq5vMYN1b91BFDXPhIzn
qDGwdfnyk++p3HUFDXp9Zs4/CB1bp7kzGInr4j7GwL72e3S2ixIzXK/Q7C6LoT89FWrrnNAJC2PS
+pY18qHJf8a43CU4XEMJ31dxfiBmYWniztg0h7Z+paeR/loTfZbfYhhAPae9rmNfnTx1w51Q1mBs
r5arzMOKS8HF3ScIkfsAwBXVmT17jrXWmouVYOEj9TEq2MypRnojknOgv4TEgdYvpehczGDw78Yw
ca6mOR9pD6Sf0vucAPEb0YBL7bCDyXMhVJGTtdJZmNSXke6GZHEhesYfvE30nRb968ERjO6gK+GB
Qf2iBm3v/D9dKOxepR2rkOap8m5IcnLLDx7BKxXiUqQ4HctoSuDn4EqOMlk+JvJNqOR9rtVcnks2
YCSSlzY2izYoj51Q91rDkdi27jXPmZWVn7wzkh8LyUb2UfrY9xSrqSbDCKOMBp8EHJ1T9KupmzCP
ZURP9qaX/+tSeK5rocGan9bnKOkPIYpsUQd2ksVlXGLGopxxY9RRCcjYa2bSrcShpTF5y+R5h5d6
JG8Pp0tGF8oWKlqxY5YvpotpfET+XW7J75RO1bEd6w0Nmi+fQQ2EFtea8KBK0UrcD2YJHIQd8wnB
jjOa8qb8RFnne+o6iZiMT+jaZ6Kd7m/KYB+XRHlliK1X+Dumsr42m1sRh7ZmiAi0fcfPP3o/X2B0
IKtuWOk7Gq69Dh8ocE2eS9kK7QqoV4if5hS7Rt65bHsyGXp2G2HkjLlPF+ORh3W2xlnOBmci2xnZ
rIKvST+zwTLGQNa0kPz3fCpJICMy4wsmArTpBoWfzj4MjC4ml4j8ZWpINkGKXCrEjqlPkux6dqiQ
435eKGQ1MnUlnaPQzwmFKF9rShr+6TliPerWuepD9qZa94J5RTIf0oe5zAwKJrPmRUQ3QcGCvpi5
S0/KG5+D2sXkj+a6a0wuEvVbgmLWib1PKrOB03aCwRdP/6gl8HlbiExoeMHwNp+rqGEOnvXJ6TvD
8wmVSjBcKAAsqls8bP4GJsP/xxD8M+gFRTyTJkvuliaNl4Tae/LfGr6lQF/lJaair6vwTk4g+Ab1
Zgmxm1Ml1w+hWdlpPYAzs50XKGwwf0ddZCLAEBClqXTAiMLnMYrBi+umD7hwaBJ5SerlNiE2hHpI
4t2JVXq8NaROWeyMAXuqxXvAhrMiiWc2hAE4hKAlhp+R9JHE3UGbKwlKqrhmI03iG+dxOvzh1cbM
CbPEmd7zHIenQVBL9WdwNk6cp/REIJACdWYTn7HKkIpvpeOhYRzAL1CodbXwtwtcmiw3xuWBUtPk
fC4wIxlnWgMm3T3arJv8w8vQCR+64pvpAloIvFV/iBZegVRz3t5T0DbGfgC2C3bhwmL7yLfzcYXO
aeQ1poRmwIIstpPDkEKVY8SOb2zxHWBnYSChHjE/NhdB8Fa4etADahhnli+dcPaVKvWSAERrNjPy
jIgX1qfGJVTG+L6MC6z5en6k2Pf0ouMuhGDKvMEvsTmOYf2pLX5c44ZeAYnl/HbmRgHZfgH3O6Jv
VKmEUc2rBMOUdbOCu7PCnBqPqmSfW5VtIYAbZZNR/IjxHRJI4ytB4YnsbFh6MeQd2sCgJI2L8n2i
1w18d2AEEry5IDKqyKl2qkPZw10HeSXYTUJUCk+Ms3oRty1GwKeOrSjrZ+PtLCbfN672hFEzEsQ+
jOUoqdAw1lpcupoeQTmhY4CqBj0tw0hW6kDRJJxBwqU6/fZ4QCPS22R4Zs4zDznnr1DRNrKCU2Wy
TbVxWwGS44hVcFpCsJKAHlA2KvweCydmHx3QjL5SzvQixkPNAWzJSWVpy+1PVhVj5wA7ZwGnkElo
b8xiICQzQPNNamtY+9hlJqxLa7qXZHjJ2aWfDSz/iukOCEmlLszk0BGjIrwi5dwCR1qqmboWZDbI
2eBEWQcB3ikcVRWYPspi8lo0rFCt/RRiyZqwSJuXr31P1WMyBIJa4N5M7nCI/0H3/O9/qY2Rwjet
TsDcK7LsApoGnCWpmmGgdh3U71rfKrDQKDJQyW37SncHTcU7x7KTOqevc0Ixv3m0cKYrhX+hwGFZ
lcvSChm+iNsBvGt2XRrvpUURGDJdAPUvzAorSRqCBC+9qPyioQgyGeellEa+POvgROYMAA/+Bqe6
cmrctMtcgdhHdEn24MnbmnzFUVFIfBf2coc3vJcCCnBzg2KT08iNkHsrE7yoXyVatOp6gDlrr5ir
/NZAx2VQlVx6AdlLsi1w5+eRFsGopQVO5rd+Cl4FJ8dNjDnDRndu6oTFDOgU8Y5KTUd1LvLwMx20
qH6t/lA9On/LoG7CQpj4H02WIBj/RG4LzC2pZCvL8KJdLyiPDYNDQlbK9NLz3MAcot4pk7vkz5dQ
YbrGDI6AWWoYh1razYd3jpgMV4vaxJ2ciCcWRViRw/iR6ptQRP+Cp2sGRunEJ5XgDZ9gFvaDoLgy
A1hGprmckE1SJKowZ3BbkKJHonsPVVpSFg2T6ir+LbrEw1tCEezNrvbTEqMKByKh5d94MwnvCTWp
lV+b7IefMYBk2ViGfOkTwcO3zpPGlE2BmznHJN0nyt4Jp70WwiV7EeHTHb90vjgFdvTsFWK01KTx
kFEN/xDIGpJ4RbfbnZuDEryl4O3HxaIEBG0eVXJO8oq6GO/V8c49XRqUv+bwfNfcqoZST8atUUa3
HXuNA58+HJ9wjiKXACpMXjmdHS3HtUuT94L3TLmQLaPQpljnDDTLldcEtEYoeO/jvMIjMM0bt9ca
LhTeGvxeSuIQOI8fgHCF+TXBS/rs5FFBFCpZxr764DtDBjbNYxx/tfBP1rNTOIXnHOFbC2FcYKeW
8BMp4+VAWlGRHA1gbbkCW6Bl7XBPyxYV7VpILYsJb5T84+oF46XudeTY6NfYlZTMcjy2FOIGR8J0
2kAlPxyLkvHSwuMJsAw1uZtYufHi1N88dDL7CqVsL/7rVbxlwcF8CMP1/P6z7mRm8d5BTJ9L14B8
hZ4xDMOkCL+XPEELk/1IlNuMjwg+7FhxygiZDu18BMfglaTdocGCrafAUgKCvCZIqJQUOWILuAdA
DqIufOCFuKBYM4mQUTRb0dlK8pOIG0A+q1LCTWPaTZzuuHfD1JB7Aq80QsSBiEfEuZ8ReNpSvPNo
KasIsQp5PutsQukHAPSCLGTgUdlh5999JTh+69kBXwest/AlB9hr7VawTcvAMavZ+jLa4Jygk1TH
UWbcyC/8oxW93ZGeBTS2w5mDku8VXJSAMAa+sj/zFSBuh09lwnKVqgOGyLux2sj1cOytiZH9c74f
wPue2r14rqR4NU8gfGlWGrXgOfHW6vMtTbNI0ge3z+y7VaxtM/OcIocGqSFCq7G0Qwyzp+jwWwCP
kxeGFDt+QHSyqF8GcmK7Q6s1RzP3T3o8ncTUPxWPwr/psFIazpAC2Q29nIb9cDyfvvDN853G4CZ4
YyaiQ/+efVZhbAcN7q7M3hIcfgZqOiBh8wtb1OYZBfekxKIL+yfkrqNVujEC9za7mOk9p8d8+/9C
kTQBfMgoCOEpYruklCQ8YuZGQMRK+hPklLHUSB+C/V34p2ETHXCackxAEQM64MOH9J6c66mSnUQU
uaGJiq2vHeT+eHLcMDrN+8mxqppVUa4xbPPqVyPFxwpuM7siqoFJYUEoW3l8kwEZpAQwTEuNcbKA
5lhROohQTiD2K6z1sUbqCDyWHZ6lAOMy6oW2X3ePSuowOCNSJ6svlhJf2XcUaiFIHtpfz2cZlLWi
3yo8Jeha/XCTUSKkuEpMsU1gVpTj1WNqhyb8q5blGN45XmfeYIQHL+1mLh/BQbyGUHQf6SZK1B2E
4X3ZErEI471tRiz6kA1hDURdkkybAmOgtEIVwTzWq7dsmw3/m6fd1WD6DSb4mh6Zm9rU0BO3bnpE
WEKXBKIwcg/a77zfyRixY8141S7iv3FQbC73ItXjfT28FPxcRFGHnbSABxGP5LHT2EAFxS0ygDPA
ecqou9iaybKNGdYEI0TH8YG732DgRX0qkPoxneTuCWDy/Bdb+VeHFVB6GcLm0oTFZQxWplVCFhh2
uXSWpuCM/eJJVdpjftZV9aoav2FdLDC3DIfwoVcdQbUkk03ydaqai7+s75S/BAGpg7xFDLyteKO6
fFYCjHCw/hBJ6azwejPiX3GfBJkb1fVWFn5w2IHvIm1w3+4HdHRkwffSLs+k/UhojTR85nF5lHla
hoxh5CaV5jHwFJ/HQN6MDDCD1dzKF26ntx/CORq6xUDkEc8ogza845ktLMXGclurd2vEIwV1Ntm1
BbZULAMs8hfZFy1jHl/MZqHGJ8k4S2gphOiXftS0hkMg4rHYFDsrDFwPeRb8D8/Bhtt6asirsCAa
Ayb20laLBLcJEQlBV5UPVpAiWEA2Q6hdLHmXAWITyp8xdhp2axPxfDExDfsxqDpjzovSdPO7HPic
rdBaII9H2Mbg0LEmbaEr0k0svvJ8XAnCMfPxR1AjxgwECxLTSN7CcopIfbc+zPja/urG7xTirh4c
61+//8BiIa+C01D/TsFFxHSl8ca1n639nn1wWZiW03zrH6JpbEr1ORJfkFCHmAgyMrKjCQjVcfwd
80s3pzcK8G1xsFKkdFNgXeVPBt5fjK5wBBiA9HtG8auywv2NTKJuK3ZkexT4WeTiOvTjdToDz0wc
iRnV5jQuhNvtGivHszAUV0mYblmswo+UHb8UH6GUPonoeHpC97Rg0y6S4GCK5UFahip2K8k5bSs3
UXjUEu3hN/W99cimZ9Mqj77+NjoYu8nebFaTzgBtPNUl1LGgxhQDK+lkJQWhk7c3t6bkCLqlVuQr
SUNwX+srq3pQrzeeuBIkaxXjM9yMzRrjdwvjipHiAyH8oqb4o2Er6Yk475v2y9eHfdgRnoB6w9dV
KuAFRrRbsEFDZ8TFaD1M71khMt/7l4t254Hpw7RLL5V+LLx2l1K+Vzjn4UpEiZS4y3StebOYidp2
lU+/KkWDOT5Dn4cvvZOgoUiM7RfKvInrl5jQn3VH7up4yT9pfNS9OCIW+k/shv1ctYAbW+cHHX9f
UUbotALA8XPigAT2QoE63eR4xIolVpwGzCjQWH3dJqkws6BG1oH3vCKGS/vbw1XFQLucTE7pHSaa
i7AlmtTNu3zdk0EXYe9oVETuMDpJIgI+5GQT+a+ectyMPofxQWSD4+OEV9XpJtWHNT6s+TuNRmiP
i4XR7DFBdQokx7iHxtOa56KB0hQYwia1DFSNGJW2+6iFoJUDTaWLcqsBel/qIifwLHd9HEyiB4S0
o9iA6bWIrGz9lBtO1SjceidMhK2md4dQVQ9peG2mU640y+jIJAYNUXaTWvkal2R7MSzqSHiL8UjE
qqAnrahBEJVEeyVv9i2NcE9W9CC4ikIoHh68HaGYGcbCNTZriXQeh4ioiD4jHL0D7dF2BSURGxej
dEZiFnKVuFupHtkv+FLrCgEYqYY1u44bHtMXUs7xWaUd9Cmhu2qhkCiQAeysqwxvgHjYiG3leC1O
UIiuWqBLPzkVfb4DK9vFa42ivmaZAr5pRN4if6o8wR1vTEhtzllcIeJ/VnnlHic9vHPc8sUVDphI
xYui2Ima6IqQ29mPykObJXstgHx+rWi3x1tPKE9RpKsHFmJ1p1yCtjmDDMrdojEYS0g+St0L7531
xIA8FdeWKmKDUG50cixYrIVGHhskbMzZhHgDpD8TAoEPF5jeRPgjZzTg6JKuEMQENm2Nqolow8ml
hNJvAXN1xSYb11FWo3zOAvprCCvkmcshg23HGutdrg0uf6ioF0zr1oRmrak91axncgk0qi3gQbQS
VG8MR3c9lo4ibbCKgA1D4fCjmx6YROj63zTxSlLlat+J3C6x5kN7yu1QVrolLxKnUOHDSCsLn41Q
ukmZXdf3wFEUVytmQWewGSwiESgfNYyxkuY5mfZgRJsUj+WKPUqyFom4TPHLw7lTCD6UOqDZW6vj
gNDM7q4YOiA8jcRiHZD+ZskbV+n2ZrcIQoOgF8+xQDvwaAh9x/qbMG/p5K+2+hzIxsJDWG4uRxNX
/mWpkfkMJQ7hxERb8aPiSg3mgmW7VB9SL9gPx1b44YVSSlnODgy6jGGhSCep/5GlEvcQXNZ2bgMS
aXkinpxXyHIq5EHpGMG1H74FkCQLk4EZeFHcOpKPSjNcSHw7aWpyHG8qQcwABQt2oxLtcW9eTZ9I
9D2a9cyDx9ps2IkeQvjR0huqLv8mfYh/QJd1Qzjp6rLyMptDKmKdNP69rm083jZ+tCiu+jpI+4P2
lNp5xI5FfLlttedQ/XaaetO6nwq2SeuOSrabr7GK3VqnfcolQaVv0/ofS+ex5Dh3ddlXUWgsRMOb
P371gCAIQ5Mkk+lqgkhX8N7j6XtBrUGFSvlVJpMgcO+55+y9tk90MD9IqqQDWUZh/WGqKb3Y5aSO
IeGW404VcQ6rwdLdtPZHsdd8CpjcWsS+N1xjlVp7/IJTbncxg+bdVH+E4xCoy7MsfKZm6ZkYu6fe
saJ3LVAm4zLUC5csvszrehZHWp3nVeTMnQdz+NwxMpCF4EOsVk5nsnLJGguSI2FEOSUlbjgtDU9F
WFxkcOiJuVzRxIIFn/FJoOqvLqZObCDxb0sLnqhrUCzSsdffrWVAN9HRe10DfRGx9UiOrH9nZgGj
0zjJ2NSqnrb7bs56ekuuZORHpe6OCcdCNVz+c0R3B/61qbzGAo0X1l1RvzfZS0E6s14KTqp89Hkg
jeuZU8FNy6SDKOQ/baWwDibtDh2nBi4rkpAuoRqvTczxcxDnz2kTnrKYCNOlOdMYYBkGowMb4EAW
iFy89KMQtBHwV0K2Dr0zd3QrA6PkblSOUtSdv6u4e9Jk89quviUGk74yHi59k/AtA/CeHnmyodpT
yhEgW305IUOpuuRH1AC+pJM58CPchyh6AFN3WmmCL0LbCM/NYAS/ab8ei0oNOgWTzZj41sAJFkSX
aP0oZRBJSRAPpC0gDYulMShyZrY8COrOrIimgXRDQqSUkp+ljJz27bQkZJYtobXvptFeJ4315sPq
tnrKNF7VhkNHB1VYObBFS2aCFXV2TYOVnMivnk4Qk3oR4h4mQAKwQzihqa/DD0OocxzSkCYxn5H8
ispPhdyJmUA68fw3+O0BVA/Dg/4bwv1rE3oZzKHEtZrFZ9V1+NpCUlrFoUCgasH2z9VLUk6wUh3U
mRaI8imZZVawC86+SvltuzvR00dV/Zast9TI96MdVoXX16TQTCz5HDhoM0hySYoWP0VG1iSxjBAo
IJDcMjf9qZFaNvXqVEX5aY3PGos++F/NfCvLi8y22cFWB4ZxyCyd4DdCHpvZtTqo1Pg8I/Wna/Gi
fxsLhLDuS6muZd94kB6WhNU0qY+L1cOziRy67xA2mR8mhDC21B2YtTuF5sm+Td8GMfWmYQCeSKIB
0mqJzE3Ssf2UM2CsbllPvxSXeEFjTpSEL2upFpScR3aT2p+ZPD/JaHwmt5wsm02SAt9rSCBI6TXr
eux0aAAWRfZVeocYeYqQQfvqjULld+/oeyRU8DVN9l0MsqZF+K3puqfFNfoW2c/FCPh+G3QVZYJR
25qIOqn7MnvrkLV8bLdUXLxBk72ZATbzf0Rmlzim/2HgTB4lslMXr9V39a7svmkWN3mNwyZ50xXr
JeYfNd/E3Hip/p5V3Z5eodd2Eqwh6jGs2II2vtcarERSEXbSBFgz6UK3j87SbB6junvq2R7Vk5D9
7QMAG8xiT+TeKFHsSwWYyASR6eZuUwI64ccl0k44is5wxvTnAmCNZcKAoP+px0hpWgH+13JVreJG
EMENuP7UB+o6n025t/GMRhNrGsdu7TCTIhFNMj1lrBQy+rIIRSiLVIjbF33hWcQDG8OMKE2IogRr
4IGVWRC3C6YAeOnxwIbdO+K9PzqcJXVAKXTqUboxUsUKR/D2ISZ8VUlVcnAWXDwk5lRgWtbGz4XB
1/gTjZM/qspllwJO1VR2Qe6jqe9hp2YnBcx+CTutSFDH8s1NWeE/785drZ224Wp5TlmQJaJSl2ti
JaAibvqTLOtBGUH5oYyc0vaaCPIViEbIZ5BItVNF6a2Nrauc8sD25XWOQWojFOqfewzk0YThd7yD
4N6Nn6pIm23p/UoG88sya1XUCgs3s73OKFAJuugr9Mr1uANtynN+1SF7l9290p3I8iRi4sdauo5I
ePKQfW7EJdqNJ0vyVHifEifdkIm3hBuhGKCPiHZHwVr91Ub5Xj20XLvOYW3PaY/yvplveTtfa6F4
Mg9aXp/lXdkS6OxWuEgHFbcc1vSRHGx1HtyKEW80BwyUSNzMTwbczql/dNqMGsh0a4MMEdJz8xlf
qloGqxCiwViOFnnXWY0+DnkNDbQk+xh7cY/9z69UyR+Ej7E2PtoRBU8Pb6X80jI0wI1+tQoJhZI/
6ECJJr+bUdsyzY3pCLdOXufIrCChEIdHO/dgEUukFuohZujSFg2XnShSYka0l3g0nKGiyYLyvh6f
+rPA1GfRpENGR9hAy7AiwUnZ4M9Au2Cp2KwVWyeYKQ4OiE7TnvtKfvA97PWRmbCpq5dsxGUCnluO
hX2OOafpwY0zSjZjFojNyliQ96CcBWTKMfGBerreiUhj2wTvpee31oQKDoB44NXyYkFAKrauwatA
b3gRMIqhosACEMdFEI5ZIIpfBXLEbCB2EFfvZr1FWtqn4G7+anX/IHriYfXZI5u0Z8NwRrJt1BqP
/TlsWYnNhKL9sI6kogS5WxjrLhy4E86Zku+8oUNPorECZJeJ3iiOJi83EtS0gMERfYV6h8aahR6Z
p6x1fsT3iB3VxMRxTq/fI6V5G0daROK5aZzYGQtjZxEC0i1MaGVAvVFzQGljtTr5TChr6sbeBHGQ
kDw4XdN2i+CCQTWr9wbqnm1rA3BVZliljJ2izyQsHaXmj9aoxyGLji3gEnPg9XbI20LUiaylBQN3
RIoRQ9TmLY+FV4jyr7FeviSK9UxX+TRXL9Rj19W0Lu2hTfD9k9mboWrjw3KsknTIEVBQS0lsD3RD
LCtxo44Nm24IF/eQd9BeK9PpxfoPmkl5ASnJTRCXp5E9pXEalQYifmFzWpjHAlsa0D1EmZv2+3k4
hznvhQzjXSFOrogupPJm+iesz85Iv0s/CcJe5K2qBsnK+164U4ifLXM4r7r00bx1yYi/RdBO+YoG
SZuPPXWNdNWmQIfekA2GZ2bMUxvZNUj7RSGkGZEnioTI9/iCxcsAanwApz8VoxMzYNPoY8C3TyYm
g5E3k4WqtL5RAS6UWegrKtc+/rGq3CUsFlVAf7JASndAgQb9Sa/7y4hByjTVPcO4I2G7xyqskN3j
mKyJy+E8s58IfTW6lBHAtQuy6XtQ6kOX4K8WcBP8LsbNKLA8YBw3VROszG9VWUdCMApU8gy55dyb
otSjyWVncC1UTTzp6nkgKI7ZJJD1It/4OZyeVZOwrmu+yCdDMo4a7CAtuVL5YxoCmJEqgINBrK75
01zRVg5/21l0axNLVKUeYSoEYsXV05XHUsYsjRxs6fuRWI51zym+ImR+2qDdM7W5j7F4W0gkiazI
GfDSku/+o6WQR7cEvNwzSMpNcxrpc/xN/fG0Zmz9hCkh/4CMXxRc0Clmoo/qZPNY5+g9pa33l6w9
8kTTfNSG9Gok3Q3xZkECThKrryVxBsvbvGT6rl1wUGUYOaxJ/GvM5hc6RSEKkFck6GE6BCFGPgbl
RK9seoxRHRgAgHLL9BseJYY4mWQ3rUY8uSwQkgZeSeIiCqW9FtKd3FrmIIPqDzLiztIHkIizO6yi
YwPoa6C7h4YeWQICSDKvjIU1Qpt50nCmvkeHjQMgEuqgrpwXFAXNG8V/P58mQlsyhcAc0iCE8Ta0
ISzyxRf4drQSnEq1HaGlpc4P/5uqmDYz1XxV4vmV6ZKseN6ItFEwMLrwpwnhRhLBMK6IdifwHSHM
KqSqtbXIe1MofLK9XTRjezF/X8lviqyPckKSXDfPbWrelLC8RjFL66pnJD6sZ6Yyp3XQA6X8jJvM
U8fXte7+AykAos6V1KkNFcldzb8islcDhqVOJka9GNSh4iE1tJcG0mAPRylUz21v7gAVOHN4N51l
uRcZbjP1mtYV0ZpY4BmFvtuvZTz4iYTwT7Sl7CuFPG9a+4gUd+IvPf3eVoOzKbPk7cHbYxAAZdNz
x8oFV+kyjrnfHXH3TnW764AsyNHHbeQ70/VlqvaqsWuRaTV0OORPsXlbtWvdm+7SCMw7XlhIj1Vi
BVBso6eVoHhVD8ictIrBb7h0xQac1C248uH2Y4uoebHgMZFdKnA7L+weZYfZS4pdcbk3UA0bACwp
MrgmO4ukc/X5gJySwwe9HzyE4MMmIJQi+EmtOM3AVYgjUPKPIn2W4utAHNKk0pZog9kqT4t1HSrG
NJznkV7mibdCgzRZQFonbLFtoywBOFPBFhPMp80M0IkuGHbWaVINapS78o8oLURvTHamrhdix2oD
fc7m5ITxDL7bYnmZSVoo/GS2YO1+jQqGK5lx6Srtq/I3xDb/HrNLU7nGrj5KB+Fwaw2HqtN8Nfvr
FB6VlaHHgtiAxc+EIZ8rF4J39xMMDgUOEKucJCJAek3HWzX8ynl5Cud7E7fOQL+baIZhcX5McBki
ouH323GpAhkYimkLPzQ3vUm03JANwcRTk1XAIZKd8rOynr2vPDeD8agg4oZ/x1jZbTcL/9ODsUE3
1bxFG9hv+8gEE1QAYVkCnVepOqhAcCUOiXpgzcaBLkFzlMYHZC5I8rdKO1vcY+OIAyhXnrMeUpI7
zMxCiKEHuckSwReM1GnD5VmoXgqcDCwCUkIoQ/O2hPW+VN/m9JLhxd7PMZ4KHWxP3jpYN0EW1NND
5wWZwcyC50WEerPG7DP0m2R3Umdpk0sb1vW4u/AsLST74KktbSkFTDz9ppy8R/QTuPy5bbvnipoD
kXWeXXvxHf95cuhQTWNjQOi3SdAWDyiBkvyg9C2j5+xgIPIS36zs25S+SsQNnMRwzW4S7tzd3Ecp
jiXkoroQOTxRnAxzsOcePQqgtfTzBE8aI3dix1+K9ZBK4wEH6GFcBQdpgeREuIbpvxNtpUxoioFj
r0Tb5XBXgG7bKnlkemonmCRwOq5kBTEqTimY0KIrPJxqyi3q0+PBJWR9SGDUpIgjItuh5mskh2x1
1EYm4ZIO7F5ayq8PdNkoRi+nEERsfpYmUuEjL5t/kBH8DVMos2/eSHS7Rh01PNH3JFIN9tYmbcWM
Iuyf4/rUogxXIItgPuI3T1EotCTHyli5q86JJw9L11jDb1dZHt8200PyHGoNEb6o49knKSM0N//F
VrMK8UGwXsP4Q6lhpW7Knm+j/dNnr/gOOmT9WwKdE1KW/se8jz9L5K2jLEZ7Y1gUQoAU4Vlg7HmS
EEgOGFMMfXie9D/oedNy9okaVgGblsNTly23NupuGdkxlsWB5HesTiZCon591wp46inzdICm4q4B
dfNnKM5xKjzWqHqJOLabSOl+kem3Q39I8N2peHOt6WFA9R+Fvwb5LeXvEDfY4zN/o35kz+ISegKl
b9Yfeccrw8Zhaw7WEHkRmiblO/Y5F/seJHPGs3N0rVCJV6blNnWLUslrpfcWQjqD/FxHn9FCe4N4
KeOiIt9E5vmFEnEc4DdN8q5/WZNkB60PpC3LQHHexDjIvlETEfMRbBNMdbyumZNv3YjKVupTor4g
QWPT3xmbr/EwbYZjNswV4YXKiUx6T41r2Nn2XHdB01pBSMKGShIRxwKyLvWV8OF0XyA1IxuDb6pp
CzBsarc81YLbLAkIP9FGnF2mWyFMkxPN08qvJLyZX6pXp7/M2ZGxEsG6xjgx36F14URgV8cEGXGS
MwjprbDDAIH9o6PIIyGZi2H1F73er0kgvcxFctiGRhrkEuYICZJ0JD3ra7IUKGyIMofM+q0i7sJD
Tf+zfybXa6fEzxpkldrvag57Y/uZMIBskbKXAa/LAGHBGxyf1OG5mPSjoWVn9Fk9D3pHvVLZdSBm
YsBRX5vPAky5lNyaBR3G9FT9N387k75DNEXRqcarnf6OJJOJ6A9ify0xGJ+tInM0kj+y6cKQeLf9
rhODOt6DeSzLcG90KHLw4oUcO/OIxj7ON3g1kpM00m5iwrOwp5UklbbkoQHDjP+g2ohai+Hx2fod
oWNBdke6blfMwPinyPYi8Tde7AIEAWZAXZA+V8Y7Q7s4jEDwJ3JnRKk9bYkiBqkMxOMAxpogREPH
+8jGhTM1Xf2JOIWSqoFBMrW+25gsoASJSL6kPfo5t432F7ojkQwkj6kz2a4vI3PmoobjtyfN3Sje
8mG+5quBZ+DtRUZnquyqYbQnP8k+/yMIN3/kfQ3mCgceeB2E14eO9XyyPFpNgzCfjZnT8U+o/2Uk
Qgi21L3mcAMSzGvYvilld2H6WWh4iSD/ITCvR6SMjzh515UZR0EBKEB1M+0k8Fe5SdnkcAiPnJke
CrgPaFpla3HjvjViQRGKlpQxPtFdSHxv5tZx3EXZp5SMjq6QbfjQ6qNdEPsghrtlfRa01BVAoQlT
+94Z3OZt7tE1Qf6E40ZjMB+mRHARNZQj/OV6cQfKI0mP+q8grshUJbvKLGdsZGSFH/JJPBHnSJtL
RZVNVF6yX8tnuxpnr72MldvyuKlR5yVo6YXmtyX3jADA+qijtZ0s5diBMDS5LPTXjZXBboWU3K+G
JJh70nPaD3m1uIFw6KWfSYKoY7LTkQyNYGCcp1vgJGMk/xB7cXlIwCwMhs1iwitdx+Kt0JnWfwzN
h5ZPdsLwQ43nH8myfAZTSnOV1EcPPlkH2xEdrMAYJBftdEnkRfbCewjjvSozZSJpOgFFu8E35s85
ZrfuO6YNEplQhMFEXyQG7fSDbiJUozfTngg+2V6v6MELvehMd6TQ8sxO8FUyZdz6IktEyQPYaLne
q3hMk3NM06nebV8n48MBCBLFrjYYL0geo9GusUVo/ONKQDBas+GDfBO1h8DYJkmJTnpv+Q2VqD7T
WOgxAhn9i109DItG6LrubBUCtgQVCca1LpxhU9yy/FRc+cx7uJwCm7n+Iym3be48j2j/KvhOMkUr
/xHKLj+hxvQBnjcu+I7PZU9VoFt6kM14DOCxjYS4Ud/lZ/gARnUsIppy27DgpoH2pd+w05Npj+Ca
SW0/mUHyo7MNIgbpeSe0kyqWVdVWMXaC1JznzzHzE+0vra01fyuIZaRdajchswp3kjXiSdKbjtmp
77552RhztBKY7xrjcksBbWTCYjQPFtqoNfP7zJf5tTPpmuvlfhy+WE6zajz0HJCZSpvlw+x581yW
Qtd3Rr3RMonlSPaW8a5GriR0diwj+MJsabXerHzU3Kj4ascXEsXhAGI84NNVbLSMOIQxsQqfRYsF
cGXGXqGGXey2AdF0R9OwPlk93DkdJOvb2tK6BkH+GtPmbJEuWYwTtJrKankuP2W5xoSkc8pATQMq
YOj/NEnkaJtcwFqDDHG6ABphoHlUMU9cE537Un9Vhbs+NM+MSokkC/1KkPFnMqEsmRhdrDsZPiK0
CRVmdMccKL0oGosER1kQBX4nHXqFghe28A6kHVqxu+7DjLumleHXxoOfNZkYy0iYEMDVr1l9qDUs
cgBdVN2buiD+ikOZUcBzZalux2JKV7RkPZyn5bCoApeDCKqRlgxRoQOxNQohwAEiEgEyCJRHheiC
Zgi0otvVorwXNT3odPrKi0DkCTHIXeFXBewtMUjv4bScNLJsBRfCY88z/xkiuk12wZR8FlbvpJbi
46IA2J37QoCMV4K53c+BRc5wFYLTHtmVomm/Im5YcvB38xFxjIt+DFOPP3Jgaz3C3b3kwVhHy1wl
RkNpDK7eA5FcZVfK3sSa2GRLceMQyAPgLpCTc+NN02JLY860AZkUSaJlvGUdjO40la5iSwIZv5N0
VsLwIMZfa5IeGRa3UJbDY4zOzfSmhMtJcT9z4q32xb6C1jOT/xOJq9uiVqdtvFFQfIWELBNVbQGs
dzPqPQ34GUo8CuIxDiOmsdFFuFJfNpC/TLAElkUvHSljTpXPydzSrkU8XLs3L4EW0cuJr9E+L4n0
Kct7Ebcot0Y7QUuhTSJ5JbWLw7JuXCnWyBkE6xkic6DoNVB7q3CSv+t9NZ1iStBCXPbqebnXJgpi
O21IDWk5/zLAk8j61smMyOPxYChQljpj16zhoW39rFoYYdP4WRbPsD7zbcu8iIFVC7foot80piVR
Yrm9TFgWU45aghbmnw3O9OO7yKw/5fmPSaVKEEOfyEbWd0Uk8DT/zgKOzQLNKugMwDky16D75nRh
uehANiboCAfAZGnKaINNeFGbiyln9ij+wWGhT8jnlI+O/qMcAwGy5fY2L2iLKhxl4mVsfmImIegx
J/0et69g0ju+I2UEQr4upjTaWguaI1ncWz1J5WF1y3Pphko4q8S7Ch+i85WheWrWCieMJ2t3oXAq
/TsNwevdKrmgJDdt1O621YR7YkVknQqMAkn3hEH340ijj4i2d/AKODMNsCMWGp6s2bb+kIGBoNI8
FeRN1a7ezW4tI4EadU54IDFZbBIOywbo9ppEXPz+zQ8z+kY4J1rrpMOX3iOi3BlEBqeihf7osBE5
m/8SOdUQr5qxp0nPgB8i7qVIEr+eUl+t6F4jtstpmTIu/xTgGGEepE28Hman1WWySJjEm4TNtKr7
zXW2EH8/gPI6A1D6hIBYvlhHA7KsFOO1imENxcjhG5b13tKoz8X4nC7xJY+EC8HZsfIo4+WFeelT
obyiAngt0/6GwqpN69eel1uS8CG4H/UUX5Uaeh9M+h6dlQSTPiG+TkQMuJ9O7MWlVDjsc24wQePm
WUD6KDY1J3bNTSvqS/K0EHMFNRXxJHEo0wGJzwdLi9AsouxuUo9CuHkaz+A3Y1o/a2HPlOV6wwpH
+CP69Y5TSl0Y9txkB5pzaAwm4TCo99kivGAqntbVL06iIl3GpXiKdSyGDJg1tXMambLPuEX1U1gh
LWGviO+ioTw1Q/e01gJxostlZAuFDV09MbA7DEvuZIhw6vLSjOZZrwaMCck5ap7I3uZ1VTa79J5q
1Emx+FzKH1LoDCpu6u4kVMZFW8AMxGS8lugPo/Xach9aIRtTdzRX8TUTPmtWIDKmZ8HBE+UMzNxV
woIgkX0noXUMR4zcip/F1qVP8yu3kcSsWV6aY7QqxxH1Q4qlbD/2tHCm3heXQ2Jlp6iuTjp/ohWs
vgJpfnpKmAfOFRFm3T5cNK+MDDA1+AZWh6xyCBh7s/U7kSeavYLkVxQgPKAoc9HIaXoRlHpE1Jfp
5/HiF1YJMsryqBsxXps7Xftp6ide9ymfIWzkNxLQrg2ZYERo7oycxWR0JCcXBFfA8qLLewlx09hI
hxFfEWcAMUSFf+gniQA0ojq5ppp4VFGtDdVZrX1d/xyXwZe6LkiX6phLycnmVDis4lmPLWwrkApn
+KjweOr5NWG8ZCREda/Yq3B/ZODOOMpKZOLUuk2Pgukw83o67O2LqoRPWSFfjekj64tL1s6XTEku
WG1AXcClKeilQyjYEFkdFAwrNFGoIgwhxCD9BiHVsZDEE2cUzs47TzCrBwanx9+II4uTmdOZDPpz
nTnFlvxGxEz0bBAyE+qQawmYEcXk3HSGz8i2DtERUbsX6xpgc01jf646L+1Ft+rbw/zEPQEmTLMI
WFAuwgzQlRyzAVQ0HR9RfunptucT3Siq7loj/w5Y7uBZ+CR3e5rjOrlhU04k4+gwoa1VnncszREW
NlLPFVLP24n9EP8XDFaiMwaMbz2JmuopJSJVR0NTDcjme6d9nxmhMPpy9LI+WNu+M2PVBSatzlvk
FyDWnzE8F+QnjTE41fI3DlccUNZ+msjuTl7I94Jh6KaE0lrGZ6IFsWLhsNtXDuJ43UShuotk0gp6
lZ/oFInP/pU2BAkXCM5IFQqn9iBTINx54mxr8Gl6KXSY961GestuhtmTXA0BchtRzqkg7ZMSy3h2
GHj4mICvVFQ4CnvUbdVCe9HCaulxx++RNezZVt/AAEwF6ndulwF7bB0/9AXoPP6wdXDmBn//kh/W
cEt6tE39SQFrT6OjCTH0hfsuPWwtRQIf5xifqt+P1XXMs9s06Dch6u9wVdtEvcqice865b4Xw+FO
dKRV6690cF6UYX7Uo3VHSkRvuMLCZtDrbO047nc/ocb+h5MNo6wCDFyIrxk19IjALwCE2s8PMrAu
8nBhg9/2yBdl6l54wjIaXUkRv1hXaWDRzElQSVpPINZJUTSX/XSmp9tFtRNXh5yW+4jjCZb1+FGS
GMz9J8vMRSaYsQYArj/iCJTiPYvtHIVM0xxiBec43W/ZcCqJRVjuCKinDU20LJbxg1UnED1R+mnf
3BlMyHF2pDOxyYBhWuU3kW+VaYujbE/RueftWBZhnqNjki8XnfNkPhqmfgw1KPznTL41yM6pVrL6
RxcjCoRjyVahgGUzZx/qdvgkATbc8O6RiJLuJESftCnLU9yo9zh9KTiWEGVScH5Hll3b4Z8IahzI
p+y5YuRkrp6QCF7PzkHtFBHh07upX+r6MQc4Pyt2rHPkobyotv0jexuYdcQ4LPIdE+1dpx14xaL6
bjZxS2ybIlojMrpNxDsGwqfYWr2CgqWE17gIwLvq1edAHC35XUEUK5GcVpM+Kv+2KPNMvNTSfl0q
/sYRC0mLfI/53HqcOQuRPXSabJ7BBrykZAJwrHdr95RmEgNqt1YuU/KQGQQrKlgekiH36vSdjD9m
d6GLLF2F0dimzLY6F27d1XYnG3zgONEb/K3M+5PjYLLmSTlkq2zHyyAU9DTC9sxl31T7jREYqvu1
uPP/p4pU9b1ggtHjI8ZI8BfiMI3hZdcNWFC53VR+47s6/gC37rDxgsG4LCYrQ0fDKk6gqf/tGESl
TL6r5nkr7jRYJYQJzmh7+4JWSeZW5ocynBmb6PexN9FUHTYQs1+gNc4I9dWumi+lSJSorbcRRjb8
DReQKbTnADTRJs1XBEp2x26ftU5h3FKyGtBQNMWeBJsjes80S84vWWUcR0PgDIjukAmCVR6tcmK4
ROK9q0moYJ/X4mqbycD25BPRiFfpAxRVRE9TwnCsiIEhegMlynAi9CTKGM+2AnJyh4LG/7Q61Svl
xmsofroNHbErdaKCKIHT/rWROMKR6zIbRJKmjGTSGf115smZ5kF59Hm6+J0YZdCbqvJjCAwKf6nS
Wue4IPpPay+G2l46q74oHEgawcQmgCwkbB4tPurVpfk59Xa9ECC8OALoyITzTyy2fqLgWl+kgGna
0ciOz7JGV5KNVMZ/MutkCacQT5R78WwwdbSik0x0C/pkpPtVwoPPgb5IA1Pg5Eyq1+YpKFTwFezD
noJAY+DIEAoYYcP2snbhBe2/UOhkvzDUg/VrGEezInUWYnthBWakb3LTwDAET2MiPhNwNF9yJYKZ
Xp8nRqET92mdBQMKEGVL0hNfxmIL8YXAUDReVaYQ8HQ/QajTzIivKpqRi12zCRooOzAP6JIrJdi4
uO9XTlzMjQ/0Y7TQFWoSdjgDpF0gLl+zyRvsrynRQF03nf/VRaIljVM4/tEX7pxHl5BaZUa+tGeg
w9rgAq5bCl9TQVtDr6lcgeM0SXNGCDvMWWnUUjpa9XuqRuSV45rTgV/TVWTuIltHphQNwbOSMLmM
+5s/Rv7VmDdGDW7NYT7WNRyIuGrukfAxGQDs6fcnlq+jD4Su2cwo2SBIATNL1osmEOYSO2L8WZQj
Vkv0P/NNwJ6VmpB9DsrfRSQElySBtfeNvvBLIrta4ASdP3YYdyVGwCJR8KDuR7tTThHBSOURvSoP
4omm9L+WaTRkqHfjnxQiisT4+A1P6GREF3Ip6ZrftFI46SR2pq9Q8ucwx2foKNZnVmNqpzVBHjUL
YCTcBv2TMl560b2Kxu0LtbE9i/2h1xFB0Pb/V5yv2WJ0avXHWO4zD3LGh1h3Bs5U4WKIdmwOT7Ii
nQFdrBizrPVzKIEgg7zAoZdrgBwqOoL/jUwyKQ7y+XeJN+pm5ZX1XssBijqL9jbAkZAguAkoG7Rc
gnRCa4NNWyeAVO01iPH3TKYbxyNld8sjH45tBqZ3/8DEbJqOihG0YG+Pcf6VxjkpFb/LoGUi+fSZ
NtPqZa+DTl580aY4pXMH1gcfEec4WQWvxt4RJekBg+kup1EyMPR9ZsguGfMx1eJjmi5EJYT+oIA2
YOxoQZffjnQrkZvJsTRei0U8SeKrFL1lbXHLi2+TX2ME1z9dcb2SML5YnmA1jqlYsLkgxrQV3YUV
CQEqbGYJyXSR8aBVxQKyzEZsWXv//Mf/+b//+z3/T/RbXat8iaryH+VQXKuk7Lt//1MyrH/+o/7/
X/d//v1PbgFTlVXV0HXJkA1DVTX++/fnPSmj7Z//yyyTWp2r3vpDt+mcpfGVyURdTn6cVkHbiwG9
d1wQZJHb3d940rwYWPBMIC6eWT9HqZ1pik/ABX+XfdNt8tbtyRk0ORVmJMYgKnBl6TyT2rYsQA9I
EVzorq8YXUWyVeJedOjPoKNJiDXV9512o+G9UwWA0Ht11g5ahClNjrywgNwloELDZKUB1S4LuE7N
GAwv9NrCaznIt3wvEmU4J+FzSglLcQi9E7D8ncLmK4OGEcIKU3JwC9sfIMJLUnpVl3krkhFSq5YJ
5NKIq3PFE5yNXiEU3rQFSyZneUJpdTQfQCsOObP+HgR0WzCRQ8NwHdG4y4BRGwHowhweZKS1BYQx
Ixxd7c9oXgQJsWFs+pKKLmdJjqih/UwxkG0nnoK2OpvoY+CvackHJ+o7M99rMXyv6OxymL8ko/5W
Z8qryhlIF+XnCFAJelawKxzNmf7js29Ool4eTfbEfBR9lHiadRRT8AVqsHbrJQHZyiJMLJV8U7Px
XmGGriBnQfebs3OBKgk669lkXTBGP81m31CZLogR68l61PwUarZdldMxjKyAYa5ax0FvoIxW/4AD
uI7/j7Dz2JEcy5LoDw0BarF1p6ZrD5GZGyJSUWvNr5/jtZruGfQAFSggkSIE+d4VZscQEQj1BDeG
YmExXEzn7lwfx85y0PuJ27W21pACE3WqcuP/8vk/P8CK8XpA//UB1kzN1FVF5C2RLFX61wc466sx
biyx/zI7ZhjE7MZFelON5T5gWNpdKMLKEmnDdhxofUqt9VT05gtDocZkfMlHBwuf/cweLukemt5s
a/gXEkJetBWDGQLgGdVsozNYv0sMiUQqt0fDo1DxKFTIPlSeA6aA/pIjsIRKpluOmS9u+w131S1y
ByZ/oCDckUXTFm6hBpRTCM/zojB/HVEdJ2c+t0y4lMiyK0O6aqJxXZzmy5hXQuYgVNeUKIJjSSw5
teGCCq/9C/qz4GqeB1JO4FMIRJmX6LtqHjjJVtLCRxDrVb7GnL7eBVfsmasyqyG7shBsk3s/FqyH
1vRvctG8EyIatTgd2671yutwNuGljCJ+6yMu+7NEpliR+wN8XnOEaqLCagzSqyIZPi4/b66ri7hp
Z6JOz9JEL6hKB0yTvoWab6RsJPTmhmfqsVIc4p47uHG6Xt3hvambS0MWnrtHCpKA3a81PmNYyTFC
g/Sa5dAQeBizrsdeUsLBHdnA3huR+m1AKEXDbFAC95Fq0XE/WN1lI+ho6DbBqFXk/w1+68P+QQqE
Q3rDFM7q9ogKCK9y3+ieIL2U4qjD3THNT8UC7VYiUXeSjwaNTX14jef7rf3EcN7mSHPGmPyl/bjH
CTao7E7auC/KDGvFFHtueMuYs0/OLy74lS/dbAJhxk/S1NGndBfqzF8Rbepss/D0q8XJlKQTP7Pz
UHA05vF5sVuBWIT0he22jtXRxCuES8YkRbMaLIfkYgdPoPZKa1QdicQkhcSk5WbhUkrs2/oAF3Pj
IKEkx8RldLrd9JQz8uQg0d2QUNH85YqBJDN1t5EZNj6K5qQatMgsH6TQ0RQE5PgmFgX9tdgFeT4E
GVL0DCl6txl2k31RmdTZh/YXWerHaMnvrVG+cfwgIN7NntHgZbYS+hIub8xfc5YhrjEw9ous7A16
bmUg6EPVL7mgXgEI3cY//XnikStcGC0iS+6yoCJvT/TePP6hzgWcoD6Rh/rUpkIUP2JHMZd3Ie6O
c9MHCoK+oYzv6Kq2PInUpg41RHS4QX0dhOhxEfEAzEOgl0CBB+06hZnawJ5fva6GgaRW9kRfWWvJ
pZ22c8JumEPOAKkm3XJvhUtLQKLxmy21evtdHtVhOYqQZHMvvbfahY5LEugcoLqC0PcRvjqA3hpa
+CSd7rqJ2j+Zbgr6Hbk8duNCxkGH26S39ZXWTRF8oR1YkZOVJ+DVqUVX/CFDlCm/Fwfa9fb4nw9I
bvj/44S0LNSzhixZQKgl419PyDrP9ETRjPoLfW7QAPMGD4byq7sMScnk42hw3cMcCOdVCSGlRtNi
S71fdL9WGuHpFceGt0ZZNZ8+Or4Dq8fApGBgEke6bwxMc3vfXziWkai4YogEPEzytpzYgLQct02x
eDm2fSI/iFie+glT9luGHpjZTPzH3lueL7Kp25fcj4RVtki05jNgvJHHtt11Z+OftUgvnRG7UAZZ
d0Vw6YlV3rKMSVHHylVLX0NUhkWHsyWdavWh0Bc8NkQwTI6UqEy1E8YacUKxcVLvS9xEcqVFNcNY
1CZkC9nmShgbs99CSS9xX14a3kWmbBdNzC+jqZ6HLwLGmEKXpHmsPWr9Hnw5ICaqdfXvD1XA+xSD
NFCrU9IgS+NUh2AoxV4384sqghEdmc2zLmNWEKYPA9mIq5vR2Sztr0O8w/0v3rUSRsLLPSz4HZr6
o86XMzdEMPXvwjUhjuSs7gx8BQZ11OpMJKhRdCDm0LeM6ljplq+G8PQM4b0N4ns5itGoyWgVlIPU
zV6qXLLP3STbVugce6MNUcnYUiG8j/auFhHcJY2FMZhjsTxqG5tsmfG5yo8SvcPkcIAjhMY8wFxy
ruZLNbdnRLiDFu6o2yuFQTeMFdWyx87+EBqkIM1nzTBU2plGrrqDEDNeEpvicjrqw+aPLpFrARO9
ZvU0Ygb46bFRVUu3T6AemZ4wMVif90Oh6Sddmc9bU15Gm2PKBAwDlbbozYgmNBbPqCFG6UAF/q2W
/yQgSH/JKyH2Ts0SrkaZl6M8aqdQ2ZWQLZj5A5d5glBpOopkthUYWgYhlCWATaPHmEQmIGsNBenP
vuQuyuSVIOUBvVrPVntza+xIK1NUhcWozsgs7QcozU4MSURjAeLM+XbJCpLk+xL3A2Obips8Zcc8
+plBWykyjeevWCCP8UeK/BTX46mttFPT3ppR8jP9sD0Uvm0Jie3t1KJYlRwDXdCWnrdxuGQf6y81
hiyamYFgph+76vCf9AsG+FJcdxXndHMYnCnLT+T9hhu7nbk7V7N+1lSnH2mh72hAyderRzaRNvwf
qXydpoq/aOFoagyPoJKSe2VlDugf1CmbYxJhg7J3QiR4nEicr2OfhD6USnAu0P9oP5s5D+NWCCds
N6Rn71N/Gub3gZxNIZPOKDqK8UQUaPTNVORzVRsXxlZKDR6C77iwYAdTDa/5mHy5NuHm7OxXiOxO
x3Mv8vK85ODrTTeXS6kdq89C3a7ArqbsrTZS23hFBbKU1VAXWzKGjJjs4taiFk+wu/Duv6ymshyp
jwlgrzadtyG7SAA7GVdEzJoZceUQaY+ESx2hWDMXKMqc3UGBILzGcV8wyiGGk8Mp/6GlWO5FjOIT
ops9i0RSLY0eKC47QdUSouEDj5pvAmAZALB0qD5klJlD7bTpbR3UM+fQ1bLku7zPz5xsOKcdLKxJ
aEJZXOmguRBN4aXG3tL6qd7T7YCo+Ks0eOSbAeng7q3EBmfCTeI3Mm2dEeBtkvZtSGbmTjERmuK3
vRY+mxLVyCg+B8KT0uYNk7bFggq8ui2uWEAx1msK+1oCmjk+pyFUaTMV6ddULCetJeOmj9oNP0if
2AlJF/WhAqeUQ4DrjpvKYG/xFbtVDvRAiF31oINUeiRv5KHU/T3+221kznExHAuWzcwerdn00wSh
0zExlUD9uxLOq1xNNDucLhfDXM/VIJ5SRYwMgxNyTo5xN7O4uikVwrthR9qz3LGpB7XAKdSFkoY/
BVJHs4tuD6WjuK+WKyGc4+2zdqIqa1pCGJA7zH+DRJY1w1Fia1FVYwFt5TPsvI0JYIJIkx7GQ0tB
kPaCupuzJvcMJhhkb26a4s197A00Z9XLQ101rmViPUSlJ1PJwKUuoOjGZAHNh534drJ4CuXWDO1N
YaKY6zjS1QbufExCoolT34y6WQ6B8FYNGaszDFKLwiDcmUA0TsG4LzViJy87d3waonrKtA007XZm
72mWVwajQDPJ2NapaihvLfmykHylQfVP5/4q4yMZ0uaOnnd/5yvP49rNf/XNKwUB6dqI8gAI13Lm
EZivtVvT1Mj3JJ+f7XUv46eZNh+AZwWCYTLAB8pROQ0kMmGvtY06d9aJwFkIw/w1zVS4uQbAV9Rd
+I2ERKlVc1eiPUmeEt64gRgrWu4GIEpC2kcDnTumXcDWjAW7eIN6Pya3NZ+vKY6qKYaysvdIc/9K
88cN14jBANFAWL1lN4EwxVySQ+mxMELUy8e8Ll5qzQztOl8akkBNtaDDEyz2L/Fu7Y3bNf/ImCoO
16zAY2kkdwxG92QU7rFcP4ZqxYX3pWzpY/5YYoQOL7m8bL0XtfRG3tJzb2pX/y5LKMagD+mL2xeD
2zckLLniwHZ7BBjZDac+UjgtEOeTcApPJKTeCkrJ2Xq0oVToQHkkV0bl3xMMmcnPlQH3H3gvYQV7
D+8J+GEtqe6SUN4FxMyPPibeVvycfdNwsj/x7Fut8miRMhfNLdFzsKOsyCz75UaWTC0iXgOmNqpR
5hTqiPx4QItVoDDnm2ZUQdwetKq/Zmt/kW/FvRhGjEQoDFAcb9tZUJczZ/6ZBu6cbtwNT0WRr9Za
vrd1MPdGMLOa65CdTLcmQboE+UYmtqxC0UZprE2RnGxR/ErywAxCwDBgmSz3VbhZeWF4hJ+jFNOg
YqE1zfi6t/XA4nzRKycBV7dBfGtbxKg0PwKMVpgmyB8YeEvs93fE+baRM8uwkKaYhLI0lJ4ZBcIY
tS9r66b4MmDblT9ILMwwUxrwT4oMXc3ZJ8MgGJqToiXwNGWAZaO/tDx0LM0qY/AUunQvx4Evs2pM
CXvhJMcA9WceWJgzHkL5Dhg4SiZbFw4xUn1FG32pb/wOE5eKQazAKUlcq0hgI1s3AoY02AyzLyK1
742zkY/nsjzTvoJ75TKRrKflKDj8lYqhcZZEjzY/itxRJnnAnE6CmvmH8WA4BpzH+U+h3YAmH9Xu
BxFgccFa7OUplCWnmu8qeX/Ix0WqqHUoP8CVv5V0IQ2wzII95uqKXeUi1GEeo5ObEiOxUFFopPRT
aIvGKcK3kyEH7pgEbcwwGeIdusw8S2NFtq3+FBbNGRHdyAabkdpXMdCnXxj8+sV469YnCwUYXTE2
OgR0PH7rfUQA+QImnptBPnlr6sLUwplbBcRE7MoRhzw5TrjDJjN1lPk3BHwrowVjLQ4jap0k1zrG
omvKL29nRu4e2Pf5s8NgPmMwlzGY6xjMjXK5wA5HUcjU6AoCzWLRxGkBO9H05CXagV4w9+dazbxF
AKfagRTAkz8wxTWYHg4mQ4uw7fIApgLvgyfEhJ3W5bkIjLsg3cs4ypoRc0yCuUh0VqPCKOzE0nJU
7fhFgjrQLSfqjqVjIA2sCnBaBPLA1mjMcH7+KmkadBaNBbLYqv+I1+yzGljIdX5iMFRcOJ74aCla
+q8+o4shIVhDdpOKurd+SMcx1jAUSoyEVurozt1O8be1XW/LVIaG8Gy06TKNNXbrYSIgnae1QizT
1UC/a3dVEpdGzil/ZiYdU1xjsRDsHdnhNBJ+gRYNV7mdQZnJOly3mMv2o8cQlgQlMDJUTM3LnhnW
kYpVajq/WAf51J3MNJo0TnT274tZAoSv/FzT4e343ZDTO+eXmCzZqgp2jclg19u52SIzzkNQdWI/
/UMhSW4nAwv81t1NS7+pcXbfkvqupvW9vmS7cDUqvkRJuG42LVWQ4DOxvHwYQS9SyZBB7aylcqbi
OHdLc9oh/XQTa0MVsr68B22y48zZ/dIZesJtmzy0OsvXNE5nEg2yBe9YRoUrnmEjXMKYrY3KRq6b
+EsG15RiOMBaNZ/TFPHUtNlm09hall0b7k5cTIGsfO35+k/g2PQJbuSabSqMr5Zy87ZZVaBfmlm/
bog4wGQdN6O8a1lzY6eZjcNzns6rmuCoj6/7nFxQKK1W7KBJxGwmhwtYX+50F84t8gCUBQezP6oM
p2phAskrgpob7HKRbLlNHGLtmHBcq+qPuUHdI8iYYU3JsEZln4WxklpZRVuHRsHbv9HHNDJ0X5bS
CxzMdsGtzuQMFK34cyKOIEryyTf697HInHFlhUjeg4a9JK8HBKUKiyEjLJ59mbwZsxrGSHJ6xXg2
C1WhIWN7x5EA5WsOXoHQyNwwVpu46q3IapszIAHjKHWbl6PJzJ19f80aJ88yv0tid2qptneuIw6L
Dmd2k0wsR/AUCvoBRcyMte5kAEm5ag5LrVI5Hn6Vum6nRHvjIMzVb5LxnJlbEc4Bo7kJ4YNFp0+h
lvyx5KhBlZdUq0/Gx/YtNvSoq7ADxXCCNOkEXdJLDcXT6SYUheNbyek/ADqVu6Oa4ECelcI6UMt9
RGhtf5tE4VoSHISQ9TIO8bnbIM7h7a6TEyudMEyONUjAeaNS42lUTRLXpSu0cbfsH0PM4l3mJ4sM
bsQwU+DGqqeXgyz2OZaxzbw4tjsM3+0gvwiF4npZoWAqFrbm0s0thyQMQWzOG6BN1ITkkTBKMc3E
72nuFlk+zEekheFsbmFJryHrY5Qa7RFkIndrekIpdzIAlKG2RU0pyQzg7BNw5bNSxGeoVgWlJrrN
Lxn1mDmYPAqHvjxoqXiyLP0k77JXMY0uoYH8pVsoOuAuCLM1d2Z7wy7Py5HbZwjUZd5xOK1djR2o
xljAeFhknfKXH+Z+W1guQwGouHVmt98OAkqdgt+tC8x9ERmlvVegGZaZVzBEtSAWySAnkmUNe2EO
uXHCAll8T6Nk6DleSJBlu3wkE81skzOokFOBNaIY0iic3mRZpIkQQ54Rf/itv94TTAHTV6JNQNtx
WPLLaKo1cyGL8IcKBqZIyOA2oKgxzpRAwSz2XMrhJIrhniwh0/GwyB97WbvZqCHF49TbmebkAQYC
VQhjHgbl6xKrYzBljAI/miH1d0bqiyggpVLYIwwvxx3bFo38gXENKoNi31EUyj2GRGLQweaZuQmZ
WGEbQcBUtEHPykwHirLMP625DCk2SGwi3gb2FBjzD3OTHEksXVER3ZJrj2Wnv+nzMXAnwIull8nk
01QYJ0hSBuKtA1he3knKZTWG2TyQewiUNAoSfOMMdO6YcrmWDPDg1lskBUPLr7a7RESjBaG7Fto7
kkhhhIIng2LO7SwRIWE3ZNGaPmmtvm7FXo4jVXrMFSwbmUEbK3uoAaCDT+xTnXFAEcytq+iRfJWv
s46rSpDCHJapLhTPrMnfNhfpuYfTGgu1ggRA86wF49fKdYh2PB5lx9Bczvq3bpv8/kOWQJ+Mp33Q
orWQI2kcsMmmkfH3y5yKqDCZ4HBT9t1fCzdMzX7fIo1i3SUY8AnhqTYSaUdeR+ed1QMpp2zCj9oq
nojkqOU+KMchbLU+emVPzOkQSEzPGDOuleBCxa2nBXrOgcziMxf5qRMCpKG83Yprcj9a3I8t71DP
9kYi9CyTH73TO81G3iyx4kNKjtzCnTvaDQOX1brMOrsLqMBVGZ5OlaVHQpWfuqY5WXF7UsLjTOaZ
xUfK67awMMVaOy746s5wQmFfZkMGOV0OEP+QBGr4M7IU5uds/FCPuJz1/cRSIuWlVBJf23SfyjoQ
Aay0hBECSIEdsmenppBOyM7vJQTdgrCAtvsgHtIWsu0zswc1+2bCa9flKloM69NUu0+NWKF1DFV6
CwGpnv7gMTNXQBnLlUyEC+fe2Tx2fjazI010hkL++H1lwUedCjJSdkp4Tx1nB+Chce75zMVgabuj
Rb7CnFoBvWK4EMuCcdF+qTQNZuoEYiglKRhsJHd+i7rEwYZBsvgHcxIzpuyIEgBzYlu3lGIFB2GC
09jcl7AairBGaNkhPK2wbyRN46OewvHkJMsvzfw7totdJAi0ppf2UAg/BH/gnDXq2OtJON7ZodD1
I4bhjxuOTI2neujyH9PflHiu1Eojps3hwJWYoJjGwyo5fDtaPCCMESrxvBvJWRYY4Kk2t4TUvTRU
bdyHoNtRW3X+vTIM0HJeU47OgOB70U18kPD2UDLSQ9kr97/01Hch6hyDyHOJlQ/RMiuLRit5EVYU
O1J+F5LJzLFzF/3tpaNRTTi85KF0mB5KcDRHBJn5cpSr8RLH/TmScFGjEkOdD2FL8jQKrLbAqUON
a9kTdYweD2flN+4sizahK4vwP+8bZMX894WsJauKJlqGKBqapur/tpDVcqleV3mvvlrLoE8viepp
TlUBSMlBxcjYAm4PBz7XhYhaO2eIv7miivUYzpPEYBU5grewCl/NyZOVjYUsi+xyjTCLRJbyoU2p
K/9VyzYqkioamEDHGQ+DlYc4NJQx2HeTEpad+vIYs82OjQYnr+wSHeOuseReJYyqJnQgU3KNiaht
vKkaRZsDf9PdQAWx/SQ5Y8aeKnsijt2sYpzHVANex7uGWVktJhI1QNth8UKXIRHwVlmEHM4ppzmn
jPpiWxiBTjxG49VGR3fqaTKrKa/4wcbVgTVH7Fbdw8eZrjMCUzFdH3j84Ziklm/QxmrL4td0ocjA
xV1kj9AcZcSl1otGAUiizidv6BOPN9PF2e6aGEPL6DYzFNw9BDIjgB/yoXqobM7U5c6CIBh9sIPr
z4E4O48TL+NI22K8pV8Qqutktpdv0o5ANtkcZkLXZBFxfFnh/HflyppRbgq6GKioPJKbk1nJFb+W
Lo1HNISf/UCMkflkHhwME8/UHMUxJiOOcw68Zu9PE352ozkLfJhFfRYZWPPoHJyhM4NmlANmQsG8
QuPE4AjworuiG0F/CELQqk5sAHLFtKcEvOn4W16+LdZoG4Nsz1WMkR0B8cvS62RbGpj6FhRSGjbC
BHVnseUS8AGRJrwZ3CbKQSNrJ8XhqDyhmTwTa3mKqvAwbuZ66uEnbei715SLXEdPjEyx+lm/pis7
cH0sGyWLksZB6AsaBm2EK/1O5dWvv4n6C8sQ+3EPOYWc1lhKsMxbwYT2fAYJLQMvghQbJBqu/c3R
+sFvRIjH3KvGm6ENjDwsAEDEfqjbxdrNY4VM+D+/kBKww397I2VZl2XgiJrBVp7//9sbWS2zUsdV
rH5hpbV31tbjAOuVNrFzencwP8fpMH5n9OmV3+Sdk/BH42jpRX9H4tS7kJUEz9wQ9zPcyRJXYci+
LLGrT6NnF3/FuzU/8SP2v1JziUwMO5TQdL7on5eIlFnzfRlybx9kT29QAMLHY7cWzFSJyx6YIsKF
mCI3tXNRCXeeuUrOIo24DlaPPNAMSrmQyPDunwr7nLfmq8EUt2KKe+EYy6M528B0ZMBXvZ18SsN3
YMop4ImNmacBd/VFxFqZmGw1qmamVePk0zj47EBn1plDHiB35g7vMMltBrPjSqPoDna2/dovfMEu
8T7tr1VQgyJGT2xczJx/nIAgdgIskJOF6yMFG8IQkLWLQMnOc6B6BO14ZUE/QgAq42j0ymRcJ5+6
1H6mt9HqH5L2O93qCPLcycoeZcWBT0zJq5lQyZYhdz02Hd4cqPKj/hCs9QmYx6R8RyptXEe5d3YQ
9sOwMzKlBqc2N3pmO5OHb59Xi0ik2Z6z7cn6/Gls6sPahftWEZdqPLQyDqX4Z1azglD3c3/Lheba
0qzQMtQoNBLIfij9EIkwfqle2iIQwVkeB3l9xHSOKstJpaf5IRLypdRdkLXHvQ1KomiIbXJ6ytMK
mCqwLcwts2sKhJOYs8tz/vLZMr8zkLQjkLrvPbJoiK+ECW2IJRX4ZpkTryzG+Wj+LO+jAsb/h6WY
0OGrcFR+1kL1aBfpSTzl1NymP5WTMlTc+Vcr0MNakrpUHSr+OIJsBuLW+/QwwYl/b7v5kQ3J2yIP
7zy7H/0rEwVOyUTGRfwiHp+7pDmnql/+rvUcAWyOv454IMUMe9iLt5/VLDlThX7+HzEw1HvKbxF9
F7rbjCgW/DCySNI8VAIr4bkBnMCS0men/Ld9eafpfSxPaYRnN22PjU5aVyh/x/RquD8ri9gwJ74P
rJxzo7u0XHEN1tqmvqw2RRMe4y/ttRDCkKlUuJMz6JotStmOKCoQ3T1VsSiEYq+99jAK8F0rgii0
isWpi53RqM67UF3iubrKrKFI3TKJsusf7Yn3qlqod+S3TErYQk8QnRevR3Gk8THUCwopJHPkwKyw
RvHEYV9bwTqvp+bCzeepJRLUSO9Ge4Nkv6wErcA0J/FTfnF7FlczWUjIPMhW6yinehvcAg3s6jED
XmUSC6jrUJymNGkKTVpctoGIuF3/XFTzU9R4TfCME6/skyMj6KHA8SDI/mIlYU6gS3tDzG/py1sn
yY+rhAiHL2yzS3zX1mzctVK41TeDzXnNjOv3wFg+7QgZw5lf4TwZ45+rojqEcfzzEy1lwVbBX/Hp
6zy82Hu1qnNF2NVjKyE5Lj2lBN2BajU71HY9jBED0xP5GqI8e7OsMvlA/AMfUK9q0OmDr5EAhDPf
N1XRD7r3bs5O+VPrk6ghYdAM+tIKS3TUsCxv+cR+ntjv2V99YUh8ASliz/tr9XfV3G+7vHjqBBdH
ES+sI8ZCPamBgiDT/DAuXZ08imMgQuAS8TgzaS0pfCEm8N9kxN4m197OfDQB/2YhmGz5YRSJW2D+
kBsGGv2CAsAxzKd1PsiL6HSdytRQBzKSBsa7OLGxLLsrJUaOc/OHdN/vGd5GrDYgODJ3xDKxxZQo
vDfwLQK5W8DM6kGD3txxCgF2m+HXHyOaI0B3Uk2avXFnDNAXvnU/6QaeDEoDvsDTqLB4DLO4CNSE
Ze/kScsJICFe6nht3IQSMkmKCLzlaSBGi2NwgZJwTvCTqLBSvrcMTD6Zn6+IwUrFYDCBefFcQ9ug
O2h/in0f6S31I6J0YxteqyMuLnqVxF8q/MBg8uBi9LMeGIUZKjojxba3B/a8DKHzz0IrsF0BRCN5
lvPWchJRdErKeWalDqmc7Oh/6wlIu85umcCif/mei97w/TWKrWfZZi2OpozJnrE428iy/sXuw9qK
wWU9Zr29zDo0rCMKEK9jbpV/UeDo8S0plHsS883Pz33zZ37Bm98wjn9PB4iy+xht1/0Bfl4ODLgP
ukULTxtaf3S/DMhY+DPIfjyYiOYlmavuOmn4IxY9KBhk4+yNKCMNAK68pHwaOWMflcKbdtlJd6qB
aXUZbwuYX0V+lkySaP3fZ9y6av7uEI+jM8pgkLLzd71sZMtJlvuTCv+3yY2olWe+3WmU7B01Gyvb
2AoQMCAukBcCh3uWdHnhpwYCPngx4NVglqKT25OISWKDs5pTfHjteDGQ1PXmVk+eV0xD5Em8mZN2
1i6k1XSJr35Hv0g6x8QMFdb8QaIH4odvwRDhnmYZF2eDk+sZl5Fiix1QhAoU4YK+Wre367qJgSLP
4WoyE0cqoV93Cd/BjzirPW/6XqJr3VRfSapAZG2KjEkaEFIgghipoiedVKDToEPg45s44+Bfj8J5
jAX88lMlu4SIJYRmSGRPAPnt2FRIeeUt8bVGUQrjx5tOlSh9dmr2me/Fh8XkrDG7qL30a3kztYZA
gxxLRXza3sasvm5Pq6eFMIFxwjPsf8hcMakywJQ2uEh/6Dn+uYYum+CoTgQnWuG8/JEVwlmUMzAb
2QWvemrMJ3JMy8ae2J8oOMyadv/HYdb9JIeSxAUSG09yiotLGCLbvDTYtNJWv8S7wk4GIJ6vXyZR
jmgYjD6UxXephmMzuHtjOZJJNO9L+JUcKKWgsu1uTfbH+MtubVWlH2K2HXeHxppwTwmh/sNEiTcX
w5U+UM0pJyXcaOTh4Tw+ms3HN/WuCQ3iM8nHpORU1IqqqBCMpB7HH/IBwQ9qG9ZkiFJ6gLvDG+Si
t5mq9igX5ZPZ5+h0vE0qfWT8hCFGfeQIf9JV8E6zPPsTAToZuxXWXyLSnrUhNJtns8OtQXPjNWhM
ZCYvwFUUgExwsHlUhpI1B4/Kxsp5W1kkYrxQ6uG8NOaZLUi6NZ6R9bRjwHBJpVi5SDt6VAkpkhik
a+Ygs/Agb1BQ9TFKW0OIuGlK8sUkOksQ2DkiA6ZvLwbyvdwxUmYV2LmjprLn2JPAyY2DOuO8aavT
MqxnohAv3O/fJCjJ5C0cEwpzVAtXhVZ7nd61Fa0v3XYiUU8stvUST03wLtLjNkl0f4rzqeD9n40r
bpxNTZ6YnJ/8c/sEDQ3zHgO54lPIBRYf/Ng29I5AMQnS0Gn/OtnOjQ1yA7pjmu8ij0N2WdTivMQL
30C1dvrtvT/UBUKHagto3/gjPfXvkpK9wvK6o/dwLXjzmUIyfLIFey/dkwE3C6UvGatYsOgB/Z4a
SS5Y+S9QOib28DXk7uyJ6OJo+pSlUUXbZsTaORPNi/4pCpg1XjSsFUiL2J+VzXJ6jkHxZ3tHdpVm
fjLQV8ucX7Ue9OCxYv2s9mhPSd9KCVUmyA6JCwnxVkBnGEpWHCIpj0TinveF7o0JnM4ronenDcwx
oXwDOg11+kjM5KOAejeSlkZcYHtctjhoz9iMPtsjRmZ1IR03U8IcS9gwA1UjvLnHcmR008HSQDbw
IdhJtt266lvRip/LQVZST6Ih1QdKKUgzvUTtwuQKL5zIDrBiB8gSWibhCtmW7mQ/s0/S/lSd+Z9E
1hzFdM3oof2Tt18rwpDyT9KLn5Whf5s2Bn4XEHVxWn3qSfch6xMF6VEytqfpSOp0lqrhpA5VpBdx
MIQVmi80i2tPm2j9NpBcmsuvfI1DXTwi0o5E2Bp16fUGZBQKDIZZ3ASpQIXllmBEF3/cUh+ND/7x
xBP7Y/EzBaQxf0+oaMTBppNOhtWxykcsKrjZ2LOX6FogkzGvpYOyEZ5hYKXr/j1QRO/fX2M0RvoO
Gt2zymG1s4jqlB6j+HGNi0jAHp1gxun41siXxB2N+v0O3xJebjD83GpiCNBIWABDRWovhr47sWVz
dpMSGbRbyVNvOJjIjWy+iHBuBqtx/suYq6zK4036mpOTlDK9su6bDhTHjbvdZzoZA6la/r+GXVf+
1wxNVompU3VFNo3Xh6HQ0f8PV44xrmtvKsv0ha6Qz4z+CdRIaixRCZAGzXlVvSpgNGHtPTXeM6v0
0JJ7JG5WXCeb4GkHGFptLYO0ABbJ1Ts8eswQrXUVUSposnmkEJ+IdlEknIwwp3LWtwhAMg7sePL3
528h+wnn12mX3kl7CmNoNvlpyMMWdSjB8wwCZhwvu6m7tazz+LEVpqwcf+lzeqHuvNL6j9m7WEUJ
s4KOWYEYm56oTk4un7q/ku4niInJHJbjm3muFsxc7yjzADAOPhDPSbuuWodb7TpwfjGBec7gEr4G
9isKMBsUqAdg/Ac5ZQq4HwEYp3wVFKTsRb/U/+bovLoTV7ot+os0hnJ4BUTOYMB+0cBuWzmHkvTr
z9R56Hu+67bdIKSqXXuvNReVQKnzpFCT64TNo+Yoz+oYneLvVNtYi+m2pH+8KiNpaVC5Ne0G2T1S
43ppBja5IZyj9VfXrctnY+3Lrp75NDUww3I4YVIw3d29B8gt38aqvo5SdI7+T102yEyZNSU9WLqX
CO2lchJhs8+c5oAU/ajJ8alZlMBIUwCMHdb2Qv01RrguBuX/UqR/DrmGZdvtZBD9gR3vVfkQIwv1
uhemlACH7zAPzhyTyL9YmW20TWx/p6rEWOvmHoFeXjW4OwlXAWmfCjRdN/JnYZbleXKQq/HQLWyr
B+17gS4yPQLWVEGdveac+CmgvVk9jHPND+d1pWx6ywaHlqALqValrMHy6cmgi+cOSeQCi+DbQ/ce
fQMRL0p958PhDhiCJhC0spNgwmJhDm3qeR4sLeythCwpISkb7UaCK80dbAZPtLvZPaA89qxjqJtr
XekpYootzFuEIMIaj05an5wxWjbIsj3DnuUPyVCOqlhoSv5KGsCoAQUds8vWtJ/9YjruoNZMqUPq
AkoaoLfB1W4Fig4VaKcnf/pAfXicj1UWHwqk6KM6zM0BQ3cGoAIrENs9yTOQDHgVDOUdB6FTgibq
YvfGiRbvubYWjv8G++wpxRVJgoXPXarTNQ1cRJZE5xrBwSx/mEWpueLazGPTwSR9xiTZQIP83uMq
YuaL3MGCVaKxDfK50x2CpYbzkQNVrqyKvVdEM40DlIm+KVUGrgxaDHUAnj5QDsBamlBcCw6hhHLe
Mb3nmGIA3EzlyFGKW+SrV/tYlPEhZjSR1yNRJgrnn1mk3pBnoEiHcto8WsJKkAesxhOdrcpHmNBC
lQecxUF7kyXtZgx/dOuiKME6qRE/zqWqBLdMirq+gseXGP4hFyATO/BUqrHxfgtQvDl0fT9edGwZ
OHkQPuPdLa2THSfHHubLgI0jt7eZDGjdmNWMZO3+loT1PTzKwrxm5NaKMLplun0NQbeVCCNJiRg9
/M5lurYvApmso6lra9YOX4OabluGylLbb7VB3rblg00C1ZoM10ctHw6lYIeYIJyx4XII4J6oxwkK
QFqOvAL9ulK7ZhXX2PNBAOvIIRgghxgdptZxMDFiw02gLoJC3dBrH8gHpetbXkZORGYIrq34YYWV
uqeanePURbfRYFEYaLGzrS8FR4MXKRaNZ0JUjVcDoA0SzSUZwHtBworuFkm/jhJal6ZNG4AmgnfT
A6JsBjQ//gcOiw9BglAIks1mpGzBfEb6SHppuNUtjnJkJg6z0RiJN8HMxw3WWbPId1A6zBO9P4wJ
5Dtcy90PKiS8aeymHecYXB84LOQLJpSlz7svFIulIFuPgA/6wl6bWbrBpJufyuKhFhxBMNNZzVUa
7auC6RGW7LD1vvLWuodW/qDHiBTZQkGFi9ImJrCP6LfcQYMbDH0bH3yWo60k1AaRisIEZ2lOWkyQ
HGG/woMbzRYM32zS6JewcBv7A7b1XxyvLcwOsbnrYTchVl0FhgXDadbIjGf+BqPYxna9NfkjW8W2
r/JtCe9muigWJHLL+iFBK/TRilpLB7epRdenGanGB9UdA5w6ZGHpEHi1pTh2qcP3wLXWQPDr3jpk
jh9mdIJ7ZZssKM2gMvpuVjpbyWDSRPqsnF8HeMPy6OwDIzzIwHiLXNqHKo4A5EwoNEbmKcteZSY0
VjDUzU1vNtuqwv1AOdlWyo6zdkh3EzfQ8OXDQIR6BnZ+BdKA44w+VyXnUEybMO28lgjhvGWdp+2i
EtparEZHx02EaFz/cWjgwB+24qUKKnHY4kzbCX0aqlvzogGa4crGTvLihcmMs0En4dyYqWVpi/qH
3DcbY0gxV5OFiom19bcq7Y9IN3dxZm8LbR7a83gMjlSV26Q8WG1+ajTtpFmY27kq2JdjSVxSEpwW
atSeLAt+FusfO3LkvK3ikDANscnCwO5qK8OuZEdr5QPyCjQPrsBPF7Xeyte8JSZ4A9l8FtMoRzYv
Ujh0MdlRqG0BM4kp+/uUobYifGhmIiBEjsR7Z1Y1S7lYkDJV0jV8juVmdi7BLmOZobPBIIo6aFQe
nTztGMZpEdry2eYlt38q60YMTSmL24XsdNsc02fWGjNVQhIUrWz+JHf/LWv5TMEYlPbAPxL5agEX
4i3mzFGTDaksGMeXPVfGf6tlTgog4jpgIeBGPFgnWW4zs74aiBoynEIaf3qRIlG5GEzYE9Y/y3cr
e6AXGmA6/shCFKisjnkv4fgJVx2KfxNzZaSv297HPoKP30ICC05z4rwQiAqlJvqgBThTBAHNoJK1
8ajknzk7VE061StlkgS0JSDgk/4Oqw8sPkbM5FIIjNgnLCw0qPaxfxjDDy38KFnzKB8GpBuG74bs
QKbCbWCi/oeT1s06bBqM5M0yBo32O8ApvkZ8+SW8c9/SN7RBTy9Z1XrMjRmrROoaRrMDUVVY38Y0
V8sg2CBb+Idkpo3WFQ3GYt5qNi6ERY2WonsN9q3pWLwZTibqVM40gNwIX7hMJi1uL196CsgE/EqD
jmKUf7KcZWn2FH+99T3a3jl9s/Bwc+ah/9Hm/lM6sUL2fD9zI9u5ZRvVObY9VFOr+xgZoErnuhRL
KZmbVcFiGMLT7bDHJM6HKP5xh8KmU+i4d/2ORqIDs6F3TkH2GTI5HZggqUgio0psEmaX8E7tYj+5
f/xDN0aHsE4OmRIdlkNHmpCs7XFB+Nc+DD59uvoq6gy+UMDyjI2SSc4pQ0Hmv+JWHKXkS6l7EBTj
gTuFWalb6dLJsIwjslUTTJ/voaCQwB6A61JdIcPS26k4RbL2YPvhod9HcGuN36ZxQ8h/GlHLTJUy
jtbYDJZlH9KDQUezS/kVloO6uoJeGnwzEZTQnPm7vhzPoXEHLuFE/soguZDB31LoqKPrR3/PczDJ
48qp8HlXhEYN7Uo+oOXwwAV3s9omUI1NC5dsIB7+xEq1xoUFic7TdFJowhmvQbM37I+aNrfQ7PkK
TkTBe2D3Enq2qOBRDq291csBjiFjyuKU+q8cIGmvLmp82ppxCj3lVJlX9Y+ci5nBnFkCJmSVl6F7
DyguJSqnV1TTQFKvjmJf4aDHiGqhf4463geiTlkYWvLdNFy4ZPuE1hqPco93DfioVfrzHkjKiJBA
QTgL8HXOSh031N1lcqa5xoFzWI5thGT3SjM/0Of+m6Yuw+wfbhMfyFeGh0Jk3Nz9xjihadNdwl5W
iY2omEVH/e1/IOdz2qymw+QsG3ENqshTVVpLX0NKoUoQejJkVzTtN9NursHdH7+09FOh/B6wyHHI
qkDlhA8xb5Z4TQuS46RywrTvqEOKF0mqaKwgRTScnmG7wEUuX2PFpM4QC5RXc7Qm1GdIg9xE3Cq0
hiXnkZH/mhXGD/O7QePNSqrwAu2Ys89DcNzCcqb+W1AuoEUdtE2G2XoStJoI7HVh7R3CX2jd9qJa
WwC8mrDaRuLpqJw4ObLyYxlVj1oo61ad4mMWlal/VPRZK1StAjrNl1MuDA2zfgUkDu9TduTw1DN1
y+c5aX1pT1ctXaML47REfIY9p+UV/6EE5xcfBpUS+C8ZKIkgPb6YVvGPhiaVMC65rrjHNHARCA45
6duRG0jjGlgk3uR17pYC7DTVRPNRO2fTOjZ0a0GyKpjLTWpjRV0ad8IGMdszkdBUsgNB2uCKR7+D
blcqoHagIBPbCqd3UQd772sgSM05C7wGNlzDwlvn0TwAVkUM8Fph6UO4Qe7EvIeDkZuHMC1Pmjmc
48i4pAqZBMjq2XZ0Rj7zzOgXVnERUOw/UtFjws9QcFHAFyXFBVEU8UmPkzNl9ARJ1NWtDrAnj71L
FMRnTcuA6M/Mluw+LG1a93Q4xI+cGDkIKeEZ47TMqc0sMhTcnMtaeS153IO+MoMeRoIHC1QIQVda
Kj6RiZ7CmB6eHzvX0EGuZK+ItF/FC2BwL1JrgZmdROMtKYzaSVLiVT1m6yz71BkhMylP9iE6fNN4
hYGzGlretpcf6ymvR7/ZSXCXygMdXg/c5DEjqp6k4nEVWQ9fjGhvvaXXDQj8SAZMbVih7UZgVWYj
G2DCh4sEBYAS1aeWmsSShouaukxaKzA9KNIDz7up266hZY1TEZxiQ0sTS21m94vRxoWAWwQg2Dty
yHEBQq4Cu8OwjMZV5U/vxCuJPxl9Bsdy45ojva4jUXLpm5lQoatOdatNEFC9ZxtcouvUGtYZNHLf
HxdycMFit1IjUiSIeyX9trSwfJtAjgzwADWHDbrmIwJ4KnbwiF0Pw5JGLjYREqotRT5o5FX7ORm1
tTjXQJFj5VT6S8isADxL2Zr76qF2IIERYRr6E3wKjxU63nyArmTvQjun6aYsc8zaqmctCYYDkQXe
KBpmcpRzBxKocsnIo9bU7/4WJRwlDTwtcXwym/oco4hKbIs2WLhpg+KuwoRoZeUjZCWob7yj2cbq
HwEjB0NttlRAEYgaqrPOAKQeZRxxElhonAuUnUHKUBjS6k7x1e0shHSFpz1iU3yYRHqxlvYqTn/J
280axg8OZhsDj+CCgct1VJWz5RawutTRPyJY8gU0FtKw26OXtRu5rPCd0NRdDAwW/UBijUUv33aY
fu6AHNHiRRBdDLEkdWKe+g0qRgMSZbjnrOYxlM5/YnxJsJ9QEGauFlMRM9FqI8ZwY/tsvPQhyl8c
XUV2SAJ1P+4z7a8B4FvZUKiQfykHFBuHgjZTvwA7uKkdeWMSjp5wQwwZBcHe5kgVUbi1TNvT8aRr
zJC5CS1r7cUMtzDJRQAjWJMCgiAFilQJvbaSSeuoRcQ8og3IJOmgl7DPg2pG7tNAiqQ1Uok+8Jm5
acnBPFx5Izh7K14JmrpEWINvsJDS5nmxKaR4E5U4yktiJ4wB7gD2rIchHxt9n5icrgf4nWGKVVze
Gi1Iw4bqZO5V/+qjIphKl8E6EAglKreYdv1FNjydTDnIXneAp33wJBSr4TzqbwKk6mRbp0Au6co1
KlQ3mxpQNV7QZ15UBX4Mm7YT9Hc/JaYRRlngPl7iPz3q+rCqmP5ackCMKEZ8Pmu2xTvlHG7KI0mI
R+GEJyqoEw/kzLdsbEkNfp9lcLeyfM9HAmEgK+9ImFlaJrBLhdZ4hLl1qqUnQb003jB2yy7gXnSA
9aAdu6w+gTsMObfazF8ivr98TP0WyRlmScqRgyMK+s8Vymfb3CGumSjJuDxBBgaHsbrgJFo3nKVE
yHyu8XZN1EIFtTlQlCgRKxXAVP2PnuhcKQZmkcM+EmRMRg0pLwSa9CdHdQkLOIqqv/YEqPubrinP
Dua+1MAzPIOqrGwbQm41QG4wK0gIsYfgKArrKGKiU6yeyTL2wLQ4Q9Y7G6+krrlCM4xJr6o1kfJ6
Dxk+zJjos5H8QCTVfbyrxmoLTWozxc9Vc6enGpO+pfJUTzhYIh6IZFIznwoBxkjBOf6iIeCgEe2i
M8/NBWhc9xsBpVYwIjZXoAq9DRUh0I9hk1IE5W6A63QgLaPGdUoLkIwSbRlZh0qkCwfeR07WCemH
6tjwVXKA3BoHT9Gkh6qTD0qo7FOStUM2bHWaKqrHErprKcwjbz7zX7hxn8xS7XkXZYfSngSFQFw8
Dp63XIHztR0r8xn34PJxRqCsPmVIqXOZxKhiUVaPoqHnIkFucGiQk6nQU+GZRbUaY3/VRdDXknSp
ugVi0Uw7G9E706LzmDMgwYqUy3Mo+Kpx6oR0ygFVd2/wuTcP+erQ7XwLACZ4Zb2kGsdQaCMFoXOh
yRwtczIazI06zxlrycGLeynhtBsI4lht3HcFClN7Icp/UV8uBBkHI09rpMXsnBrnQ0Ds9NS9o6aq
ZHCJ1SgVdNGjVZFZJEWjQe/mBi6jqJZcOCg1oWmUld8ivamJCuTgZXImp2Lh1U4DxrZfOUiTuMPz
upon2JY0ClxU+GA96axS66LcRFS81yS21fIA2iUI3nRNjhgn7HCi/g4uMAE6/w6d/7YCarmNcCrx
v/RLxbg6RTy0UwbtpI/SR9kXT2fMX/xemWAJ55bQGDJwA8jgOfWILQs3k4n7H0OAzp+q3shm7VqK
utLQUZiUcgnv1xDhyqKf0yJQq61qaSxBgdEfwshVrxuv3FR2uy66nR1AKjVc229cq15o6kMMuds2
ZKqdYuls+z3ZRXQsAh4bOfOXBYspJ2s93ipoWSW6Hi2I9YwDhAy5lLVxuhTgTKPATR+qGZ4U72Bf
UlKPU+yNjDdymjcCWdS4qhvSR7ZKLCEpkmdFftIGZNj8Yw3dzbwvpms5DJCEUmzQGvrS45DcCuxb
HEMFOlmOMtMnQS9ZA79vT8syg75uAQQgf2hldCa8lSAKbeGxCej8hsxMPywUKt6pMRukE58FK5ZG
j8JmYDxoMnOVRVqB18RyUxKhrHLsMX4iE4fXSm+ubYT8bip1wubSWVAg0CXxH35jtZf5sQxwSAtQ
JD7yNxL6wp7hg2DMiPCM87QJTNfB4UsNNfVMclQNBsemPDhUw5O+Jfe4ats3Wig89hnBEH7xm1uv
Jgbqo89CIwOm4ebap6HEjDTK9qo39SHHCZQxvS9+cahZ0wsIyrvknZBKsYX1gasgyYkpu/hr+vx5
c87Vlf5X6qWrLFP/AosFZ5nNxU1cbKZBusR35h39tlqUNDIgU1Jah7My0g4ic+Xyn5zMmupgWNK8
2ijDTZEO7SMuHJxd8byy16VG9jfN6AcPU80/ayVfoqUVbf3wW4qObs97+k4vAyqZrMfqbmer7B7J
R+dHqrF/m83NVJlzd1dgZHgE5s6rIL7E/PPo0Y5AKhi1TBZuhAZ7nIhQVeZx6pw1fJLyqRDZWXRX
xjAGIE9tAMv6FKJa9NaV+ftAKCaKUGnEQfvjMDynN63y2NKt5hS+MATjv/IzHSDGJaiK0eKIZlaV
J5Mgmnz4sKt/Ugpcn9wWVHboKEZoDk50LYaSmvZlkVTCTO1Mo1MhSDggxdmkvFAXIlNpwJDIpBOs
niySf2P0JrJ36dBjNSqJ0cAlHd5CDtfFOUl8hutuNMIKqD5Lqh4IfyjTadnZGlEs85GTT4f/qJh5
QC+UdI1eCNTuQg7nHmz90cOKYhJLwIe2Tz7D9qdnRi9o7kH3pB/RhW5ZnevqrLHyOeywNqY0XCaD
gW+s2+n+CbBSEK6IQ6Dfum/NT6HvUu2AiCHKgUw5OM6zmTLuMiCyGjGHjI2qud+jtl1Tq9NySGAy
atavM4iZDOxUFtnMo8NRdcXMxoo7tkwa/oHBmhWgf2sSq9yGnSPkUwhxzagN021vGfcuqcyznKJ+
XuODpxTt/yU/kf/jp+YqUcZ13i28R2TTNIH+mjnIww485zyn8I919iQ+sbyBci3YqvAfZcs8HOee
ebM1rHb+ylpH5kfUjwtn/LWiZfTqArG52w/Nw/aYhUt+vbaoYCzBBllEyr9w/BzFK+ILQ/bT3wYC
/GBkVCw34wWsLa0b5N6XzCSw75lJSPYI8hS04xctp2No6kb8aWQg/xD3IJH0gKmb5hGPlV6Ymyjg
2nMc7FbEdtjl1SLfeVbQZNdg5YbmojE3lN32uUg+S+2lBMeBd4adhUsOOM5o7gFkw3ZTEwLSoBAl
5EXiVKKJY2to62/QLDNrLY3ku8TzBnXgQRg17BC3wuUFz6iIPyPzbUIZdXpzhi4ZSjkv3SzTrSLh
RQQV+0VNgxMKOGrpUEv3gCzMcKvJnZuXBoFJ25SpJqItfVf5Z7/6i4mz7W0OD+gE4nXVHEa6KBfD
/NPzlefhAYb6kIktEXTyWzP/Igd8DycwP7x07O4BIVgkcDj0sZWvmgTPpxoPmxLRmPHwAJJdqnsa
gmMYoS+gg2XgxYog3ZTqPmCETAKEtxc0xzMOX8ks8T6IvNomnP2Eqc86LMCK/sj5xogFQgQpNu7q
ZspfUvhuqVQBUxnMQ0ayfRRCgSTC49Hs8iOWIJ2h+G2I9evNfwEmSGyA5CESyq36EhOBbe3Jm7xf
MNAcTepJenE9z31xpB88L0FSahksBi18QorFpTpvH8VUaRm/iccjRBpVvovZv4OFjqatOLVMoBxp
6/PK2lVIU29wHTQuzWOCsIHZKPKl1Lwijzb01SQKB/VlaWz9Jge1IQMcepU20Ooc6HcGTIF/0tIe
XU6xjss+Y0ewaB+OrknzFjmmMh4RKiA+CSHqNTteKe3fVWuDodNB97AT2eKN+IEfatAZcJy2m73J
Ab8ODvExAvhVandBBS0H+tOmp5khAddTlOjpzV75cXQbOf2pyb1Jh5uRi6udMx7WgvM4eLvEdHsQ
6WgpcafL47AIIboqaNSb9hYwP3ymQIkdsReytlSid2C6KveHv+vqQ6lFmzoVaxDzaiEOZYEGds3j
Aga2xqaGN8aNiuwSrkVW7nufCXuUbU0T/ZYClQgxt+dYwDkJTu6l/VKivVHJ57AG0K/TQxjp6B8T
OGFa5yzl4p+ufg5IpL1TyxxEa2hSolSlZZKZPxQiLYhDBdmiVNnzrALtUNtb1lgkUL7D0reSsz+J
+SVszIg+8ei9mUBa9TbkKtIuTUMQbuIjfevmsPCvBwl4TlBdDt641nEN1YwqCvubKRmz1YIzoo6t
mVwW+vQFiBbNdLEMInAwX1RMuUo8BUCh+OkwiigJMAoEuHQB8Ur/12uwtDD3douxv8mmMQ/uNske
BpWs5zVLno9IPhf9s6EYSa3WdfTyOPwZDTP/WGfJOaFiLXJ2A/7pl0XbTWKuMAYem7A307Nx3mi/
hGi0HLdVOKpwtqwVZMhBkJ5IYqeJrSMJMKkfOpvvh3g8yId+WBJPtcjoNI18fkBYB95zVS1owutm
AigfAwQ9MRTMvExOra2r1sHL+KGUrFMD5PFT9hEK4FDjGdkqLw7UBqK9VKezjgQC4xIU/88sQLFP
oCgUsXEj5ENVIpwbjxbN3qW5QuM/WWqi8dgT7Jkam4EBFWSfPrjC23DR0dCs5v8fWgnTAE929xHi
pKHYlVtSpCN15vlMTRi40WGz7HOCurqoX536kNBIquio+SvdmKUGAKTyIEU82LOa2YwUy/TeQoaC
0s3ge2rnqHpP/i8p9j74KO+5aPXuYIBHql0ir2cKV5wRVc4lpXnIr7Sqfuubr0bdSw2NyJQMrQ9w
zfsDPWGvtab8oXnB1ZFuKROd8kIfNkbN3TMMSEnEEE/GeATlxJyTi8Y44n88KTqx3Nkft0MuyWeV
3ccC36lUC2sW6OasofUYpvMi/urRgyUksw2owImeyImixJzFhteXG13npnygCTSZ0sooQZAvEJRR
SeZPx9FBK+pVWRZLPZjrBBTgh0OyMGkbOD556UjhfA49QRzHoorNpyPDdZFBpg3zjM92KB6mcgnJ
u8KMlP7lHEyc4m4L+2nE+G24MZ3oyz/Sk1oVmH5UqhX1T2KglpIWJk1jUYZyPfqgKoZywMw89LOl
VTYveyDbHrgbCQURScgAf2ZjRIx2obo2P0L7qdF5IMUifcRxdpMNi0vCRxgzN4SAxeRPRRyhDUc/
IcymRicV4PUhbImxdMY6Ufhvv/7OirtXfZe09mur3Qxzxod29a0Y5rnx3wJvYMmgRt0gLglTfKe5
vGNWR3CCFaPWkGL+G34QZw4NCnbK02kDQGY3xpEKg1KvvvbjWbI22X6yK8HF+YDDV4bFZozqOf3y
KSapOL9UbsaeZn72yw8mtPoLRn5Ic4h3ZoraD8dC/UMdt3PqrYNRy8pOHddPZoBMY0lxZsYJAv3W
1ruZc9MABffRl4IiQsk+YehpyIQFl1KZxGzcehb5Mh+9+huxP9qWN9e0f9MYWppycPu5AHmEqtfv
3hUJex398spAMCUgDvM32a81LZE8EQRN8MBEpHkwBeZ/9tzvyhDjIJfJ/Lw6zEFCRi3mxTtg79qp
RIRJxUHCl6DwkaM95N3Lqs5M3NXB7hlTgXj2wdPUYpw5+rUmUJ6XSehLGyIX0P7RaZqENFF58UDj
8KxNn+aA9AzHukXRid0YbRiHs+w3Uf8GNV7GnJdFzVGzvPQIpAsJ9qN35uLZqb/k25QBMPoAtJpJ
ZPRkv2PtaTCpRPN0Jm+lmkNwcSe6ZRiLa+kcK0bd/SuKjL2+Yj5ccjhk7Z9p2NF4zxoPBbE5XsLI
4j2NCaL+OQ2pWaaUz4LfOS0IDndeDAxozD4d8az8d2ma5L6Cu+WXydEzC64mHxGrAreLFn3JULF9
vFcNFU+l7cVwariWA5loPR8K96/MR65zW0rqb8vo2+OHVd1yK1YWnhhsCQsEKhqoiYb7Jc//4Wpe
OMX/o/UyP3ON6/ys8iwJ5iELD2C00y18u75AUEuGZdFErsUtvpNiRroMvkxG4zpOOD6dUyb6A6JT
p53CdyLWNF5v9zKZk4TNVffOmHjSP7UrYODcSUF9eAbmir2F1QY0qyJ2MnfEgVWIT7dqmRfwhnoG
Pho6EURr3GwB9x6rLisAr5NMFU9cDPjbrV8xW/muvefIxbYmriH9wUA51CxUOmts0GwFPQYdJTxP
dzs/dFLvmsMcyQNiJh4Yq1mZYJCItoonpRr3WupcWn1YRA1SMPwFE8b0KfEk8yEN7VunSCdqiG8g
X7ueVpb6m9ui4BP3w2attYk75e4sBHdD6z25l3l7aAkyLl9k/JjprxIae7V9m5eY2yifRWwb0z0z
cOVtFBMxHd+c+wvt7q0G4Ny9PJRwdeR24UfDzJKsTFiGGT5PzXUYn8YW0ycXc6U+gCWcm9k/GYoJ
/Jel3X+1PB1iTLfTCmEqd2GkiA935R87EPKZvA7ROFyn3xaweFqE+WXOW7+8ZOMFts1TYW5WkxCC
ZpLpecd8ElSwDKV8WoUmzelsGrywyP7wvWfIX8oM1pRLC36A17ygdSbz73N1VFrfzAC9Rp3b6W+n
X0vuTVFbJNRu7LK69dzTdkEf4Zx05Gk7B6OdlT3GHv8KSdVETOFtJ6GMePKVikWnY+lIGEd8GTiA
VJKK2VRwOpU8ASrrVqt8jtJSkr5YNQw0WZ8t1vyGCGhWFuNlzPI/mYBYlD08EKHxiviNfn5ucEMM
W736lpSH95XVOB1UzrGMqHzq1bt60U6MrGWZMD3WNs83UYWu4myHrtj+yusr8ITTgg5iSRoR2k2D
4xhSwYZ7OL9D85sl2WfgvFPqACbqgQVjJv30Bxj7w3wHEMmgSydfNFvas5zxwSbVS03+oMyQEuI2
BaSmvR5t48DYoh2TQZC8Q2TTGowKicm4nPzVXGUZAVGIT6Gvt37vbxFNmUD90vzMtYuirxQqRIzM
f06H0zgxzZ8mkL3HHA3zF92AipE2WBEaUtHT4BWq8c3U/7+ZxgZ1Z7zlecpB+Fin6WaJYvUW1S+J
F8t7iGoxe3GpMiQ/GZKfSv2z83Ddtm+DEbASsf23BuiSvYG2q2CQTVgTN0zGtmFzxxrsZR1LouCT
CcloeMl8rOO5NJDW8ATbR43fYhTyI+KzR2k0K+kNTRPnhlciKcE7JD4nYOCQAQnFLX3RuCoAoQ4t
3uq+LmfoA7wIiUB5kQjS5kPTCOkhUoj8h6mEodKM10opbxsf7h9fRghx0JmoI7vzlbsljyda2kUs
o1I293L+0E3zQ/e6FYAfF2XZlz4SST4MjL90/IHnwXculUpQtmb1bhgw+bQ/xk72ZwEbQR7s7U7b
jLEizdrkV9ZpA6FBh/PI0rKMDSlAfHlWMsapObWevhSysUylPU6Yhd6Pb59Pvq4twHL4/ZyAPpbJ
192ijU8QSASn78QynjpftbFwO1j6C6t6N5mBJuArazKqmuHO6260fpHKnzSjdmX4FHJDSKHqsEs4
Dk8EBzECKoUmM1fy0S6gA+hJih0H9ZfY0gwgsX0ddG9uB/bW8D9CRBoMx+aSQCFRvvTEJbuPgT2h
dzWooXtoUCAP8tlJOYV6WY8X3S8YzLX+TTE/stZ5yEO/8cSprM9SfLRKmRj1Cfes7ELst9nS19+1
V6Aox6bET4tkNfpoJhAaEGDphVvLsTe+UDYFbRdFDjeSzwZAaHjgr8EGLeUYobXNPY2xnyNTudSI
PpSJO1ZsuLYcEReh+ZUdstxYNhEQXa+9Rr92oe8lQjvT0qHWq3ddoW/1PNjuQowZmYZYpzmo8ruX
DYyu87ZlTKECmDSLHZPhVO4IdqWlsgK2Xn85nykDN4XQPAJWI4dYAEs+hj164ZBUPl3ep7DGmAqU
hrFVVE5rc3UEopTuSwYPkUWLEIOJ6dpozjE5wC1oHwG+LM0n+Gul4XoVmeYO8j3hwYfnJoVwOmUi
ptwRCYiKMDxmj8a3snLgQOYdO8rOWiQ448JQPkg443CH7KSdpi3SZuDQUB4S+60xXIOugjDEgGA+
YDVrWURGsavBJ8vDtYF4qQgZShl3DcmJFuP6z76oDj3AY+Ofio5egJoxon7eAKqo0C/Law/1fKt0
28YRO0DLugJ8nNuO274WElai7/Qv47G2IGH3BLTKWx8Us2B9I80Iex3nzHBJEb/sqKNGtsSeo1Sj
/pVEgEo5+qQSixod5EfYLsMpeDNx4UPLsNm0nKzgYYTTTjhgXs0jCmAJZTaIupQwuZou0jdrd6Fd
Y/hIhLfIdTBDLezGZCAjehhJ9dMnIPCVTJCl6ZUrjLHILKWVVzEQ4/FPmGZ74IpTCCRYE6ilcH4O
20k06Ffhop3Ag5xtrAT0U84A+BRh/27sTajcWXGWmootvXr1FFmexbGAAhhf/sYhL65Jph8LWZ7z
bV+C9KJnrmf3yszuY/JlhW5qcCHKZWXlaI6iTQdY1v5KTNul/AsbmDDggBNjXFKTJbKJU0pa5iTb
RmYBlcZiXFPr2TqIi7UJA1KDASnMDBZktjaSAIOLOWPIiHeGXT+klxcMV1QvY46oESytZxTX1Cqu
Wf8fSee13Ki2RdEvoooM+1VCKOfg8ELZbpucM19/B+c+6NTprm63LcFmhTnHlK6AcHApkDyiao6t
5viEs4v3l1UtOsLxMEA/U6CfFRUKRf8q0cwmcLAmJkJa6ko6jEdWNVgb8wQz4zKrk3uvBzeJhUzA
6OzD0lE/6qSMhbdAMU7a1J7qr26QcaMVe68xdhhkdjGq/iDpsagmW2Mgny+y1w19H2yCiJlkxmi/
WhZK4MpGchw/pZ7tkc5MzHQYfussD6UM8ekejyKHyGpWWUvyGpm1YZAXI/v7jMkyu+ij2nkn+moc
nf8U8jzleG+O5Rrli7ZPUbjoyE5ayfXGZJ2G+TqsiF+OmTezeDPfJqh6BJkCACeyZFHY1TrNIDhX
1JSjvY6SR3+MV1pzV4ptEAs3ahfnzBlV+6rmeAdXoxY9Nal9lXXz1hjhOzqjU0qE5FDW7yAWNW55
ItlsIsPnbRtWWeK+/fZqsFcM9G2QPHTRHeRiOlSSfODX7SFu6wMo4INVswdHlTm1e9sZbeURTdJN
qButXEv8tAHqxJUVtAfb/xfo03KM8qPWyEdPM5BPklntBGPnDMO/OoIARLCKOr1bkeZo2HQVkLS9
T1QRSFqVkGrg6MHkVFn3yDPjRm7lEgHqWrWQSNi/iDn4OG2JjlGWtpq2rj19a3bMhqf1HO66NPAl
vdWISVSVOJWdpWGLLg8p4aUc0iHHCyrGYJpWmvKEU3G6cU+hZPrH7vRsWsG5aBsI1Mg/IgC/eKKb
S9mtdCrBsl/2hThIAhVVJPbTrcg9JyDWwYYKxlrVlZBtUIIk4Aua/eQRhGw/bOsg4UttL72sn+Ux
OQutOPHA5Y6Sj0h/E2u40qANZB/E9UFLpJ2hT4cmO40Me/gb7QcbdNyMrFn3IWbAPHcLMGbSxqr2
fvKNd/ZALuM+5AHUctCGOBFZN7BFkKt1gRnIvLQ5UAO12Eekuaq6QbY4+Gu0UOkFnK0e6FcJIDlX
J3xd9eLz5T1u81LHHIK9uOvINQZC4xhS5CStsRo467R+dKGDQWYCqz0VSyt9D0oi13qMIXA2LWMW
S/pYfh/V5JTRj5IQYRr8A2ETnzRtY1fxI+jruxYzJcv0ww0GVIB97YaW5yxBSlCfuZYc6K3kiRQA
5vACs3G/Qpzx6mwOTDLbMjDQzbn9JVwNnKTbFwc9x7db4hXVdAA/Cdx/qPustVntlbpgAM7cMC0c
RIZloJ2iwd+HRMqYsL/R/7Ai+bWBiDYpi7h2QpS7OStViWeyxXXH0urMgNK8K4Yyq/shCLuKclNw
LJPhA/ryt2QmvImrcgXaPycGc6x5XoFzJw1m0IbVRP2gUTcPm1hBnxX9JfK/7h6hVsNW6zPelgLU
yNKjYdM2AgzQWKeFcn1hcQMuLG0B/3obd4Itoof3WoMmZ0f7HDBL01ar7myzNZKKLVaDmucS5ZqT
lY5dUOZQdfH2EViDRITn8jxMn9ptpH/rEFNiFAvjyMgrckCWZMheGkBOa8mvKXkcdlZs/V8sEA0z
hqu2TLJ+5XX9WskwMhJfoobeVosExz1jhyj+lskAKYJvVYwuu6/MUZqONNWBa3mee0o7mCQNx3gA
e6hufpJBxUXEMkG75sqn1fjL0k4eAHkWAiFaLPefsclYOldpO0SBYruGAVQ/BkQEVK9s89FLtNpO
InAaHVoZgaWaxSBVcrf/bO0jkpNVX72OAi0WS+ew+MtYBrXyOdV2vmS4NjDOwmV3ERl/uY0IunZQ
Yk4miy39ASAMLST6gQXZ1Wx8ogCYKa6k1LNg3GnbTzPF2fstjW9wDHYCJdWnqn2gxay/Ciu7HSfz
VtZYsHCR5PsKymLQrRPrh/iTTKepIEdFIsDaRA5BbSUfmg6Q9YbVEM8umiHkhSYpISym9Wr1qcRM
biMsLH+T/tuHaFOJOjfEs2t70D/DRcqrC6snMhhQEATyCcv0DMgX+5ovpIpdFLC0gZbwNxTN1hzS
XU6dZkmfiT/sGVFlOKJS8BgKGY8DkczGCeedZrVrUx3XiJnXA9Ym4MpKZC8sDP2ITTkT+2irNsFN
FoxxeCim0kbtWO6gNaerylC2SD/y9MkIf9KVg87uXbrGC4PxQlGXW3Ivd4MusDex31zYqXaArKUo
8baq3mO8s1XW7hrJ3487RqgGpgQmSuZwzvvglI7okJO8Jx5PJRf02zZkmr7fSvLxvoOIZwFTJW7j
o4SrT7LIweQ/u+JKsBsdepYvvXHb63jVIfogRi84qxV+XaJuZTZDRKIt8YT1iw0DJZNZUk82DWWk
Sec+pR+VWMiERYPnyNiFMbrFHrQwFoH53YN2aHEgDfzh3kD6VJ+94iedgEHazCLr4BZoL4X5V0ue
vYx4hjqMJHoaUP8rJI5yHoAzhKiRr9D29oC1BrLzWhU5abyh4e0YevFZSabYZVO5n337SrmQ8+GQ
Es0x7MDvLqx/KbHMgZGtsd+TgMV8PFxV0k8ifn39aGP0DqLvFksyIBR0MPiolpEYTl4pzoM6z31m
bEJ0C0b7hln3HvPpgA0okp7WcUFOKNIQ1uefYx99vJdj9FHG2zSFm29CMjO1XSoVuyw5sDm0Kqcx
WF7hqDdxSdcbApOHZRUYMHXYbAAm9u5p7YbcaWC8jr2I6Cn/KpQ2hHXm/RMqc5blbh0lFJmsg7xT
EziEaDIn+zcrg0wcr6hAw/ni3VqovFJmRKr0ZnQSTBtw4vlfY0rLWiYfmhsL1SWm34W+iw6Fva5k
c6dE4oSOdCHb6Fe+awMx/bLTbCbvFb0f3PJ116KAZttrrzAS4yEgOkOQm4BJHFODhuBfJwMxlvCK
zqvZRcOMotRtxGES3Ykv7iYQFMnFEsgIohqXsfJRpbAA7PyJJQoIMy4VphzML2WCqFhlGcVViUnd
JSyl878MQY6KWNTKFXOoiVeIOWaYn0iJWs4/ad3tgy44oAFXuBaqSt5P+r+eYV3IXRw+R1oDbIZ4
C3FBMQ1WyKRiQmOov0zM8TBVbFHoDNkIROBDWClw1YKg5G5n02ewJ+jnC3yeHt+QaMWTvVd3YySD
fenXqq/95/JVZ20q0dJsRPtVSNHNwm8X4uG0jH+m+tGLgRO+Wiq8sRIzwuZbWP0yUx2rPAYIfevU
Q07MoKhHNPLF2nWssVwhu0K8+I48C9IVi8E5tVAgWCXtaaACyaDHY4gvanVVylulULc93TmSGJYA
/HWGXUsFh2xvSk/sohOLVTZMw3RqPSYRjK1zlJQYRlmEmvRbvOmM680RQUT2kWG2p2fJ+uhmRyNV
nXwbCvlWEPVQp5grIDRpu1BQtVLtFgizi46C46+phn2Qci/2+c7TsoWorykK1+9gRIHZGyC1cNMb
oLVaHCX5iKMq2aJqqBgooCipZz+dEeoL3vaAPbNuvsfT7IzDDqlupcxgwiK2DSa7YH6rUJ4VhaBG
rKDi9ozk2K/ECiEeTL/8NSgbsydhQnrDRj5hPU82FT5VbDzpFD+tOnzarbaog257nPp+Wxc8JSLo
Sj0PDaSS7bCpigL5NELgFW3tgkcFz+xpae8gjMmSvDVEtqVimiJaROQ7MWqFKjvmIHf8fYX4tkHD
Nd5RQtC6A0VfkF/do13gt8NbS25GYPwKlIiqgZgbAkzg7doCoeEcIjDuo8sYc32IbVKAx0dobVJD
R+yHQiii+DO8hV3/NFt/IyMZhhqxCfhmof6ZaNurfyOFPIo31ADNytc5+jXMsrN3e5FgS6nad634
kLXkwe3tQPuAtkjkAk4p5g4XRXV8jjcSoP6rKfi3kb21KFCNYBXf7NmT5RSj5JCWtCDWx69O+vAc
gnTxKUTqmO13LrG10dHvuDRVs9yE90uM9058W2nrcE5uM0ASLfyjSS2XAX/AzMS6ad+Zm/vdTfWv
1fQ2WT82SrH+i+8oSz9j6Z5AoYurfx2NAToVD2Geh7SYOmc4SMXHWEonA/rXpFwq7wkOBBT2uq5/
JuzyA0FiH3MVhBYPQbJ9DKdFWjI4Yzox2VCmWJz9tfy8VnyIpxSgOaAJVd5VtgS9HwkkU2akNBG5
rvVGtmMXl91n3WmLpLMpW74mcp0RBiNXaRlSVvEz5KOrv1C+21iC8von5mvzA43JW1/4z8z4K7tq
2c0ifBgzJqndNZhIR+TyonpUENT6wi1VJkdOw/78L1ePKm8opOpmM5/pTbur2Wga3nkW5qip8z5K
+Z71vV0GzFKHy9FDTd7nNqCO8Cqz1JUQYUnrCuWxPZokrJG89Vu3CjleCjFy8kaXiDZhhsO3bXNh
DtOw86YYRSZp50iY9Zy73vdwKrSYg2wOxX2AWUq+t1NIrpOO1SRxZ+HbhO6uk0mPmhNHPXlTL9uj
n2vb1iCq1JJXbQLZxdf2TGukn8nGcLLL6/aMgnFhtQK5P7Xhb0OVF6i5kynGxnrPh/gVFsUziYyl
YAshUHiA3tKmS2DUi9h8T5UPnRmSOUPohfL/A55zvweVBL0hZ8McsCCajcMFcW4NKzOWY4P6Sqbc
kZRoE8/+dZJ4tXzY5LMLIJA3XQjW9yfStR3nFoa2dpcy0slgTHbNap8biPfJbWK47jO1jwYijjE8
ZapEpAupKPE9ALimsA9P/trip0xXnX8vioNZDqdSre9G31E4dDu5zO82PpgCA3wVPT1N3Fluebpx
EQ85SE/jYB00gWNRr3a6d1CYxUXhAf4twL9pow3ZtufHHtcYwEnR+5mbTVxitd+vu58uszdah4BB
obt/K3FlqQD7aDW2E8A+3PFGvOVOXKegkwmYjnjleJghVG4DjleFl2pA9Vv0K7uBfooIkMzTkG8t
7S74TpvQQEeCG67szyzoMlJ9LM/VGvg4Seu6FJq5gryLxvlfih5OgXfNkJtVsKuPFukzwEYF1iTk
eU1tATlhWRbvpvGXfKCb2UB/k0HD8xwF8KtzdHmw6le0bBbz7AljT9oeFEKBbOnmhVD4g/hg5KTf
3vKqPAcB0lbKSlbDcXMrMS9jrgQZsCAkaOXDXW0XHhFG/xcByHnvljBTVNnf+TqIARLYKT7HuabC
Bqg4E8/QajpNBCqkSM3q5psnXFdETpuJZa+SScKkHsUkgrMp+PIrVGW8yKc5lBVbN0bOVbJL9Ucx
ueYfdhDOq0ps/cg/MEzdC6CsKED9+lWbzXqs8PMrn5KNRnQRv3LUOKRWetT6T+8zLcINqu1NOH5q
46nGXZSaKAcj7UGBYoFKYY6k3xrK1k5VuaupRmbtAARG3hcEQSOyy6JtTykB48GqiaYr5rOQ6WWf
En2EYb0lZ37ixyABMqm3kUnnhav3UhFTN3LHkTUhAGVkmG4HEigthNJ+sivr+AWq7ZVy+H5wN2Ji
3vkivnK2QWvbe5xKhde9dKXB1Tev02wItTKT3uGdI6wbSftgv6lZKD4p3IZo2ANRsaF7aOjXo8cx
poyZX7h4oJrcar+9eYj6LL5PvzGuurQyLfVZ+tMDkEqgH1qV7a3/nlxiVFMknC91LgOCaZP6fV4z
g6p3W3Y/y6g8zkAD1ntKT+JZi9pqMQQtmM/VvJ1NYTzB1WRRzv9J5bbB6fymG1jtJ+2MXmdelFca
i35Bkm681opsXaGW4pMIHhVBDwIer1yfmtlWjNAoACeAoD91hmbno4DvqEMEIqS8BN0UyGvOnHVp
EEydrSQQgVMNaKC9tRMqrpRxQbPjSU5j4GQ+FTeLdwvUHurS7qEypRlksSiNj+JfQ+ZoovfblMda
FOwY34IzIzFFwapoZvz6C/8LLNDSTVSgbl8ceGxV1mMOHnnkhsk8qJuHvLgpMAU7DH5yvyG2a8i3
DGl14zS0jIcIpTQXAxTL9t3f9I2PhfpJWUQNQfKeau27RF72Xxn/ZW+2mLMIkT7417l8yYdnAvvN
QKYfDOQ7jXdGBjyMpi5cx7aDohTpIA5S0nP8dxTyk6Px5O1qph/kDUT/KCMwrvHQXWbes7X2Zu4t
yuBY00kZ+m84rWwIs0zyl/BzjfcZs+wj2y/Q3Zz42ZhCDsuoSzcU0513xos+gpwBK6945048x05z
S+t9Mn/SggEb6s95wUfN79+U8jHxAc3NwT96BeSUOf9QOzBKqrAuycvJVXUCl4Z45d9EeRRoFc26
ctri1OKcsLM/HXkfJhC2FwE1q0kMDYE+lPI9tan5HsKsKW1SRKRjv+qmU5PZsHzm65OJfTR/70ce
8rw9ZWW7SRpsBFbvEpVaVV9z/m7oLRP8FGW+f++iJ26TUVDe03H5zKPIGO8tCOVzcyNlZ1T8jsEy
Qwd0k7HMKOYcU6bkwPboZUZeA5U0Cp3ecWpu4HZuylHOQqRqvsvX5KYtnS9Pi2OPDkn41/Rr1v2N
eX00WJ0AXToYPJep2C1g1Wm+P1pIkNGWIqQTUE3b5F6R+PWpEyY1mvuuxLpW1WBnIOLLOTneTim9
jZDAY5HsZ9Ix9q5+hhLL3KI02zKxPgXpr2fJUDHVR3gQrYOPzSLSg0M9kI0CHJaLUffQP0DHl5gd
LjMC7cIn4Q6mf4ezE4XdJfKlexdI90j6QgN7tG3/OgTdtWZSUAP3aU+TfGm4ozNlWIQnG6EiMVpY
f9JWv6sMK5Lgi0+UfUyZ/YXSykJh9R/Ww52dT3qavteD917SGmIDRm6yAACzHvqBEGDLzR651jDJ
wCMMp8E2PRoSDVLxWdD5pGENyu/m06IjrQFTlMPlqvc5Pz+xBAE1t8mVFD/ZvCocww3PpdFgCYRn
B8tNMbSnfsUSOlIuGCUvHVlHAY9oCl7yzWvlGDQzKqPS0MNCCta585mrmTRVrS62FDbgd+1tbxHZ
iaE1T+vtfB8aK93yUZXQYPf1Xu+MnZi1ogoZ12yKqUkvEphqeGWoRlzsPpam7doYiwtqbKujeLJT
4kkW1dZWd4lJRqLHMzP/Z3Ed1nMNgpXVqG5p+SLo5hCo9q3SeJmgHlr/6PnJRsan2UPFiqjNimDl
G9lGYfemSfYqx9zGTR2yYuGjIzYGFx6dDCrvbYtTCDOQZdq32EpuWRZdcRoFinqPq9+gsNwxa7mi
0EhjlWCsUGvga1aVjNse+3RPMCQml9YtAWr7xbAqG9oKan7FXsUVaVCF7tZAoulep8y7t+PD87dF
Bq2zVkCRt1hplb2w/MPUE2VOGoRsd4doHA5ev/A+vEB6Gb7x5seqo9ssW4z+OZIEFwt7U/isvazi
ogzFSX2UQl/rqEsnDdtzEoH1RABV7xqKUJutaMrGFEFVOLyl2kkMt4q+EgpCNqX7Thg7vbumfErx
cqj0LRyVLelwm9Tms8/KtZ7KbosKoe7uJXsiwqwoRg8NgSrlV/trGecxBN74GVK1W9ozz77N4VEw
+v5Gdb14GPqGnZ1sOInkkJTW6Yjcn5O0BFeRDlvG1E3kys8ARYawtMXZ/Jo3hOlSX56NKth06XOW
zSfJuWV/vBzFUn3VWChCckP39n/y+LS6yLhzSoR4rh28F/5FfTEkPM+Z12LGDG14PpccC9mivI2s
NDocFUAomIjLNv4rQoCwSIHS3PVhvNPnOf9n96/Ep0Oi/arD6dpj/jAKHCH+Z2K0bh2AkPICrJYf
M+YbQZJt3Wo1fkh28sQrvIgUMOhgUUKm1dVbVO4achTqhiShIwYv9gtRHOBTminoiwjCVoy8BgdL
arSOUGaDBHb2YemX45ooJ6VrCBxKT2qw0T1rr4kSO7PC3Jd9lsHnXL2BEnmYkfpoGCRJ0raW8JlL
f5J19bzpQl7OM/UiHFuzCwxD8kOJWUOHZDo2Z3RKKx1XvA7uoWStqSIXoDxRVmG/yvtyzdYao/S7
Gkp7r9WBx17KoN6JG8x/Hl0+mPXuXMj+oc1dpQtPMB7pNiYPFmVCE67Vt55McBZq3J4sZkNQtG2x
hHbWPxRiMS38H+W0TiXA+Nq2GSPU/+isqnuTwd8RbFpxqXN4+O/CvlqBeVEEOEWtofc5gfV+qeg9
AvEoFPtRxOHD10/cpX3NxFs0a1pMpVsm2KrxeNJa2GAHdh4q8+Ad0Ezb/HCP1xbhrSro7lvgrREP
j2O4N/E29IiVkP7e3aQWTyk2XqzHyTmRbdI/LAz8vHqPOZ1Faj1g3HGug/1kLtgbZG9aDp+p2CR5
sFFDfR1uQvlTk47FAdohl647gC2HhO43f8TBsxJLN/lA5k/wFpoV56urWsuYJIlBAKVEL82j1tZX
MqHs3pyVeu1YV6DGtSObECh7b2uEbU36EVm6v5p+CppYzih43CSin2wZ6lk44shBx8y72OwL7+x9
RaQF+VFPpEm0hlzk5OJNESDOGmMDAIPQDVpxRqF+l2KfUg6YDPxenBvjlljiYVbQEM8JgvsJJxwW
10RcSyu8ozupx20rVftY6xaxLVZWEZ3yDFehV19CJnwzFdGC7yV4EeEH01/lKaYMzVYBRnA03nls
5xg9TZEfReYfzUw+yBqr9Tnp/tm/0nK8DYduAPv4/70WTu7zWGO9RfaA3Z+R9aTZBxHhcj02NMHS
JkOYrCo0rOjpxRlDr8+wtmc1kUiclD6BizgEynSr88qMbOtV6TYeIvBq4B/o7DBVFyOsOkzGiZ+w
1CE+ilWDiqRIxmjMo5buZ8hptOKCzldlgK3ZbAFEuPeGL9FVF4R5OB29z+lnlpbD8yajBxGvmiU4
IxTEs2h00NYgIfnuPe8QAcopCSorYHgZ/crnbcTB7xK3C/ALV3b1bXEZGQh1IuSDAv12LFMYUKb1
eDdaXHtLFPsdGfITTYdGqUXxPOZ0gXLxhjEeT4L/wUdI1QNZccQWX937ZORtdJOLOoir136X6bRr
R8gxLYxnG0ClBvpNY3EboN6QIcERBgI3TFpQfskIrwviuPp11C/YebKFOEuJsQnRVaXJCh6iM+sZ
mIo8CAOV5xmhPZSbGPhTa0trqZwpDMOah986LGNHQOWyR7d7cIBCg+u/0rBhP4Iv8BRupgNDvWCw
QV8Mm9TLNrVqrt1C4a9P4TrvvzsjXmZdTo268HiwW5a3SUtYMP05Z8urNfGSST6TAXoiv0cTaXf7
6sIzpDXQPnXyajyF5JTZ2DDViRleToAQy3og1/7ENhshCytpPHxngS7FaNITbimp967Mwm51PNzy
kpM/fSRzTc0kl6277G/qADgNUOFBhte2NtrwxgxhOVWkslnKhbEFJJOaYC/UEyvwJscwDg8YkHbG
amQDp8+raKfnlg+SPwu1H4j7Y6cwjcFeoW/Mttxmk7mV02pXEXlFE9ifLTDr7w0Wp7h8iOxX0AMr
bndomYQG4A58Vb+TlwG5ScmCjaara4jG2DjCNd8GC+/SHeIv6sVFxzmCoZywuInVekxYg0LxehwB
hKX9ve2Ga8ByW9IH16DBQYdTQm2Nl25aoJx81tQ+KPvcOkWkY9O7kk8VoJIAUqnk6kYP/G0IvWa4
GWl890prJQMEjqT+nv5i58cQENyjaLqpkX4lapCUBgO94Vh+5mbClAt2BiDYwNXaF/iXvV/IbpQk
7oS4zwdI7B+KGec5AJzidh+I5pCZdbRfXX2bYgi+EjrHsKez0dYFDn/esRpUq0qQCgfnxiDl0dDY
Be/sKDuK/DcfZ3EhUyzHDv91ob6ysJ4mtb8XfQTrPECoKy3l0dqpqGSCsdllylI1qRei9EgYQ7ex
2mlf2MyDT6VPrIDlOaH3S+O2tZE7FtaH3RxRx6yQum9U+5ihY7U1qIvom0+6lJKPvsCbV9UnNQPf
a5RXP5RvZvaRWHjNBh0yHAtCDqLQU5HcoHu3r9zbqOFRtiF7hTseyv66DaN1+UxUaEcpWMPl9BbA
eOEIwcqzsqO11Q+HAbEPfJUmeUVh8CQ3dzkYM9WIpjJ7s8nZatR9noAgsrHOWwBq/6EXPdVL0H2d
g2Pt3kQgM5tiPTIxKCafpoOce209jfWiIXdSQZH1iQEPplbi6El+LGTYHxqioQmGh+HYQXg3c7yU
3bEp0lOqilvgqJq1J/+s06xDj2408829nmHyrd02il0Kg5XUTyufxGMFiniks9JRHXvAur65eN3S
WrYfwjNWPzrW3R64sRkMGzIXtiaFbNOYTodAW2Zp7oEkJPsaw5ZIfpO/qINmZ3SoF7RVTPNGFms5
Ww4IwUDzyAqSIabiBJAqyrhzCVRbizHbvFlHqH3X0B9PVbyrVvy+Nzz1Vn51qzfhDee+lc4CTOym
yBkM2+MpRfoxiGXU/tot8x3pp5FbNzrbcnwbp/hW8mmaISAatiSqJV1GmyipmDR40txT0tyZypJp
ofEOtOpbgVEYXzXvdbsRvADqCSIHxulTLb/ThXJXI+sklGINRQk/jdkZ58rwLkGCqwhY1xDLN/z7
Bh0jRnnaNLGRzs0sX6RvbAAOheDw2l7ZsCUq2a4oySz0JKEwggSmbnwym3OJLULDvSXD5HCZ/7AB
jOyV1JAEtVZYSxmxfypDMqPZgJmCUaka4zebdsMW6pGoUK5+ohfZeiFjXLVe6ysSy7HIFslKEtMq
laSVGv2GucVjV3d1JVkTj27OpJhsPl5iyCdVsfaVbt3r6AtLFqH2tUNLpYzD6kh1+t4F4L3Z8qFI
3qQMNiNkmTEKnzgXS9TpBPWlG+ivorj1c3Zg+S9JrQvpxufGMk62Nh2ViVThmFSn/A4yjcS0Wd1Y
l7qTp0RUIWTqjXEVIxIectIuPd4A4FwNJsjCUFzfsFw4qAgpiMAlgZx9HEv29VjTUtrszAbvrI72
WVaS87DwHP8q/GRFHn3bxsexE4c2mQ6jDDHtGT5voI31aHHTySQBpi26K/SXi6kGZ8WXj9YqRInC
G05s+aQz8prY3oTAdH8GL9+2friLQqSdOicUM59jQABUm1pcuWvV889BU54Z3OtwRLKv+EFwE79p
VB4sW4dYS0/RdkpukDlh7LJU3Q3RtIPClWPU9tfFwIxyjDZBT1YFJqLEyczw3kvVQw+KzcQcXYj8
BZsyDaF2iui9JAh1EjD2eoaaLiXLWQNFpYvvfLSPtRUdpXKp1zyguT56RI6Wajv6wXOE2h8ZhkRK
+zIAexmzKE4V92Asb6ZTYGD2ovhUo46W04PvA064apl2ELYgCy1lQJtdcHimtpvj+vVK6fqBW0ry
8id07FeDkhYzO9K+V1MiG4dYP8Yrg4tEALhcYB/Y0IcWq1pt9tbnwIZHAf05LO17IvrLQL0rBehj
qwVpqjcRLJPqZ2o1t5v4Vi4jfhC7urWiuo1GdjNq44oMvGcbKun2PoqZGysXMKKLCmBU+k+akiMR
BGwwyFoDqoJAYFrKrBRi+5sULAdrwrJQqZFs1G4shWm00qWS/S1RXI82EgW4PgVDO0IEeRgzJ0EL
QUReAnBLFKcoj50CApLREwpi24fATA/L8qF5Iw9daRd+AEuy4uGq+/5JoSsLo+tgaSeZCc0/ZuVM
gKggtlVLM6P72+xWytFjUGKoG7OxnIishYIysbK6fe4w64SdVMQq+I3+lMGuSjkh8o8IcxYHQamK
OWfYydXSURfLWK/P45AdUeBROCaBt4ghRfjv450aA9ti0DNfgS/jxh9liCDYxs6ol27BgaM6yjHM
1UPudNe2Jhj+l3ALFMhSGkOvalcZQTGGIlYeARxo5RnVEMA0uSXGLX+Rd6ob84WQSqM50La5VW6j
luaz4gHtJNNT+LP2cYSeAVbJbsmSYzMvKWfhnQ5oItd5hW0iW5WVR4GBoEA+NvhLxhQRfYu4vaDM
5mHXtGR30mSITcfkEE6b4z8wICoW147R3II0u5eTeS8PmMQj6hSFjs4buWYDv7lm+V5wjxZ8pB7T
x8x6F92zwMNszg+kTzXLdxaTXYlA4lQCifk9ovdpwO28cF5ipUcDM1us+YcLggMbcr+D4qQjhA8r
Inx49dW1tGvX2JnM/hT6BPp1Fq5rqFfrPHUTnY4bnrtsofhWXYmBghSTk6Ls2JTqfKDduSMSOLdf
jc21AHpwyci4aYtjE4s95S1fQyUSOy9mLSxfUgGC5Dm1OJoVARMyg8q62aKq31aEL2qEL/Yy8gSo
AnZ4xrWZBNHd/jGVF5OSyNvDMzlUWn40aariYd+i2FYXOsmICnb9UWFplI+vXpZf7Hvo26X+SeCv
1eJapPXD8hEWCX7FcOdJEsPrXWCZW+OPvsqN0DqmeJJGkpvCggSDwE0AwEXGPvtr6G6BzthfVaXh
jd4J3Asl7gUFX3ORnwJ0dXrxyJT1HDkkUW2aANGHOtwwpIg8E/PRW48cfRIduBYFfk7nqrTjanTz
SxZvVHSwptppmzBh7dDvK+zFehqgftzLhnEy3RhNOpK8t5yeAmNqGI87geKQrLALz32MXAykC+Y4
D4OSSHSNE3ubC+NcfcvQaJ/mCDKqM3JvjSVSRe9jlFTobxHzCAvXJfnUcdKeJERBKqtkIAuHOjtP
VXWPuGzk8aRHnzVTxawx8Y0GG3nep2KhGGFCo3smjBZSA/HY4tEr6YucV3Mg2Mrq30YtfJNYh43P
QtvFYDK6ariOOnvQtX4fQXhM80BEWhFPVJLkyalMFJ0024Xb5knwXTD6REXMTS35RtC3tn1bOgMf
tBTvhpmRSOFCrbzJZywIj3aiTZdhmJ3IAyNWaYIYkL2m7Hf+fgtgH1dCXbaVhgEVp16XQ5sAMMPP
ZGN9tbHF+4/An4Ocj1J9wI9pfZeMpGOWeZ74qkHFpvkHy1yFawdcD3UTGelsgZSK60bh7oM8B1kw
YMpfsPthKngmjW/fomUBfRIRZOCj8MkCrhw0kX91/KxGhvzzvBW+EiEoc/rxr97y6SMXZ8k5Bk7X
sSTlsd0yWuDmz7kdIDJFxV6jW2QiYe4L9ocS6ID/sXRWS5Jj2RL9IpmJ4TVAgQrOSHiRRULpiBm/
/i71HbMpm+7qgswQnA3uy3t9XUIVK9QrMpOzhWYtZJdTM2BjiM9JrAevgiWIYIkYM6itni2+RlKU
uII+7hicv65cejISMkNP9wE8rBhMnIIppzsoZCyLOWPZ+UaZsBA2VeSsK8Impj1MoXPxQL92jwCW
SvjGmgAFfPvURrz6UUf3Ln2mtlhjtoK+xRRW8Smte9T6lJLqmD8qiqKVXH71SrSq7AfTS+dmE7Ny
a0fLNUvzUVFBqxUM6vYr65v1GBFhqPxUaMfZWXJLu61p/VcS9lPJi3cVGjINgLGxLGdjdXTgNsaa
H8tgtlO6sv+saOtq+aMkH3WqlxgcHVJHa0FwNCqDcQPPKJDxAww60O7Yi1rZg3s8jvuATKU4UdH4
yMfgq7I1jyinVYrN1fxSrPK9Y+tTsaSPcM4y/0mSnvBwJp1iEc+Yc6SOcskgz03RgNDzozNU4CQM
eznosHXuiuDLaZx9iEo+bTYPrYQKCB5ZvssqbxJUm2S+WP8UvwZ3vUTJuu3Vamcd7JDijr2G9Ejk
fpny1UNdEnmyTtexnu8aTeCs1/ZVhCpWfyHPdwsRLGVQTkVPX2iGnsZqVfm2Ohf7E+ryJQN5mFwt
sSeL2tRXgUr7KR4lJBs1g8eqAgfaETKGKGhDU5kmp+ln3FvktqnKw8HD2gdglhQ+yFWXUyJUxsMA
ahqjMszl5i1/NQ31fvWTC+uIkulsl+NTRw3gsJQKUjwoCzIBEvXg65WbDy80vvtEGfbIttiLJRX6
gzxzRYKRopEBambrfMiX2syTlkFhKquYcX6AQ8DukLiwrQc7BmJFd9bKytTNVZy/qy3ieH6lngZr
ucaRgGB2BFYZq5x36J7v3/roeHrsr8o2W9UVMQdlfxWEZjO4SjFIpcrWpAHqJdZyDJ1luvEcy5ug
TJBknIKx5jZdsUEFnv609qV2IuxHH37xT6t5HXfHEvN8G/g7G/ihDiPcOFQWLVAliJ7CssCWhK3W
IuOPUNDD5EG5lQqGKU64S3oXXwWjdhU7Sqtt9Mgnze8cMm/B0uy4PUYosmxMgeY/XeSoPpNHYfPs
KvphtJMjta00xvtYV491v7NjGSyAc6xMCw/TSmPOksz6o0i8CTbHSd/sIZ3g7WmIMZ3fsdC+tr1F
YSiYWnPM2Bcj+A+Zs7YU55CR3me6Fr4txX/oI9SHjiTQYM8+eF/hFSorrtB3/MVev+PeM8fY04yC
EK/OC4K7b2LaM7c9HhMU74hKCcKM3PavFf+YeJwqLTsbeXcee32fdJc8/A3WlHBL2kG/+8wIYrMc
+agas+AyPprRmpg/ddjcUC+tsMNoIwxkItRCFdiGBsFyF4AvUkgeK6ScWXWwrrOlkcwh7jeY4aGh
7jSctrL1NJRw1TOiVwWIXKydeeCc8FNeO7IWYn/AAzofWxaOAqb4KrTh6OBvhzIkl7J3g9nsSD2I
TFDZNC3PpGyyWmQ9L12lXn0zWTs4zj09apq8E4qzS9uNxZHHuEFmId/yb+s4EWwSCL2A/D2oXPM7
sdaipbFE3KWm2ca85yo0CAJDK1YyyKaJmpF/FGSAEkGDHFJhUe2lIeXTubWiv0G6iZLgrSi0xxSW
D2tvw38KVKRR8aG3mkM+sR3QIbHd9EeoYdp6GQn17z9itN0i/zE/2eNIw9H+JNuJaXqtVqc53g1d
k5NjonGI1cKsgfsxAEzx07MZ6ns6kfuU6k/sw0i1m/dWj97H6Dnqp5EJqq3I26Ctt+S4ILlzdxhi
rqGhXSyqm0T36YqONsuoamLo1mX7UrrBmzSjRTfdGjNcTfjXLOOSlsGlHBIe0eCEN7teWtXdbmMY
xw5CRId9S3offWhd5deY33IiDePxEsXUIbRWgkIFyDeHekC8sLQs36xpONYkvbRElbIFDZbat9PZ
b43/iSITk/M9ZYykoyHY10lBwIFrRUjnOVzi3huRZ1nu5BAgaz4w2giN6ss4lkwJK+KyM/MlsHcs
I2o0o2CQ3x5DK/bERzBdbUgZmIw9QcUhiJWAjTw2bobVqnAT8dX7x0wg00jpB4eLkXlWcw2wxsfj
Fqn6iQxGVo+Yyb7MvzwJV8RgL20R88PakXUAiWwlOaz12LLb08rk/PALnqeNYQ7MfH0UwQKDCFLt
oNw4/wt/OLdFhrrpGoIU54WoS5eQQsjmR1Tlx0TFk6/hdtiiQqhRzZXEqTTdgLMdCSyJGuzNGruH
g4r9rkB+BdVNvYVhy4hc3HBIXEOH7XBynCUpiCiOUVtgvF5YE9YDvqlFNqBv+h0KamAHgdi2ptIT
rmNEa800Vo44SurJaS3X6sJd3CUsuDyz6MHt46kAVRBd1eEbojo5ojyek/hSPeuYJs3SUFRiACAp
lt+UxOFKe8hYFn1IXZDUTWWrVXtmawaPTX1pzKPK34DM+df0B3IP7VWsEsTeAHtO4n2erJQQXbp0
Nc1HMOlbomqD/EdusFW0lRvgYxgQu+o1L/TPRL/E6GsRzuf4uzM89OQmBvmqChBWTZgU0CNzL0TB
qtNJMzc/pRoPHdybkIQ6FAFh92vqhVuUHIG8F2VATR0bcJ/huXQdJLYefHP99Fkzy0/PYPzL7peJ
zCbD/uDwoWjtVa/9tQIQsvVUJKcmY06zcEMJWgBj1p7dHhrMiGekc2LyKp+jNp4HotLYvpmkps7c
hFP8XrGW9n8LBmIFGrZNPCnuxBs2C0DzWlyg37y9kKuCeAnTtZd/a7O/5Us1QPsZnKFltRi6df1d
+LweWZsQ6UluiWFsqmDcSL7B7uJgQ4EfRyxfzq1SInxCTFwyDn6vN3H4cvWt4dIQ1DE0gCi4Cl4j
Azwxlk1ibhkCmOM9dJRrldvE0TF6tQ5I1b08Ehc9dK5BriOQv4EgbmGKIYYlh/bdkvx3JdU+0E/W
0aXtxEVrpp1d/RShfA4ZWeF7csQpSYKTPZKotx6kbFcU6E6QMahspAN1286ZWwmGp6LZgMLZNsm5
tEbPZ6+URyxEQmRrqXkxk3CpciY36AgiB+10aZIE4ED3Cb2aSCkfMoNju/YEcb4v9ybDl4Qgzt66
4ZKzlQ/JsVcTImvADFTxSPAG/LSoK56dObEOkBnuQSXAGgtNhdlM91IRCKg1/gpsyiX1e4/hOGZI
jKoRWu6WabOmndVy+qjzEeawvtYlZJc1xoN3P27wyA/dLiJoOYhIzw7KdTSkm6k+EQGn3k3iFwBE
/cTpLeweTvuknIKeFqdcaWrIbueQCtG27Kx5Hs1jqfDHxR7B0TBLWDDgSs73mgJmqrmMbAFMRCkm
zwORH+nsvNS/Zl8uKOxIWWtOyPBQW6fhIZE+5H5j/oYIUUQM2x2pGtSF9oH2RU6QzTp//iMjfsNB
MmDHS/6Am5Py6POjZnkrKUuHKFHDRDSiYUPSuTFYg0frpGADIDZhTigTwcS9BCLizRhudfFV+tvo
e8qyfTXCYb50fQNW/YOeb2EygszF5afY5ognkpeQX2n2htg6eY31Z7FVup/YB3fkbzN1y1j9NgCH
LHUOyY0FJEO7KI21deD/KXdA/zX5sx2Fan3RdwmzlvnGN3h/U47zPcvY9vkMo3fUbpZQ0EH+mqoC
lvjRWmwv4o+h4REOyXoOZrAEKnHyWcwHfxDjmv0A0YGvBhzLRQzTUvQsJlKQfin8OavFzcQrSArf
Op+RmaTs/CQCt0Hg7DgODOR/KmNhjozTLez7LC1VqqJU/XWIDkj+NtFkrc2JL40JhQWQI9M9nOom
J1WsdEdBEqEkr9Oi3tpHACnjwF7ZZPeOwDRDQe8qfHOxKkFgXabRelEyWFJePTlFmb1exPMNREJI
YvgrkznpOcDlh9GsWUH3SayHg6lP0jUowMM6KWEIgMbBaVYdE4guEj+R+WujQvMv1jZgDrY/jHKE
jkF+LsvsjVr6m5i4Ys4/bSMl0hJnNwajQzJ2hJPG58AcL1m890m/QwxOorvS5BvBdK9HdZ8QU6Dm
Hr8XbxwMNgM2NGLHEN2xgbmyNxgbKwEiOiLChCnvGnx9NN2V9M74uNXNPQgH1xq/egQx1yniYwAp
ziKBJYuxbjDkMghgXhvfVUTYDiLs7FnNAxoGSItO8W94N1AxDqwQZ/TWyoIGPUlslxHOtksdJiXm
sBxDVmEc4pq91CHGDRam44m5Qh296Rof/xmd9tFC636tGJDnU0q3zE6O/l7cZJ0EnCbEG4Ek1mR+
qbGpYmcULYrnxOdqK4fGLI7jxHdTwYJH4Gml64ZMCtGx4rDSN5l3U7pK7HQJjzaBko6sW6VSkPxu
zwtq7/+I8mcCNhchmRKoZxpjXOnIYsStA8PYhtwu90Ag88tuSqHeIJL36GTTgNx3CZPbdsgOYW/e
Ex4DsKVckFgQ2wZBCkggRbF45UR5TaCJlM9GuebOi3BPSFYc+VR4GiHjjoqZaNDgSVJcjlgDOta5
2nrEYsiVIt5bAf/FLNln1KiqcIG7Be/uBjaN7FaYhMPWYUc40WEhX52KNVWLq/8AkFFZPJ278qcb
v/Lss4KsoC+KyrX0HEjwcFPgX46uZqne5OAnYQpJOXXsG4k0GJ8JMH0ioNORIVADpQVkk3EsmBEF
abSMnY2R/xbdyzyXknhOYOEDwjBipMhza3wOMagm6DaT+3zxaj1CKfmu8vNxdylI3CLmOynbRytf
uD/q+qOESTrgeki4jTSFVCbezFyrLP+zVGfXZ5i80RqsB+6LzO9XIcdkkx9KPAPNs0DYmtvVtkH8
YYeEwymXJhrWAbhiE/EAcvx0eufYCyRiU8xFhEh8ZuUsNRs8DZvJIi4Q5YC4mZce3UIejJU53Jk0
JtzXpfZvIFmrJW99GBfB8E66uM1ckrePBP+tMJhLQefiNQ6j7rJZStF8PySIfOTwreL/+IsC2JlM
+XxrVyi8mC08oMCClFXC9NZhFqjgKO7YGirRLiaGKQWAy1IHSqScPqOT3Oxp4K2rQKdqMGObuCHm
xUvOL0NgpcDw0WC0qrNU2PBvtR/c8x3j2oI1NsFaP/MuZ8APAnZTuylR7dn0j5INtC6GQIwkg4Vz
zcKZbTzv3WnDbDRS9x3qScZ+/MHpnHcsUymiOe5ZzVWIfkAaJTX66/LUTNtFCZ4R5SgyVY8wtulT
Z7LGt/mCdoWIxNH3Nq9y30kvokpuvY5SdW6Cbz2L7xieXhkEnnmWdFK/mcKrrBgQLpGj+9bDX9cQ
IBM1ijvoLY2YblbXOlIeAC8iZD5K8MEvr/VfRX1kJFJie1NXJsyyuc1DaVwmJ7P+YKCf6eOB7pr7
GLKsm6sLwV3pD+/NiO2U0z42Ni3jcx2lBhP7ivgd1X4H0/WeOHyMScXS9zKspc7ejxjTanpMI7mz
43gGQf9U80XzzHeT4Q7/sHRtZN4QmJ83SGs2VvUzomYekCuRcaAiv8/17DaC7ktXQVQso/xgWeqT
4W6v/TPlwasY5Vbd5I0k9o5p5ulg/hEVr4Znn3SQCP2DvGJN57W+jR3rrWAwrQ7vpvGTosBLXhMR
DBGe/8+GrboehjsJ8z+qIQwzJR4wbNPIlzE0uGWBF3GRoDmSdx0rNrKh1HqbsARw0HmPQQfic9Uk
zsUakkuJ9zT22TwJYj5RWIitb/5Ba0AntAmC79AgbyerNgbZIEijsOqx51IDAD3z21E3iQjKEOlw
3KvQQSI3IL8PICx7drRFeydeVdfgA+ecayBmzrXvcM4Vxc7SIzBnUW0QWoaARQp3sNHhEBuQjqxd
XJl7vTEPsjLLXl1il8J7QgZfy1t9wgCEIxW1APiAqV33jbnO2tgdfLwkbygzKXh5Ly0cm0okw8X+
nKZXjkOVIGI6QRVhTnhOV2pC5DB/O+6UdMpZQfRbA+cahpqMaxDupy8aHMch4lTdWUbJKnSupf85
TPZhnowvqz2aTX/u1OTkB0Q/DxyoJNXoKOmU2cDqVadQfjcK5Mc9r8UUUcR4tGQFeMDRaJg8QD2q
zWfrR24NZz09To3vLnWf0T2hQSFhiJo7cBgtLJxbk0OiKcK53PmxyZJB0VS0P10ZncvGE+KBUmfl
HxhFM1Xh2q/N7VjtfZveKsdskWo4C8yj0nM0lcdgcMMP5PUa1t4AO6BvLayigJpD6isI8PSEt2yd
TdeIoiZY9WcTYD6fNJ+5j6KZJAO4gDmB4UT9mKvxPtWvZiJWTsbKx6AgIhGBmpFEBGffU7KFVYmp
novBmxibn/UnoV1y+6hBHO+s5ws5Xc2tqOGjNjz4x555tPoVhpvuxiy2QLgt6uNeCdzMgK2MZYIn
+wBqZUDD1mGefaSNBxy/LtoDMrWecAWmpq359B1lpaUX+hlCWdiTLFX0e+kP7x5NvwaQP6hB2771
EppYVizyMhuBpgWPwKaxlRZSDUCuudpNR8I8Z/uZXMJT/8vV0eX3KLxmwZktBMsFdcWMa8lFXBj5
RntZYjgGKjMv8VWIchGPrIPTs9iGhYw+AKgZYRYVkRlO+i6V3DTMj4+dopDVhUdagSKa7uVmp3VA
q4xHRG5dCV2OaQxfvI36xSFDOtyvuXpIi3nzYpNSzjk4JxSk5j8NWsNn0AE9qD6b8aWibZQKxdXW
ivjoO2mnSm/VIqWxbBoebrdlB2wfSpmvpN6FkbbV+u/qlpQHJgjGpzJaC0NctRZ6e9q6Y5y6Lx+S
TAr0rvzMlVPC35zbi8bk3mjXEr8u4ANDx44mPTnGanQhAS5Yxua/wmGMCW+8Zg+edSsTzRAiXsoM
GPpqsGe916ED6V4t6yYHviy7c7JuaedBxLOPGJqnbzvPoQjeM119EzeOrWMF3XwMbQI5XQkvpWIC
E0SvlPoEh/KjLj79/JPgXwA/79OyteMdrsEdWJcaJxPeTEraH/r4XLQktpseoeN9SixL/qkN3YEI
gRB7I4CTGtmJ3GHeHdd5prpoJ1LjmJNuGyeBF6T0qTo9BziZZHgVudioxHVxj9Th3hzwCuhXKHgz
Fbi9jcw2mslk2tGehCCWi4pnanq3HZk2k6hV+ABzuiVpwo6hnQqjBszNa2WoPWfmFK4LX15q5a8m
8HHdnSnEz3OqnhZVKFGUXBKvngzA1J8Tpzt+bGBoCFt95Jk4dhEjRxYTct7ilcTOx/6YuB4WsA6o
yZeauBOJlWTiWmV0bHiMmOevS/8tQzrcquswOFi9ve8VVgjRqwmXRMFwJiwbStjIylapXS9UrOUw
a/DnV7jsxCocFK4homTxYFE3WNRE6m6iYd424Hyy2f5PRAQ+KqE/uvSuExcjsdPkvNMBL6SpW5s/
I7Tl/KA3e5SM18KS3mRptjQfVUUcu4lhY7q0mTiBbmdcwaS8rZbEBYBdzjwjAbPrFVqwCtsPSXqv
BSJwCCLhrWAmQwKrHYGoORX4Scgr6muYmNK+jjOP057PMEE25t/Z63PqK6hfwOG0HU8zZAV+ncAy
JcpflfGFRaK6NbWYjUC9AdIgt7Qt7hI6anvZMxY3kvFmA5OgcPqvbaLxcw12hJjTarYj1XQ2HXst
01ioHzJYE9KhCk5mfreNMtDXKfF7Z6GjgACVajNHn8u0dW1t9QmBmHGTq91I5lRhuGzL1aeBF5Xt
uaV8GtAPsf1CJfP3dIoZ+9pFjLZDPabH2pzO/Bea0uxgAWKPManb40nQb9SWeoG0dk3x1gX5Z5x/
GgQJStmf5BlZc2RjLvG2C/gs/Bp0L1l7FQ+fgRyk5J/18ko4ljy60ngOkO0efVbgOU+7TtZVEQGK
ellXm5oQxwa4UC94wKddqDyCHTG5AZkNWnNrgM50xa8dHecqLqW3GNsNH4iKJ3CuhEvtr0/zox+8
Wr46JURKazGazJY04EhWgrm8pj8EEt3hoN/ZPLVrldZL6V7MOohuSM8x2BuzvELiWKq6tMwJPsFS
SIdkoZe1UL7AeKXL7tHCB0IciMjoSbAzgJPX7P17jRMmC3yvGddlZyCnVDYSZHZZfWrdmzAPPZrs
luOdRBuGJ6lbyPnVxFLtBHiP/BSMmXai0PyNCrp1u7YXCVJ3n+QDq/UMO2RENqCKbW8BDILi0Cf6
npy/ndUVe1RbPbF75FKc9aEkdFo7D7zQVBzEOA9gZuvEfcuygt4cKQd4SqB4+whgTEI3jGWOZFOu
TgFAihyHS28G3x32DpUsA+Og5c1PJyCngjIZWw7p0oGRBYbL/pSYkwCKvJk9Rhgt2cNB29W4T0jr
iSDlygGR78nfUCxDuH+qvHyfOLmnbi9xvNDtFcMZjy0lEw5WJiD4dqbcVX8bZ2Wk3ZrR5FrL+a61
bi3GhdNru2LykPTp6JX8fNvM/M5YvZea80iJIcN4JGzzOC3zafDYabG12FX4OAznVGv/sFYU9DaB
tFdQ/5fXJlGucWVd00K7qkl31R3qyuITR94F99oZpUMbYVOBEis0DOor9qXk386TdIAorg56Joj9
vTy2e80J9trSDrStTBeYEZeuIH0mBtQMXb+O3IpIJWxlvGyXcAhMitm55ELYnwHeQsZZZ4tt66QP
Kx2w+W1pUgbE+Akv9B22bbSmlZel/mpg2x5b5y4g04UPAyjphxzqh8iBOcAABq1o0n0l5qdu/dNw
ruO+kMw7FVcAINi+vS33af5lpj3sfpcQxy0BW1uBqga39NZ4GYh4DGfd51/zf5PYNaFMRqpBf89Z
rLMdrOfwFf8e+SfCHq6ML64iTJgcwWWwPujLCkqtY69ph5SiBw9PjF/0Myl/eRbn6QDmZlI0GSxR
dyBPu4YJPBaZMDV+aLwDunCrcihF4FhMDqWJQ0nFIWPNrQWxgwIr1MzmvgM0vLZjdlF06xQRxFxo
3sjRoB9z4rzK+CUnQOQV2NZy78Y2CkByT4hKSxsAQGW1qVlbB8EzU7Yd/j6dtVkVTQcO2NR4ys60
eo2kmDckVHX4aMp/SvMjAqph3qOf1cSWgnjEHN8lrN8zjwUe2JJg53CLcH2jJzLK22ojQCnorer2
3fK99j3YAQuNht/WeQWcEkgXCqQLDd+rDOlignTR4HlVaMd66rtJu1aQY1pQarxPzGrNdvoSCP08
xurJJ3+qRSisKCniKTY5ltiXvJmpXBErnFQcPeU1wm0QmKAYnI5Y0Y768S2FLaMO3oAPCiQrIVR7
Y48vZGk0GAox10zrYoDGUgJjyEiVgwlWP7phNR7TUUDAstHAB+vqltl4xeT3kho7Kp5Jbb05IGWa
0LkrzXjLf+PQ8Ca2DGp9VszJ8w9BitXPsDdOoGxxO9jJTgBWXYzHWGx8vYBwI/SNoIcRZL2ZiC3Q
QeJ6ZVPn+i1yCztfa+NwSdjLKeIzZvudEZ/20kP9XNrGaVBrrx18nFf4CBB5ZuG0wh0HUXVkB89G
7mhP2DAK2n5nfFN0uoR6Z0PRkvjPkbqr7d+S9DQZwq3FJ9qKw2gOTAjoS5mIR3lxiRXMfQ4+qkk6
R8CDUuPP+IcZ72yk8ini4kZx6FkSEkaPv/zRiWuWrYgZBpALoscCASBDDsrAk0zISQTkEe3PjsdT
ixV/ZFoAO+NkhfJJSVc+xJcISGHpfEsOpsta2rWYCquGIhuoUUAVZbXGIa2vMT8t/+9+U54BYB2p
djvx0XI+YVVRUID0y5yArW4CuIP/O87YfuzkGj2RvDXnYai2b9qj9UXyRlLxMgwOMbDBNvEPJtPr
gNkfWgxdQ2zt30ns9ih4w5q5cfBu6M0zDPu3YVrLNqAq7ZGbfwM5r12vXH1LOhflwXpm/Q1t8zH/
JCyOc+CjqX+pDWgtRPWnrbWlo386POI1E1DCUcLt0CXQRKoTEpBF06tL/lrRfCtMo2qTQTWScJO3
BDAThUmCzUBHO7SixcFf7CTGeYW6z7t8z4m7i2eQ8JJHecyPhQQExBqAUtNv0uy2fDHac3nqo1cH
uyIbrEVfX1EcV8NKH/1Nrza79FcBPMS4e8nFyhQy5z293Se3YvaQwzRXV7LeP3I1W+YU8QZLEjRq
MmMaiRiziEqhDpZK7coZ9C6cUD0IjSM8HXp4MluuyNjlXr1TZIP0Qmkkc1E1JI0fMaAJVbDxeFcL
eU1jeHHU/fxtBoyQo2ElM7MfpRe5uIDVkLUGwSafC2pDXs1aPxVjo1EaL5MAtg4hKsoHC7NvV/6m
/bi0qWBQMV3mcIw5cEuDzRG/N3Wy5CNYDqRxBlF1dcqnlf9Jc8xwccoNYBAFxgHIs0yFZINcUop/
ZqljUT/88R6Du8JMGyCB9Jl026tswhBbHnXW85iSmbQ3TJT43uhbCg4iA7WtGqws+ClJ+12JeYSI
x5XguFmVPk+61B2J9YswHQ7a5JyTwnjJbQvNXtNoc9XIbWpcZG3zUROh5kOtDrUjEikiTxepFrNC
oJZVvVLrngX1l0/e0CR4LqXh3AawFeiRIWUyJBQsTdzOBssW4zNBmzLaE/0SlWhEWQNTmnhDzj1N
9W8iAmIwz//K5DJk1lubyre0fARtuQg0c78eAIym89rBly8Jwv75WMxFxqcZ7rL0ntKAdBEEsbIU
y2AUnds5DAtaFOlMPd6ZzkqAE/k8SCadL2w2EYqoLFtdO/QsTqIa4U4+uU7ZCSJpOBUsju4I1k57
023yYsMxoNgkbi0vAZZWCL7zCtsvwEO0Vi3MukLM8ACI0rkVfWRSB3o6BfIAIMEqsTDNM0lDHuBb
RIJSBv/KdDJJMR7vJvV0A8U78e+jEOeJ0T+d3kZuBkAMMbSt5yzFpZYa6dSFslHVP1P9e49qDXUo
8V07VuH7Kr5nRnzNYVj2RnBn7EmBarPvcXCLWNs0HA7TYB9E/7bm5q5COJRd/4jSFukwA+CzZGGM
ZqEQ5e05aLG2rxKyATWMGWyC+GrKZt+iQ43YkCCR3SgKe4mRNU651tVs1+B7hDUfgz+qGTCB5taI
46u/SzQgJYaNg6/+yeq/WQNPkAvqI908GtfSmbiTpE0zpGcfmb2EzF4h34200ix/BqxNsm7cDlH7
wGWzjJjpFyYHbLBuWULIoO8NwrZp681k2Tj3Av5X01uP0ff6qLrE0j4Hi843WkSIFKrkFI7vn+wW
NOzD9nmatkZ+yYf3I+uXzGl3Btu2nBM9Iy4u28hc1JShKO+DttBvIpTvES0PluxG9gL0eGm+gHqB
54SgGSyc3E7Swsp/dUK4lM8oXRkYT/yj5F8kPhiLMnrWtmd/NR2eg6Rcpb3vaO2pmMsfLb/gaogT
N0twQFfVEqFpqq/h1ABlGY8k13ipQmTH6DZ0hulRVzDGXMoc8d8pdeYlqEQQRoslLMATxCCdEJYW
lV+61gvk9wP22ZqwIkLhSPcRzj1gKFwjAE9XAoofpKf8yLeTgGpqcBTwm3WqfYFiO/8BYrbQPJtJ
E4bcGvnJwHywQNLA/jeDhNvlRAUo0rZFujNUS2SVeBCdbSr52+mKJBBpoPBi4mgYmR6s4kdGGtdN
kNhAThF/4HVkTTvyw5efvcJKe+LjfTgCIzdG6QqPrJqwBbR5/aTTLrU3mtp5MrsUyVpWxocyLvm6
hU4HXVEjEBOGQglHKEGAyr7m2kQIodJ/EvwvVsMs0MOjTVJKrrmVk/BZVeO40SZE7Jh+WvpHtk6N
QchgHM+irUVpxqigiauG6VTb7Es5xpWNyQ0S6BRWvblKd/OCKJzdefxMqT0HFYEUHihe+0FyjUVE
yipOlIXcchd2q7T41PYdJE7deWPiUTx9nE8xkGUGLDGRvIl/quHRBe3eSe78ixOw6Za3KlM0+5vZ
Lt7ND/K8x3yDAh3DW75nydIna4fnVBDpPDG1EfJOM4XXsYlCiWweItILOoYnrIkl58TIgz3JxM9h
m1uNH6DcLta4VeRHX9vHsNqyqSL6ZamQVQIEI74royeaF682iX1eaHUrqdFObRzRs5bXFMaWeEX4
kIccupjyLD8iZf8DfoTe1NBS0saYn8Hw1cWOjpJGFaWEmbqZAELUbFDo+myv2CbWm0aBMgfvP9zR
utbF4OUfrVyw0bA2ZrlDRe2iDWWjQV84rX2t2JjnOMV465jbBCdB4J9tXk/JSzLk3cT+vSYEWC4M
gkNoWZCkg/0cWL/kMB6oGzjMqdObsDhJMf4dWEVf8izJT50N9H6AXA0TVsKUmKsxAUuku6R98r+K
cx+8KNroAu4SloEsIsUML0bAO120DEl6aeXnNA9iy3C3c6S3vK/eGLoxuQuyioydNUEYjY+WjiqF
wRT7lpqlw4fFsk9djIgVceAhyzyODN+MDFMXszhRsZT66qTunlRPqjb/yNooRG7JaW70b/PJZ35M
+WEio7sAKhxlzFt4TxrLisHibDlgRcwwbZ7EwAIOYehr5TMe301VOySQgOYdOy6FBD2fqRGSI39w
MlUckly45dpC/NyX2+Q0suGHnTXfz9mnwmyg5p6y+5XgTeZUtH+bSLkG+rqtqyPhl14CubrC2q6R
ZQIvOgTEVuC0z7c+yXu4FDk/W54xISiVm37XcNliLhuj4dkTQaBFx73Mi7G66hyeJl2tEyXbUHrp
08nQIaz/C3oSjE591+9iLnClkE3OW5x6vId1S5VfNx+Zki14hgrWTONJIUwOKIpHrJ5XVQWKOaB1
fHDqpxJvbbW5l+wiKfqMxVy6caCkwGVp8Dh3Fsq+IPcT36SM3QIdEcGxCYZmMBbJZmwZApZ41TF7
K396yERd5RbFJ9bA8otg+ZlGu6loS3mr6uGbXrR7lBTFNPJHE9XVHnNDOTqBVybJvSXBPYIRbAjN
M/rJS6RZd5KOlORlj1eafXFSnGzePCYiBQyAZP9kZEKEIPGZkKjyHnzLXmq/cbINw5vdElBABhMN
7tyAqtWwtbVjj9Bi3rCbEGhuTiQ2gfPGHrrAUo1AWAHqoQL1SI01aZlI8Cip///KWFCsLOZ67SIw
fmU3UdgQUyExxyOH4R1rly1uta4RWc/YLnHnxsb3/o+l82puFM3C8C+iihxuJYRAQlmWww3lbrfJ
OfPr92FqLzw7NV3rthF8nPNGJcZ9xgAzAtrVa34o/YPVQakldzHLm0m0A5Sk4mn7Sn4CIuW55mHL
zsIIkS85yvMXI0vNWN0ZtnTAA2JMds2I2bgzh7wOytZ1cJx0tI5pdphH46Ka++FXkMjTpxBH2QTL
tJGISOxCBDSQAAk6DXBi6TaQSGhwo2BrjN5qO43PZcTnjAor1gu61280tQF02BaTgNadFN3OSsWP
eES7xo+k8pSG3zidbablDU1EGiknbMzKV4yei7JNG46THJCEJ4IkAcxqjLw15FYKYY9jDoB4KP+y
e3iaFu9ME82m4UwYSBbejQG3lMwt1Too93eAp7ua0jVcrYSpkcJNBZ2yoCQBRfykccoJ0cSk77ny
4pumcbw6tQJ4QnMvImZRKQFHwHowYhwY7ME65bUix4O5aZUXHmocCiQA881fpErx+gaTWut4DnpK
yxka8PEozfXODG0TB0gy4h9EwNROIEn96rAipg4/XAbsDl+k0QksAXKmfQ/N2/O6q+AKYpx/ZwHT
xwBbKezNcM8MfsjMBH/LNsUCpjXpS4Q3SevWzsQSHz7NBnLoqQ2WH+UwpcshIE9Mjr6HMLqRSXpt
SP9RWLej+ZFrHR5BW8QEDNk6v3cTqh6yn2T7c6e17Ym4g1PAxq0X97NF46MxhfjkK2/i5OlIBNKR
uKFakKqfKDp1TXalJtFM9yrMTWoae+3/zE1KjIw+tFDxxMgwEyfmB/twmFPG13qZTCZSvYkXInnQ
k+fObBH65mtCsC0wVeUomZ6mWZ8XNb9QNbY0xSOHveYI54gjRByJo7dOEQNiEhiMGsiCeqPtNkM8
ETEDEeS6kJ7R7KaVSac2urUDSXC0mNR7Mgvk3HSHbU1eRoTALeOYwQm534wMRAMf1jrFm6qxVxRh
X3R/EDCg1Og7Emdj+WjhN47uRUOciorHk0Qk3EUEG3ATABVBJJs2iRMjYw4+iHPf55jzCiam3NWA
Eav+j76ca36DhaWjvIw2m9YQGowScEzGB9diMxGNZ26a4VeOZXjkea+hjosnz7Byrw1+hUlyoqF3
wpaXbWnushjP3TaNyqMmvvWGdWa0HCbhWCFNRDTa5zl3W8fhLLiT+chpy3KKiqgZR480Px0ZHvrk
nInKeWUTiNF4U5PoiFddYoSXuvSlZvGLz6bs20vBFtxWl4q7UaPMAnMwYCrhH0DM9ENXOT6YiJ5r
XA6cZH+l3JvGfB8UoqO3n/1n2j+RpOrMxnnvQTm1n3RxRxgxTWwdFqZ/+TIPEn2ixLtzfuCInlF4
aDhVTX+IjbNmXaWvrr3mveSXIT7ayM+Nt0RQb421PFZlrBAifSBxqmsGu4/3HfpHJKuY+0h6JIWc
YaqOZMKEyv3cyXusKwzOE+9lrog5on2F+JV/N7LwtTAsU8yQCO2VN09OV2NiYnsz/mg0Tip0Okp1
RsL0RVxLEdzZLN2syf2GQdp4iwk51hniTfVvVGXbVtWPIY2hApWKIytROVA2QuTG2Esbnl4FTcea
BLozm/EZJcabGX6b1bPEw16huh7HZ/PiF6gr2ZtLDbEySxCwrNkAEVJ+UBI/zqSWmtQb/AKSYYLf
5akT+jXWATMUdzP2XRHUp6j+ygbiDGz7GUGuYUKgmuzFlBKsnPG8XLWviUzvWOUvlhgjEX4I2uDW
aDUFDgCNoVng9YL6iR83YN4f6hMOmssykthz0x/VDNci+RKPQBkjGqARZh2JORYV68BkNzAwR9Kq
cBvHdwud6UwtccJyZ0D5FVAK6UHW8huCKYGInODdQpH6YmEZylfQ6g+dIVaGz2xV6zVzYbrhGwd6
tXhGnT3rHmE3Cf2SckmTt4ILXcrMcOSQipRTSOj4aeY1p/xFq+97Vh7/49UI8UQv2MKwL8J7YuKe
IkGbEd3Ald5Z55S3YUCsb/6bT8rxP+ggeOiq9eyyx8yD0iJgM7MtWmJYCozS/V5gYKlSFwQCcouK
NHoMHXP1zerUscE0skm0KCigu8S/I0TX/NFbF7kyXYvMYihLkR7oeF1YGKfwdBBmmLs5kR1T9fMZ
Wx2MGiHAHD6twL/Lm7p1F06/IPjm30TTyxg2cQ8LMa22CMi4Dt/odKmpI0uXjapbLiqXM2Ev+u9l
Vl666qcBaxobm1P0kDe3lRcf3wxlfioHSqNJxTiFBPWalP9O8GCIuIrxreOb83qc65PcxPsoyffo
aaff5pVB4ANwDMJVORQQxRG97khVCazeZkDqQCrQxekq+xtRiT+IWd9omgE1T8/C9B4Vv6uaNRV2
vfqD/HOQt2L70YLhgB9kvK3ozlbopigdkByaoPHgR3dkcMlLpMGGGxUzerBIPrE8p4n7m56wWrae
BW22DNM5D3EE+UeptQi3KxatPS/1MaaPPlV+VwRFGv1qZFgRdN/iazMjtaDxwU4ZFnsWFMRxAd7q
3p/G75REt4KhBMJ/QRrUHREouh2+S5N2dB3p9F9cASFj2bxSmdUPDHnHdEYhOqWiNDu4OM0qnEOM
6QXoMHAS2VXL8I0ze7HOQ/snRO4TyL8y8FBTNyyeQKgKdcE6jiUDMJbVgdg1FnUz+dIv0QptUXEK
DWJw62P03FgnltPCwrhMrB+LDIEkZHBqx4VmxHDptgE23rS4NMR9MzQ1AAlgGbl6LwUHgZzW5xv8
6mo98gtSSNDtW+Gran19eI/WAL5Q8xc6Z9uPLh1JLPptq6dKDQkdwZlhq8xdaEwSao0jMKh17aTw
0Z2FCM868tGBT5bfTTeJYiivDR3bXW0zx5PlpReJDYfdImDu2j/ob2UGwMajlWKbvWr0xyr2emb8
TZ70trYQYo8IFPm1UpdIUKiqO+nD5Kg5Gjic2wWwLosZ08osg0Vwe6ZPbrSUJyojlbiPh5ueIRcj
cGYNS0GeW2+TaPAWHCL1K0BFUYU3Y4zYbIAbjRjSXbwuDOrrKTSrWGSJbke0x8St2vpfWflX83yh
5rfh+VnxTdy5/KnA8y7p6k9FPvCQUv/My5oHQaKrHkN+CI9PLso/C/UoWmskgvJvYq4h8PSgBhjs
p3rbL9hBZ0einTzWPHilA7JdPxKJfiCYu6VPuwFs7dD95nT+tMSF0g1M84arP0Jj3gjEcg9DcE8Y
J5fToAyuxv+VNWACqMmFi2SepdmN8n9UoUl4fmNf4fPXdTqYeDsaX2AUMs7wKv+HDq+Tnlnj9E5P
qeeXIhm7ycJwHXvCzBb0rlQrGDeAcFTkMwX4X8mlY70bO7qJSrorUe5p+yh9mLEvDPYKmsydtbF4
O1e3RJ5tLTnwnYVst0auGrPHRLsRh+OgZbgajiWWC+5QmgSmwceVEIxUQ30F2G8KxTN49Y8iCVWE
TWrxDctgoY3uIgVuZlcVDo1kdpNQc5MlcFt9Gx8kjYx9OovHsHzzyqF9I43wSUtzrfoVqbmtEBx5
/YNFuDi8yaElrT5Cjl0qbkBq2JfsYWg3BVY1w1FYu8Jmt9wVg0Mmuo7XhPQ1a971rCXCMDuBwmp1
G6h9FmZo9QQriIUYKnAIy2CLCZyAzk0JnKcHvapL5E/Wu8LVnxOaL3YT+epsFUGuPSOjfFlRd+U1
N+EB4McQAm8c6GNocT+zuPUqKG+rMNfVp8GSTxJwbnBJxdpT+VoSRvjyV7YmxmGi7NbjABcXjcIS
W3xvXhqCjFpASoq99T+q2LjUPV7oHW6E3Fm5hZSD1Ece2dC2nAPGEALgJLznNOgjEbu8UzN70Ees
LnvxYoi6b2AS3hHEtq1tSdwbyWOaQttvXH560uJuRbDtSKfUe3fGpzwaml3Jrp6Z+35qcCoZO3k6
60LEiHkYav1kFD+j4MRex7eSzY14GdauaqiIbi8x8dUf000cJW6swN73krwBkqDpfG/JxFoNW/Ua
mzwoRo+oIbzH+nDVVls5SGP+3dKikRvebLz0hlLHH/EnjkgQv6GAqGfxopG9QPqGABYs7sgLCAk0
iMn8CU6G2m5JircDZ+AnMrst32IKMSsr+3DRjwZ1zPXHzOdfN8yU6t+FxJ4oJn4NhRbDp0CxCtkH
TJ5z/DWzsAhUSLX0rVpUyVa/yajapKqFqBvKnzyhHgTAGhmHHJ1iUT1JU3teYuHM0G/lGvVt8wU1
36ZAZr3A54y2tAgoFM3DwkYYD6QKwdx2Na2YWGFGROWi5LbiO0yDSYesg1fIDnnl4jIg/mpYT1+b
kB6XeSRbLrk/oYaXAXZ5rWOySBKaPF8mCoKoOjOiFsTUBNZmPZOV8FAroC0EAhnKJYNqXtatsHlS
Y82NAyY2gOpJGVUYBIF5Rl8wphXHovkxi+LWKdFVQo6HRycl1Yw0US0GXojhV70eZQ8B24g1SSbl
ECsTwRX/apF045/lNdGPqFx6ilrLnwVitdgXc4fMCeh6/UDAF0KS1uCQs+VLm4SDpcRHzv1Km/er
q+cnX5FpFPAz+VEJQUMT0rgMZwhKuDGwniGBJS06ANJZC914ohnM6mv9nKATCfcRWQbXDby6JBKg
M/YURU5YRt0Uaf7U/wk+SqnzxijzhEblKGxdpTpWZNHjV1/M6W7gRylr0kSz1YoG1w9KDD9oUQCy
nQVGj4S0DUPyG5VwqfzBpGESyYJJBr0+Cp4Y3q0H1hlI4ZNgP2EqSNnQ1V3HN1Pkp9B/yzrge+KL
vFHFdieH3zK4cjV6JeI20+IJ4g0MCyWYDyUnB3mHra5sd2EYwKZtA2GE3U6ZjxayupPTsl03p3bX
A89BHIwtCxS+yfLcWtALEE0zktxCO0Z54mffNQjclI0EKSXoBckQojnA4ArXhL+P7GpIUvp2nwL0
FhqdkMJjlds20XTlVS9rF5Jb5w/jZiWV18I2YYApatp92eeCbU0R7urKwLJgTo8OigiAa3YWRD9m
gPCntsU0d6UciYTgKCDyIm8X7UuZLg3RASEbD5KNEpEU/fIpJCOxnyTNdNG2Ysqpfo2vOhdu6Blz
DDhSpDw/8+4grDN7uEdYLj8XUG7KBwXCjHuCTvG7c4hbbD2o/PC4YFabUGsGBlFl4oYqaTV5M82U
TF3NM1DbpKx0EynzGmtdDdXcLpE9AdfEau0N3+IKo6A1stAajWiNenmCaQaTLgNC90XSPzf1yB6J
eV8OPI1okmT2TOotNOTwQSTvRj3YxUaBxcDEOG+W1mZT2wPFrPuZcrqBkkAstgKsB7fKZJOMG71S
LkZqXYpfja14Zn5uHdR4V0IauSAy00WQGLdEZKZQzEeV4hav4zclqd4+LU6dtDnJThYmKM21c4Bc
XG7pKtDhoolZM2PjMJInMR6UXUze6kJUeot7uSvTHQW0s/nNnENn6ai7qkQQeSzuaqhNkY5uquGx
/yM2WbWZLBOLr9wmtfJFQfBJXsOU8mL4tFvlH8NgWxo3PEGcbAUEVcb/dgxiQTMiYlK8Of2qXq1o
3nsmT6pgRQZuS5xdkoRS7kv+i9beG57DMCuuGo6R5Sa2wk01mntIgl2I5ICpzRUpqmYq5+iL5jeM
2y+NLYaWMPBdQxh3Yy4Reewxq6fsntoe7rQNi5PAvJ1NOsow4VRp0dkAvZ5iMvbFr3oK9q32z/xL
LqXP7BbQKCW0q4A188l6GrGLURi0XQXCIq7RSvBgHZCiVoKbCfS3iBdOMuaVmuIa+BUNzBEBEyqZ
PVL3gNuMIoDhJRXnNqRLbvqClHR4sqc4oZyep6rxgOhP1aCfejZvLF3a6vHjLPzPJ4RYdeCJFfjq
eWolDg/ld4FgqaeZnIbVcXVoF/GIK/nYJVhr6YgOR4GrakcFIax8qKOn6ej/VfLQUlskWp7t3GnI
tDTkgSeEdgRew5RDii11RBee0GG08EvPxDOfK7BobTmhe2UP+8AmTWO6KDeuSq1Pngpu090l49wQ
Im2h7lTr2omoXSh4d/GLcrzmWfIc5eHN6IdjyznJ9h7N3avuAJ+Y1mVyD8Vae5Fc5mghAIp4HtQP
AM2hX4AHb2hRbKZn6I75MFR/B97PM+5fI+0QYqJfBj5gOBIxAMCgadIt48Vj8eKhF427QToaAA47
+WMFCpb4qO0FGhyCraJ91Lpwmorx/N/7dA2hnI7jhzwV90o81RgnLbPdQrJbIHQR0i9jeDP/H7sV
PxXKUqbyH8iZoo5r5+dOflCARXhx5Gi6DdwAApNCjcdQ4wWW3LT9CBLsKngDguqZfC/DcJRC+RhK
wEW8umVBP04Zkiz87Ih5Il5gC0ldk+gCkiqAXhbfvZryA4M+n7GfpxxpzUfcWE5a8LZdQ4YxDzJM
9AEOQeVYDLmP7Bn5FgBlP3RrnsuCr3FsaKPn11GwM85UEy7vo11k8xsUXQVN1I0smsVnNcC8a+ZD
hm0CjwXAtqxnRlpLxw7dSOpjhCdMf5JeutH4tZ3Q0apkNmEyirG2tH1/mlDWpw7NpY7V44KjyjPq
v1WLXzGnXiihucP0BSqLNBbrhCooNAkqVU7/rZZBesPyiGoP2pwyNL50tIsq8bArlQbeh3AsBXnh
dEH1SctP/5/cI8ZRkIE7Wt8JB37uoU2BvRXB1v5NgNQ6f9wX2n6VjZXU34KmbiuUWgj9+09ZHnYW
H2NjEGlBWzjq5EDk+OVONssnc67JNKxu3uGuEhHDF9cd3eE+xC+4XnfCEkiaJtWZYhDwsbHG9Bd9
59g6RaaaUjb9sNJ8JHPGG+52X8OWAawyYEIgrgHYLxMLd6kxJFAJMG3VgtIwi3JBqGjGCZ3bDl3E
oB+73WpJjoE3tMWdkIgUBJ0E9W0iwYsEm5eyF+tpryHSN6CM11GkgbwTVdkVVFx/hNUxvK9R07SJ
9WCFD2WOzuuzWSr/4D9TLurYeF2EXtUc0NdBafxq8XQzlV8TkzR57bcuZ9YvxA2v19BNu94VDJ2c
ksQzzN5LESFwPpvWJcKoK4MIGIjeoeI0IL/SAN7ki44LAmZo4oSNmr7M8VGUOJW+tVsb1FcukAxf
wAKb0AsDWV/8CgKIVZ8cjJ7ShCbyZSBNzQi2kQxURLiIeEtWgBRAD6PDyIHEDs3v0HoCt7sFcdK3
qPIy4O76GUPACvzyfPwLGVBZRTfd2tDF3MFQCbusmcMpYV/vQfjGo9YmnnlBsPhQ9IFI4zdmS7wS
zUMcqkeRelKOLhiDLz73DDNpwwPNFnnUsNVI+0Af3ibgvIa+WzKeVO3DKpqPMngDMOkZK/XWdBfG
FF3yk0z0qWheI/eaGw1qPSgYwD5CDfQuPomQcdcS1AflnGO7BT2Z0+E27aaAlrPfkM9/8WRwnI3F
ENn1zaO29Ks0k68yP3F1QIVIUNIYWAB72o9Iji9Tml0NPb1ppXVD+fjLZEUKBXU0pL2ULcaj7L7G
xqofhnjqsbtUI/LIBLmhcDIMWx7Vu8F0foZUhTj5NE3JHwv82glKWQhQRLEUONfzWZ5MaC3fymxL
0/047E9RHJwaBCA9ECADmjyJL5m2WNNA1Q2qOoPPplxRzCORfNAg7tDzu9m3JSeHuCqRKK8Mb1+X
WG2SQwhj15CfSXcHMxuBISRWcoXcmerREUAtZcpCXZ46CkKwW6NIF405djU7hE8VnilEnzKQbID8
yoq5QFwknYuFDMAtdVDyyYbHVnhXVWL3gq+CEKMfbbIuLauRmN1VStRifbEJ57ipJbOKvEFu0YvK
kciDbOYAFhvkKqe4ntworP3eT7V7iR9LArDVceyAAYvGuJ3As2r9b4+ubtbTi4igUftJWoS9zwiv
GLLyjCJn+lgDAirAMTvIouASNjcDdUBbZgf1o8bnrLQHdhAl1W4pRYEryBrIfqZkR/Uy/q0prdZA
uAhudUQs2glsuhbBtKLiR6Kxj58Gr8YJcVvBGeYP4kkmc6El+6FCOiLhrZGRj+SrZoTqzlWDIjvM
e0mv7CBz+SiH3Yrnou9Ru5H39uTqkcjCPLvdi6Em4nUDCWPdht9u6t7CQH2jBOItjrQ3ifBgaM2t
H0BgTYh4Rh6h5rUjU3Hf+p/smFeQss3YKMx7Cwkhy3ulVWQdzi98OTi4aCVC57YmcLKdj7M/t6W/
PtWZqu0s5MHmIwW/LlVi3CG0DXBs6dCY9F82s6+jaOhQlAjkQ6Qc0S23ctNx9+k4u+iXR6pEs26t
1ZwiDOurCqnKXFOHR00yklapetOe7TMhZzyZOxT14pHrtSElHWXY3iggrUkYAXycGH8HDkUBB+P6
kSFaWA/EmCRYTUP2n/qciwFle0KHohqBN7mcEwJaxIqEwmwT6k9Rx0JPqHHIRK9taWOy8/i+wuwm
kARij0zPjjqw+MIxVNTasaNOOOVOJH/luHA3pShIAeqCgOblbYZaQil+5bnYNRDhYUZ1vH6Mk5Zw
BGphJRro1hKqN/Z+dULqcqzj+0CqaMfV5vmIs8gtDFSRQA0Mw+YgvklK+kZA9malUjuY1QmilZOX
sGNPqage/Fk/5l4BDeN8CHlUcx7ViXCAiZo0BBrZSOiZ5SHDcMxh31LQTD6+HNggXOxNs20R/bi6
jikA2q453tAxgVofazQ0tFxj7xVs7sq+i/cmX1Ye7YcXpE602tuLd3Ky3onaMc0H2bWPIIoeM/rq
ldtHITBqv5J4CVJEceh5BFAcaCzimOeMEoAbQbcuYZPEvB1plDjUTwl5gCqeVxE4vTtzeIwIqsfp
I5FNPKUq4tmadLTtsoIYSnvGRlguHcFgJh4wdhBqYqkuY6Y9dqpwUFks4/BqFYh8+EzMdqcw8FRm
ezD/NlPyKVjix8r/4rBQ/q+1YfI4DTSghdE+yt879PsyYQvhUcUrYqxpPLR5Nmfk5WaL9I3+U6Mo
/rMS0ztKYqKO8hzQcBtxpaN5JDLLLaqjomNyRVw8+1ZKSRjp/DIqzXd8UABlMXqy0N2MTq0ujpQ+
FFXDXbfaBUGhIBKToL11u3exijhgQJp8attJWlDWKYSRtwessljS8Vmt0bVSprIobdIezymHSoUm
TeOr42DpkEatg1lfsbd1mIJ2tM09pXxVU2wlZvwkOzc7yjM7FFz8bTLH2kgYjcKxFsJO5dCHJQQZ
4ctwOfEbY3/OB2yk1ZVjinQJ/Csf+UcnovA16isUXTF6auz7WAKQjGvR+N/4FDLPgWDYhUquAeJd
6sP3iD72LSNl1TbbHA5pYQdAX7kf7YC3l4gyshN2KjEPOVNC+MNwOk7GZeYSl3uDE1YmDjfCHSrA
72dI3kp8xwm73MQXYhPwF+NJoudSPThlH4po3US4gg266WMa9sd0oT8yCQ4GzaTLZvUPlPSSoDb8
JBx+Md8NVfyAsrasV3jVR8M29lQiA3MMmIrCUvA0oI5PLJMVUspN+sxX1TjPMvXveSRe8ieaOnQT
iwkEyYS72YWEBgrehCNw0eihJaf7DC8k9uVl5dV29bTmUIp7Qlkom1yrYnbptKI3VAySVpEM7YmK
AR8XEQ6i0EpcTWIqbca98oJJs/5ocbiOwXdaa2MqYUQ7x02HKbzZlNdxKq5RpF/yUD3GrNeW4i9f
51oqrqaQnE0nwf83SwO+I3PX1Pdx6IAoRcdQ0KNbzR64Z29iZMlREhYFFtyO55mjJgrsWXmrVYNU
zsBtAjZkt5bicyvGZ0Uhe2iagGLH944DcJXyLDiEkSvUmL+m+I2wxBIQoRL9FShG1XNgqpClBOIa
jjndZ6xt6+o24Te0XHl+aLiiJXUmOLVz6xkfmmDsefCQJBX7xDUgsFA+G1cusLg4qfEjvdpnRLCs
gAyYKoFdGTS74dw3sdeq6JZVYNptTxngTHKirr9CQXImlchtKsVSY3Q7IjGUCqYDpwhRjwVlWtkd
i085R7sRw1GJFiinD9mUCDPkr1HXaIHmn0xHkWwviX5RCjuYpiOT+4nEvMvQfyVaczQn6YHc0Aqa
s1BNLzE/zZuCq4oFwcVd7E6zwqLBTJKyXIzEnLH+ZShy0l11Gsv6GlV+zPYKMDBVKKpWcy+zwhpW
EQ76DsegE9HUZvyqKgwWrt7szvRGjxOXEesDNKYDuyJbf4eS8TbzaCcU272yCxgRM7y05EuQGKHz
fReDBpYyPJAQolfc9fQO0ojAtaWH/BgUykHQuISWtOKcu8LSTs2+7LsT/nEOaOlMEu8lukkdrJs0
e7ijhEE9VHwV6Dl5NQ5I8AmBxxQnkmOfH+i64H3DljvP/igwFpZol9Zu4+yjSrt34xqUCz4se4om
b47Jyvik6oe7urs042amRCXZ3iYzsrXmu9KoRaqpvtwl9OF2EtiQ0jskNzpmQqi2uVE7wRnmbN8Q
Fi1TvXba6mF9nobhTPj2uUqWs/BZW5VHHJhXbPO28POJrKGCcJhyRHdJcKS0vxX/8gi1ypx5hSlg
6tPdNoL0iSB8kE90irY3aXQPABkR+07yJVWCk6SUfuMcq1bcyHW670yZFhl3zrpjUZKIFJ0EW1Xi
0zJa/gyBJ7Wtny0flXomeeokBZq/OgsTorl/IjRFam14RUDoD9hT8qvPHNVOLuvE4FcEdJHZludE
fXASpxG9SkyVdPzohXSW60Ma6Jc+D67ioN+0Yrq3S8CsjTlfbh+87q8CBp6hfoTOUEj3fs5ZX6pb
Zw1X9X7TRfKpqIdojnrGyjFeA7PZVulPkR2NIDik03isrZAkg9bXSCWW4ujUavFJ8CxiDkZz2bRL
cWlr85wt2sm4duFhILVnzJ/KZ2DJhFlWFyHZRfniq3XhS1Qb6j3EgxXvG/LDFZoeSCCWlPf2OInG
UVfoqeTF1XV4gWXUfS/9HocIIiqTTpdt2qHwUw8/ccfsFvoT/UPKWVUaZPm7YdyGneRNXYY4fnLx
sO3Fc0PIoISnlYgYRo9IwxUjS/t+MZ0GFZp0ETOGE5XdHIeFYZ0EJL8pQo2sYEqzijPK+1Nj4K0o
kiMZPM2AQa18ZzDxzbe0O2PClRNSKbhnFztXBk+UB6//kw3qsbMAzGCIcuJvCymG5LT1OxJ4buJH
Z4x3foPj0LTMBsGeGChJZoPfEdi+T3STunM0eQQa8MEXuOx6tEhoOCfJNsnXeLdE2Z3xqMfaBKZA
5BnE5C7F+6JkMG6on0RqAhXtnkIlNeYfFbsHIBBmIMJ0iNhjMqF7++/UbzoUYs1H0QCCSxvCGINd
4kNTTtSP8Ug5pcU7Uv9jS9Frjkpbovvgqe8arTjL56mEmlwFr58mrVRS8R2FjSORe90VF4bMcz0Z
fiFNdBHacskbwhck2XktUeqQo8KHEfaDR5ZqVCHORgI532SIHVV8JsXb2FR2T6PxKwrvbU73CXQd
kpT38E9pEtQhHmkS2xA4hS5qcVjQHLwSjok8XTtYC1sQgY1pETA3Je5LYiCWHDXsUSYYx7BOjolJ
R1vMrLA4S6G4yazxRixdlcbYZFvqpj3C2KsniKDTONu0Q3bYzgUyYA2dt/qdwFrppx/Ip0JgbKmg
hRZRZRlZGdIhJKdLdkf+UC3fs+pL1s0Dim0BFp2SQENjsACF3SkBP9xHD8+qkjGf9AiwQJmJP0Ux
NQY6iBmDDZPhu1V/ERfo0arnSZ81VWQBadjYnIIAF5PKcGZmp9xAsLJGeeIm/1tAJE/h5HF9pvBg
DvWB1k/ejZjlSF2qaQafDFeI92lBA6NAr2KJ2RiIrzsnw47GBQoaqpt5NzTxwoULCjop4uk81PNJ
rYh319ujZv7TuBZaVXtZQj0HeDyEdleTZGXBnFKgiEygslTys7EDsxUaG0bREPmdwn/sbA1UMIPu
U7nndUjGjIGRxr1g6TZhWpAACw33TFS7TQUHCA7lRAXx80ckThfQqyM/fxpA79f16Xs2nllQXEU+
68F4cSE04e8Caib3p1qFOkCWmnyY08aV+t7WFxKTdTLoX5GMDDuz5bCzRXK6FYnxAhFK/RWRGpFg
PSr2ZaWjDe0dOpTxEaJ3+LBFbkWQ2HozXQclICGTO6pMzsOoXFAAgePTHqAP3BKyTLEJO+RfQLmT
mv9+zPk+FIJz2gGM/ArRfG5RaVFNzSv0vYF9jxAFIjosCM2tCInLgZklcFMeVqzcm4DrHbgjLNNS
1TZx1aPhhHG9qcXGBh3C1GDP4lNgpMkE50UR7VRRlQryNU7PZukflM5QkWlszV0v8I0VFPcArhL4
CnIxxA2TjtbEcJL4yGHcZJbfHuoMN93HMLwH+dkYSQODs5Aujb7sAzN16xJynsNnPkzTeTJ0Rw3I
L5m9xASZoeLVGYL8ipL3bnQ6o7p2iKE9o2EzizNVRs27FQnvFCx8LNpKSbg5Hg2W/o2OvxBBp4QR
McQMjMhdw06SWpMXExAjo3VqqXotAChr7tiqORkkH2DiRLAl4DSXW1pWKL3PtOTMZ+QH7d8eR3Jn
UQioPtWaeAFRcRJ9ZxCdPcfE2W9SncWDpAuc7PD5kWo50M3Tggs++9ZUsjXku+HUyzeK/vCll+cQ
QRXd10r4PaEak4FJB/2ulsVj/u3zzo2x1whG4/ZdRrAaQozrQlRP9UnmMrFeGIEQKmPTYafLmMzA
B/gxyc81uJkIp1YM1V8zYEaELhGOIfPbVD8G4tO63uMwUXiDgVNvUf4hNZB+AoxRHDNpTWxk3m9o
3S2SP+l7Uo+2grWfIYUVhLdotDg3wuoF81+kC3YsEIbzqdmCjm0F2kZsbXgxcjwiEnwN46UmtyyI
NguJmwJ3eq3uk60VvRRemuSQkH1VZ4srzrzoLrL0TS9njYMwnyDa/CbCt1+4SsHspdHdcFKNEOHM
pq52MvWQn4Ydal8pMgRe4JXyXr6P5EQatEtYv0PxPVgIP4pt9FZZkR3IzbaQCVorPCv90zcBv2rv
dMW30OHTKd8oCPcM9WrYenfNmB6wKUodJxzJm9z948w7Kd4twy2w7Gj50LL0Wks7OhXD+l34KUlg
XoJ7H1+arN1FpOa2x4L0ZXm+q/3oGuuFIJL9Zwro5+AYzRptO0pvEd3IIn3KnQoJXxNuMaW2wd8Y
zHatYAaJ+q1dm0/duEkDbFW+UmTxKU/WKDkq1e66PiboZ2Fxcl1m+xhvY4YFUkQfjKzvf+ydWY/c
SJal/0oin4dqGldjo6senPR9i0WxSC+EQorgvpPG5dfP56qs6szsnupp9NMAg4KgUka4R7jTnGb3
3nO+Yz52wl8EzLUoP+Zbs2I8qC65b1VBqvB3VJlfx9zSLXKhqLbsLcLSpf1KWpkfR8Dg9qwOMu1W
w9FJkXwx4byx7O9uNKta+d0JKQki0ltzMlo2cLgeU2U8jAtT4qK8b/LToKgXivRaSsa/rTplJiLA
oEIFH11T/F0g8oTE3o4piOtYsaxRVRSDsy4kcPZx2dw0UsvRTsYTPNDaJoAzhimcvINQxZHw2RTp
k4NN2xsBCRn4AS2OyqcoI9t04NiKFUkhjeEP+WlbkR49b3waCuuzNruPwtH2LovL+5Fqzc+dvnTX
JrwSmOi9oGnLuZl9pDUvIYonqINdjgCGBRBFqNJBOGCunV18r8ridTrsEfVrV0yvRt29pkTK1mhL
i3bd9w5jLPuxD9/rrDpixoiygW4DM0bv3ebqj2h4co50RvOy5G/a2Pm81y4Xu6+f+viH7WkB4kmm
OR4pBy+J6jAig2JOyNgbqWUA/exoZQ+Zux08giawT3ik0c4QnNQzLvh1qZEZl6jd7CW7sVi2aU1B
U+mbOMo25NQkzVuH4aZ+TeCZREDzx5G9mehf3VirNuLiNuewyK5LYyEf0/dROa7sZnkklIm0D8sp
aB2RidUiAZHj1ukXejX8oTLT9uPLeLx5cAhn07zAG0aoY2TJpf2LV3fPuBS+1FK7a+PuzgM2heZN
tuEuw6Lo3y9S3cu4uENI5wkwpoRsj+3WQy4rWmxkGmfeprhaImIwZj0Uq3NNh0YAGJOb8Kux7Zzp
ShU1YPayabdiSJXWXRFWkG7E/dh591lP2quGnqZ4ZM+h9dbeT8FI4mWPZGkqiBPorF0nyIoVbsCQ
euJO7qLMon3kkiBsyuBt087QOML5rKE6CT16eF133/kAuSFVzU9Cwy6a/SBRY+0SUq0VeBeFt1dF
fogYCLq31QPxCQ2VGwEii4OBkLCyyjH+cPcX8UN+p4MqIDTIYQa5bLThnIQB7UfWf4bhDtr2ayMN
P6XeKcp9HEGMYiF7HFmBd69BVSJTvB1nMcqnd+F00kv5ZKlxV8foT7PqMXOn+9E+FDitXeaLbHmh
4qI0QnvQfqTJ994Lj5nd32voAcUPDikE6rWSufKOMx05qbc1rG65vBZJGmQLJO7ajS8hGR1DuWk0
xjsACQxacqMGSXdVeh9pjEg6xamy7IxltTwudxI5ZLzrVIsxISILwNwCJN7l+Nm4gAr5bw8TRb3m
CkcEFKuWJPPpamJdo5LSQZ4lbnKtRjK38iyww+WK013Z5WdLzz/rtf44JbSbKyLWSuKzy/x+dL1r
IUZKeF+QMwFRS3e/YIKasH971HOq11c9GxX9ob0c6fPAsLdDwDQnncNWVmR+xAE37N/dvbHgmuwv
sToPbr2JGAO6MflIdBwovcPq0PUGmEuwd9qyJy7Vr7k+7A9K2yXel13pIBnixppqH0ZB+oxZ76Sg
AlVwh1B4DvFBzzkvlMkbgBu/LNQur7gA/qAdDdvl5VOwdTj0HT/KfJWiuK0COdzxcQtxLKrbEF1g
xljlMaOpix0l66abVjn3Xz1BzsUpQzDvWVge3uCr5EcfPer2tciZRMXvcScecGBqgYrw2ZNvy9Y6
mE+6sWBcXXsTpSXys8zAxy4r0t9Q5wMi3cq0ffC4M8yReg6H2Gd01Bzsog60Hr/IGB2LzA1s+zJ4
97Zb+Lk5kut00TvjEQj4Y+LIhzLqDznMQd0YSLQHYV3eeUSUd5M4P+kn1Xh3RtOBRbTXsZ2fNdme
cxfRSnKypv4s+bxNGfVftVyNo2OsRSbJYsihUuDZ3IseEbjxUOqHBkSTMV7CERJKtKUM7wmyyJoU
UBP7NNXsWN3lVXfvWdmDNN0Hg1b7vZfXJzeqzpHFwEnjMUN2rmMHr/V0yrT0BBlgzu5noLe1y1ww
3sSWBudq3MUTFrAUgToV0a2vS1FWgjD6oYNvWsL7uPk2KOtzvnRPJFcQ3hw+hc02iZ2D1RHfB2B6
TrE4EEugVQf5kFov3OE3bX9dhtBX2rvQ3cfG0B5U+GHIMKhpgpSQ4Yq3EaCTbu6WONqbc7VP22Ev
hwvD0Q22EWDDKMhjc//RpIibZf3aQDtfYBIPTFDC8KzkcLY779SqXTRc9BkydFtfO+4odxzaruYX
h5xARgbeD/xIMIIJvJkVK5roxD7wTkwDV23pix863X6AZQQAk3TuPM3xi/RorDBTwsvXW5uivMx1
hG68WkflkYXH9A7kD3nM+UeoAptuwYxqfgA70Ttv46HqgQhqNAD69BmVNH6UcnYufRVerFayFIxL
pDGt4uyCHk9Z0YVp5Vn7EfcMC9bmlxlLXe4PWPEsbsbdPqTeyyPD7+ZsJdfmPjP3P9g3y00wrKY2
2sbetKm5mO4IAMsLd80QHYizaTBRx3B816+WjbPvdZEwT8gPmDGAWGhC55ZKhtYek+YKFxFdupWJ
LUgFmU5LlD8ak8EqMxhrTceQfL0aJdkQIxnzSw2vf3Mpf5ynkBVJZykqdrSCqJXczdUy9nUb+g4d
AoPAKsK8A0QOBW3WYNRvgTe+iUI/Appg9+5xYF8VLzZqw46StCkTkOGPmKJ8gEC0aMgdB1+8X5L5
lPKmV8NTWD6n0QMhtgHd7w35XSuRKuaKDk1IMP6YimdAe5KUrq8F//FmaJPbqSWu13RIv2Iui36/
a1cGwdoLraQYpx1sEdNPtOrOqSq/GANgjbMClGx9z5CfhEQZnGzxXFHOW+zdYND3tz1cYeYm0HAi
T1ZuZw2LBi2Nm+WHV8f4K73N1/2SgYotPvrXwQl9DYVKODyBgZAYJG8jee/cRP1Ofk14QI+TaL4j
yD2vaiCIzJ95prJbS2r/nDkb2g5YDrT/i6sguUWgDP4RPQt5lRX4GFqq6DIL+9VFR8Wib/YdfoXk
K68+NvEKfO0yOIddcZ1wQ9qvWPGDJrIIp0S5kR5SOh8/nSLNpvjIssdp4FDWMURB6v0xD096SnzN
h4X1mzSNnXmdSHyO0GvNd2GP8BmYINxgwPBvtnq0eivoN548T5nclWPjdwevyYHBhJs5rzdO+kh1
7ZzLBitZoKYLcLqgwUmIPXY4lNlmdB+JdWzahwkPRJc+EmWthtWQPlYlYgsHJTuOLvV1vC8yTv7m
A1o9qjaNGMNt7z4vNGha1ly1a6j/yo6YLcytVM0LdUI53LcDKYoBzbfQwzz0ZOnfDPqwVni00nMz
/NDyASAyIRmnWvuee0Rre+yPdAL1cZV77/plIv4Ft+JF8XfXHvX0fib5x6ULInage+oXvf8g8ROP
U39p1bzmNbTGcdai59pDhaDFQQTlimaLdM+zbVHUz4e+yY+67h1VFpR1s9a9jU42ZmsHcQ7ZE8sU
Y+QwMY+T6E4LIoqZHDgO+1K8VVYfaLnHdFnbYcHfY/Hy24Y84yLbR8FiDY+ajB816GMg3SxGX6W7
7T2DUSiFvrZF6nq7X0Ao0hhlRbsRcPTRNcJD4RoYtigo3YMbq4NLHVKomWyhQFc0JUPujl3FcQnm
xQDeZYGaaAeKqwzLhharXGveAQNdk6FBMdTqyCvH95reYms9mtcjrA3aq8WMnm2wggQnZk/H93W+
j0mR03BJW9X3QfeXKkKF6nPZ4kLikLsb/Np5cnL8MHILVIIDn5LvHo0hkbBhdh8NbWDjMo7xNksP
IzFb2sQpXIwbOqtUHObArBqPWM8OGtmbPn8o0augMqhIRxPHtHxIuUChei8a6Eo5d8lmqzwOqwK3
IaJ2m83lFvVJy71UO05r4CM2IrmT1PuKv1qGEf1MXqmzW2iWl6U/klmT8/E0Rr/FBRNxj1rkVcV3
2eyc8uQU5SABq2OczAdxl3t2EA7PjJt2WYwmlUri11/+5a//9n361+gd1hOcmKr8pRwK8gXLvvvL
r6Ypf/2l/tt/3//4y6+eMIBbEC3uIGGybCFMl69///aQlBHfLv4X+6+Z22Nq/HCr6XyMT6WZbzSa
gGi/H1tt04ECMROyjq4T6Q4tnIYFR1GPc/bML4iNUL3OQANzP3vGLQhLPT4OH2UFuhRhk4WaFr/g
KQ6zk2gDaaUHevN8lkMiWgcUEnNnH0xyPFdZsRwa+RqDqTQ3tdFszvRurXlVAyl59Tr0Huw5XX6J
nPgyl+G5bsTZ4HqnvX1yh+oEbPrOgkmQoOLpJDcguLoRzzs39bGql0ORWPs5pTXiPGswQkZGwugH
BMLhUDOZiCKWtnqOVQUvFlALqMUamGR5c2aKKzlVKFmYAwLMvBVRjNmm+jTcwwgKwU6XyWYkMZPx
89iEm011EOlNxJDsvTfXEZtWYYbS863nUgqqZTspoMxYh/jgzXzicLP1DRBid9yull2hz+vYOUfr
6Wi38qkIxyeF5KW8FoYB2Ke4hM5wrl/CuIGntrOKh24KD0YB6a69LLF10uDlR6RUgNP4ulxMulMd
jFa2g7rN1g5a/TgXa6/L1gkpkFxMg4vZwNHonbNC3VyXH66rdgb0tOYUF/FncrY+C3+d4iBW5FMs
nNf2UPkOLk5LOdCZ5Y3SuY1jlw8f0WxgocaXhDZP3FP23lvXGP03DTRz2yblo5kzMbneXG/ccs5I
LBBZuHl4Ag5nDcTXO9suICu2SS9T2VzHdpfQ+XWuL33eAb0nMkvTPhPkfZ/pvT/50yEDJBYd52hi
lX2pcHFHzXz6ku0N1l/93K9NcDez6YNaCYlJy9r5da1vxm5+rYb5tXAq/qb/3kWbKB+fOyRbuQ7L
AX5dP4n77k6H54kyZ1KAkiFAuk53iiPnbGTZdeptqBSF/1jVw71OoyxHuzUc64XYUic6JY/WMepf
ON+/jF7BCjR2g703EcynhnfyEuT7+nwuQvwEHM+5wcHJyOHpBuAGj5MxHOGSFCvmk8J9JPbysXm7
nyJ0PpG2ve/4nfBXxsTm4MUI/fQc0s0f8lclGfcLWjQZkDF7JJZ1I76Iu/toJh6j7nE+5bi65Jr/
EbgLYAEDR8WgQ0Lbsr1g1zJMMjZKSzeA2VYxQwFzqIKQNaTEKUdOAyHHuGSox2jnNuwDjHuO+iUy
v/7ze5Jt6X++J3lC9zxd2q4pDMdxxB/vSUOZZ7bKnfCt9wauV7plP9DHZt1hu8tbnL3oPjBFjP58
IPLpUAzJRmtfIzuHBK+O8j7fj8331z5YbO85c80XXKzoi6FsqypQibG5zRlQ18qvkB2Kc46qpjOP
ehae1IYhjneGO8ydumlGyErz1ubMyR4MkRenECdoOjbqy6Rru8xOdiEODoZzHXldjL3a7338pHnQ
jARCSWy0oiKaY/YXbvhNeZS5fUwA9RC8Jcp9SWwMHfJZaYfZzY/zh+gJmaugNyF/whDt523QT9NZ
qfTSDsOlMUD3x2ucPI5rYz5Gqpl7W4F3sIiPX2+KiOrLggBpZfExiaX1pPB5P9SnkIMlmcaleZ/a
ax2GEG5deDenjPQeDWuo3Xub9gZSuIHT0aJXhCeFai1uOiVfZ+QwAaPKQXIiPaoIx0Qtvp89bxc2
1i5q+12PnJjBg8S2d28mKxBarU8nvp71p6E3P0fZ+Oia2v1y6jpsmjUwGc93xJ48Y6KE8zu7iy5F
0RGJOd8V60bTd4zXE6KNo8rcR0VxcENMgqDmE2Kb0mE8UnmV6mA4AFLl2qnYdIzxsOhvSqAfuqWt
egg5GAmonYndivyXiidzPLXp+NBq9P8IHBYI2JkKbBk7bhvf4JCPDKhb5JaRXT2cjMI5faaNYg0M
H5OOO37vXlWZruWEYMlb948oUUymxfjFwJ8TlRMfEhQJ6uxMkiou2dwigAnR+RkBbJbqKj396lT9
tUC7kB7ZZpz6OGXOWql3efPNduXBbK29xbTezeg01UxILP9uY5tXT+tPRBlrGXj2eTlUBAtODPm+
3xUMRHgrTyojYaa9Vt8rVz8v2/wlnrh7M6InS2rfjtDjtndhi1FU/4hlg60h3PJm71r4Mg4QwnZB
HN1NhxtgJ/vqIGaLPt8ZVr7Rmc/DNOf9SraTv6prC4AkBzeOVIy6snU7PM+wYvQfRjZwzovW4us8
gY2u/eJVazFXLvSyNdBBVFQ2pQvapMDBJRJjl/a+Khd0rlQP3J21s8DBoDDlsXOoj9TA4WGjWfno
quoE+k1DlYZA1Lt5PUvciRrO3Slho98h1jBcgsZyNIemvRPJCIkt3fUpE1VY3RWsbsSv2J4sZfMv
uDYMPYd5390u7j52zbWTD+uCyZ8FqwrRemnhROcDTZ1PeyXG6cs8bPFdL/K3CP5rE6LCydRMTslM
eWEsOUcFB7Msc1I75L5EFTuiOuPjeksXUERBPeYutDGqNmaH+i0wEFgjRNysbYIGl54owlPtGOe+
GC9QWTA7w5aZhfDnnr0PQpqNcrCHQqVD+cCRxond3n750sLCYNoK5dI+5bN5ErBW43MptJXJOzM5
I3q5gl/LOBo9uA8PA9Z0aFHMtrcG3+4wmJDSj08hErnGQr69khkTv5tFG3CFyx6O4x6jn7uLZReY
nBbyirSnNDrouzytzr5yfALDzXlvpremjLM30JvUKLuXyEEKY+/pf7FaCOB88oK5dHy6uv1TuARR
2O1bj2TTbCuINjJzRonOeE6uydJfSOLZ0k/bNia91YK3QhRboaJtDk8mmhGRolAlspWuVKpNWzcg
1Do+jhyyXQqPUed+9OKARyJQVXAt5v7oJOHJiEc+ijDTQZjSRSHWfQlIjMoRmy2KIDBvp5bhqJYQ
zz+ulns3QIIoAem1m/JJjEDf3rwvuKOZUATC7E5WSAa4m1CmOpdFR24/50TKBm1NAO4U3WkBQqzn
ql+ee7uk+mR4szMLlt2WUyFc2eiAZ3gbPy1E/loX+RCuq9i4R/vgmsamZ5++DXDm7NUhGCEnP3Ik
P7Jlf/bs0xyJ1c+99l/+UAB0PwuC71U9t0kU93/651/PyXfAYtVH/2+3h/3j2/74oL9e6/fysW/f
3/vzt/rP3/mHB/L8v/384Fv/7Q//QBKW9PP98N7OD+/dkPd/L1Vu3/l/+8Vf3n8+C6Xz+19+/c4R
rb89W5RU5a+/felW2RgUOv+ohG5P/9vXLt8KHrZ6L5P/8O3v37qeEumTtLireZ50peMZjkFFNL7f
vqJ/cl1OI57nerpnW7b0+BnUMn1MpWR8snRP8DVhOY7uWPavv3RIAvmS88kwbWF60nKI93NtV/76
95f9W4X2tyvyn1ds4laQ/XvB5pq6iWDftnH62KZlCmH88XA0y9YzbkBuRop75DTGwQwEUfYc0H1A
tP6AgGWf7oyju//dG/SflIrC/C9+8O3rv6sUzcJqqlsKDTaUdhXtxK7wv3O0X/xlTSLdRvr/w59n
/fHnVQ0I0p6Ps35f7pcA7spOgwGmPlD/BlFgB//Fj7s93T97X7mAv395eoUHe5A4up/bU42NYme8
Rwdw5Xwmj4wcEHCm/9NX6PzxRzbxaCK6At64b/c5TSnO51vgEttlpnexitcRHd1//ipt+z++THKL
6B1ZglwMzxR/epnxQDoLk0gYCKVZMC2Wlq2zaaSNxnRqCj2XHIWqDTc9e8+4GvUkC+Z5pFuRR5o3
Psd1kntMJ5zhIxtJWBRuqV0sNZkdEO86STnhDSb5k7kkubKahGOu7KKbn5PYs55EXYvDGKvqPJko
cleC72ovcioHC7fY6KKcIyrsIOdKPmqdNWKU1qOrhWDXoUUUcYquc9kYx3ZqnRvaybDNXTEU3UM2
Wou1AhJHc9XLgDTD5bKh3ZgusrJuMBllxJ5Mz8pSc//Qxf3wveeXhpFeLjFBhnkUtEYlt0mGdL+P
F5QG/UDQfVElIzIUe+CCENGFH8bRUzpcjCpdOQvkeUNySEszwccWpaBk7BipUuGJ0Vc4rGxmmXod
dLRX7jTmIphojVACUa3nl6lylqPlDUhNYdEFDlMk0xzFcalHhZQxLVA6YbeINaSc+PrQ4DukaS9Y
l5OVyIjTIOCLyb7fEn1Aypls+A2EeqyGkfxF1XtnXaPNX+ea2jn04j5ErIuvzexN5yU3GAONJJaL
BAB3PSusA5oOW3paACuIgZ5Z7JTQ4F1Q2ONi1YTydsWD3gMNWFLFkDrP3KdZFuKoO/BYpmSSSEyk
heubrmhD9PIhol1wCAsV73HQx9+EhSak9qBgunnO7pgUJYvbbdU6m2mXWjUkH05X1fit0+Y0PaeV
xXQjyadFcNq3nRfLru0PaFqQIBnzRLRg0eWwjWqFVa1rw8C7kxaqak6LRn3fFRVqlYGb6IOeutYD
LzYdNl3tNm9i1Brhq0hv3wbqwWQ15XMGacr+iRpWKip9K1qoiZulie/IhIM6V9TC6led2Y3mmoCe
/N0hkwQ2xFwsZmBk3ohlMR6zW3BD0qDx1Sx4Q94Uul/NMM0/R3oPWq0fmGDppZEfadQ05nWerIVl
M3ZljSxAFtGhzoyYoqUvmnu9qrrPRYPLcjFsZqZlqOtIZsSAVqTQUKOS8nVIh9id8QSChVzjeyYm
RA7hB+83HhazysS+StLimBlN437JasPM3uNBIBSv9cadsBZHuoWVgOHgqjf6NAITUgGc9vTEgxNl
MP0mpq9DaZk6+5pm7zrJ8P8zZTZLTIGT9VmpsSW+Mb5Z4uq+oAsR9gSIdvoweMCEdQbVkz6snd7J
Z1+x3x453jSvpT40R292rB0RrjdNRCwSeKNmzx0DUq93GJnWkoasx/JtcDTT19iWYXg5OgYXD0YV
yMCyX1yiEvXy2bLG+Llw2sGXcx90dUowhtO/mH0HlVro+V3KuOSbXRbMsoyxofHXjMlpUj2Ri55A
xRVVEdKtOHPX9Zg0z70A4AvTv2rfSiIG6ASMM7kijose0CHO0h7n+GQ2EdQ3jIU/AQfqXRdMfJ3J
dJ+VyuJDNNb5tzrs45MlIfWoZpkQ2kNBakY8iZoVdcwr3DYIJTMwQ1bZ0e1v8JoOnavTOkm8muAS
Bh1IE7ClhXt2hDUe3Qk3ZxTx3VZOPmNKpg/jgwpBTCTafd3nkAxTRXsQwvBFW+zsONP8OI2eW+1H
o0Ur2RK6F5YQujtmz/CeqwwPjZHn7aXAsHtZ+vg2wrnlA5lLSFezQ+oqI9faJUNdQdsYnXet8JZg
bKv2u9X2IGcNaWz5fN5+2XpZt8i8n9tBx65iMRJg/ZU5ZmZsU/DpS4znDh/vCJKSXTSrwQidzpdh
NWM1xviKub/aGyY/yWlHbdfUev2SDvDFZT+Ga9Tw2edsNrNLjmeSKf9Sroclrc8EtRAOpt2SKbsC
b38IA2oUVhKwvNE1mpFFfJmgBJ3bPsWqrQoqYIYl9jTA0Qkl7jLdjj/bMsm3ws5NIrM1oBCNE8M6
tZBGR+B1CQUo0cdKa63Ntv44zuN4KHsjvRZNG74R9RtD3SrfCaKnYLWGeD2Ptw5J146gMgpG0l1h
b+eySwM3BHFitplzGmTJjlA7Mt9pc8wAoYnEg8xC0CiWWx2GCr0EUpbwroj64oUwRVqPrua9LZmE
UmcJWKFZ1q6TAYpnld8Cv3SmadzMbqNhY4Z5jyatNMSEoNDjaHHjTBpObwIgxuXRp032dYH2+a23
zVDQbE/sb5WtqD/y2F4POsKZInTjk6yH4XOhsPdpYVESSDJWPs42yvl2LH4Mpp19z3ryMKIur9Ck
1OG659R6bwqQ/egA3PfKMW9zO0+b7+E8j5tJZnkgItoEppGoV1vmGOOXWA+8RhLTZY5YVgfhHmlO
NqfGDBnmGgJ+x5IhH4vmgd09cuOGY1MuYrJTtXJVqWEi5wNpA4Ykp0fHhsY5ZVdBjmK4KB9ldJOY
tFq87QbUBaDr7IwPnMtLy23F/22GUY8eG21IWobLXSxXWiynmNFfSouZGdF0kTCYwT8s3MlGBzLj
EuKNaY3w2lU2vRNbyRH0dt7NzWaMu/YN+3gBpFtmhk3iY6zNa4c77IveRpa5kaXH4o9tmntBXdmL
/uxVRqUCoOkq25F6ybrs3AkHf1HVZLcW0oZE7oV9wu16yKsMSJeU8I1LnIhv2qRoHIaRcJ7GoqEj
QkDV6FjfC8e0PF+ME+wXlWYD2JsmcoZ9IsCIfDckSq1Hz5T0TU0+P6Sb6fV66Tr9qvW2DcevT6aD
EaH68CyrutMcY4xoqsMkk06svmvOslypmMazZ5oLXAJvAtk7NicSF5xDran+kFj0nYxserdrI7kz
JyiU7pQafoSzc704qFRMorQuhpYkga6jBpgthMzZWCo0hKr/ZnQJ7ua5mrED9lO7mQ1V31eLtPBN
IPucLZGtbahLgRVBhElqxe7aCYplVHAMGgkJUD2uk77LMF7ojcLLQICEMRKd23SzOrZjDCNT67v1
VJURToCUHpAlo+ZO5iV24CEuEFPGpEaV5bwzQliOaRK7zzWUy8ChX0LOKJrZQVsQbc+qaOgCcWms
guRNFDqRn7SWw0ghb5ZLNem2r3NK2/080///Gv5X26Qi+idFfNL+8vnbmOS/r/t/Pua3St76pDPb
pBqXrkHFbHt/r+RN8xO5CA6TT1MapgF86B+FvGF8YqHppOW5jKUd89ZH+K2QN8Qnnue2DCVFvuca
zn+rkL9NMX5XcNIUcG3DsmkmmDbP6P5p8mpJOzPkQh5g7qlOvIV8zwhvNPPaj7A2f97gYq91OVWm
WQ9wy46siQ1tUSk9Cr/TVBaBdWxt++G/v57+X+v2uJSx/+eF4i/v3+Pk2++Xye0Bf1slQn5iiTBv
cj2DETEX9u+rhJ6O7jn0dJiPm0JK69/bPbb4pNtSIgCTwpGeZdMM+W2VWPITxj9aQYIGkUkB7v53
VolJhsIf14luCE/eGktSUq+bhv2nhs8CqITJubyF0OJJcinFRV+Wx7GbcBzXQHi6FBFNoSsyk1Ko
LC9FlwFjSxTjEBP+aCypMzjr0T+VsL4KRPv9HD4bAklI33trDKqPvWajQ4gTerX9Q8pRObT18jV7
sL0R504lDgKKGg846gD6XIANyKnnG1cJKFVfNngGc19VEpg9abHoxozPzNgCIYhORodhDmkcVFL/
NtzAlaZFHHPurJNYB+0iss6vGhsepVVKFJvJVbWxjeRR+JFR32a+sgm0MCesfSoJQQx9Wdfq6i7k
8U1pAkFYp/LPMhRgUYI3uCA+pCV13uniLaYl0kVC6LVj3V3cukdNmhwLC3mKPfRsejkU+jziaOh5
YaCHeEiwXNBA9jJtxW7/GqHGjBDwO9L+MJplOAx1/hKK6ofj4S9cuviDM+drT/25HWcIwEYKU6j0
ggjqvKs8amHbOwPj8jEuqHXYtwRfAjzVUWPntseYzHTXHkfFbSOWtzTXXsyiWxCoEsqNs7VDDOAZ
JM7M0fja5vYupF4r3+N0xIoiHIzP1MExByvcZIjUZIQUMgU3VQk0giBwPFP3i3J46rIIn9L0lcHR
7DnfWGpYDbAezm2bH4uJEVKZdoE3t+O6p+obonLeFOHNyqhi6J6MTPqI6MGxB0FTfM1MUrWq+zwT
j0mCVyTPDEC1efk2SGIlceA+pOOA6wM44lTRYWo9QD/lAmvLC6eg5I6L26qe8Pemyi+r7lqkQCCo
IYvA5bjRTShtFwYOKp+1YIGjGnqXJJ2f2g4wVQkTG+gqmt4qPfQCZibvsDriNfVVQVj8WFjeFhkG
US5k5jVJRPOkYlVaGsfQlBj3Q9uPL5FBW8pTKeEby1cnWQ56N3d+6Klz3UdvZRnTRcCePYzzPg7D
mZDRhuzMKfpS54Pj04RgEF7zbmeI1ayk2dsNLgSjungRAxTXJquHRtdKmuocO93HYkaX0LZ2SNsz
PQpJBvTLCG/APBEuzmf3tV4cmC35FAY9n/LCJLFC1xjjtgmhPULnCAhoAfphdKgchmym9XUu8ZYO
YBtvvYYKeGaya/ijZ6qmGhz2TZ96p4EhbINbZeWgwZhmRkNWajxHM2Nu4OAD/vli4sCdz4S5WB4I
AU5TVDEOjn9l42fg1MJu5L5onMZ9o3euS90eKW3PDfFLUdNlNyHdBKbX1nwjl4lvJ9wAiobK0kRR
tDaEm6/tmAo/xkI+GRgOtAQVKZXl8gPVbbunQ+bXCcupzTI8aLi0KrnwnswOY+xFnEOrv5/D3lwh
CG9dAjUm7P9L7THXUiW8TNq02smZCu0SYWjSa3FO0wG49tDhe8kINZiKtaYTfMwYfqV15mM4WuYu
ST733PPWtNLqfSOyL+MSrvHE0jScbNDAg3ykYBq2ugula4Qrv9LMEhesUdJyaYdDMnbgue1YB0GA
7gezAIHdKRRVBrYLkKVVC4Zan7E4/W/mzmw3ciVLtr9SP+AFDs7pNUhGKELznKkXQimlOM900smv
78VzG3dooB/67QKFRJ1TlZkhKcLp27bZMmuofHgf631dE3nrUUGgmB9nCQWcZN+VZbGtRKfypP3Z
5EZyUmCYEeHu+RRvDIqUSGpPHzzWn4dRmnR5p1lOb5yL/yKXeD9G9bYFJAUq56XxGPC92v+aDewZ
IpieE2PL42C+mjooO/sPxfMZpXxZfRX2+qqTBRAjumWZtuaNJRLotWrSF3k3DPKQSPOhcwJAF/rL
BvNzmC3MxJlZiBfg4LiyXgirj/es5uaHareWwM26dmZy0HS2naStvusaZtE8B4gQLGfpBqI1DpUG
4+XIMjDQnFPIR6+u40eggrvYKyFM9DauF47BIpReHUTeSzsSY+IjIEJOnUj4nmLKc++SjaW3MtXV
kM2PVkb5Y1NCoBnkTVkoP/Ywexur+AWYDEoNXXvx3OyBV6v6Rh3FPAzRKEUsZcVHmyWd2dfuaPHU
mxSV7d1EUCrIcUNKk8kJgU3y67GDlYpY54qrYPP/FooEagH6LbIIuoTbb94XDURnr76fLfbnme1f
CTpYBp2Qxbf7J382ubKxbi5cOYdFSfzdu9cOZe/JCFwVf/RrzpmoSp+1LESg88SJppV50cLBQ5kn
xKWWDzpOj45gk7qMNR8KI8sIb3bk+Kln8DRJpakdcbbkzY6vB4FR5JrVdcKmNNh+jHH5FGqgEcUz
Y7NOqUWS98Kv5dEJ/DNilR93vfdZBwSzfQwiEm/utWmDIWuZSFVwDbBzO4n5uqicO+IIuHJwgAV7
xbicP8iE6MB+qCSym86XJh5b89l1p3NTBQo8n4NGjVswlf5bi2YFHRYXjcp2R1725HVLQ6CZ97qA
LgQQNJJY2KJFAl9zyqK8yQETulaKkaRzXtqBBImehzbyikRSns05Pm5eWNYr3Md1CG00vCNZLBsC
+oQRy2pPZrNMkd+Tny+3ablPHD4KhbNFhV86n7kHTaJQ3ufuCfShslRTA4Z5EpcKBnOPtfulWMma
y67oow3OL1GbBjs0xCvgU04boUUhlow5iI+axDtNVqFe8C0k/Iqq8aEn4PMqR7ZquJbwkF6qc2fk
53ZpxhtFZsZsCyocZFkclw02aUM0IDF4+syGyMKSFUY/pvGoFxMnKY0hjtmeRUW9k2zH2zkfmyjt
iC/ZuYYUs8w3q+lNh6agTadbUlQG8sFKF2CSExbg6BSfnQ3BjoTMwAHvqmipiBCuCqjZ6vdsICba
CYPgnMv1skHcPY8Wzm8kDtk76IUthQ1GY8DDzIacWxzk+ZzHQ+SgzHLKTphGChAgfmY7R50ZT0E1
/TC5VHegeT78DVDtjHvkqAc0QB6quIUnoCipPAbk8sOC7sXjkK1gd/FPjVtfvA84bw5ZK/tYbDWY
1c1h2cH9cE7c9b5pjFPiAPFNiUlxw4/LjQbnxSyLyK80vX6Zd2VmBZGIyeO0C9iPFgHp5n/+ihqv
sdeSCWJlsVzJyZTAt3p4xz1EpwSs8uAhzjWE/w6yBkG/vhZ5JByiFFXd7JGBpXqSA107aZOpS7HO
QajBVV4FlCabpZ2HwbxADqgX0CTb9uyuyUjAFZW3IxMdiTq57tqN/I7fp5ey/3bbPgg3t0svDiTY
1mmdvZbs3JrbfGEoHS+lbAGJYUsbpuZ2bN3yQaR89Bvl3Wz2dkTg6I5FUihy0lNKEQsoQbPL4Ldt
+pPpgs7Wxbzts+ZSbmDDWkiYk7d2saTaFkjlk5GUAF1BZFeui0nJQeOI4GwqsqxmduR5m4ZJNQI/
hyqXl/VE2gLxw3WrFHQoiH0lkWgMyf7IMGChlnPK92TA6N8FUTJUn7xQqMCDd2Yl2GDZojTPLHYr
7I576daRZk/QCJTbN3Hn5OKUmOprXED6UgtGgWm1pwcqASicDc62yOFm6oyL1S7YAY1mgO5Exzoi
7x11opGdOpHCrQ7N76+B63arsWK2+uBDi6zHkV2nOdBLDchKo3weQNS/dWONy23bxwjtn+as9yFP
FOrQ2sM1HXCI3QkZOI2QvhgfbU5WrpgdaGIrUMaaqK9btyT+U31C9AIQRdXQYXa5Lc20N3f5jQmC
Np7mhNBejliEz/RIpwekreGY7E0aIwGZgQDvAMsj38iL1a1UMOVbelH0dsQSM61eFyGJ0TQv6L3a
mGNaUZSU9Zh/1Z79nvu/3EcxofP1ZTN7hEWWl94lZ6hpwJoFsEWUNtgayXI7TAkzQvXWdkipMmj+
5CZx835Ak66sbbrCZYW5dCQEUqq+DBGN2XVNxfpZ3RcG/vxub9xLGlInnE4HgTRrWnhfOkNHOHI5
XhHZWZ6QChgT/08lgT0uzvqYdN59l2qg9GJ5SwaC9eu0YsXvZJzUmAiFpg3C8v2CniH3LFcB7E4f
SgGqAdnQM0mg1ujxw8RB0A3PXvOwMpfZInDDEcYJSxxjDnOEydXB66ah9PI6yhuPbD5q9vy8VUBy
ehL22eCye5r0l0fP+nmykM4H1ipK4dry2WyuCdizJd2HyGuVmGEbrIQcuh8prKvW4ZY8mC0lf0Qp
OioX03E2I3PlUt2b7UdneeTuUWodx5yOZZJcr7X9PCld3olqAuBQ/EiSJusCXqWVh2URNK5A2TDs
FPNpscKyGGPzVBdwd2RTvKpM7+wBD/In4TZnJKa2vwK9OX7YNy0NB8a2w0cJE1YgWUZ+ADEZt1D1
eJRL7X4KTrB09kXouRYh20X+TX4X89sCWeUwLnwNqgSN6MzUChdqDttkpYtkM04pq8NgFqFt1oIf
ZvLWGeUfqBKs4/bRP/ubV/z3dFni1p4fNwDxBIOpuc+W5j6VLXV7erwYPFltZzuINLdDy61ZA3AU
5x0frDY5DlP/6Qj5MVTl0SGPlmtAH9AAAstUYZb5a7jO69e42j9CtTQx8PtWDU9WGC7rDLCMjKnV
YfT4CNU7xCIVvKg/yCzga6ceq7Oy3naS/9anXMHS7REh3AnLdLmfW7xrQcMYmhtzEldLF7EhFlHr
BSCkQGT5Gpy12z70Jdtpe57ZPSf2V2d2eLn8MlzY1R0Kr1xoXbFAtfuo9SWXqbB06KlnG2K3DdJ5
UtxrQ55KyGaV6KkuzhAkQHq8pFt33xH7Ry3+DHrxe/BIJOu1/J4dQZtQn99m/j5FWCM1cN1LQibe
doy7cermK+Ul8jAvU2wKiEeAC7HRfnqyJ+Ymy196wzhtS/27h4d5KPz5Wmzd59g1aThbtFK3liiu
B557ddWS1ze/04DrvJ2S5s2zfj2kouPLc9qXrCvB5CfIM71AHcmXKjStHUm4dhQxdTP22EG1R4EP
8iBKI5ZWkx6dCg0lb93goIYRexCwIj1IcLqZAVa5e1jhjMzW8AmQPzv4+CJ4GbOmn3TgBlscZtP/
LN3KotNVsRgC7OMoF7aEqmJIktQEQGT3pgft7+yfKYU5ygE7FUC1GKtDOc51mMPamN169xkYp5kV
ToQHghgb0wcCVAnO8DjAZG4smw+mC4IbkllhwqlBga3xlsLVS4P+MDrztza7EQaraEOnzD7KMi1O
PVSWZPShiKoqw5Ikkw2se2ITFmm4BWydOCT9frXPm9+WWd17hFLxRbI7RLcDHsv/7K6H2m5YtucL
pQmFa19aPC5NkgBinedzI233vBqzhS+kakOPPRlmwZoStoSFKgVpvnjs2HZELujAgXIc1R+LjBez
VfoZW/GfwVAk5IuW9iML5ks1/t63mBK879yk33Y+gaLIkTk276NEpUGG+7EMB8yeY4wHb6HrlTgX
y0l/uJ7H9s3p8zLU3nqNlPREced+KFE75fADk2NBVWTgYfrtzfnUgXkZ0tyJ//l/WGNbhAXtF1Zq
kvo0mMJdN8RZk4dgn+JsGSYCUxBzLM0HqEtcqn1RWGae+dy2x+7CpR92SLuSjxiftnFTr5USybFs
px6UA+TP1ptebDPeLLq87bFfLnOrrvMA/C8OD74uY4QTbfn37lRQQi/TjwFI51IMb17J3nKz7ka6
SejJqSqMTqoiNF7ZhI5gnXGj4AShrCxu0NCmhuD76pTMKvIjKx3S+w0+XznVRydh+7u1zp9eWH+S
jc9/5ZEI4N8QA/g99h8lqKk5LapoGHXkBiSeHQ5oQPrOdqrr9CFRK72Zuj41pDe81rS5bfQvaYVG
5PbpwyTJMg5DQYkuyTm7WI5zNYw84xtA4Xjymawnty7f0gWT6jrDjzURY+iw1TeZJC0/yAwaRJ7G
7jbnJ2ow+VH2+yNUZnEHkGwq0+TKNe9Gn+eYX1BVkVv4nIUs3jloo7Jw0tvNFA+Ob2G2VeSpNX0B
IN70j87FnmRcznWp4XIMfrwXEhljYh8E4s2h31iJbhigU94XD/gXwgTFDzt0nhzKont2FS0cOUMO
GCOFnGJ8lT1+OAu70NHrO4QIigDFDPlQuugzkpvWOu3OG9aj0da7p74iDUldEo0lwAUDigDwOZXh
wDl/pE81Eh3I0smBTrwCyx+2HMidT6zCWmH+iOpdkePjCXZVgNSKLP1u+2AwQFsYsLdsZjfZXk9l
dZX13Opcx8Y17LBeps4bl1bx0Baag5U/mL+ZB8QwVUcPuYvUAOtWx3+XmzcCjli2U5lyDyLxBiBI
HNwMnsSA4TB05fhelEN9S+sDknsB13xobgLtltdMu48YHXQ4bc1H02M6wfP1Br30L0QsUC88Zars
NvGm5k4Eye1SMIBV5Q0avBmzAWbx6YvPdgGHbCouYkV97GRSx1U/vqty/sEBgsA+lVDZgbFNAfwc
tr1I2lxx684Dz9rBdEFKDiHRYUmmXNWdliDaSmhr2IeuRdLBBxjRlXwEBew75EwnflrFqn8giOoH
qzTOnFtgMac7q5HLEZ9b1Ae0c2Wi6qIFhzb2vPZitF0RbkVB+sih5TLXPJy37gF9+9lUmsdY10w8
UYWFCV/n5JE0ylnVXry1nl+ZRq5S29+i3EqpsPOKn4n3flquT2pkmSaN4oe3SBda44AnZacnuOg1
GQMLKxAKteg3CIVtAEso3XDi8Xblr/RwZ0hkUddUUP6Tvo2Uxp2TB+ZDk5BE+uefqE35MER7k/nd
Y6k8Hfq5EiGctu/NbR5qj4dlaqJ8+KQd06U+Yoy49fFLHbzWuQL79qIrwE64y8hBU5rXjwmwLjYP
4LCihnyuQmAHX70/HO05f4N7GZSIf0YN3bMuV+iEHj55n+xqmi35ldysMkqRGA4G1WLGsFa36fzp
gZqNmlzTsVJc8+lrY5aeIhyKmZTdY9mWUyh6/Wkprm1BT7I2Iburbbpo800ctN5aTB48nVO3upQF
knneOVfuaPK38/ZgYqm7+ykgPzg1NZyKurwlW2EeTNUOpxTdPBFBcFzRB9sBWIpZTLgzrRrjkSqJ
R5FKxHS3x2Wn286259MARzQ3kxeHMwqmAG9dmX7ZGVwiFMCSeFMCm1lUL41ijjEtrgyGLp6mpOJY
WRpMQBq/R81feiXcYT7Uvq+ifpKXbMcCKTD8JnBGXiudgH3WUtWTud8o5RYx3oyc5HZu5nxDq9qs
s81g79LS3o3zcrSw0Z2GckFsB+lkdrQum2iwql3TqDCTJ77Dw7G2LS8UhXfLE8CMW7N9Wvql2qew
j9TKG6xZCwAbHU2JMC+e88ZscesE7j0PPO6Ig4vPaKWaLgWHxMlNEMyv3hs/ja3FruPJyr8quUic
n5DCjM2+T+YJ+A4w03CeEdVNtFfMcQlazFhJfdqm+hpdYmWLUrbhZOvt0ars58qermqizRNEtrnv
aMcKFriMKWijHobu8G4GJdyBKgWeMPK7re5xTd33XCGxVR1csdXz78ace6iLV2PkLh/OQBBI3bI+
q6oAG+D4XI0B6EiLi0A/2RuwOpXHIDifHIuwVMXaxITxAVKrDEEMctr6fAZKzbSS+YxZhV+A9MN9
wTtg2Ehm908ZwEP6IwE/UhmFee7QqYASH2dlKWL96Ylp07kVzyXvkQU4n98AueoLClbYXsKyaF7l
OlNgpWeSxdW7mc/99XmunIG4E0+mWjXgECl49G/MzvgmJNZzDLKkdBVvLiEoH4Gx7NIoFG2LiwFd
/YP+IJE45qe8YeWhLfutnkCMsvpMaKcu1ve5rYAesu4JK8t7WqbZZTwOypA9QJTURfAwoeYb9Uuw
174ZS6Xo95FQTnriqiJvPgCnhsnmY6CB20G9m89f3lGVZRvDq6+nF3O1XAKKsBqybky5FooVXYqq
mn0UHxb7biNRFjGJZzpeyc3byDMQRlg44Ub7RKdqyO7SjODbBzrSfK5ol44bum7p3fXn9bjwXlzc
+rPI5Vfv9g2yOx+3zHM//M4cD40Y/cPEkTljJzoMEMXDyW3siG5InxmpJGYpAkW8f3a4uHfPHom0
WKcLlZgKIg2NlyZ3SaeAnJAk6KCZk52GII2bLv/IRHdbtn82BUMdqEk9eO8ZSE4DwPbJknjWMvuH
r5waD209pw2zX2LPTytLzas5DX6qASpZgmTVeL9s9pf4AWlGVlSRovCVanlq6NbbuwY9LKNOpYbr
0m3OdZJBG3bIY6mg03E62u9GwmTmDBTy7I+rXbdtWjo7Gq/3DpbUK0AHAwBnZt1l5gr0XtGGmEl3
L6s0oJBi+czF5kZ5mTJvEVqlGKw4uAE8ckJZ7kDAq4OHVKsZ265JWYsN7MEVGrYou4qO3H24GMn7
KBUTlGG/5+AJZGdw89iK+8qmMg/TYHrHH0ATQDdd19xHKAz4bukSx1jH0oxF4ftKagwakt1T6gzE
wu+qr2kbL8taJdGo1U81UXAzLlxKaHR5NTz6UprkGU8d3XLO39oJWioHchhvh3q+Ks12BP8HSm1l
r7Xw4OOaNvAIEn1yb09UuPWFCSgwh9XYSqCa5oh2y6ExB98TGdKl4f1arc7XMA2A3MERdlkpo6LR
TBqZ7zEYFKSMbeMRy9mOYAw8ILywxoqhAfjp9p9Fm+wewpf9AYcoTlI2B2xw4lCI8JN60+9G9kHs
KSTPAiRlnS3P9pCvNBYSHfC8GyQ5HA60aHDAfI3NfDSzgQShS46UgtTT6Kacec3ah3h0dWQub0MF
moYR8b7Lmkep1Lt0uXoDKFhOsqWJUI207qQJNyEpbskLEbfk0zgVyWFos7ObQxoFfkCuAvVr2Jxn
rWGbpEMTDfizScHmkGPG+q1RaAtlYL2XVfUjCpsguXrL6/bXshvQ7IoJavfijlyy2rKPhwxrgbUj
L3Wz0vyxfhtNuTeHnItVfTUe2nf/7VDeRdkrk6Y7WHdmX18Xomuv8q3+6jwSpVAAgLmlxnHFpxTO
K1NUHki2WGTFYjUZR449Rb9FAgjRf8v2/a4Sv4Yk2IDjWE7ojNMXDulftpMGJxz0CBLEUBuJqHp2
e2pADKIZZOFML5xoH7GBnnmm6+G3Ly6DleIHIQfdleJijnvGplYxDnHvsDBA7IZ6QseAN9qRhfhZ
GZSe8XBHqMGpLUz+wGWIAf2eVX5OJ1A4GotXXDfej1fzLLc32k9EXT10wH6XuqMapPJ467HGYMv8
D2S8Liw+gZLLrB4ruNr+l6fci3bYzi2BT8qaST+2DXbxikrda2KAwLaRbdvaZ+nmGMDA0zN5PAYS
m69jpmF+0NwuRqu8JrS0YIRha26K4nvxBEmLjcBKX02/9A63sCTfZ0mHHl6YTkWesX2WHUyDJmsq
VsiMe64rIHpWI+vEYb9x+v2R3roGdNmB0/UIWIU1ecngDlyYtLDz1TmOF3KylnGNIhW7mMVOQpXv
o20kYZlnTQx88YHgNM8dDp/YYpY+yoa+65w60bxKOiotLYAbtH/CIuKVdZCM7YErbPVnEB5mm5S+
eIdtMOqxxdLB6d4sjb9nUSQmOJn4+u0tKt3yudE+fveFeDlCA4/1Ri8nOCO/ocd53fs6IQMFE5cw
zXffXCfrRqf202aYewqmCagMTGlC34/nlAd43LpD1BXU8vQN/Bn8BCwJuZP5PaR4twe7nd1Po6fC
ZIT0N2a8sTDfhm6ZBVGDLygq6FOOTI9a3v1lGURrD605+bidfEXVAEq59JJnl5Vlt5u8kQPfa1oV
DqZGYRieFrmMUZllXHea6cfr+vvGnTyUrU0hKW5XxUBJ+LqXqBjeqbFSkEwazbIm4G+yp764wrwz
tfWGWxofcw0rQ8xf/GRPMhBw8of9+0b6aFafSYUyMccKduZcSgkPiIbPsfjoTRNgGI3sgAWMAyt5
oBY8LmvAYmzQJqw+ULDlL1Y7T3gGoBgq83lJXlDaynANvk1Y15SQi7NBwfEzP+irUnRvTbd8b1D0
LUXREdGn0OpZu/cQgg/Yv+rYK94zh7ee9Pk+8s7gcjRg3db2zWizcLfYvEJyxYguM0hBNtVShiof
Gsem9KLg/tl6vP3cb2NksdkGzV/WgskttPWp2ccp1TOjyNeeFAgpIBxOfAiZ0+NlyRHvjIxUxI56
NTsAtK0tsaOZ34KzETtG895uVdxINgybxrVDhwtvS4bgbPueIYY5dY1BzuSlD5txU/Q0XAr7daKA
HJ+veVv649+eUzjaJo+RM6eVPlXiMcmzH0JtJ4JN/qUBVFTM0wuTFFBZhD/cAS7NfBPrGjG2d56B
tGktnv2y2CiPbsZazKKbk0x50o+f5jy4sYMp350llDRjbzF0iyMNxUVkwA1Y6ZvnKwvx3ECNA3Uf
yT1eTsKJyibNzba1V3Z5lskcGoxAmzSVhezjshl7v8fuKvSn4KM00++CwMmCqcoM2ncHK0/qfm9l
V0d7n1VmCSBelXt22u7VTpMvjCKalDPYw8CWX8KWz9gFL0nXs/3cmqdqdjy6bQC/p/ROEAMzOU44
YxzrzZGwO6euyJDjrTHc2KxJ0tTP4Ki/0VPFSUj7tnJ8pGrX/wZdKeINKRqnDpiulSrAIq2BkKbq
jxao4kjNt8P+A+Lwy5BDx+rkK20dXLuqTlaLKazE2Zjvh9Dgg3gw/Km9Ei2X0m5+UgJPB/v2lFdY
RG1Dp4c/u8GFMMe1taHiY37k+oTVkPXWadxtGYZVRDUiFlY5Pt8tvQwHMx3PfivEoVu2F3tbqGZc
zjmfHj7JLoHHYt5PQiRFcl/fy28HS3m4ZkCQhZmArOVddaDIpe567hl3q95gnvpo3o3VUa/gtBxR
VffolZz5C49bk1Qwn5h1PQ0jcyMZi9dgyTQ3mnIhdw/jMkUrJFwhoiovskPF52QYLJaS3fhkFdI4
ZG5qYupRsOVT+PokGEIWWveJTK+rjl1aYPFX1Qsk3IkhLPEgWlMd1c+/tMW6BO5gcMDEAeRVVSQT
+9I/DPSURx28tKwJvhyJkZBAAyxNms/XbgHqWdH65La/jRkDiLFByvJoWOnSKTTonw4nLhyItgEI
cNncuAbfEIs/N2KydiuHpieHgr8jvK7c3Tvgui+s2EwmUxIcChfn1ORxvAajvGN1CaiGbiKjxTkC
EWe7y2ocTB6NQWWxvXpDe+4Ll+/O+LyDUAj5HVxNggsXSlQHioLLlOuL7TAwUSr6jTHnHVbZ3ZKD
kAVvTYe2Vd3yzaeGycAy6QcJjQIBT5nAPHscGAeG8CYamdz4PF50/m5mNYpAgxrgpaDf5plOz5mS
YmcZmZG863weXpMFMPqQXZGvoiVAtxT2UWqq16w72AlRTMHen3d2HnttQJiyD/5UK4wDjUrYQ8RH
un915qzliE9ySlraX5m9ryVT50zqObYaBGMIA5SmLPp9xQdwZosDtIwiCH5Aj9NKnav9Qog0WbJf
GCDwDqCzmhqnmwNbQOzk5SbLbpb8d0JZ4rlbUSOwlNGY9tSzq8x2P4PifVdw2dv7niJw8AHyKtD7
fCKZMaumO+RJHmMfrGMiNM3B0ZSGZQ/w9oDX44nBz8LFQUt1XSRsT/qOedqj8g0XbXpNnqO5+Gb/
Mpt9BmRtxF2VEbCTu9dEQUiZ6giXLjesBPduaaMJbWx1yxRHMEvg/Uk5XQjj+ChkKZz1BnrsCr6V
+o+/IDyeGBm4048jOcWSchLnqdow32FA4pKXNM0BtPC0tI918IqQxzp/NVjA8PgQiWPdoxRymdNt
D0ZO/h2s7GtYcM5iizi4CwozPaWArGyE9bH4pjgpYNHBegi/w2HhX6N3LorVkPWxmgsjg3yXRvlT
VZrOBVkDuwd/Q4lBE5cB8HH8sM+bLRjC+W47MD8ITuJ1TleEKJOBjNLHQ1bL+iohKMSDIpLZ4sN1
r6ELNoWIPVewwhzckwu1o/TA9RgLxJTVddh/L4BbJ5dgU47tY9gqrL95E2FOAkcZzOB/q1jzkDIM
UFie2qjfLLangKrUbCjgH1r8UnsrKMX9Z5Khe6TJoo6wo241fBCQ3oBotdhbkFomXNRaTe0o4yWU
pXPud39qaPSYY+B4LgE+s8kK0TOwcw94JlMB49OnzVcTmA3zX4Eabzyzo9XWzt6XDm/qWFe/TXe4
Zsf4Vkm8JU25/qEp9Hpqq1O6TbcDjzcbV+yq9YnHIUUfisuS+qg8No1J4gFR2dmWmDVQZ93glQzr
49yQG65H1BdVud+KK39o2Rl7bP+jX4CWcOlmpYeAueBY74aivww0Hykpnsq8OFLCdyNL2I3IC4lP
ODKFm0gR1nLLUUlaXJyxcOPHZkfDgTpmV7gZo6DI67gQTIN54SAQbO0f4dThSmzX66X/4jngSSXZ
tUQPQcRT/pcW5OoaERx7YpnnobT3B9G+8hiw3Drf00JWLOkKzN3lYpBxtug+4csSCR5YO2FYzscH
S1nuyaaR71B2TM2VhXVKjV+WWm5d/EaY8jAelJZ3sXKqO0aIFfQjbFfMBU1km0jiaXW7VBWShPIk
iGzGoX5J30W7r5hY3SyZ/K1HPrTCM3hAuW5U0sNxmbb2Jyns5CppUH6KTtjxxq4ztF2zui6ctY3n
VUXdxJGFT+yEbHThE/9o9SyN+5pzp2e7lnUCldF3KMcqPE5pOgBWaTsnpFSmW1l5f31JMhY+B2He
kV96PdDeOWTv0yIvnBn3yrDtA8uvvyRHP5JcE86d5SWhbigN8IlkrsQyy5SDfI9qJQGOnpc6365T
bLuRTSQ+0Q9BxruRahz8BAEZAMNbOEv4TNEYkSOPIQ6GBYm3K2BYjyngSuIGsBstlfuA6tmqOVs4
dz5PyRrPwCgxRZuJcevQE3OgbBB4C0MaS/iBQsBSZ+/EzPF07/Hk8Z9lKlxRJ2ek1ZUsrwSgNwKa
JpCl8mn1uHxBr+Fbk2ZHAgloUPMldxRmLtz6vvR8tqO7lhqvmuSmIZ+mcTivNk5f37aILiRGESei
7q9WkX2gnkT1IG7SNrgURdGTJzK5WxAIYAebnp2ZQCf4b6Dgepw+0zx/EtVonGtc0du+O2mzQYec
1oBTM26s6NVoGWt55m723LV0faTD895ftWulYKB2AzQb+rVkVk11KnF8MLForw/bLr9zRZJFRZAR
PjRZfZ0q261p4rBjgEt/rS0p4t7PEBmrT8MgupjPjFL5GtI54EbmXk1hW6NFVbBLXW0aXPb6Mtpt
qDe061O9eU+jKgmhBmDhaVTzpmKL/Ln8yQPu8o3JKRXsFh/Leuk3GMeg8Qc6RcRbYuJ8SKwE+nlb
GZckZ+tS8VCiH4o6aSzqgM8EeOycvZphQWPnEg4rEEpHp7hhQD/HO38m8E+73ACaMp0vmPbSeLPr
POo6D/W8tG7LAEEu394suz54QOvOPnZB01XxyLUbgpp34+VOfVe18he3M84oLoEXbksLEFRM8l2i
r1g7zgflz9WJmTnGJP09dhWtBSwM041LeJa/4piEmOU5DL4N6yAspAxKG9jSZr1knkOFNVHFrkZR
5v3yA5yYSbO3nwrcKEzH39nCo8dusMgYLSMu6OGvURg80uykoiuEhO1m7m3gKNYrT4ZE5SraxO5f
M2dMn7QSTfa3aOwd8hQvJVETi4bLdtKs6Nz+5M3i91RwV1YbmChWdOMuk5BVuhqtZqOhl0KapNBZ
DBUgSkVOXYcWsWXhQTKaTIetcXLNUrJgycmnck1PJ+fXUuUuXN4f3Y7OrYXH1RjwcpRZbZ4692bK
3lSdXXqeu6n264iw5h/Xa54zN/umYoh4hapQ2yHQ0++29eMb+Q5U0vYIFfGj8/368j/P1720Nf/5
rxil/we/9N9imf4/hC1J4m//ffzu6W9HyVv+9a/2519T9vdf2GDS9v8O4+2//X+H8Vyqr2zfJUHn
cOkkNPm/4Eum+W9Tep5JYtO27MCTREP/k71k/9szbcOBGElUjtWbxW/6zzCecP5NEZDnB8j7huu4
Hvzb/wF8SVo7Huf/hDYdj7ymDz6HLTpZQdN1/ws+R6remeTUkQeo8fFxSAx7SAR8CqNQsmqaz3Jp
XGeGN8MXr/Sx9dOWItcG47QDYDGF4KJyiuXAeTDetvjTtnVZC9aCK4tmRLeajgmh4X2J0rbtm1Lx
G45Gpf0Hq1IcYFVa6xWk4ZLBXBe9AUpwbBCcXMegaWPCUYfPsmqZIdhksi08MoFk3HwZNRjnca0m
KzsRe0pvl7rEOVh3oyOvGr+CmjY72oV4lK6g+4uspNIoAzair6axsmOpl1ESas633+xXJrJ4Bq7W
w2au7IoXTH9c63tB4Mo0PF4+mb+ifLKUpI6kTX2qSAs3YY+apzqXDCsW9sIoT8fyP6g7r+W4kS2L
fhFuZMLjtbwjWfSiXhCiJMJ7j6+fleCdGbU6bivmcV461BJNVQHIPHnO3mszzJD+BbkF0sW1VbB/
wZeYUfcji4JiavWlPxxr2l3RvowKIDs20qt+m6dVZt7XU2BNh4q8Hfa2WdcG9jHJFAnnk2vH8cPI
/MF+AHZRlvM6HGc/O0oaDvOVIUA9Hqjcp+jsFnHk3UfAp6efte/Oc0/QETaar+COc8DgVlwZMxPR
kZAtmLrVDN681ypoRZ1uTNra547kcGHNfejHK6utM+0LMMqyJPXQEgwQQ2eo5UQ3o8P9wRdofkXA
oCyNYVwBEHCTbeVDF41RkmJtV8cQIALjyog6Pwm3ObJuSATuTJwLyjuzHhuqpx7jwa1VZw6492lw
ki/CrhNy00SeD1ujq4L5ibq0aL8nhoRgthJZkrJe8xuC8h5fo4QD6to9ivvKJ+D4u2lXdfbdxaPT
fvNGQSaJA7Op+m72RpPdwOwt50d7RiVVgLKZfKDJBt2ek4WuqdvB6tDqtx4lOCDFuCMQ1UtdjQ5R
acUkLdSTKYCUE2DZ6UFwgHc0IP0nZ8w5MX8n3NEHkOivdDeda2jFJMaSkxn5sM3r0MZZYQCiOWKX
qzoMil1snyo7n0ihRHtj/CitjCPcAOKBROZeI5ikDb1wejDSpMvOmmHFCfkgmoaABSBAeEybPiRF
1+hcl7iUqASaW/qhLFBO1O4AFdSVPo0aARl5LhvA5LqhOfPWGEImNoTzwC2/crrWKtybVcTJfWQW
BdGJ1APiLXLMmK4NNmaKKpJfOgdzDMMAYhb9YxzFpCQlEy7fDcKTqls7E/v8LklLX3+K3LyU9FMz
gEjaKnRTO34vEwzIP8yWenLLLH0CZ1K3rb4dfeoerEyU0aE22JuxtBmt1RA+XmrYH/m2dxwMW6aB
hJ2LVYHYJFOQNio+E0GNUyQ/Mt3hYQHbin+IIeT8BSm3fI860T9laYCYvCwFkQt2ObZ7ERqT3DcW
DSpLH/TmG5OuKibLx27LteeEmLictA1KVC0Bj/0laOPS3HU9IsSX1opBT+e2gJ0jqinvr75ikh+y
uYBeNcmSQA2nTvL6aWwZNQKiN+DnDr3phKsoG0DWpqhuaIXEjlUdi4AMk7WTevR1GdQnoGliA1mS
mQ1mdaObAxgl0eZk+2VaGhvbou/nctX0zWh/SThn0djKK71aT3PTEs9rtl4C630OmkNf1WBO9dwN
S/JemprshaHSKprQOKLmAyBg5BfJ7LrDJqd2QwPAgTm7Mex5IIzGrioaK1nUEoNbJwjFtrUmwnYF
RsMDaZqVSXgF5OMgrstiCfoxorUTMcwBcTU8cikmYulw4NJDYTkm+jsWKY7/WGcpycoxSs/wVTGH
uoFJ992beioojnytqldwJcSFCKrT5NVMsFfxMPTZi+9OORGiXVHQvxiqmXzUPCDnlcd1aICgZ0yI
284B9ivrKmG8pOW9d2B3KcGP96B5Np0vdPOMdzN+wrGojdsh7HjlBMA00dESY8O8ILKKaT9Lb4Jm
DVPEAQcqyXOklanal5SaGqhdgYOD+jdDCxBCH9rVFvC59zTp4+phSvU4uZreYPUbV0GhtoEQPZ+0
Z4zkSsiCyWLkBjOXmBODu8+pPqHmhq1T3LcAuqtnAThqumsyiDV4AGVfXpEvks6VhGYUrnV8ipLc
o8TEEzzEU/JC9Fld7EKa18nVcdA2Mwmy5nrHcD95oNwborsyL4vvvkyNn0Qao9ubemJVtdonRSwd
J5v46HpkrSyjJMKn5afYPWNdE4xtgtB9qtyJmbgpJ/cCUTjXdpx5mBPUQao5p16fG6QQPrYaFYFU
FmtPqxr3pssSxpSWNTPiEdCJR55VxvnrDIHze5ALepJ95AOLgDKLZESnRGAyqtH/sjaRT1TMC50q
hk/IXAd9Y1Vjku2bIWiBYIN5IVbH70qa30UJPVYPJg87TS3eU4T+m8ClcUknqprhTpgkaGKkK0lR
yYLAfDQSmLIIAZMJ2EQyp9aLGUxcjbIYx+ZW0rfBbN8asfNM6iMCvwnUGvq/EcYOaCTANYRbIAWQ
jVZGT9h4CCgfbEoahn9GHB4bGVnNTxSKwiUlTEMCMvDBFZdh6rjz9VASYxJ5g49er8HSuA+ayFY8
GJTUwPQzC18UaqnoobG9sLtk+GU/ZMVUegW0RSRvBqI5Y+8XHvtPJbiiIRtTj7UQJh1CD7y0qaWC
35ExYstjzhLhQKZ8uRlcj0Z85Mr5ZoJzTjsIUgxZNP/3k8B/LPP/chj4f8fjAOn+nw8E26Yt8t94
HHzD5xFAd/+lCw+2BoBV3ZKexeHg8wgAf8UVzLE4d+muZ1niFx6H9y+gJwbIVkmJz0oAJOPfRwDL
+Zclbck3OMtP45/+DycAhX/55QDgCOHopI/yeywY9RwtfqO2zCHJMgnjmE1pTuM169GPMOb6QkHP
QAdU9G6EQIBblDl75f5s7PHZrN1XsgKQT0KiXCGJups0w15HjgcFApMd0x1MiZqtzBxEJGUuCC70
E1cSqI5RF+EGmNOLbzaS3hNqnZ7Oxh9SQBxDMUT+91ij3hUHKBMsoTQUWdZVrJpf2K6D01YDU1mx
iUnR1Uu6Lrqnpr/Qltd+iaPK0pr+4vneyezcTWQQWSLk22w58b4PXI2cpg+7kPvlSyucOYzYo8e0
BpfVJ8Sm9YNlbfUSM0uskqbdTOexwptcIpWEsgV+vaxIbyiwQNPHVrRuGewcZtNoNBlGws3H+ti0
WwwePVh8fqxV5caqaqEZIgPr1/YgykOBFqyloERjOzYbK0fGnDJQGC3UjnZn1+s0I35MZCh+jF7b
8pbFQegYa6JIwtEixJQex3sUIT9A7hWsE0FCjBVzmNCrGu1k2EyrCNr3usmdB6/0zGM1Wj8jmUaM
SLAwLr+bthW6Aw+DlomWJJ3mfu119JlQhvEF5byzbbKHRj3/mfTJW2glHqN8sjpTraPS4UAldYL+
KKLcnDUUjear7rcHzWqaTVxCC7VAADGB50ayQHbVTVkiaEpvi9nDppJkHz3BVpP2NNcv/bccpK0S
D56LGtUJ7p4Xd0CQAeMBgaT62Kbm4k0o5yN1BwYWbS+9zkgyqFEyhkVL4CDj1vUY02X2KlTkGZl3
Yta+htjZGDE5P5fLEHd8d9nk3l5lRo9u2Z+hid/TU2aSETrwSFumkMsvjH1kNShYts00YzOl7Q7K
4d3v3WCTRdW8Wz7COKjJH8uajeYZPg0w/GRpnRws4nImAdIr9/rvqT23Wyfnbxv9tQiI2hJNJs5s
fP3aNeJjMM/fjUbbFl5jwCHxQWoPM8O+SgE8Bq8k7Y7PsBU1N9WYPYPtrDc6kuxjLLJlvM1QlOvn
6vE7EbXvk8WD4OG7kRzIlq+TGY+hXjOkroZik9KMZMigl8fZ6J8zJ8UA0RfeXoXVsk7gJ+uSk5yr
75EdUOkzgx98eelb4OzLDwIS1W456KdJWuzSUpt2ognR1yA26gab2BZlgXaAWp5rgptkXDzZcXta
7mXsnnjNb71+Aro58DtDDuoEW3AJl8c3ijFqLg9max8CqXeoxlEzofg1eNg0Op0VZgqmiN3OC6x1
ZPgXJ3Z/LLdEW4AXkt2/vz/WCUh4h+licEqpcH+2fCjIQYkoiiCgdvyeEHIVoWzfGpPuH9qzfr3c
q01DBK3bEYz431+z3L2xUTSbIKkVhYIHfrn4bgTvXNNpqdok2/Hv2DRAlhrxfZYif+taFQ/lp9co
Z0VtGwKS0IR0tJx7bhWpvJ8hLNg5J0daXfrljS9/SkuQCm1Nj9yOvJtlMUL8AHEu4lUuv3p5Z8uX
1cOUr5MecZOB2XaE2rnoMe4jzkXOJPwTxKKHuQNdhI5sYwvYFbHBLBlMZkscMF++/Ggn8RhIAkDg
93pPMwkECI5HGxk8bnwNnEf2QwvqJ+SZ/HWUPNrRVB8d9SaMEvD1aDPYWv5XsDSDWtAJBBzh+zrm
fnnVoUb8imXOqNoC4A3cgl7aodxs3Hdf4t7BJr4diueAIyCICW4IWzKJDIZ833FsZaBUFM42SN9z
wtJz5DrbKTeoemrkA3rl7djrLJ5yPEO26I5FBkbUDFg0olojL4OS1utx7bMxId0g2yAqcTyqp6oQ
gAUwarsr7sbUyu2bJDg3Wt5sRocyb2QulKglA33npYvda6WWDsPrvyVt8pC6NA/8V9vnyprqaU67
5Jmj71OUc9dmbdm8ZpWoj8jlSfdLpn0RWfSiPEdesvKCUtcPp/Iuoe+2iQmzVk+irh5VVzbysrw8
WTdQ+IOPyGbAZujy0rUYn5i7vtjRc1wBsMxHVDKx1+6WT5lDK2ZIA/1dEFTU7qTuKbdIz3LSy2Zc
V9oMUcsVKMPB1mK0ZuFSmzkSfdwEc/VKmLGLr6slIRnsVZLyeAIsQBerwVRY3rxW7kulsVsuEhK8
+DBLgCWft2dhrDovBuMYFqxDfL5x7z9xeCTNoioyRBqnhrsraNhY84htwlRbY4OcaJVXIwN7JHGR
ad7UasEfHQeZqz5fMwVcph91m9fcaWXHakpPhajRIboxzfmKuHbe1QY8WM5wh+XJWDYumg5gSsgy
9dnY1O8dZ3img9pU3QphBycAz9d3js2Djosshpgtb+a548fjT9sEabaWDhrxqhpvywoqq5iQz+Xc
G6za8+4bPeF604RsbX6SvaNIRHbqNWQCenQZfTa4ddfjC68rJFFd9kj7K0KCFw0bx+YAPmlc9jaF
xAwbIUIG1OjXkGo+ZP7hpS3pUpndHxs7PHalg+Cv0ribefxLG6wZcClnVVSFf4o9o92mpv20VGYF
gOyDLnk61Jc6DarkuMoeMJMAM0+CjaicV1FW82m5u9JquiviYSuq18nwh8NEEthWc8cD1I5tNU4H
I8YrW/dIQWrJgYuHXTPViH0IMIIzRWFJ6mPuWk/Uyq+K0BVDIvJXD3pkhjFnpyXtfd2jfS51rpG6
BtoT1DEiioxjY87upiZNdp2q7bQ3mEh5zddQsqPI2BpgdTPH4zljmxDxCLMte+rUJtiYNGUrt4nP
DWt+EXryInF5SXpB0NVK9O1u9iDM+AE3OUMsPohCdWfRBRD/ysLDRBv2U7FL3P6al/QWppQPmK5m
+DhUExuYqjByX6cTVIfQxVjfPRfJK900axeE45dSR43dVSRpWyNxSt4Tt3qzZ+BZrWgHm1w+BtT4
V7bwj5ijunW3JUlVXQ/uBrgEK/U9LPEt2jOqcPV/QUyl1ZEbYoWBsVRhtuM8RaoCTapm3oQhrtWl
kMiMrt7U0gLxw/f1JabYgBmrWsyWh3D5UxiKkjVLDz/fzDCwoOo4xgpvZqm1a7jwfCxubBAHUtXQ
GAaj2+W62yNfFVcHDxS54kbuPi27oIM0aB85xnPQPEb2TWqyBqLbihnMMh7Oo+o2THCi5bVDBe5O
z5mBzdeHEE7Xhl+z7J+DWms8dQsV+OjS+Q0Nn7HOgkiHBFTtyYYjY3mp3hNgOMyxG0jfj80w3VZu
/V6hf+UOrbeWNmyDakjWifkgDEZxUWOjgJzkYQxHSvuhPtLFR18dRR8R2K9xREWmPmDY6KjT4+gm
gDrz+SR16sUNnf0xJN60WW6UZSmx8u4VmehDM7Obw+3TuMnHa2X+wKGisAq8hyo0vrVGtGtslrZl
tfKTCiSYqjekKs0KCrxQLerl98BMyRJS24OxVCLsxJ2pnKtqk1gW/Vqk57JHZYwqgi9VnyzgFjbm
QsMU3QICUhUSg4M3NwrBYhCciQCYA1CFAsvpzNM0u0+Nqipy7E+rX46718+D1a+xi4ov+pfzFqct
3dFtk4AzCZ3U4Yz763kLIjiijbomM0vVUMuNXI3uY+D63WbUzNcQ+NJ60mGCzRmuTaBEG2FTHACf
PXpFkG2EGb5pZsNaJayPudJf4ZI0m6wxGcCSFIf5+a523PoPr9v4LT1CGII8FI9XrZto/A1XJbf9
ck5ELGi2ySCBEXXmuczoMCrWFGkBG3XhdyiUAa6IdB0Y56WeL8PuPql4+poWJSZtORK3mUPsB0mh
YQkUmpoG1Zpa37eG7MBJaNVAlQpjfEQDOJNNp7N4GG26T/SZUI5IogPnQfC8Hz37zX4Ku7elLJ7D
ZvuHa6TSN349E/NeDQHf03AtXbd1lejy63v1OKtYNYqzjZh4zMKMCh1Kkbpa3JBaOQDbCDXOsOr1
ckb4PNpaNkqVwNSuS71DUKG5gkmPKqgpFcSZqjao6yMYCLYAdIPLlReyPVI9rvvWRfhOhJSdje0f
3o2hXu3f3o0lmWASbmPaqkHy67uxc6peHHQwnnLM4NYHeZcwiugd0/wO1sEQXGUN+UM0DmKKoo+O
y8JRCvfY2Y2zKab0LhLDc4aq8fMpW57tlEyQg+1VYDT1tykNN67IJso91NZGiH4GN93KGorkID3G
9apCbfFLAO5i3+dD7cQE0sSEtfP9ny+eoR6g396u5eiSGRSeEttS6NZf3+7gDglwHnD/6KrQ8jvA
UbM7g1jyps66c9HQTKijclvE/m02xRjpa+oLuseYKtV2uBRwaolbLkXmghF1AIpYUasKFsSiHetJ
NfG/qjCYKwVQP3CJwW+kwONi5tHIGllgaCQxm+2bRz0qNoOrf/zz+5R/e5+SdygtJua65wjX/e0m
HVoxcwJObHSDbFaYl9tN2LNB0lenTyCgP+o9R8qw342SAUHyCGkLV+iUF1uZai///GoMR/WJ/vKx
83J02kkWEiVm9KZaP35ZH4YIIHOAPmMDV/dH5wXkXjDNTggDpIb2CTggFI5Gh4RNjxwttNdmOU27
Ci3Z1vLtqydkir5L3s6BT1+jFcEB6yP8p2Q8+qZZH0OTb+ybm2XZ9JPoaxNTAufCu3BMpXpSyzwn
T7dWljJVHvWVAJEzs1fs6bajGStdYlq6ebWcLZZqT/Pp5GB9vofE9O+DWzw0UEcCHWZ4sRYz4YfL
T14ef5fuipudRe0HgN84hAaxVa35caidLcglJufAiLRBewwgkKojsKrXGYZrqyL4ANrwwJNz/jzr
tgR3RM77so8XapsBC6mode6hGROO8zgBXZBCPE+vy/NSE5JGEcm51pOucmm2rKzI1/068k9Lj1HM
Q7033cvyAS1NBh0ihF9Qj4zAhJIU2VBcMR9re2xug6JuGN5TqgmUotQd9HzUYR9n2ezzSrSRRU+V
RIxOhhutZkw0tafB5GBTNc3LchBb+jp5b94yr29WQ0Zfh/EGdcwQ/QwS5Dem9WZYeNcTh15pEyO7
Cj19V2Z+uostUtUTknBg/Ra7gPDMwN4PpnInqxJ4LMj77Mz3nD7xJcO6c8HTfK2D0YKRu9PtKXkY
+GHgQ6cR6BetvmImykW1lnQbxJLsNiBRkRNYJ3COIVgp6glfvaegnE4MDmkt1qH2lFHqM7B/CnQq
QHW1KLixO3KlN3bP3sRwc7w2eJNIdT9qESyGIujWaa+B4miAeZqcB9a+YLAjrtbE2i1tjyrHQIkR
oxIo+3Wt9oAUIOWqCAEr6BkhBvBHX5a9xB4j7Axz/GNZchOIbJwpq8/iSfr8uJ9ZTRuuMWJM5xEb
Z+PE1IKiukcg9eREParzLKlW44x93XGmhwAh90lahPnkSEPRS7IGW/Vx8CLWX/w5PEFgn6SORlKd
ygcUmNjLguPyZtumdzbRGO8cwoJOltu7F/PHUqBFjJF6VPpL/aoWRwLnkk3D2mrQYyTL++Gzb63O
nwCpqiMLjQkiSRuRhVrYGldpNu9xdDNScxnoq1OEHbZ3JWX52lL1i6WOjawqnImaOF8R281vK1TE
CGLIpa+SjNGxrYjc7Irq0cM+uvONoF8HddxtZ1VLtaZ2G6PGXC9LuOZq4ljiTpiy3Cd6ilxqy+Gq
yeQnid5kngaDvPizvhvcZDrDd+TS0CwgrOmQO2ZwA7F0XUzOtFtOjxKpLsyByl9O3IIKb+OAi1ya
XkFBtGnnbbqw42SLJV8XwTYY1JC/QYeHCZFvVXte7iMCL4AsLcfFzy5uwHaEKP9VVig15kUoCjEL
60rZwDFRrc6YgokSF+GR9J45ux5T1UYoYu9epUdsnNxPdk3pvS3bQJeyQmRoWuqWIEOrxOXXtHF2
bO0Ic0DdEDIz8ul6Gj/OuupFm2wlteLSsTTrodrUyBPpcnunXG2UGmeTtYb+cVavP3E7elEYFvAe
et7JVbVKNNIvGwP7Imbnzovbq2nlH0ubUaj7t2OLD9xaUMOi7DP64/LWB7VKRJWfH9zY2kM3KY4F
c8/l7hqMWp6b7tq89/7Vjet3QE4tEZrR65i0h+WuXSrD5YkJJhYejQPSytZHczdo8uBatrwsB0Gz
xKJqxvNer6z3bkY5+c97nlRTp9/3PIpEjxrRdW2PVtdf9zwwTl6q5zB2JkfIS27uZeZGm0IdTtvC
/vf8BBv3ytTJug43uHlBaartOmcKvS+w667IXBEXf8tSVtBmL0zQF2r04pKVuy9YpOcuurGj5qXX
UXE4zW3FwfuiVu5aAx+L7+SytI7cpEXC6LI+epLKrol4Corn5UHLw8ckab21OoDSOwPhzWG8U9OS
zunrowSygvSlJm6Sq+Iof382gmqoJDe7WiQQ/3MnuGTkjCPi+uUManBkZWSLJRnVV+Ic9QFzgKm/
imSUl6UNNY4WW+eMRU0S+iaHR5J+n73IfV4OZAYkj23FWvvZJV7OYEjfWAcGYC6uS+ieaaztLoxu
HLC6DsCKzug7OjzaXudEsanJjStpT6stSn0a5qB9IW1W0UE4Gv7PP50lPdfd0tH2oK36EcCaz54w
SWIrJ9KOy+WIKpM2VI0dMd4LVQxzvB0w/hjtwx/umb8V40hcHLU+2LiLwPsTOfBrmYRewkibNHDg
OTCpWk64eho9Ooo+RdG43Dup23/txfRdA85NvRmfB94PJyNWSAb+FueH9E8Jj3+v3pA2GvSRBTRp
R5q/TQHz2B2H0YFVUTFOwlirQXA2n0xrpAO53CnqqlOO4ksChNGQX7gZdb3b/eHTsX9PPDDQhOjU
eiaiRa6y+K2K9EgsqNOZBnAtY28PVkaPW7CfmJ2KCNudapUsVUcA9ICmoBes8s5S8xn2OQ6XfUD+
wQCvS4SMsVSJtnz1TCKtobsvmmvnBzP8oWkVDHwr+ZoBTyR7MbLls08MWDOsK31481WDRpvoJyg5
O0iiB7vTnzm40lK6CWyaCmhQiBPTEOp54rZ16frLODj3CPtugx5hUjvdBrRSAW7mJJ8BuJvEoe9o
4o/aYK1mK7JO0p+eOylYcXOQlLEDyVx1NpYndlIt3rjiEDxwM4OVZJ1VAUTe8D45rb2T1vQyZsaz
G7yBYA8+n6EehQdRhSgftTw4QOSiM80Lo7X50nYGR4LCeBvpvHyeU518D8LJWJExy4sHNpWPJlMK
T83MJEqxJETjnkbTQzXQleMI9BQnfCrLqttNuPbYfE2eVIdxMds36VzWxqjETgrxk4rjEkE0zpl5
DNRGe/6CGk/CIV5Ga7FPvUSt9jlftl38H84FjaW8LGtDGQVPVti8ocC8X07Jn49o2b/jvvmmmjO0
qn9qwWHZS5YKcBn7euHJC0ZWWaxaQPnwBmrOZ9t8eapUunV5KQTP1PLYqQNuU9Wsb+rosBzZhFrz
BlCT/hRsewqVruNCLL8ttkn3Ar4Z14eWzlQ7RLfLA7lMQJeXjcFzG9fgcIaC4U1TmbfL6+uc4N2C
Ybd0KdWYtnFBsPzzc/P3ppI0pMoJIetGWDbPz19XFZzawdxnBUgoNdWw7PjLnHxFcvMaq9vGUFdo
ubTLVrGskKWnhsCqDlteZTCHP/XRuhRt4764BnaAX+sV8izwK7vx6x9e9t/3T8NBz6GTbCJNw9Z/
6yn5uQMBbuiJiwPmx1SeLUlvLM7ndnn26uCALIcD5DLdsroHbDE0KNTmqquzkt6aiIyJngsd/2l5
YkqIW57l17vPlirtYSfDzWipVUKNzFtvuCvN/NkH9rsMapnP/qnbsqSo/vUcbKqV3dYNphmmaf3W
bcFGn3e2lTmfI+wkpUQPpX3FFol0YQALkpi1tlna8uQn7AfUXPgBzWviY59Z5kXapD83FFyfkqO/
5D3/2nk01Kf52yuzBexUbg/XpIv3m37FSYuc7A80o4FfPJvM1YAls6a4y4S83NEjGm9bJv8wwlBR
qfNmHDOISZRegiszI9QjtSNDCmsQ8M08eZ9+qPPTskEs7ddlilmS7j6AUdtOqhu/lILLCADRP6Vg
AhQYEcrlD3cSH+/v746WD80QuvCq0QX75a+PQJCSDxegt0BfkNo3flwz4isGHNNYuz05fej4Zw4O
Iyn0+npoxvs2cu7tBvhfkpzgsmSPw/hsO8UzFnvvTGJr+1Dr9UFAlTx2ljDPy3+CoXfQE2w4nDW7
Ig6/ZoX07yBcyrKe8CPthCgvI77Ukzi1Qefc4uLMV5XtfdfSfgf13sZuz/BajnvPTqateTMxk9rx
UcX4vnjKJHnhaOOLnZ8ZDz27La/ZB+k+eoj0ew1wnBbMx4YWwSz7Do1dwll6YLDDXOSpsG6YxzM9
Hdnn8CRtUpgXTyK58WTL5w5V69A6wx2aODrkovUuNhN3n6CTS9HxAjzFChaV9kNa/b1pk4rmV9G5
FjyJhRM7G7/f1Ppk4Sio4uOkJTfwtIINcOuRVwWTixO52FQd8t9kYybYGAhO5pzAsXufCO1Ua+mh
1sGzDi94kPYt3dPIeyAn7hThE50cn31ovkua5KalkSY3PvKbhNNIFOQ/jGDcuWb3gU0TO0KH/5tW
cxhiF4eWuI7Fh6tpT3Hg3oXd1hm4NY0ecbG8BDHofcNhcAmUBwX0HsQ3MkoO0ml7n2uOhooButUY
rBhVrUJfu+STcdfAyI8qb29v5lqndwMWLI4PUzqdMu17mx2rLGcE2qRf3QpJaMmeQ/7JF4bvu9DJ
XxFOgNOeng2MgzYNM0X8fWyQccYSH754HduW7FRIMzLQt2UJ/7lwbuqz/tFZxq0YUeg05TUcR/xw
gCDqAy91JSRC/E1FWZ9Drov7GwNbOHyoncwYZibm6maKb7wSalCNGbUzbn1EqUYAYWaEvohJNHjp
cV4PdnHMqfdnN1sNsv9whpJ588Vx8OqRo2BXWNY9/WAmPtq0KDrOuAPhOfFp9u/8xrrwuH3z56Te
o68vPOBuAYF7VM63LRN9dzJup5aPscM5L1rymLUDH3G4ddBV+W7DbCs6SnsibpR5GpyBLVhHSjTH
uwmq7ALL+Mzgijm6fW6MYUPuM+M0892q0o1GRkNKuKZf/OgJusA4eZzwq/aJd51FyQFUZ8RqDY+j
WdM0Ix0GT9qx1BXcz79x4Fi24Xhn6+0h9awXnzmPQFjNy3qbku7B4t2mPgae5JrGpGhU1stkhV+0
Bs5y7CIAd2FTEfQUFP05H1FqZyXs4QxzZkIcNLLnXdKYhxEQw6y3txWzjdGdT2E27KQtdGbt+l4U
02aw8oPI/C+pX9HF8ocTM+GtHtKttRJqy6oPD4Uv110dbTwdfXRBXmZ4sbASNal3H+gYM92rpk13
AyTAsvmCSgx0SPGQAIsZ9eRNmNolLoNzThPNR/fmeBzkQhIWm2sJb9rX8jeLiIkAuG0/MjEzs/w0
gs3GNn+np8xfiZRotR5JyX3k+7c4uValK/dw9YpIgLs07qKUVOIifB1tHzY7iGYBuAdujBrim+6Z
hQQssaAwhtMbwUJg2h56bCZajbi7vU7EOCX3Xh19TUr57uF4xMHaPgyldx69C1FLW6FD9i4eC2ir
RryV/asR/pTh8znP4X11zVaXiC5ScyMeI9e+J0j6TgfgW7HWBYfSoNn93JnPPvGNqfNRmOj1aTdC
/JwxK5RdgdAAGged1/JCc38z48N1b5AuA9F4FMbaKW796UGvv4vyKuoRKdJtoPHIt9ORic2uDNFK
4fL2p/Q+cWAhFWr9JGuBXq9He45Sxe+KrUfAi97Wj5hVOJskd9UIaVB4CCH3bZuffe+s16cG04lP
OA5kJo6xEY2BBEIbeX9teQc2veaBLjWsovj9TcSSSf/eBtaDM7fnxgx2m3AEsO2fMZjBkTC2Q+sc
whKZn3k/G99HrTuMff0AJv7QODogoIEwgPKsmekpUMM1tHlQIy+uVhBf9AGJh070Za68jezxJtXt
xovqneu8maB9XOgjcOO3nqWjIEu2HRBII9r0AEslx+RZd/Zpjj7CySAw5dAIr6F/Qw/qUEnoMnpy
iae9kFT6LggqMzsaUuwaq6bn+d6X+mXMiYKi4WlgRa0BOrh1csLyX1n4N6ABgnUFN+fRO6C3zS5O
+Jk/FjuOcscaUkDFnFqTKsoFU2nYcnqASIlezoTNf3Ry8aBbJEUXG43RKNHqIgo2vv9REEGtVhKA
JDOIYMf9MertWj9J4vVAmkDZQn9lAGlomUpa9vfOsI+NW5w5POMufZEExDJ4wdZ7Jwc64mgt7Xkf
Tq9ttO21BK6Fto4iAf7+w6L5Ferz1prpsEj3NfIoRi1/WxfNU8dLlIrK2EJbyQSNlaJ5MBm6a4wu
RlpsqE23k8yfAwHnW6Cu9DQGilZ9svr5hMx+i4aQZ4yWYbo2RX0gfS9E/1hCpxR3xDvvjKTayzoC
xgZxzG32GQEcsn9rZ7zOuooIAAR19kV6Jwz9O2iNizDKA34tNmfsvh7bixGsM+/sFzxHhhOfOvMK
te/72EBTx16GnCd3XhLHR1k/SrEaad8WP0wRYrbNYVHovJ/OUdEbz07SESNorzU9eZyJ2R1a5LhS
xlcdGGoG+/BhxiWs+8YtGRnmBoPeoymDay3w5Q+e+aOQ8CpC7Iu5xc08N8mlF87BKOIHmAedNLAo
P/f2j7LP4Y+QeUKNqjvJutdUU5i6xkY4WZ6a/LVTls2evm2us3PuGhptU1J8M3q58yf7rXbtTZwl
BrerdiBi+T7o7+AmnV0GmjBuD4yrr6FpMuFNdwUykszwrpJvdd8cx9omrGeeILngjKLuJjKSvc1H
n/jVNRBIEBiBwDN/Ttz2UuhUICij36vWfa/87mRjiTrbTX/qsViAqHXPekqlQ9U006S1SKMJ5AMD
eDgDqXjDigR0Dwv/pc+77h6ItWQPGrzEon7EMl/rgrUllu+khzD3DAKC63KiRqLQQDQIEcAW31AG
ItDq/NPopf4pcPgTITYOxKC8vgyt27N2DPm5xF1xCsNsOuIGiRD9BNVB13ztsVZeFI1In1NZ1cGT
bRPAbaQuKG31r3aqDXf/xdyZ7EiOZFn2i5gghfOmgVZV6myz2+Qbwt3NjPM88+vriFh0VWQAXY1G
b3qRgYxwNzVVKiki7717z/X65TwWS9RttV7QkM5L9iL+MLSJXFzLGRGt/Ne4qvRLbQI2/v7L6fIJ
fXok9MXs902xZj8ceEqkTsz5GVQxUSA0kYhscKprJ4k7mXPBC1q+LKWfn3l4qWinonjRp6E/em09
76Ywr0+h3WvbebQd8P+9jaePv9Ia3RDEfVce1AvAZS5ZIFb3OM1r8QI3riRrVTfO6k9NOfKtJspr
9ac+VLlFA4bXB8LJ0MuFr8Q4B7glmQcDF0Rd1G3pUU7H1OREEb4v4fK703n3xEBKqX1dJaTgPeVO
8Zgmq+BxICNqQbo3uMuRudGEqQ6EFgd+YELGRHbb1TCahziVOUiwRp0xz9myxv3U2WewdnsSqXdY
Np88dzU3+9liFMxU6y1FdcZkK3mdug9ax2cg2k/gdvEIk95gzpNU0n4t6UQsCmcSTIXrwdLWT4+d
Vv4Pi9gWfxI4K2/cNzr8qLzG2b8ECUi0Fr0XGq2WNwspfRLTPm9FYBPVuPOGgpm0cdc5yw7D2z6p
SCmd4ujZx105gGMsW+8Id+sRF1u1IT0dfP9dOMAL1JBKlBqsxjSKDj0JL4sofsb6PhxWZy/VadB/
QDAQAQArOgTA5aJs3ro1Ks0Y8vBUGQ/EdIO6Lm+AiGLmwXkFKM51onc3dlEdt2j+LSK7CAYj3MJb
b5csfWfNOftT+WAWoKLo+UN3A9lSp6xRJUMFXGI9OqjEYrWtqvge0oDQpxFTAPFclTTO8SnYAYEj
TR5dUm1I8Se9Oi2gh5GZFEq6+c+gM7Q1M/86e3fCqS6u1txXfs9tUa2HnpAdq0MB2QrUsrXbHohu
2jeMmHcc4XsB76+qyn27eJ8lxwMfCKIBuTHOH+GX3uiSP5TZLxluCzzRQQSCcRLOtbVNjFn21rAJ
KNf7J6u5j92PmheNauuT6TJuLDj8iXuk4H0uy2IvUjuEM05uJMZutLxN4GrJUQhz20vAOgDymXey
vtgxTVq9+RRtz8Umj21TcraboG/HC/utafFARzZ64TRmZMWGZg3Z7ZSgPrBDyFKVWb9VbIQBWtx7
EMboXIPQywPay/C7HU42IRGCG3Bw2OYe8b9eiQsHJtLEzy5gvqXuztiNIQelqXGoX8xcs87RCIet
rG6TgXyTJA6KTPg3msMa0aAjvEEtcj80D/g205O9kHXX4/64UmSouZ4jnJU+QL5rauFcDExr27XQ
vENv9MnBKJ29RtjPyRXod0SZE0pXPQsqyR3a1ceqB1J38nu3ZymCoini5pxVC5Rv9KurHFMQmP4a
JgURtR7O3TAyAe+U3nQTTeF5MVPqj7ENd24m9Fsksc42Bsf/3qAzPBWGFl303NzanKiSA1QOIFem
3dxMQ0H8oQeHAC4VN3yh1doZ6kizg21IDbmETyti9kNk1KT0Fi1xjE14aaAsGUxQqNkYfyNPNg99
o5sXAVoEOnuT7mmujUfAxtDWVnRKo2fZ+Ibd18Ku0nufnCCSBfp7vLqfWWxcBrJm0HRzPh+TxLwC
IIPIn1kPk8E5aBgB7ijh8piP5gFgwkVd00HsMUHjSDfbYLAsQU9/XZBHW0gu6DJv6n4VAevYQ+UF
c+1X22/Ruupjet1wJBcCo7D8g8TUfpWd91Au4YeB34HJJMrHNdI/16h84mxi79SlrBFnBwudloop
gINE21wqkC/e9KzsKKoRqgQMrr/TE8zCON2NIyQ2ACv8bS9zbvM81ILQoUA06SV8/0TFw9A4sxk4
0CMQf+XFLs3892m0OKas3WmUGrZxsLvgT6EcDVjyd2tVjN+TNT2hjxDFC1r5cQ2J5Cp4DLPxMvrm
ETxOe9IrbBA6YOOq4zd5qPOVp6ODbRAgCuivqBx9OZ6zYv/YJg0gMg0OEjSeBhY4w2zvWYmaVIO6
iEmiIBEl3SmZrk+HacNp5+CXaO/sWBxZqxm/y8/r9uGnKLPyMhvWt7hZzeeBVH+6KTS2GpJYlvBy
6pcrkYaSK/xXo1B98qqQFGQED2q2pV5ZrER6miWwUym2SkUpc0XnG7u3ufGk5t/zGbtQXqkLjFKt
oJWO8YZx0SER7QP7EzOxb8GF+iuxgblDRT56UuZNziUnngzcWlTPW1daFUA6sRsahIQwM8pTzLC1
k79CSsIKVXQPo+zxq0l/ZerHKY7bPWxmm0zpwzz/6eWEwGDm8O0OISlWLmGZYZ9UZ1POVGsD8ZfA
4ZZZ4GkQ4j9o1sT5WY4VIhG9i6I7KAGGi1ONAalOsy7Ztn7JQzhnZxfJMHS/riZQSr8PC09JYbV2
yXfMOWeWKYLeTpk81LocUKbuTSkSoOe8EItzSf2m+NYokHeHrhibFTDO7lXZXNb1kTy/9UaOaNVH
VL1a0dZQTB39oNYnNQmI5uaJTgRcLzQwE3ChMWX1V1csMv32MCUN+XgIeNWMXnXbI7wP5ggBQSl0
lYJATWvwou8WUNkzs7FA2ayUhITQegrihvagixgGDiplWg3w1pvsFw37L2hPBm7qcitPQeiux6hY
T45mkR/r6Q4aSh+QK60GDUMzG6qOWc+OmUnlYtl0o0btNxTXeRAzVn/Gy2rYoWZg374cbf1yCGai
4aX9GP3u2w1RtiAXbI22N6BxKXWEXyCx5j7PbWOd5Ba1qyEfEhvLZD9E/jSyjFCIOZs5Jt7GleIV
sAqMiTzulMorJwIhpq2SlyjbJ/ZrpB8EzY06+2ftFZwg5Kv2tvlsJy0roOyu04ket1Ibo0SG1MRb
06wWYi1pAcgZt5pozxRLjU0JG9cMSQZScgza0yCueQ+xTNKl6xrHo0ELRzt8T/YcUW/jqNmNr13S
1Ts1S1TjL0evWAiKwwT2dyXkAojGMWkLwQ3DfdtSYxzU9zAPKGra5IdaHBxfHusG+tQtyd2+Xh6X
uP3oSJDdWAk9PdHdKX9POzLZlwO2ei4u61qR9dRERMORzpjj6AHM5x/V15PTo8P0g673exM2BRlA
HrAb9WzbNWf22e32ZkT7lDR1nuwIQoYBFd3u6oe2Zi0SXSQe1xYyZs4y/a20UTMtkkrg6B7VMMif
u49hLeytFC9Vvv9DH+wfXgI4t4OknEp9WubClCK+BrPPgvhaGlfCSWLvpWKVQQlTd+nBR3sDeZ0c
1CKTcad/W9qUk09jJ4Za2wbQFjgbG+QsgzXZpj2LrVrkrbZtNnnndoAO5YS5Yd9f4zv16mGChdQe
s3GjpQ4D5pEOskjHj6iy3qfI0bZ55hMsjlowTZfHFuYFl6H6bYBOrYv6HUpfEPvtGxhsNhMwDK1t
pJcwM5/MsYiPukUiQBfVO02vib9GuPZtIGiKmIK326vnWz1gOieok+DIqe4hPaKkl8eZkUjMfcvZ
byDHwS1Npg3C+jlEoFaTgZBUvg44pcpf1mMW2uJggAcrP6Q0IKllQt3mKQx4PcQ2q3vGrVKexegt
doMLSrzPIa54Gcy4pLkJCyRCvRlziJObkjPfWc4YKJPkmBPkTqB0sjFJntiDvCbqR9qMs7KwUKY5
2Nq4hdHfrscGIKwZQ1lkYADid2yuytohdQgHpojvtTzIZx6uVGmimkfja3KfG3LHj2Zr/7G03uVO
GH62XrIvHUfsLZ7ojYXKk64yY8XYy9qNsTiS6yyqnR07qADNaI/ZlrZjldNyy2b74BngcdUHUY+/
egh1DdNgJu6UvEpbiJpZjkTJV98Gl2IEQUQWrs70Yt3BhJAuAG7xlvDf7SwtfqH5qxjWQ9tnybfR
wQQLsYsAy0jlmD4SvurxuHE9f6sBnRoCq+VCLXnqexG4PAKzbc7q+y+y6EMzgPyrg5rSXsHp25bi
vXQm0rbkqbHvEboJ3GAos9xb9UHUWFZuho4tTjVSExQYyafj2Kii4mSjr+HzIFWUDa3veYiqm65r
AMuybqUQeLaEqZAbKE3ArKFqQ9Iz51iD+VMPSSxsdBL4qLjaONXB9JDMwsymkkNsNaPPwLAE2gMT
lUdIqK+Dpod7C0mnWkayzGb3glauJYyapYb/e5EykY1M5GRsRo2H3a1qbviCQ02EPhpaBG9O3ZxK
xZSX4OLh/vXnAVCRPJ0r1e5URm+JPZA9hdRCrTpp7z/oKDe+dx8EWmSLJxnQYLapbxmdZ/xJ04g2
F0l8q+/s05U6V+prEjN5K1lF1a6mvkElZXDy+HcZ0XJUe68+2yzyDsFa4+N/bcZ96O2WLhkPaUu3
1W2nozLvmFJK5mQ/8SiSFYzRfh18WvHSqy2tqnZiXRdKJqp85I1duabwT60buUa6MketacnltlJ+
Vu4JGrqGTRml54z2Q+jk7yOmuwPEkE1jLOVRXau0JkImm8OTetBHemism4h8ce2Vmzy2GIuXJO0p
sYdSN7YzdTvsoPAvo3I1DlsQIM9KaKI0iHlF981p7TsjtsNzJm31UzL4B51kbpbqZG/Uk3sEULDz
TO0ypeJxwdmvljZb6lGVu1DtLrnd0+i9y6RrTUnfgE0CbZr6DzdN40B3C5R2WG2gBwJBzbczV32v
due1HegU6wS74OruXdYaqxAEXEmdDrL2jvO/BmWHpQ4tZx2IP0ONfCkKkxdTS+GOpXTXcqiYpWkR
Giv9uEoj5xpY/mLTZ52SF9jJmVjq7nSfdnGgXM5Sd7OOnHaSLn3ssvjZqnbzmtGikSJCk2hYjgQh
gHWyR5IlvGvk1P4/jwseCogVYfrc+UEy5s980vBsW87Jtucf3Zr2HAd4m07YvS5U3WKQNiPOf4XQ
0K9GB0s04jC2yJy16o/Zm/0DGDTpUGOVjDx09aUX3QJOCHwDh8Qkkp6b4ENJLZRLQl0QdwyvNGvo
M2VvAJOmoxiRBdSy1EDNe00sctgMKd9Vnj11oynMg1Kg+ALvX+FGK/zGPHyPVtwoLZHOFhjvoh0+
lc5zALIGIhNluwko8tCY+r3j0j1N7ZhRQetcl8y9achQPQD6OXR1dYUKnSBucHadfGzlRzb7GqfO
2H+bAvuek27UuD9skBlko/Vbdb0tf3gZO+eo9jT5kCjZojolldEPWDGsYUarATf4qe4MVfWoi6AO
2r2s2tSTBtj70QsdQMjyReTeRlePzvRfyiRhx19OXb2pPwkXuvALYb3x2BhHdqgwUItaKzudqyd3
Ap2ypZ13ug8eze2fdLIkU4MUaalggnGMvqQdvjSQ8juSkZGAhsNhmvIapkPagdjm5VkSlbbuewWT
Dm1vsPYVzPGLpotrMyyES8gz3dgyFhfyYhVcrO+D/TTD/xuIA0zS5V7VAX5m2dupIb9HPYFqDU/d
Igma/vvY1yXDjdaFHfYFLJlwTa4UeFeSeG5D6bNSUhNLpC+hzUjKcaS/ftATBIiYBSfDeUBC9UaG
3ZU+wLdmjXHjWxPCEbaJ3vT0Csoaq0M/tL/VNyeK6TGfDahSjctzyllMSUKl/cpfKwvzg/mpzlVq
2VHniLR3/J1T9rdVx+BhYUAuVVRKm7suHTgNuOvKUKrMJTZuYLRGkIvlg6xU2P0oDbh6c1F1rbrh
1QZWVtG9BywxtPUXAEf1Flqt/KFppbSZo1lILvD3gjAhtw37MnhuZsITW3n/ZDXlLh1YIHzFIRxN
5GZg666A9V6n0PtSuwaWNA3IIHMMSHyBqtyVUD3Ui/vQL3+uJUaApO/9e8YgETJCJeTWiwhmwnqT
OD1pIn29ybWvVnrBdYpH9T0umYN/Ak/iuFw4qWhbVeSHo8uJGt2gunbJtB+qgQQElpph0LArErHF
eCJQN4ZcmmqjDc8iQ1QQL29rtLCW4DE9Dmb8UMq6SIAg3qR5dlEfddK8H2aevjhxF2/1mumZ+l1V
Cqx3sB0yVKRndO54GfVNj73+1Wo+pTM9a7X0q//c+BEn19TdONXRlsugphHXqY3WG3HI2qQ3Z1Vg
2XOO+TmBb6eLPRkL4P0q5BLKx2yxcMqlQn1Z8v+kshYAfwwGSOYOM/MiZfapmNf1e7nQBe4JZh3f
tl212w1LXtGHyL5oSN6g5ilPumOQxMFtrY6SywDBItRrhh+C/CGmVerTRjAMOSv0jGfl2hvOJjy4
holdYRnXTKQ4UGyuf8SWTdhFBTQNCPK87LXxCbQV1hyA8kFvj9reGusf0Vg3l9AzHj1oXH+Ziqko
qVuGblMlahDDUVOt4+qmV+8vtWug/S0FipdJZnHcvYV1UPgLzXCin6hwrM9ozd6bPDQeE3I1Zn/8
rqJsp3qY1/Scew7SconwmVApUeZhfMxaC7g0AYJkYyx7oJsw2fLQ3DaDIEJhLfp9DBU17t/XPkfV
4Kw1U+5+p8eIO+eIwYZXPyoOAaXCdLFzmqvqy3I05DJGRzyvXGKV6nRI5frle3eZ5d6o/RbnImW/
MmVgB5/Awrer+aOxkue4E1+Ekl7UMq5qZndJEM0nSAvU8lG5ogjceL2ADeeh9PgUWHIjponafWvT
59Gy+oFwDTwcpc48oGafdCzOuRwR5oYZOzuvtQ2RXG+qlD3GJB4Hq6tbv8SlYQeFkRzikVcmXhyE
N3NNdR5zvfHs+bT2bTQcM+fyo2YWGDRGUhZ694k2FZeGGigPh/Cul5Iv4OVH34RDqTGgKpqyO6W0
xgBCvnVlSKhgjjxJZNghSzinuyEjQsScgLEa8XAwIFztCcrwiKOyzza6AhkXkO/bgkV4YmRqemON
V4Qmn3CdIhBud5/XTbhncPyLsAN33wk6/aULY5ZzGETH32EYTjvM2O+u3ZKFKorziAZmaEADkeFY
7snkw5B2oeRiufMI72ZSehdViK+1ODvEpJsBYt/qLcGgcdRHh9Tk8dIce9gZ1kDk50Kc7DAhCHDJ
4MbSszQkeDVIxZwyO4uWHnA+jMysMUENWkYyDXFMO9OLLt6SQvoA2fHoRY57Stf2c5qWEAEA/JKp
Sy4xnPhs6SAYDVoAKTggUJghlllpJ4h8xACVONl60B4CrgnsQaqZrL6OlWRYZfV9V/hEVovaC1L4
kZPe34Tkh1Q2SYNebT/gMSko/OkuzSVZCj0Fxs5YWCbj+daL5/hoEJPcgP1dtbNTcVePsfnE8xB1
X31S/olbnpLRmK2LOVn3/dy8raGuB+MEwkH9o6YDUxECj6ZFq/ZlPN3TYaJhPZhfQIidY1avO1Ob
m1Po6vuiM9DZoVR1BoIWsGoWQVdgpeXKlHiIIXcvkRhOM4LWIibBN/fse8fynjq7dvEOgypdmY/3
4/TadMW1tGkOCRcVfye0t9qNoHXZBC22+BJj1xt+en7zy4+6et+6JfKmnLPeikJaDERJNOmQHztf
ECbEWIqpGy0HE93JVMXPICN5TyhDaDGL+6xMVxKyYgS+xM/2DdwbV3O23lzDAZD1HOOnX5EbkQi5
oAZc8MOUXfGEde0D1+ku94EftFl7ab04CXxUyTh4JhKOu/ylmUlqHNx03oT9JS4IcbcHn3GzTcRn
f0hv+hlQTkqdHRCfkB3jVv5ck5hyRnJI07Hf88MFslcN/4aPN2+e8neKDRtqbPui0WddJyAtbfVm
MdLZo9PbI7uj0eU/mdGHi5jiSiIE8kFvvrhT578M4pffmB82qSf7OEp+J/osbhIMdlD049sXlMbr
JcQc2WEdAsdFa4sIn13vUXujj0dkQOGSMW5HbXSKZ+q31RX+oXTjp4EpAEAdfAfuyNU3hL5DXeYD
T1leBqN1gx69Ywmc6WTVKagYHM7wjWUsjDHekIjXTXiSshS+cBojxCdU8Epq+ttMD+dSjriB4UmT
DOgjFu3C9I+fa8nJKnrv7JrTHYhRQmg4RSEIoeSYql9FLaKtaGjj6RmD5bj6ytw5x9IwnOiNEWzc
kEY+JgRkNAsGS02ubVSb8Ds8otEFWi1ZFVRFiZoxIqRqzPRrBWUcOacd0MUQQWcPL+Hc2IfOAa2E
qTyA5hRePXpEZKc3p8mtn2nFHUwL6a1jY1IrQuFgMI6jw+BN3U1Kj17rzOXsuEWPJozJvU6349x6
oHhH7kIWNzQW2aVLiAPD1CX2hT+i4rG5ELUfgaglrhBhAZWR21jfxgDJgY8+q/tvdXenoIZ/KjyX
5PD0//jX//Hj/wE4/28kysNndfur+Oz+ya7//5BKj+vqf8+g/J/rZ/v7V5L+Kv9OoudHvimUtv4v
QJNwjHWEA54P9uJ/USgt61+uY9roy01L94RuYrP4C0RvGf/ydQ8Hle6buuGyAfwnhdL0/sXyzUHP
9i1p++L1/i8olMY/HVK2YwnDwF3geNi0LF3q4P/ms09XpADDiIMPBMt7uHbOXQ0CaFsMU8DzeqDL
djQBJbNcbkvku/sSWNnOH4dXtPd0k/3olQyqdOsw8UGw3Yn/AwhA+tf+bjL4fnt40D209B6gzH9/
e16UNgM1ogjWOb3vJ91/YLW7XaY6JHI3PQjRnReUbVaOEPxvX+Jft/rf/Q3SbPlvvxk6CTp8YcKx
NEmh+wcPAf9naNc9DVW9+vJm2TPFhpDvYhJi/vtfxBf9z1/F92nqvk8bF0SIZ//DSRHVxjTTZCex
pEK6MNnxdJM6NMbcbBJSg7Auv0J/yQJLlO1NIzhypAwxD12prX9EgSx60+hRCafAiaxb01vmh7Qu
CAvIJhRMK5rTTOsxQQMn5uUM3sCL0+bVb8ZJy1Mk0CFwZlu0C/04AeXBEcsBYRPw5UxYo7MZI314
9kMWM86IDep4QqTeGQ6ubEY+gelWnn6x1Gg/yKH0bhdAGgvAyxjwf+OMZzJ4yhv68XUwzsILbJKS
kEIuYovkr/xDt1Z/0BFBn0GKDgs+bWZjsHQm68/AOnrV+oWjLklwcNFGc/1YrXw4F+zu55i0ymer
t+n2IoVi6sOSNz+3uJpORVK6P4hlQq9ozvZ+HPLqPJQzoyBSXN1r6WcZ+280glTK2WzaqQODvCbR
k58v46tjusuOnHZyE9bcutUjDxWNnnoA4XhSB84VEUnulr/mn0bp1TcdMjUSehI5WnFte+d6U/l7
yS283zMHekeIBW356tiXFdY405t2DByztQ6mObHfzjkY9al0jq1WURDaurtzQ2Gd+nQ0T9bYD7eF
vWhPdqePZLWVZfuMQRu1oyzerbkjoofb49I4WrfRbTQInZVOD+06EwPcQHN8772qP7ilARNr1dtP
l/nPW9XUxiGy/XTfu6bYL1pVnJK+C499a+GxJj/hqTSb5eI0Rnx18pxGlJceidaeH4u5FfeDuUyB
74CAYYl4m1BSblmmiLMqzCK+titZFJGeZAdR1P7T1NXFlXNRsg1HpP/MqZ3bNERMPGLOPE/CjFFU
lon7WSVN/bhM2Ew6bRYnQl7wE1r4YT4LUy8ARyWI2TWpqMn68b5BAoOI05Ulj2fO4ieQvPGhjbjz
Ar9emIzHrvHhTDwcmWl3V6cLaW+2szUhKNO9CxA/WGg9iS2AASLC0mEI049epgELO2mQvzSOO0dg
C90LP0pIPIHEP+t1MQ9YligXTfLg7lbW0zvUd/c+UIB9vrhoqxdyILIaikYzausJhVt7J7Qi4dhO
MC25qG1+ztp4+iniNEU3kkfGWyzc8AW2ANxfEL/3lllav+Ms+gr9EefKf7/aYIT7p03OBjnseLjM
DdumpeH/Y03Nh6T3aFzVgUWiR7o1UA280Y1dIIv3BIjMkC1RTTftFeVX8woHzqGJkNh1jsJ5spxf
XmHKgQQBSSejjczAtDiALFZV0PzDAGL00W+5ZmwnP9LPlZ5rF9Pt/RtOucVRr4XL88Bk64HkR46K
49g9GH5bPdFz6C5AHpgvlUas//L8TLI/BJCo7bqkFpI/1OfJrC+XpArXI1lqzvPARPWrcAv9CfZO
u+8yEx9M1ut5vx85qveblHnDl5FEy8/RbpPfU2bD07A0AkwZPtrF3o1JcGVIYzEW9xwUmuVcL19T
n1Er54sTWMlq4MPgDHvEwMIoJuw7npoOvwMhwPYrGR/OgaYaeSarMf/RIjy/wBUc9NUMaTjO6rk4
0E11dka61s2OtBaepjhPBo3Ac3oUntW4TNzL+eytbrsdlpiKmMSnp7LQLFC2+thvIpCFQYGAMygp
n95s8D3bIfWdu9S0mVh65hCdRmOof3YtrPE2Mb27ECRk4BB1L8GU3nVOqUA6nuC9081IrlhxD96c
fnph5rkb28h5ilJ9al5xwjCEpuBFE69pJmkRlheWPyO3q1+poLMPY27Kd/J+HY6c3bR3qDnwArdx
isJdYpbrphpqjJKRz/TN0a9dnJ2dpCfnsJ+nz2le4I8KTRDuPUgtwlSOJVVAQ/XaIcjYhYwE8GCF
eOtc8IEWuJK3oU/FD8OW5Wr9Ppfx3naZb23ABvogXHCdxOnoP60GLlVzvTC0LQ7DFIYPVCEkTRVR
nL2386DTZMom777BWUEap51IRPZE76C3SOtsJyfQ4MXQ0jYWmidugnA/vMli5mBRSgNb8wSONc48
O/xrzabwrVva//nWE+FbAbQiiFCty23kQmX3yv7xlohqDPAYjoey7ax3YzXbp4I7cVe1DUladN6Z
SSfa2e26eFOjxI/s/KZq4Tom9WuYa+c6Lbtt78zFfW/T5SLX8g7eziNfVnf1RI6Na+wYkdP50lFO
eRgkYi1/GOgdkT7uBo2/Thd9ES990r/qZfLur8TfksqwbNglsRhWoblfiJMvp6kO7Ck8+MAh8IlD
i1wnggfCISd9h6SJ25p0yW0zFym2GxteZgc+WuB6pKcJu6jw+tc4xs+VecRfGL3PL9DjHfXgFsTH
Ni6Y6ImK8Rf1ZkQA5YR2d1/3Yuc3VrBAiRbGAo+/xTLjxeQ9hpe4Se8HbXlYPf025ObuLHaCYQhI
L3pAf3kknWs/ZSHS7KrTD3R6fiPxRuhujOV2xMYfZI2AJscIC4McWP6FCENjSMDvMF7vrLfJ0jHg
VP0PUdBhoYfa2+XPYU5shDjuK66AM13QdSvwwhsRG5KThze2a7+I3njJmNhImVCst19oYKi1TOaf
2GoOq+YFE6vcYSr6gzPau27hpqPuPs12fW0z8YbwIjyAtw2sEvWyldxUq0yt7Pd4UQhccF7jtvyo
2Dtsco/mcUJQx4yo1sy70q+jM5E02qnyJPKtAF+QuvhCs75BkOwAeh8ZQbm7SeMbsQibI26cuyp9
M8bpI2qA+DHYS1ijMYNeoiK99oV2QRyMvR25nOP+IYO73HQTTooGaegh8m3WKae9NV0BRKlDZmcY
xmsofLwm828fDcfAkd+sEzyFvrWNdcayqT480GsjzC/dL13fPmpskEANlmucmfCtaPmhoO/2Zdeu
uzbzv7AFPxgYpaJyefJsCvqmyn92HSsi+qMB5RH5uFsaoK/VCG4ct6Z5pNLYhsTTjJpxxTpynfvq
6vpgjDyTaF5vnBls591LxVEsH/VLVK/dkQinq5tQVNPkBKQ2HBoOYZh+b+a8uu+9+hb2If1D0p/J
K9m1TYwNwJ5/rj7Rcjb83CnLnsIwpY3BAdlt7ZvSE2SnxL/CtmyAyrtnqy+fDAfaPRT0nd36YG0T
JJX5DwKSznG/QmOQZnIX75u4jK11t9gNc8Vpymi5LI9Dl6KscREQ1ON6ohp4WZLixo+Lu5mlFdEG
CtxIY7aW65p79fX6aYwgX5UQTKz2drLsm6anjTu4Fxuu9TYHRIDq0J9v9aZpgzDnnFgPJhxdUINk
ESBUHGirSYnJYgLNjONPq7BoqXektSwinXjJLN5PRmGenDW6yvAo8ieNk28l/dbU2j3CkIPbLTvP
yvaMNzkrllHvbrrVtD64Ui+mbEXY0fziCO/GThwqhO6NiKu7WRg1DbEYOXK0orEmJrHFYTl657nr
PosBvG6WuLiRrePSJPsECm08ODdl4l2zqNx3S3+rL+srOAkrKKpqINNp4ZmeOYE6m1hPxt9zhnnG
a5dTMhuHDFBclRSHHNX2gHVbn5AAmyRXLhYxnEbyk8qEbDRREljU/pwNkQZZUbKS60198dhd6f01
KybBTDC2yeKbOSSP3G0wlzGLYytD1Fp2xPgaWsI/IkAdA4oHv9pT1B9i8reH2rmiJgx3WmRzWm+a
j3YyTpk1vqZ9jPuNtw0av0IhsEwEdcVY/tr5zRnsC4cxI2C5y3nAZmUM5WnHgDXSrW9tjeeQXaoi
vXhj2RgA7Uwc4Xw+4UHHSVra76PbH1dB+98dxh9j1k/XihRy0iRW65bTa7glXGMJPAZaUG7icyTi
9rBmOZxksmq3gsnh0PgFCUqOCNq5X7clJ/0AquZTqQFXbY2bPoMqlawp+4+F+YyyyWq3ddzcU7tl
j31bZ+eEWV2YuttOWPodXSzauaneJk+F3QhcbMP9soDy85zt7GTFz1FMb7qYirdIJPk5N+oxEDUj
d9qx9Q05tyQfLAadQBZioKbzy7DUZ4AD52mq0NmNxGtaXRR9rNzxm7nwznWEZzz1UNE2WGS9PaP7
a+WkxyjmcDU4Ns1W8czpdALsYom3NJ3GW89rhqeijd2vNHYQFPU9vd8SLZkT5pfMyMvd2iTzrVVo
9sYln3qnLZVLyqtjbgmpgz9WEyGnEdF1XWWgV62JP14/vMiwmwK9y0iBq+uj+eDGTfmpjZLRVZum
TINPkoVGdhKBCqut0UKqS969cxy6TLxHpm34F2ZCKzR7LxMeCUtkGl1TClnW7Walab3qSRr+maPI
jkig4AjuATv1jXcn5bjEGTW8Td3E25a5IU6+2dIstes6rC76nHIomEnsfSrbAcN/PbS0kbFXRy91
aSBBxFZc3OVLgW6fr7Z7H6M5OrY4g+gqJA2cDzecn3guBcdulxa7hCKLfLb+aKKnwVpp2dk29eoy
1jV3YDW4RMKieotOJAGa9yUIi+tYZ95zkybeo5cn1v2aJu3OqScChYpu7H47Gqx9j9H+u6hrtoLE
nm4BaWKexkXEMBPV8tg2693SRIsBpI2R+AYMQvu0eEn6ouO+uu8NkyU8pY3MxCrxziggjSe8tDVT
IyLpzXmevuy10m48CJLsF+ZzwXWI7lzRF/d5U09nsY4cqaJ0vFvMBuOVDib1rmkHlosWml7bp95+
+g/mzmPLTW1t1/ey++xBDo3dEUJZpYou2x2GXfYi58zVnwfKa7lK1l8a/z6ncToaAiaaAiYzfN8b
AglVeh0GDfEY1fiCfEv8kifAQuEfdsAPXaSB6SJXKTEGhxiDhdh4IX2OJOCapD1HlrVJq9d7LQ96
BRZO5cIxg7NuVM14J1ooqI14RO0FUkzA3pRm3xha/mC5LqJOwZDBGGd5YywSGXDrgrhRvjRTj2ge
K4+nrpLGhyT2s20sZIQsxLQJ70h2W59SLHGXzGSgdKQYH5ApUwUgsqWCMsOAHD7rX7qYoGwmzk7e
HoY4TtQFD876VPc+mRZfK2/Rt0xJhQHfoT+Tq5JJOiofCGNBdEambswY6bNG3hWoz3RQ1yrr0cQM
eg9TUNzlQSztCtUDWMODMQGCY1ZFQlzF3U00hWiP/g/AEi03jVtdLLNjjX/CTwwkrXsAS3hJSqVo
52MHw9eMp2EEmwED7WlWMKG6xDQMAbBM0e0a/UWUloD3E2iChOuJYgNYNCy2MnJKzFtg3Q5pBRK0
wz071LR25cFV/gHxBEiQn1skP5uYPAIRfk1vb7uBScGgR52jjtjL5aLr4kTNXx8jQvuqXyW3IghX
mGTxS4/EsJMXEhB0P5dxn1cRDMRyzcb+DHCxQmNoga3AopKVm6pUIZ0ikX3QU2CEmDCyZrQyeLxY
qYHZy801RpGxk8ude6uCMsSJO/8cDX6Lrw6pbqmCuZUGPfDNtJ+k42EaFIoJ2I7ckSMk4JBiHe+q
DmUR2/QG7x6+BQpxPvkYEELxqk9g2/kd/F3TCyzsMWqBUKEbhktVBLhWtMh1WPGI314v3qVh9D2o
ZMTCxyqzQ2VaRuCcOWW53BpisUD8qvZVZhttGS6DuGz22IgHLCYi2dHjKLNB9MQICZfpX12RtPco
R2Omg8oqLrB5uCHyAHcDx5WdrHXNsgoJpECyQnTcUPptbQG/EqMqsQs9kB9V0wD46UqMjSHeMCsC
YBZmJ91Ixgt1P3q5eqeZ3JkxRksCNsdkg6zF+5jFHe2301ZDgo8k6ynrHjNWOIsSiKhBbrS15kME
GaxQAa6GkBiOFUxNsKqDIQIF+clshOZWNYX6K/So7KFHdNvYADRIH3VzZNlkqv3wRS57/4jhjvBC
kEFzetgZxZ7RTryNxiZ+pis09qAiK+wE8GIZWf/CtIlgbAgiznFFaH1mAr1FVv82h6gH2BKLijz5
GpCzRb4wLJbYtSND0maSiDecYmzqSe02z8hxNXAm8h0DGHmxchzyx05hBoZ3TN0E6yEw4XuZveSP
DjMIZSPTx696XuXK9ofIvVNiJLsJJKQNlmeIFU35wnFZRcWwTVvwFeS8c+hFnqTGXy1ibxu8kn2k
qs2uBsxWmyTUUmYKT6afuU8VhoB3JV62dyQVcXoK4N6cEG8k4pshPHqoA8xBSzCytxhYqTaqsvlB
pGdYuKmq3bPyAJfmNVm8KJifPuPzF5PG6wrYhp34FDTY2USwlva6zihRi+iGqEMJvWM0t/UYhEsD
FuC+M4B/GIarLlVFDPHxlpp7r++QQAUjHTl6FncPDRf1lNFx5dRslQctgcWYdClDU2aQqy1SHTFX
q4xuRjmBCyK71ffUhRuPB1+3kUoS1haKXasIajIBoIpLIbq+JkYysEZt/INRR+1jOYxKvgCNUW80
N4r3Q4w9fC+CG8UAPJlMf7NhbSg6c1ezLjeSXnTEkd183RVBA5keZ0BAL76Y2oTMsDQceuFGEAJ3
3YzycA8MPmdNosJ0GFMuVOzxgoSHl2PWkPlt4EMBIFlua3UA6BSxiT2LEG2D+wAZz1EN9G3uKYis
u6n7DBQuvOvQu1uLaODfkPbyO0dIiZuFPNeJHu+BMO0U4S8PYbN1B4/CSYTe/KzIiPzUProPYWmZ
26ivhVURMgFug7whZSoVNy7wj59dXqr3OiHv0PYLYuFyVulH/h40GP72pmBuiFtJZHUvA307XAc9
uu3BF9V2ViHbtEh1YFZLl0BkhZ6rVJ58FaYNJjO5SnC9Emxf6rqbwTfqfNGWOrCsTEGXF5vanskJ
cwyefmptYx2Ko6N4eXUbEPbDjV4xgOzWLj2bhZfWAcUcb68LhmnXvDMoIACX/IQh8oATQIPWdCFg
RI7kPHhKDYmPBVpz3kYewoSsb1i+6KhPWGghlOEzpHxx2w5lu41TS9/2WLHXdgKkjjVsChy1CdWC
ua9oVlsFydlvBVPQb8hNqi963/g2QlXDutOLfCn1Pisdv0OXSML55ktXuhJ+tapHrDXqjPS+NCF5
xb2JJl5djLSGTkI/A00g/a9BqyvJTtuyfgmVVPmmxshve7HmQ8jO2vEOT8n61E/zRrsZcZNrmGt9
akQjAzc6oL5cu4pEolC2wMtq6TMtGa60VcqnqcEewF1XX5NSB2rryaoxTkug+BtRO4BZDWC3OB8K
zD/K+sEqpO+9USR3qucx2a6H4hjFEXJUalyuh66Qd5mQR/E0Py2DlamFFhoFUtafgjqJH6TQ+KvS
GYJIt0iZ7WdaCA+nLZENSkd5Yw0hrMBIFA+mymskqG63Feo8WYVW1GAm2RYWTlmIZG2IWCDAn4ud
TZqWiYCaK7sMlsRt0oANA8ZOADFucAmW3QQMy4ju8wKlf4ZsvxBeZLfr7qNEYHGLfyxWYWaS3HZI
xvWY0VvVhgfcfVcNgX5xWsdtiRhGPTicyLS1Ii5JWEkvAbQyIA76gK6tJ37GuFbamxAHwCDw3xiT
JAGhYEHYE1oM7bFS3ZU8aUvEwNvt3O3RCZFLQNhG5BonGDIwJ+oicfdJNaDappXiZ4xB5IXeGi6q
UGH0EGh1uEXGQfmrb72cqawxEtytEuQyUrBmX3wrQ35Mj/L8FtCNd2cmXQKCpkRwEo/bDOSYEaL+
y+j7zY+CQLObbEh3c9jVjdTxkxgaxkoeVWYoLe4ZDgmz8iaHsLjXar87Dbpa7JCyhb6sjO0WjxJ5
F4c9C2Tmh8vRAwgz+qn+CNupeYoLnDZN1MvsQOqsRU1qbh+luQYe37DukSVmKS9jiU2geRwREup7
YBuhhB8JPHlh25fAPQHqElYH3ChlK7p646b0ahEWaS8s3Sn1OWSQ9QMBWJ9ex/F2bJIe+LZSnayY
NXjQT/1mnujuNhOD7KjHVrIPgpA5pKfX66HqhxrkTkO20Avw58bf74WYbL1XB6SXQUhqQG2ajn6p
jB6jCtVrgj7aqW6QTWMBO5wSyxe+dVHbOebom0ccVqRu67p+Yw9i7h/LSpnMbypX0vAGGzXYjNOc
nig8kYRCRqZZYpjfQBFkyBz7LzFhBLRJyQEXff09KqsOPn/WOXXjoqMlmglWeUG+jZgQHxOEQR2h
afDAlljPe4rh2X45xi9logi3EP5h0oPrrvVnLy4w/LLJ5LL2TxK4Do0CcAZpv9S6LeSISXMlSCII
8CLbxwn5osRgfhVlcMPbWjS+5CWK44iiCYjtiigJII7MK6eOOgSV0dsMFWbk2BSr0LcskGGFTnyz
8geIUWiDyb4mPiiDoqLnQpwyofHKy0itiTSGgPQQgGxl7r1aN0Rt6x6ZPnqCFKO1VnWRo/bo+5mi
1J/EmA4HZG3Qo/aj5QPwJqXwGSh670UxgnyVCDIXgTgBswfZxVio0UbApQkdmcgRejMwpgufvOkC
8lv0bIaCuVJGOV9CKhCPAfok0TKV4cXKYwpwNUUO7MScKrdrlhkr14/kZ4iyTFMzH7e0hV6QhoOO
0YvP8Rj4RwD40OUrNf4ZirF2hxtt9JdLYpNIZZXkX8ve1BFZkkkrMd5qy6wno4XDSgXUrbTC3Pk4
i6j8ARsxJTB4E64F2IqhaGdSm4LV1LVMyM8REclGnQNPEmyYkYGz/DC6SVF8v8eDM7XLuNVWPq6/
TtmO4iFvk1OYgnFQKyB5+E+hY9Wt404AEmVJcmFPA/EJUQRUKkShekATV9/6YtJtB5JZuPsFLWnR
KqhPqesmRMgGMnQS6OXEskBZZRvynj9hDmXgvYbG6cqJehPp6brGPXjbYFC//vhGSKB33sNELCaG
kmHIGk4VzFLPYCIsYRXkmXzZkR4Y8dfpyt1WX3obnTCHNdqV2v7I3E6VAdchc6sCGzLO7nrbeK1g
RansqEWGrjyheZX5flbeEeHxl5KA94o7KiaDNpIeVy50ErzM4sHL0u2P//zLEIEbgVFRFBwHLB1d
rTNBTMVESF/yuVDwh46yipwenl2xMJdAS21s0k4+YLbvH1f6Rys7q/Ps5iZNiD6NzNpZI5EiqigQ
kN1FS6liQSkRzf24tktXSEqchq3JGnHXCRH0BgoVKEjlZCp3t8BYp4+rVaBFVy7oYnORTF00QROw
qJHOniCC7iJ5MeqoHOIFNmKb/gJq4UJYx076pN9/fEWXqpNJ5oGbImELDvLsknKCHIaaTsBER1oZ
KwazybVyiYWbI24sABCufaXGc+XvuZm8eR/k9zeRLEFStB3NhBi6uVadbK1u8R4VV/IyWBnLK7VN
v/ZHo3xT2xl6rfYA68s6tQENUB7kneoEDq7CwmqgvmhlXun25sfzUX1nLwHRSXckeS8Tc7EwbG0b
U/8GrgBIQM08sVOS7iUI++9SK4tfa2P0n4XBQL/gylX/iRdTlbeN6EyeOU9CSTCmRtTZ0kp6HDeC
E9nKDrrAkiFoJzx+XN90UecXLQFRQ1wS8jM4vPePtBiailcmlskj5QeVBS9Y+eePq/gDbMeL/raK
s1bjIrOTW0ECzK/9DJbGFo3hmxJlTyg3bz6u6Q/Z4qmByhZyFIpqIEdjnTUZqRpLa2hTCTh79Uyk
UlqKk7CeKoua01TEVQMkzRDcIhd9kkJIaVZMT9utZdJmpfcjS9QnsvHEQMRVoCZPAKAEvb1PCpPs
k+aIZXEnQRYu6tQWoE4g/LnQU+lHXPQBjFrZ+G/eN0XUuRjMxCWYke8fDqt4lkJRKTnaAtEDp7LH
jbw11ooTrPzjx7du6m3P24GKi7qsWYpG3mgand70j3nRKUod0RtLgX5bJ7hQsSY2vOHHx9Vcagtv
qzmDJ5UR6I8o5Z3u1GEvGNMkwD21uKJWsX7l7smXeivNMtUpUC8q8uzI8eaS4MgEptzip+mZwyas
kgoNMkU4YR1bfvYN3E4QMoaKnMb6ukdx55APItOVWEFp1EfsSpEbHT5hPx7j0aiO+th62Otltbgx
B7UHhgHhOcRlCOkjr7zSF116K/VJehv0rsqgfPbg0ZNQWe4apMj5fY3UqX76+DlIF7oZsMGiKJoq
4z4+g++fd4rtJIE8QXKkk2jLdrqKH9xlO2yaJeqSKyJb3frjGi9Mb95VePZqBnWErdxAhWHSLZAD
IjttLkpwLeBScOM99YTiP67x0gCpIjZmaLKC5wpX+f4ayzCICearVLltl9IyAga9tmwEqFfJqiG4
cOWhXb6nsgGeWdFlVT13WYMQGQhNqUh03bh8LSHA9HdKtkPVzSEtBBrmcy1du8bpGs7eW2DMAM9V
RcGIUJ5euDeNvAp9udKQAp6ucYta3/Il2TIVX1/rHy7fzDcVnTVJKdQrsrlUJO7abekv/GW9QGB3
Kzm+4z24V+7l9GsfXdZ5d2TWCrgqarOKfqVl0brq9lFyRyJ00Q7t4uOGcqHve3cPzzol/tdYpwGV
lVhfFMLPoH8g7/1/V8l5YyQ+gx4cWQsH5CF4jWQBn9KOjCvDuXSh09Nkeeo6TBFKwvmSJRbbwVTq
VnSUE4rvGyaFLIsXeFFvSA35V1rfhW7qXWVnjS8VNAX9cCpj7dBNghrDvSBVy4+fznT3z5oCL7AI
atSQJ1fRs7d4JIjfZHnDFfnf8kJXlpi6ueWjkAy4nmZoyTUkTdvtx5X+SZ2wWCi8qfVsXgTlW6hS
MEYOpEfhoK5RrLUn9Y8NmgZ/sciFgLrK19oWjdn+9uO6LzRH4qioNWG/wIg8uye+eaXzkrmGDhff
sTBhXyBeAzc87wIU3XFv/riqiw/wTVVno0Aeu2ON0JJIwlBAEx23R7V8+LiKyy3yTR1nHb8UoUxY
yAl1YAPGomGaxIvGunWqx3IdXhllLvXBGrNNVmDQOzQQ9e/7w7GqSegXseio64RELCJGP/2l/qNN
nGGZLGsdvQC7ufJqX7qLMB9YO7Pqw6BkeqBvHpiJxFM8Nj51upKwzs0q+eY1Xn7z8Y28WIshKUhP
Mp0ByPW+lgBWQ6J3uejEfngnJdrd6F3Dj19qebS3f6o4e1RmwOTMCAqqaIh0Nagsg0/urnQaFx+R
Ol0CDBxThYHz/kJq9O1qInvk7tdZ6rAs2OjLQD7g67ZM141oC8trD+hilaz7LRNQBp3i+VQwGwJ9
tCrgAtOiytuTslqHz81KsvWVvNHvk/3Hj+pifczfNMMwWaAb8lkr1HqoiwShmbhLi5G1efdEVnwN
NRXFfDtblU9X2/309M97SYCkMnNdmEaYMLy/qWGjN2JrUqOwUXfFztt5B33hLjQ7JFQV2h9f34W5
HBZ2MnMrQimaOvvavGnwaJCmIbT83glbaYEMuF2pHli6B6bc4Ff+Kuv2yms93a+zq+OS4JlMgTjC
VGdNxo0lZE0UKuzQsWxzAoiIuy5aRbwNsuwRdMTzxxd4qT7An5jyiDxFZuDv7yb0e6NQ/GDA8Nyv
7rExTJ3E6tp1aUSFk43GYAu5HF3pjC9NsaAFImSGZrCFAtz0r97cVr82el2QqdXfllvtEC4Texq6
3c/1GlW4K8/wwiW+q+zslkoA/l0L3CyrWvUlVjG8s2IJK87WvWeydOc37o+P7+mFzgX5V1Ycoiwa
pqGddS76WMR5VZDYpq5TperrQUNuTQuvdJOXroubB9uRxwf78qyaMcPRytLS3pGNYq2AHVsMUn1A
BH+v19oXrA+kK72/dKFjtkQV6VkFmqWua2dTBRyAyyzt3I443OCQLFmJwmZkEcmjm6b91Xe00NNr
85PpMs7eiHeVno0GiU/mBqHajh5tijVWNhggO7JLR1xBV1jpV+7qhYf3rrqzu9pGjTVKOdVNgoMT
YSFsZLQOa/JoH7eSC7O9dxWd92NaFPTWdF3K+OBKz21ma0J3Ixc9sqeITT2miOd8XOOl1+5dldO1
v3ntBqh0A+r2nYMWqSMtAydGQG/RLNVVucZJSbtS37Vbeda3jKQiM9GgOsG7l3T8VUCYNdK1BZR8
7UaedSZoisqeqVBNvQRLQvPIbK9YeDvCG5oTnsIvwCeILCI7DwOSoBKLRptciw1vXlwA51/17fZa
n3Pt0s/6nKHQw8CIhI50UrhRK7oc9N2G9tq1X36imgSRWod8K5/HzYbczWvED/5+OWAVPpV75AC3
CVZZi//qqt7Udn5VDV4SAsl/p9SdDiBc28BMMc0rb/zULP544d/UMj3vN610DAXRUKZrymL9YDI3
a7Zjh3xYfC0yNP3dPyoi9WdJMKNxSTvrWUqjgsU6VaQfB9vbpEvPKTd9sJoiJ4CddiBjN90etDYs
M+fjV3E28fuo7rNupg6Y4URT3f1KWuGbspSdxPFvMUS0/ZV4a24N2//WHJoHEwU0xICuvJpT5/JR
9dPxN/cYRGEs4m7RAWqvdm55lAxh8/EVXlpXQv7/fXfPOhuUBDAQLbnCduXf6p+qIxRAcCDbyBHu
DWe0hbW/ae9yf9Ncq3l6bh9d3Fm/o1Cz60/DVGdPi1mIZCiXrxHxXieYIC5M+8qVXqvvrANC7ycg
EEF9U3rKt6VNqm4tG47Wpn3S2s1/9Ra+ubFnb6HVGohWj9zYslEfXRy70uDBc8trsaJLU/t3D/Ds
Paxqt8B8b2qiL6KNUDjp+J/6ErLkKgYOi6OBc61VzrPN8yc3ZfkQmWAG9Uc02PN6UxPgxE+xCGkF
sCVaJ2jVLw17RCl3oTgP6dcUQ9Gna+umS+/D24rP7ilI76yQaioW0I4vWtdWW/dKt/aHByYpG+tt
HWf3E6fYyrB67icL9hvou7ay8e4Eu3sxF4qdLBEzBP96pW3K0x//n++oIZ7FlPQkF9E0otJ6Ka3M
T9Kiim5AchYYERIF3PNiOEKxNpc1UYMMztjCxQzsJkeNAP3ln/jCrK1t8GxcuReXuvjft8IQzyaS
cpABX1GmJow5T6P5G60/mpmAy5l79/HLee36z/p4KfK6gEk0dPkuGHdxBrRYDSCm6Ob3GE8ypOXs
QRK+fVzphZm5xdIG0jrpJbiBZ5cnSoILCJLW1IibPtyLlqOX+gZV/Tq8uhy+eIFv6jq7QGDtjQI+
du58PotOuqx6pASWxTJ7TLaeXdpptFbNVXoXLMOf15rXpWnO5CyqkXrC7Mw4q3zi3/mgGHonhy1i
yQEiy8G6RPjr4/t56e18W83ZYEkyBaVzk2rcDtz5Ig+GDs1N1c0X/0U9hikS3xJljbjy+1HRiPG8
GVRkuCzpJ+rEpM2uLC4uDorymxrOWoZXC0hJi9RgPg22vktXWEZ3u/xZwuCEWUfv1Lbv+CyooFY3
V166Px8WoSZRZ8mtWVO45mzMV6Ykqx+DV0QJVRagn0Er6LwvH9/CCxOb97WcDfu5h+MWfLKR7Imy
qmzkdNbFuiW3L277Hdg8R2alSErqRtliHPPfXKJKBJ1M3yQOcTby+3kLmk5VR6chWi3U2wb+gNVe
sdW9MDASz9OxYVenZqKciw2Ncpg3g1uNjvcNjsoG4IItkW6DVGHje3q8Oir++Yq/r+/swRVWR/ph
qk9d19t4hR5EuW3WGYtgj3kGblQAl9TnBoyhfbV7sf4YP97XffY4uQ+1CixrZG4jnKBNOsm3djvu
Z7xUvHjGoQLTtbVC8A2rgatXPvUf70cv1gESXQtRDl1/lRx6M01FG0UKxIqovXKSVtYK7rFdLKfE
rWdHS+1KNuJCeEOTVJ4nMkmsB0huvn/9Vb/uBy2Jpog67pj5Z7nb4GFrT+tjiZmB/pCvm+dfUKP/
lRjZMXgpsyr7qz4XEXunNHbKf6YPdfnzZ338lp+X/P9QbkyhLf3PemP2t/TbD8bVnynCDcMEzpvK
//xW1f/5l6DJ/2Y9iwKIyFIPSIrEoe7nfEhS6TN/6YuZyr+JfuHrRxRxUv3SaT9Vhobtf/6lSv8m
fTDl+3V9OqD9r+TFwCa+a4lgbGgUBrtpH/iY86fet40Elbk8VU3vWRDQDQ3QY6qC4AmWl8LHm42/
j0jQjZ/YwNrIfxKnYuXwqxjWBk4FbRYs8cTbZ4JbyUGSYVBYYwisRuE6KXr/oa71dD46b2kA+h8A
eL8tEVXta4n54FysUzDISXQ5eP2NuYYMYeekQVxcMPY9SdM9QYO4WSEC8vdXv/DWgaIk2yQxcPow
zd6wW8ETISK56qa1RhPLXxm2YOa2oY0mbbmBzMV2K9yEhVXdxVic7RUtU5ZGgVS/B7HqGXEzi8gn
xH1Q1/lz4OUGMhQadqvT0bjS7hF3kZw0BOWPBbv5YKDjg2plFm+9RDIecLhPtlYDF24+2hmBe4+D
5Hxs3gOKn7lA5ne7Tq3NB3I6iHBDL4ZxYsSnIcxXkDyKHb4K5U4oCzQuXrcl48LX+RDA9HI3fxsC
xGQX8/br1276FWv+lfnr/KsRjoF2VA1IQXYCqkDFKC4w7lMBjPMxRGIHLYC+Eeeq2/kjQaQsL1A1
QY0KGE4QW1vNM/1tFgO8t7IBBJ7ikvOKJBwzhrR/yqwOJDqkra9d2TzmvW/9NI3EjuqyWhi56q2l
pj0FulfdGTCE7qrKqw5i2Z/mLfqc6i415HLe5f1TSrHy6oBg6Ols1z8nqnKtHIoRkQLJwJRKrPCh
zmQzPA5gt5bV2LWfpSY66pWs/4h0AZndPgGE9nfRYiqaxp219Au3/ewpwTE1YuNHKVtwRc3oRpHH
WzDUQI06szzKWqKvy7j+Nm/93l8hMt0uc2HR6WPwWlQc865HkZ5T53Jq3P/VQ2Zb96xT4Z2gMYbg
SBOt4GVkyNuq1g3k6+Co5BacaXTjvtcQkKqgrL9mOq+hRjh0lyZJcG+F4yQtl7bfdb/8LGCt/Bgr
EEpMWN4rFQrTc4ba2Fzg92+3kc4fy9Urv10IcNubOEhXiOFnqxrFE7tVk/jUoKZ1GDT0L7xEkL7r
HQZQavw9sUo81uGI7s1Et05RNCmei25wk7ogxVkyybsEwOgumj7mb/O++aMdCi1ZXCrTxxGBtBIH
UsQ6HREy80PsD/5N0Wl3XeXpD/OuqpbuyjYJboRQ1B5E7GmcOlBlZ94sIPzdWL1x50cczPIO5TPd
vTFR8UQSJTXtYognWpNnZUtkAKQDNCt81IN2fD2cJIq8e92cD0ugllhicuJ8ZN73evj1N7rUrTZC
IHjfpaxekvGWvmoWjpktksJHIk/joexwuIigun7JpWxdQer6IbiTAVDWNw9hrCEWI/rjBmm95r4x
k3YxF3n/a2Il1MfKE8eDF0Xu0mu09ktl5esIBPBxgCqND121Gfmh74KF0V0Dsf4o8u0GW5fcLrs+
+A5lcN82fv8pyEsBtIbWI0MkH/TakpDWq+vDoIg3RVIjxdOWo3SM3GDjQsa8C00xvasnUSR1sjKT
yl+7oK5Vt3p0nI/3MAUGJJw3YaJhbOgXkrbPUaBDYYhv84eQiAWG7z5L2tH9tW8+MG+yIHiRffTH
A6M2jhF0r2WYKglYe8U4KtMHK4NmRP6Dr0cmuMZxLjkf+l1oPtHF7BJN7MD8dc5cUEvTfVXUz4OG
iTty6t9DLRvsPNbNkw+RY9thELcWBlF9CAQdLxk91X/EpFTmsl4WvS1L2BAz1Kg4pX62QyirP84f
dMD9MeyHCN8BpfdgWGW7ed98lIhCf0S2l6Ntqnu7oUtez0W5PR6Q2Xbhz81HIF++HkEGYKeKnbzW
qqHYFQjb7lwIqMikTF9jQcjJak+H5g8xQrgGhOJUVM1/lf99+E3x15KeYBUOClMqY29f37eIud2L
CfqVhoZdzrwZZU14G6DWP2/NH2WM765ZeLrdlENg0/rwBfQD/SRXjKsxYJAv8aTppGIlcDCjNHhs
4/rYS0n0RSnWSe9mDj1tsFNw5nkKjXyvSIL+VcVUE+Rhl+1HKQBgTgJ73i+FjMlx1nSH2mvDeywv
X7SpvJgLKchhQT+6ZjfcZrCsF3Le61+7LsCaZUzSUx9CWU3oYVGjNO7zNNuiDuweNMHLt6h17cNJ
MNiddpEDcg+/N+dv874IPwcrqV5LzWfP5eeP36UKfbhnyVxu5v1WVip7PRkdfL97O6wQw3OFFoJv
kz0HjT6sNbV316gFDp8MH7uvBJM+T1nrStIkL+GzW1gu3HH4/Iw6kDBaCRgBSukrz0JzW85WvaXF
32Sxj1YhHix41OjJp6got3KVJd90038Q6uJoRN1LWqX8kVpS73sUEQ5W336BkqXd19OHNyDHiHWC
j+SFsNTAcpXQhHxQ2aPqvn54vsXOeduHkuIkqMwtrH8OnxcM5uJ6MWCAqxYvSLogbS6P0cZE0WIy
mUXkNjBMtIOEInNR2BzS23ZSYfCDyplLN5nxd+mxTeS1IHnGAtH03F0oJ+0mGPzshj9h4WvMNG7e
lIwyu6nMwWcKInZ/HEHoL2OCwAfs94AZYnmazzWSPBaZf777rTR3PRAiU+m8ZY42l3zdSbevLBi+
ra1b1StonPGLKCCepPXDeNuWkrZDMAx9RlPxvtArruquSF5LuIaW7CN8Uoq+rO9z4BILCGveVlKE
6l7E2/oOXVUl1ZC6Z1RoNknRQSieDl46AeKwcBdKNkOEeOx7a5PofX1IK6M+jCP+zIWlQCCdNucD
8wec/eZ18/cBbOzqgxQjuqSnhsJs/O9fmQ/83kQuSKkX87akZXtJCqzN79/7XW4+rZbhgbVDfkRG
7NbMzW7P4oknb7i0Y4QGFCzmxP7WNAYNX7HJAWQcUWiNwnBjJaX5DBn/sw9F/lZCxfPRM7uVK1nY
16qRuNMh5yJbQSnE0MtlblrSdj4a+DWS6ZF6X46efEdo/FatFPETQc9kj0i/ti/QmHj9yNv6hyRF
sKoyWPfzftFsGazmcmkKAn417+UPa/tOLX4gelqvRPx4Exm5LL/Bo2A7lxjH3K1Wlp/9KjL/DJhg
MinFuEdSIW8XhvI1D1J17zeSfvBHNbVWqozC0hjL3RIXLziHHgyehW8238OAwXw+2it9g4p7/jUr
u1/nvv7c69H5jCYzT0KOSIDa9N1OCuRJlDKw5635A1BXv5u/haDUXr9d2udPR+ciKLgHKN3TBy0l
GZGmeWfGW48XNNqJyeL1e5QZO2Si9U2IBsVBxcvlYEr+J1324HVMW7/3y9Pm2b7Sw4FTQTwD/8W/
C7dq8/a0+QfmffoApl8zQjh41wtnkRDaBhCp5Vz4rPKhzqs9QvQrHzUABrs4/Cq6fmFr8hgfk0YU
7zt4woXmR2iJ6O0y0loD8WNZvc1jcCOoH22VWP0uVcyfmJb+2sy1uMeqEee7k/z3PrXoOg3KAn6a
mjq+nnZpXzR61ameTkUGjDk1S/eVjkeAE2Vx/fqeDGUxsErjPuHItzMLjFIWSAn2t0hRPuK84u3n
12n+mE8t2+LXqfM+F0nAQ88sZD4pK2qsh/x2tDMWpQ7WJfU6N1rleVSRp0CdwrwxMTz91FSfy2m3
KSTKIQBwttCROX3+fdK8Cej57CTOk5EB2EXemOcL1CGKvYlWS7BtC/VHn2PgjOBH9vcRxEn3c5n5
o9EqdaFbdY8gyrsDrz8z7Xs9WWgwwPFbPl5PVq3cqRNkBhScbFDyirRN1lXaYypBM7dqULs+qkKP
ClyHLdLwGKpOm8iZKEfDM7/MZaVKlu7LGKLFdOZrAZRi3CTo7l5/rBNhFqncjnnz/0VVjWJ7Zi2x
5EyF14/CH359I25wk0WWun2z659imH9Uk9wnBrD/7Ju/zYU1dE926HHtfx/UGt8dF/M24vGvP/z7
6O9TXxI/6e0cgwZHT0U8q5ShUW+8MbMORonn8agpN02C/TkGs3wdR7NHqsKDnzqVez0likzrIFie
Pe+by80fXhhRJGAyFCVV45wdaMvhTR1zWTfghLN65gNeXX/15Dq8UcgeLKpc6w+vjVX+yxWj4JNQ
+OHJaIn4zq20FM1+jVyL4cylGEwuneQVYbfNvO4nUkGCHVRe+4hmoXo0VNRlS619xIipfTQU2PZl
+LqBkPn3JlHi43yIyXu2DInBrOdNmaDYZv6t16MtMoXTb81b8w/yW3Goho9zXbjRfm9NhAF9rDxc
lIu1HTrRa1GhazaNSO+WyGviwPLYGCodhd9V27xuoqeu8T1HQtVsnSh+9NQi6LzStCEHkYw4ksEa
bwPvDuLrtCmaTbuXQn/AypFNwTfymyZtnudTC1Vu74gqYn/MD2EE4D39H8quq0lOndv+IqrI4bVz
nuTx2H6hHIkCIUCEX3+XNu2h3cfnfHVfVOwoeqYDkvZeq9+QH03kojun50ABE25yGD10PtstUDga
3XiK/dJ4SkHXcgrK7KIrFenDtogPpoeWf9KRG74M9C0aJcAUr/wy4CGcC/BtlEPpo3M/9tZcPSHp
6tFnMM0j5yw4k6ptSn4yovQj2WigIB841WsS8R6vn2NhH0EG65+HtgvOSdsmAKtI/XJcogcRa3oX
SC08Sa1XEnEn8a3oZ8myZqb5GqbG/zhRQynuP3ZmPQNNQWh/oyKe+zNIkTWOC74p8RGIg+ijdwC8
H7ftJ2En/a4EQvSmrMzhC8faH72H7adQc7sdoGHFJtWz8YsL//bdf9b/6V+pPDIqhy8Nfr/v/Cn/
+7yUH82bV3+V3+MegAx9vd+XTBSnOAXyn3Sj8hMvsnHV5UG/z9hYfAK+7jbtfVT/uUn/IAIdfDdK
D+ybYQNgFdSwqChz5F+9zqweJXfLFxxaHHqltjpsV9kD3rgkag6ov/uOA1AA68y3QOwoOI4HPH5F
wL2g1HzoUQsYG/pmwIHIAQ9e2pmGipfuEbCjgB/7rdJ0ga87krsh+xJ3ab0j6cYA0FWxHkGhs2wz
65rKZOixdwqsCSIdsPaWM/LdKC325ujYqRFhm1ywGVe8YbGLFdDYv+Zu7T5Kgz+T2pQoURqwXQEQ
waF4Yzkf1wnI3IAahxzY/u0WEYuzM1lFlgE340cmpAF8khIrl6rxiwsNOKgCRcAFBAKZvgU+hhKA
hFteADNXWSt7kYC18+KNubBWfwvgLXajKmH/KmrZgDopc7qV2+nNOgnyFuQVFpZjZYj+2txIvMeY
OR4e1MPobAqc2ilV2gJWbRHVYGICCtplEgcF/dUJAF55Q6wthqDxHsmb8nNAKK5n3TwHpSe/KAQK
WyIrELRiRlJRgJonAS7SZbq9aZ6uu94LOXteC5j6RgA4uHjKOUDBInsUp0JdtX6uMNuVDAQpsHan
OALZAZjrafaZQ0g3Ob+naQGes9N1PgXc5Jv9CoCQHXzZrKwYwM1LsxYdOLAdPLAYnB8j3QY5ixwj
fqShsIfrlZQMlhtZ+UzuFEnutsrRF/omAKPh7k5PHiOWIKubQ6zH6Wzylm/FsP88rcVJESC0AWOC
x2EA6zp+cHdSlADQxQz6HsBwoB4NgOVcpt+cEbTZdAJAJwPJoOlrUHLhl+39aCDgRnAAUMjHWUVX
3PwZ4B30MKtd2WFZRRkB8d0X9kn0wnlJx7rd2mWGMkau2S/AIPYfkwBsnWOXi2XilmwRdr484oTr
785N4K9scs4DcetcFHu7FfoeG4g4vugG8URDAlicA34zrzrsxIonAbCWQ5uDZbJV4p2ORDJQLPlR
qr/p5liaA+RmFTgvynjVFqZ7NGIb0LnYpyxp4zJV+5ok+7pfAFWtEWsSR8VhAvjNegq58c7tDsxy
5B6AkAT06mD7WwFNzTv/OQPlngLvZphSkNJUO6cUhzRLCpGh/sUM228W2Bu8VVPUp0bG2LUH9NKF
BmCNA35/dAHsGFgA0VOG3CxjMHGrSwCTTxHuEDreym5LUPu53aDAzgCqpxIyDhgxh/IHHci35jxT
MtG1lwTN9IYAVFcVYFFmtfELDaVenZyKiwtJ5GFqAIUmsbLd+EUR0N55sLZ++e/Pi+X942TVwd/Y
xfm+jfZ/1c7258nq6HdJChBd79UNwp8Ocxq5193eOwKp1opXxVgCAN5wy7WWed5RdKV3JHMboPtz
c+Opg8SnGQBpFsQtiE5UikENk0yBlGKSsYWCQw1sRy2meciUuIVEy+/7HMCf+YWWN74ZK92MV/Md
iEH/PcfsrYOj4iDAs1FgM0SAmzdJQJmD7o88zE4CIFf4d4nr1Z0u1ICx1QgFiqqcya+QSbUZJR4C
sPGlH8P3wZS1xjckSzPC86Pymc10ZWvmCIBAjetHPK3KCuDcXVfhSURdx2V1Bms4GLJJGXTgm6Ao
8o+7MT/YYE73rMw+5z330QaRys+CMbE0SqGfmNCtD42Z7PuiaD8DN9vZoGWp3ZIItod1B9SYVxFr
1rEQyQmbOo+9PrIjc0HeZrUlsBwrhXoUsyOa851y4QKtuQTAGbTl0AF82qtHYImT4sZGcq28HG42
CyfyUDEIwEoQAKlcNAdOvJFqluep6Ip8yEriTcYap1BOOBYABcQE/+o3h93NQQbSTS+BMpAyAg7q
GmwXv0iarHQ5vbQbxeTghUBWRGn9Js2A6Os23tcUgNMrGTJxMkds/9kmWF97CXg6nFZ8NblZvAys
qA61y/o1lozsVEWx2Gp99s1tmQ/kKYVsDMw5EEmW5T6xgJZJutnQ5sW3NA69yZcZdYGtxAj4yroH
ZB9AAz+SLxlU3qB0wFU7+OEqtxvvCejf3hNezj7iqXYmKU1581iBU6J2AMe3xO6iPPpJ8In8UxUU
YCNtC86oGvywCCcDD/EEAF4pbT3ntWSBJpWo6Pb42W+AZlKAr8HMzz5oE89G01rbxBi/GEo167GF
w27ESrdQmA0q6vXsR86d5wNwjVKlGQ7zPQ+FDCrV7EfGsgVzmewGfM2uxC+gAqJeTzrtepCD9xD7
tf9ctXW0A5Rjt2RkxXLksQjS7oxWTf95aFpnb7YgFSFnGtA5Gi0KvwV5hkoAcDuwa8nmOwWUQeQ/
q77thZfY9Z48ApzJnFNLnucc9RiAGTVLjK3mIUcChNZHnFsvZw+7AFctloXpxkK6p8g4sdhsDrkV
NocauBE5QJx/y3Q1D//Dh8zkPeWZ5bsUs0hX/+pnWPknI5fB+m9uXDTXux615JsmPFCxa5p9okEz
uHPqQU0N5mCl7LXmrY0VzdWfLpEASO0iNuFdjxp4f2WK8+rfWeZUdzo9GyrAeLT6ajbQlLM4x9rV
p87EeplmmdXT1CTj8+uvY2Fdb3Z2zLS2XoIHp9wCWC9fD+BL3ppUSWQPV7GyWwO7BRXONNMwfxDt
mD/YFug0WoH6bSWRvqrATvzfP9WG/WcxIB5tcXBmeLqqkUNtFcpY//ypRm2NjZ1OPrwWoGfea3YG
OhbH/OzhbpaSFeVTCMTrrQ5gzkPrWenZjolvd+iBj47NeCw2re+x1Sx5atu/7Bw4A9F3ltvsCDxt
B7g4hzBh7BhnEqc6AJ8sF3RJSnK7EzXZ4ruelGSeo0mnpciDzIBkAtARQOeW4JfDc4UaZAZUypVH
JVCaE7ebyDfGTdX231AFhsdrsszunHxm5WCPTyUwE7bkMrIRTcEG0Iu0UrzETsMO0+6z2oemLWyl
NwWInWlrmgbaxn73n1V09a6nPJTiXT/nKWiPfGial1TNSR7kS1FKj7NvdkhSCSQ/FzwP+OEvjjRo
xe+rO12aNEG5yHIN48BiuNsWzhFHs1xNykxzfZj4eM30d3nypdyUhfz9QAZ7G086t+nfb4lcpimV
LmCcr4EsXICOpEyOXazF09AWA7AwSE559PtythdB8bWRYKSZVU1ixse7NGS907VqkjQxi/9Rv24E
7j9WhR6gGgCWg20q8AOjpvHPjw4ToOKORyt6dZmL4uEPA0C2lwWItoEBX+pgARBVeZZSvrYhWP80
o8izLelAeNJtSxF8H9FSfHUOszRGC47Vv2pc8B0liL3Yx8kPB3JHHYL3Pkfh4RKQQGB6BH7shYGA
4cLVFTeSfBfjsGZRlxyOpCSzB840OQbDmaT7NOQ3hQROn++Agp8uDLvPDlUZPKRdaJ3DWrfOhl5E
I8gFvmeZMZxuVOQCpjm5TXDUs6jG0j6Tbo4lXVRn3iLl+IqcDVNSkhm4pfx4OE2qsgUz6KJ33WtW
PINyUJwwfgyx+t76wAsG3U8dP3SazVdNlY+f+jB8rPou/GkAZR3VeMPXQsd5FSAgsH6tATU+CpBd
unlyDcqScfwECN7HxjK+Z7mV7S111IjyhdDQy1PU4giSNB0dL9KlH49gqI80HD8rX/IBW7t70sAs
LRfS9/GMV8RiJf2+5wubD/UxTEFJMV2aSialhlby6WrWoXBo7UZ6sSfj2Hj1ka6mXCT/4/LOlXJ7
bQXmnkHf3oSQgaaqBkCD9ZGstrmecxQyuiCYanECkRQ+fqFDyS94BB2tVQN084XNwIZW+TYoTsmd
7HhtILBpemxcRt5TE2lijw0odN0W2DC+mJHjrrA3Yy3DoexRm+RrOtCSK7D+KTFK8vhSu/lqAIrv
kaQpWGuWQ1qx87SB37W2v+yx2bASBe/LbTJUBUgOo6qK1kxG+wJLungZNGpDQGTeapKjHiv+1AVP
lAmULkCPv8udkaHdU6/1VST7L2mfi2dgXZknHUdZCgd2+NI1QABHAcGz5Ll5ygz8k3Xgx30pwvbG
H6uTG399rH72kRaLBvtb9c61KjyaOB6KeUCfNnigJKehCMuqA+EL5E4D7UVSmuMk3jnOIkjk+aoW
OKKjsNmQcYN3C5L7JsfTLzb915PyZhqy671IFq1sws18K3OiWYd9TpT/2a/hqLNN4QvxGGmmwFN+
Vu7B7JYuPJSbTDqyJnl+CYPEPrYgWATzOsj+NiLDWRj5aXrQgBbC23P0UD1MLk0A/pZhMIFHoTKH
IYZGr6Kz5o3bCKDo4DdD41reckCDt3z4EtTWp6gv9ecQdJ44U82cZWRbk17T/fE5KqCf/T34xwb0
5N/ic7pEOWXF7fpSaG74scx2AQo93saswzssAa1tpU5smSv5Bu8qcDW7lf2G4lP8LulJ8x5EXm7k
XoMKp7F24EwCCwIQ84FpnmIZbzsPHDQbn0cd5IalF4RPoA5xN7ouBvzcRc4RK25z06Yae64CHZDK
YQgy66rfO1qDckswRb6AnupLh28PFFpBlTNsgeDoPVoDgd15sbqgeAD30DGPXW3lNmBWKfRSnJkZ
Vui+teTGG4Cn3CVaIlekdFKAi1hdZezMMP42+q2/ZwP3/QUt/lK1+JsXitNqEYs/8psXheRb9eGt
L1nVotJ+X4BO4ZZd7MmX1qNz8vfFKr4DMb/27id1DfJ7Plqk0jL0Lh95iApMjYDBL9aZx/AVrYYI
0AO42ouhu2psF4T0izFLUQxSh6DE0vC3Ws0RYGuBfZb/LQNldENspOAvj0ctLHXZ99DqXtGv1h9p
T5N2N2eV4eK7SIkADemOsZNexU4FzCLFg/L1ap3S/RlrGIDltPImwzlcWfq7xMvludNRcmtr6TOw
nNNnA2dH2zgOAHCsRDKgFBlICC5OKkhHQ5r7G9bjVHhS/U40B/1rop6jvqpJrZ84YQRHbpx5F2xq
Y6MsSP0vSdSvdaN1fwR186tou+gVDZ9AbvdSY3KN4+zGVQObMrnWDs5IZ9d8aL1LjaquVVsNd1nJ
NUQ1KAhwcQMJmBR2+A3olvNCYWSgC2A1MJhoiQA6GMdb0srgZvVws9j4+yXlKzne4nOqaVlCyxTK
x+bLGoyaC4vji84x8XcNyxElmr3zQgOeyz+2qMw/Z03uvDCQC21GC0fLZGSFa13ABn7jP6biY8CT
+pzuwSSrWikygUNnS28eTdPwXxP7DafB/M1FTegl9LHNT04+gJl2gE3O1orm5k0ABXPltNLf991Y
vvlu8Zrr2KGJndJ/HfNPFDN2/TVFqxntvjZCAchxE3wtnf2rCZodthp7cCKA6SlIcvu5LkH9C/JR
CwfKAmTUcd9uQLClPWs1aIfG1nO+CoQHv8PDOB3uwy1/BD8S+B8WGvYv0K4bHgyjCgAtX/vlToRV
i09qUTxOynefFkwUj26OMkfyqwVYL0Dey4GlH0TWK0g19EvvGaibgcR0a7x03P5kxbo52ZQ0eTLQ
Wr5LlonjcFAIPuQuWJpVTeRNEWQf+QyHYeaSdFTLOLuYMi9OPp4FKmzhT+WU5EYeZNR1a5l4lo3a
cWyEi6XX4McHxQeWhTbdDuCdhvnZ7yXKhPCc6TpR+DMX3/U4SH/kJX6HeC/Fi7RAtYU/Qnxsba08
5wEoe1EvchPDm295VWc/UhXTyhJntFWr48upAx8aiIYztg7sGCio6t3XuZKd8fX/5meO/UIq7IGi
JqoJLp16xyZFmKNopbz6N2E++SeogV914WiuLR0VwlqVfejU+0r3zejQAv0RtGh41wUmeJGdwUt2
ZHXwtgMSiq2dydp2Pxzwz72+pyCtg6X6AU8a4ZJiDOEV67ivcZRYlC+y97V91zoWFkzSOhc4Clp1
GQqi2z7AOoCUZDb6FASW6HFAVwqIo5QzqchIAwP0+qFCudydfvZNzM5dgR9gXM4zTvOQrLKjYcTb
geNQ30Ugfvmg1/4yw6YNkMJxFYmsvL/SdP2qw6H79Uq30G3Sdu0XIOHXR4Cs1UecbdRHr2iwICB5
uiRtJ8FkhzMBOGi8WzqlbuxJomFO8fcQctI1rT7mSc43VcWqXWR29QNebP1QuW2wLYNMLHAUXj9I
LC0e6Go2kB9FzAYwFVwj5lQokA62ZJid7+aYnedUNPk8r2UUIL9I7foISDtTfXpzcNy9dreCBLsm
HrdeG5CWKItBH3m7TV8RMyqhVMIfFhXDUrCZoHkA9EFD01mHQMvKCwhIykvoMmM/NMMjAG/Ky6yn
q14GP4qay32GNXq0AmmRcaTBkjwFqUdo6+uSgxgCxydXy73P5P6neWjFs10ahh1/L3s33cdVMx7S
92Hos/HgdPWBB3W/RZVrA3gfZSW/STYT8xpC3rP5Lg35/T1Fb4MdZjGHkyuJmaySNfoG0efvRGBr
wyHUNgfE0VPNnPDJN7NLyfX0TBLY6OvHui0W5FAoLxTB/4jQsJR/Tc3kgi8O0DKrd5yt3mepuipT
E1A3IIvckYF0ZJ0NpQaeuQUpwXV29e67DpWis5KHtrUjkQbKY2XJI0Bk8aUnAJWG8sxxAX5v7wwM
dfS/RDYDXdCIMq3SO5MetQ/ohiGZ62620HlWbcn5xlwHcoojHW9+OX7RfTF0Y+OkPPjEUBu9lnpr
qapB81EXmbug0nXfNTeMe/6NhwPKwf/2oBxWXoJfrsdTpgCVOAph4kMaFP7Bdjr/IE3nejW2YV+g
PeC3TGZyvNOFRTcUoN1FNA2gJLxeRaWykDxdkh2dRfbSb2K2vJk2TtA5dyO/T3ujIx9KcTPlzW3e
TDffDV3RHYfgaNzkOX+bVHczzn43GXWxBimVvQAbVonGwC6rzg1POOAAgHN/qAJvQ7pwcDmKlNvq
jL0AbyG9Ylh23mCcgbBpnLlTGrCm4IjMgyPpQa5hYG3eggg06UJ0ITnOIc7AQwyWcjhPlxHznTWw
5z1Qc/6Ri0QagOerOHIGaz3rKANNbBXastI1tnfGFjzpwPhwDzS04yDXPctilDRaLv7nTNpLupx9
MlQOGTtSWsrpRi59nyMdjzv8H1XSKb9MsDYcRCjyJ0+44lCDyvapUkPIhpNjgG6YVIVTi6cGbXdg
5/ZOJJFeedX/VFEgqNHQhKoCldcc+J5+UqETaS9LlCmgLVO/ZCHIqvB4JNd8jIyL7qF3c4HGTOPC
0zWwSPLLaOe6CcJcWP2sRwE0oDuWPSkphNL4gj1HsWPvKXTKMhqg4TGC+gPFTmnIWcfCGw1wWbm5
mQ79YO4ZNaaTikIofdtKMLs7hb6sjLE9ydJydha2Hg+Npp61Ggli2YXpSX7Q1TDJlrR/X5KJZIoi
kQbUSjDUa3QD2r7wv/Po/y9Qe1UsMmsE8d+gN9P/fhARlJPp1u32mnLQ0JH3FKPjMzC9nWY76W6m
JLkPjGFloeN+eVMNH8fFybP4iVQRtRvZbvtkMh+PLVRIX6QgDGemo68C6lExBoudAoRMLSvowshP
Msfjmo72ZpTUetojEyx6ajMt3ICBFoSuSkcD+MuSg1Glv0gqlZuGL88z4L83FDS7mvaXwqvsh9mz
KaJny2HmcfastMgEtVXBd+RGBrCQoexM3QvlJ8MYg6b23+5FJFJDqZ4Yp/uozTyKpnvGPdhG1J9C
5ls7PW2KYsH9yD206Ee2l3ZkOwdXDaMbwkSXgetwe9mAYepwE0CmSS7QgoryTPZGuoGSTpb7VJON
tPNwMxXNP90K3RU53UxKNyGEyJa9l73VISjGjD6pPoPCXQDxC+TZkV7iF78JXkmfVxJQK2Ng7epR
55+L4ldf8fEtqoR7CCKwIY4qWqpo4Hxfow1TeyX3DizOeKZ7NoYQ/GxgxkZlitN0R0GXOojQsCUC
mWfYHGGygX1QytkS5La5ZYN+uQlpEs0Il7PPffSUKA/in/iBzjdkpmkmwyy7QyLwXaBmnKd9n/Hm
Tqshrtdha4Cpm1s4d1B9FIPEW2xhVljM45BuSzpQHsLw7kLiPMwuvKoQO8t3PuDN7Rdgf8dWtkpI
Q6C3aP+YRpphNs15nDQHeQIAm7ZCoG4eVT04RIoLcB2zoI41VPqCYLC3wC4+2S0QAT+4QdIp3kZs
7sXYwEfzFFaMJh4AzVjAyqPsoU6BEYOm/GE3guLjOAXnqHEO0Ni3L/KGlzge8HBSZ6OT6lgxp125
GtogJiU69uAgfRAhbjg5TyHTqDstizeTJ5Auk6OedT8soEGtsx47nTRMGSaff0ZNGSY9ZZDuKpO+
cbid/jZ4uonphuiOMywvVqOWjWgBavANtwlGp38cNa84JyMOC5JevQHq7LNMw/ZARhrCtLfXvQBP
NFDt0KsnWFmoroZtPAxoy1QRXtck+Jvm6P5cg/cZ5zpNytZRhrbhsbPFiQYfu+on1cl5qoSPSly6
nCzKWxMANWRd0gFC+T2GroxGooZ3CleeQH1Eae1fEyklxUzJ9SCf7gKQI9Y6SMHY9pKUzbUyEVWB
9sVTA5UZxp23AYy/jcI8FDSSigagaoN+pEvj5exLBvKrubvByt8+ooPlZ+CPIXp38fwdA67tTFeu
CwRj7vflZjYA8hzP7malWOxT4EfRc3qtnuKnS4oZanxwSVkpS++zXaUlnfZS92l6Fka6I3SWUXeN
pyIC+FyhW6+yT40ns0p2hOkSoo/uyYZE0C0R0L/JNse9e77H+cw5ovMVHME8wWEMCqwPNDh+e73q
WWDf6HisZ8WClOTTepmxrnFItTQ9qwVTHNATzkWIDkusH7Amg0QqMTbXq1mH77w33/DTnSbj+kwe
d25gzDZXKAru0W+E+JspRl5+EiX644Bw3tjPdhpHC8C2BB8SA5SOWs3Ggy2ApNGDPA+/U5b2xdL5
tLU7++YCUMk6+q4n38LogGnoHVki68eqSbWD5CC2CMOCf/Y7C61jI/sOOptg8Z8epQ/icKAI/HuO
2SNpXDyE151VfQPTNUhSA83EXy7BCQ52pV5JBCs3UGttab62ObfurY2OLbPZWShxdibrLFJm0XHr
FYRj5nGOzX6MATM388eA3u3owqvx08+mj8fdB8hJYrlIqrLY3n2C6iRugGOcXVK/Ty+ouHRVv0LE
0m9WxpqdTq0MSmRe0+xiN0CThTMALkNZJc7FLi61MyiXSrUv3OkozKE+iY5JEDwB3ndDoAoDdic3
Vjgai9hAX9WhHdBlqHOg0Uw4DHm66v06eMF+pA+azszd0QkYqoc+gN7Ef6zTNPqQOmj6VcdnIo3j
ozWiTIjEfwvqtQjsZR0o3B1bFi8eNtBpMwcssMULOLHV0Ql6vEsFzW0AKHTZuS5+0uxEA9OrHZ6r
zPWA2mf0zc7Qu8+ko2F2yZVzP8hNJp3sOAXMfg4PFHExG1ezbo7V2RCCctw7TWGjpeX7mgUPFpq/
Tgl3o1MLvocTiZMux0FmY+v1Aj+ltwayzs5/i0UtyRNoiu3tv4ZS1DwZpUOhOOjWrfbxrynVTZDb
30Izx8MWOr551rN1vkWtceuVq5f1Nq1qe2W5qbvVVWWa7fT2qm19ZypUIyuJhgK9mkUqY5ud/1+x
eZG4B6blPwvLy+qfBQgbDmCdAE+rlgtUjo3O7kZXo8US5Y34KRhxBlFaBynRn9qg2gZhccJBMIhG
iCUgmJrx84B9gjFJz2Hkmf2qsfAYxVCpvil0qZ9TFxWfi27I9TPJfga0IBu7LqTyOm+c9CSyIMce
gzO5twGQSqZLMo651+2t0j3/LZISiWRoNgovaZH4ebKMrcYFyzt65W/a6Kk9fh7mFnxeD/G+Agbn
KJNCLP7mMqWJ+97cFxV2Hcx+POtguB89lBqvslrED6nXP6MoNz4UY8ewdaJ0YwYsksCN+FpoRvxA
OhpK6bhbP9dKLMLfvTULf5JYYgcxD91oB27056gV8WEOoyx+7TnL0mR8XRfSWElspKDY2WMf+OC9
4CwsuZCEnnEJCCmUMpNYuqW9x4cuWtZWyz7YvdU8MQm+M7/1UDVZ4wD8z1A+SLElX1DO3oai37Gl
UDK+zzwILb74XVF8wD5Yu7oL1/FjN81sqXDRo5v/feagrbxNprEv0s+GIw120l6vSCxNrz/e6Ug0
evO7M9p886+hUchVWdd75jm9CJPqf9Wqgb/tvqPSc4HjBf4YHY2pqFa7q1WL3VCvcajUfDQk9t06
mflH9Kq/odoy2sY5ujBCAO533wajd1GlEz/6tQnky1IT68TW4xfgjGUXT/ZnknqrRCtJk5fLEE/N
O9L5ygP1GpOHAV7xF3A0owMOhNi7MNbL47V3alj2eepfwsr7VQOE5g1kgRZwdPEFRCIeLeuVZrfV
HpAKONTMOhTnZMaDkfnOx8pfktY1G/8ymMaUIdMNa+d5+M4iI2XwR1btc45O5RpH/dMPnAzxzF+l
DDDs9PtHMjOktyS4odZEa2HXRtZaoLRlUStIEpDwHZmldW9WUgFeL269vZWm3hMq+K4ezEB1q2Um
T1atH1oFN2APo7U3efXL5GlarzmrVzxCD7YWKhgXZ4jNpROoPhCFV9CrgRfC2vO0uY8wWbe5/tXG
Jqi2WmFoDzLQ+EnP2F4IsE/SQPoGECEABNJ0LPVgGHilTdYwdvBgXUanWe9jw/5QFM0nXXm1UppL
P2UMFbNVvpVO6i4LEJA8W1lWPeuZ02CVpzt7bI5Xz1UyLEzQ0l+GXGOPKO/ycIqZttuwMHCgy6ri
EaefQMVx4xN5zPom671FZFXtltzytrcAy+S46wbncau0NtG+XPL8VDRxATC9wP0kumYvAz/9MQD0
ZgGeu+QD8N7GbWOrZu0kDZ76ysLznHLJgnQZhW79lbKZrA7OrjnkJ/StFetCZePIlgEK4AeICNDf
VsbJh9zRgMDEqh+GVX+RWpE/9ONofEzwFmEJ017K2oo+jIa9LFtmfIyCk1n36xFoNqshGfAOVEOn
BjCoALEmQT0aSX3hX7TRv3pkJtje26jNd5MVtUGgqIjwSMQT7JhRArIkWvwBu9f+gRoDTSzt9R6Y
XHObIE+kvxgyYQEWyo20BVBwUOHs5MPSSDIla055Glh4msT3NGBn986TLsyFv2hdx9rOaUUR4iHZ
1bYmsKqeohB1Sthg1r8mWbHxtEj7OYK0q5DV8Knu0mpVySZ6aAJr3DdhFqj+tfsgVvbhTzfOnxp7
QC2YcA13mw7Fr5pbYk/YWZFED70WnGeYrN5DBUtf40slafHkvfTwngOrehzjDZlvgiK3H/APsh/q
osiPoT1e0JdsP1S1a036Hqhrm8aMmuVsICsa14GmlIfaTRIyNI2zG9BwfJqT40zBOWGrZkMOc6Ku
AvyHJntzMfuSi1Ha4OEqem99ZwiN5tkH3AA+er9vE99n/cXxv97l1mN8faUJincj3gDAicyxaPsV
OqdVMePveHr5Y+X/FJbI93d6Pd1hpyZ9mNVcS/KDUbOPs4oyVLnbrSOASd/8ocggXfTlSbtyt3PE
9CJ9YCLnXXWeXyMw8cxjmeK8Wv1PZr0lInD4tFF+k5xyoDEoX1ZlPd7/F0amH33OjOOchAVqXVyK
1fyXApBTuqlyP0MDXGye/TD4qrdZtGMittF/o3RxZ+BSfMIheXcmTRfX5nnycASKqlEb/Yl02N0z
zyYeNofVyPVyZToyWU3xFEj2f51oThG+0mSkmO6BbkQNNKGwvE9zwp633SoDH9eyCnh2rhI8ii4K
42McoI+QVBZOm5PtIAGEw93mnGHjoFmlSZSdmYz7Dod3oVgDWzlY3JjIToOHz/lCZI6+xmklYHFm
C11JLzqiNKffTzMbNsrQUWCD7JbBLPyK1ZOUh8ESK9efbmDnW/rSpx+CsffXBha0D636HShkWR7t
x0qM1YFX/HOaac1jGpTXQXfGx8LnDXaCfut7aWUoRvXQSktuypAHmvXAgAKlNF2E+qdBDSEHRGyQ
4OhgNtBMpSM+z5NQgJqpjUbM9D55FARoFVAzUTYyxMIDnBGAhhcx2hrdoByf8yQYnnHq06+tMAJ7
pKNfdVHc74Pe6S7kUbjDeEBbKVuQSEMfOQyPR221oyjfDLsnjn43lZEG7KBHW/QfRqtZhz2KN6NN
yhOpNIEKZFZmH0iiGwIIfrnyUQCzmYNSv1gMhTo6Ubml45g7nATjaEKJFNVVqNQIipgdSJeFXvTQ
myCDnm/m/TXOr9uTwz7J5e1rZBrqBOao0NHZ0gqMakdRGqv6J3xpzxNzw4y2WhYDdv59qj7Vb16j
GdvmqZJ7YGpWXnsU5XfHe3FNbPKGChYPh0iOWIhShpPs+nkIJ4gi68dkxcoPoHuMjyh4BLDe5E2B
LfLtTKt2srNjjB9qbDEMQvLHOG7lS4PPGeqbcFJPYuCO+kOuJTuGgt+X0IvlC34N+4VhOfxAYhB7
zj5vXHuBbb6AL3XmrQ2e8UctQjodKJ0oTjYBcaRiKZ3Psx0ZaQZK18rrDdUdFlHUtxO5qGzw4jza
UvPO1NqTvCu7AVXsayOS/8fZlTXJiTPbX0QE+/JKUXt1V2+esf1CeBmzS4AAAb/+HiXtptzjmfni
viikzFSKtrtBSmWe82q0wGMVvdOEfEnvMoYJFUj30rfTPfPs5M5jMjh2encQ6ZAACAkiagojS2+G
ZOYjTeydvHybQLMaILAcsa+8MQOkZy5DmkZLFD3itkhOksA3ynoUNvr5iZAJeK7PB9uthw0NB+Yb
T/iFJJgCkgBpwgrjRs9PwKQBOEHg/c0+Y09kSk1m16hbUf5/Zx830niCva2ADhb/KSCw6Xl8N80v
fp4/9bkdn5ymNJyNa9dIS0P6u4cbuZs+IsrxiRqpjAunn8Im6+fo1ujvfZam2jLtVrc6WxZKdQ+L
5tQCAuArPoNIdPRclNTojXl2VHKQKVJzafS3HslIS3bvhlbAmzC3DGQ3qRm/syPFv6+B2vanqSm6
PS0rnMluQpr2PzwG2dUCJQllbR7XH+N3K/5ORkt0Oi56uvz0P/wQq0lbl/hrWH7k3JoPZcCP/7gC
TaMmSfjO1LvmOCuwAEM1QgEAJOqgi/juqYut6UAiUr4zI4UgOIB1bhb7zR6lCy+L9s3d6oV6tMRq
srqP86ALWWuK7aIl9/8+mXyBKRIXZNV1fZJ3T7suQT0buWvRNAt/l4ETxOl8VIcpnCiUbDRn06i/
34BCmQOS5YGvsFtlVpfsi4Rpv5vEm0rbaE7uhaVbj3dMNbajyTveAYkI5MvIOMIIqejjnSlnW0aW
LQ7SnD+gQix/yHWePwBcoK5k8wgYmOaxCBg4UHGprgYkridZPjbn9s2EpJ3cBNwKHsjOqudm5wz4
NtlW72771J7DSr3YqClULzEbJqLfqRvTxfutVW9PL7fyHcD3gH3mZv7OF9X455yKo+Fx42uXTwAP
xBHuOk+5dhYpd6JOsPprVyJ5EwZSB1IQC/wOiO9We8U9Cq54NEf/Orn1nhtN9bHG9xI4Dk53HKu4
ekYq6Q+amRXV19KMnWcfKd5HWptptqS1XbDHvl+bjZkTIQF5XRvIFa9rA2mwvQofu22jE9nV85DW
kbQAy6sb64vWGLivabvhWjZNcbINhlogwfiLK03wUhXIzTekudiiysUCWFH2aqt5TrsZ9PiJIrzx
ANCOOSu8Aw1LVNhEPBGo25k74H8p7TqcRJrdGK9zcfs23HejFgPBlPNIBCz5POoo1PMtE3BCbnkv
jNIPSQ4OXScUTG/vfd8fHget+tYoe7zOQZYAVLwzzv3VB5QsIigBeRN0/nbIU+dQIoX6UzXgqhBi
G0D2+8J2RxAlIGkZFa/NJp9t5z5AnVNkcxyx/Kx37gWTzApx1dbecQSLlyFpSmVtW8iOKzRdQ2hT
GZKmR0rzmQXGiRyS3aKNbcBcxIZl7AGpWvvApvT8A2JLXxZfLQN82+S2L01nzkc3wbFvrI3kXG98
AyGXHswaT0aXOYdB1EFIQ2pQlxiHQ1KYh0Bv7KjKPTPqgtQ8iiGdNvQfA74z89irIUXi1yH9P9Gw
S6pb4zEGLOE6l7SrMbkibasW+h/miqSM5JDajyZv2oN0/HyPkJL4OIxxVAHL+AvqOkDyko76ZU45
wkfAzMJtIRSaU/8JAuHgeXRK+1ijqHVrltz7nE24b4SeSyvbxqVMzl7Aqqd8tLY8S+5RyTx91h3Q
J+iTsIBSYRaPHhPA2lSFZJwVDNQW2avCLIdXRZckbJnhJ4hCWcj3AqizVVspkOV0C9DZMdArVY8a
s2vHqO642KyKUm/+ZrcYF+OPrDGCxROZ/c7nYhucs2BML2QVC6712Pr9XJV6qJ3U9ihee7GzoMMV
K+g0bMT7PeS6SmAFxSAm7HCDEurguL1mfKpAitbWUZs5wZWaAn/o11mzHuVce6dVLuLGOA/6cCER
TadeyXT8dhmDGWaIJnStxIvNaxo91NKUH02XBcXG6e8aVP8jCpqzJ+TDgzLAROnSMlQyN+mtyM3n
YLvKJHaBnmz6i1MM7Mmpq+yKpKDdapBoGcpS8qHfyLJxjr3TggLJacYznj7GDXdufurcFGDrCQgU
BDf7B1d0Ga7UDeNTVhtVhABffs4No/6DxVpEcn228/2U1mxfq/ktDuBawuQfVca0UzlYgFdQcs9N
UyTyAgwZuHc26vt1HvIciblWC5zGcgZKDq8mfjV6FgBa1Uu2CMNYnx0g45tTW337/1kYyof1i49u
fOyaqVvw/wunxcVPiXSFFF90MADYyfwJ3NTOTlcj3S9//AcahPsryx3Y0XCmtzxwXFuW5QIV4t01
QV3ZFiqBneK5F9auwsXMxhzZ+IerJfYuLXm6cwx9/IOLeoxigHAdSDvYgCVsSwObU6WN4+YjRx30
lZR8NqN4SuQzn2X84lZJuIilwLE9rx9oyozP6YVpIyglal8++Tj34MoW7DhFYyPSPBonfEzTZ2oa
uxk2ce0UgP6GLLAzE+n882JBkzzcIG00vGkOUxKM0WDU4JP49YTUG0jVGys27VYFHXgQKOciWtUt
bRjouCTnpNrOCY41elA05y7pm/OgGhrWQQ0c32FyHsAgWO9XE+qtdjSNZLJ3s4M2mafV9p1ZSz5J
7U/WAz4kr45Xu9dl1WOA9X3ne713AOIIrrzXheiZC93NdrWZzVckY87X1MC30HZTvnP1rM+3qcb/
AqZcjlcvTFa7eUQ1mN1OF7OMvU0n9XgLFogWR0HNqC4TLhvmXjq7BsWSF2rs1H/CwUchjSXOJlOp
7Dg7+yctcPS9VbDzxHsNPJkqLR0RpyoG1CJsJOW3k5QZuAgK3xtMCTiPDiSlCSOi62Ko3OfWEtld
rudfGPInXuzGLl8C4LaOelI/kYj3+BOzbL86DciGfkkaH/DEgBGxpJ8+GKqpvbRD6LjtNnIc0wdq
EsmyBy3zH/mcxahdMpgPmochPXl2++mdGe4kNYDj9f9BZgwG9l9v7XwdHFiBT9SFAVLL3zNUzVlt
OhlyFj/MTRpE8+SBYC+JAYD4k0DD4MYrlQbJEoarJ2WxMGSsdpTgQVokAJ0X5gySkUmmiDYGr7GO
qsJ+HrhE6lqf4oKS1DfmZBkgHXqrKoQ3q4vVD8ka7Em3Vo5g/jvF4mv18P4HUE9CU8gE6Y2vHn63
Epmsi9C0jgoXE2S8TNx8HLopRpq7dRfkuvnoqcZC1t7RAOtJWPfiJWtchQ5aoDjbQYktklO4Z3lX
GnEj6C+gxHgGVxIqbPvUwW2cU1bROqHEcqGTW/GBZpDiH5yQQdNq/gH5GHIPMIhhPwp88B2Vb2mq
vExqmqT0z8iZ2Xu/ysnMUjiEA0rnV/ssboorA9RwOOd2e1gVNAFw1ixK7dqLVnekWNe3aiDB5zav
d6QgO8/AQVk9xDAXgx0Kyi2tkAJXqsXJbl1oXRy45JmGzCFQ0dCaqw31XHse9qgx6oFZh58ZqCH5
aUaW6970HYGjStKbJ8m5V4VL5ocaozTTPNFwNJwpOKOCwjyN/syOAOwMO910ATdLLRmt5gaitpt0
Av/SNDXxGUdaZ9/qxgONKmS7ojpCKTKGjUZIXWqAlmkdwHZ1vFHkyKI9ryY5S+MzyQqaLLPYPE7g
bJDK4WpXxgnCljR+PyXvpX3K+wzpJJiyuFkM1VKlxEvmdeLb0q00vbN3swZL2ISjlpmMUSYmVBhQ
8fswIeg0WixBttrPcnlcZ/AA6eaTPE75fEy1bsifQQDQh0mXJruhKMG1QOZU/o7Ca5RTANrYGl2r
vh/Bmub7WnKeLXBBeCXQ3XF1oIkQ9U7solmoko+ou0gNbbgXvVsf3HZmuIwccGS76eJg0O1QtPOL
k1Z5IiNyRL1VBsjHewtI3Ycb0erWtpIEWbJvz0aTK7d58GcXXJopiExQhgwQG5bpCJc65xtRRgg3
OCzf4Z4RROJJbYRsTMwpohnUSNMtw6kpy32sDA2cJ7dJB3oXr+0tsDkU1iVHotHSA+PUU4ww+mEV
FTFgVaKase7S+J9839rqWuGjKMfxHuWESojKKKuQhvMsfURGgAQ5zQGLSEZNIN1xAzrwer/KfCY+
N0XanhGfBYPfhLON7k/igSzcEkQ/NcLaq33fOQiezbhFWmWO7ExkENd2tD7TYNfFpi3S5EB2iSuL
S5zYlwYUKOdq1vpD7voHGnElcsbRqkNLFj3uArF1JQ01FmmoO7m5XeNmE/Zk5HMLVcOodNrSxFWx
Dt+7oDE1N8vit6I7qFq/m7W8mqX/lUBjv0M09Q0T1OW651uBH3iu/j5/BpdBWl+bjfncg35kiwzU
h2GY4u/IizxkTcKScJhRCwKM4AyIXMfExIYkHPt73EHxLCwaFnXxEP9wc/1Y+a35vWbmI2jz5Fer
Hb4atlnfg/zhLy47dq+DMwVZtHGBOvIh2fMYIMq+OjKhxhEB87iew6BpmqOuV/yJFP24T4Gb/LgM
EAA5mbhECtdJro/Epqwu+a4AclHo9LV1KHozBrRv86V0/PpsSmAWbHCfmmDP8bjoTFdccm16MvAO
APlcBo4xTDEGHdhVvOo3tTt7+QZ3J9pmiDtz1zlN/Ij6AO2xqfgX1yubs2xbttNl3UaZmvt3/6gY
elrWRjTs1a9rPjfm7D3QlNU9rU5rqKdm0s9wl+oaTb5jce5g7xI7qpDItUCVpNsDcJe99APvbRGJ
rIv3qcGzD2YysV1roZKPhkU59gfpxzheNUb2AckkYHyLXRP5sTBOeqSO6bP2UdPVaCyHR30ydqSj
xr/vdMt/oX7cPHc2r079WGPzJcc9OKPsU6cap+GgCJtLJLk5Lf4z+wrvftLwdo6tDWqJoC/k0OoH
0iG+howd5A35WzJbusU8fAF0UrBd/C2WP1db590s6etmxpD2rZYnsdc35X/9ZZjWuz2qYSKzzHAd
wwKxK9LL3mP9tq3hyLmRz577wctKL49iU30nAOQW1oWfXahBaAf0lu+7LlLBLrg74ucpeLBpMCI9
BBU8v5lnJfXzxIHz3ml9vnj9rd2ylJ03OEPC94aMyLl0UWMTLXpTa/BAIBoAKaA7/oEweHyQBsI+
hPGi9Xp76ZzpSmAvBFsd/BQtmC40FL68OqIWj2RGIvBVXleYmF/9kKkfNItrp+U26D+MSmSoX9bu
uwJ/w8BO8E/IkfxKI3cW02OeMSSCThogTdsc3CKjU4h9kHWIRtEMPvJjKwC7LwrdtsLZcJCkplXP
rg0Gyj3HvRuANeR5FEC0QWl7mUQgU9WQDZ3G97kmJkAz5/hE+4l+Ta1WvzYWstZYmiSLbFVwc6w2
tVUOO5Jl2TTi13pSOzd8I8qpum1WGe/KL8mAHcYqWm1XGRhFiotIFLxYb+KFCkaSfrcagq2iOv9H
uMNS1OwrF7WNt3pgOo6LX1rQ3dt/e6sXuAHFTqGpn2uqMcDm8pxOwr7g7GBfqAcOwNshKYD7+qXv
Qdu2jJRtls8ZMEjf5nINdFqIYt2I3rnLTQ0FAsJwq60uXWR1KTd6MiAZO+E2Nt9lfJc27GMnNOel
18zgyclkqDuT84IttPMCgMqdmwn+SKLARvwtM5rxQkNAmnmbFvhaBxoi+bjbAe5dboXWui86G+1j
0iCUSJ4Gx8p2XayPWrX1zAyX1yjnOmWqoR41CCnYJ0ClOSfgZKPEhbqrhnokI8N1HrnBi7Fk4epi
nffODSjimi2qhbLF/+rLJA80z+g8kNRUo7gL1H18yZAxPmIvtYwmX4/ctDd3NOxkUd1bTX2lUULZ
AXaXI8U8Hc+lygfo8EoHNCOINkkb1A0SW10E5lWtuDFYX0TFk8M4aUgt8pOhnKLiT5OBioUMqKkT
Zt5hM44MJEPygy20jySfuhaTdGptyXiUMXyz1nnUo3nUQwHCf72b/xbOwzsZgQ3TBmmp49hLVvAN
1zrApsFd6FrieXJmL3RzJNx1dR3fMVnOZzYARzXWkSf5JqceNfpo4oTsO2y/yla7oE77va7hZnvV
kuN16KX6dq7K9vxOTivOiGypK3e8dtTaq2PqxWY/48LWXJTr/PVha8OpwsKd/uXpRgBW3fzE61xa
Qj2dWwOleV1/fYghm+tIc/rXp6Op61MAj38+z6MRkWhsNOxtsOMr0+DLEdWY3hcP96JbIPWAb9T1
iueBD1/nYfK/6GWFsJmreQ9WbGcX3wZHsDeLIXK9dtx6XtKNO2C72hHwB5DgZXOefQtmEAhqSNmS
9F0MzCm7LJaN+kT2dbptksQ7urptlH+STMuEDOPaF1tPBk32bcpAZ+IBuzFESXSrPaKsrN3qU+3i
UOM0B5G0X0cNtCmCz9V9rxoaTikOgNgVPa4ikndjUN0j79M7CeEcSITaChBdUjcoA3Yx4mFDo3cu
hcD5KRFb0q1uV6tE/pmizhwsRgCCZm0rd4mwp7ug6ae7GH9Md1mtgdB2aMpdw+e23pNmTLq/9NGZ
97EmAaEssgrR6cKcrn4HYDoyKbtsBrZkzcao7KetJoEdi+z0+qe1jTtbgI/cId27BWmDybztf31q
3ofyDPwholLKs3WcH/C5eUchMk8cyEEAS3kGUHJ/QTY7yhAtcQxwLsDxisuLi2KjPqSxlzN0uQ1a
tdQGWNZqRD38z8jLYuOrmct0yz3gbSqONFrl69xlAfLaxTj7v1+V3K7m1Ht7zlqi+D1xgMaT+v4P
j8fBS6kb065ymvmka4F/byEDOQL5UfxZlGD1EOARz2Fq6yOqDht/2uEI8WqqaxybEKuIPxtVu5Vx
5X5HDCpzKl1lLnjRiiNYDHH+EGwXXECFdk895uT2YklDgg4sB6QYvFoOhC+4WsVacP+axjSAFHmr
sbwGDy+KGKhxzPSOo2DgnkauMw+oenb5YpGq8odG0y7vLLgW800+1RXf/EZLKyAFreCAi/ubd5rL
bYXT5foFYDE/2KAJKzYJSKFOgZXgJK+lyZOnd8lTUSXeNm+tOUwD4ILhRXIuZyAhxxlDyE8NfYV4
zcdkbpfxTRfXelkWtcDqB8sjP5H5CHRD45G6S5ONYhMUqFmmYR/++2++ZXp/22U5AbIgzcAzcYo2
wOmFXdjNV0iWPhfA5q6fbYP7p9jhNlBzJiMq0o4hMluYV2p6g88XFri7FJ+z62Jm1Fq859XchVY+
8GI7ermMBgfxTJoSx/3rZNQmMiCziP6wOiStWgiRsb8tlBTI+XibTpNoMVAVdSENW/dr3rfDheLK
FH/G65afC3yYSETNTaDdYDYj7RqrXqitafymvZlhzTl4bCwz3zgKQMIC7TDOa6qL+Ll74qqhnu8q
PAnSVDrAffXUv9HOBB8BMA731BEmBU1cpDR9ImSK1Wcx8w9Jjmo/VLvwO2qmMVAERHa3i/VUyxcN
NvwJ+OaCA5n0ZDx6OIjQuNaTv6TNQc2sDXuZOSVuw1Cd2qlmqUlVha1K2eUZuEGU3OQxsoI6YM9J
BpwJLw7mPZX9WCXulOQoxB0NKz/fIPUreBkBXf5oIXEIXGuoFcLFy6mSQKgkK/KhSaEvPnJR3PqY
52JTdFbwUnsoD12Aeq0RHKmt4m2hhphZ6jJtt6nDkDuuFCtbi9t0E4j73thbSG04sb2JYwFMWpTl
bacGH4yxd3FqIXX95vudMxrSlFwt9c4rMPixFNncNK0N5m8UuNQuUJbpJ66n+FM2lNY1cTTzD7wq
6Z8FpfzOfdIKEHOoiqpZR1qALmwnQpJ+ddW6VCCXyf+czAP75MQliu3qunvRwXeFpCZZPKS5pu10
LxcXxEmdY2r4xVEC3OquxJ3oDiQNyaM18CYqZ9Z9sOvexL1Q0X4uDO+lAzXwX0kHSqwSme3hGMSA
seuzHwFCZQg8XDKgi5yp4qPKEySktggZLfUd4P2wQ/yB5UeqAXG8xn/sK6BrgVSdJmTDIA5IbsiR
iQQZNQCZ/oZMHKsAa7zH9wOfpohYCFPbz3AJI6aIKAtrs7sdMrP1dmaQVfshluIlrgEnjzysbzHz
P+KK335xeBPvjdEvDr8ayPoTIBqtc0uM2boHqmtszrI7K/96I0oVqOQI/IfQ7hG8dfKvQ5IgUDHp
LL+bpq+kz4HAjX8bkE7T+wCk9oEAPvzyFlHXXikx3dP4p3J5V9zcv0EBcNvXWet7hiYhd9kGFvcM
BKlCm3cZMmyQXw56yBC4ieziAPrk4gJwpUES8akgRaFsSMt0PdmCItnFZgOFGMjRqUYQNSFeRPPm
bvD1O+r6HSgpY93eeTaqA1PN1T8w/NOGFffZj23giurHMNY5Ct3Y/CEfLMQSrKq6K53aBylvru2M
ykZQEf/gwFC2UH7aimZHiOpmi5CnM1ySWXE/rxjsLV5IUWs0zsYYkdUZDbXcGhWYbHBzpQORRYEr
rs2sgBBpiDy5OczAQRE11ji/Gv52zo3+pktO3L79ISxPAjO6/IHLwxnsUmDJOOulAM+npaXlWYsH
lJ0rITUkE2nXehvqNtQFjdAVPALgru8DgKI0/Q+i5Ju0IDN3rNCA9OGDkvXSsY3GRVdhK6Vki1Eq
0BVjnSAA34W4zlEa0i/zfT/TjhVOEZNbicutJuA1snMYgFsUK3BOZMMltX/vi9lH3kCi6IKD1jpp
hpmBi95DGBe1woCnLMumDkld5mwv8mw4+SA4x2819ytkWBhFhEi4deer2xZUTHlTSGO9B+2jnqXI
1RNju2fcGs5l0kel7P0Jd4E4FSzdtPYspAPg9LOMczLAmRwXuLXGwtg1WIikj3RjTam89oh6Xamn
OwCgnx2kN9MwwKfJRbyB/Uh8hPXIDlgCYMtgzvQwTK1xWkzIGpcSO4AYjmBb+emP5Nr0AIag6X4V
dxU+YU39LXPN4WZ1s8WhB+VrYA4Zk9DoiiakFPW8TOt7O+MPlLVOqfF9Wj0beeveLTnv0nC3ICqY
tjTkHlBm27R5IFOa9GZPotLy3G08eSMoUZEHT/bKv0sMf1bJnwEr/eq7ePNNtkg85thp227z1dRy
czMZ07BJA21EchluvqmRyXCakQV1t4xAQ3HvtrgMVQZ0ta1x5u4BUNqggOnnpH9y1PAquKNZCP8v
jrCddSMLiR7bPk4Oxjg6uI4T7YIkp0Rxx5w7ApEjCDolqpvAvtMm+ztedng6BTyX69reV5ZkRB5+
9WdNzba3cGZcDgZ1gf1tiSRQOixQ0wgdoO5xs4gIZpzkCgxhIwD8v9OG2fNDg8fVXQFubPK0zi+V
z0bZLdDq5A8pjLvOtTS+BdvP65LrPDJRrsjLckIhN/Ro7+yUqzlOPkhu3wd5PZy9ot82PQM2JZ/A
uVWafh06Aw+AKYXrxrOVx4Dnpe4ipUk0VjPHEaiWi+Jm0qsXwz/qKI85O4qDHb+aKLSJS38v7UGm
OHj8HOumRDWLQND8WhjYK6LC09svwtTpL2Nlg3CuLj6UptOfJlVWXHU66pMnsLZKf16Kj0Gy/Fqy
XPrYyOPvWVuqlVdFbrSHRBjDZRX5DjCnrN770qrp9oTkBISIzW4TaH6zo2VMpuNIBKKysNfxBelQ
xXKhXu8KiYdjYucPehGSwjEljtekXro2x4vNzhEGJaHoJYC8Xf3QKjerL+q9k012J3axcp0BoQy5
i7kESokNmJOthbuQs8+C6sHzDDwYQPa+ZbLYlr9auDzuDvPUpBcdGIGhZVbe9zp5jvNYfLMKiwF1
ObfwJqpxyZlUNrDRfO+pzR0JjHjLfTPFzShDKu+uC5A8H4Rp13iRcHb5JLqvY+OJKO6M5A4Q39l9
UHN/YyVT9e0XA7AwILHENa6v1Uf54Jl4WxTzR6TYg0a2Tb9zZJLsaksbrT/rtPgOFiZv5zvI5Yws
zxLRxBFHJeM4toFS9TaPDGlUKSpZ8CH/1A5rV3msSm/ayXw7594EvJNqfqBelXwHYGV9pQE1SNsF
5ofXin2irBbTYCgOMs3xKVDT536cHyY3EA/O0+qKzI2sl6gDnMVhtfQzr9gzRLZw8CgBda4DJxuJ
DMDuUAs0/dAi/xqBpBDQCMNxyMYRl94oQPAUJS01CK289ubAL+tw1bxTD7PxoHbq+3dyGr6fu3pd
/ZEsDhCNNgtubDTm3eH9gqs07Mni0DYNfZPKBmiKQM6LQ2OcPSD8MjdcxrgJSe9RzIbTtDIfPct6
ECle+8oFjahZ3Sxu9UK8uuktzQVkA4BRdAXFPADFp1VwPgS+3v0y8pFS5SrgH4JpR8h2saSRmucN
4nkUw3BIVaQPzwesEdUDRvx0l7eAs44HFOuRgmSkpUZTEcECt3lR1zX9ZnXwzo4llYOkaU9G69zV
weDX4FFkf7qFwCVMzMyDcHj15Ei9ekKd+wZpAeUDicDYaJ3zHhCyqRPWubsFnYp/bZFE+awKU/bV
jKiWa4GMtbWy9Bn73a1rd/6VRKsFTSDZm4/Vgsnu1cebBfn43Spk8a+r1D3S00wua+S66fze69NP
NioyDzQakN4PdDClQJbYomgND8Djvenv+NzrGzBhG9HNsWQ5joiu1MFj4hjRcjAB40XI/Syvsvu5
zf19knb71ETyEbja7TxCqnK81Son+YT8/l0B4tMPgGHE55fZmvojSz/FaWNtRhaP52Fy2Z88Bzy4
ksskr8GHlOTLdGOecS/UyuAK0FT30fP7D+S2kmWxcwAuv6dZb6t4pg3KR+aDhUCtPli9tZl/WYXk
tAoOz1szCI4oSvg0V33xFA9ZAZzZQNv2OMJGNFwUc4q0KX0ErZEyAcTEgy3T4NL538C34jyQdOwL
E6Rs1acUpZOI6735WcZjUvZh2tT60ZWdu9UCVIgUIn2oNM94YV2fnVy/6rd4u7IvuTHiRRInn6ZR
H5BAG8/7Prbsj8icDclA72SzBTYhO5W871+coHp08rj6AnDSeVP1dX2nJcaI3/FeIFURikkDX+zs
6/ZDFgA7zx6KrcURZWhmwb78+hgGAmpbkqvH8BHjvlRSyp3tJ6e8lPPVw3/bsxPILmJIIdwvQ6mn
56xwREhD8EnF2Jc+p17uPJGkzW3kmlRNd6ShQF3kASEeuaFhXWT2I06My4hEkwPCHV0HZ4jhhI6U
xb2lGupp/fcpSOILDbC/fRXjwrC410bAWU7SPq5yMqNGDDrAR10J+h9l+26+BgifTSaGIFoVq51W
Yc8+4Y53s3pGgf6IKgkDaPuea/5YF1pNNPw9niYB7AZ6utSd9OXH0comvc/2q2UG0Kg7ES+ozWxi
4giEXHD9giky3axj2/4G3qcOOcC81rBb00rP2A1a32K7pVAlnWEESZTR2hEJqbFz4Ru7AGfugudb
IAGh1h3b1j+0JN7KhE+fY8/GQVLJvV/kiQ852QsL4fpxQmRHTQII4fTZc6cRlxViPPqsW5yRfJ30
tgjD2e1cOlOzz1TFvm3VR+G4xmVQlf8kGmPRbHFi7KJMgQSQTKZNcz8meM/nMyAGSZbVk4ESDTNY
PJGxV0nskqesCAvfN0BzqLyqNdJiNC7LNOVUZKzZop4Ma6inoCZo9eYe2KJIW4fISeYZvz6o/Etx
Qw+ekeEvpD3iCsIZgsfedZ+5m7kf69Sbd1bt1XtthlXFewBR2AaqHGYwvmTdXVCAgIXe36KqxkM/
Mr4xJgP3BkiFvMs6r7inN/l7bTrV77UDUkY2uE9RSdE/PTciuNiMl5dA9t3WmJF7OygelUkRrFAv
Y5+6OEmvfTa+ipsBV4KrKVkl5ZRsy9nzNn3Q6SAZmzJw7wKbRIZ41z/a2FYdXMXOG3TVnO1HA8EI
30ZMUNndGHvZ/KnrmbsrsV84E9EFTzzw4Q2IKxydxIgcosAg0oqb7qDl38EEYuwQUBouoP4ZLnrD
jZ3u9gl2uojDk2Kcurhbxn5cdSwqXPuPvGqmPU0ZM2CeJsfa68GuXtnfkJ8tAZ3pWPcWSJRB/DKJ
syxLvC1MMGKKwD9gLyYfOtWM+A3bp7oL3k81JAWushg2l+EqoV6AiG9oFKm5XxVwKw+Bga+Di5fr
Hrk5gBQZy8hgHii3WJaH+GsSObhNoy7z0yIEzIMxixIS1DijfAZ5tS3ilz6XZRIWlbdv3c78qy3q
yxgE/HtZ24/NoPlf+cg+2gykPbz1/rJlyz67BgomusEK8NsIkNE2mcQm1op4J4Muf/GRa0tBURrN
qHQSqMr88Kaj+Ok6etMpy/9tXptloSuYOOO6CVCdc4q6EIGQFJLtQWug+PVSHLQ2TeUmdzOzYpIX
Q/AqRzJ4+o9yHxj2qx/H1t77If9GEoCBccz3mp1dqWTRmfocf6rZlWohPTX6VZcEyZXwDMlSjdZ5
hVFcqQ7SnJz8QenKUVoXA3mUmxlZ5JtJM4o/20KyEPBm7Ve8rs9FmQHCv0+3IDMFWtUMILWBV8a3
KgDukT03H/HVqzea5shnXNEjNFaC1VlmT5bR+R+Ldgw2WlXWD5bdMsDOT9OxK/3+XuJqLcq7fP6D
x+wvF9+dHwBIitPhh9NVP3BS7/8Y4sCLzLas7pNH/Lpj8zU61oOORMxNxU33T+FOX9TL+gcofFGd
i1uCsugfZ6e3AFXsNBsPKN1P89AOu9wOqgvohGLsP6xbP46de38GTL75MYYRfhpEYwwPyTZz1s2H
tEdxNGgnvU+JlCU4ItHLlSwB3/ynVbv2/t3unfYf/ZEdCmMBJDa47da3fWBe8qBEPRKQXJPY+D/G
vqy7bVzp9hdhLc4gXzWLkixPiZ28cKVzusF5Audf/20UHVNR55x7X7CAmqDENgUWqva+XS7aWiHI
1rX9oaXlomXVCKynxA3W0QQytSPy9rVf1ah0p7dftBcD1jnBrz2u/ffEa04DEv5f0CPMTgvVudNe
xJAwPJAVn7pjtBfeTKd5pWrAM+AYH2WEUqEbH6HrW1Ez3HJ/0qgXGk/XtJ2j3EjRdemXFgXmN+Ei
fqbtKFjtiA4t+qh1skDO3gCW/qijhHJlDrp11b4J/J5dXR34+iRwnbQ71r39Vx13aPInWZvj9w+X
+eMmCyVLtpFb/DMCN/s4NHWQbD9i8CmO+OrTfzZdXHuGblBnao74FyUnGiyVOHconS7AX3ei9aKe
hINEewCcaH0qzAMpFru8ka4vzRWJZ9M7iyUSzZboFORO1vVWjfRI0z06YbWhBAx+qaNVXIvhNeq5
vfO6uPKF5eZX3K3wdToNzY+QVRvKwGSNjRJvPvWvRRIB4Alc9lTLiOuxIkFn/K/ayCoXuDm0amdW
U2kjaUEjn5xp1lL547IOI93PccUBDDb9Pa9QP0QzYZYfs0jN+mLQ32m2aEG3qr/f2S1R8qj0QTn5
Hw6wz3WWGQaO4wzfvZSdAUApEjqWCNm67ZkxJ3TmLA8uT9AYK3DhynUQBI8N4POKDG1HtlqSzCot
B6yDX0hSobttFmtVjQLQCZylpOhxK1/ZuryQj5cinRm67CMOeQ1OxFUcWkRd/opKgOGVPRGJWp/y
dFX14B+MKuZsO3QgnLO4YSct00O0cVjja5njyqLzdP1v9lQqZuDFpx5SvgUuofTzHlSsqg6krLtp
xSOHH2k54Uv4PLl4Zo+qwAPw97daNC+g9JanV6oLNrPuFd/n+gmcwSB3bBv8zqgllQTTkGvTjYic
JKx0zdJOS/Wwsqqa7lb0eywuE9Q9hbqOGiYAR9eA4p1SUT1WyObQCgfueUWQ5m5ezytbQaH/bvm5
It2nJW583E1sFOJB1uWjNrXRK2/s+hQGwLD0wmz6ruRNEUWvXh59Dd0w3Q/o5HgomPwYxhaX0sjG
Agu2F0xbLRrHdgDECPa49SJbnJmMgHZox9msJQWQLDy8UYFfdZfKxFst1ngmfOyHzst+N3q/7VQk
sTwC0vAlQ9nbQ27och0Nsb2dl80A5mylsKLePgRC/ryT07LE93GIvNdZ2KIEQoM3HBTW6WNsNTjD
R6xZ0RLPs/GRZml09TogTZEktCEeTfw6yBGZocV0ZOlwQJMccqPK5EaBE6pI0u0Hj2DZpF9ixaA1
M2Eh8/dQ2Lnnh0o2ETuWDVntgu/uhkHrUwZmDheIovp320B9JWg7T9yx5TMNjecBrbDv0BP4KTOt
4qub5gWS5rhq/92JRIZufjhJ/B6cZO6gZGFT4DJ6nZeoEsAPB/XL85THDDirWY4qwEWINlYgFHvA
W8LpFAXTnwObkicjzeWBjHUefSjvlrresaMovR3JyX3e7S7csnlEFdZkefM5aANc/zx5eAvcpaU9
oNdVaK6LBnLb3jDT8XYWkpmvBbj8/DKV4CFTS0O3k+cEHJZDkQOauJL1e8u89qLHff5q2pO9Gfl0
6zoGAPYiV/BVTY9JK//TWegqGLnsXl0+GptkSLM9LVutQz2gJUektKE1gZf70ITGE61o0PIfAQui
F5Q4QY9zLYAafwXLK+sjWCxF9/qnYLqDusmBMbzeTSjIQY8AqhTwm6G1ISrLKlUFTOvUwg2m7Qb6
3rMqZIQ/FTQrmMd2Y4WH/o3zhM4QPB0l0iVceKc5IulbHcU2PW+yXcBrgRQPyL7GUYLwyY6A1c3y
DEV8LrDF0BgKDEK3wNRSUyuyniMDJCWyRw0OCoUhaxRkIr6orZMdVEC/wEr0utn5ToOGQh4a1apE
p/yFjMswq6O9pRlI6cai3c7bzDugVUWxA7bWrh6K2p+yxOj8Gr0Bx1bYx2WveW8chbJt1OrBKs6B
ta/X9tUoVTs80Izale5piksLzPU0kEZTap79p8UV96kDgXkLqjnloQYyW5Yo5QhXosZrLkijYbiE
ajlorgte+MCoyPZxX7KVJThyjWqIRZ8+Bq17LjXHBirELxEDftq+R+PriiwWhwA0rKh79/xFVCSd
dohDFzQtYZbdxOWu+F7GaeQHqWO6AFIBbG5vjP8YahuRKVk9tiEo5tz82OW95a5SHHn9FnDCFJ7i
0QdwhahX7oB6SlqSIgO2wGl0x6cpSRCKZG7DkcfBPfV+CZAJyU5ebJ+axonW05h2e7rqLfsaT1q0
Is+5sABIxlcAwq/xuMHjlrRqSbZ0XYxeldlhtqDl6FmzBZlRjCXkZwy7H18TI9C+9iZyp520wq+8
SwCDZrXao8wHtkO6W5yLXHZ+pHX5wQZU6wOan/JtL13+grt45BI0Zn1T9MegRu+/J1lSrBxXDjs9
iq3HXl29hGVk73Ux4lKT7mPaAlfwdt5u6yo0G3SHlBfOx+w8a3UX3KUUAU3CuL1hBbxLBnIMPcBb
lzkO5g4Xr/J6Mxg4zY9tGuyEN+H6dhzeHbfqQUkWdqgQQmoFn6U905JmJKsd71KgYQ6ga8JtUN4D
u3lKhoNy7oooPGhV/ry43ZhksuxPBepDJO5pkShCfZkmteJRSxpQULQ8/Eur7dcYXeGvbeJlx7hu
2l3XVN03XYTgyis2VRV5T10V5q99G565i8tnC13/r1FmOUiB6cWBlNkICPGxAfBRPBTAgBjD8NHM
EJBWyuHTnezNZgIAfpWUhxCpdyThUYRbxfzkAu/hGTcE7mMcm1+NSU/ewybW93Ubsy0tIwO1dEle
5Q+dMQD9tTNXljIrUMVxMjmy1nRcB4gIYMaMEDuYQHE5c8s5dXjSPnZ11aHuKXEvgoFbgmQFGpMf
0W+LTKRE1p+WpBgZnk8AJf+eKYuBVeGxTuPvTBV6UjGnKCNQ/9lUNmpMo+Pj8V9ba6oEJSuR9mAO
YMiF5VMpLYCiwJXUs9OIWhBvO4ehiIsBzWioKOifd8lHE3kLAZyNy0DFTczGX7caYjFEp/5zmXYc
6ORG3uHRBEXMovhUxUVVrGbryPk1TZB13tdD+cbd2D0UINDZJAoJ3hBOC75wZM8jtcRNzo9mku21
LDzxln9ljizeRBcCBU2P/yYPJjR+EyAvWbuRKgBpR43PAYTV1NsAiJ3rSeG6xOg6ctdsMNL95PEn
YDhWJ6kG0tJwJ5s9SINfILx2LJazUMWqUdC9yGcXnlg+MBPcfWii6Wjt4mFYrLxxCE+2iaznVA76
dhZWBe7N0A3XpR8Gtx7znPxmC3cAaKoGMoA9+mJPH7IlOKlvpXN0VGqGJ4oyr7n6IMunkY2JnISy
ufEnNa1JMzuSkLwD2nT+J7SOJp11hkRYGCP72Smo/DbUhkd3NBzQsQ0PM5UgyQIbGLbAcz7NMjkC
/iQC1vymUW7k+9/c+lxaJ7Ig24FxF3lYhwOIDZvR4LnMOaFj5GERka3aldyB86KdQPk8PxPp0Ucp
aHryNQCCNDWGTm71SFzkpKQkNc1IYZf2tLN5FM4p60VBvsty8Y3RXIhEYbKf8hyIkXd7LOETPMmO
KG9GTdSvp/jsQfveuSVO6+IWFMnJJcDywe9kFsD0Tq1zuPt0gXTweRYv2qLmFdgNcEM4f5kE5bCT
KKc6N+oKYhLRcHWdw3y/gHohIOh4QbtBEXACElCcuYFsbPb4Nj96bQEt3VksJuRXWjFb2xIktfTl
FQKOapWBHnRPSxromy4Ay80q8RKk5NW3X8Ftfuryiq90p786npiAIuJk12VwWYwSjVAL9ouMZqMj
BxSMgcZ1UfRggr/qU5xvhygJALaAJWlJUbZ4yfMc8MrceaSoWkE5df7lTj5pln2e8nGzxGA9vt/R
sPZkTaJ8oLBTdDLLPr1aoqwvPQ82adAGV/DQBleaBW0zbnFRyNaj1k8ZWMq0F/yLJ3+xK2U1nerK
O4fmm5U208D9SiIL6IQNiAIDoO1flkFvbUDV6inDLT1OZ3vSAATHPQgUSQSZ/WEcFrbApTR4tGdn
YPl/+JGHO7U/yx68IrqOznsQgprbMkSPGgCoynOHx7h9tJyuONPayRq2RvmivkZ9b3FeFK3O4Lys
Se1Jo/EtU1uXYkJ7Hmqi8o3tlGhk7TzkEAM54lYHxVindgJ6z4GmNHiRqR1jietAZdiwAIY0XUxo
hgKzXyHMLqn4etEv5lbPoInBQoZiK+tIJrP1jTtJJ3xvAOJOfSJyn63ANp6cSDhO2uMYOvimIcNl
C4ZyUu9A6/lfJXCk0VEvt884DipMq3q8vA6Oc6KBabHrp8YbKdE3XaMVCH+UAI9TJtIQv6azLtWC
YidM4x9S2904AcJbWU6ute1z/IDMOKnOthrUi8k8tDgyulHZ+3fyCjXZN2azg5INKKNdCcdt6e3m
fBfTcdNL2wbJweWZdZKAPQQDgI53uxDkoyeQouFNW/Q+KWhY7GiZoV6tQkEi/O7UVlqgmWmsqzUp
KN4c+s5wcSabZVnj9zlF0gQIhr99qpso5EF6cstQMLCZ9PRsCRRbd2k/vkcGwAaivBn8qI3Gd6N6
k6xI32JQO5y9tE7RBwEx0lMfVhx/tucJULBr6eK8bNcy/AbWyB6cKUBODTJev/ACd7JKbrUAcwW8
JVjV1DLLirPNy/ElEX31kCIptRIgYPqWjmmxSRKw/fGw1d4TYxYDhiryOzsYNmQF4K8aDFVWuR6C
rlrrni3P49h/mYIcnTVd3ADCHQPJaUjD5nZJMi3AiVy9jy9m/9XWqdB/WTegUFNb0UA70F5/knX5
EB/aKX76ryHvPlIxaPoWScNutSg0K843WYrj7/RSAprJByhBfKKh7gI8a9s+PtEMzeXmwQF3KSmD
9pcZLdugagqUwUN450ayP7ksdjGz5IfzAOSgg11G8yZ38ZZlPKKwlYGIVWs0z+/62vNpNqolzWo8
FcERoNbz9E5PPrzybr01pJFWsV6ZmzsFGRsmTuroXP+1IdncLeet/rv5jZ4PANXV0Ca/RX0/wJNw
DbwqFM9tR30FYLLBmRnwOtWJpCEKBebZrP/jOleRmsoE8A65J9TTIHTFmUsOFM8Do5nfO4eUcWSw
OTqaWwkIc0fawIcGN664NG6PN7VPzWxIGqPwALhgAC+LfEhGA1iloUjzINkDAiNexQ0wEgW+VVfo
vIzcvc6KY4XW41PjdSaaWa3gX2pepc9NGKCOKRnRm1nLbhepV/PlTINqgmg9giJyfmdfFLnWizXa
bLVZkTYSZdmR5QZ40lbmrhCFRFM7OBlA+fmOBu/gCfku1KukGb7QK6avaUkKjiIWIGk67s5OmDfb
4Rvge1BN9YnMSC6Hc9BU0RMt4mS0zkYVXIeaoTNrymO2T8sJ1C5qFzLRNLPZGIEXz2GjrixQ0T3m
AJnTrgFQdAHmhe4F/BC6bZ847rZSBAEAKwFMr+m9sIJZLyT6tC+UgS3ZrT2S2ABcGMEtp4J92vMo
qB9oRfaGiR922s9bFHwwaIsxKYHoyr3+GtujRKa1DdBR0rgba0hMVFn1k36iAYifxgmJ2H7dsMxZ
L4obQ1mbsdiQ6ka6OGnoCz+ZnYfupWgEHUhdgvNJR9PVpak789KBbmtlpV6JxiAb8GKfClriltc5
B+ULLch+saJZEA7hDr8nIJQyg59TPbEdXR8uwCkzpMpyDUmIKzwY/NJj1mG5hZztFr9CQTzwkR9a
o0EDQsVwR+eg+AjFMEPSnW6mgzlUmzDx2ArHs+6kRWNqn8lLK6dhjcR/gowrMJ1xnFJwdmDkDE5I
AIDhg6Z6+MgTEK2R0krB3bhZ7GiG3iUUWHz6wqGU+G9r8iTbIcM6FPsKYFqXRCsfsryWwP3PAM+O
nBL6M8dm25smaMUMpzmwor2dRU3UzjLxObuzG3/37fUWrxR596OaNIBEZGaAE7iGzKPXAuVN673f
1rWjEkdpjqI9so86c42OO0IjKTlSrDVuEWnFqgG3XHGYbeclt5EdnEDhA8ReVI1EAtWeRdoeCaUk
B8GQ3zqiWc2gJQoHBVRBIMjE20KgSEsihnMnhSOLXmvncIR5UkwDsAo5/ncqGbMjiorea3R1cxCH
xx7YfWpvnaWVth0VprSmBlIMlbZD34oDxHv7Q/TpTwaLfIlBimbCyeMDVtQbqs7PyvqjAzfNxQRc
qCL7GvZ2vafm17veWFqSYnEjmfIaNSH3d/Kbdlyy41y7dCiyOlAQj1dfjVqh96jG3tmWpksUQ+Bo
lMkBSf+bhrk0NVRtjzhSCxwNN011tHbvu+XmzrlFRzMVKM8rcZw76mYbrvrzUrSazsTc/7sJn/8L
pMs1NAM0iICw0wzbM+5a8Ku00ntUCYbPM9AR6gXHrfD0f8p6sL6rCVKf1vfYtP5BRtd+TbRh3ABq
KD/i3cF8DgcrAzw2+BCbur6KIRy+To1T7Vhf76uqLNcLE82Ml4wLwQ9mGieqnU0TpmCU+x2B+Y63
ZrELgNy61fHUXnceB8li47m7qnHzB4s4jWnKLaAtWXr3oUHZBPrylA1XLedRDYjRyBpQYQCyUaIC
TfCYPTuD/TNUlKQz9Wj1VnuAVaKFkaGdwxAV92mJDpp2h/K6dFvogPYtOmAApbrMH6uSy10zoncO
lQHIXwgNmBQlgJUMw2pwXebWl//9k3Pse4gqAHoDvMcDErDr4XLlDl6tingR45IbZHmF4Z57hosZ
ECaXuwzcYm9lxtAUhEYeM5FgNHINwNNphQNWJO6iHFjy5xmsLAcezAmVrM8t1SgYk3BPnS2fwsQQ
j16I0nOaGfWEjgxqpQIe5qOrBlLYqHuygAvtdcjJroIU+/S8ztekdJoxwf9EFb3ZQDnBfZxagraJ
+ZXTPgUqCG8lUkfAkl2hUH14BF5Is+ddx1auDTjeFfCX+TXujqQM1JW6ULfjWmEDIQuVrofZjNxk
jx8IMCNApRlG0rlyNrstvoZys/OqOfCuRPS6Kbz/B6iFp3n/+rF4DuDSwX7ucs+27/+gXKSvGPjV
xUvexN0hUm/4vK0xSAvkkfNUrReNHav3vKQ4knKR09LygOK2WtxAtYs1eLcwzvNFN29R6IA3iE0N
BWqfm996kb2tPsKfo5iul0Y7MihRd76PWD3/C9CWYB1d0INnkxFcJe4/n5Ko+5GkSfWt7ftsa9So
pqZliJvkAKyQvSlyX+sZwLGUFXAyE3TAhuwqaitdvOPKANiZ8q45anUCD6/3uNHXV1MovD1Rtc2M
bo3Ij2x0cbRWddiLAtyVyBTm+nmRF6aFUvHGkxuS0cDqCcQhLS7p9QwV4CSb9/FQnL/YpbjKP2YT
DhILSR1pc00eXdvTzou8UvuUGdAkF5a6zggq2gc4N9iHPueA6/DVCLS7eZ+megHWcPUgdGQiFb7K
j8jgL6oL5NVNEnnMkKvYabqbfZfxT9I3NjrQ9GB8am38XinwGaEGWWfG2nA1e0+yRBjpVVkQ0S6J
KmWBX9kPC6YJkAY17WGYkmmV2C7wnwiw02z/xhbj4wzXiTzdRXjjg0UAoG46sj36edAurnA8CXLT
ygRYgnJW7GYMTwXk2TDjn3hkpk8WJP8VdpaYeP7H0fCwhEEd4UfoBSd0Cb3E+T00yfFuHusAinSj
bkJ1NY3MQkkvqFvBzd5ExyaK9PMsmtVtY2lnGnBODM99daRFaQPcBe+Cxpa7UXru0RkVRqDFwFE6
wfWiEqmZ/Tm7kwVIH5w8CfyTX1aLAcmstgMzPE1pGOuy8TNANQJyyjvIqde+14AwiYKx/l623bTG
RYX5mFZRdpAMVEEu2uSvAjREG7Q/pO+4bXnVxxKNtjkQ/ECYm+57NEIAdUFzvkyycHboVdK2mRvy
LyMz2h1a54JZK23QGzVsLHcsgDEu+uxtXVrajnwDhmv70e6HjQ20GSMV2cUsjfTSxJaFHlQ1JeHU
WO5a4uVxY4ZVNstIW9UJDMmmdYM9OKcTX1NhlljzTLn1vGwOZma/LEoK10y9+REEpfggG6zX7c8R
SKjbBsmRqxbLANTNuf5WTDnDNW1nXmlIRqO94iJ9NiDbFgXxx4lbP0xpeM6KzKbUSrdAi8k3N8Km
xZUoC2VyIBtE9y6piaaJJHM3RS4GP+V5/sXsmE/dMNko3A1KNwcA4Wj5lwxpFBOvdCe0LxUbT8pp
M5qZdyrCwHmUKCVZyX6I/hLD9K5NJWoAWk07ouku3k1dm333OlTfKwPynPCvnj3ZiO8s1JFGqL0d
3oHX6M6eId4Hd5GB54PyJAPyLNu43VlgdXElipRXmWRoOCrLYztm4SMNZokqZA6ag1qmMt+aaOUA
4xG4LhcTmuHdRCUY9Qc8WBFJyjDfj4ALB8jwBDqm2abQ/qqn1Dh2ih6BRGmV9qfGCS4kmj9FGtv2
GughHAWZv+wCwRMcG6xaGAenAClSPTmMrZ3G1U61nupgrUAaagXKB3RjlUpAUtI7ZbxNjL49LqLZ
+n49e5OUQqR5+twqsjsSTQAI36KWBQckDqQQUw2VU7rrEeTb60WGknd5ouFPMk3BiqCE5lQLHuzR
NzSWczzyWIJOHCnURfa/45F2MaZ975ZJPL0n+FY6l2WMp9/kpDogilztjJNs7GeZt6UVyc1+1GYl
yTRlRrNWjxMfEFzbwB5WUbhzU1DBlniXOQ1JEs4zkjlKQTPDC6Jidaf+k8udjKOjrliVtluto1HX
16SmiBRr4lqMt34gdOOSsznR4CnYcDCA6aoJH0JaE0z4slyskV9PUAATJxuyQ+eY6Zc4RH/H289P
Mwz7F2kG+EtAuygo8KrsHVjmqMC0kNLyLEB3pymK0qLReXZQBr6PpyQFlHZgPlouCrfjou9+DuxR
11vnP2TaoFjgxpTz0ppNkzS8NzUSIADFgHTODDNdITcQ4amuh8AoQQkSzUpwVW7ZULD1nQK4pdbR
qfgr2YIrJwPtgvI1vDe0OAeXWTRG/QPgTSd/AGHazQ5kuuyQtbhVW2Q0ox3S0Xtd5Mvnwi4GSIUu
pON2mluru39DJkOxDnLgae+qEkS+AJS6qH5bn8CNCBlpVPBINAtSPisX0WIGDoxZSaaLnGx/D0vK
MgUsCs0+lTP20uL6GXIRLa7KaxoD4XcaKmhxj5id8aWHTn2GkptC8YT1Fr+ity15lTyq0NUGtASS
A9foWg7NcMEdnbdGdWF1ErEq8KDp/ZoId2pP0QCRitZuwLWtBZIpNCL+ogpamHlINlP4uE6bHC07
3oqkM7Qv5Fejq34F6ts4Olpm+BeqW4YkWjcRshN0nBlQiHYWOlunqJ725/MPHYUWLZeR1q5cz5tt
5iOU/DwdUYTEbdje7Ep3ZXWh3A1xab7lgBgA4G1UXaLJMN8mpF5x/f0WuRI/C5QtrsjKjUqx/5MT
aXEF8yenQDkZaqfJwrm9dfsepdm/CBwlKit9Jyi2A1HRkiLQFZ8jaWw03sQqk5AA2FPsOTL+gIEC
7590cNCK4tanGQ0yYfgzXNY0i5VhbTXQiHjaF17M9+Q3y26mZH4XMjOGxr+PO6/ncY6yuErpGimQ
uf/wSSh0ErrI84e5t8kSGTzUpvHISgNURTKwzRXJwFCEFpzSzGYTks0KAFWchmLwF9EgfZaB2Bb1
BU2wnrjRnYrSCJCzBcodusFjwO4K0Z8qEpJ+UEZpGchgTSo9zO2NMYbdg5n1+zwsQrEy9BIvWSxA
61g5rfGXAqg3C13kRmDwCNXxj25YoEXbBhN7YgIVuBROcAyiIPMn274d/iSTaMVFJ4b+YUfLxY0U
dzIPpx/UYCBFdKcgt7s9FpN5j8I4B8xmO/AS1n5sxLVvIgUJihO1nqcy5JVf4ACRrshgMaXlIuOs
SbQ1qbVQiz+mcxCyug9yY2V03r4vmI1aBS4egdtYHJEnE6uWzk5KRorEjPFNUIF0oaaznVK4rESf
cqSvHDqzNUqRmTaQ1hpAt1EANKMjU9NPky9CgA2LlKFiA9fKV+Strniz17/ZtTGiIJBlT00zdPs6
SwdfG5P0AnTSaasDWe815g6eHXlu/wShKL7U0NBnaf2L0Yl/JIp3D2jJQzlpy3EDhSaon1Paxcd5
SRrga/+I87G6lcVgz6rtfDjGXj/h4kr1M3iufHPrwkJPGeKRKMKb3bVJ5ZfJrtmHP8m8rn2R0Zj5
ZEsDSJ4lCL7NpzrjzSwvqtz/33k4y/gXgC+yb7rBbc8C57nnGNrvKKaxk/U2OBjrZ95ZqtKIJQ8D
TsEPkjNwzQLpatOppT2UjbGxqzzd8UFwVLBYE8CRlYr0lR2XB9bpf1EEqypaY+NluuVPDuq50Dik
zbH73ML9eOYBo2Hb9/bflupf1gzrkcs69A21YlFiISuKWVNkwz51xwpldYEwV6Qhm9JwHg0k8vxZ
QbKga4a9M+Hvt+AtakM/Q7fFVzTwenF20etp0zt68m30Smdb1PXk14D4eCoSQBZMmil+iij2eRQZ
6ILNgNNsBfoRVa7VsxC8mC2KUTzi2VJ8rR0zB7ZBGuNlzGhwXWgdR473RcJpWQbCc2FlMl6YEaGS
d3BOpCQ5kOkAnwhyyu7ibS2rBjohycmiiz1c2PGdMzF50SNz8DbI9QKJcpTtDvdOwPEpSjxOeeyx
fecJIJsr4fLYpJkXfZdd6lxoUX8aUKQ8m9rdnX01gc+Eos1bktrRvi1BwAT7RdODV7cqrYeUB+YD
D69VP7gXR0kWMcCLUaRYAPvlRqbsyW6UsxNFoAHtHNbDCCTGTaycSGaZyXsz5umRlCSCIwhY3Ast
StG4fhIVJ1rRjqIGYg2Zt2bAjBVpavN+N/pMtJviVph3I1NS/PqIYRj0aKfKkgQlPQI50E9atSR3
/8rarsABHKhxnmjLp0yfFyQBGhfgRAZgcNGShrJBU7OuT8jU/Jc4EbojrnWEl3AFvcBRUR2l3YOt
O+0DMivdQ1VrzdFo+EsLkhZ9RVoa9LrMt4mFMnqywxfwL7WueXjehXa4X2KFjUSG0nXTLbiG3FMy
t0M2XlxvdAEUOEK1mgGtqHuS1nqJVnBpp8CcU9BZM8hVoaCv5ilJaXDS/NbyJpCudQDTsOR+MaYN
KHbXooUAFVwpkPDM73SKwysVkHDqOetFkrujIB0KSVbjef1pSuLlRFgAGLnYZN7KTP8Op1jHgXMo
Gu3MU8DEpOVHjQJVK4CP0D6jUwS4gsZgr7yybneumSXo1oACyAbbrioBIjfKCp2mk3aigs5Ky3O/
cPg7rebCT9MzvhWoj8JriFXVaPNEDeFruqa5oQRREb7p6ehedCfoXwMJRCdbpuMhr5JDiTfOq1Wh
RlKLs0cDqIjAjgGZLoiiE2tnZ73+LGNXf8bdhAmuoSeSjCA42AMSZFrTslIGqaV/M7o0OpPI0HN5
NrLwjYeTCd4Tq7XWnTG1e9Ki+UDfmhPofDKXhXsTsD9zOaWnyiKX2si50LLR8OhkuX24L52kgskl
wuJHChrmCJaWPumRsA+5F/0wXdz/JkDefOZ9Nm70EnCBtIyUrLbHdZ8l5eOQDeNz24H2Cxgk5oqU
JMsqcKY3cTEcgXzFgEQwhKu0TUFYoIY+aj9mthyKFC/Lv9aLTfxpvbi0Oiim5jh36sVmieDabulP
Q2xsRw6YfrcIUCM/as1aIP8crsMKvXE3a1nLbN+mfYMOaqVf1kU/1k+WIuFZYgASoX6SZpXsNBQz
b1kKRPfWmb4ASRTJgs6dgEpl5d+jKXsGX2jzkqV6fbYyBRCl5PhY/zBw3D+J3Isfag9tNiRvHOQ8
U6SNrkBBZ1detShARNfk9xE/B5Tve/1FSx3wXxnihxX2+fl/n0F0JP7vrp0MXDiBTMFzwdRrcuse
Sl13VNOzk7bPQy2Rz+Wc+aUaBsMKQMpC6xY9O6ja3WXeyHwSWejZy1f369ln1s3z0U6AMPvpRrO0
c+E762mrVreGJf6dyxyNNiXv+zVpyOffu1P0vgK3jjM0OwZw9J0IarFibqsDWhJghB/TLC/FhaQ0
tF7Bdp5lfY1qA6lEC3BSJx2Qc+JC08Yp4BlmsbefsviBXNKyFfXT7F3iPmR0ut1cCdBVRzczh1OT
ZbhW/bWiwgG8yX+32yi7djzTt+iiLQ6mqMf3oa39si60F+C7FNcuxB8Bycms/jQbmfQNFFa/4Dh0
a2YayRrURMhR0FM0sVA47VXl2VIP21hVhYVqYD2Qk5WcVbo8GCjNRIc1fvOLJMx8E2ysq4budmkN
sFuxmv9QljWZ01+GDkax2YeWpCAZ7v7Fiv6WltgUi5akqDLQkI/934YxdmAMTcOXqG6LJ7CTrTrT
QbN82DfaxgZ01o74mROl1bMetUERtLHSkq/gSPsmFQgEjUq8mGYSHcah6cGXgGVgGALXZPJUNA6+
1JVoGMP2wHujXJOSZLyLHjLbZBcSoRjbPuDbC3D6FLK31gOKpfVMz9clz4c31AQYW9Gio0uU+vDG
0w45tDRuHyxH1s/45dkWkziauAB/RydOujPiIfe9OqqfgHk04aeKX4n/P4tUOOFhlEw757j9S0DP
+R4DNGxrlB1q8WNXnlHhX2/RF9e9RYX2ZCnUTzctZtNIl+E2H9JbUzyzZ9NSoX4q0xZol6PZvqEQ
T985Tt2H6ygfLfA+/b4OhwI9a2HpMxzO1oDXNZ6MUTh7YfAJHdVugv7JLNsA0zn5hgzZpXS49XcH
jMvKaKvvxmhZ69IuoseYmd6hlXZ70CMFMCPcbi3Rnfojdd1dXTfZwUHR9EbUKEYODTsEjUKul0cn
zQ4ks1XRP81MNaOlRi0CJKTB6cRfJjCtd2RCIpBIAlbGBkQkuJ3REQCgqCMRrBGQwhBov2T067+s
SU2GJAOQXHJshOteIt7irXfb2RpQmvpA/Qo06dVNKvPl/yi7suZIcWb7i4gAxPpK7Ytdttv7C9Ft
9wBCIPZFv/4ekh5XTU1Pf3FfCCmVEuUyBSjz5DngV96Z02864m65lVqhkDPzh1dktwBH75MLN2ty
C6FXdeEGynXgZMZkFeHBuR11sCAkzHWfXEvaW8fE3lzp0ntKen36SoZhiRJz76nRhLHBu2G4LEfD
e9IbyC+0haxXNFdPU31t152zorl5VAEPDAWMNY1mEq8hdZlBgXuaazt4tfWBGNvQKEpJnOXYg7aT
uhVE45aODmCE8LtixQooNza8QfzfSqZs2pQKMA3972YB+SZUm00ZAakZy1qE2pbcyXGecz2d+nwq
8eCAdyMGD/pgUsoVpGs7HRLG8jUCf/EscEsDrAa6/aJPRgDE64DUWIiTg+X9ujNt40Q9yIu3mxJc
6ot0GMCHNo02X6PDNGpA9/1Cw0Um3bocIDZyns8mDwREcF/6Wl0wL/pWp/3l/H+enxRhEiux1wWK
WDypbwCgaV/iLkc2GYXvCKKr5qUUN3YU1s9ZqcZTNmjfydpY4JwwuWMtqYsyMg5GIe7s5jmJehi6
NrxTee08WqBHpZVT313ETVTLdJdB5qicJCbyCUFHB1lzhINdiIicB7APhCAF9bWuAQsNeQ6m/OWZ
uXF6PLtTl1zOtqi0odEj8Eo0VtYblSpkJki0eRbmG+p6Xvsg24mdy+7tu8mLyh58kGNeeMVOPXuN
sWffQb9hXou8PI7AQOL74+uX19daw1RCQWckL+r+24sm5158GsZ+40y40vOFRnrKv7N1GWBhrEoh
MfJ1VdJFOl+vZKzp0j2Pe77bLsMWzxZadvZMBBMA36ZO0AMp+w1QxgcALNmNjHX1DWWs2P7FmbOk
wUa59l2Xq2XcoigLBUytDhJDPIdptI8BOcF2K1r08ZSVZGkJcIOA+vy0lA3u46UCqHVDzmVq28fM
6d/mpabT1kVq3dhO/t+nnQcnjxbRxItTu7kH0ahR0+Y/gs4wnb6T4Dq2i7Td09TffYauUG/k707r
fv35Xl8ktzIyd+0EFB5qtz1Qq566f7b1MSrt8YKJOrtp2v9r7u/OUdT4HRRplq+uTu4QnpmmlN4A
BJDWoFDK5XhtcpvkDnGy+AFBgG+Z5TmvSs91xItVsRmkB96IMk+xtfUZNLNxC9WxOX2gA4Bx6cK0
Er5tEo4sZV3GewYG6pvCUvFDFUMly9KSdTX1yIQoEPaEaWiBCBeLiKTTUHdSJEs/2ubcAY2c3ZUb
aDu6H0XX/JSx07yOWS0Rt/XGb5qPz5GLvDyxxoYGMNDfh95AvdGgAHVukMC99Rw8OFrRZA+1jT1z
m1XuMx900MYbEf+hBv9Ygew9Cv7X+WQo1bckS9JVk5RQ87VbUIRO+bCwVrjtUROU7h8gihNr33GL
Ax3ITi2Wx3/7nYep5X55z2vVLBlWBYrjTUh2LgwZizvHjO0tpLWNLUAnxV2bM3PRlrJ+hwTZDk87
/6cs1bGsrOENWnraIoaE9wl/YbrTVQ9xXz2ONlWfr5FR8k90MCZUc2dr5goSiS7em/4xoNLkHQxV
LjTg/7ZXfRge/7lGOAUhY78pln0eDzcCpaw349TyBFSNitb6RArH6pdkI5fYN9RGF+6n6EMODaCv
aTXkwfd2PSGCMXXyoLG2K+F2Xt0H2IcWpnOd7ckwouLrvPr0Scgldw3g4L8+D83I6dznFb6mpWEF
Yhdse0eA7HCi6WP4Y1/Y+68F5vVS3csXFV4pFpEHKRndsV6KBgx3OrfDO7fri1ME4C71yI6rNrwz
7X7tG1CnACGRqwXYsSQAm5jmjvzo4OC+tmA6uPqbOocPpD3LNTYM7uLsk/Sj2g1K4yB2wdlowBxQ
1+GH/nru0fqmmwcGH5oTnZw+RiniF5ur6DC7efW4tXQoGaQ9dK+Czg3FbW49GKjNwTUSXR60Id+1
HkQpr+xeipqIgjO8X00TcrvVUcLrQtZSdj4K1r9WoUUBN3DWVZQ4wXkATFL9pslC60YZgO+p3OK3
Qrf6m1im2oI3KfuhW5++VYXvlWPIlVuF2QEV7eadl3IzGHvD/AEs2ZHXnf0sBpZtQpD3bFuZy0ed
dW/xtILUKlCLDgLbqoH3OxR/gsG56cQrKJw3xVj+hU3JAwOFx11Sok6AdxCbV7Wp1tHUJdswGONG
KARCusG27shZM8rupuTphnrMBqLM6Bl4EUUX7oHN/3UYfWbnE8I/3NOI9TVMXbMao00yWndX04BE
+49VVILST5TM4CwXzXmxXLfAhPrPqTQy0CRqZkN0z4HvWpOfzuRPT4lhFYVjtwd+vtu70wFSbNga
UBM872jSOKcmeVGfxql1nj77nIfP3hcj85oXZzqfmWZen+i8HLUcpn5CoNEJ3XuRWM7qXJ02F7T1
jbACW5rjPJJPpW4XVW2p5Uc3Z5+51I2MsVGguO2/x88nohatwb7Ocx41FOgELTB9L8oGaOBixNVn
WlW8E9LgG8b17BkCnGAy4tnHHz1GTYnZYyyqJwuPoG2Z+qhqHevu3XD9B9Prum88asKDD6LWJXKW
3TtT9XNt6d5DVGKr7dqVvSB7kYr3seblA+TMvGPtaMOC1lFO/Sltl92nITiZc6hSznZD2qB0zXJx
PxrqDdj7LADVXLWng/vV+p3Nza0W18/kk6bFx/+IBBrOvwKBluOZFmrHQFOKT3YlJ8oBi/fDsfXv
8TbQHKGtzm8ghsFvqAWGlV+tDOAlAenELdn/082UH2KswLc0LSF0VkNrPDM5iEuxkBRVvW9K5Bum
3tl+tZqBKsCNrI2/ZjeoxvUBuZynGQ7Xl3kOYrirgXOXWsZ09Wax0lcXnwXqK/kCaI1i6Q1msWGo
/VzOXNgysld8mB7oZjM8CAjMlYZ9oIMRaf0u04qVARmC2STsKke58+SSZnaGSvmvIZlEzSExlgxS
84jsFtF4EE3e40qZmnSIZRtvckN7VF3xy0T2MrQ2sW0k+wrvJWCoYHZ502jQE7eAhqMeHQYN5QLL
Am91KFarfuIp324EBKFuaLRudTCmUZ9BCQNqn1C6mRccZFptOEeFeDgWH2OTFadOZPJly9yoeEnx
uDvx0PzoeyVfrCaPdtAGH6HKgsGSmahm6iAiT92KffvzxWi5/7oWXR3BaMeyXQcVEfpVcZEsHRWN
gM/ee9wV6rlrPG3vmCjEIRXISsNrBbZhcnO2RZkP7QmIR/4ameUiFcQo09Yzb2ppGgisgzcawc4+
sK1QnQY9E6ffDUCQvtryqiqwaULkN/IRLaYDdXuK/trTyNWwGWEHD+a817Md2m8RauKKeNcji3Pb
TocCqRSUEAz6hrrgY67Wf/7+7OviLFN3mW0aqFh1fcvW/avfsl30TtJbyrp3Iv8+xTVxU4Fs8+BU
LZJcU6WymG7XdGgNfG9gIBGLKmXJCmKrxnPvthB7iLSfId5GPCOyoBoNXqrYKuJvWh16a7PTnX1n
J8ONm4F5y7NQ93mBY5vxZwRFsxhI+gLCp53hagRmc9242SY52177KcuMgK9m9iJmcgB8DRiAMOL5
wYsL3DsKDVrApuDPeZv8TBor/KkVTzG36s8GpO0g1UtHyKUUau1xbC7+/MViQ3B9ZRrMNfzp0vQh
hOk5V8VTIk7yoQII5t4pnzvO01u8HpT7JAZbf1Ig5JtWYxi4VeH9QIU9iLDxJYoofK7Lon3xBsT8
XD0FYhmogyAdQu9oJTri3GEOuvnUFu9ko8OFz9ws9bfWVt9CFF4gvwZtcNQYYzuhGc8o04i30nHq
DRJJ3kvbZYCGT/LgqKhe4LUkPOYgaz55kC8J8oz9BaEguUnTUZoLbrvj3ovUuGeyHPH2U5jd1pn6
ZKQDNq4eFHQbZClY/msKKOLKDGg+OLZZWOFuOS3k1qiFX/h9JFa4/FjgtW19yKvmtmSOdjJQhwj4
d8MS7B/ybgWEbZitqsxAiix0blzEYcG0JYBS8nu5BSiyDmaXfiwhlhihkITWIR+jDLd5oymcvmHg
pkD96o0edt2q4GOyMDxm3NCBBmYfCbq8wCrDen0ePvtQqyojfHJPHq7s1PWHJttXvbOjNclEB1HF
QDbqTqSvinLQUDSHk1/5kA0vNSpA6Q0oqCeXquuNXdOnn56rW1C+aWwUS1TRgSnItiOJLx/jKJQB
H3j7E6QwbpK1nyCLZYGtxdVBgqFfEwulA76IdKI+BKCHRM227D0ov4esgzYRsCthWTQ3E/niCrW/
cuEXqrmJUqZnGx/fxBbsnE9h3zTmXhs7doyN/dxTqfxMkvit9JMUlTxmj7QnH091AWrTsBuS+0SH
GpjPNB2lnHWKOJZdPEJnsVsIKMs8W04LwbDKVzea3TnrUQubTZub7FgxY9wOSOseIALs7Cx38HeF
kNmBO3zaZIifkdm1AQRe5P58QH4f7NJxNujAbvw9gsufy+25Ty0UsCABT02adDV8tlmgCMfL1LRa
boVcBOeh64UuXC+aF7Pm5vW084IXn3xunocuPu/5o16c5aLJ6e+lqRcnvHC4aNJa57OklUp+fVVn
48WpL2Ze/Fm//UDnlUF26+3+fHs13OvaVBPZABOPfAMH3F+vIXF4KGZtAmTyvQBVdNDWbeMA6prz
va1bT0XK9dNsw6053gylBAtlAmr5VROn+tLljrHMjaTfeSmKs1HmYolxYYMI+g7yv84pwZYrDw38
Xjr8SDRtAORjGqSD1Fhyx8IeTKIdCAW+7CzEnUZw7DjIpuKkRJ2TjiBgNibl9uxYFRk7hoxtwmw6
h4MS30CmJihsEMLDpZo/R1GClvTkM0jZ+SIDg/lzHPuAw7hD/YyIy6fPqiURfM+ZqC4rljbue4DD
+NU9DQyTDTKR2koj1ALAQMXSMiuoSlG2qq/iX3PIncjAz7ardVBMqa3IDz9Be9E5Wbly8my4KSXQ
6a0blkuAvfqbi4Psh7lLLkjKlUtrmkEuNFf1gPQFTWP8WsF3U6e/WIcm9tPaFxM7HWGpalo8rLVo
oflGViebEsFFEJqAmQTZnTDomQRHGjDAJw0xQhwGf2sBCUR2OpA9LiTesit9J0zNswIvzJOjYfg/
Y8NCwZNW8K2VmjroNiv9ViIafuvJhB1CrtZXduqGFv5EEMl3S5pAh2aaSq3INPB6p4cHvUdxKeR7
EpTcxiEIkONRgxapxJMTYN4gd3N0p0MG6S01aXxoN7OVmhdDyOJBXDsB+JCMPTfHQPYo4dSAsX+o
SwizgOFx2ANLbTx0XgcU6Aha4DpV2aJqoK1Q+2BqmPuOKBeNFXV3NLcfkDQsobUQlGUKcJIwq/+B
aXX/tYk0TRAE6wxvSJ5jevbViyfyACCYyTP7zh7HAQTOHdSajiRF64dNvTQBBUemHHQssjJtqADn
HGEkULGQrbOidQ78M0pR2IjJfOh2BmApO9IyJU3VhjEGjsLhgzRPyU4tVOqD3VIPY8gXKochEwgV
G9Ctg/fHAJnouuT9DwD7/6bymRl+iBvIm1gSqEWHmfXn3D/75Ih5g8EYbw+Jxu/UJFOYaNqtmZTp
nTH1IvRozLQb9qQ58clMdD6PTb3asuyN53K10FLHxz1K66GpXgGSmVV8VTnW8JjnrhngDth8l3Z5
VC0ypSDGhm5U0v0FgpUXlkORJ9SBWUIIpH3QjDBdq6HQjkZS8e2fb8bWdUG6aZqO5zmOP+3AdNe9
+l+CYAcFiU3Y3edOCxhHEA8halc6YxV6vIUGiHB3WeRX0DTNq5MomFoadiaefVsTge/XxafhtYsO
ckJRwMDmLIdk/B5L6QRmNTjfIgN5ZmPUf7gu5LF0j6MexPcZmGx5i9vO2DtH/HzqcpnmMa6KSO4t
RxZ4a3Yz5zg7QeOhA38o8o5a73+XibUSqZBvUcuwzedNuPdNrb4DhgrvIhpy40U6dMu5CKSa6CSQ
fxmOZby+qAth7vOfv0Vm/vuRZrkWw3YW/JA6Cjmv9rJ+NESqqqzkvuagTqtLMA637vAQygwVAXbU
nPy+HQ61UB+j03zYjsX+AuW4BG9Gxj8aL+IvRYiQe2jV6akvdX/rZHq4Hbyan3SvGJYOpIpfekzF
1+0HrlOybah7H5pttm9G7IMro4n9XVm55mvnr1tHtm+il/HO78p2RV6pGJ6a3hQIdJhQBzaxQc4G
Z7iNrBg5fKkrFOQkxTL3i/wxg7bsbVG093XvZ4+MD9lj6emrZtCie+o5QhdI8LJ2104ePm7JGxcZ
nSVN0JSEApGs72kxmuDaU20AyMMg7IP79oRR1m1Z3Wao6gOtBJsxxIQpNuIiX/bS0y8QwzSggUJt
muAlm3HE7c6x7fQebwbpfSr05YCnP4T+vCFalGl6xwXKF2hQtG16n0UQZtFN5GYQnoWL5vMwMFHN
ueHTMPk4boda19BP16xWY4QshQKYIvQm4Qz40OlMD0xJns/axbyOh1jLNowlCOMmHzrhqFfhHgQ8
r/OniVVT3NRZhSrYdrj7xaafpt7WKkrAHCqJN5HWBNG9YYe3xdQj0/nwO9s892sa6hTDg+OJ8MAS
XV9LR3MDLkz/KZHdwioK0AgOHtvpIABbNqM7vCYjwLwSNA435FbEoKqa7HGmsx00VHBJZMP+DP0l
YPCM8bVcbCxNrf9Oo+B3bpy1GyYpqBeKF5mYn4j2sPu8zVAOYMl2QeXQk50Bef87e9ZEv7WHLmRF
jK6Cakr2N+mvzhIIuETpaSb4BQ0Yii+7YirLwRtZMKaVv1WxJ1GWM/WJz1fLgLG1IM0129w4lkiX
V8kSddefUEXTXvOeHSH4KX9qmroF83j/mnEB/mi7AQi+9mIE9+xmnSel/hgNZhqAUxuBYtN8b5Pe
ffJFK4Mq7PyP3kuWQx1PEld1DNG6xP8e+djLqWxMHwWSkKsqlOZNo9dgAe7CYev7XnLiKEJZeog4
7TK3es1yFDBAGd458Ilak1pk8yKJivJeZ9gs/j3gZGaBTNQ0ZW6SJ/Uv1hlLKECNToG77JdjVaIQ
AxjWBadgZjzFNas6RIiTmnRocihTptJBGbRe5fGy1q0XEBg360Qpez+0nr1PSuHsqZtKKAciPvp3
n2sG+t3kNHt+zYlphIznYeo2doP0W/1WG7m/NaYgZKjsj7TK8hPFID8TEWYvCVJlJ98He83kYfYs
hg5WPSwpiMlSb1xi/6zNEU4P80FRlf2aPzpWjmTeUJxCmSI3fmM5EPvqEHZMINcTgXSBDpZuG9gs
ltGvfjqV7+WFhJHGiyvP88yr4fMALUHd87JKhuPiz08iBP6uY1fMA4p4ejsDb49uXkcFfbDYA/XG
u/s4iUpEOkoHlEdClD/AvrMsJ0WjgeWPTeb6L6pMxyVXtgbFTnODB1gEDgkcLK98lyDf2rnC/GUi
u12jxK82+3x5NSDaItojWfRwZfegBnWC3tdy8KHdQms0ib5isbkF8BXbPInCtRAsQ68Qpm/XPbDP
G+qm7vDiG7V/ZzHePuSufhv7VfnaxUALKpGpFXXLuGoCD7veW7ONuifcOhdkryF5tR/bFLSdo12+
lgMIItKicA40avNFgVfbl6aNW/Abx5uO4wLOl4k33POE881gjlANAreGfuBZd8tBCXmX+fzXoYXS
XuAYbb8tHSn8IDN6fwde5x/kMtti13r3qiIBk9HkkkI7dYvKuiYQ01rnBYXd3rilTLeGpz8mnQN4
dqw9JI5V3TRpIYB6Fe6bliBjW7ggW0GOe7xPuf2dmbH3FqGKcOmidHHfK9yOPFDslEq5b2Bzs9de
2KwBO+0X5+B5E4HtiiLmkUBYzzFUt6HueYCcabQDAmRDA1cLIDSaBRlPkH5GEHmXmOq2mcqC8R0b
x3biU6Hu3OoKB1VpulydbTRQT37UosMghmFrQkqoXqVgvX7ouSof8LYnd+EU7/faEay3Q9t3i0rP
zM3ct7Nu4eWQZyRvFLt0W5ndgZoSYnuoxwEntMuAJW3i/GBElb2du11jyWOFyAEIpicn6lPLDwUC
ml4JeTi3nPinp+HZMzZatS2LWAU+M7RVGIv+dbDdDQF7U2WY2Ah28X1Z8m6vuF4FnQ+2Hrxc4D/I
NfcWWgwGMjUIE0CrKfnhDWITC5TAAe9UbWqAaLf+kItnWakjOaguysCCAOHi88xEj/g3FFti/xlh
E9Sx+C+jrl/zToSvoegqkH7a7KFywYsJsGJ3wxqv2uleJHbIJ1o3VqbYqgE5zLfOBaWm3ZflW4J4
RNlh08H8x16Z40bG3NuhOGFptyp/rSIAXVVRjRuU8davKSBLtqe33zvEMJe6NLKDHlcG4M/Is1ZZ
+32QigU6CkUQ84i6BZ6/eE+b0NoNL2Jz6VkDv/Ur8ECjjmqfdMLPD4inNxXCATSW1GVkLhtruHM9
lDDZMThQoKWn+UAvJBnwK9pJQfH7ewdlzEXPzPa2NsH+X2eoskHk2/zuauNdHprao0Dl8q5TMl/b
mq+/u/yo2bX5nXuAfobNIkd5AOix8Lua9STcjkeryhR1EIOjpr2jEdFB/frdCSt+SOMa/l2eO1um
DMSe8fhd9Nh59FCi22DvqqaErVvvxybR6k89BqWrBprkRWukDWhhWuF8o3FsxODaOtldrbIoyICI
coYEgDFu2496rj4L4QlI2wnnEYD/YVFEXrqbB4HwWgFd6q+gduQ8GszLdnld9Qt/crYTTd6owcCT
Dj3XqtIHBzwXNJNMwIX++Uyej7s9raX/15lotQSUu/91ptlBACr89TdBcezTRj2qYI6+NguI6FrT
QUOJwtwKwQsLDt+pT4e5f3ZSqNG9cJfjoh3r5MJCsy68wF67mKnseGU/OqilWMlJZxpbG1QXptFz
U7rR/p92kTDtacAb2+/sNUhx96yI85VRRR+4RLUgdkpIonghVg21V9lgn+fXyXDkkx2UpZDCrpM3
kISNv7PHYzc81EB6z/4tti8GwFKA1euxFS0yvJMHiY7CkhZqyGCdMiOxNiwD8SDqG33bHts+x8ON
mhFJ8DSDQFG3LNZkY3kqfg0L5WARu0pAlZ5czpsHyJ0OFQurVQmVLdAbQNSHbLMPafTMZ8xU/B1S
8ulm/izkWSEGi5OhSnST1+HDDBHGk6mOUG9cEaCYbHQQE/z43L2wiWQT9Vq9y6AKBBLS91ryCns1
v371oNOlsElEOWxp3eLOJwOyW03GVp5Z8m2mV82rX7nYUSNa1jR1dwcE3ndkyptXaQJvGRpWuKZJ
ZadexTA6EGc2iwdjdE5FWyeo+2vyteRCHejg8X7c9vhJUC8uAeFK2wxVWwNUwVFOVMBAVlBuoe/1
7NdEMualDyK0TkuX8yQyeqyG4AKth6d4sbGRCBv7IPfEu6GM4mTXvYG0IUS7wFnBolUH+uOF0PMM
SqYYPh+whfOxV6sL6DzVVrSKZGcseVN04Pao7WjVI0G5kCAqXoYTHilF9cam9PKjB3yqtfIhPrxn
kASyVjSMInSUNWvX1k4U0SM50ARvcBHuyVSzChvf3uhu3d3rrvUXZCqGdyGiaqGPWnND5CdtXsll
D0Ts0om96jQO7ntpt9ozkPvJ3quh5ULdBrQQK8AMUQMJBc/nloHPIpQWKCYmZ1uJU+fn2f2oEv8J
2sz25EQL5pH9Tj1a0NZzZ0FdE7i+eUHqagVYBSGaHtCiZJoWlaiUvR+Gzn/KrVs68z8/Ze/jrY0W
vfqU1IUuLr/4lDpDASnKHeYFLWRAyyJ6+eenTGIVLtIk6yDfhe05z5uPPhVqTTt22uOTnVr/wzaU
11PP83HPhYCTbSNj4MsRZCaoaGuNEhUO7YCC3DGyDqIckNj/GtVEP6lRZlxbLqy8K95617F2ZR26
yzKtyjfeFn8BBouncTKOd7xABh5s029FK/wlXgzZjrpb3Bp/Te1Cjv3pNBXbgb/sVgx34EXrd+Ag
Lrb4Aoz9+aBQa7Qvys52VmTETxLCDdSMG11WUOr6298wAA0OG4RF9S5hYO6oF74GQkdIHwNhmgcS
od+DN2kOpTV+Bkfc/SESAB7/aB0JlKGWo59vhtytThZKlbZgocU1EUPBOgA6rz4VZVZuewGylXji
lBiUwIgc7GaLKrn0l5FmkzdHsTpuxjyYHWmJoXcVOC1iqPn2CG4VqXkv8qJ86dse1S9AoySO4ay4
bokdxIcu7FwBZQ3Yptg5k11hD4tN7/guJjv5t05S7gGB9QKiwW1QF5WYGtsRUe6ZGXfE7Q7ou4nf
5suFiHJZCsUFJhq8OQSo1oUEwRKM6saGe7Wz9LjhLfEu1Nw1MWvuQH9Q30x8jaGfmD5wixjwGiiA
IHmvbwWrwVWZGKJaujXUVZOhODaZzPCEmppd0YAoyUGOjmzWmGO4xNe6vPCMw/GI3LTa0rBUDqoS
p8nX3p0n2gUCwfkyygE9CWj8okmTaLohgXYYzR+W1tjAmY/jwlJju6WucscC6WVbD6ibSwcZCO/d
ce3m4cofb9P2N71zf/kjB50sUORXIjulnDbaCX9Upyi1NFBlxyfJfHUiEx08C8U1Huo+g7ONXJTp
AMwLdrglDZyn4e4YBrhs/fXZlk2LDrnx1IIrd39eqRmkfjLBpwLp+Oj2vFCVON4xQWj8bKJW5DIB
CXj2eV6a7LaDuKYyqmZBXZUA4Q+lOdyOx8Ee51VohE7Iugmy2Fjtlmy0Fn3CYkx2Lth/j+flPT3T
bmPsvr6+FvIUDlizEmu8+KZoaQ1iTxtkIhUYYsDVoFeRv+eZACgZhYXfHWXsuj6BmiiozBZtHanP
pNCSgGmAwBgutLNdAH/vYg+FiH2tgXURuYdjbTblOjaRLJFeXy5kmag3vWUPZT32EfK4ASp/E5AQ
OYDR8MJ5BTPBCJSEYd93XJprp3chAV10kC0bimajAY56N1Rpssyx1TIKa9hkHcSVLLPnRkDNesg2
ji/k4cKWTj4j2NH1IrcO5FZNFGRkR9i7WOsQCsGuUi18D1TYSCCNQVbU2psh7PdwaIwPxeu9dEcV
BQhEIP5UWlATj/5qgOUAmVIX70MQ1H+EXf7uY+P23oDmEdVvsXlbgXNAn8g9XC0vgKZM2qAhag4y
phRuN/RbLVXl3i3BIWJPh1bq9v/KDRrX4ScLFeaWZeBnZJrsX4kQx44jZblpc++V2hMx/hOjfz0x
/FNLJBEH//VoI50wlfmA6uVw9vud7TzXt9LqEGYoW5OfFQCuT4NXhTdfvW7qaWn2WSKoN49Nvayq
RwjENjjtlJQ0gbZfIv/P1nPKMtfbI9DpH4rUHcBBsZWtwU4WFFQWjZHpKwcic94xGkt3VU8f/gLm
eQZ4zsbEiHQwlhfaiodOC10cLb2Je9e+V5b8hASHcQ8V4DTA205xHBFjWTWsj586E4+fpsYjNn5v
U03/WWRtEfASVEq6VSXrmpvhIcoy738EC51/Jf+sKV8FtVnbsH3D8a6yVuAlSrhWd8V9DfoAH29x
ua5/qzvjPeYq++Ce/qba3ni08Xds+rzjWyOL+8c/OWDvwG9HnZXHvEclE2BgLX6YeLCSKjU9LpnV
oJw49Zr12VYCHbUryvYuc1AVl2cSpC8JZ085WMmDDGzWKKw3zbl7HgWfnBMAazSF45o7TTsOlsYf
EuRjHzzPDHdZbBegr0CXBkJLOUvkQNnqbNN6+YM1ZXkgU9hUESokFkgRIBDu5zay10PigFkSrVBX
MLZf/fNwVTcPcR6jkhACR4c/B3Qt9i8wog0UouOAet1yfYi7X/2T4sbi3FBld5fqiNKaE29T0QLf
FsoSbKutnnpAXSXbuGH4IZUtFAvPw6FQMQPOoDaOCF0sITQL6vu66JcD17tvce+Ih9F4Q8yq+9aG
efetwTe5sKu021LXMAb7YNY+2MWmUQdqIN9ANA3i4di/oVmpLLw1r/VnJJp4QCaZZ9mDab9Sh84z
1sPlqjEerUthgIUoFrhQZNOUTVBjY3UECrU6UotPI36WPnA7DTfUm/1oCvXJz+2Ldxl3Fe6y2rgu
BKg5C0Ru3kxmAQEt6hdkE9t9nekj8l6e8RZp44dtVOKelXF5GhWCE1bfGm986NmigvbLAbwc4ill
+ZbWoWV11GNtwu7Jzfe9mWpqzRXUOEZu5UdNQy6sEt2uBt+dcUM2OuTY4OFJMBF/TM7zPBqhyblk
Wh1Ms/PUbyGUPC1b8NzdKheCzqMYIGaLWOEomzZAeE2706rWPsgI/0Ua8LIfkUIpm5nU8ZrlNtv5
FmfffjOxNph9sMcG0f+C9e9+/+EnfmCXKrmlOrVykuUAeM/f9i6Kq861azQA5mrw0gr8Wq8G/rkI
DTp+G14vUjE7PUgvfWfYqA0oWX9pFaoV8TKNgNb0cjzZu8neT3bvH/azP3C2F/5mb+kvhUKSR3OF
thKdP69z9qf1ncyK8bEz5NVtu8iWkZVvcE8YQZiHu+KaiJW8r5HY6scdkSalTQeq55YhlB4drdgr
XuohHteDYOYuj4v4/yi7ku3IcST5L3Mevsed4GEujH3VLqX6wpdbcV/AFeDXj8GpFFXq7KrqCx7c
4QBDoQgGATc3uy8iqw0S4RTf3yN8D2W7FBHiIOe+NCBPQhHgETzjVPEv1qisdB2J/JyGvnegWyRq
19ob6hWifEa1lncYDW2IN8rMVZgYR1AnvYd88NFN9X1apeVg2WPYiW9CPEdBT8dx4mw9q2hCErpe
pygy20SksplrvLjh9j0xLJGoZp+I4jZUYbEKyzvhXEC7F2HF1JeA7nbyKiu/0x546UZ7cF742F1N
tXZkf25s5l2A+m13i98ugWoFUWIELhrwShxdnoPitj3GDRg1AqJgJjx+qHhcXKJ7JifZ1GPVZZSD
e4HIW2gZ2bWZHOua4lkPTHZ+ZK89s8nW5KQGGGaMQGnLGZrsGqVgwSM/ctcgxVMTcmvYD32Cq7+n
4WlPbkjLQWIUOIsmmPvkLhytAHBh9DZ/vYeXNYh7mwFkJrGRq4pL2fTrydJdpK4T7oAKFzbXBkj5
mqEWoLQIpOWQBAEZyCCCiWlsY2YVRPjIpqFByuZCPdwL+xPzxSqhURoAK//bKJmoB71v3BDQ+gxw
yUR98VVTWoOq6A5HfYV6wHBNTsutkutQ+2jSYMRjIu7/Th4kKR69VgAKg2cWp2eklGVMdgkWgqrb
kakDtXYy8RUMYqhL3YfWJQzzrgFZIMhUlgaH83xdhk62irT34S7vQLjCJ+w2KZLsuTfZao2yeNSG
qNn5IBI9SoBXjApn7B7EnSLrrMvOxPNGApAkdXGYV60rbkwrEyrwKCldxpvKMs8cNUdBHQ765sM4
QN2/5ld5cu/Fstx/GKaJH2xkIYMRLP2n3KGqVXUJUKyY84uhK0LlsT9Gvo2s6/vS86scQMm980b3
9dMMMmv6Q5DQjDZm2UQr2QLpZ1muGUBCwbihxtL78JI2dtCJ2pxd5M88MzrwAnudZaBRIW7XVpup
Am0E0yfbBR4PTq/0URUiB8C21cqoFuXBXz+9eP9W4+My3bcs2zFd19aNz/VmInczswWS6BaERqhc
hnjvjQXA13502IiNpAvRtXLy15ndps+FD3BHjqqJnxGkSlHE9occ+hdsNaIvphHl67HHHTCy4myV
Z0gN2bLLL6liGRYWJBJa/1kXrLv2wsOXUrmd0U5RIiqrLZk0Kfn5xobcHrjaQEiPn7ok924btWV4
t2gsHsDcrsYqZsRbPFShwguZihtq/NZ8xWPBcEisyj2GXSFOOG6GzgKoeZCz6aF+4oJJNTO69EdV
/UStY/3NELYPnZxaXpPJl6gKtuQG+FvtBZ/n8+Cz9IcWNQA9au5jb8lH6caluEPR7nhwDAki4wRQ
u5AVBmq5Jv3sl75+/mSCf3P6G4Sg+XmTYLsew96AWS7wNrZJBKffv96j2Lj9v/8x/jc0BD7ieK54
FCC3gCCAcY7HEWot1ii2vT+h4Fsk/FXvrE1U6saT28v8DN26caUNCPMUFCkH5uwifd0CX5Nxdurp
4InC5N/0qMGzrEAdtCes9WAP5lNhn8Gm3b4C43BEGqV+8kUyHvPShcreZLC/+Xwa5uf9KnZAKPOB
LBrY0Qzf0j/Rs0Jp3o2qsI8evbrZWH3y2DMrAfFU2T1EurXHIan30oOg7mj2NhBDENh9iUCvve4g
4HOk0YQlh6SR/EG0KPjUQXhAUc3UTXsZgs3wsQfD4W1rTcU5csp+rSd6/M3ypqAqbPvVqyK+Ralk
exARqkG0hD9TQKXjiMSCZOQtlEiKdZdDtaMWGTYwRXVvMbe8b/M42nuVXq0WHw4W0pWrD/WeQmhA
DunKt4381szjZhd7rQGhWRSXQBLkOwVUeSnBJFQZgQ9tpLPPeGJuAXgQW/DRxwFuSGMXgELuBYTn
AFWVzH0FG+kGj71IgekQEvFMSMw5jWTPrg7qI+UvB3vaML/rD6Jw8iOPBahIxDFTX0w5VSk+DjhM
IdMzmnLryzrfEf03j1oQrbrg74LkoPuM2g0HP9AvEtVFJxN/bCiybyiIi+pNbAHrHSoG5MQNv49+
VmIb1t4mBrgtHTDvBXWd6Y/tpLH1UMnmpkHl806LPf/YT8l0inBMsPOKpLg1Mu0UmcABRQ1Pz6Nc
97oznHu3Hc/UQw3pW498YC/A0bltQqbALzqwbkDZ4a/vmzbhbhUNKqSDfvzf/9jY6zF85VSxro4b
57/hcluRd7KqivgRMI/iVOaOefGsfl+TaCCZMgVvahxCIzAsU+tStN2+EEV7l6Fi6iaKqhUqEYbb
qmBiU1X2cBtl+J9Rj3wfRlsXsp/NwFadWfgPedVtbIWsgjSJPE8S+DVTmS24uXYtIMhbGu1bWa+4
B3pWGpV6fyoKu7hHOS8ABBIo6LAwjm1iGtfGduOHPBuzfV31w8q1+vghbkp5djn7FvIyyAe9eAr7
xr3LjeiMBIr2nOl1fM40xwvIzJ2235ngn9yQ2SBdhNKnZDqQGSfjT15qNjQOMFWtCJUhdpzrSsca
57l3NdCj3aEKFS9q3W/oFwH412zFnImdXPqEje0KYPXiaZSJd9M17leKckWL3bWa5BhdMEHRsju0
3mhnF4BXHkobzMtRCDpsSLLyI/ZREFA0zOqLga+/JRswv+kmQE44zYRIm1d/qSaAsvRwbLc6G1BG
7GBvckK5qnMyhgQHDO1U1SD4Akl5aPhFvF7Gq9L4bqY1wPSGPzSnLnJ20H5DKbr6r/uJ19x5Gftq
FB40uN5doXC+ovgdj9fE9FZq5mzSJAp7d0lho5ABZyoZ+EgYmMLrQR5qKMOiiBFXoOApKkHzIQsQ
fKkLVkC7b3uQuUFOs4JCDRt++JrDA9lm0ZMOtBOE8PLm0kdxf0QGTeygCVTeNWEsoeqasNesz6+s
qI0/QM0AAFZcfs8KFE54hRZCyAbHaDb2OcAWifxU4ja9nQCcuHc8DngMPr9fc+4cstT2XmK3POK/
bF/iLncufe2hp0yhl16AfbS/IZ8bAWoeidHAAzPbuJNlfHFFynEunlqKWXy8F3/UIXLp0K1yfoCd
czVZo/u14Y4JLjtb3FhxkRzx4iB1jxz7I8WWccoD7pngIRzt5qyrpm5Y3wWD1uM4AzejJtXTHVlz
yARUw1hGmbgLGaR+QW1sbkVh9Wv6ptD3w+yKld5wdgueG37X0ecNKl3T21YN9BubcMqHy7JX0yy/
2YLoYFzRro3Lazo61qYHquAl5hBqUh9GO8PeyvS1CkI3tThobc1Qr2FW5Y5FvNnO13GcRD94QwbN
sgiELh3oa9cRz6f7Ark9W+OP9Eud2681KxYDjGX8kR6cEEYjEFtuz25RqC9M4nv/8rV7sMpBA6CN
IbAkJv6HbWODPYGmyPfKZ6fo+69OA6B2mKX5ax4+9+bZ6iZ35fOs3rshCMtE0YRbgyNm7NPpuTKS
fl05hnkzThLHk6WVHSEEnFyQC2CbZAi7h75CUREU5JKvLY7G1aerHvLsrlbHi3FegNb1lyX17FgV
vg4VqAm/DurU0gSb54aFUbxOlGmpHOAyMLE8XuP3BBnDQe3Yl2gKpCk5iASSlIvNiCzgEVKaIDFX
vYgPzXpSfM90DFEokueFsXk+lej1k5tBSZj8LDfLFf5AO9BG3NKHfowOY+Tpr3/4bJxehT4mB5MX
40aLa+M1y/ndZFXJQ8sS/QImbdB0qeC8ieKVIytxwcFY/oAbA3QcEQ8Rc7FheZ0FXhY5ALwjBRKb
cb2aJpA8tOJZc0r3R9xCqMrgUfQACLa5GwZZHVzstcpK705aaueQgIq8S5QC4UY98o3Klygf9ciX
MIiEot7j7h/E/vWa2sg/XpHW01LtuShiFIMo5nA3keNNAlHc2VK84HbMzX1WQpOXfNSAxjBeG4qe
a/Hh3PjWUtLVqKVA5UuZ1KAGR/ZFoIwnxDZxD6BxtDcza3osOv+1HaF1+rcBOQCr4L4J3NJMf+DE
9hBz5KTAFQmMkeFlZ7Mqwose8XIt07T7qkHqe9CK9IfXIJc54SnrrqxGEH6NKLoQRZU8+gXoRlor
tm+6UHcCo+kcbDyQrUyKsnoq48jC7dLODmTquXDXOVgNd0hW1E9FHqa4eefRlkbtwp12DpRg1zTq
hhAHG3CIuyoTMGJVhRsim4qfwhrP1PjOCYmEvKi+QQ4gGMLC/QFNbJQOhJn7UAGruxPgIz5QrJ9B
NsIDVvdTbA1I+gNXsYOK9X3u/Q1Pgvt5D4rjc8uBkqJjMOb6jv6pmr/vjET34958mH/bkM3e1ZBr
3epOHz9ywA0CyJFkP2X6HQVkzXeoy+ANL+3qTmSA6AMsggouLvhdyrt05fVe9501/5qnoOQFWqSZ
9uAUHQgThNMeLfx0XG02Zeuka9J/saHdU6wmyxuJL+03kUCSjTWseTCE4exBdbDPDANKPaBM18Gv
/xXaUo+DYZSPYY2aHh/bxA35Teg250b5dexljF/Ccjj0vncGe318GkNhb0AZm95qdvPWQ9bK3oyR
ltyWmW1vpOpF4WtlWoBjdGa6ITZGfHb7oAGXAVKHjv1oFi30GhP5JRlxukphU6z3f/N46/95T+kY
PqqloLClY2tp6diCfao6M5FGhlJRhXIYgPeRsnePqKNxj9Qz3nuLr8NLiFAGsP9d7BK2zP+vfABX
I20AHZNIlRLO2s2+qhgkmxSW+zR/lGUXbj/5KYJ88zSyZ31m6i7jtMys2awWGzI9hNLHr4vkJBg9
izn30TfHT7sO7OGlHq1LJMeP9Z+bDE8Mx7FlANGoga6dHOyZ3mNoBEw37kF0T4v70ywaIB/1gGqG
XPNi/8d5SwgDFUuQdkJu6SA1Y1m7SUF5vKpEhHNWl6Oe0AMvSdkUf8NprqoU/5RpdrAvgvK761k4
mzANV/9M0mGLyWSV3Xi3pWHhOFesy8EpfqRlGOGZPuJgU8+dPZSts70IneredIHTBk0G7lG4uRW8
+CGnASTS9oUAolGXYtfQ9PptgbFrEsYxcARAjoIiBSCjPH0byDUIItFAXGMgNsPxFqmCqUXCtsj0
AzgEW9AbFq2OdEvl3Tpi8m7ttmT7uAHXxeLjTaddEjltgH7vtYDioKy5tc3cupBFjQe5uMCU3EC5
Qejd0vwchFibKe7ZmkIsdQmr17z5EuSjuMEb7iJFrj/lxjbTDPYQRbF26zcxINLCehkyw9uPGjge
yEy1eIIktwiPZP77JFS3dUGZs+8LrTdkaKWXObeoxMzPlTd8gWAQ4M2gfMTxLI5/OJ7N1twGhhZF
Ct6XjK9GVPG9SnDAgdZEJBs6PEL5/XdgjvzbKiwKJHIr1OqpQyWarcjqQKhh2evG5/JSORqAqmWd
Pll44AwKF5DrEQqH4Ayz/2CNf+d2Wfo6GRoYrQvDvoVksL0beFEcexa9Tce559v0yWvu06y4xCUy
NGD1uzN0P7oTiZc/pZkBZXu4k26QF+SfmmDe+FqJs+MTuE1otPEiGwoaqLKm0S7s7iy1xvBrDaCA
gjAZfdQrOy44gaxeXw/GAHyk4jrCsxhKHAruVdeR1/jQ2DxaO0BX7GZBd9RKgdIVOidKgBzajcWj
AOAyENLqzq3VozoTxZcom8jLLYXkOCo/FbhVQZwYweAg6x5MbG6UQfE8qnA6jNr2Q5hGg/bQ2mzc
9qnI5nM8bwBPt98CO81z72xqZbmif4XnRPkKapjaeZzG6RF/yYH+waBKiXaKOWFHp4Jquq0P9jWu
xJHqR6jEpElVpgkQivVScRKHSQlBvxd6GyjA4ozP78pciEJsT6y036aODXhX3KkdDpqTCZCOoDHt
uDzyqTj0bv/mIv+ozCxO8H67HaiJbJzto9xp2tEbYZTFgCQgqkroLWkaLb6zQU1KFkXYobjTmeiu
ZNH0IvHlPL0Y+uHQYDsR+GzYTMw/Fn01PPhQK7/JOATNeGzJL7UGpAHQ4PneUQWYkJg8lTXrHyqU
pdzEPIREn51NXwoIUf7HsIjHoKRQ0xu1GrYbuQxDfJJiKyq2FUoCT07POVulYQ0+G32Mauh+o/vZ
bu0krgOaMHfxaPGU9dKaF5l9NDOrB2icUvfDJLLdEtyJLmhPpeNeJheyUWA4YluvQw7OUQ31zBpi
SG5XsaMwst3ihwAEVG87GXWrog3TDcUhZ41cDM1DlYi4WCohgdWFl8BPIWTbYLRa98jpAJuBLeE6
yeIKml1C7MKw+LFo/fAER0TgSAcpunr0p4Gx18uAt2Z2JB81rdhZRT7czUYYpqf/tE4f/eimsHnx
zAnfc003Thmrm+cWLAQAH/BXBTHbZ74oto4ycc58Y3da8gCum/I6lmAkG6VXvy7TGZ4SHyDWtov6
8meReRJIf8hC19EIaLwsMghSm0itLjb1KEbNgBTotKU48meG6wbgdZfr0UR2IdPC8IF6Xd1oc695
79VxFh+m0AUhbpSVYD9r+Q5PKNYLPjg70hd2fdNcoepFv4h6Ytd+mnIQFeO82uH22erbDDhuVswz
ITxhvcTZoxAgalSv/tPfsZg0ako32QuwBeVTbR4BVTePfgJO3lXVlHjwyDNkDqchTHA2h/HZ6YQ2
hijWUJDh2X6b8L4Ms1KwI4vuB/FIEmllg6x9YKai3S7cksRO+cns4/TW9qCHraFCRfRgkqOmBXve
3COzN9vq4Mnh8sn/KdZWdUUxChu3qLT6OJ81rb13+NDdjq2sVpkzWhALysJHqw13dBvt+rDYsaYP
t3S39UsTmGC3f4QYVXopoAM634WX6Yk3ho8odtrF4deSGeKeMG8engu0On9qVTbrl0FIORgZYGZP
v8KAwvoiarYBdASl/DZ7zj1Z3BlApdzjGEBCBxdkU2RSU2uyWbEuD1Wut7snHyYJF8cbgFUjLzfa
4WqoE5z8p/FzpY/xA6qSsnNCfs/EUXludesIT/FQlQBa5txAxL7FPVDgnDeM6nVkRvVKU6YuE4U3
Yzc1hZCP4uw2x5TFLsyXEBvgE3lo0Xk5tfwn33w1MHGiChr00sGEGvk98iTyRE2TTaBuXGyTqBwX
WzPkW6QElHObuNNPGlz88wp+WK1wLP0VuVnI+ZZ9dz90SXcvUdkR+KlTHcnsda+6tVFyTBY1EMjj
u0+zLLf9VxYDg68HI37IAdXIkmznIlm2kQI7bl4mmXM1rHGbaGI8al3TySMy8BvwZdZ3qVuyB1W0
gvSK9fRumYNrzhbUZvAXf7SWsf9uXtVzHVknDWRAupl88aBVHFvDS5caxSWPwXZC7hbY+g3qB6BZ
r6Kcyb+Hem1/h53TcO9m3YWi8NDK9rrTaUjCIAqclAmQAnGDTMy8tK3Xw4uthW9Lo5wxfzA1KU7S
LbrrqBoo3ofgtICSfR5x3cCTufolH1h7rSCrx42oOiihWnPnd0hvNV56oYg5OIzy/iR9f1tOQJev
57l88nDYbiSQN451E/hlAVEWQzNXeT8ZuIBam65fgvRovvR8hfcLUkgxNsAzckvb4bFvF0WRiwO6
Irnj8fjggAYARc/M3/tG6Kyl0dovozXoqxoqf0coyFovNQjJaRLUsZO7cjBBT//Fxb5gb3Te3mMo
08d/VLLTgI333OAb4yPTPE2oSlXOiLouN88AvFRvc5bwz2vMdhnG/spOhAB7FNagNaln5QVg0sv0
ZeT9Vc0XXEKoNy9L3Xm8GbzupKNg08+vfmhru4VdNVHUBMTD+slHA5987/O5YlCgCGoA/76PWAqO
e8+ybpmo6xWIVKIdmSbQLbdV5FZIjgKbSj5qjFSWF99P9sjygcOafBEzD6ZZsLPw8CEM/Cp/W4pW
4QYqQCT4LBy/srZ9DJ66IYrTu4HzBNXlRFXAgCI1DFDFqMYvXPsEpMAcQX4l43W1c7zZahI15E+S
73yKnJvFPSTa2R59cV5ctQ7tZwAJUSOilqcB2ZcgBUzjerdcV6+5s4YobLUBBQWPVpZ6vc4EzMyy
Fr1efOvaYPFlY+qc0sS9W/6sofJQqtehfDLtXsJ6zF/NHqV5ZmwhQalMt69XejxOz0Zd2acO+K4V
U/6661iArJC4ONhnPNZYgvzZ1GU7DurCLU2P6xF6AbX3gEIiDxsx1w7Ijzpdd2VH9niohzDQLDHe
aDhOvEEtdrMCIVexDUcG3/tABybpwBi4tqMBpkapV4/Wk1NClHyJJX/iIi8CIcHzJz9UU0FB6F8X
dzQl/aW3lTIuXsZ8XfVacEuJTj7vrqYw+4tpgbsH1BLQHGg/NuTzWPLmY9a6L0f79LvQ6jczmQSi
omd8uyy7hKFS22g/X3VEPmTXxNPrp0t8MiXNpVULpMTWEBV2gUbFaxdTy44xim+EDWYbIHrToI91
cUsN0bVM4C9o80peF7/eoIQfhbYTvhiIJXKWDGnfz/MLG5keMA+WED0x3HMMnBlKZWQWbUcj74NI
SlBEmWbjnsGJ99aIqOADMPPGQYCb4UADNHuOnu2BowCsG7+RMI82+dY9zinIiMHY+dA2TrMxUTG0
IV8rahv8aXMAecp+gviWqekbirdxT77nKCVX2j+1DhbDPMq6oOoERGJZmO0TAb44W29y3M9QxMKN
Fk+/gFBA1BVNoeL41CCBP2r1lnytCwwj9mmYHKnJUB+EjdPUBDoNJnb5QQv0pR0W2WlpzD+bNOCH
Q3birful76N2u7iWWUbooxxFhS0+6v3H5WjGEkxz4w5all4P3Girl3jiGSCyCBarYdd7oObBrgH4
hEED1QTEEspV6bTNXVvazR1YXd98ZNIA+bpmCwqtfZN4l0mfwqOhmiq0IIpFXWoskUGoIbF4eJy7
y9AcWnqRi02fZG8LfIiSU9/s1PI0B3dxc9/r7bZwbBSr4TcVn1rHOgPohYM36tZJAu4cnmh3eA6v
wUuTAKPEQLgXzF0VHkkQnLhIlB5TiGU5Q47RFHuQrTni+IFq8ajpYgYB3p7tG9NFyR75qG6PKvr+
HEJ+cnlQDdwZiXvvazE2QXIykE3nBvjkYVKvUib1fmf+g2mWKIwCXCzjSx9WD0NpGfsOm7UrY6O2
bgy9fgLKD/cRqCZ+N60GvxogzQuGtABFhBTfNAZcq3QG43F0vGpj9BCk8PuihkBny/ZSK0HAqFZC
MWb9BOVcEGvmFeTpB/y4QOHMPtedeGtAVWFuktaTAflo1APYrV6TXarADiw3QSNzZ6trBv5PburZ
wOtwVq9Fr9ScQL9GFg3QEqKtEwT+efHZqeleswcaiFs6sBWmvu7qSD/HRTSctPaPskSFQEAuavSu
SiHIEW8NDTfsJKz1M/nnuEzZ4BDDlBgZdB+8cEfyOdDKTY4UmeEYJcToIVu5dtMfky7G3heF7eMR
m3FwiDhl1+3bKBqPQKeEFqTZpApQY//mJUc/9Z5xooBlmSV+hPS4saJI6J1kK8mQ0e7tsgV3i9/M
zTCa125CFecnP5k5jqFKyIFflnjyO07anZndrz75yYTqOVJUiXU/Wy2EmqvBhjbWCo/45SXWpk6A
ZxlIroNWyeGEyrwbYB/HXZjWw4mphnpWgzr4LUAX/UebxqEedtP2KCh09KQOQcCKORRIC0ZIf4ar
ZSEacYfKh/LQr4l+DuqhgGLmLs2kSGZ4IP3y8m7+BQg77FlRxn+ln4Kpj5v95I4gXrEqwJnU74dj
a6fWksVqDJ12E0b9AMrLIttpknOAxOLhIY/r6V7i81m4OC8kT45HxMRuwQGjzDAJ0zPQ8D/IAmwG
YTVHuh0PSbMFDO+8IJk4+xcnFEJ+GUKIUgLGFIM/AGSuTgm6Vks1ZFIzRmAfYSpEoIxwXM8jio6V
RkSG52FJvK7LEsvEZe1ldLnAsoIQ6lYwr61eCcVIdellhUw3vojOMnbEGsREAqpDPGUtjECfCIKI
PohiYwGiXhW7uGgWmdSjMDLfY8lPS2b42h3fjlDdHqI2VdI+4tQHOMaJxQDihP5J2GH94Hn1Y0nE
Ie/+ypD1g4r3TAfMMCJGfaiLhLw7VauutndNiy0MlurAo4aePWY9PtKaWQeLTb3ZSePLHDInaXGw
nOvgdnhfjAZcIay3dWo1QsOzc7HJSeGZJYw908z5NS3+zy+HXu28jCPwrdB9y0YZYGpwA33IdBFr
P/H6k0kNcHSrUOf6YXFR74M0ANltavHTrAyw2MucRS1ALdj2o7vS9C8abuzPvvQ3hV46r94QWluu
FcaOzAQ6nkVlWy+tVkRHpwMTAfmlmT9PeA69b/U0uuL9YQH5y7ICoQpEKC/MM8z7uIoeTSd1Xz0G
gESrfitGw7gysBhd6ykyrkmn/6idcthHuA96wFuXxtGCrrerImZf79odKodLid2/q5sQ9/y1Qroy
wnh6C7NLU99MroYzMzUXR4fIYVG3Q51AkxriWIw4jwvoukDbSYig9t8nRTnc6x0YP5En886D5iSn
BEIoJ5mZNTiI3m1ylmmFp0/qUkPDcyTZ2FHwVZpIBf/4p2ssC1kRTtYsHeD5Mge1x6TJIMOp2AbA
t2oFdEgIYZERVR6ua76OJR7Zwla3LlnmWxLUArF+SiBIRxF8quwL9SiEeoMs3pYik5qyvkvMZ6rE
7Ib2Wscyv1DlZt2a8Q1qjzY0Rg3Hr9e+lKDyXHyt7N1VF8fxbvH9eSEoyYwXo3R3QLyBYSxD6goA
5tM4+NnJHZC7WVG310JZBdSlcdY32WnyAZ1zZOGvZeHoOMgbPzb/lQ8Jibe5NK07Shnit/99xX+w
WA3ZxAKwM7wIWg1U6Ue3KYdL53X9tooTlIxloXvXhX0fJKqcl7cZ+K6c8aWoyn7rhroJji4D518m
tNzBMx0fkzYaHrMwLLcRJNM3SePArKIEtcdcBDSqg37ozvfTjQAHzCM1UOc4IOuQ3lK8bjSAmpnY
S9Ogg8eEebU287tDVIRgnis7kD55IEY4TRq0mqm3mAAQ9NBMTpIN+UzPbE+6asoeHJo8ubTSya/U
uJBwRQ79vmYdcnPkatI8wK7VPc++IWsOKHWxjr5V4+mOlSjE8ozkRHIpH/RRhLZTnDdH8ldK9moZ
jEsG5YbWN1YJ6EGj3ou/tZmE1nzUljcsF/xSoohuhftl8g1MV5uyHfIvfVnid9rNILTBcPwaZ/JK
AV6CDRHNDIHkTXydX2rFElANUCpux/wrnkWrayzj6ipVz7MqeXhLBQP942hB14M0H/zX4HVS/40z
Hv1BwARtlP7s59LfTXb2QJaWwNURa9SHwFGyehVZ07D+MBR2gu/TKr2vVCKamjQCUFO0jruj5PQy
QL3BaH4y1mT72VLUgvMsPa+vVut97bSsnwdT5XLARQ6JZ6TuW1dK/Gim/rF0vPZxcCxPSVm4G8mH
9hGQezA6J7EMaDSHOMsdbjUrGedTtwIG88pqM70Jy6p7tF0uVpbw2J5idScfdhyY4zWSkjhz4fEh
AiyXB1MbmyfSdP9sx42XH3DwD054CP0scRO4vd8U4WnE9muwRLhZfA4rPcPvajdUj2bGVcVIGa9U
SdtlaQoQ2Mxmj8PWE7hF54jF/zl2AKvdkNm7wsbH4Xdh/+BadoeMJNiGoO8+OSKwJ55sFomi38ob
LXJHn4a5WsFUK9CAVtPbCEop4AsFNLATvXnJkM4As6jr+ee2HaA+UzrI+LfFBso5NkTdpzw8z11Q
5YRnsjMDsqda4h99hifnNU1+C2fTTyjXZ7vZpBXnYTWZegaLrRWPeLWmBb3QqM86uHt8c6wCVO5k
pw7brgo8aLhZm72TnshpqBFJQeSk4dyZfhpV5qmKH9z+f7vEh9XmLsUm4Lpfo54530Lm/JlKXXhs
+iiR5sU57krtvm7b50xVJA+F+K3/N/G0TvW+Tm5NzYGDoRMc22KtMg5PKDVykEsa18RJ/24RJ30h
p3mMOOnJ+vM8ICc+rbLMU2P5TmuiabnGckU1usSq6y/W+xi9Gg9AkcEswdAf13xtZVofpC33QpTm
8eLUq8ZwyjTddhIiVUKfihP1WJ87KB14D/JKIUGkMF1cGvBaUGcES7gOSiOUyYpqzbqxvVTW0G8z
YAqA6i7aC/moJ1q3vVCvlVFz0hpsBNUEVzXU83guxTxN59PJggbdYfYtq1CviUAZW5QooPw0sFyD
XoZX+Ejbq5exDNAMuub7y2h8UMYNdY/SpUm3j0brcH1PXYu6fu/bkCDo6jcvDbmDlgBt5jT20csF
oGrUdSa9Ad8nqBNWomJiRVNZozmQ5FOrzAvqzMgCVNQ6oF2Jy9uBZcW+aCQoy2XNIDOlnKj6BXWf
BgYcEHHdkgu347c4Mqmh0bgBLQMz49PipzV91mNNoy3n+TSqYgtk2U7hhKuQC/vDX9dXseEweQwy
Qm9xy3y39vO94RhDQFddBt5jF/+yZoYb9sZUkrBaYGZmsxmpUh783fgAlF69GeZC+lCdDHywpUqb
iDxcAzaywZ8jT3bSyxP1ZlNMkFZdRjQDrFwGb3E7UhzXGVfE16oh83c+Chlt+TRzaL/HfppKJs2n
5bLI7XfgUPP79JDVUR5ooBrD3su9sLKJAbmJPzYffKMfHWKLzRF2OkGIEDq5uDfj2+lYzkNVVPot
mI83VL1NDTOrLGiS0jzNvnGAYCIeUVDBDPkOjcTGUZfJmVao+vXmgsSiCQlaQMNNVV2SPQDsG35b
xusakstv5DIy1Oz1GJfVTQnd4p0rmv7MzLQ5JFkTHv6ftGvrchNntr+ItUCAgFfju9vtvqaTvLCS
TIJA3O/w689W0Wk8nsx3vnXOw2hJpZLwpG0QVbX3djvNPBlxY+1GA6TLHRiON7mX94+sY6gNyFLn
RUQuyD3dvvucWzICS0zcfh87ed+MPfvVQIicOcOAusP+E9eUOLUepkej14cfpTZ8112n/xKFCKZn
4LUApaDj+QKf4UkUY7NZPhaq/hQdkFPOHwsM9mDOtJL3jwWCdBfFhwwYJnA1HVJZ8SfLUFj6nt1B
apE/NZHJn0olMmkUQDQmKW7bdhyyxzR+oTnyihEf2UiQ1m3IgSascliDNTZ+II8QSKm9ZuW1Txch
m7D7V1YDFEP+OMu6x8lBLQPtQR4tEHIrPkAemYZNC0X1CNHV5Sp25obrII+guak+7mhU7NFjz0iG
j4AbjODGAGmweGNjgPfwWH8UiuVCF+Ad7gIk2vHMB8WHVqe7Dw+r7RIfyDNv27tJhxp1qBUhfA48
C/VyqCyjrKPUfBoiP1/PE4tfC1je/0JtZKCe/LY+2EHRP6qETQuTEDi5qTHHtw50xXhBeKjseD/q
AJgzN+lXnUiSb1BMfJhGFIzyEoTKU+wK1AlOa+al0c/A0T93ZaJ/QbbRXZVea744VTet28mqHlIw
FaFAHqA0KUbkmoYgPzDXl2Us9lQAiTrVVVwk0ZsTxekpETxck72qdOQLJLfuR8iSQLI9eaZKHz0P
nI1RM6gkIpiU8pQD55yOXzwAOBuEC7+3kPVaayioxu99zC9DbEd+pSZSNp1QLjZ9ysAIiHcl/Wgk
IPtBIQlHKrXJLo5mXmIt4y/uUDYvXeonakCWzhJ3COcGl7x27Bcvqp/aflr1pcheuB4m90lePNOo
VSY2sjVyu9Uj7gXpSy8jVGRwwQ6V2WQvU5I0Ox049zUtcGQ1buOxik7JZOf3iWX2qCm20w3H4d9c
e5rM7yFk0PuJMprp9C13s1+1tETarlIQeK26sdNWelPpe0a1SfahBBT2qVB1R1Zg8n1cFu5KV5VK
1JC/nU36vtEFapnKU2Gk+VM6IagyIgVop44P1GGMUmOJsJwiIKaGhqFUBMSonsC7aMXQzbrxV5u3
QB4qx0lN0OzNun8dzlvRMtoPWOhfnv6zNRSbHCTJmZ07R8PT+FWz2JAz5+B7/E8utPa/8PsvXFww
t+zwAnv3X/gul60nPLZX8/jvn/Rmm7K/M5rBPDoGWLFAldycqEeN5AySuaqhHtmK0fK2SZ2+Lqab
pcvEzVLyw+MewdZlZzsE3Ytj/NVFsVBkuIB2KP44oRrq/X9sVeGtTQhLHEqn+cd2UEjioOuO+43h
6L1ftcL72nU49eRD8LPlAhojVf7FBfZ83Q3tcLEGIz3g9lrsEz3iD9nY3qd9fSftbgtFH9BvRQUq
n0tN0TOJvTdpHFx2At/3VlkwN3tB2G5blGCGNxN+Ah9ZBnUT+ykJRfe9tMdvI254X71MQMSiDeQT
Ti3DNkCKHmpsvxsH0rVnV4bRefhyY12G1Gu1RPN73MbWrmjEsKKVAlJHw+p9PcjQYLfAeOvLpjY4
EhO94BsQVwJmB5a7I+GMuuyJ44XhDTyO5Z2Oo6hPZvJyLfcXTrh8xqIZTuj6gQkkhVTANYCVg3WH
v/jOrpviVRtAIiCt1Nsga5m/Go5j7FqwTcxr65y/49hoLeiz4xO0LqF1rtYaHqJKgeUg3qHWgggj
wo2Rf82mzPthGfYFWuLRm7RFsp0Aojwi2uXi7moV4Gax3B/GuB3DTP5ou8Hyi6az74tah8gzyFvX
iHX5eHAOeKyCTdbT8dxB4NR7QH4wvReu2CwmqP95ILYUmyqT6T150WSgt1I9fIfDYtNalAN6CQ4R
CcTCHsgvLfFU5oxnPvnRdoor/+Tl/GVZ6sa8eBDxzpYuhKcQ8WQIt+C1ZZjOnWdZOPBNfb3B+Qgy
GcpITatl/bBuShsEvBAtWY9linuU2/U48DtJu731BL/qi+CesZ8dAY9YV8DknMjPAl/umRW6te9s
m6vQetPna1usBZDanyF4iC8va1qIJVTj55RBIjiJWnmiIU/XHs/FZ90UzmnMixbVlgX0PyoOlpGo
k8e6B0AYz/Mc+MxAgjIJsFULHztsRvNbBt5rn9tee1l8y6J99wXpn/FWC+MwkyxAMyVe10kPbgoF
dWeohj8OKECWZ30s7ga3/xZBPxsq7WicrHlvulC7HtIs+ZHLn4Y0QS5ck/YhAgZ3aEE6ABK4QN51
HC/KbvYpVczpCYK+yJyrbmVCEo08kmwA8zrKhAfHA9PTSnO9+FEETrz2ejc8U8MluOLWhqkXW8vt
UH9Wj024K0oZHERXu6iogjQkyiYlKARZ050ACCwD0EGg65YaEqTL1DwucpdtdAeflWZmI/lfjQHO
bpFanZAkM1jVARYhnbtWAB9mpkB6XBk9q3Eg0oZprWMQ3UGIhO9cJ2AHg3nPVG2MV5DmqXSAfKqC
1ti09KxHJf65Bfr2TC6h1493aoFJB4fFmWZHDSfUrDKOSx14L0sEeiVItmIjDzZLbTj1yI/loGBB
QV0+rMoO9aSVy33k8/NTocAXS0M2RgCMP00D3/fuHTgtFJzyCeBktcPijGzHqcfxendjv900VVe/
Whbp6Tbpe/mQNeDQ76ApV6Cj9ZCYs0A7gL/83BEQXPz14aOmeocbbyl4tZxy63aWu5orKrvqVywt
sCYtivc0cVNSeVN5+bE21IN8SyMq2rzaBcl9lN/hlcO4tyatPCIwMJyoKUw5nJLYfB+OOYrCZCE2
N3Ya0gLyvRkuO1XQBClXNA0ReH/oNOhtqYshB/F+CRr+yba48GL0Q8bzY61+a3ELyrHYQck8DTP1
Ixy7CAxzNJ67Q2n8YmXTbcmmD2zv1lG/Fx1wpVdylDRG/Ux5AsnFuzDln2ysR17Kef2T57KwMr12
M3C7wW0D+IUFoiAhMrFpOse5nSC/xRlEPJs6Dk1ELv62XpMxHuCR2qUE/GjeZVmLlFEFhcK0gVq0
2yeGj1K2+s6RRn03FgHbmkHwk0xLA5qx+m4ZUs9WC+pCExvABVDTrjZZJpbhzdoJ1Rog7AwBllMb
0GUXZ7LRcJkI8Sa1Aj1du8myUlvH7eQcK+BKD0Yvuy0TZYdDSHWyOyf5UaV4GwG7ovvYZlCwDlyv
3eJFsHtjTnGqFcqfPFBY3+/ff0BGBl2dj4JhKhWeq4b/tWC4owLim7pjqiKmMuRaimoDulP3FHSh
d/IQDzvR0IEoEtgIP2YCxP8OPdiaFhdaQQ0KmrNd7kGnHeFa7jMDGhpN7OHcPUKaE5gc+w3/K2fT
YtFftTd8byCT8SIATtlZZtYfoIGcPCZWgjpd5WFpP1sUIX5H6CHweYNATdTXwZGFXbfOM5G+joWj
7ZlnWD4NY9AynurYZqDz1pNXJqPhPBbhXzQJ+c/koXaRwVIrvbCJnluTg7qxSV/JlIPNOTHBIqCB
Q13y4MVGvPIcKSijVQw4hfRJumsUCNJNPe0gDAmGejXbp6AS4lPn4zEI5SZVmQhN83DbIU29nmsU
+659H1PpIRhgaiSf3a/vLJmei+IvQo8hmTjsR2QDEQr4jSjTakAdNCdwtmSjhg/WBaUjwR2NIpGW
l9zVrmBoNxuRG0TzgquNepz+7FkYBCw0GYrLs2kVMZk9QCTAw0svDy59F1eneYgoUoA6y/Ldp2Id
wrnKx/ZS0PgXxPdZdd3bmPTj5x64f9SZJi95pdv3kxxQBaXsda7XG22sJ8ggYDj+dhNOYd+LdviK
aHZ3KlodxyxZ5veRFeC9Po3NYzLYB7JbQkYQjpHeWw3901PLM8i1GjkUWRV+NrYdtk27rpmJo3Ql
oiFBHz4TR1WxPBQgaXvyBlk+Z0a6IxxtB4ggyKdqbwbd0h4iYs126Kf8zfRk7MeeJY4GwGc45ebp
eqFQ4Ubd77Kq/RQEFgJSRJ8yU75S1yjAZzOivl4kkH6BwuDwQM2Q5aDgB5G0JccHYaMhM6ShIXLQ
IJpw5Qo05Q4AngiRrd9+DDnoi2XNi8hs2+C+rbz+3imm9q6GMJkWjc0R/HftHZnwJ8G338VPIHY9
3MBpjIjEtNOb7BONbvwWG03QVlLrIj9rbERX1X5WOCA1TNNzd1njtXL+CP/wWS5Dl9fi5BPtPX8u
+ojLNsJ5yWKvFAFqnYtMh1Zy9hDppTxDgrV5auJRnEfbeuj0BPAn1QRhX27yqKo3NOTcrp9SUTzY
Vvi+iKHe7Sw4mxdVMRiiudd5q15F4qmxVTieegXivBB8du7NHqlYsoeaGUOejFwGMy/ndQLsJX/r
fixadgzcWulIBzj9qW2vlpDP4tjTvnQJKTmqjFJzd2Wbu+QOgC4+zLKyRSIdGf8ASXvZHPA6DzSW
KU3fwMvnPISajwnlKMyaKtdHw2WWnP+Pa0FJ5ADrlu8ZSnU2A+VCYkVlBGgD6FGVcaYIJirhpK6B
/wB0bbMwEC8T5C3UYrL960ShkBT1BFK0CKm6Cgi0HoWYG4KRpmcGsAuIu3i9qTSpH+02655MhA4B
Yo2i76GrxStUOyM8UeP5bFfiY+GQGM63KA+beWEOsPiDWbsvuraL8xpa1TkgGH3shP2axt0odmOT
jsdJD5HOBhS3RUW56rJa/BXxUAfGUNkST+vWQm0BoWNgIaMu28yOs/Fjc2MCS25XO5VP11quuvhl
qGYFch//O/mk41IqxrPjvfezhaLbiRrTC1DtH8uu2MgYGcOKSx2JJUiMnGyaoi4T4N7ZNiAIjxpQ
c89DWg/A0aT5y3681/HWp+dFseEox13RzGxcnDrU0J6uNvGiCIsQk9rlCAbtyfHquuRORr2Mu20/
TF8HgewgUzVh1GsjJAAXG0MJyuQweSDTYl+GnVq/DP/kQrb/wo8+hboiBIz/ccW0CHMkjNXVbIgn
+K0t4g1wpPqZp18qoClm0mdT8ejT0ABbCpRGPGgAqtllghZ51ufFwjNdY1APqn0otAHLKRowOcTW
gej7qCG2PueD0m+x3bjQEBCXNSscc17foqx8JgJcfGVht+vE6rw9EN9QCDWmpwoJg7Ou48GYmBr7
AiU54YMtclRC59pT3UZPZJ9Su9zIvqoOYxpqIOPfkdkt+27vNKB7SlHj8gUkbKcIbwwvMnS6O3wT
EZenXau2XyGiFl5cxIgep9hEZROuhuAqkDnc6YHErqI3gJ5mf3cIml0NrbVtrrbVwVOH7Ff8SU5B
Arx8naynHD9nzS5A/yirdDsWkbZ2Ryd7DqwKFeLWPBiMLH+2GtGvK620tuQgcES8AKK2r60pfyaT
ZNCWyFrN3dPQiGV/55j8C42oyZTchwu4zom2nCbTPeQ2GEdpNh/68qHIcYJMvC+ZC0rpiUhYRA0y
eqixFNt57EQAoqWsAsMqy5CVaAqcWhB6eiSOlQb8y3JwxIXIVkJFQgyS1YWmRW3O9XE60jzZpYTg
jiok3pJtZnhRF2Go+vEXG10It8d1gmCpXQDRIIMpOIEuKDjRsDEmpR1OLU3N89yTG63SJ3BG/F5z
s5CGzGzGnW6HL10zIpuoGujP2QjWoIwFdBr1hoOw+N0WWjE4tOd5UxVtt1rzRgt14VmAY9E89E/G
lae13rpOe+vo4skyNxPQ/ccU7yIZuMvQpRny8XLQZs7Gq/mrbgR9GtNftnIh1gUcAH8TuuWuuUBZ
apVerGpIUNPpJOdJNdRbhhCutkB4h9ol8is6bvYr6gownbl6kB7nCS3YdyVEQ5btlk2oh0I/6A20
8qLHCaTN1bUi95mFXnZ343lzTfJftqVeDIbdIYNOPHN5M61qb3RQNdJbe+R9X2lkW7lz7m3dQuYx
HX4FHGcdJ+nad2eadsG/SStm50qOZ5wCQdPQPKGUpFhR8jbR7XNbJu6nTNjWVhdteyCPIoTIDL3L
fnhY2WhtnZxde9D7MI4D5zi2nNs9dA35U3vYUcw+cRhfO5VeH2gIHbS1YU31axnG9pkrym6yQ/+J
A4PvgvBYvW/oEFq/ceuU3bMQ+P83N0vtRstpt79ftB/CZr4ouAHfL7p8NtpcXZTcKg1JBdOFLoKs
k2EVGPn4GI+GAJFrgR+pXTpvju0dmkimiJYjCDgkHmSiPzx4Au6mMg3dNRUqVywDEwVHcG+pQB4Y
ouSQ0wYPpJKioSYA07memdMDrRoHyKz0evx5cUjxT/W/bDSwBNjwBtR/NnOnQ6rripsPOmhcNa30
RefUz2TphjTzNQ0MkaSCtviT8Bm5GPns3zXGSYTJtJdT2yh5E3Nd4//gW5d/o+8KRyWJH0HQ9/5f
HLRUG31hVe8OHC/cOXhgvLJH4QBSAk+mDeKcBvSsP3J3OvK60t7ccNI20s6No57l1cOUQgiVPCA9
4I+tDJ6gXPyQmHF8V5hgP6JPTP8rWpzvOhyQH8iEClwImqPCZysCSCqFyP9vHAkkbeCk1km0oFdf
LWMyUmPafQAG5NZYLTbqaY1aQt0/rYMsiI3TJIQlQSgA7U5UoLBf3lBXe5LcmnW3lCyXl2rxIeX9
ZzKh3lcl6p3AvHcM+xfeFKo9CXXNml1hkUlyZgmkYHDECbd014Z8Be75y539apxXkLmOo3t6QMy3
+Dp1/vmA6BnksuzeOxaG6YN5XNwvZV18lAIgVMcEiYP2uy5M+YEjKwQqQdmqHEqGSLmVePr7LZ6U
+n0dQNci5n20NSpRgELbaeU584Zt2Hf1cbbFDZD3NRQZewmuhdmGeuxkq+FVGCVj5sN/ps9GDvQf
7HCe6Rq6bjqew3Tdu+V1t0QDAquhCS9dh8LEzNG6lcxRE5Yynm4aFfdPzVDTthxspnhweMx3tLFY
m5D7Q7h/YNrd3KV527JQBinszp+NHsOxfdDcLCdY8o7KBKgkYKkV+NfSgba3ozVyudJfVtxsMJci
3OzlVZDHtVxxDoHdx5N6Sr/c9Cyzy76IGqHvDNIBt7N1mT0PUZZsmSa0kzZZAcpHiqrblkrshIyF
VqD8QIYrml3sNKTGMoZLXabsgY1QqJTT1770xM5quLmzNc/94lgbRH/s1ShqvIZZBbDMqnSM6sdE
9gRSF+OJLCbHURCkwAjPKYfUheqhFKm5otq0XgmPWG370x7DCLSZSQHa20F3fA0J4A0Zy7SKLuD8
jC5IHxo7gZJZ3Ihhm72TKonOet36ZBs8D8GoRIIOCFU099QAU235E2j8NyiPKdgK4f73GQAvETJ1
2tNEE+Ste/V4kHn1PNvwpxvvaQViaIEPIJizvt3GBS1CIiUqYUQJJVGtqPegUw7vO694byq82AVt
jcQrLFGIV1JkoNFV76UrFdhbF4U4CIlaeRyMX+Om7I9gw3DXyIWPX63BOeq1nr+C16w/Rj34AEkJ
Sdk7DyfkGun/HYncuRbAxoig6kfkQqGUqedgRexBaEWzRVgFjznrV7odaE8MgA0969khaJxx7YR6
5PMCKIRtHIEwhOMARNkxYRRIjJlZZYIwowE4V4EmGrfHhYoogAJ6qNX7ZGpTX0tS+yCUxvnQRj14
IepmS8PRCKc9c/BnzfvafmH62N8BC4yKLDUEnWL2OGj67KtFWJ+M7apGXveJHHoWf+4KPTjTZnSp
tGig+6U7Z1KPo2b0wilet0j4cnstgb/1azAYXFCp0FxchowTOFaOZNJZD60kDSyBJwjwzTZbMNA+
qyaHHt8JqYYjmbIWd7ihidJ94Ok+yeWlEiVW+pgYlyI0RiABp2wDBlkOMVhIN3DH0ldGnwA7hbK6
t6AzpzuuiPCdDCTmUwYWeQOVj7nvmsPVrK1maa0+QG8S3PnDG/65pztiCl/Wuj3r8dS12EozskTu
gLIF8VjnORs7YMjiNIrQihqEe/Nzno85Ko8RPaPZsLCiXcRt0GbEYto5WQRaKi3WPwWpfXQUrkUH
mM8XrOzv9WAAxi6qBp+QMGNt7PkwZm9tk6aogu+m7fxuEqkXFnoUUWMlGurYasi+bMxG3T7p1cU0
x3sHMtZ7G4m0A8oMzwswZ+QMOWuC4egQazqgEHGeXeA5RS8lBNYsLzyXKkM7CXx52hZEDDVg4RdT
3TyoV5QRUulht3XsJLPmWZpogUAOXFR6Lb5kD4wKRDAcuGMaLo3IMwuEbbiEijofRA4ev2DqGpb7
GgN5WU1SEarpc30L3iJ+6ABquetIUULZC6PqMxB8oJs6abexU21aLT4eiUssY9S9QTCXaY2fIQC2
HiDJ92zaEULNTAfXBUbUWHbzva7d6Q6VwjgCBva0zaLqL9Gmr07U4SnL60jHCx61hIWFTTORj9Nr
CY63NgvuXA3fgNjMhlcDMC5EFfThFXml996kbA2KVo+NZO52AcYtOLkkHCbQYShI3TLdmS04qQcN
f0s1cYWtswOwob27LysBdsdXwWKbyYiglBNDYmyKRLeJM8jfJFNdMuDZlFFNl5P8Ci5MvieTtEzc
yIGmTu5EYK0XN+oFQAkYMS6ovi/U1Gn1XPR5tY+VqaWbF00s38IPl/m7tnz3yK8H3qVqO7A4Zw47
QrKDHVPVa1uNp1CtQrdeujTfCGki79j8YX6KSLtI7XLVnfe62nbZJk+zSxhxbXt7pavl5A1u72OH
jfbB3+WDSEMIMlD6XeuMryj957vFRD1qSG+Ils6zY3/rK0bQgNgihYihBipiDbR19/WQIfkjv9Yg
CHplfd8+4N/shaxIqHrQ+0xD0Gvx/K2crGQTuWWyp1ndgRh4D4A6orkoLfe8JwY1upXAcQHvt3gt
phfk+WUYzOUPgxNDYUC9QtPs4sfsCW8eAKVARTeTGxFXuAWlFJsNLhlxlZR/H0KOTkVugwuLgYj0
lXPj8GQF9VRbnosYVdI8iHL3ACEXC5klnmzeFQQhcyEmxdDm9yOklom3g0g9iMaDNLyFJeoNi3Pc
1mj6nQMEjIrYCVNkpGah/lhsut27q97I6s0s971sPo8BOb7eZzbSRjjnAuJmI/M92jJExcWoHSvH
0VCAgR7Zqjh60wqrQb0h7MjHvXsMzAoyEHv8c5k1llqGwkN4XnWXvZc9uqYS+JWTnDaeS0BOqQMn
iug2sTH2hyxrdFQ4q/Po0sxGJvmTHspqZ4q2XpliLDYLJd8N/94ysXDy/cmlr1FaJRFbjFoQFtaa
/aIZXXY3yDGFBi+GaSy8hyJydgVUoDo/6X6igr541u0RldJW+CmqwN9PnvVoRchza1A+VwshvFNu
QFY84ZlR8RczlvXetuJwncTTeJFcHKJhBDcCSvb6c6RLFE1GUbEdM/Ce9qpB9VY8IlGBbiXxOKNp
8qaG110M2LjxGkLm9uToCKOCXM94DRzzm1MzcEbY/U4b7Pgri+tijUL74t7LEQgo3eathGK2AsFy
oDfQW5ormzl6fi/t0LdDy751vvL72AB8stdb/ekaIw/w81su9yefZWto4v14h4tUOfC6+PeAFrZ6
z0CGv/Djvu3Pqdukj9Fx1tYpQlAATOJr0LJiM4Dh5dTljX2xDIg3m2YFRKQmC79pQbCaKG5VQFXY
fqxTKKkqulXVUI+ayY3HerWMaRkzbJQx/l7xp2U3tiIOHyT4pi5h2menEgKEPuOl9Qaeo3ATOJm+
1yAy8VaN6SezlwbCGlr+AoU1fPxaXFrIB+ykIrB0EwfMmKpHTQ1mpfVgsm7myJypMInucmG6XNbN
0622Y4ODGr6Pra4YNfWER4iJACcj+vHBjU4tSkYfi36sHn9baGDXRf3YIA+rfMjSK8fxfRUNyOyl
zuLzt3282H31OqsKmXrrwJNdtt6FJGP7bipOozPeG8q02CHAy9ZBVljrFm/ZQA+E3jlnYQPZnImD
6d4yDx5OyyghB6EiJU1p6AHhgDfIxnxtRj2bZynhSrM8gbg0zcbAeRUeaGuUqnQ8FMmBG8L15xcG
VLgcynoESV3sJNMnDQTeaxBC2Bc2GNbcWEw8AmkM2YIPuwf1wbNVCJ+8FvvQZN5OjhKMZWr5MhG3
wvbHqDY3tZvxPcu1z01gMrF1gio+uWlup68DZ5UPKkV8FhoXSZL5oxNkUu4hDlAC7Kq3x8G1nGRl
RCA17JMg3wwhR9mYHYQr0G+BtHjQxCGobBQc26AUC+Qg3voGYrtmaHZrVw0ZbjWbPGOAHDmxeIsL
0Be5uUjPNNQG3KpR7vVsQjv6uYcUbgUJi8h4EQYw/6CB69g6j1HWWaWAH3edI3xPxf+rwfCmfaPy
ASokjhNIFbsb6uKDcXP2ovnZlaZiivpT1wqddOVaVrQZ1foWsTB3Q1vTtABbDSq6ingT8B4HuzIb
w5OAqgz3b7suOXiJE57mbonCroOD3P+fPZmlvXlj5OTmkxYOGXgfBEqXshDBz0nvNB9H8VyuG4eZ
PqCa5qnQn8ZagBFrMvmFQ8nra48jNWKX5YSgh15uocfS3DEolRyBHZ52Ad5HH/QUkoJpOPVvmux+
6Cjw+ol9eFqixNVZNxGkqyLICRqqYkCNehRPLqORScDfQFGiKyhMhKzNHp8RRMFqSGgZKI1YK2DR
ogPZLFRPPboQ26wL4zIh/pTgRIjsuMBzPK9N7UjNPKapq3FroQJ9Nc9ZjDO/k/i2kVeDCNpp8V9s
tHyZyCG/fHClAF3BNgvAepnoxrZWWoHMjduNKaCuPGl29+kP9j7ogosTynInqShVKE7QcQrsE9jh
7BMNr2ZoPGXbJgUFDblFQfY8WiGQSh/+ZP/jyt/LWwRGri5gG/1TDRFj7kAFWugrMH/zu9DM6QcM
WSlPtwvwUsBo29MOqjnegQ2xBWUyycOjoWVbQkEXRdfuxtK854b7DowG0V16oiafCp6vyI+myUhD
6pFNDJBQxd8CawgXTT1q3M4WvjOUmVhXQwbm4JVXjfE6HuLoRE3Z1++9G1swcHGCdBxS52VeoL1x
p/mE6ag+twOQq6t9rhznlV4Vf86BiFXiA6PrQcMhxYke8Lgb6XBDDslWuEM/Tyy3/r6If0XxAD1H
1BddgNP0Lmk6GWe1R6q1xyaucAJSbAuItlfnug6qARFdjEGEt7ZqPNCubORDs2bv5v4UQVG3ySFG
v2r6EgtpvtPcZO+YyRs5jgwaw0gEfFvKawceFsVqarMB5CAPodHmyKupet7FhepzXcTeT9RbGrLN
S/B72TZNGh3ATXxTn0SGufCoKgL3OHi3FU9US8QC5zvIdX4A8uqeqEl48967tUWaDeoGIMYXv+zv
zv++lrbXuyPu4ADQqdGNrz16ySYM8na+a9AvfL4zzHcJ+t2n6oZi0L2FHKptr3XecbkdkAO5Xt9b
5v7NLcUJoUdVJciTggEWsW8CYc9dbjFgETPrQDZPpjEQDgTcpn9Vt0M5TsbZD2iDjjs3hfrkIu4V
63rpGwh67PgETTCaEAnfm9DDuyeTmLh3zoLqiKhDJ33aBGKpfmFCi81UopgAQEM9XbrBrld1iWCc
V1lXg59pFtxnkI5puldXa62H1NSeQlUQaVjQIhilC1yiW8abPDbDsL1oNoRBKBDZif5HWSLkRYFH
D5IsNth3misbuVEgUtmbGsGzxUS9Dzt5kYkatffivyzKGAJkUXU0eWdvKZ99k9SmtHU+OtOd5+xu
Mu00t6S5S96ILd7tQCD/97T84kcTHjDOK7pgaETRwaqdT/jPeIllbm1wlIi2XA1DQLdBEdsXPs3W
wqrvjRF8wU5rvHSQLXwZIc2iPMkycP4AMVfvnhan7Rj5I2Q5D8Jt9IfagIZUKfAEavV+QwDWGOXB
d24cQlIQ76y139TgWwz0Z4Kz1m2MLFpZQq9RIWERHIu3dlodY17om7mmdNbv4+CFX6XCHkFoCHA7
Pp99XipShdXPE1SA6pV2cUh0U+XzA4i0iVLbNEkPWI7bBGsyCt0Bfyl129gKQPoAzxLCcHNvQspQ
2ywzVxuREezww6Gv3FmXYRFnWHQjbmw596p14YKSniYy9WJEPWp0ejFaxqTsgCKM6yU067QJX7sg
dFg7cZW5BytoUeoWMvDtK1nMTBX3FxFL7TOytMUWhwG5Kkkrk+a5zRFa6XCLnad0EJyBaUAt7fPR
M7a0KtdGuZrHXOkVWyHSDaNEUS/ec8KTQ0c9ULThqLeMmYewzWqeIzM5DBD9O+lfUXbHjyEdHJd1
XC2el9ECSLr9RBFGtA0DyFFu6YbT0V0mih+N1LaOHhV+Xk1YelD4VeGk29gzu5NoQtABD231TI0n
o9fE7tIzjerRdXd1FZg+DZly6xCNMszJeSQTBJDFpi6BQtSaCIkoKDxfIMCwpcnJ4IhlorZw1QpW
HMhGF9URJmbduA0RcUTEV1jD3Rh43NraHQfe1EJUrpGuhVA1ZjKRadk6bGLIPOig9VK2q4mybQEW
NsR4lxVBC+EOUa3JViUhsmWxu3JQtv4ZGrUPHnBTT81QdY+p1T0D+5J/xvOE7xoNfE8ynTKcFEz8
tIKuvNeGRn/NRY+jC1bnpTdCuhdkGzTEGx5eFMQkTvNQVKsocotPMhntczAAu0W7hdaIXH8YZnsa
qo+ASnlo5TrjtA0tDpSharKiB/ioA9Qemm98ntAQPEDeJAEQuubI5SmXmFsmW83eZlys8zwY8Coa
w7jsM9XGytYHcXbShM1b02QaZt0WMlTOqm2c2FkDtG7ct1r6PE69gfuDGtFWdl1nhymP3uhCNEFb
Mehujqy95Fa7KYMoPpsF/taGagJATo9Doj2SqYe0ODQsXZQ4NniWrBc/6llt/r2rjPEQgWn10iKG
fAGNd3fPUENBDotda7xp14sa9TLKd9kohnCn7wbC2C7ONPvx4UQw3A9AAu/NgFUn0C++N4jhqwqj
jzH1Fh9jQPDPhbDAYlp8yYbk1PV+N340e2OjDcLSxZ8OEEBoJ//e4E9+lm13h7yCuqICf2i1bW9k
p0oyKfS7jOdAMQgQbSiOS4j0Kv5qWgOdrH/YyK/BaWutxV39SM6017J2/LjeYvvP+8WoifSRwQTM
C9rQnP0Pad/VJLetdfuLWEUw85Wdw8y0NJZk+YVlSzZzJsHw6+/CxkyDakvnO6fuCwrYieyeHhJh
77VWNFpEqOXYZn2JpnBPxFkE2CaJxUiRWtpemgnGMcXAxcH5q7yUK/V+VFJI5kXHqfXrszpNrMoR
xGGljm3yH08YMWNqBuCRgY+tZsZRaeWJI41REL52NmqOsiPSCD/kHxlHHOu1w5ZkTuT+A0bbrgFY
Yeo/jYnbgKCMh8DxEQADqQAToF5S6+AexEMKoN9rOSmpKbwUSAEPbkpNociZZCEKmIIw7JFadL+G
MnbExdXQJBACGv/y8ihT0kYchSmrlZcK9XAbP7t4700+KqcNJJr/eBvK2F0mBm7CH+/8YajulPnZ
bcmq4aDika36NkhBsoq+xV+qM/FnsPBnII8FCBhYunWBxQG/2Iv1o5lMgC+lsWb0FqA7hZSa1ZiR
lbTV2kHfFLPZbQwLh34oUA/fHOTYEbHDVANUqnQjgTs5dbynrro4pnXNJChHhYuMLl1mq8G6dJ7c
XVjgx+uWy3OTLvw3k3nzBkCDLn6TGM4ZCtMMowG7oRhmudFdwdGSAKxK479ZiZ++YiOedNSIYC3v
QWYF6CZg7I6zgG0YKvMDNYsTftGRdHxRolSwbttR+qLNmvlhdJrmlhr/KL2LeRDmrflNidpea09L
7wMZMtLfIhvAnt1j2YWCNRGHjIEFxrfF6Pk4vMQdkMLyPCcA9AA/kgzkBw2oHWmn0Qcj6YwSmQZ7
fgm45jy8quV4KBPrYoYWNsCAsNYEakzCxODmxY8nDZp8W1d1d1mJyIQaJiJQTxqT0TJH1uFtv4j5
vhlE1We7XXxM8CrMO5BPAQ6WyZ6QXFmNLHDAzbbD8t27WplT1WcPuBh7QGpEqKoyWPGaM+mtL8C/
1EB0sQVcHUDlZ5D8XGO8Va9eb3i7YhCYBpr2JlPacixSHpBhFC3AcnBNpMQgbYoHZJQit6HeWj6v
rshcpwhS26IsPjCtydkNNIflHj6LHnEQi4vZK81uAYDQiBxZxwxQqFjsWI9yOTlnJn3YJ/EJM43n
Oq/CG+tx6tjWhRxZwxLe5g6P4EY3UJAnLKgxGTJrmI95tpJlvoE60cZiG3LzXM+/udqUnY0x/ZtE
ZGtx/OxtQ9vIkbgC9aI+2zm8MN5/xeBd8gL1nism4PEOPSay9Nqj95w7sWjDNDwL1HvTvsuSGYQL
PPNtHKvaNogrOweEXEnZBjQ2E4buZGtXvxQTDBqShotqCa01zMBHDuHeyefyxsHcijKq3t3jCBfZ
ilbNAeO/L1ODfbXNsdk4Ces+OiPr9stcdVffHsxzXdf6QW87/YQM3HnjTPqB8nJkck5T2JulMHVU
wyJXB4yT3QurlpVFgh3wzSQsyOFuEXVOtukXIFmrVA7HGCPkdYnMD0oH8fUwQdZPNu7J5i3zQySK
rCxTMwQwrDU/qzhYxUyg1qbKawBHGBsGaqqLNy5vjT1lgC9V49k1hgsStcnMvNuuvEyctmsJcZRO
yNbdDb0FVoMkYdfeBrmmXkxnElEDIgPkC4hGs1xkZJFdDULBU834eSWTXWB5FoexRsLvByza/qQV
cFGB7KyI5pOL37H9RLIfFVEeJf3HSaCFCWOgeoDjcsDfrNNRnGaP8Q4kAiBoddv+RJ5yMc6Qvcl9
MIas6j2RnINVZNIjA9QFH4isFh188H2WhT+h3njRUCTq6vzqo8bxMrL4B1lUjVfShn3I8ZBAQ70F
FJWoLrLGLQ1B94g/rjJs4k9z1VbXenLrYetjdhSkCXh4NQG2k2MxCYqjEURkLNKfwtIWk6Va3wNV
zQEVNUueDdd08a7z8m91e8D/RvsXyqB7cGDO9qEy+gSBALddY7o5gw6pAfI2qw8pcqmQCQhUbtJG
FYCsgxklwUfwTH1MaIhv8E1NNqjLZkDoiqwtKXwQYBzfEhmwZEG6sYDBcpFicaLu6E3Y4sLG1BTE
BrCw5ZhUGZI2CyzcexDAdcM+4mUKBm00IX7ygJ62uiqg8TA0oYOzkUI/DboTkDoMcxx9teKFLrvK
c34JbcCDUIJh2bjjNQ93b4mGIufQ6ewSCRVCMWd48LpFt05GfFeQu4T0mMK8A35hYx5iZKg4Xh5e
GABU9kZUpEEc+8iyJmEr8hQex+GCRAXSZBE2g8iHhkqhnB9kMtZoWvM2to22Xl5RciVYZNrq1Y+N
ve1mxTlJZv9qs75pUUSALpMQu4JqoDaM3UoDkhaDBwNzlp2u9wa4FM2kkf6RienW0KF6UISgpsBG
dOC6Q7WjzXy5ey837mmzX3b/pdNYGB7w7Zz/ZSRmayyfZpy2ie7SmmeRT3xUWRy++K7UEEtRCwDr
2LIlBSb5+KYp8diuG3TJksYyQ0R4V4ljgXVuMTYPCmVcuEBGsN8S3IjrAWCQf1kZFheawZD0tk6A
I32mJ9+mDGjDaz1pStD6Yi8Jx470hHZdHBmZM/tdPpDlU/shQY+e543dfcEKejyop7R6zj/I/Ixt
RpfjMCzHCXJnjMBmaFi9HduoLQMSUvO/jnWBKqfc/68YTGDNkRHdQjbWR+z/YWkSasNFsaA8cKqQ
9r+QDUU3b+osZZKUhQhWlBv1/icZ3t9v8SQ3i2B6KfIC+769faLtT7VZOoeAq6w9u98pBZCt3jdU
f7p5SnurjxprakA71Q7z3it5fvKz2ru4omkczV01P5MlCXIDUYUH3KBfGf/neNxL9rx1OwBBv19s
AjHJVBjNX2OZfWwEEVIlGuq5BnA+qVf7BsjFLcPdKBlKysF+9GCo58j+5GF0Ijk1FI8RpxKNQXPS
nMBieFahqJcDi37fDvmAAnNAtXfGNhFHsqXdYr62Qgby8P4Z2yzd5aQhI9klcKCswGb62l4ESe5O
KtAqsPRBijyqL2PkcjnJkuO1CBz2DnAmP7CCJYIgrM795Y07jMZECsarL+VUAD5CsItJv1X3p36k
J2d7KWd7o8jFgBE1nMGwhAL2eZv4yOIn0HGCG5fQ4a0vkMlJQM1IiONIWeSgmaA+ickNkG3abpyc
byQi0HGSS2tlJyOjfDBO9kr6r5hOnj57FY6c1T1RTOUyiZfuTRMnwFii4eyXulFjlm9dGlOD/AIQ
kpAmBHrthcbRpGu7ckq+PdiVlQHEGSUsgDV6eEMlYaZ1c4EQ8jL0iffcgf1UDBrLB7Ae9bwi3I8c
SwdSMN/R3SDNcfjn5iBeImERgguI9Yvd4f/EsWqgvlfA9YlqvqWbS2s3ivfyI/ktsvADul11Q+oj
UW/1ieVHJPOsmAykjyIoGRVIW3ybersFNpA1nl04OBZABZ90qFq2MrwTUYUtNfrUTf2VpGRpaXF+
mROgrm5ICMIaJJKDXW5pUfAMeuTxUljhDNZkTOH8uMV/D03SnCgcDlUO4ncpVFM8mvo1xeQA/i71
d4+ONG68P/uuWq5alTebBSWO2wR1XpdJnO1mns2xo34fU48ac2jBveMDCFkoVUNui/B9kKlh6Uzl
DgShKJe824GLGydcbo/UXkfnfJenulMgzbdB0qmbe18AGFHyG00AUUjUIw+hFiQ9WJdTWX7aWBYI
4cCtjTkbcD1J6CVhdslSAwAyg4199iQDvC4OLqRhSoYkxLYhkFhm881wAK32LpxBUOgBIPYIBuXb
qnxlFNVhCiTuRxMlJw+d4OFQA9wd0my7NH3xdSn5uapM5ztyMz8bJRs/c5bZO245xgUg5vpTzGcd
RHgAuEYtaSnXWhXOkCsUTM3YI2uLk1p/TdagXxm2VvS8bK9xZBhbC1Vzn/M4/8dAAsk/dQNseiC7
4Xv8o9NG/qUYynabDT1/6aeSYeIPbNF2KWIQHVXbaOJg3fsJORgAqcenBufXGx4zQcyHxTCqe94J
xMilMZxRqh8Vd6KvutDGDV2EAv70SuIi6j7khe8BaEhR6D5oKEnJ5C0Iw1JcRKllBMFjpmKp+6Bb
Vb5kQjJlorQPn4sulIivTCker3b/TlRkFU8a3z8wDZWWgoaoqzgtDhaK90+lLib/DA19tvuFVn8b
FUvd6urbUoHUhwUyNGiMWgF2ekfkiJBbgko0ZNAKUaYQNCSYBuFtyK7UyT4HHvUb0gb5PYCDAKkF
J3oOMuQAm/K0cFCaIvsbRYcCxKDhRsP3NLapMuhHm3+pyTLyvScm4kgXkqH+EyWMFPNHG2TThRcX
hEagMPFleYisBxlRc5TPHycDC29VIbIIcRfWxqFwhiJ4rDPJ2wIAeJmLnSPyN8ETreszMCzMxp8A
GlDnmOIAQ1vez+qDUZcaMmoKpLHQvUVpiooo6pJ6KLKPOvhr9iFDAZ8toJUNMaOn3oNMS+0eSYnC
BsCyw6G3eySdYaTsaIhEsbdQNPz/kVmg5Ny22HnCMnN6y0kGNK12jue/SCJTjjWhVBYtQFS6lUeU
I3Mm60ApEEVtgUT8e34zztjj6yqGmYKhYqzxvZqC/KlN2ubgT/EHj4eCVkWwR8kuqVfSkaOQF+/J
UNv5gCoOEr6zkPb9EteA6oiiorACt6q/1qg3P5GMtNSEoVFtHRSbbh8U6dJPxwJ7UoEypp5mihql
tyswwBunntPU8YepSJYd4aFqEejcgrzyv+nYzdqTbOrc4TIItFXqPcgA9AwP6efVoEKeZgtHEv6M
/fd2RKbRjFTwHY1d2wwPS8eHeLfkoDp61D+OeTeU+6Uzok/h0oU7lw3N0Rrr5isQhEEhMgMkotLr
S4nCsE3JzeYrGEJG1DGZ+nMLkumPgEn9iINF79n1mmmc99pYIUMau4Duocyt4pLa/lbHRvmJRiWw
g5BpIxRzgQL10TbcKpAqIRyFkDQkw2FHiHmRo0/HIRoOckgarWzKi2Zk797kuIquASrWRX0cYi5W
DV7zxgXg00P0XMMWD11NRiZ9QteUpnR3S4XH49JFxU5eRMRchZeu6p7JSN6Z/IjiouoTiu8jxfT6
JEPEZoLz9Q4TFI33yB+WIKIE9psLPFE/8xOkdMfVnjTUkALEdljpFG4MXD0BRqrUXeEkQQ0+rL20
IU2bhr83renu1R4w9WjHF0nmeEyFHZ5d9x1jtRW82juukhk/KaUic+X9oFAX+FnYEHxlQa1H01b3
wSupyB+B7f93Y5rajuSPHJLKjtQPvmpIPSKrpJ4IuogHwINcMVkqW5LhUBtJnkqt/Ejm6+lrO1bR
1cts6xUMBw1SC9r6MFL5ZWGzi1mUgEJus7wVuSo7/Jv6Zx6yDwzZ4k963OxQIa9Vu24AwpIfxVix
EJ6CszRSHQsSHmoKQYqj7DSObKoAucoclGLths3xwto/M+BP+gDpOstnQeotr6shiKRewVGBwywt
uRFSMLcAWBgo0GCJKQxCYkgf8YXlGPxCJ6/0y6OCOKaeVVR/cFS4oS4P9agDKgzel2yASQu3iZeO
24e1nG3pt9xYtLOSAw3EvIQx5gHCvUmadm9wZNNEBY4IGe02m2Lj2SjG6dymryTXiVABpetOCrhT
ZFcXETgtxlDUTBmZts3BxrOhSqm4aqcn6smSqrgVgK9CTcVWqzorWXz1ozcVYJE3aWM3LzZvy1at
5fVeM8Ev2izTMwAK+psjGkOr6i2v52HHLBQ9BJEB6j0AXSFTIu1v1JBxmAALsGO8OylF5nILaem5
JQ4J4UuGUeIB4kEH8oyDDRHaFRHNZFlAQ0+B0kcybZo7rIDNv/yENWcPCNLHuEGuNJKSZiSo9eAn
rYslwP4HIC6dvroloGcRwJaerZUhQFhSPeCAxQKlACzykAPycpiMQ5ICh5VkU8SinakjidxE4tZT
4vbukwcegp0rsBVm4KIu4P2wgUrU4s/XpWl9reMcQ713qs0InJAnLc2CGSjgSYBC/LeekI3gCrvh
b51ikQiY4544N6OxyLEwxVg1/uS0LkCcIST1giKXwIi8YqtkP7X2EjxOASnbnufcAPf4rI0HA5i9
n2iI2dt4YNwB3qLQomx1Wg1Ja85L+6n+poJnooKZbqJww2KzdKUnbyzGV4m5sLhHsnm4s4LKm8nx
p59z7EGsCuqLSS651LSeVgyjhzcqAJ5vP1s/kKwMwQ4F9vPbz9mX3/3lysEFDtAy+qeh6N1nbpru
s0UYeaBW2PRiSDLS+l7aPiHfIiC5cqChD6Qxseuu7UkR2R03AVdTsKNtJ98fjCnmGOFQIhuBECsu
PVfY+vGB9X3gc9LgOQTiN6tAiiS2q+JnnO3mehCKru6jOruuPsdJHj/bpm+NSEBGdmS9ZCeS+ah7
eHPAvNjaWM1sb0no+kvPtip0genZBrObckPfMS2Q5LcyRjXQLbj/5eHLl8sp0nrQ0tet1lXKmHVx
BThsTVqQWS1Ag+PauIIlyL2AIwdUbTogk2Ok4EWioR5nvb4vjQT/rELL+np8VnY6EHM2eV/7yAmA
gjyU1o+rs4kp55nkKvCQdcuepQVHeZSJ4mKQIfbiwJbIseURiRhKTAAa3+1WslVXer/HojDpUqEa
g5y75u0iVTbihGqep87Y9KWbHdtaAz5v6hW3XjTUAzzX1zBK8zONUNld3ixkXB+NJgHJ/d2MFOPU
fNVmvOiGZCpuJKr9BBDTwnZh9W/h7EQn+RRXJbRTi9zLrnLNnXoT0AOdGnq+kwnrY0swaIzyZUGK
Ur5QxgjVV0v5pn4TiiuQuboADekqeKu/LLX3kmkaJliGBxD+cPSrQI5j0GE8ZbVpLEGlgROqrpxL
qrewRFkqIEyE2jOaGDB1Zr+lISmkizmM2cUu+/06GF0nMXFcPcftclhFm12OugX/n6T+g2Yyq2lV
TTMdmv5YpolaltX8h2xpHLkhflj828rETrEJ1SAPFPVJea9jJ3eqnSDzsPdb0RM/Fe+GWDTjBA6M
tK8OINUDbtxdTj2S6Wb0ouO4XEdyqHf1097YJAJYNhLNwIEzk1ltAehrDE2c1q4UrYvlOcmo4aBa
emndsToqBUUhX6UoNeQLS7+H+GQNSMbfxzADgSxg4aNtP7YWMtHQgJveAi6rWV46/V/KAfB8l040
ZIvVI7KTaUwaHWcBAdBusj2plaEaupULFzWmHjWa2w67xYo6GVAplLF0jvz5O7hw7N3ohsuZGnz3
I7ZWxRiA37wAJA4Ip0fXQNdMjEX8cd4N3lQwtfSmC3iLYs6VWjoNMrTwp6jKicKp4erypJHuj5d/
sB/oxsiVGjfcA+28PoeCw9KVzJdIxDn7gi9zNbaNfDqAvu8iZd6DObmTD/VITT2lsDKQpOE0GnEx
qQHGBHWlVDkhzx2Vipbxm0pqSys/2pQVsoFnSoz7dRqb1FNi3LjY7blsRvyukRdHLiph7qcJdCMF
r2x3ALhofgHwxJe5xgsTOSr8qgv2Z2J6pobonqlHihCwMue2mTcP8p/ZUjgeG94WFDha8MuYD773
2wEpRHlFFWmvDUDoy7zkip3tcdpT15ry9NoV5hWsSf3RScoxEbWuyUbvlnm7IBkSrKnCZ2Zjh+M8
Ye7iLCHdjizKAdjlpwCmMhftgwpn+/g9g0ckSArWsJM1mixAmmsIbJcR+2tI4jO3bo3CATl+eATF
7LfcMN3r6rlFTyVyQ5mauVEPLuqBYM99kr3408pVmZFrpxcm0hRgKy9LD0N57bcrqhuRFjh5xEYF
XhwaHqabJp61p9It1804ptbZWdqjkttDHC4BjVt7/IBVQn36mWvba2zbJouD9J4fYpIxEE1MFTi/
W8wJ8hgC09U/aCjROSlXedleBE2aYR302qL+ARuRBjBtcscwzqi4M84TQ6EgagfRlaoiGoCRY5ud
u5ux1Di6TbEzPLszAZ8GI1JTb+XjTYPuX5RK2qOCNoiaLvYbMFAzE3UWEQjIIyyYLo3Nd4CPqZC9
iKbpvfKZhnclmSo59UgJRK/dg5xikBIvEql8cNfAZhZM3tAiy9QNMtNPbnHvRR9LMNJfHXt+0ZMq
/ihFS9UfZq0D74CwoEZLpgULCCAq4lDwzS5x2G2OmQk2aZh1WVbffDYGyiljc3ga0wwLerPNsg1w
2uqd0c0FgGHegxgD3tYo87FP5EcKFruBa1TpjXOu41mSlSMHbbdIekQK5ZUL8gANe1nHUi8/0Gju
8trck9YkVoHG6rrNGKcd9q3fXWyNc+/J9Ka9iULFkzSUPr2XlNu5tZt9F0ZgqShs98ZQw3+repTT
gEKr25FMKpqxOGo25sFKVllGClCF9KREk9+7wNewUcg5Lc8kJ5EBiFZQz5ntKRKXcYF4xUbg7Ilf
hj5OOR4K/XSICpCnBKrUwRAaHJZNBzJcqe1Z/8FH15YI5T53aS8CP1RVkFZFo8vIkKRhBZaYq/IL
EYFsVNR36wp3SXdtM30Cq9uPdRvCcR2x7gNPizpkKt0Bz7BFA1JvPJMJukwpgHxtPpUGdiF+REij
IYqqX1F4FJ5oVC0j9soBYYc8RCD470iYaeVy7GQOu5EPNmBgI8x7rerZ7x3vbAmoPGTQjyCbXhop
K20QhQTIZ5N2VpP6Z/Ki5idyEt3jkj2JVFySySFdEXCJQFG6YHesuoB3UX+hxkc2+cuwpz4L+zep
CQ6si+dPz8qQlAaPhwPwtrGNcY+wCC9nHBa8TZixfVB0qFTDcyidDyo6eWjY9KsBPHrBCXfz1Pbe
djar+HXRauS7VcN4pmGnA/a34OP32NLjVxIBjRJpcJqxtsiL5TspQfgTvXYGEmYoBnnFbWVf7hZk
1lbxrUe1aA0QEA4MuJOd41lETRMabz0lS3gbA7MDKTok6+4mD8ZVE5b7OqmAQHuPp4IuvSWIuhMg
WrvI7SRfFUrZKV8cla9ub5mmL2+5/nkSDScAzeNdQS8M0aSiASMEoMVICB5svGvCGkmO4JWXI1LY
SGPDW//uqOJU4h1FCpKtgnUqLs4RG3PzYEpOKyN5ocJ9SVpQyoGa1zzrKKM4x/V7T8kYIEa2LRvA
yyNMlKJ1Br+QQtI8qP8nmYpKbhmPwv8qNAOTwKjFSCKuAcKRIB86TsLPVuH0p4rr+q6wu+e+buor
eFOuhI3jeuN0u48A5ihHBKMTR3hO5wXy5IxkrKqTrIMFbtDF4UZy8kEyR6JV+WzdmX9moIhsskuC
lTGSzPCci3SAT9VadaKReiPTy5hZ3EYqeoOUtfc3u3rR35UkenD/ZVg9XE74P9X6Uxj53cFaZlQF
iYZx1ActoqFhGk1/T3HOdjTSscUg5TQkM3Kg4X8hi6y8AaKKCP92IRNjclRx1NUNG9OTBchAIHia
kLsDyhA/z0Pg+lgs3s5C1usm+JFwTuFeqJmdoTr4XfFJiZDPaMRbGYG6SpWVKEhaomHeKtnKfGxn
1u/pOkhb3zamh71pHRDvWYLEHAlbQhgkCrtkhVPyAHWibJQL9bgfHkvTrY5kQaIHV5IR7EnzAJWi
XH5qcw9N2oc7aAcHFbum9SfBt7gmx8SSutSUwJ5y5+RKg6r2ao7qWce5yu5gtu12KlEdpjyo9xgm
AU1lhXWOMnu0YBN4Cn4Wii7X2MtrJUj3Or/OnuaB49B1ib7WKNZJDqa1ZIA/RGPEc7w1uB5tK2zo
PPk5m4Ds61XzCJoBOBbu9LU1kIpH1sqPlEr2e1Ji7kXCVRwah8swg8ELM4lN5VrNeWwTzfmSg063
yvzlmsR4dsx2P3xaTBxO4qA4/Buof1iJ5H/nidcFduznv9WLV+07ADgjw17vD9GULMBO1HKU8AAc
ageenhxI14UB2KMeXOPAwP3TqSxAgSFdHowOUevu5FhYh3aKPF2rSrdF1oXPyJMPn6mXaCmKrZDA
tidZV9U22DdrzMPKCpCCylBqBgBdFe3w3IoAUkQRNJzH7OWYws4jZowUQQpVnGTegVkP/M3iPuhC
yQyw9G3d+gdH75IrqNI6UJijWI0BceQ6JV8el6G0gsxQWohTp8kCAu6IJa1agg7GXGLNGM+B20Yo
oxAzC5oLDFV3yDCJeSERNrOWQ6a79kZNL2Kg2+RlB/pbMZUgCxWDvESMVFjQqPVKoAGLqzBT8Asu
OEF7SIBLh4SdDaCYkJxS5ygxjhpl+6OZssCKOQMYEgo4Bp8DWwusznukbgyodk7sBZW9k7fXNbMB
WJU9jcccuCGHsraPzrywMzXdtPiTHOtmjezCvvMYAFiTBEgKdytlT+qVpeySnlTKknq+OdbeRQnN
Bu8VYCRF7iEynCO5mIvlBE4DVF919uPN5dxf1VgdbAHQCOmfpJGnRt1cZ7ucIb1DHhPxAjzXvA23
ABHEjoZbhM+qqXGU8JTOv5NkLkvU/84T8uCNvtEOJOwc0BgFQwrKSqDHhUEYFc9DWJ4dAepIDQ5y
ndXwQdbneMX+ZxPymNMeyI4q6kMYGlr3a/Iwb09a7UqHX4bPIxQWtVMFliGx4wc+GevcihuioYGZ
WRkoDfVITYY0pCYRzmpIWiS1wFkZPvjpHDvZ3Nb/UBYPodpZxw6huhu7+9M2sQVHGbqqqsphRpDP
yOaQ1Vey6KqbGudguM13yteVMqnvWiQ5t8sAxiSq5eoBmwCKIJwn1wSMwrWhxVZfFQNmqMIWw4jC
zy0JrRS/9D3Op8AiLqhTUy132d4VRaXSiryAU+cGK3sZb2jmfWZgOj3WwH0AInWBMjGcPuVVw59j
cTZFQ2booM7GHHFHMtIqO1PvPyadsYAl9N2VenMBUJOBRTKkUlIMdcGhdSJkIlbFAUygzpVneenv
29T1wMg6H5YsHZotKnGcq+w6dbYEzZyYOzY5Zv08CoA1HeTXYTxPyM/AsypgPWipyYdCtkmPEvSZ
f1z96YZ0Yd5O/ZFXv6mVyvaTr86yIHupwXttQ390GeThR7HykT+wygYENYtmf9sKtBQrLwG74szt
37bnuHs5JI3jZNOVeqGAWaFhHhV4mVU5iEjuMjJpCyy/ZMQoAZRMk/xBFgx4ugPqyHEl5dH0qLPq
Q33SCrzO9PKkCwSdGE+dPtX6s/yd0O8AcNgojUyh6ZCEdl79TGbhQuMMt7OLQbQdgrcRhYx6H22Q
C5Mc5jnsNjgDxljDccIJmEdgH6exkbRMnOB/HJnfRRvOxuG5DO1tZJrpB7Pt0g9jFKcf2hQfqWa3
MWmHCGiQ+gFg6PoT6chU98bfw0kPz9Ji4PqMd7Y+HykGNUhqx4Gv3017ea0Wa4hdi2QJeTENf4nn
MPYDozbAEIVaB+ycui3S5SJwEQqZ23dQiCH1SFY32PiYzfnyYEZKXXj1uTUdxkz/65cxSJGNSxgk
uv5sp8WA70FD5p45JdVWyyZwCT6M5zz77iXDcp2cZrh1S/1kCCzTRYymtsXUDuyQXcikzmlj/Zrh
GwV1JRsOWY5/58HHD/bgekvrv+QdQypbBLIAbV5EOa91RcK4d8Q8F9jvoUD9pgZpPvp1CdN8H47g
CQYlRBuYTW0efcoSATR0fjABZ7PRaAzY7v6lML+4yQTMasfB3iePrd+Kymt3ig53aibUIE38hUS2
kTjXHBubNCJe3dKYrL059FhLCF5dahzbdvFEcJBBYDBMOua83g/Iq7v1ImUqGfUec2wMSYbEqOhW
cPe1iEe88IWcRIMFzsfIYb+RqRQJZYV8hY2pcbwWOz/zgsWzw5dsQwZ8muKbpiX5U5q0u940qrM7
1E96jd+t6efrJkyjds8BChs8KJiwYz4AehNgee2UlhQ0BP3NF9M0wiMF9ia3X0XvrafW1vWnR7G4
GVC/PJkOKBxzFJ/PWeKCk7l3PwAlac9R+/tMI71YlpcQvLZApenTTRJGOIUdtO9k77S2+2FgPDpg
oSfOReBOir4HKWydjcO+xNZ/in9tMCfNuZ6eyQV8CVg3OK69C1OO96dlNvaZmsmLgf26LDbwZ9Ej
WVt7/yDLa9oZygx1SsBuF3bKjXoPvg9DMlFhlO8vQ3l67mENX2QAx/UbQC1SiY1qxpFvQJownJKs
Qv00KfzStvwjleU42NmsApJa1K06JGMbQ/k5GpGvXHYJiplE8bas1qYuNS22GNMQ51tUxU0iLBGr
Jyzwm+2AKpSgQfGRPx/MCIXLeHslzVd3mIAEpQOHuFv0+qtf1H8DEYbdFjwpb2MR/kNiptvONhpG
52RXZv6V73xPL07IZkHuBEhltlVbCpoWy/wCYPonmy/ZR7+Z2Uezry592JhfsqxNQLEKmFnbrZpP
PkgRFydn1zn39CsqKnXZI5mbGeNF978pnRG2zc73GQNFU1fejPoL0qLBtyNyFcMFjWHa3W5a8Dgj
GTVY3/xtLqN9qAHGdYpnDpYLK8KqEw0KSEAPo8ZTOUoT8BJBkd0Nf2KiRNRLWRI/tTF/i0yRRpSZ
LzVATACw0ItmEFgKNqEu0Fh2nbH9p20FvSRV8g6CnoMslQ/JSpxVCs7nm/SNADyNlJJqZxotcF8X
C7OVzkd5g4H/GGC8z079nPnAKwACM5kwYefg/GWHlaKx00TOIsAyCvZaNr3Od0V1pgk7YGEmbKou
xaHop/VcPwbR4GEZ9SmQE/3V9J66ZM7rMtD96YMGhApwUwL7V3N98BMb44FAgEmUoGp8X6dLt6Uh
Kbo8+zZg42s3d3O842bV7YesZF+AcXc25rb4lo8cx2uLa34o4jQ8/d8WAJmpNpbOloOVWexCzdLF
huz9Z9mwJK849G9WrizUvlmapwMON3mrmvqxwArL+M8G59PnmYfWDlzS5iXy2N+yRNYP7eQ8NqIK
2QBQIdZSzlU1KPvC33CesZUzoargunSgOofowQLI2WuZOSbI14m68jDE+gS8EW26zYBDOXSR7QS9
GJICdBvlDegUNIi0pgqRgYFT1TL20yPQxn/DqeCrcUcT53blINVDQ437XUa9eLRw8GdoNmDc36HH
qTeU/aYCldMTuLMADO02PnAk8+TGabiEcWC2SFxPlri6ToAgvpZ2X+FEIN5mQkRypCGV+XbVxTLL
DXSQUm793oeKTNM60wDa5LAWbA0ciYAxgA4HAekte+LRvxoKRZOH8dbtLE8aV+0CUEOytpsqRZbA
jyFaMSSZpxuArB1ESO5YPojoRHclbSiUctALoGq8gRQ5IbA7aW9P7jv+Ej5Z7RM+bC2qPUGtwgQ6
08Jm8zPjsTU23pA3v3cpTib8jn3xc8sZt1WSxPsiCkcgC9Xz5YGGos0WVK+WoCxGzZDtB3JMlkuD
SvA9zn4WcOvq89lw8u9+MYevSMDvj/pssUPnxcUnHlaf0ygtvqGu/nsyhb82QIkB0IZz+1CG/MDt
ATU4Fkvja8cNFNmIXhR5GVKL7mMS6i34XDPXHHYPiinpY8DDoiG7iSLSmGdYXyBz+MC7bjjy2Dt7
o469uQZMyfJIX47pYF+e3tNpvtbovbmhLg4LgLdAXZkdILviBKjXRU6BdOM98jtGpoeYotwdZHdg
PTsORYjpTzTwV+AhApcDpPQglQf2ZLdwkJxn1o6UztSYL75pH0gZxbAvMwvctfjNn0lW+sw9VZ1n
YusEWgdTLqOOd6s1dZhiJb44yDi54oHLQHzjxZ9ividuARoM1Z54B941usBwfx+QxlmAtVAm4Fx0
yx4FS8juQ1u7zARMOE5hIh9gKlTmRAVOObaO0xPnXbarlv/H2Zctua0rW/7KifPcjCY4gezo2w+i
htJYk4eyXxjl4XCeR+DreyFZLmpre/t29AtMJBKQXJJIIHPlWmawYqgBghAcRHxBTs2fB4k8mI2y
mZWt+LmpKxRDeC8i5NnUKDXd+9UyQH5en4FU/M9TaP3YivZNUQ5AeIbiJXFTBGSb8hIj9XppXQAX
QFNSWEc1AJJQpMxryF3OwyMOlccMAymUHXaVF6YrDqbZo5n9pDLXpep1Zg5a2IZ+uV2RC9EgTSP+
IeoiODCo1UzuV9g6nW/BGr0UZ03sf5ce0tRYza+STsvkEPmxM08OlHOCOOB32SUgTFU8GQulRZF0
G1s38/1iWlguvMxQJV2lGKB785dpZGs8W/d1z7RADFePU6QYFZpHqWgizb56HXsgfDni3JHvhO11
N5H9KxPSgeoUvg/+u3NdgKISgiPNMr8y0vgxyFDlFRv7wQO5suj68qth/ox6Hn0TEmrTRlzzYw/A
y0OvAztcmm30bQzCLxE4F54txOr33mPdDD2QWdAdy7skeTAQMM5wp3kmkybZf+yyhdiKMnUoy9qO
SBYAUIiuBjLlxZ884t668m81PdjaAVBhLnSUjmMt2g2fws/jwJtTmzL9SfK2OMV5+lLansj93qxs
PwAoZcfCiD1F4F94Qk6CxkYrBm2UqrSnmdSAEv2z6XiTX7r1HVfVTxCSZke6Wrq6CFE1aDF7czOw
dBfnMc7KQwQFJ0KCIw4ikCn9kBgcwhi/ek1RTSWgJ+pnEVY+cWkSpGPBdSShtXJMkGsviJLFLWzM
1dBmuhIbEBB5AIO3lN79oBoDRAqgPtYOjqJNIPuE+O8xMLQjmRZ7HeoBNNj6cU02Tzj6TkIodHpM
dc84oF6Mb2KW6QcXfGwPkxFYq046+ffAiXaNXrZnt8cte5ZZgM5xtw4cqMCSWAJpKfxOWoFGFxdR
MOl3KdBjCytQSDRA1O8sfNIIrivaJUPj6741oK/7Lle6sAIttpk5aOm7ifM2byEIoitw5Coc4aDv
7cZOHkKv28pEH54RGh+eJeiYFDNzsJ+UzXGBOLdTR67mUWWLp25nQUj2nky5AaA79kPThrpZ19i4
DTfVXRchQN0G+hM1g9d0W2jGjesuKvXcL1h9qVDheB7Kmj31lgmGaauJr2bUnpH7DIxWd7QADlLR
o1pT2JL5rat/Cd3RWPPI1I5xMKYP9pQ7qxFlEt+0IEK6zmo/aXmCDYOs4jtQ0rOPSdk9kANkAOUq
0mvrobC8/thmMtwUuht9a1Foq1agpcUUe+up7SX+Tt+0LI4f5ntL6L3+Yy/2Xuusix9EH+EehXnM
7L65YGvYthXUNEHhWiISpTZF1KfGEcHknkCqcpG5be7IVvcdQTibTRtYxeds/EAa36EZyUPkmDHI
VTzxwjnP/L7g7WmCovxny73yim0XXn0sXowI1WGLV1d9JDNQt+JQWVEye8kiffPKPagXcT3fTkwO
kECOUa5eT9FzYJjGperFQedhFq1rxWyPoycdQudj66DnYqf32etyRL096JKLDMsrFzq7Qkwb+zst
PEVK8AL5GcQwsnvqVEr9glUQakWKFfx0ymEZ0KsWVWaIdexSnjG+CpJ6laDsUZSAzrBhs2CDb+C/
EnW8KHGfvtxAiGlCiipNvFSC4jXq8zz3QEg5hWCXBqPx6matK3dNRj6CbM6B5i1rIxFTrFEMh+1o
Vo0rO+zjB5CJuUhf97UvHCt5hdzR51bm1XOQQ2WrYA4DnAH2VJS7ZHDtTy6gFncGOHm2GZSxX2Xv
u3LQv4J5z952Oq/uIENkfkaUZE3jUASMNxqCxIehaNIPo9s90XpWmIM8dsjzc9FYzoM2atjvqBcy
9BY1zqEdP6B49lDkA0ieJBLXdlWJl7xrnQ0YR+M7z0rlC6/1oyGD6rnurOkeddHIb0fmm5toxviO
un910zP70WryNfYAWwQl7Q/9FFUXBAz6WcM+DpA/Dcci3NNX1IIbZEUZQLhDubZiU3t2iuZTVEj7
teIQV/aszLwf2zE/Cw+3Uhqwo+yua7rks1tLb5eD03wnQDT7OZysDTkkVZyiBrKSJxCrtA9WiQSy
EKn9CpTva4wC62fDTNpD6yCdTnYHpYgA57yGueZsKrvi+86qtWd76j4FSLRHBZ7mE5TonjpLTn7l
ApYevwvcizQ96iM0EMjUFVF/qXBDShIDOhpFg2T4gM/XTyF/nCJxjwVyCBhfLYAo2f/LArR80HXt
Jbaybas4qOMO++rcFUeg0stzr0xkpy41SY1y0I5Ppb/Y6GrxEzJrTpMO7d5m7QbBeFg2mZBa5+Wa
9pvUvLtw0lZ1SG112Z2++yCONx1KK/pPmDoI275vxGlLHpOmD+3JaQ9Ow0uXrmafZQcfZkHsD3yK
1osjzbOcALJbc/7H0EBpwAvUC4duW28iVVFjqYqaRF3ZaoBrUJyiAbLR6DIwqgIbsi0DAHG8zQhj
rqCeSYpTWWuVAP5RgZBhptxPIHd4SLXGfWjaFNWtKqZkTIjwjBp7ScvI2/zOI3KaXYVC2BdTc1DB
HGvNOggsYwcNmP3YphIiw0OgrVM34psIPJo59sTVOudu9NDUKXsayiLei7YGboS8AYWsgeXpy0PY
W/pTqCXTRa0VigJ5rKpot64K1i7h3Dmmmxjmlk2IXAfvozzqwGi0OAq7uDg98G5kcq0x8YsJAVHH
Qoo+VmKldGXhy9MhY7SYIdwAREeb52LdY7ftT6ggksiW/JqGGaigQ45JSZpCUhnltDQ4TM3bjEaN
0DANOLl8eTs+YN/O1vg8rAsxJAFzY64jW0vXOB7/ok0iSiRkX5oYHMLkNnMqpcrZtdNsTcarGXAW
dpDNzmyMk8tbQXRe77vW6Hc4gWPjlsgHN7e8/3TjK3dDW4GMhw2qracfYHt6tV2mvTQofPbzbgw/
hNjmQV7ckfd2FuMQ0Vc26r3T9qBDyuFOGhXKIPLG3QxpOWztOkfyNGWQD1EaIiCycveVFmwWE9mp
mSw+daurfjdIPETz82Ii5mWaG+koCwPibUJJOVD2YabHF7zz7GOvpVCLsseXSUvaPbcaZ91Pzfii
g+0ZNNCJPOvQHfroTki1Krec21AhSlzIRGj59FK6HkoQNatB/A6VbvvAKQO/BOvCOSkBktVj3Oz6
loGVCthfNyvSfaA3KOsgF2q0JETwv05Nv3Vaa9jRPPBrqpu7o6+j0biUlvepjnC/d3s8NQ1Vy5xJ
3Fupy1Sl89Kl0VI5B8pZV843c2k0StM1OFuQya046B/mNgLq5df16JTv1znUOxzdABbG69mRGlOF
fpfuYrueR9b3yfNr/G2cnJIGRx4RpceoCM0zmwbED/Uw2nkMBCjYFcFIjasocDOAIzs2GxYrQS7S
CqImGZL3kPL9zcxu5Ih9otIcD8tfSxKkI8fhWwBdD9l2G5Rn9DKLC6qJ401ooexntIPS52DPQ1YB
yh1ZFQ33iWrGHtl8LwSHMQ1Qg4qf4b5IwSIeVW5/dzMjFslLgsf+/mZCiNS4W+BgvKxBV9rYbINY
jCfqtQkSm6uYpysHIYHL4lsYDAghIHC6WLHmqwYxMlD0Yj87d8kWZLni6VVGGr7yxgau45Cjf1fL
CnWvgIAkcocknkUDveE990PUnMiE6utk7cUh+Gkah29MC8kkkPKUZ+RFcDOly6Vhvb5jmVYeFhNd
cXUPnm2Jfr0KDXhqNC3uYsRwnrxgwG9fa5ARVgc7nF+GfZ5jLwM5TYjxeN6wZijnfKCzn47g/caJ
ONQBIOL6bLGwuM+lt4+GHmqzN0vpVT3sh9LwVt2En0eeGs4ub4M7YICiZ4gsRs9W5yCMA72eXW05
gPu3eXyfae7sIcIvqIRzMnBPBQGI/CpohkH8JgBvk+4AOl/qwYn6RYbPr/fCYUNdAwqp2paGBTbB
a4R2a5+6bhFhIlcTl9m8nL5bltbcLZBEAjN6hoFPLy3LHR6mAKfknZ7sRo6qHFFG2gxXbEOoZpVj
9hJ3GZ4VQ2ZaF5z5rIvt5f8BoKy9o95iz4cp3uPX8EVnrXUxVBNAF/Yc1jz/VPL+U4qkF2BAq4m0
MUvX/NhgZ/ASdJr0DSMWjyDO8PCfC+SxT+wRWgGFtm0w8xFlxjjvitJ8Kab20xRFtVpnaCbni9SM
ZwopAI/wubbGYEu9pVmUHclWeYUzS0TeuNSddzvfATq1B6UqHeUcJJ7G1XzcaxJtVTSAltDIcgRE
kI77AYRglAxHe29YgEPaiIstymooTmUnSBPvcgOUFVqTu7tZFkKgPj6ESusaFOvDB0ek7Jzk4kUv
46Dz8QTJnOIDqUkA3QHGl7I60zxPmr9fZnCVllTjZXuetuNdzCK5Q+6p+Wj0DfRDU+QNtOQnSy3n
eXZwBjxGHIT4dDPZMa/5TjrvnOAhJApPau/U0Mi7H5lagMPWMm9sPA3qso4guZFYD6ZqCiZ+WiDg
2Y/cNB/IHvSlu65iqa0XmyjxyPRMfLIIHmjBSs8D/cFFHTMmjdyCxerY1UKuDZ7NCTsIKEMbkm86
GXuH0bDdA101v+kuLuQHCsq3Gcu0MmlXTWTq+8WXj81n5G3rLY7jOsC2f32JxY9ecenS1c27oLk3
fhME4Fbm0JS+owgWuxZZrLxwna2lutBNG+eGRsm2uOAzA99NoxgBF8dYgC+TVqApbSfbPT5YiJFM
rrwTWiX2emMDX+J1w6b1dAjZWdjFmGYWfeOJcdfzENK1lge8ncvs75BOhm7TxM2PNd7p2ss87UIr
gTpU7LMhgVSFVwwbA+C3ixdl+R3d+Z3ASwD+lh/pzk9NaYlqa5dBs54VFLmCMkOmHJA0OxpTf4rM
lanF5QN5m22RLguwBHRrGniGbQ0EV04H+Tv8p6NCjOc10WtQc0V4Elb8q9Fn/JJqIXuCdHtfm9Ez
NRWOgRs7sYxNAjjTM/ag7X1VvJZF5mA3in3PugvAKj/3hQ1S9gl0TQfohmIc3IkrkTrBvRvH2qPg
eBduJ1H3XwePSW8Ej24J7d3CRFaGujTgyVyus9b2NjTLanhyjxpJHZA85F2jU+Dx7Ijj8Mks7fa+
nfq3pnTtbOPl6TbsS3bitSvWg5e4r9P42I51/t0D0TvecdFfPCuADIOB955HwAYyntXbibu4zTse
DqgBbxx/ga+BXgy5ZMKkUVMAmOFJ0exrOZpvA9C2zWcknDEKtsXH8UmvDewjDH5EvYcCemUdPzp4
U8O+cMBKTX0L2iNr0bPWL1sgkYcBZZ08+FqZKWIeUuEISaaPrhrIrO7BY3YOs+QHhJWbj/UQNFtN
Chfh8gpcemOdrR0ejl+LbNhqSeD8UK625dSzazyUEhixxD4gszVcxgScBA6IXz9Xk57uvFQU20wa
5mfpIYIiZZmcaRSfZl54zqdlUqrb5YOUVYRCZEW4B945r1r1RjccEQc65WDUBGL/3dYpur65f+0/
X09gMDhGOTTxTLexTyN+Y36cyPx7nX7kwjVeDYktexkX02lM2HTJwInl16Cp3+ppBLpilRPyFKW5
PZR4E9QPVLaIriAvCgHwiU3+MuBSRmnp09XtElUdii2T9Xf8VSIUpYNGZ2nI5ikS3LDN3DWewW+j
NJDo8WM0dNEdcxOBtH9vI6kDRpJTLypITtVAHZAN+6a3AbqS5E2XpcBTJbdTKI4PMYjC6gL5S6Uc
jxxJ86iQqLPNUvryiw1b42TfMQfprMWHhks31y52EQLVFEzP4GwS22oMkNhM0+Ss1W4NxSYt/pQ4
yc9G1ZxoxofB0tofFWrQVsBiiWcI8oitMRXFMU2RVwa2/6Ohje1ZIPG3vLUsKmbT8s7IVDnu3sO2
7fLvf/3P//O/v0//K/xZPpSZCMviX0WfP+Dj7dr/+jfT3X//q5rt+x//9W9AGaHLY3ncxb8mJMAt
Nf799SkuQuX+P6KsaYqiK81LDuTrjqh2iFaHmdlWZ6hxXEzEvLN0Z/adGDotuJdvedrFMyEPedyQ
/QyeB4JXZhlA9wXpyXbAcxAjs+jjcZqeEGPGx0yXEHFIgQuDD3WpgdRF6vep/hgLy/JL5CtfoVHu
48/v/BDQD1rllVZ90JCD2uqtnR2MXHT3ppXinmCA/o2kfzQb0X2c9cK7WVGP+jhZhncZZS+X/qzA
h51MsAqdOLojcTwRbKS3np9/SZgm20rTdWhGVAAkUr9RfeHk9rgGWFo7pbi5oejysXBd4zGOIIXe
CH5PPTOPp/uh630eImHgD6B0O6Js/MPib46pfQedRZR8k0veRvk2d4JyTQtQA42hZG1MU7tt319H
h6D5yoh4uJ+XjgvrCSRn2YmW1pkVX0YvBkOVFz1TfmGoy0uGneyZekmlM6j9IHXBg7H0//xN4/rf
vmhAl7rACziexZlhOn/9ojWZHYo09ORF50Z4JB0lp5mqaBZfmtWVSlT3xTHCK/MwlGeOYNIt+rkf
DayM1n/10WUVtFvUZOLuRhSGOh6v+0504SoQRv5AjIY0kHbTd1CHmXukCyDXJGK2EfhSbbVwlSeC
fyvUg8zorOocQbr+7DET7wXAS8Ab7e3M8W1HfXxx6n05oSRrF5pgpgtb11p3YA/fmuA1QrVXnWg+
ZZvACgpIOqWWGiuDoqjI750MaZa5Bz5huWvCrD5BOLS+dAbAgnSYU6e30ixqHyKj3Xx8e/fQBctL
P4tajFrx22hof/3zR4Wf/u1nBYEf3AxMAD48MI9yNX51UxgGbSpzy50ugGUG/iTdE/cM7dmoW/ck
XavyqyFkX3AINVco3a0uvZlWT46hfSR7EGnJRpam3CNKaLxE2sEae/YFJX3jnYiNYENeDo6fTp3x
Tdi33Z2VVe19AdzJRiVafeomnmzvI9X0qXk9UKEy79xLZJAblviJeuIGUL7bFGEV3omkMj+PMXgJ
PYBtitapPuo9uBqVl2gmDVoxmBT08oWFbYfS4BTwKR33nbVmNp5PW97ScxGBjbx83TL3FDB9/NL3
WuC3fDTvY7eJ9lCcw58fp9kHxmrUjtVSfi2jeF+pm39Z2CdLFJtEizA+uu2T50TpqnQ7dqAu84R1
P+UDAqPAo/uNm4c7FLMEkHSqtL2WcETMY+NFVEHyTV2Ajzf9FuNiVBZ1QZb3oUKXiw+GdqzI6iOd
FpeGzo2IRPA1lHtKnwZM3Gq2f/72WNy6/faYjgOEAmQUTANPFXrkXH17hJHyNIzs5KIBcefXjmud
bUPgJ+VBe7kz2Y9JFSSRiQbJTt0i0fOjGembGzt1qYnGoVvzvtTmdX/n17F0P+moKCnVKy9T6RXE
BJEgnrLPN3Z6D7xwh0NShTu7T9yDqRo9R24MlT8OP0zahEsami/JSn26AseEe1hstz603DJMVyg2
vAtR3XuXjdEzfk7G9u31/nGpqzexrHWz9O0rkyO9u3l1cl/edw6C2Vy99mK/8lteZVlmsU1a/NEZ
unYb4KM7eGkKQTi6pCaBdtIBxzv9sNjo6saG7PoERgW1BDVXfVpi7vM6BkNThzDU79b4nY1eBmBA
7NJvhiOQ1K1qrSm2zAO+gZXBT2DukI705Kcua8BHYVXj2ZkkPwCOCU0/rsXPSAOAJxGIge9KOiXr
rOAnq9greFPlJ8cdf01Sm5S6moZtV/Ez9vAZuEhZVvi8aCXqXxCw0wotuqSjfWZ0PxdqtOzTt9F8
qGIaRaY4eqYJso+u55NHjPk6EnLb0U3j7QRYxYkbZuaXA6izmxhP8clIIb/FeuND35uAHFX1F+wP
411qomZ7FLz6YhTOnTMx9oGmCxfYBlu5LdM9/J9pOrJYEUSWca6bgXZM0701RMXxf33H2M2YOxpx
mbGtedGvB6vMXvR2uPDWcH4g0frItHT8bIGYZzMWVgdO6cI95aYZbfLWyF68qVtc6wSSFV3kfnTr
yrp4LQchTwfeT9XLeGCCaEkiWOgIpvsAxdcb8qMRalA+hpp0zLixS2iN+7po5MYYgcXXRNjNWa4l
c7YkuEbHxo40x6ZEJcnm/Bn5DSaQeH2QvM2lGTfJMTUXTxgIcGjRjqQC01xD4SRdDkivdStmh5u2
i5MD2crKQ+kbDVRcans8Nxxos0ivAvBGVRTXds0OdGWrLl0tA72qPx6o/pguyduismFyQik1KoiX
mX2dVSvhtQBYe3LY8rz7bqtdV83Gt0YOMVSVqK8jxteseiV+uYxPZQZkQw58TKEqKKhpVWlEQ/UW
1J8AWVsZge5sUgVfWRxRQajtQwTe5/8x/edjF5sbBzeOWSsxV3+Q+Y/GkrcR+ksBj8L8pFOosKEv
j0WXvTV14IFZeunTsDAUWJWM1Ie4i7HBRjBezSP/P2vMqzlts0003UzPbl5lCBuDiFbzPO8BsdLx
wLA/3QgGMAeQGjsCUJNHjd/Kg+GCjoc8dBBorqqmyNdABtgnUK7uR2/o99SjxlP2pYtiwv5Qhw1w
rqgUrKywRH2IPm2E2df1irhOnLgXx7lPl1FtF9WWLqnJkefW69Lcgjy2L/dko9XoKg4qBRlXq9sg
90WY1elORYtDedICK/NII8vr0ByEqRsA/EYt8ZuRlXuCWQpQCOxrDg1xQmmSbdy2dqA/07Wt43RH
7q4iOEcN1LV72A6t7wRZ5YM22nOMVT8MPyQz8UrYr++oRDGWoB+jLlNIZ7O18k2nRqXq0qiRZOWO
KhhFHuTgJjf+MHdxprmubRzKMHNXDcp8j6n6nlmIyEM9Gll8VPwoq17JAqkx1CH61M9QXYl6LjVE
TWLkw2YMbSQJlSfZxiIO0y31adHFe54SjMP6z1szprPbrZnlogrQMBzoNjLPdNTW7WprxvVIcxCW
MM6AbyXd3v2iJy8mr/0FXXoDSl3Apv/ogtywtleLRAZ+tV0A7eBguEdsqTwPetah/tn1Tqk3Pub9
1D2RqTeqcmP3bb+hLg38ZlIRiEdyoKZVk7iatCz0Pmm0hnqFDXs2H/sqC+xzZeZ+o/NfDiUJ0KbL
KFrhPlzvycgM3PSTaRhQHJe7Wrj5m4wHnjYe7peHkUQ9CA5fEBKeLg3oqm25lVR4oBXI16XuD6vi
2BGU4nMZgkbBACfIowmS720a9uGpBSch9DE7a5dI074fcHYHiJU5H8NJNEjBje633gG5NILIIRD2
7sobdx5OGEeUCUKgdclFZknqra0WJ8SotMNptSQo535nIOerJsYQ3/7zF8j728HQch3LcXVHZxy1
L8ZNtCgJyq7GT3c4hx5If0ITFb6rWtaoeS0z3zRDdLU6hwo1dwvQfqHiBEzfFYTUstxak5EaDb9M
HeElGawh3Nr6QcnMDbdNiU0SePxWlMBKenAo94WUPnUh+wrMkGrIexnAH6G7J5dlgPxoxrJUpKS7
9MouvgZtiaQnKlGex1iDvLIbQ2jMcVBAhaIsP9Bt1J/lL2BEqO5spO38VoVf+3fJFLoiG+pM0p2j
lc8kpbLYf+d75ZIFxnYYB7lKhIh90eb6qXIs91Nr/nQU7i+DNumh4MjYdYJPL+TVRKN+QiGO98ku
flrKqxaAzIU2EnLkhaOYojXFWuSFtci8eNEkWouBa+v0528Gs+zbWwtSxQ4zGbe4Cz16dhMzMEAY
2Uee1Z8t2bq+VMza1EQJg6SgA46cxUZXuZh8ULAkl2gKIDNBfgxPuSs/nMDyB94IBKTa5NK7cbgf
e6tdlVWWP+O3Tml2Sp+7OEn7sZE4O7IBm6+f+JB8nTPv0mk+a42pnci3Y6DgyfDxr8m3Ker6uTjN
nmMUen7fNOa8To8t3qlNui9uCgClL+L8xeVgjaZ19N6Qu9roNLDc8GZdCqvdt6BLB7CZeXvBtfQT
4iy7sjbE17GPru0VyqPI7lXFtV35J3oqvwaZ+KLZ7XNnWxeUnndPOIcGDy4rP8cIF704LS93in1w
m7GufjFD6/wGikpMC7Cx8EcJ0oYz4W5UT4ZhcCZQzvuYLTvj43uPIDnvvfd5oBC8WoXWfJ8HtoXg
TL0iTOZXyFMAO8MQIFa11D9NzuD+p7dHb/b9LZDn+9uTbutPRY+CsIzbSnbeqDgEY13tXhvGHErM
dvUc4lSF0F1XPRe682ZbRpcr8tOG1vxvfgvebahTBdVdm3OGWyXCH/bNT6EfAc4P8zE7VxwVY6wb
sM2nDNSclgJ12c6wOgkhhF/5KdOrkSW3p5MmG2QgUH3igzTL+aBpYXrGL+tnmNj2B0u4wWPnTGvO
MueDpxqUdUOTQ+RP5ODx+nuiO/V57k0oOh/6rtyTK1KfwDRGLNxSlxmp2BjW+AU8JdkKbIbmY1/0
5mPTtvluijTAapWNmi6qvXXa8H6z2LQ+SH0Rcb6zbfvNDxDfH0bv2Yfe5Ag0A9K6y4KwutCsvC3y
xxLbIPUqZEEkrj4DtHlcVjCHLDws7yi17QgQhbA4SB2loGXb2g8otRtVrDRBNLyQr6IHfq8Nss9e
Esd3zRCXu7rSjZcs0H1ygEq2sZ5sVB1MCLU8mS6+NjRAS3LX17QIgehVEWR8/9/cFc3bu6LBDEfX
Dcu0LAu1Abr6qlxtuOohDieIMGmnyAab+lJEYiPLZyPXMwtWL/almOTGBnnubu26IUpYUMW2ivJQ
XtG5LsU8UQlxAt2zxDy6DBBnrJFDEoHmLgMmQDhsRSN2nHUoA20fOkIulzqQT2kCrFSrLi2gW7ee
FYoVDWsIMqY7uoTc9D4wwvCA9zYcdA/7gbzUqpcKHFB+GdvFtuyHS4lb94/Qbm4u1NCUVO0PKbub
oQkWqYb+4oOcSLYy7am+azaOV1f3RNfq0s6hXpNl7pC92TBs0+//YgFiLVm1ugIulF7nF6r0PVdc
V9QU0mGnBExHHbFZIS4LZpKUG9/qUuN3V35qGgfIeTOwqPelCzQyaxq2GWMUQZliv/DYxFXVdyui
RyJem6VR1Z1yrLaDwgsEVRM92yP09LC9A8xV9aBYcRcgzoNfcu+gHBXKzFkGKcMRGP5mRZfUFMpI
V64rQXqR9M7mdmAQz3/+gjvmzVPfYBw3ONtB5RozTfs2U+C0Emx+HGCAIiwRIUJB+8extF6qxHBa
/wkqVNmHGJxIH/qCoZbWTuxjZ/b5hzSpgHZMaht8J+jqGhQpgMHMAXhyUFjRe4oRs0NQIcl0D3CQ
tN5REocayLKnp6hOjrSPpzQP2fWq3KOQIZ0e9SwJdnbca12lqHQ2kfZj6nBbwt3vNbQTpHeBPkbh
4nuXRnFgf+3ek8TpL485H0weYCF+jHHmm/Mw4AViQGcipUSZG9cs2Gn0ss8TxfwGs2dQHRveRpNu
Yqceo7WHkps/fwqIrP/tY/Dwm/YMxjwG/uO/Jdcc03ax5UekZEgtiTJEMJNLP0yHNgIvol6jQie0
p++10JNLgyP1s5HlG3C1QtYHEKRnrYpMHMX6AdmXGluXmMlN6YXuU1KgZn4quAmJgtZ9SittOKXY
TIH+cih86dUJ1BA9446cCx20g2D6uRvSeir8ZhD5uirCYCsDnT9VmWlvAdXm+quMC/3RkkO3BQFe
fyfjALtZkGe0yF9+jaKqQyh6QmS8GcULaslWGc5os33xzxDjWex/9ad1ij79MboQ0KB6Vh1awzsL
kSHfplrWpU/DRQ7GPnswAuj4TtUpTNDYooCglHTQJNq4L8tsRyYaXNyMDDdNIL7hZ8Qo3nZ7Nz2W
o60DzYjGRDHNpS/1D1VTDvsxS6qdXZg4poah7FZeprcnly6nLkt2vWhe5y40nh5LWYdbkYHaf6Uh
onAopKcfcFzAleXBSP2ryyvX+fLKYZ6mFliWmqfSSNT2EHipgZqsanaM4/7LICJz2yUdeJwMoaGl
EYAh2fGqP7urOXTVmKBpGHHj2sxdmj4vAoFS0HJVqz9/9Z3bBywY7SzbRXqCY8tl6cbNAxbQhoHZ
GeodmqmIJBCTqMGDaloFlV9mfUzer0oRvdmWq3/0Ky0Ln00cDI9F8AHnhuyLzFGT58WDsU3lKL66
9cfSmbIvTJljpLu3WmTW5yEtwOhehgF01lycNiqr+2QNOqBZKAoMhig+MBwS1omqJDQa95sb20Z6
zvRa3NsSt08/DCB5ybWwOYc5BKo91psPATjoLwM4BZDpxEt7ZQUiapDTP/Qo1LoaoBnQ4nqbISxQ
mtIMoKrzVThgQIL1Z54RQOf+a5YkWArpjT9/Jp6ncvnXoBLHMJmnuxxxAps5rnMTJuhsfRhNpxRn
kQHdY0CIG3Gy2C2P1Ig0q6BIhSbrgBpa0aVg/WYqoKdELlreV0cHGk9v8676s7eaTZ5Ltw2CbmsF
WrTKFf9mjLzupuR1eZ9MrLynq45Dqq+Mgmx9MyDBfbeNKpygaSBVOwa6AoEhgLI4iiO8+mupTK0X
iSA+JOb0vKxOHh50bk+FKbdXa6iZDg7Plz7fLe60DM1pxsLPQZ0OheyUHZNimi51lcfIOpV4Ujk5
MFvKlhltZqxwaqkB4AYkLWdIQ5W5MH9MdrxqEsuC6FLxrI+D81LZQMhAnmR6mEaUXbSQAtywMDgi
39ua66YpvybjiHpuB3eg3W+6yLCIO6itYmcI4ImvCahPRXnFdpNn6NhfOjrYNFXVt9ONIK2HxOKu
Nw0Q+uCbBtDZ/ewB5hC26yupr/IpgC9NeJ8l3V7uOtCRXeRMP2Ca3zlVsEGwAaEgwYo1gYnAP40o
GuGNqL8Mz1ClzOydrYZTWb8CJ6b8v4xdV3PjOLP9RagCCQbwlcqWZdlyGs8La8IuwZzjr78HTe/I
4927+72wBKABOUgk0H0CBEwhhwqJGa9YS+LFLbOkWx1LFEffmqz3ViYwvifXBHwLFah63Ufz+L0z
14RV7nQA1wFw7A0ORhzKIyE+YTPpbsHUwENx1MiuKxZ0AYjO8D0FkB0VYw2kpcuHQPVr+GriBp1M
rBNbKejxME1b5breEYbqlakZlgDUsmZ06UtHhaElBGTMvRmmZ28U7iWt8wgWNSA1TDkezOOUVpux
GubNNMTyQiHm/Crw+PYj29oLW9iPgbTYuilAoKig5POoUOy8HcrmKwS04CSa9yh95lG3jivHQWYF
hL0ohfgeJBnmm9Hp76lLefAV8svMbW8sz3jArW9GHc+FalzceZfrLHo1dTKGdljy9Km/a+ApAvrf
84clITYAskcrX+hNSzLQqnHDOXRp/oX6lkX0zwWjov7AE+vNViHUpJoGEB3LqL71mj14DQOSOD1I
K/juVV64S2Fc4Nu6otdoPhvcFMCbYwEAR8xZfeqnCOpLoilf9R40HF2ixlGn0nS73oBFpp5LwR9G
l8lO+z6PgmkaoFLuCgJ7ObjCESQUmvy7CG2YSWQdf25VP65R1mHnYezG3djH8DEucIaFtFi1i1EB
vR/DsVlbbRC+VHKA9VdeGt9Tx9xDBChSflfFfpIO7A8vF1+SIfK+TPlYr5wkq+5AhIRsI1Smi8Cs
D90kXkkxmi5X6sbkZVuOMsEt9fdNAGXfGqJjK5a39ebK3FiGra4+uIH9usRd19Or5F3/voqdbMtq
RzVtjicQGKRusDRdW3p3M7C9NGhRmbxyPkY4dR7chUl3uNbF2a8I6vt9jVrTYkqz/GnDSQS5i+QI
/C/S8EA780SAeZe56dJHMGi3H+EWD4MX3+onCZFMrVs5CHMDxkx6w2Rm3HptCvHKZTjQwpV6OBuh
nZVCIZy72clotB12kpnRUcTI/5D7SFbD/zNunFuisxYBnAwHFsXYjoIKSxcaiE2ImKsQBfp5GJAE
f2fF/tVZ0HfAzKGRr4VUF/XU6zly4MGraCbwV6/KvX+J9CLL5OXyNRrtevdh3qLFOmGioScu0YD2
Zj6M5yD30kfq0iZQZaxU/tTpi1sZryo2x5PA9vOptZDUZ3wAa0a0+VNtpNkNN1pIQujYNu3UpWoj
QDwxSBN+n84iUCmiEPB8c0g3AUSH9p0cpy9QS9qm3cifgo43d3gKtJDlQr+hw6QOG3Szqe1t5CX8
CYzqVSbS4RbamxAQ4Gz6ghxAqlXlvL1Kk2XFWK9YOsH7itRPb0xhLAPaKoUGLNJj/VMcKU0xL18N
ZoenBNkC33LD8tUMg3rndr2zoaZbiX4VxMCIUFMm3gmqOeYDrVFk4Zq6JzuGYoNew/y1RlTg+Fsz
Z12lBQPfB5kHykF0BRQ78NBfuq79SMSJlRGAKk19S15izABfs+30dWnOMICvnAH6y8g8nktxyAK7
v8trl8N+OBzvZDKbNyHvkB9mjpOepxafZZA7x53ZAGmwToshBlm7DzfYV8CVRXXQ5Ovd8EwXExzn
fdmw1K8yVQRrmU34S5r7Xg7vEV6TgWidJ843qL+Fh6VJc2GtZqyBDcJDVkf3UaaWRWPWDYceN3kK
u/ZTc27/TKzYAkYGPpY1uBs7GC9hOxLCiPwALutTD+rdXcCS4m4Z8OK+XPWmRNEaGOIP1uU2QCpB
V0LxkMDFn+zMF+tyGqKJv6KpZTbVsZaBvPE2AoqwH+jr9PV878XDqzmP9K31IKE8lOeFm07fa2cN
1zlou0b2c9gUbF23DsDugK5Pyo8aqwOAZhR7aUTdacp1RZShWEkJDRF3/coB9XubUAUzN5ol5pr4
gPDgvEMCBnYCGkOfaJj9JyH8Qg5HiCHVh6vyPb1qAVnSfI0byOU+gEU2PRXgH17iLoF5F1p9Z09P
gx2fgjQZztTltGa44mMdAmOCwQDo0A22as6GRue4Rp2yzX+WdlJA7ibp35p+wl7b5uGxKDrvpbeL
VWtP/VtcMG/XonK8pbBYhre4J4dPidOlJxTGkyWMeU20Gtu+xOkucB6THJqWOT7AJXfdmySNu0tY
Gc/9xCHRBG7WhSNBdXK5e5vipnPJ9YVVFd8UvR1trn2m2VzM0LZvKSKVYI/k8D8G9vM4mNx+Hl3e
PknjjRo9JAUfFQgD1LLxP3kEphSq6cp5jpQRXIDrWi+RsukvuCPhmx04TzgFVgm0PSJwEEoW4Wgq
ixwi5yaY3nSGTDgKtSFuYefWZfN5ymCSERRCPuNU8XyVeCjCBE8jEhsbXKh2B3uSg4AjQYtNr1GJ
HYARsw8VynvU3POXuDBilBeAUYURMbvYbZv4hDtJAudeAGD5EkLNbYkopzR8rNrqf47Q7xLYcMUz
E15uJlDXfCg/c5h2N7AZ6lvIAKlx2NrJGIKtiIf4GgWkadOrMb63VAZqopLxfXcYm5adqZcuRe6J
DTex6X5fSMdPMRxRowri7Lq1xMWBvWPQIvY7fHuKzRQ7b2mXqhtadolz4uJmMJzXJaKMUuFnA4OV
BNi47z/iUPeQG9ULQFrk/Udc2uym6CJ2vi4H3ILY1CNHUZAmMKfdFfqHMtMxXIe9W+1Y0X91DTyq
SliXP+sWr6oPrUSx5q7JTPPZssdlrAl68VxYzT/N+zUG1abCj2J26GwXn7l2+B57Pc4AugXD+nAv
A3C/qTnaxUsmUSqqp00eIFE3adWovimgrx7U5a7XdOTJnvA98tiTR7XMWs3fkyarb1s9GIfp+4LL
6GBtIs/CQiUfVjlEIXdOiftI4kyLyuhVb1Q2MTbOZXRLiqTUXwloOfCCqw2JkFLf3KfjkTnDPYVd
+39NTwMGEmJWDls5Dgmc6Gf2Nszm+6tr36dX5azCrzMU5JYZsm7ObtYc27m04AU8mS/g6sCbgo0X
cFqRtRlf3To1X/Sj/75U/LHTMRAYEscUmh++48T5KVVGswG2u74U5ngLCW3rFXZ07mFSIU6kWtuY
zTJdGwFgWtRE69aJx+6S1T1ouNDntnhUBiviRI34zYPnsG8BLVAyWC3sqVrkyX5yIaqJFBXYIbw9
OfoHG7gHKJajLo5Vsue421FvrGobSibsTK0GGt+3SoDbT82U93xf4oa8pmYbZsYGf/ximZrbJSoc
UclvXLuWe+bgkAktHVP4IDBgQ9FA5GGEkLcHdvc8QqAH5ojUrMXo3SnT+yNKvHGPex64VzA1uek9
yGoNdTOcBfjW5xj0zV3JYVnd6b7rwIR/IUzHoWZ67aNXaTU0awMioOtPA5IP9WqSbbqlgeuosHqt
0IxkAr0lDdC7oXL33Uu66kD9kePOJ+nN88ae3gIAtfDZdvNbetXA4a316WXYYUR5KKz4VpAlK2P2
Jihdo5OG6RLTML3sMxuJubxna8ELwEkhkt3Iyt5TKxymBJpO+t5NbTG63jGcQz/SAzSaQj3tP4Bc
put9zrAJD6ddyW3bsz3wpj5l2FzpKWsop+jE62L0FxTVAF9LbPDy7RUz1RaQ3K/4cEeQqQl0S+3U
9fUakP0/kwAlcrYtiuMwEAizdZCCvHvV2UauBJUv9ePaQ6+uoQGU7aVPYZ764TblKrahQTWZ6hy2
bvhUSkjRziMUAeBurZ5Qq+KQzZ8AHtCjs+UFjwB96CHqgPgrUhussW4onMsmxT0txq+rw+G04d1V
rXOiFs2CF/Cp9+YUKA5h+EMYhzAywEfeHvLgpoYS/XMDD9M1DsjRvtVNWJGCcW1BWI+CDfja70U+
2Stqjhwog8gZwUXUwWVjVuc5j++X2Ab4EZhU+riBhMOqS/EUQw31Qm8zG9mzzYLhjkJ7A99ZPPaT
I63jKMdvoNgC2M4MC3qtmYJHariefm/SKHBk5jLKavdjMCjpH5v/NLcqoF6Q9LApDzi29rD/eQyH
yj56kVs/ICHWPOguO1P2McGp4oH6S24uXV7brPMyAZfJdKH2BtkO7zyEME2XeneedN551hcVFbDh
GOWfFHDtx1mth0x5kG1pYFnk1/xrsGqgrjHOvFsvsFAJmE0yxF9JvpO6wCy7YU1dnAkomjQTgNOp
3W6v8YBLfKVWVcfGg2hBKtR5OId468TsIY560AMvnkIuFgxhnX2joLw1vG2Ps8+qK1R2trtSf3CK
6WsDrUP8+brpDEXF7NymkeHnGtPTIim6DNCMCOL2H2bAu30CVC1zkINTfEe6u0hvYLPlPYHiYj63
+YfGXyMUVrE9hf01Z2yiCzAGHvx1AAWf7EG8GvFU3FQJEkBkxIMDQbE3RWMnp3jmX+jxTzsDsIG3
zOHBmVo56EYbulCTBnQEbQFokwBmgoEsD1c31KRXINgDUUibhl/L0TtARvB9OQqO8EE/ywD3DRvf
ZEf1+FYqQx661klXeHLIJzeu5lMmxm/UEn0GDUmLz1DtdYNDxKboqWc9xwZLA3h000qy8qywucjL
DjjBZI5OqYANgEA95omFZrmesmzY9RWLnuYavhExyLU+TRVJlt9O07iGFF1xDBUgQ1U5wAGFxSU1
p8BEloXlebb79/qHQVXv3+ofruMaHqrikJQxgbf9VJQSZVwayF7gIR2y8kaYOLrIkv30ArZlQw8B
Fmimjh1wh5rHDEK5BbWBWYCxhQPxD9wevlnMC79aFj5fqG3ZLw2PkWnImf049Wxe58BZPZRVH25L
2XR38RjMkO93Yjy8q+4QVnN4Y3hWf4QzRLzvR27h9Jl324mx4h4A2HAjatWuAEkGsgDbzZVbj/2r
BHwZuBiz/G6n4Qm6qFPoF92Ft2UEncEh3FReBncFB9wNobdcRqDJf27zjJJ3sU6CqXiY2j7fRlU5
n1jBjL0ajQblygH6KvNo7KwwZpAEQiHCTLDrTlsRHhzbNo/geHu+EdTmizW60d4VLcPeCs2RA9id
dKMNj1s0YXkPuiySZkdqep54scrKPFMrlp0PtVHryan75LFW8Za6Q1GXdzO4p8sbDIVxA49Rq/pu
2xbkT/zWhKYhSs6oM3UJZBo0KK7zYtsvnLk6Egit+dUcFNKuSDI+BkH20I3Z+JqOA2gs3QwaixvJ
WxPWRBsgMpMvKA7cGUbn/ESC6wGwh+E1wKlg00P69RYaFu6tE6XGWmj451APOzOr8vsp4dm9AB0G
9IoJltgO8gBgAWf3zIPOqoBPyo6aFPwrLhZVt+MsiGD8FY8blqOeZ9pw7qGmBSkNcJyAg7+OEixe
8hr6PSxKbum5oyy2EmGpHqnVYZt6bTlzuC7honOUCbeAzkwWad7EwtMOB2AJ6e0hvx0b4azHMcu/
ceN/johL2YMYW3r/tEbMZ+s/kBLC+IzNczzgEVAyFo4BEoZ0denyAyCLByBJswoL12KAquRVWIHE
F6LESDaxjLtFi6ExIciwqCzQ8CLBQJMMQ/AcmhfQXqA2zcQJv4NC0y+xBpDIo1ULfPg6ECE/Sn3B
gXI+UhMYMIDW6SV10nACPMHayR1ofulAR3iIoZfXiZ/WuU72LFZB0yQNQVVHOmcGSdwnrG0XCWDM
o6TfUxPagvn9mEziRsdVFOekU35PcQMyyPulk2KgtfO0YHQjwMNXctBHhGD6k4Cqo2jqlWmE7Qnq
sUDeJMPSP0WoNlD/bNjDg44nwKvRGh/7dTwQtF8VNuJ7p8yNE6tH40SvtAzQSXUbb5yyD91wqJ2R
TI28/qCy+o5CQxbA8FC494CXPYxONLrACrbynKFaunahgLCmJl3Krsn2IZuO8HfPn1DKmtdITqXI
jA9omqj3xV7g+aoS2ZPAYQ9yEfbK0bE0ARi/Z6RAndN1elLJdEfxU6rYAZql79MNheSHBG3q0NU9
DDM6uGZA7G2dpV1z5GAETCiOYxcV1XYLERfrlcL60WOTzxIjmHyBUyg2wlDep8l0+RCEbeqyGPXR
Wtc4WlVW5iv1G9xtDiy0bnlfGCWUrVlzvF5EXLYfmjY1+VghaWiur2H0imKXCL3Ip6kU8vk9KEY1
odzYeaL8Pjd56V8nttRuWIxeWpiGpkhhUwMrBZxeu0uSSAFKB+/9SvLu0ugL7IuKFXfnZE9NGig6
uGe06kKTtJvDvhR24M9m2C99cCixgHqYkwPFMxtK93azjMkKyPDYFXcCu1H4zzTNt8QUN4Ft1aEv
Oc6Kudf9DDkQmB3sM15C0x5Bp476c1R5xX7GJniHH3sfOjiSAKeloeEF+8pBBp/106Aogz89M5BP
WZ3N2xx7WBx7EDoIyVZO5QRfoRqzoQeHhB1Ji4JpPZTiGQoX0x2v5Zfe6s1nJ4FyNfYRX65jo2d/
qbg0n5lZQmLhr8h/mKcj8XgGP61Ru9C1UMxxo+kUQyIVZEbI7FHfdcDWo9SUkHiGwWEAsSyw0XBW
05O7kMlNVdf1hhmZ3AIT595UeTWAdgkaLYeyy0vTGt/apgz+6KLSV4ll/fCgMAiiSBE9BsI55/3w
rCTUQv2Jddgx6IsyRHMTjShk+59f0jgId81NQuPLpCpsl5nX6R9i6GUECZB/3+nZn58mLrcsxwQl
xnMMF6z3T3yqfnJsiCvJ5raFPZwwpbrJjS7yF40Rahfz+Fe7yrCtLvX4hDrRAwmLiDQa96DG+rUp
woUdLNnk3vW1CyfKFNxhC77XkO33qhWLBg97RwYa7Kq17O31ZAShG+UnCWN4RINDlwVxBJ23ZFiO
UoAOFPfQCsVByTmJuEb1RDuJfVJChNnBtJ0yUS6EInnVSLwSjALY+MGprjk0scWP//63/FtKw0V2
HsADYTguh8uJ8enJbEIlx4AQX3b7rutmJNB/Wp5hMsRXL/eyYAu1BU/60wzVGdlP708penShvnLj
DC7kNc4kuhRIFdwmeKD5JP0QmkmyncoGWTEt2NR4AroxOALeTV4/v/x9UgZxntWgxmI/aEhoYIJ8
PrCwOJRaQYj67IbVS5/dQEaIBkLxW1yn51772tKsIQWm4J0GYrRst66LfKQXZhdgO8O7vBqlH+Lv
85blCTBkQkpUWtvqMlTzC/V3WWqvkZ3Mb+wmK169rlwNXeC8GY3+xZDT3FGT8xmnWDt69RSvbiJg
wtY0Xb8dz4z00idKLW9H8XUKlyh6uywA/vbf/7F4kHxKVrncgaylJw1bgMDyN42hpK8cywWx/Nar
B3/2rNW75k5sRucRTVLooa+D9/904YO3WoR5KEKvQd8hmolvTnzWEdQaKuDC8X8+Yjtd3ECLPNma
QHx9gZz73sE56Ifg8FZwZFg9xGONiKLRml75F0fxh1lVzcNQRrBcMNWePjhgXnN8a2e8Y1xC6h02
EjDQtJIDNaGi9mGSEcb7QjDmgy3fbuNAI7J/vzQGuEg+dcI8Otvb7XD6p7hrX8XzE8CZlvMVRajB
j7TXTexYYl/l8xdqXQn4hgs3HKUHsef6Ak+I4o66rmE0c8bg0h+IhxEgEV92d2S3IedO42BZfYfq
mrjlpRjXFRQxvs/JEtAA7rxSTlXfKRfEmX8LcIKqPMyet45AjeDZ/t8/VX/DGLrCgJyQTTojliXs
T7eLHPmbdpKGOsJ4B/U0f4j6m6xLjJfWcn0Z8+7JTYr5MYjNtSoFfxkmmLGaVf49iCv+0tajB7BC
Dh0UPcfLwAKVblLDbBaxU5UFa7xDvF9WtMFs5vY8wnIHc/XBkwcBP/96Ox64azHC7PQKUo+KcV57
0FHeXPtSz3TOUGejnituPeXmx1AaoNBmWFGltx8g0mhboKHi61PCGiW34O7Yl7wB7xa4BKey3toe
97B4wO+Cwhz1QmXCugt75KIHeHG8Aspt7GcDus40mv6+ROkayxKdMdIShl44svj7EjSHNy5flgg1
OuL6UySy/nPmQXi44qFAl7s3pQNQEAGlrhAq5ZkpHk4WjMw15uo6YKrkPxIxUn8GPuZhXDyXJdDw
wjMckwMq/Pthz6mU5czl3Nwg3wQeiE6hdvrAD30fHO51vrX5vQk86vuonXPxIbipre8ehxhQXFr5
puU83YaBZz96LIDEv5W8gsJtP0Imz36EssrJtVtIQeou2Gy+x9NgAvjuKW6jV2r9is+xzbhbFqzq
ARZBE/S6C6cz4E8QRHsispgpA1hrFF9baLmca32hflHnDfVTa7DT8s7ro5VoZb51BzN5rGYcZ5LY
BFcKiA2AkoM/swm6IRy2K0GvzWeyxH00WSI3idMjNdG5/AYF2m6XwQlB3w4h6uJM8ZvIpksOQ8E/
m/SrKuLsjxE3Yd8WTfySgj+7Tj3Ie8HaLTwox2X3sLr40pbMhcpAEG95xN1d0Y/ulxSMNJaPyVMY
O+w//uXiMyFFGmCgWq5lm47p/R0PnoyDZcw5KlSyl0gDTezUGWAppKrlmymXDL6d6Ltegk5rvFnR
z2sXvWJI+a9NECfWQzG9DPA1+qP3AvjuovDve2WzbmMn+DnVxtcgbNWbOWKHAvyy9ThHMBlruiY5
10zau74b06Nqy/g4KZEh+Q/IZPEf90KkFT990EG3FdzFB1CAfovN06cPemKLHinRoj5aYA3egqrh
7jugWg9tWIR3o7T17txon5iHTC40euLvHKZ1VVV2yIuV8Ro1M/Yjz0AbMhvgCU3B+Jp3TXXOnbLe
T5OUMORxqxM4dRbQDd38OOKO6UeZiVTljHwVraQ6HB7gzv3HXGQKSj22fJlCu1wL/InvuTm4O7OP
+xsk40xw36Js6zSdfQkSGIMFAMR+la5xtjMb0m0mu+9loP700uy7Utx+hc1YsKIlIujy12d8E3vY
O4zTrgDbeXW1HGNm9S99jXYlo2CKK6MMgFsbdmeg+ctVVSsgKsahvgCjaM+1+RBYSX1xcCs/JBw+
qTSmxknepSOyYPhXli8KlQ5ApKf+G/4G56oH7ss3vOfAiFx8TiaU0RvZ/4Ta8LegwucEx+loJVEn
uoNWfrxSWfT1unksmh4ABDP5SltJ2jv+3pUnwJ4VkPPfhapeFRXHZ/H3V7FIQG8ciwrkHwOvPoxu
cG4DFsash+ZCx0jdguD3hxaN0aEyL+aNpSPpUPlrXqOPmHqM5tFYidb/Nu/XKr/m0SqgMngHrxPj
po6m6egabDyWOU/9uSvNpS8EGRb2qn9dKO7apFfU16cQ9EZedz/AYKcC5QDrFemYQqqjNzdL3FT9
lNydDtwd84sL4tkuUqpBFgHNfvbySwKVwZWSc7unvlb34Svge2ZW3lMX8kPlMbKaH9TqwhhMAG7w
HRTukA4JYaehM1d0MSlZRS8blBh3HfLEOGDpPFc68xOnYWp3hgJcfWoieCnoBNd1DXoVJmDHQaAp
2lmgnR2QWkc6EVjgkwOS0xEa5/aNXauFD1j0STgd2q7k23KCfkHiCbg0uW15mEQBobFQpqcuLx+V
Bf+HVMjw8RpBfZmOAKD4keLpgvvOP64Ru8Udsl7PnR1F34Vo1m48Wl9g/21vB2nZ+7I2kucyyB8o
QMEhzR8NJO3z2IWWIGujNQx21ffKaNegqVlfssh0cKaBegw2H2BEhl2wRcqtwC4STcMKo8cM2AtZ
Z4Cg6y7cFd8jaJD6fo+gNSbLLtYAn9d3NXcegRmFuoYRIYUYt/V9DDzNyhqF/A53LqQoIPwrG/CN
wdMpYb42vseWk7JvxzbbR2k9riYXe3IrbfesCNkfpWUBKRpUb63XqvWY29O5ATflgCpgtTe9Ek55
etKgJ7Ugt8EHsr04ADzjH5MkTwXLDjx37C+9kwa7xB7VtkaSEeKJ89dpZi60zZ3yQTLrlbpBjWPA
NML6AcZSZy8dVqmo3AczZs5DW9juTVnYP2soD8YQr6iB14eWaCBjeVBgoL0lcEoxof6VWfPBMIBO
TmFO8cZr82eRluKelX2DfEGPjJcOg/y6vRaQfjyAWRhhcj4n/eu/7+YN63MmRUKUxsZ303NtE9I0
n0UDAzuAT6FpxMfW6wWkHYxBO1GodANzMwiioGy1kWqUP5wkSPzaaswX3oLwHxrJeC88BVadsJpj
MPe4IImx00bc962VwjZgRpnNzJpnq0OBEMrx+Qokk+bZ7ef+iPoz9xPdrFxAcWt7iH0vD9vnlnfj
HfbdrzRV5m1+X8jwRDOZZbOHoPXAoMTEjiv5mA8/W1Rz1o1S7rocRQGmCS7dHJbHPhqQ+Lq2zSwC
r+naZnZ7y51kqCFooXpj1WvViy4as/vWMbMdmADMp77rxUzqG9HGJWpJiKXLh1iYrt9VKXuDe5bn
x3UEik/WmmqrkjjwUbXkE7aVE1svFnIQBhfHCvdbcoUjWcirxQA16TKjsnJkIJdfu2jCp1gKs+Gu
urbHlDM/qA15Pxni1BRGcSuxd2Awi4NDEugIEtopuu0AYrDBfWN6n+MGHdtXLIF/TYef0w+L0jgh
J7+lxZY5OByuQldMdx4PvXsagMpz5PMoFwBlXawWfAJO6IQBGdzWGS6LWx315WDTrO0Mmn0fOrth
ACXYYcgcaDyDxjkAur/MvXZRfxVoW+/YNf9DJZdOJB9PLBL7OGxgoQpsooT8N4GmAYy4ULRTfHSz
DBzoCslkpJAznFNVBS3UPLp0miheMG33nEM6TnnzeiE9w04dM/79e2l9PkGBWWlA/5V7qGhzeMB+
2ljGkW2XSJBBucjl6e0EiAM+qrjQq2szKyptdFUixaZHcafptp4sa5TXJ/gpgER+V8Mim1rXi3S6
hyxSsKvWUXSJQVld1THKt1EmkGkemFPuc3CO/KiHc0pSeSjgplqHrm5Hc+8lIGqWIGpuiWtFPqj0
6kqwsiz+V4jW8KfRDxfdNyhx+fe/m/7jfNqSey4UkhxkNA1pYzv6+S/XNMEInlFb3eQO9r827qX2
JnD4cGo0TBSnk9CnZpsBGSpqyBALB2nzVkNDc1gr+wm4oOsaDHsf4mnqVMQtCvUiO8q8VifqQgEO
CG5qOxm78GSUD6oMvN1k9vmmtjv2YvIJig6wkj9Qk7k88RNrAgtcj6bwOSk9WT9VTTlfoKe9d5Rk
yIZycFsK3BmpKaMfHFZ+e0vV6SpuQJBwIBV9LgDLmNwGdIna7p/wJVtFqmMPFBD2ZQNzl6o/0iBo
wFDDTdtxS6OzkRhgaGXQlciZD4Ji8QpeXrCtUdzfEmnCDZx81cW4mdMozg43UZnWlzDJrUcrdzfE
pcDtDGaROiECN2BxVCBIrqBXwawfKHz+jIcSThceTNEmIuTXr3FaOxfiFwmIiGz6ACK/VSfWTpsq
jSN+CR1hAguVq3tVDNhMTSJ8K3JwSSaA4A4AJqo3Bvq/2Wfxa9NHxrGsTWNF05E5UKsiqyNsyLr0
GRjULfwO9cGQhft+CPB1HQBIsQY4IcwsC/ZdNKRQEIcW9SJPZjTJm5zK7GbB+kPyM/JjR8Z+zbxy
B3LKBFCB9cBh2XrhU2jes3b8St2wLOu3VpSCF6Z5xn3mPIgojLBpRZTqxq+DnuxmVr+ltTo17QIk
nXHG0uyrJrVWTJuNK+1HbrZry8KHiRpQyU7X1tDXO2qyZspPgLk+J9yBR9HYsW/DINrbQFuddwbf
2A5UtecpxulYyzpUZVTcObFxgdAhvv2BZOse5dqHRCtCcK+g88988IYcdKGm7HfTAMeTSE53zGY5
9Nqj0YKK7/ASzPZ4TxcGW8j7InH28FWSt0tYFgkA5Fs1bdIR/keFiOwoxOa/enFx3t3mAYyiYK/r
vA119EfhxckDjFXgKgLui2+NjftmcShLhhYY261I20cZNfdwEnTfosCAOFMddIdsjHrIMT/TMlFc
eDsmnHFLzVDgr+8Z8rkFmOyYuBb8MCYw1xRulD6SB56BTHDlbQcv/7E0w7ZU8JyEdEzht2FrHIxO
gZGXqgmPaMN4El3v7aMgmFfwVDWeZKP4ySy8N2pZo9c+qvKZxYikHnztbuGIYZ5psm2ltp/m1Xyz
hGd2DUu9fmWhyLrhsIy/lJoqYYCEUkO1/kRd3AnH25wXT0iHcQhSJ0a4oQmeU8Fu0rVewsnufWQN
8C5hHp1Lc0bNKoVeAw24RSjOE+i+Z96IjwOmnsEYzKg+zbgO1HqpREs8NHG5Mb1adQcYQe1U4spt
WMbFXVHwv72Kf42OTtrjj104yWkC7HqFLTxy/EHzAuYBHLYqE3JISR0ekbNHCQxpTfyDEwMnpVL9
dNkfIHMHfyjUBfo+eZ8jChDwUZkLsYmrLfihNphjSw7LMOs6J2mTH/3UBDdDgPRwK1HOAavePTBZ
O+CAwWC10aYprVQQTHDG12uEVYbOA4+CzxG1Pfcb4OP/rEf4EilzgImHbbnttmuQFHGN6RGIPeOc
gPRy6pwazjCdzd+asMGdpyuH04RT0aMI5nvW59BbD/Jp48BLZq8GNL01nHXGN5OJ+CANwHlpMg5f
D9BJDx8HNt4PQGJs00Z04Bt5zmNo4F9eubb46aQn+jOlDYBq2CvYz5mn4BE2jDjDKd4eUYxaT+O0
r/HpwfkOWdBeXxpYnMG41b6nLq+rijVguM2OMp0AoU3HyYUWhj0YP1zPjTcW0IP+wj8uxH50tLnZ
CG4yN5DucJGb3C9U5QA6G5AY2Nse1AAB1Icy1C8rkKXdhaNG62rnELhZgtEkhnTbtnODn2eI5xdw
LQF/0DApFlwMmKw+kTpoLh7NbnpvRPVj8H+Unddy3MgSpp8IEfDmtr1j04qU5gYhcwbeezz9fsjW
qDWK2YjdGwQqqwBKZHeZzN8M9eKMpurVt7IZjArHIied36OuKN/zDP6O1RnhA8w646MukJALzPc+
t8ar3SP1KWEHpRVEsJJsNxjDyL86xFvEYIqzy2m6Zrmmb6C5xRtpmktM7uTSmtPTkHjeUU2jxQtn
6Q3dzD/VQXS6xWoobUcLjvBB8y2N3S9n6SjU31pqBW+dMmRUCLxup7YxpCsbgcBlQIMV+MaBHX0p
YMs89XB6xzFmNVaq7nXIhm4LT42DcuePB013okXdcbhAPlHxqmuL56pRsDPAF+kd+eCMdR6j9nkh
6MVNjrkc8C/XzOK/g1R5VxDt/mKmcbrO0oLd1zT6gKbYNERJObAfVJQDMJX+TW3gvQ5KYm2kF73I
HMf5KFlJb6JU3kvQk9haHu2XS+gYT31AhQONqAF/WbK4HdPWQ5Ja57Svk5dpsQc2FYitVYOagDRv
HS4u5/KAxOSiz+hlUQO6SmtMcSF0tSFaUbdETRcAA8n8oHpLNRMdIgimfjnrBycvcKJdCKam1v6v
sD600PJf3dz2thkKQRcSUf6JgwM+2bVmPYO3rNdmUTR/xXl3wf/F/FuDJ9PVWfh9AKS/UszAPGmR
/d1SWuvV+VawxX2Vey8Y0jWQ/+zoLF19NA7HqC3Q1Vya5aB2a7VTRpRl8PAaHL1flyXn0PsmWDa8
Zt3hzOaiZBvk8JuDEpo43ss/7yJiA5BTAAYxsFq5u4/7d29k1ubKDPtm71SNeWhT5fHu7SN34uMj
tj6oGRrH2rEOQYZtWlTXYDjHGs5YYmT/avd+42wbg5/tYbc6ew8uVNMHb+DUDV07eLCTuWg2EQo0
x9p2HvAS+a75cf0xWvOb0arFa8Hv+5ywcdvchIH4lKgD0/3catRhMy3cYAkbHwdgCGtALYHHx6AI
/zI7CLOfxkr/Ojt+274ilI2rk9dlCNlQvTeCqT3MpWussDQAPd8ZYLVwojFQn6T7lqq9x8Q8SJ6R
MfIKN8IELViMyKvYBoq/oMq9iiq0YUEkMFwrPNi40G1qPzPPWbvJFq+jcpnRumUC+6MpHfdYOQJj
zbX+2ODljh74oHzyAIOLBpLVIHbcR0ZwGsCU3eP+hETyPe6G+UF+ZffxnoUUSsPUjMbkowipBj7C
GW41HCUksqq/4iMF2KOEdMSQduqSU0I5LCb50AYY8OjJs2bpX/t4qr5g2pdu6zSoj4lknZrdkGJf
wZ44O7mKOm/GZRSH5Hg1wvqpa3T3rVorSXdryVOXxl/JhCHkWnO4UAXYOrbGSsvC/ix4eemVJn8U
5J+XwffedBk8Lc8aCwZfmoNft2ufv8daNqZx0yBGm4RUw5Z96ky95SwbU2kWKshz+3gTOEM4Nl0V
eead04BkXF0ggBJVCEGgbGud5+UiTbmUeVWu2smbtylwg3p175GB8kgasOTGWWGyMzRKtebMheHs
hwXy50HxlJUDGnRjZ2wZBZsAw/PBjOIYGmxgvNg2xfAFo9BHTXxaQEAbGYV6SrUp4+oJt51sfL5t
lRLVXey55vyhJE2+hbuovwHgaleq0nvfuzBd26xmfxvgs9TSHL+0HbaZY2PFz5Tdxz20lQ6j6OIr
XskWiXI8DwCQYRE3XWx1ir5V0TRsqFYsmuVRiefPPwOa8hLFQ/xtNpt/DdCTl3G2mVU8L0fkosjf
wqR/lE+lauAj8B9xrUeehM9NcW50/lDLePnUa0rTbUKXlabw3bnRoZS50WVQhjPZZ+Tnl4KPVIKW
kJEW0PPFA+pXc17gWYnVeNebEl2XdfnD6GccYailfkP2e6UuaD6IyS2owK547RRl2MMk745eGeSH
Kchs2PNWbWO512qmdSrd/PeVXU+HXd6o+vm+2Mvan3AAQp66eJe4ERj/LPtQafU1S3m6lTflTlox
AZvTSuYfd+7Z3uFYur1Xjv6IyURk/xonTRn8Z4wtJroy8J0LwE/HuVK+shFtHm+aFNkSmwz3P2PD
ordyF7WIq0Ld+8Zrn/PJ6V0v/tayUQXrZv+wphGJnHH2XgO7TfZmshApbd18xCNgXltuebR6y3jK
wPFs8qlqn+BAs4raCRIraN2egPAoHEmn5FFJYSYUcEPeEAFyUB6f2r/aQn+uo2ULrVk/9yR5E5w7
s4+/dRP/szAcnE/jnL6Pvok415h2e4HIhy0uFA3OPnvZGUpTemVveG8KgL6JvZ+D/7+evb9ZftD9
2fDf/wz5ufwK3ett49mQNAT816DWs8AmgFbgZmnqY/4AdewPJMUNcjGS2VmDwh43gsrwwL6cJ7M9
NI1ivc0aKbOqK59na7LeGhu1mNz1xku3dMYzkj99O6sHaaLlzSQ9luNWBnt9YB5Nv0T/b3lWGzLv
IW2ZwZdWG+fuS+qPK3lSftRi0TzAz/3pPWw7b95ynA8sTvJy56b217I305PTl5z6LbVWtkmleGtf
sgC2kUwPmOvtml61TuCWrHVmNXD/lp1X5hg2pN28eFDsJnof+Ff1LuogpOTsY5rYm9tvj8X+uZkG
Gw5QwGRoOI59Cn1+QqLP8WtetMF6cJ1oW5Ru2ZPIZGTqPZg2sgplMO6xu0ieMD9pNliH5u9U6YpF
6aL6jtrzbgCEApGkizYOINQfhTeiuRjqyUdcKcHGwq/2aXT6cL8ULc6DZkRneafb4+vdKJ5zyf0E
jrVN1ml0O/2oVWRyqLTPr5ARKiQ6+MJo2GSGejE8Z97sr61WOztIdVzNCic3XS9LNOjIfYmLm1w0
E4PVhQ2mhGX1yUvsY90H+bOw0AcVkUIYVs/CNB8089aHgHa1i1o4HShVBtvUtrLzHJj6s20b+UqK
dLXn/oC/5L8YTVCeHGegmuy25VdFw8+B8p/aQNBBVefZKFrt9pVCUYJ96NKUD740p0mluSy/96Z8
pVBAdDdq2Fa7IsY0ewFaijNiFdnPvoFs5t0nkbUJBs4UXm7ujMvQJaTBLIL06/18cAnJg6QMy8da
iz51CgQ/266HcK03RbznTPavdsQssVJ6qmdKvM+bifxbPv28+RX5/UYpVC9my4wMgDk/kILFiUYH
CaaowVX+ufKvkRB54Gsge0hfY8TSvP8f0fIj4eUGHnU/VMjmCn1gMpnOBgNLe9sGCNPPg4btnJ7O
G1Iy1nB72Fygp01cb+egH24/UV66hGo46bdRv0Ly4P0XFEbVVkLh8meqFBW0azWuOW4ZHywRWB6S
HTxIE5GqT2Tx7Ccfp0cIvOlOwthNROdNCmXmsbW15V+bvMwA414m5tYDYCB3seBMXuSSIuy67mDn
7O4xIPdPUZg7wH55Kg/j4lEbSYPwNQD8HOrKeqSQsM+qMXz1sMd9RD91SZNBsZCcT1ekzzCs+cDP
ZXPIFv6qkFg7Z/wZu9NcjbgmOTWKUGTDVsdQMP+ZSdBS4qi/tPGTpKHqMbNu4WxM6y/wvSUso0nm
uZICUKEzR5r2o1l4zl2JhbFaN2clULKv0Gc8UmXTiMRaw9+OU/hD6XnhySui7GBG9vxYOWq/MVGH
fW8WCFWvWPZVV5O/4WOZ1wlRPhJivrOXZp/5GBcEiqIe9cF9NSeqe9Ihl9k3002aqG9u4c3PXp2s
UbBPOGiiFw0btfJOtxOkNnj73rLc25ER2clgc8uEcJ7ZCXBWSxzvYGPJu5KmXOx0/hm7Q9bDvP4Z
E8guOW807pMuPNSqaYFPpOhfeVb8IhdfjTeIA6qPt5aCaFYTms/SwvoueWkHUrTjgGrnPWbk6MdU
fA1SqqK7KG6x5l0u0Nd/3vWQ7oPIeohMkDuIZNCpQ5rbux5GOPexqRfR3ZcUAvLlVZYZj+t0SJed
7CJnlufpeImhCJWLGtrUGAPm9E35NTar4CgaZk1RMi4Lc3XrRCDzJJgkk73rrUo7eE4UH8ySTYs2
q/Wr2xf164hvu1GiqZNyXHo1Io5gPsm6rXRWjo+yiapspVMeAoAcra3GiI4yAtFGAy3kZffy65WZ
67/rI3h2e/kByvJD+fNciiqHE6xH6spBLGBThW3trCtS5GenCbr2YihhenZz/F+pphKViwTlIaMo
Id85fp4kB5Ak6jFFLz6DBZlGuzrK2m1kYqQ6m9QeE8v/X5lZH5apgiS1RnujlHFwbQMVJbLeIcPl
Kv2Lm4UADVvyGfZQrruF8mFOzofe5sVHVUEPlIdy82CTHJ0MWFkNzmhP8UgtQi5qx/euUFHsJCJ9
JqfKbZaigOOSNPhtqIaUrF/U2vX+ijANvG3oDFDUlrF+YAGS1jI8gwAzvxY9gpgLAnRMx99av/oE
Djrp5g+2QezqO74+TdLrb3CZZ2TGp/hhxO7wNCsFUmmmMjxbRdSttazO/8o0/VKogfa3CkoBYqb1
TYUNtoJ3DFAuStPdXMUFdhR9dw66wdjFHUDKsXbDtWfqw9fGKg++Y8+fcKT5cHq3Wxc1ey9yz9ar
WcTxCdVepPeWplza5Nn1FP1FGvfxQamYr/oyPtLITkjvbHivja5mD6Cpt3OT+I/moqxnFQAmtDTE
fHVpinheRf1mwBD7UUJ+CsisibOQWsbiOfofvdXSe/O3W97ezD2V/KL5mpK23dUJoNCsnj572az/
wGvnVJLN/lIAbFm5QGhWBmXPQ+30aA/m9ack842nQKmStzrAH3QJN9ifnxW/H9Z2HRkfbmj7G3J9
FssBXGdqTRVbFSDIHxALyCpo9cBMm7sHMbaz0s9FOTgftZJrJ75MoDgXv7tqwFw+a93mkdnSfAYD
/WFb5Wc82D88M5k/FzaEBPxGXjofWAW07B8Vtl2fvdHJ8ImFZd0XYbNKM6Pdzf0100P7RWZXir1o
rJi1fpBm5gQhhgWzuRqM0HotCtt6ZXw+7KhpVw+Jzh721PRptkmaJl7pKRhc+U+qJWwFBSDYXn4F
JQnRVdXl6tWyBvU9mq8Sporpoz/EQ1B4dg4L6DDtvPnCifqp0ns4nwjT5U+mWU0rh2PQIYV5A2nG
hfi+jFk4EWsMVaybgHqkxDZkLHXY3yHp/DLccxf+BLQH+lgeb4WZ2q75RICzQFEr+jbHCmSmQCle
So9SXWZSxpIMc7BS/Dz4lip8e9Ef10+kMusXeTDQqTc6eR4dm9qtX17I6FONWupSAGmMA/R8ULZS
hTKrwVu17KsOtjVbz1a4s4RnY5Yk0/z+4ZaPK2kW5jQ8yGl2tjtzU87zBOszK/AH5CJ3HJaTdWRE
xvYeq4BI/9ZrOQWJn+WJe4cMlmedpVc65EKB4ee4e+/9zaodHo2eJEpUDJ9dveMb5MeY4AUmMKq4
jqPXxq+GS1Kaa7PWupWSmfUNkJ7NprlCbJHqxIJPd2oXvb6lV+Yuad57ZfD/w7PIb4Ivu1dRQyb3
LgWx5sqJK0S5ZD0Ak95JeVXGda6rHAc8k6WFa1KCy1zzHOeLi1KZZ6g1z+64vlkhuyqqIgk2X/Vs
Gde8oOyTdgqOUE3m/MN2EeLL2FHicwsq/8po+eNxLJwa2k7Rk6UZ4+RdkExNNreYt4NZlKbXFXx6
y9Y9a+jL3hBPjZ5h/Ju200HXanS32/JLqed4w+BvtLJdrXyRojIS88YKrA5UwSWVhx6+vfMGtrrS
y9fmGDWUUkTq0zH0bpNjG7MWrU+J+YvIp1zc5S6yzfjQOMbzNFU+qRsPPeXSfuz8zOPABtnnHq96
vep3EvTVsdglvpbM76NePHZ55SPFjEGBETA/lr520TkKvLo1nsDYtqG6YJqUFALFgtPiRw/CFoHV
me2dBSwljJA7g6RsqtPy/bxYTpUfTLePVn8kiCWHLLHCdT9T3Yr399zyfezYWkAKSV5uwHb3j0Po
/Ex4+2zHH2v+Grfvm8MWydrZceeQE0Dc3yrxoqpL9dOUlN1zW6vlczO07xIuSWhv4EIc4m5CLk9t
jey1cYP+ySvSnS06w3GIdnUxOfZSa2W9Y1bc13bUbrSOUyIisY7lHD9nCAR9qouYPQ7zcZR5Iy7J
mYGWN802YyocYZg/aJQ9ULZFzy8pquihVIt1qY3QfdUyCx493VGupT99coHzHO8hhBCDR99x+g1f
1GEjw6RXOoxhZuOtDZ9MIDsgTZbBMmRA1Uh+jIwFuRGQKeXCocFadXZqQTekeXusWdrF0vNb8Nc/
Ul6a89HrENixk9I9l7binOe0dc7PcnsPSvO/Yn8MMS1b50uJute9w/316nvsj/exQx8PnOovUe/4
K5SFzZ9Sx7eMU6qaGYoI3lZySrfYLd0k48PIMG9dt6Cwe+QZ6vXbcBFKvj1zz1jdfw6p7mmHgLe6
avpRYxczBHsIB/YLUySsnLLuvoNWI7PEvtJGgkStZjzTfLRL2yI3HqJGy8BOsi+sqzL4gBp2ULTZ
AvZXpm+ZHm8E8jRnqf9gMgWtpFlPhneIM3LR0hyrNtlWvcdhZsFH5X02keiJ7UtSh84pwM94GyCO
dpaLqyIoHjhZgrg+HYMdICMiwdvtbVCakvaXW2ecqjNiBj8fv3W7nbbTxyLYsPiaUKL+OTg5bZds
IArNOzkmSUenNy8N3OuLhMIkMIH+2uv7Q+3ABkheNJvhcwQU5SKrYhCTxEA1LVsr5lLDurc7qVdJ
u0wLCmKY3Vw5vGwkQRzW3bSX+D1fLGNRn8zW8uo/3i81MbeOyYFTrt+TmdU4PVT1LoTuTYIjsbTj
rHh/j3U1Pd1ijYOUXqikqOODQZDLZM3XcLHcjesSKYRUrpY1Jusk89rtsOgo3IJMbkgqLBc9a9ch
KeiztG4P3gbqmJb2mvtVWkEEKMTI+mDd5qRHHhqsdVd14FrbzHaicBv19mhbG1NFkfjfwAIBE+Ss
4KdBrZGPokb325BcV4pDYWl/A3Oe9tiS+fuaSfsdFZJT0DnhNxWhlnWoV8NV9cfgakz9uPaSKvpG
XfwA/T//KLIiJmfjPdmaH7IHQigKGxfvyVAiKiyD9yahqT+0hZe8ScRJsisAgelRugCDd6t+yNSz
dFoqp+oswcVQehvLrncYHcxb6dUa7HIqdBDX0lsxQV2wug5XtxcbRyATpe88z+OobEc7ay6wXDAx
Csynsi/HM6It6BuBo72M7uJjLO2+4nX1UrhkOdwnSgJsBVdcdS9tV+VUaxVGaSAHTO7OQOlnVZPa
P05uZ73naJOvFD7kAFloxn13yAN1fFH4w3zij8UOlnAdxdOjMxafSRZa74nXeKcuBo0mnWGYpfuy
aq2tNKOuKzdBpCZHN0RKLoljjotqsktwj9kKJqVFG+SKnjb4FvAqwULp88PpvW67xYKj6s5m1OAX
CV/+Nxb80uSUuAZIWZ/vcTsUmbqlt8rCZDuDvGaf/c+zWW+VR0Mdzz3IcKo3UTf9vO3dZKJQOLYH
YGRHabUwlYvjbQy71PMtjW3M3bgL7KB59t0k3rdlzwG+CUhm3tugI4yr7xlrZamcS/lcLpmRxieM
1vf3srrEu9Ty12Uf+JuZhMNjC6bZHDh7rSNcS0+BiddB0un+s1xc3Te2RVOam+hXLExJwfdNrR5k
iHS0VXiK+5kq/TIsjgv70GXt/9Cs2gadqb7IRQk4WWPUmwGicOdsPSn+fqRsd5Vev7K8o6Ml/er+
RJsCLkP/AC3jKtFehgkS7lB02zjQ43MUa59kT3anXP/GtpYg89LFyeLm8Mc4q7PcLXiPaqUWHukb
3R2rTa2k+vquqgwAj55Odz7fgNYFZqfHyvTcR2dxtKijkHP+bA5ra2lKTHpdN/wbimBxvMdJ3MH/
ib21DGCxpbyhjleUzDTOqXl5zZUmPQ212nIEb5MXO0F2eSy7+Zs6hZu8GP3/edn0ydNy63HoJ2Mt
BzfZGOpAyzax2aMSoAItvXccQ8qzT1PlXTQAJySoPOtgtoN5xXXN20xu3n9KKTivRnTbvmvopAHc
RfME/cQ9VfbmW6foeHh32fimdBG20zXEQjO2GswKwxkNRbZdMcqFgrS1Sn6b6GHdUgnoWSD5j2zb
GgTPSIUAlPlw1P1SzU+uanRrV2Pr1aHFnJ+wsGKtHaigq+NnaYSsUJehiZxVlZHKQb1SbwGZ4z6b
l33L4SL3u3XWxgCSluBYwbDcqPfbeiics1wkCM/i4FeRcpDQ7W1ye3vwdhuQENOj+cFGaLJe/fYy
K8OetBvDeqMvWVgE3Pp1wEq2lVSsxOQuyrAN1cdx3Uru9payrdPveqyjFW11w9YZm+mL2wUo5Ib5
d9aHYF2mbvoE+i85/8eI0UmDtZ6M6dNCujz7+myv9arNryOCC091nSosakYAeoqmXNQRjSEtMV70
KDZvIYnPvb/SNY988684SfdxBUOiO8iIqkiuerLYpS3C9GPyYKlDchOol4hc3HS2V5VSazubz6K3
QUDW2FO6KVdzno/eps3Gv26HnhiRcFgxJTsskzspgCjBf7TtfvK3tw1JxxFuk7T+p4nl4La0YEtf
ZpvbKpN5KBuP3Y9QxYy7R/BgpansL4EaHfnqGif2R7WxkXM6c9pRXWKaMgfa6p4V0BnMzGWc7of9
WYYsT8hbIiOrjFse4deb78f+f7/p9iMMBRapzo8uygxfe1Z9HWQOSnthejUGnA+RL2puqz4cp5Na
9dZ7iL/KXu07fe/1afTRO8mxm1zUofTq2fBt/Rol2edbcrIf9GtsxL+1ctbBiarewfCCHo5vhRZ5
bIbNVsXsc1XrNvyApDSqy5Q/3nAPo2Ot/WhmWyk+aCnzxa2N/RQGVN2v/hsmwrL0n+MFMQHhqXjy
9atrmDPuAXKV87Ecl80w9/ZIeb9JqOvqeUt5JOdXgvRqBOgUzQoIuPIPucekKZALieEbgRbWL4yG
1drGSmLyD7g/6zQdWmviFDjjcHVqcZDbJ2k07OSMCDL+r2x2AcDzH3sJSu85m1IwyjdkRqFzzK6B
HggfoSLteYAIuHD6AI1ps6ZfQRU/D0tLQpPyI3B95UUaTPJgk+aivNEf0jAxN2GdJXtl0WWptf7i
zjHpe3Qzf1sgEFm0HmI8j2UduC8cgYeOnD0wi/3R0TYvMZKqA+vOS2Gm9vPomk+h00efaeGO50+k
Ulov+mwXFgtw3riXRQn3I8OqLoo+V0qjXaJWp062PNNHLTSGKFAP0ktJn5WTN/vl262O1jqDmTw4
zWcsZZU9zsvam2X0X4CyZd/5mvw1ABR5m6G4HjAym3Hc6L7myw5M89NiNbacvmVD1lGFSRzNfAEE
5rx1E4n+Zddm+bC2k8j9Is+gz2acBmdubrs2vQrDvdF67m3XRmYN+c9SL49MvwHbvw6uFeq/fKhB
GHQD+4IxIIXZLliFLMqTK/rd7/3S8lPEH/UkRZtKyZe9UbWPzCJ8ls4UadhVUdT1RZoJ6fD1gM3q
QV5kOMqw2IfBRMsL7HdTUCEyHepst1fB6OB99Wtyhbym7hSXatJ9FjWqsL5E/PVBZJlP97hTuNRY
G+tBQjJLN73hbFjji4dwrr5mcW7swR0UD2yDkoQzL14bo25+yAh/6fDFA37koLhhV+Wswz796nM4
2N86ZKBc+oRjbxA7H0jFoh56e4M8HITF19BJG1LCGXDmIIPsr5tTfqx8wOrgXZdDm2/mzwM0Sexq
l3PiaKbPNcgdtvOU1F2PorRXuWdUzvGdbxaP2NstgIFyq4wjT3RBgc4dl04sZO9jJh0rZidi7XL7
9Fy76vyIT4y397IsOxRNWr95zvQVubvse2jMn+upxd0Y1P0CHPhtgMjUVOX42U/T/GXwsmSbOyaG
GstF7iY4ncx6WhQ+wCiMp6y/QK4KcB/4Qf2ATHQ+ftZypdq6PnhRU+PzUzhlslG0VP/qwQwoSy3+
gTM7CE+v1J5JDiRHu1CRYs+VkkyC8rfudf5T5IMs9JzgPUDJ9BXIcXqxWkTf1VhHhZhTa4IdZoNk
JvPXYI0nCoFXiSE7hdPsr4vTDZeoq7Aj/RWSYa2nNBuvQNRbOgxkeiBT7G2zqzCZypPvafS1x2ni
h1Yt37LRj18VjRpFgK3GUaP88YTrBKphLjjryu4fcNkqX2HcH71l0sgxeDnqKAhspEnavUbZ0dfP
0qz6r3HcT+85GgcPPrdw0HgIkgGOJ5jl7GUUUnAfttFrT2Fis4Fw5g8/LnuKNkqHUg53VBz62x3C
Dx+D6ho7iVuijn8f4uE6VK6UYurPWTgk5y7C+zDIykMlgtWot1krGOL/auekFTZRD/S4G0xo/r2n
rQTTGRrhfLasBQ2/wEPvTYGHymDprbLAYJ8TfRJ+e4wxQsx2jSMtpPJkmPqjX5B7l065hP+MkJaJ
GtvRNtSfI8K07Q7JGAM/CuZvblINZ8e2mhcl7M2rGln7Tk3bFwkBBah3VWm3m3tseajs7E3ffOiL
3UBvdl9I4aRPEPvtt6zJsarHdiBVcgREMcRZK61pfJgw57Z6OMKQDDVnHxdjs+ObWaAk04Y7TUXv
7mbhF0DXwGtkiS6ZCRDIDBJDaLmL4RnYWIHs6xg3txHB0nfkf+Y9jr7DVprFMiVXmdUepWlX4B1Q
cZuut8HutArJhr/Beohepk45aX4ffNScQC5MX9bK8+eDVvXffSNR8PSA/9hNnrpRCs/fC+GxVyJU
taS50CGlOc6asZp1FSe4c1mlL/cNl9whaI7ryWDNO9nAmeJVeO+JSB1QG6eYk9ZhvuuKXDtX2Wae
g+Gr7fvjllmlPRUxCiReGv0tmzXTQAJZjQL3GbPa6IwZWLzNezbqNY4jLlkHNVbfOyvTrgomr9TM
POPDpiS/H9ycup2AZsoEwblp8C/S5CG7L91d5DdQBZYTmRIqxjVG/Uha90Oav7gdFxZbpltsKazF
2ghrhAqij5zy0Q4s1nIBdwzJxsS84UYOsD0lX+t2EB676muJXty+xB7pQVFrf8YViFvy5e26r/t0
2yWG8iAxvTBwjSmp+x3QGPj42VxG38coTrK1s244Y5kZ7Fwn6KGrdRgieSWZTrlVSWEBw+bSLz3/
FRs6Kg6pOb38MbaUt0jQzy5lVbtA8/ELx2iCssikkl3P4uRi6zgXxvoJi2IYkFaF41rvWJdYT/Kn
Mh9WVT5MV2mlElIKfWtbZbCRWOtNSxapZynsyNsWTVCdR0nU3tsSTIKZ/5Pc3gZFtbFmdmmBwfNM
oEH5WYEs/PkOCVbJrsqm8bHsHGVVFk32WwVV15PqQknmJMdyOYeTSBsQY3e8lSz2mH7meEVe7ou3
hO/NLujyTYBW1frecVvvQ4SX/gE3e2YebbtKHf8ElEcLEP1+uYHObyhzwZ8ndckHYnkQrK+ZUzfr
w3ibcsB2ipUzWBNSfUm0/X3DKrvWPgEHWadutJXm/eKgQaI4vX9WURxwVlmSWye1jF/mMKkfMCTi
rKuOywl3fPK09oc2Oe7x7iPTKvh+pA5auzIMjP70lDSmgy3Kzyfnwe6PJjAvb68VbvIlsAsShnNU
bJOAbYzjhx955mp7IAT23h8c813x05MgFzM2YGtADxjx2GNynUaMtUSQRE2SIxvfeauEcbJ34749
d8asrtvJGT+HDRtdSHnDeVD0/jNmDZZSvOHJsS/1aHjyRvivC7U2Ucis5gO4YeHjzp72NBR58bL4
crFUpzPzIaKv74rXfkOQrN2jelDvxVzgYtrd8Je9BPWqqfdiLPBFgtmI9U7lw6/VBqt9gBGtwJQD
64A0UsPmF4BPOLb1J7tVdzfQA2Lw+0GNjFuzyouz09XxK/ybWw0h49SD5pZ5kopBbFf+s3O9lxfG
xuxPbDFicNOswmuYB/i5Fm69lfGNYY540ouVVUQFCDML+zST8L0XSOXufh6UQqo0qyXFE6JpKhix
+4/U+chtABepoJqpfEjHgg/zF6CYhEjza49WEG7uDwnETF7U46yw0QXomriciapwaJJ3rLWDFygf
t7U7nKddDF7wUZbtujK6vRME3vq2pi+Lffx/GSE7gWos0gubhssNbpzjz11601M36enLlGTPErap
IO1bTOp2Q4HmxcJe34iAx7QIbUN1MTqscfoYUIlE5kXYRGnwupBYxuKdu5r6kATje7CQNV0/irZ5
lelHFejm565/mDuonrUSdocSLeKdNAurv1RJHr3pE2ZmXmbBYl6e7kADw3lR62vHLupleWsZfsnr
NsMSnSl6Vyp1eWgDh/0lbL+9+DV2Tq8iboo8lTTNsSif9RaPntKBuw3M6MXFxOMqbo6t1Z4HIZOg
F2pg6YKHie2547GIOSRaOktvqk/ptlqa6HNMZ72L65X0apUav5QczqRTLnWMrA4n90dp8UEAT4tw
lj4b2qVr0+mcOr5xdauSlFtYwb4q4r8lZOkzaARbOqzsC+6n4XHC1wd/B+UtCKKi+gSPu1r7+7Ir
p78AX1f7oTO7vZEY3V/+PmAV/YtaVrWfVeTuJEpCK+j/NyNsbZeO1+yKNnKeYfMiBuvXwVOcFuXB
igpghSq//o6zxgVlJ7bwYxLsmkaFL7h09HYzXOQOwAGcA2nfbiu7PqWOHh9tfQhQml+evj+DqoWR
LQ4FQxg7z2pn/BBEjZP4+cp1A0TJ3Do/M88GW8HgWO7OcIfiK+BpbRtbRnFqAJCeegudbXTDkfNd
AORIwK7aqKq/ja0+QlRK/cfJHM2jj/XHHtaM8Spjy+7qd3hI+qqFm0GSuRcts7HozIY11h3jxUK3
4mIsF3tG23nXuH67AtoHNKe1wuaaeri/aSHbm97qxx4NC4hpqodnnTKn+oU9u43kggISwGnObPAx
6pIOo5yas7Vc/No4ReQn95FP9uv/UHZezY0rTZr+KxPf9SIW3kzs7AU9KVG+W919g2hzGt57/Pp9
kNQRdXpmJ3ZvEKiqLEiUQKAq8zVr16/jm0KZNRe7M04tP2zRwqyT+tD0KLTio3pDjhpxGzm1vLTj
5TXX7ZFS6IfsvaE53c2k6atLGj9ZfBJDrSSjL6fvw1ePRGrybCOlncJZzIIZCTLPDA/AIb5khlVh
ZPL3gV1uM66kPXmUbdOeio3VfwzB3Lm+zKjaKVu7MWvLD9Ou14KDle0y6gidk6LfFgMIRgQOILhR
YUhqJsVRQDadZJZTL8sPEiid/gIfvkB0lmhVdfOjsWSqZVQOw9Dlhxr5mJUM6KF1rAF6nyZV7e+G
5eAGRkxGvfS2KQIed9cBOfPD4pQ07FZlMAwVLA2XsFZV7BtLQYNhaUm/xEuz03hHzQEiVNKUAbcK
+VqG0PxqEG/3cPw/4y+B0l5Th/dykP7cghxd4h8EVu6fA6paHKykxOZ4GZBgOTPiMruz8rsczzbz
Mij9zpQf4HtiTpgahz/yuLKFSDv1S0pF4iAtOVz3HF0wfcEGz92PJRmEF9OLsvUlk4I/7KPbOMkm
mK3oTknK4DZx/XJLSmz+wtf85DZ+9Evr2DIBFi1eKKJibBg3MaYAk/7YeaO+khBEQMnCaPN3uRqJ
2Hrdzn6xLwJH26C+pHzS5hjn8aaLf1WhtYYaTYWmBUaF363x3cwAwVe2oTyjOYHtQFFPJERU46iM
Hq/G0sjuU7WYF/jiMQhZ78W55t4IJaSdBCoYfWx2bg0MZdmrSTA0vo/NudbGVZVa/QlpLG0dWPDE
sI1bC1sF4CH7G6sLX2w/iPYBMJgTj4fopAdUF6cxoxzUdTeWjUGtsRzkzNX67Cad2eTnyXBXdf1b
vwzWnZHuapXahTSvozI/0NANaKhF766j16u8/8Ca7WbHuvzZtrGYaZy2O+KBEXyta1QskuE14zV+
43eNvZZui2cFawivPsMItl6Am+ytRQLGG3GkAQgOqmuZ7abRi9Kq4VNToXVhOvinOkuYVSCW4E7h
veRDJLlxzYz8P/RJSK7PytEpbRSNSaVc8iRD9xjOsUYlDRqJ1XBDF+OJig5rbjtmzcgaIN39kUzW
C3edpJ12vvbnKSJ7S3VSVvCBpewo3lWnOYm7auMmtXMoQvfcJykgc/io8KLqhReVd+gpWmk57i6R
umWjYTcigYFa5vRQ2e0jyZz2RqhdcsjzPNnqePdurpwvasjZrYlph0y6EL0KpprLVOm7TtUwd9jE
Cc8A9mdv02T0Grf81FYtDyWSMzfCqSv9EGnaOCnP0qzfm0I8SrzkbVSaH0YXzrC46VznSrCa2cVZ
WErX4EQru+2sTny6xRvYZUms9OHWWwyArc2HRrjHtwljcDemREfige17Ymo318PchPrHJr8FCIH3
mKwgZYT9+89ZBtS5jzZ5UzkQAlVqFI+hPvonEwbzBh2Q6VscDGe1Q2i6iet6L1vVP3ausvkNFyST
jMrBbrJ027YeqmvvA71sla9tCZTJbW0gEQPaFqFKRAfqxWcN2zr/wCbiUVrSL6Zr0rxG9Eb7OI1g
HlbXAYlTZt0/9Nb4+MGwTUKqCcPWMHWOZINeBK1uL7h1Xnd8MZqkJRFHk4wt9rNO9SItOSDNSGlk
xihbZrVFG56Xa1wj5BrogrxdQyKWa1x/yvUa15+yXANyinMzleZfaq4FL17qfrIBQZxxhQtfogqC
/dTP1U4GI7CyN9iE4Iu0jEqfAlKzoLbxJF0eu9z1nEbzsV8iatTvyJgBy5XRKiyah2oxPXyfDjdk
31jQAxeWdlptfSsPfyMTQd0JC/PPaqyZFKlb9a5QppJtlzcBMirne76MVGK9THuN5/mrR8rwZCIF
Uv1oAkiGKdVuw3l1C5P0lutP3yqDKv48Jbiso3nazjFqYvOAVA/9juLTnzbljYosCLc0mgGa4ec7
wYSlMbxPQ9NwzhWMGXmwf7Rl3LUHby3YMjMPnkLTiTegWUZr5VfZeJrK4NH0C744fdTziCv9Bz6D
+mlwUnbKtW2s06aOftiexXO/t18VrFT36dAVhyy2ws/sZM8S0ALuX7MTxn4Myx2Me4Kj08JQcfk3
nbsQgzLEsZxt6nr1ZzeeX4epdX51hn2MzaL56ijdtPGXUM3O5pup8z+EilboP0N5ZUanjtxHwU15
6xZtuVX9UvsyQIJItDb+5TpGAOu4y18Qnxv2rj9HR1hG5iMIHZSQlpAycVdp6Izf89lKWf4M4R0L
wZBc0ZfGzPM1dRzAelZffFOa0LtBrHt8ylS3PIeVcm/x5n+SLgU7hk3p2NHu7wn5Fgieei+jIBeR
limAnxe9mrODGy1lRfXVOMiwadg5+4/vl6mKp4Ugq7CpkcGgRVOloUa9Q2U/OnSznoEq0OL7pu55
JiRpr962DQraSx/mD715GVY9fCArL8fGuIkUnoXcwqHRm/seUdG3mChTVVZ7FbfUdaL8GKVHmkPB
aCdEmO7WVVXowmSYjvaUIFs+aOzLl+xS0prlpsrtYav4C+owV1mvusDL/SrI7/0SA8HYK9oHFJ9C
vi5eh+MTzQk20wMiOfoeVVfA19J8H0jwulbg0uDkuYQt/YEaoUubwTyJXRdCosoNdJs71kmudInr
G9CNTe4Cru87L91Vk+ufNHX2Tx2qULDglza66echrRtWJ+99kVG9BUq0xH0YrqgcKlsZuh4K31Ct
tdck+fIFSuHkRKzsy8RRcb7WLfdkB3qf3IYwyXxu8j0Pe6znSWGQiOBFv570GICuYjhnOYs020eF
aX6+9qfmAO885IlxbnEpXmVpNu7tJDfmTbx0atp0mSKtDwOD4oYry/OHvYzIFYeOnZBdUMcmeRYj
jLLOirHD/z0cz5eeNDeGSxuIR+5052kZSyVaxuTQA2FkTOZde925K9kvetvWTRE8VSyKrFjFP7VK
FSAMtDMKGEkA55AP9gMlgqW8tBW1fy7r0V7sZdQnFYWhm2J0vjchwh9rNhoTuNGm3cfDRjI5kr/B
L9TdG7gyrSTpU4qfGoog91PbtTcS0i65H6tr3X2Wh+oHOVe5yhLblulbLCT2Gz6Ldx7bpMEBzE5O
8svo1qDdUck5xo2vPknXYME4461jwi7k1x3QSHkysaRK7BIrzqUrcACUuEBaV9dZlGF/NuavvJ0p
4Oip/1g34RevndSvJDf8jTXYqJhNXfEliz8VfaB97RuNZ2oDOQnTSe0rSQ7EFtPqJR/L+VaLjHYt
s32joE4CV+4uT7v70UWNYVhd0HLkarkxA8c9sYVWVtrCbYFG+dYUn8VrU0avwWLK6ER4IKb1DBmz
nI19lrYqpekOxDfcse+K2Wx5E/p/KfGEuPmcfymDANGQIaX6lvTWcUQlZV3MACVm9iqnfrTqc5TA
Mw56y3mx06JZJboX/0IyYOWYhfk7jrUHZ1Cqr7nmaesKmysIVY66dzy08R2rgY/vBN2JN59yDFKz
/fMsAa936utAOf73cSyXit2AzBRu3Vr9iAoy7L4fo4A6Wz9dGmFZjmfW+wYr/qCxDMSrUCoG83W6
FL0ux6Z1bzssjz/gmax39pOW+LflMuO6ob3goZaBlDfOzku95b/ll+EneIu7UA+s32mIoSoV7u8W
2sTr3uqqp7aI7J0aWs0NZNn8Nq+UbKeR23qefddaqSYZpmW6A/Z5S8Up36k2pI9fuKo/2fhRFLNn
He3cnyD00UwRuFylFALuWN3VyGov+OKlSnY9aEP3HLQO4Pulv0xNf5d5prt2AlAeFlC+y6L82pTl
vjSrJIzOIjtwbX4YpQh9ltW/jPaF+vuNC9s4CvVuJ/P8be6a3slJobEc5DRd2sM0okEhp34Wu29R
Abo5p6RksxQb8+OAGUkOaZu+wQr9E6ANe1cMw7MzzIg3LAdzTFjky6lqum+d12HpGxTjq162OkYe
f09r7QiWvhlgtlizKjmhA4JvqTe3N2PS2veVkkIBH63sZ+SwSVAr885z9B/AcLV711SQgHQhndmQ
E23ArHQOA1u3ILHdXT2W+r30ycGagzvXZk9uVSXfm3pU9DvbfpSo9j0UJWKIw+b87TpbBlvLobxY
2U9FV5Mg/Rv2lbR4qORJe3uBm0lziciwdW4LxG/gaYEAXQ6y27xsPP00p5DWxzvpu4bkJZWx1bWN
NDR8L5g8WwmsEMGmRDx5SIL54CLdtDBPugrT0M2LbDskfo2sfBJvr27VYEe8+36eT3mZKzfoCkHI
iXHsO5haYEKz5PH7V4aD0yAY7tAvy2o1LPBtOXxofziVIafQi9O4yD6NwHa8YdgUph//WHwkegVo
iuWCp8T6oIKVmjRHDJHz/ajp2ovZ978kwnFgBCEW/yUHkbLNy0In85l3d46mKWtNZ6mvWArANCfN
13DcylvI7fWrnSwOTzC0jEE7xRl/CWn+56gIGsEXpFLfoqJFSlaiqMtVt2CO5VrS7Q+WdsJtJERQ
n0tfo6ruIYXGdkyiIX5SAFhhdaCFP9wcAI5NdZ01ajSfUBBpt33SWt/rT2qQRD8MI0EeWDfckzlv
6ojdPvRbaHFO3MHXW5h3coiUFmJ2qnjbax85Nhh6S7T0IdELLlEC4z71t36ROPux8D/9X7XN814F
6u3DP7zqmssZQq7B+aKQHlVoxkhMvKCKuiGobwxk0xF3So0BmBD56XDnLPlpYObkp03JUktHKGns
qATHjtGks8GAFo17yVgnS/L6MsHRNSi1sa4Do65y/RYRwb3Sd+pBq/UJSO2SLkcgihx5B+oMraQa
jcbasg+wy1jfjNMXXkTxcUZdchuoCBR6VYJXWJund+jBjndj45GjMPp9OCB/L5ohIgly7btqlbSW
/xYnIRJ8jZM+CZa+iU0C2b8FLHaNuV7/eq14wMawzFqdYiL6RUIMEw7ZnGjxps2haEtTBi7ksUpX
1XP04xpqVn62Gq0g23UT211oX7F942LEsfIVq93aQIRvpE/O5KDil9Xs5NSINL5+1/BAz4t6JUOa
F6bdIqn2F8uUahculXM5JFIpl1NE6Jg+LZpuID5feGlUeL4S+CGmbnxirtPlTKbI2fu8yxQ2AW8/
xsnGn8XIq4NdIPev3MqIYjmnBX8gt7h0XUadC+p2ufFhUDinDOLT5b6/jPPFasjC41fjGG1z0/ck
AD6ejrbxWEZevtfRDLqRGCPMCv1WTrXQzk7BGM0sNian9virhFmzqns9vB2iFnWd9zOXdbACle74
R38sM65x17mxx31bDUsq8f0q1zglIOeIHMs/xCryGSmQRbxCTZsu2sWK4+30Rnkq3gUtPmhdoBdF
OBvBcd3LGzLkG7H5k6HTYRB1Q+77ws0Rgk4iwMtOwy9jAPC6lU4XO4rtm3o71PVy3SjQDNqgzw9S
qESt0NqHBt4k0hyKKT2TiPxhzVn/EpR+/MKeUIbkoFTaqzfM5llacq3IV15UVzO2XR8rr3ZVrGOQ
5t9gTce7cbLw7wSPiRGFvodsaq2iZdMZxjOY3pjdKA8t9U76+mVLqoCE2OCIPGwj2Y3Oy240Yzea
INiLS/my2S07rQM8S7TMm94v7fEGx5LAOuqjZt7LgQ9gr8q+50ZZ+hytMu/nNrDuPd/cml6FBsF7
bIrMxk1rjjfXLjkzUlJgTt9h+bzEApEpMc6y+g0sPCCSIL70NTpw0wZNnvEshzYOrNu81Hp2xHq0
Ejl4qtT9wQCYTEYAW7o+07JNbI/TUZqx6b2OXRY8RE7cfFaKU7i409Vu1oG8c6rom+1G5BoztJmn
hGJub/Rg2r2OlZrZOrxvOUx1/HuIUuMkLekvJ2+d5C67uGUSaoDOHRmHbWNZLX5iOuyVUCuQNVum
ywRqxuMu0pFdlBlu21O0TEKLrX/ah9WxztEHW+H3jFn6cri0DfjklgKDHEhlnm5k5HKazGHBCrsy
d1YV/kowlmSTsvRFBO3MMtd5a6EtAQhgyb6K2mugW9WmiRFPu/Zd3Q5EH1ZCqiVktjPuMXd8Csme
nWIXFqpIeoNL/AROJX0Oijm8zTAxRMoRfe73/tRBZuu/6EdlK7wN2+SuHANU1RzIup2rb0UM9ioQ
20hlVdqm52u4qfHeU0DAB/trpMz2WYRvIA+45IJU9tLCyfTATert2sz53jATjK1o9MA2oGKRmj+k
T3R6ehH5qX2wveak39p1pW/icjJP2Aj8LAKv/B5a5eUk/vvkfWg5wQus+i49upV/s5xvpT+c2wWh
mNZ1+7C0BM2Y/6P1PpZBz1z7/J2OF6CCkY+/FdTx8SFdlL2KGDXaKTa/CJYhcm08NvODqC3GOpKL
QGu6emGQ+ylg/Xdxxb+7JUaiJYB0v0SPw0D+9D9fQCKbEXyCU+S/62Rm5WpCQXTNMj2ofYkLhzZN
N3JmGgGjlxjcJlJlLd1NnpiHYlCgqxCuM5lMSYrbKnZ7bxf8MFGCrofr1aUPgh1ipNmXyW/rU4Qa
6EaKaW2kAzKskNDu8Gh81tXyLP3hmClghJKQW4Sam2k4t42PED67//6utkfq+Et/EvT1xpir9oRQ
svLll3QaIb8xRe49yvAxxEUWtqylsbKw2IcsoJbXQv8k3fkEJSSB/nz5vPKLXj6YnF7+LNcPcvnT
aAj3rx2DDyRBPcpMW61q8lU2REO7mgezvjXixtV2hld9UqZa3bth1NymJbsTG+V81vk7VFCsZ9yR
0To3PGcFesY64tJtPk81BPXcscu1jLYRBIeu3JLQt716jSAVAuC3EwLjt5rlm2vfb6x1baioBr8P
XJtpHszNCmeV+eAE2inAz9hel/kU3Px3py6i+aCZh7hYgfOfT3O3lS576ZczuYScVTrCp2h0Ig00
o8n9xn9poh0IOuVWKo1SgYyM3j6iJf7NNAe2WDLQGy6yk0FpbC+dRRI/mGWLoS1o3GqDQu8qjzd5
hk/TjBSGuQoRbr6P5/EHHz04NmOa3lfLweKrdK+pNXoK1mI5vzSd1gKrXeBjsk0A81GocKgBT7GB
K7Dp//xjMmUFG0wOeo8JAP6VjMplqtFby28gXaRsjuhZqLeGp4c3RmEvNhbaQz8Wmr9yfXPTKX54
10ozzed0XSZlui8yX30wEUF8QELKAsvIzq9f5snkNHf9O+R03rpkblm231NnKE8SJgeX/McWHom2
ufZRT738FqBkFs6U93lsarR6PSPfx0vVpkY3IS2/SS+GK++9hq0X3xIVXV/p7cpoiZ31XnnEyrxe
NQUCL8046N/Kvj63TgCWoUC4HzfZ7K8+AoUACtX/nHd6uYljV7mP7N7D666rT2GtOreOXoO7wHng
Wa5kNqwo0z6tmgjELEjqcCmZJNjU7EzFTV/Y3qSLNYz1qy3mdd7N1vdBYaXgZfF43yyiu1Hc/2hH
Noq1raOIatqg+IyofEyLDvGjCIWrpSCI6wrSbkuENN8jpCWThsRQN00ePTSYolweDaXifzbbOXvk
6zc8Rkl4eTToLd4IdaRaO9koj6X92cyq/DECHvpHFMpVFu5HuC9kccpqbHmWh1nwpCV5g1YLLeky
lsc6xZOnrvfrD/1ZjwJWM2A2MCymgtMU2MNmsLvxjL7wePYyNFzzyCbhieLkFpehMcRgz3nsAqO4
7E+uG5APG5I4s3BNks3I5TRLFrMWytorD+f41QT3/aF2ydupEOi2IiNqJj0ZZN61i86oWXcJIgnh
vMdBddzmhmYdhkWrOx6/a+NovEbubJzsXisAQOEnF9q8Q9ykLSkgas5jZALwWfzk2sQCJTAoL4YN
vsIgT/SY6IuSj0sKUMsC/1HlI190T1MUivz5F6ILb5Gxl75FoiwEfNUk6yiYExwq3Fb91cwbnXTD
+cJ7uFActM+D3eRnvNRgRggT4sJ/0D6HfpTjgoJDHqJ7Z8EUqOa3uHCqe5e9hL8q3Yr3BOut/QWi
oHSBBd5qydtdtGrjWNkj9wkKw7PTW2EvgcfHnYrkxVNkptoxs4d5B6MseyVZc2uXFntOcepC1YC8
YFG8ZhCKbyF0qE/cCMVtXzivgRDiMWOx1sgjNHsZtS11fvolp3IgYVuBoEqcdd8klC4StXolTQMT
slZuYxPAxSoZ5nyNa8+89ZSkuOu9zlkPar8Ia1DrzUnkPMB2DO80w4zWsvZL2vltQKfacTewdl6b
tRlhCrvoyRYV6vu5rz1TqSlXyFA7v9qBpH+Rtj8UGHTrPsqoQAaheSy0udhHrPU2sDLnjZYPw42p
juVGHi9mUj3qgeE8S3/L/oakDwXn934wlmeUxeqfrpnmr2XRK/mxdShSOWqbnwFLI5y2yPmRicvP
Yw0OTMoG/bSyEI65Ayji3ygsbwXH9SfcaxkMXFjnCxHmivSKBq88oSiRoXC1HRZuldpQkjVyr8QI
NY8PY5nah8Zo4AUjPYeGDLWe59ovkfcaRu3OcW37XBqURpUW8i9GjHurK7pX7Cz6fY0G0nLvNJ8d
A0hrMecP4A6GVT+lxQZuuwlU3dZetepnM6to1XmNdciCcaKKR9NAU4mEsftYLCJStd9XK22MAIMv
s5sIYSILKswbaTeChAJFpTtcsqyqlb+1L6RfHt9v7Q/xuqF2Bz0bjPXYlhOCkDFYDCDpm15He87p
imCXOLW9mzDc/GzEGmUI3sRHGSXHkKDcnltnGXVi82D0SfmUDY6N0PZBgiBdOQ9aVd1Ly7CjCUx1
SNVvuX7W1+RYU7R3c3gRneV02DZ42bP6E4Bq/9wvBzNH3lJHp2ovzb52Z5DZxTdpyRS3iV4dUw1w
USMeCFO/j5FZ3ESFZxxw/6IKutThKqOAPpGE1VrqddIndbjBs4EsoBF/7VeUUNstKdCLLaPEymie
ALxdYqUrT30wt9XE5p+/+Rrk/KcqHyeMWcEz4DEcX5p2hCcUlYMRRH7u31ll81lKEFQo/TtXKT9L
ucINPU/GpFphLZEOkYI++i/mLVeRSL+AuGpRH9tFaraX5aMsGn0FxXrHDuNbWWaGfhjsvXwcNzLK
qjR9mI3XQcdSeBFSlkOJrPXZ14b9NeFno8cnXZd8H14QHlbm/d6vPRRskiI9pHrx6i/MtDQ0h0Pf
jjEoSHhrVgiEvAm1mswnTQiyW7OJ+pfcjPoHC0uJKvrK4sf/yx3+SoBu/MoU3JbC2SqfscMzdhE4
9hs2QCi9BdbiXJE2n327/OnF07xxA7tZIwteAF/FvTXWNXvviOgM+PF/tGU8Xca7VOcrXEEX+Zv+
Otd9sRJCXhV2zRMeKjx9yuksXbVSIK8Y689C4JNDsFReSUOiC7vw/C6H/89JZUixcRQ2rhree8XM
r5PFzjZuOvfoit6B3rnt5o2h2wPi3jmxx+6uaCuAK5PyyYJDLflf27XNI6o606aZWLNgxhDNn+sQ
dGBKYmgj8iciT3cR3uunDTVa3JZtw9rDpH+2zcI5R4tAl5zBm3LObcXDPyzbafvHgIQM1Fnwb3I2
0sozXOrSEZGQdDLtbYg821YIFOIv7Jk7BEcaED7wLbRSOzSUC08ahmnT6goRG3P/6AVldBLQ1yyj
cipQMtIAgPvHf4xerrCMyDy51ODE6tbE9pXVvsNLSlXA8jtVn+m3Rv9z5OWOiDyZT1YWLOYNOV0S
pa1WIAXIJqMBtKmtmgB6eNZP+uZyM0l79Ax9UwDgVvfX8cvNNCT93UXwIhs9uCcaQh5B3yo38ayp
uy4xgycV71G4uEbzdTDcp1hUo/n7JYWl/vad/quKNPGXNMzhd9dR8Jhin7cfB2c4jJb+cx6751aQ
VI3dYC5C8/I9tGLduun04TkqlfXc6hcdgQsedOTvteJ/ybNV9lmuEkd3ONdeNlyXvjTBsoXVTo3A
uAH4MmhehnFUX7sNz0/jlWKdjmdG3gEp8YxXTHDVXWQ0xk5GaxebLTO0gI1YHRhts0RTofMilONM
7AYWu2lTm8Ibu8U5Vv770tfXcbwybGDy0jRU5y1EmnKQq+yBEg8HbVYTdV+H9rfZG4s31CufRCP/
layrJBs3VYqQFRrVbbAXErgcriPXPjkbhCIup1qHQQJix9CYIu2kD84xDuFiOa7xl66ot0llB7/y
BAgMDE6QZsmPPlX0b3aVozHQ58nXOoAKP7egxrQGqBGMsfhz4CPlN5LYfhlK3VvbXQpVU2e5kabs
qOaQx2JWjneaZ2V3FMAov9aB+T3t3X2aLWg+iPhRV6vfe491uZ419hPApXFX8QvfFBPPeLumJCyW
Z63SJUdFHw+iRyZdcsgW96CrKdoldjETkrjBNLJjnyYH0TSTrkqZPoeD20Od6frnCapsl2A77S3W
jhCekq0f+qAEliaM8vg+DfuTTxkB4S1Q05SSFXKnmd0/o+dXH31tKSovVyrJgrBPNBaXDyCv2jvQ
9Qp5DSpHr1YxGLyd6eZfr7BXOfsQl3BftYhvzJ/JmBjLDs8LHUCkSvgoW7qkRy4Pvhq3w7IjlD4d
4UrdncNH6eJGRWIw49UngxOC6rcQbD8jqZq/RE4+k3aCN99HvK9cHTfbiTWL8KFynFnWYCSqo+Gp
2UsE/nU/zka2UdRB2emVXawLJfAKeF+RdovE7s6fg+B06fPT+jnvB+PeWZWGWSD8k1lYaNiUA5c1
nG1ov/OqGEA3GvPDYFl/STfVMo+ntKMfjbwIX/qq2v9hQ2xFGkybYIbDu9St5YAcTn83hgm2uNZb
l/RnZaDvutpI1/zzeyBqi0WNQ87oVmTALu5arlrjMEOabS0qYYEV8RS383zVIe5A/RxmfVnU5252
ggeeguFDvRzMIvLWpgW4QAakT0YjsPXqgu5Y4uUSdqDygDDA8f9xjaRQf4yFpx1logwa+vAJST7j
oPUwcQoXBz+py1wOmYUsxiKhIYfEbhyAJc7x2iVn19qPNAdL/137T1CG88Nlh6eFybzPg9FdXRDm
2jhFD7m5sTEaa7ZoxCAAuUT3TrN/s+w02MCAu86t56EJ7Oco/NI2/vAkPWk+jKArmuEgY0E55Sel
dEmEByAsL3sosM/z7gr5yKOJ2//aFqjHB3BI2+SfKToF+2uIPmK3jPVNehRDPHQgLaDoz4jZolcT
FAGWfKF6K2O574ybqZybvYxGLqr1UTghtwtw/EWx1OpuirTL1HrS6lXWLFjoMTDX6EjkFG8WTxab
nMYxc5O/QnQxmi2pHAD5sXK+/A0xztymM9qmdaHZ1J8B6qRgHh/KoKzvYljrVziP9Kt8EjhoxHqo
gnyIJRPyIdZfzHGvsVM5/gbiDfwYiSmjuIOLPe6VSSlYHpLS1fzsZxOM1UNtxt0TOMp76Y7q+C1K
cA/6XH6MMvR76Q6pUviI3m3CqjGQ9Rm9k+7jQcry1gA/UTZrMt7lt6Axb7ME4762HzaGrsQ/w8Kd
+XJE4UuWdO4WL8JiXU+oS6Jm2z7ZqDYew85rFquJ5kkOIy9XVh29uoczgtdq7EKMRPn6IV7Q7J1t
m5d6mx2zEY/NeT5I0U3qZ1KD6wCujuh3Xbtn0w/wR+5fJejaX0ROutUwr9pcB3qstv8ualaNDyGu
LNyND6pijQISBogDHguXMy2a7nCIfUot5HKv/TKosw+58bnNQ3NxYJA+OcQunNHO0X+zt+3ucwek
YmnD6iLP9Dqq/XxDeiZZ48FRvlYjuqC2EmG2YTfFKww5d+WkZnYro8Fs7jxtih+7FE1Oa5MWfrKV
FM08hL+ssPKPwv8QTskM+3JnOZ61vtyRbqDYZ3gblwkSko44LyvIFmN2jJlUbvvOWc4ipXDPQ6Ch
3xTP7nlazkg8uB9HY/Mz+aZgjUm9+QUlko343fisVTdBPbq3o1bp965P5l7o5qOCMWCtJZ8GFzcM
v2mtXQBEe233rXMER2euA6Xx937AC5LXQns7YKUs71Z5Z0bR/AkluvwsLWPxX9ZGeIXyfjUWd2Z+
AxmTg4vhFfAscTUZEtLvtRXu+7wzHtvlYLtejkG2ah+DmTfousnM2wa47/nS9JQjZUD/QWKtgpeH
bw07mV4A7XycyzC4sbTxx1t4tPhZk7Zca13L9oCc1LTVamSj/Wm5eqr46lp+A5ltV/3rZOgYUCwl
yowE2dppy2B7rU5KTfLavIa4TkLiU0aA2lAJkHqnqzXaZporfUmy9Ub1GqbDI2sEMtL1dMJEu/w9
a+33thzRQKpMH1n+xEQErFywCvhxRnaVUX6FUJLnRvkExbdal50DSsorbrV5qHEaJM1rs6iy9vPk
/FnRnoYi2iQBD0H5Tl0PcFde2CZWJ+mSb6oT8Nc0/F/SQ4EHEcOgxtRPn71iJZ21o2wGz0cMyxhh
XeWz7x36tD4biw4icq5Vv7qcXoYNTCl77gdUQZZwGORU6WIUs4PSCe+NOaxXilLqewMBx/sBnT5z
NU8oWsWGgnvc0nkJXM4Mqr8nRc8fPwTLaWMh9Dgn7fka67iKdWhc55NAmgTCFGeBux6oOa9zgTwh
8BXfyLAcLrAmQThd53yARV3DL51yTQnPGuS7+WDfcRD+Zcs+PiLri4Lv+EtddvkxGpeINJFruBux
D5GBS1zyd5xbzdHBUMdfw7s8cMvNctYonJ+VyPhlAmncy2As2sJyOkV6etu26uoa+8d8J8Tyyipz
3MLeLzzF4VFDZ++2cXrlHgcTeUZd+WldWI2r0vLLw3WgYXWxL8EtrKSvc7z5vkrOcq8XsEmw85qe
fCq01smoFZpa91Tj3lzs7TDXbv/1b//zf/+vn+O/B38VD0XKCz//t7zLHgrE65v/+Jdt/evfykv3
8dd//MvSPZftjGPpOmparmnqKuM/vz+hkEO09j8ARY9FFOTpCWx3trWiBAqdy5d8yY1KBl0y5wYM
XdLV+vOI00ujp+OLztv7iGuYu8Vmff4uB8qV7pYUhXaM83p68awaeZ2F0qppKQr/5XSn+eDD62FE
GteM1e+onz6NY6cf9GS24bMN0BpO6OeZJwTtbkqHvB725YurAD7hK6zp/Z2dq4qO1V8e3KIOuaOk
TRkJd9xLhi4YfewCKhjgWh71YCWWZpQit6TiFOEUVrwmFRHjWMEhmdBHB1aW7oE7JJe+aIrOtsL9
LxFFNdt3I87H10kgSLODXChNcZ7/7/8brv7P/4ahqh7S7P+HsvNabhvZ1vAToQo53DIHiSKV5RuU
R/YgNnJ++vOhqW16fPaZqnMDo1d3g7RIAt1r/YFsjeVahsbn8c9PI00M0i7gLg5pAs5ntILqnLpV
RcFQq1e47RZrGZMH/CO0+6KOryF05GBttcCvdbOOV1Rc0XdJy/4BPk13PWDIkYEVzXnuAqxG3CUN
e1DKrbYdo76O1k1d/kC3d/Ul81G4tXtSmiFYhirZZUSxoDfe2hQaqGBNQf1QzWeyQy/JD8iYmzkA
EdoGbz0ZvM4urEZHMWCbWoYPFZkN43WLmaGYMeVfG06l4VmfasbXhhO5wBjUUXWQQ+Wk0azZdIat
cZCPQDgV9f52yWuMS6aVZ59lS16yzYd4I5vo+cUPKBZd96zyuvKSYKWN68vIS3q64qPxxqZX5we0
+/eP2lCNPz5rzXMcfnKkiQ0L5Lj6xy9PUVwDs7Es3EWFqh2G1CVvX+MOoadoAONg4K6acATP4+ek
62R7bFMbbsyTPsbWqTULDPNq/HOXSFpV62vbi5T6zkPYzYna/4ypaj6FIUYv18gK5xSC/t5VmujJ
pCfe8+gl37DJmz6NSTxjouS9jIiUbQyl7fZTGdgX7vXcw9xW/QyaBm5AWH/4IZXCiYzkESsdH+GH
GuPOqZ8+kZtr+jH6tH3bW4qqzU66P+A0zvcdio1VQSmE5GfyaklQ2wvP6pXzlGQpovRIe5he+oQ0
anAwIMM9yINakW4Is6RGnHRy4dBC35Ix2TvoUbtpWyNYVl3XzLaHzAtzshH42t1fY9kwMy87Xd8H
/dCtkj6JePqnaFz7ekMeiq8+/HTUcORBJ6dQ22xrZWty+uHetobjTfDaQjoPf2Xu3teLDC5l5ppF
xPp2EStHAwMIQny9cFqW5Z4cmMBNMNZIDuJ0wO1do4wUa8VJpPgS9YleYHtSFqdijjWw0XnMufbP
sIni3XW07DGb+M13WmAhcu48Q06TTRi5D0oPkE+GrheRp1ru7LWuMSCqGFxYxuRVPN14ze1oa3Vx
fOwmAAvDr4Nu50gaoCgPlpgy+h8dshkGDSyaElixbMoZt3GmrRh7gW7tH/Fbs0XpzPFwM/tv03t7
hDUmAEDKCU6rT6swRLL2RvNSK2flKqE4BsjRUiiXBLGZNjZ3+HPHLXQllVn3wmULqX5TcjF8b6PS
WtR1MTxoZmreV6XbLWXHJKYT4vTZi2NN5T5u0gQ9uUJ8RzhT9mMQ3y60wtipiI6cSEI2J2dwOAB+
X5ug8pfW3HQBRJiI0FPSVgFObKwAZPlKzlHL7MHAK3tvuq6uLeRwK2JHDsppvpwMXPv8srL3pt2c
r4PkNfAiyDawOd2FHN3B396xMSb7T0Y3fiq6naNjvFe0+l1Njhklf9e8JAYCQlp0bcRk7e+NNt3L
rnYeZHf8+Cj0CdzPaMqYyf6L0iJsZNmUHeas6IyXRkpqm3EyppP9wMW+z67XkxcttIBl2gzZmV9d
ju1jkGpBc6mMyQKJbEz3RYDwlA0EZCRrGSo6ag4tVDv8ZicsbOPSeOh81XiQZ6Uwp4Wtu+M2QpbO
BgpCt6fmm3p0zLtrzFHi5i5lAS87r7G+pkAB6RbYkHwB2VVbgw6JGPcH2fztVVKSI0NSHYb5hWVc
TD280W72ZfMA7MzxIh/JB3bhj2sMeOf9vz8idNf74xGhq67r4dfmWB6npjUvF35bnHG/1x2SWMYW
448Z8ZXaWroZarMt3v19PJT9ARku/2wqiJE2fSk+TVXdllgbvVcmj5Iyn34fQapneC8EJmZZpXnc
Dyigl92ABrtbwwWeWXlT2LRL2StFp2Xv1MIUtjLV+G2w56Doy0/r7E5Ks6mjPuJJ5EIBT8Zivse6
6MeUg36J58NgAIiK8ereyVgYVa9RX+nHwbX/SqBzHpA01i/Xg6pscWCPT7Ilh8szeR0taehgBII7
9plVbnHUZq13wwvbajHFaEWXijY/E1F9r0eV4PV0bgcpDJr/2oNKozfpvw+Yx8srT/Pl5STZlGcy
Jpsta8+17wdY1vx6BZQyeM7+9mL/17Usvb9QQlC3t+td39084fc3f/t/5GFW7xpDO97e1nXKbYh8
X6mI97oA4hd7tn/PNslYDJojPly86JawbfojiETndfRAkrOwR11mHDbaTE2RKku/aS9dVZe4w6EQ
PG/xbgdk/YzlaLkle36ILLLjdonBQ51i80eP1dX4b7aBs2zh95/tzvhE1cLfj3qB6xskmAqjLF1d
OsrsAjeZKfko0SyQ/evyxn0nJ1LsxlgdNihWIdzV/UxaxbmG3T7JVnZp+1uh9Ua3mESCk284KN5d
1Jf5ppvJH7IZzzF5dh1pF4V/12jUC1u7Mo/yyVI7JeLyoba9Pmck39hqdWDkka7/9Ed1+OqZHzRy
TGQZ9bJqLST7WHdtjcbBb9WI0zfbdbbtmJvfbc9xl9geBvdY6QbnMiYrXOBC+t2HZdqjfvPUWAOW
CFjlrWWcX2nQ9tV3CxOsdVhm1j41zOQ5UQR+iVOwnirKQ2yDZ2J6glWeGrQ1GA2k0q5Bl1/WsUPz
RsZwVjdPjeGzdRoj1VtwK6xhZxKU3WXsgTHxgOUvzOs/Q9Qm26JS/KNr1PEhKXNyE51aUenLqg0Q
0+TCDb9YgfuoX/JWGNhD6Mk3W5SvYJYw+xjSFTZ/w3EI8UdtFUU72ZlOvXzIWcp5qn66xgRb0kXU
d/uYu/+xacuvjmo+MzNM5CE38u2T42RQzqOS9BlEuI6UbRic4vhOOtQGKImrvhWe9BiuG5hZZSOb
wBihKFV5tJ24X5+kc23Ik3rvx0GnPF0T85pnNkB66rMESw6JUq2SOKuPBlOe57hELsl4XOfnf7/V
a643b+1+24iTBtNs1QHUp1lsBiz7j62f2ucpm/RO3wwthWIfuN9ea+qAihCIIpui9XeErFZ1F6c/
bSv+mZhN+xKbIazsUiDIl6favQtafqW4Y/8+pdmJJ+KPaWI5gp5gsxop57zhyxGtUVcVO9k0HfZR
IcUN8p70GqG5ynD+eyq0Xns0QdTLcFib5Z3Z2yYydnyqxSCmfT1+C7TWftHcoTu3kYFYt1q8Ybzq
740emYh4zviGSoHbUqomO9lbdNGbrjy1CMY9SRdETXlohj58lJGmLFAtHvhmIyCX5ZRRrp3qUIpd
GIDx9vQ0AUz6n8NQDG8lP+ytm6BqEBRufO000G7jt/OrLbvlNFxHEK41AmddWrm1MDVvOmVebS5r
N8xf+lGIpZgs95Wcgo52cjphQgIupMBy55vS9J8qQMK/cqE+tZip/uDGcQxVP/ob9NpGV4cYPQQH
MBzrsngRA8gbVPHaqGm1wK+jf3ORoIOS2sLJz5VHBK32MoylQgh4WXlVrfqu67o+31r2hMqBL7T9
HMumjkSojgDUwkryhN3OVik0/xP9cvKv6RRfIJZ5uxgF553qkipyS0NF16JFGlxDDlz8r6HuIOKF
rZng3OfxsBP+GO+E0OXlpXXIRDs9bL4u/Y+hqBlZz0HrfkZTpd6Foh3XKgC3FyUz/s690v5p9a84
XmQ/8paMXZyq6ROUqW5RTNHLEBpkvxzd27MUTJ5zC1XGaDKAm5lp+tzhRXMCMf6gmphwYRca7mol
KM4FcLqlDvJuWw8tpAilv5tTV0fZcrRwtBZF0d3ZojG21DY/0lRRXwGnfrdw5v5pY/XlVqH5mVU5
G+2qjZ7MuHQ3rSqcQ5jjBmbZQJOyeRK2V9+deRLQwkUx9F+T+qCzV2mDnrAEKSTIYiIDn91fW7Dq
9l444bU6Ax/+OUJPMLaKlPI8GorG4rS7v4LvfjWv2LywKWCqgPNVEfYGf17oSnfKI624mBSjtG2r
dAI+UOnw21DtBx/p2GPniDsZSo2uogSR1uMajIi3jFrFJsvBQQ7OHL6hqUgRyezT2ln0ShUc9BYG
NYTvi9zg9m5+UK2A4skcUhQI4iE3n9vm1wzQcatdSsK3SdromesqaI2VjKlNukoGAwn3ur1XTd96
0OeDPCv1xua3VxtL8lTabtBgSMg7QdQEbKIHBwfoogqfXD0sL0aEOuZ8r5CH1E61leeRYZUTArcs
Lj7iNbcR8hoiz611J2Czedqzi3bdoRxsLG9ks2nEQzfUDzVf0Xbpheu2tJJn2WfayUuLtsxJtpwK
6XycwPaNr5XnNi78tRqU2irrG5Rx0RniQUGmfX9tN9mHNSXueTSVGFyPOR3jzvq49t3myt4Uo4DH
23wZA6A1PqDvs1Ah8Ywja+I+5y3H8IwfmyQqtw0mbodpMmYXHmrTGValb1NpvcovKErqS/XXJGGo
5aOfgr5HE+yh1IU42YWCOrdvPsqDcON8NSkZy3OrrU5amyavocuWDAuCp3oow1ew1+2YvIpQUZ96
rVmyQUxes2BsLhPmd3KCCk7gweY5AYEPgWFEtPC6L5AUnBA5ks2CXPOxKpIfsjXMI3orF6iQlMEx
tqib4aW8aVxQpgOq8ReyjvESQ0Xn04r38t41ZKiuG5XVPWaTrmzlULu1w+vQPC/cT2/atQ0MetN3
nupZqhDWfgg13m23kqWVAT0ChK+1V9F52XtrCrSTfh88z0Vf6j5lr36sOjbsgrrJh2H4yZJbMJ5v
UVE9sWc+y7iiDf26cjPo2GB1PzBuRS81Xqt5jiQnalPLcgyr70Ou7DDm1v8usQXEDcL6XielssiG
0nkcvGrcWEOsH50ZKNYO+P9FQbqLfCvdye2W6frdimqN2MnNGASjfjVU41dvSi16lVESgFWuJ6sx
w7cRdq3xMmQi2SlD93vTm5uV6uovudV89d6acm6Br8xTXvBw7EOXVY+gYmKHMAQxpviIunIblP34
A3z6z9FPnWffC+1NlOcUDqoKbEtLhVMglvBX3P+UI/UUWckpp16QoUy09WpW/5VZlAeSdliKt1Gz
LOamjAXgca9n/x4rKItPAVtWVhk2/usgcFX0YoPtNJ+6ll0u+2zAWr4eQgqoaXQvz+RBANtZO2Oj
r9R+loHQUbRQs/y9LzFJxCu0WzeFlr87YE0WcUkJWIgqejUMNIbnYQG6aIe07txlNyYf7Fwa5akv
C21joS3P9sUavjUR1QYFTNBJL9QcxR86pNC3Cg4SrTrlqwMKQLmQYt+y4zZDdngWOZ3JFJeQBPwj
BNI9izP3JFs+XKOdH3TxUjblQambV5aOryO3+UUVir+lJDI3SPMkuYXy0LshoPI22t/idZSccwcE
haqYylpRHf0Zpap8kao2acfVqOX+T8vyxSLqTPdZVbphbUQbU+T22es8EymkUHnHj+dRa3vnb2/4
UWKt9sO23XRR8bd6UQYHhzOXHHBuWMNex8YOumF7sEQm7qMgdFmTiukdbtzdFW3fF6DL8uQNh6py
qUX2wQgLRCTyIvucunzXjKByeILdF2YPysVM+vNYpP63TtPUhY+d7kuOA/JqZD1yFgMMB73R32r0
fM7yUHUlnhBpWS1vMXk2YagwCeDMt/hgtdo6A666Kn/Nl71mdMRhpn/A5Dr2FrAnvJlHvmC1ry81
pUCRyPPSv4TaG0e0QKdHP4IWrphk3Ax7epQhdUD529KDbiObsqOM9EWLl99Zm4dVcW3vLJOkSW2E
HXLB3IdEC+SwiNWzyv7s6PnALWMga3+Fz6GVdX9FQ2StFMN1juFQFufeRE22h8L1l9rb94Nvq4cq
rcuNGft41Eht0esp/LZ4V41IZf1hyiLtWW6KpdduKWN6lSE10iDZBUp2bJGBXGdA8e6VsHSWY4oW
w5QUc6noVxv0KbAhB8x/CcRjITxqFG1ux29oK2NPmnqPmTeqTzX2Djz74jfUMoN7p8PCSDadRKNe
W6f1Ohuz5A1fcYrw0Hlxx2KwbhjfMMzsHmSnY1EjHxRWN3F4yWB4LVSMUF+yWh3gASv5OWFxth0H
Hf/WTEsPiHGou7QrcL6IbWutqWPzKKZQxZ1RDG+dClJVHeviUzGzXTw4JKTTlBJR0c9Si+JBH7Xi
uy3SYTGEkfkS1Uq+6vPOOU+WB3Og79W7aUKFtw/ccM8n197HOYt4qPD2JQ5tZzkY3r5syxp59LC+
C4RKsWQ+ux0c3yk3aDaWi9rrcJfD4K2huhNnq479lrrtWO9e20Wr5kAY50EyWKZ5tqrmIDuG5q6u
0udALfjb+KrzqIae/dghbhaJno0M5f7HyTG6Y2Ilf8uWPDR1ZcHSAvgox8dZ1Jx8I72OV5Tceewx
VoVmN0RbSNtoUbjFcKjjclyppZofMtXs3q16l8ycsNrS8703NNm6k8yxPPqOBGV2cWKRL5vBGjc+
fkwL9g75hzaw3mttmIEDrMv3COeqOTwhhI9fLDpl16ba/B10fnfuJsXgrlT9IMdVfNitoLpZx90+
aOr8o7PWgLLV98yokK+GhbSS4cpvxMLsHI26vTpe8qR/T1oV9/DB7e9cBLLXU9hpO8FW/N338cKh
CP/CzwvDzoQcsF1O1nvvuGKlO0jwIrBgv4+INrhB/l52an50IbIhUEa49mEutSaMlSiBXjRkSrr2
Mdl4HXjYvxboi13sqcSFnBCp9fhOZ2+1kE138uNdFubBdUJURyi/8+jfyV45zqY6tCVn1YDRnt6j
MByO8aDz/ZoPSZktsqDNz5S9nIvdYhoZoq9+G1BUoJKcAvbgLeaTw9yMbidWaUIVa6nBPULIExSi
vIocCLv97xzlx4NsyXhoVqtMx6+tMc10ZYR2n638IO/hvdlI3cNl1tZjmvYL09aHDOspv7vTMrIO
G1SUd5o1DbhTEZs0f1Sup3KOH0OUkj3yavKsB3QaC3YwkTu050BATx6VsP9mWIIkdJmFp6DX/HOm
mTgHzx1OxJfM0RRIHXXYXcgq/W0gyfXNFUW71H0lua/cQrlUkf7X9UKzhK4qnnDpTEN3OnUZxAYn
xutATAO1IRB3+kKexkXzOgOE97/FAkVYB90NUIthLno1g73CAzpcWY5uruS0wOjcjVfBbZQSqBrG
blotwgepn/orpFpO8GDVRX2RcZXsqRwlQ5NVa5TXITohfpOzHK+1hV5P8CHctHiqVCs9GjqCza6j
xQCbrPxVUyzUH+Vgh2QyLP5m6YRtUiA1qyNVKbqz7BWFE6CRWCbr0GjyJxHG6aNpPl6Hgpf/Kxr7
N7QJi+srC6NqT2aEDcX8wvIKVV58vZnrBbVIXN+MbMpDHle/vaEqDeodhAyMvOeXlFf655tqnfYu
aIL7KfSSM1L06TlWTRYPpLPAfkNj+hVva41CtPCLza3DpZh+inKKf/MwGU9TNYYv7854Em6Jpa5j
1QAHmU0MTdA54p6s92MOWwngRMWyk3xQtJO9MM38B6xnoas3xzzrqwN1XCyr8CJdW2iLmXtRVsM6
jEMywGBZV34eRhuphSYPA9WzVYkdxm+x1NPwD8AvdJOHNpBCTDQqc6g2jVHVr3ajP5VOEP0wIw2c
b5SRXcHNQ7DcOXhuHJ0BS7Ounkf0/IeKXP3UajLSlt60D55OkoNybrSJbF15zWPjXMU9wvSW+2aR
lXzpsP7Z2KKqNnpknEukkiHBFvhn48fznkXWGRVa/2dlVBsla4bvvQ1/TmdJcdHS0t+OqRj3clLs
Y7qd6tP0njJJuhV3TbGBvTX+NkkYkb/t50kZmloPfaRCHZ8n/XolZ0Q1YNWMZvqBBJS21pUELT6d
33oJfQY3i0R89gHynv86YmQEkmT//Rrww9NPJHyv14B/vprsIL33y48hVcRZHnRY3ucSovAqh6a8
Flriujwz2vCBYfHUst6X40QovKWDwFQSU7ltB3dl5k36qqQiWmSKpv2M04PITONvS3PfGiv336xJ
Re/FBKmsAdLbaUrZ7eVs59dsb56tqqn+a7bnQqcbSXtw+8N3ubWdheTNZkUEdnsy0rMWWNNJdsg0
djGofGdxNZFQOqWNrXXoUIJtJAVOf6wjFDUTfRNadbJTtSb5cN0XuWWpBhYweTbTREYn+bB/D/9j
tNzHyNFxr9mLvi4/2qCxzD330+yumQ9mPguVeg5r0jqfad4eG6aA2wfruyR91OLa2FL9sLblvEOd
tPzTUbmDd2anvyAq+VtLp5XABwRDxk53HilbYdUOn5ny5LEVATeiFS8eqkMTe4i3IEh0zNzG/Nps
+zRZUywYdrIXHSnq5T3IIzSbn/Q223a6Z79FhjYeEGOj5p3G5C0HW1v28/uVBH7J3ZcHtYmaXaMZ
yPhps/h7YdhU6Ob2jemvF1mNRg+rVytoY9KHqUWCy4shuuco7VvmkwzZ45gvqlwUR8AG1pMqOgwH
/jkB9uOql071VlghmVcnqzJH9t0M1eku8MMOJjdypfJ73Yin3kit74Bnp1WDPS5aQnV34gvAEyMU
Hzh8zfBtCHmkLaANGt6wkSlLHZ2FCy5Mi3gseGLeel1Vj9Y25K+tRvmHnVQ7bNvGKN7Ltn8G1lZd
BqEqF9fxz4NZFO9gjimCKYq1lqN0tkeLDtbdqTYTeIJoSRz70VjJTjuzlL3quKCd5ismqUIBgELP
UfY6F4+LHUptHk6W8FBQI70eShZP2eLW1nL7q6eCOb6A5ynWbP6dw21eVocuGaHhpGcIjqKsbO9R
CK8eO3ZAF088+uj+PMpICptolzl5vJRN2TGFAcIAWaTvZEwesnwDGR9jmgT+uXDbcdmLMg+WEyqn
ewxRigWo8ugiD72LWEuflQ+xGxQBWaK6f9B1Fl+yiRp1vgH6ly9Vs7ZWRmShVaJH5rCIC6+5l4cy
z9r7aS5CgtX6IUN+MTX3v41z/Dg65iVA63msHJKSy9nHkKPjXHMP7BQnVKIT3z3Ig/vr7M8eOTy0
x3SJyijCWfNAGZNn19Fj1BrbAHVfI8ijI5S46CjP/lvz/xXz4g5pCseKV7frwRCHagqxQBFjfy8P
pCT6+3yGmBdgKrnPuutbp/drmIyNKjajKWAWOV7OhF2D/LQ8VfsyvhMIA8qxcmpvBb/w9dTUjfVg
VBpAYVO9C4zJXwFVwTg7gvZl15HaLpyoQ8RP0TXO5QDyg8F1gFlSmv4StMr85p6NjXiMVCW5mPVj
gIp4gpSfKva+aqsL3UTVPOa5X2ACuI3G2li7rRO+I1ZNrbryUMYmkfqGiW3ND/O9CrT4LtfnZGVY
RO9dDjZQBaCxl02/He5SBY2JFkjopU+0J0s04rU2Qf4NQEQz6jJ2BdBKNi0scO2F3yrvqHFqexlz
erd/gCvGYKPYK5Q5jrIl4xDOxMnAB1TaXkZRGR6nAbFs2Wwr110VqmvtWKgalCDVZw9I8jnH4yB3
1JU2pu6p7XKkNDE+8hGYqB8rHEtID0GtWUWIv+qzQu5vpChhG+rxklTdW9spFizSPnicVB8qQAMs
3g0esygNHrH3DJEAFz9kfz8PKtsk3XQurGo5QnaE8cnTLkXsvJCxLM6u3gev+fAkOSs6VrunWs1T
srsUNEe1yXcjtjhr2fTmRAQ4COtKcJkv4dgq3AKIP2u8F/OV2Zrau5IM19UTeg/AKsfu+1Ab5dKK
pvziD4FCmb0Z9pFuRA/Jr0l4WV8n5WAz5CSDtE7Gymt+AMgnhkDdUPdCcZEtIwWD00BSox7KM8Vy
odeqZgqycJ4gY1kV/TZhBFvc4H6Y3LemeGmC+FPM8oNV4ndLG2TkfWC21oVU1o+i1MdvSF9jI6qg
vtHVpnppQ+OnHK83WrUMDMpbE06bl9LF/Fx2hComnsVQD/daVBSziVoIP8Y378PM9TaatBebD9kQ
IFLcUmecncVucdmsrbzvEMnImhVeZBhu/3NMBEIXbageVrctXJR8uZ7AoXL/RRUbXO2vcWpe1cEU
721vz3kjVsqlhqK52/XqXkSKOAVOyCZPi/0X0UKddCe3/tmoLJBN8+9/znYqM7zODm3z99ldE1QL
dh3jSiZhsBnKTxHuFSdYdfpSwSxy1bUdxHKZjimb0F4D5Pls0CFcjqXvPCCfA01bQPdmwURJ3Qh5
Tut18ewN1mnEXA9UF+nYqbpLQ0/7qOaJUzNRCHScr4lhO3ZnL2bbOrhefszxkV5Wks0ejiHvBKmd
nhT0/rr2k2yKOdbOsev6kL/wtSk78Rv29oEZ92s7WwNHds62XQGriPH+vLVadwWs3D0ng6gvaLrV
FyKj0b7VfVQ8AMWNH9hbiIURVOM7qTkUTeyejd7cbH1MB8m8P8lhfk7VMDdNhIhxE1kGCGJKiJol
+NuGxtjfyTKI8c+m7MUfqb8bkixY60bLE0CYr6NaJC/Ue1lZghbfJVkcPheZ8SktxMUwvRql/jVA
V2zIe5GxVqygvpTUss5j82RXKLLfIl34dJXzkP20ZFettf7W6Edl4UYOw20SQ1EXZrt0/ktYavcV
K6Ii28mm/2ucjOmRSvaqPCHE7T5GbXroC4rfsoVJjrKrhohHYIPc+tLq3Y/JF+JO9upOXSCTpZPO
tbsRzgwr504dtb1syoW0bIYOvbem7M3szRXzYhj62Qp1cPy8zNGpQDbPWH4ZkmehVylHETQ7MrXN
LM9ScquOw13BQ2YX2f7w7Gn5tzYMkVRM3Y+s8aZnOUDtwwgFGVggbPOuA1LN/yjd/muAvELY68li
diG8+9+jBqUMd+w6vy7j8DoG6qyfvy5zGyDfSC2qb7ohiid2VvamqhWrIlc7+Ue8GdiZ6RZ4DZvl
11EGk0HfFJlV7v+Iy04Zu06Tbd/Vt1OGQuq2FZp20QTgcojWysIYauej8KB2CR1nWa/DCIyl5XtP
Sv7fAUK66rl/UHVMx/M0B4aOYUESUW3d/ScaFNxWZttaYe151k27EHOGaelpIjvU7D7G62nKx0DN
ZI6SOO32BawaTW+DjYm5w1obSu+5Dv25NjKBEFBtk+QesbDJ8rt6KLIFFSnvWeCOSMbQOrQOlhhL
sQDb5T7LkdEUHR0NY1N9Hlg3bobSBrRN2Ym4nkVlyjV3skntRFmTlFLWcnA0YO3iBu6Hg6bvElqD
/WzZI1uXhiy7bBoWZS84T5uyqygxziM03myThyk22LSiLHnFIyo/yRb26OEy0s340LYjnERS5Qcz
8Ib9QGJrFSKnu2t7UEpenJcr/kRoaTRoEomK53Y+xd61Vw88G9ZfW+zl4KkwlpqL6VqOXtm+babm
pUN0fWVHhaDgTNNTscbmfaWQeEXzAj4j2IR9izD13Kunrb/JRV+y76GpGIq/HYJkWMWaGsHIQzOT
rF9878wH1srx/WSr3mH02pVsIZP2FZfDbjE2h8D8ErYTrpP/bHM1v5cHO8qL69ktpmn6eYgcZ3cL
kXDCw2w+yBhSkXB6uAeRwPhHh+xVRj9C2SKqDqQxrP015iM+6gXAWycreYrgeN9naeAD+oZJvDFi
oPEy+FvPrd1DlPccO4DNxrzb4XoFQ8ziz2Z71gb9q3fKXeSMAlxH9EmojyM6SqWZP8pGws1uO4bm
uJRNdR6Q2uWnhvnHUYZk3S23kos126DIUIZSxQqSJEX3OdY0YXjOu2JV8AUj2/lgQ5e4C8K+fyQd
BShewCeRTXlITB10UeVEe9RD+0fbZkMnBI7K8wR5QFYL2SWe5eg/EYP80z9GUfHTGiYcxOeQji30
qcQ1UbbkdQaEH9aOE+drGUNchhRxYXkbkU/3DgJH9yIq2sewsqo7xCNeZKtwVWBe2GPDj0WYS8bk
AbGofYcMwEm2Gsi5Ry+p/pLjZQg7E3D7lfNqJD1FI9Wtv3XmD6VvjfdBCSY8/wDcCtjVfNt1eM6l
q76kzmCsBk0PV60rvllVrhzwks22Tp4My0y0BQJ0YbvUJu0c9awUFGMiW9ZU6kenRfeaK7ynCM8r
3H2m72DA620FA44X6ac1SibdbhjqEOGGDPvHoTmQQ8D5Zoh3ahbY94Hlx9uBRTUeS51zqjzjJa/Q
YnAbthgeb8LT6nRf41219noYg30ltqVt1ndKdo9riZi3W16H6YHGO+rtnZbGm8Qokl1cWjEw8hQ1
jmBcFOMEDSUL7Yvq43ptqMpwyMKIiqSrvZbO0HxHopn7S2Gqp0IpLUA1Aesgtwi2plNp62ZIzQdQ
ucti1INHeUAkQd1PgBy4+H9iIC2TdVVYFRDM/8R6D2f5UEn9PU7u4XVuUBukGNL0LIepQNnuqG4/
3CappdJz7/FbdJD/MymBfLnUNCfeytiI6tidH3rHzgSjsTDqsTxQEsX8RrbzGXkh2/JgK0BlgxHX
bRTl0sX1qGMWd9CQgDgkSqepa9nWO7M4yDMo5wyd5v5azpLRr6lqMSx8Qf1HPonkQyqIfbTl54OM
3Zq32B/jYvksk93X01v/7RL8WJ2vB971VIgOYToINbinHoa6+TpEARYcyXyIHStMF7Itu2VQnt1i
t44kqhAvunX/eYnb7K+R6J1vS5h9S7+MFn1guRcF+dCnKO32qET8AD44Pagd/jBmF+irGpAP8HTh
P02pKBYKWZyflvmzCAZADz02s9zFwwv3QXNXeHUBEyw0L10vcMOMmuRH5u5iQ4t/lmLo0Lr6H8rO
bElOZNu2X4QZffNKEH2XvVJ6wSSVROv0nfP1d0Dm3qqqe87DeSgsACcqMxUB7mvNOWYonpWuavel
lptHQ8l1DJqw+lyEvt9T6QSzSnya5SFRjwAaBBZsyLMxV/kr6UJHi3SJr3E+JDs3alD9jUSocQH9
4iiNXrWeb2bfpj86+oCv+iC2jikM2p159zWbs+3Um8rr2M71IVEsv5uc8WyTw3IGwp+fG3Ori04e
vbxYWq5UPChUFoFhN97B0otjMqfGsY8APaAhq8+Vbbwvoof1xp4udUeXhWAQvvL0lHthd5DTFC35
mjY07PiDPqVJdYghj90omxKCYuYkMs1yX1RjunfFHEila7e1WBrjVQfcCHHZ3ogilQYYimk+N9lR
KgB5HGyxQA3cnCz09ElptP5gSmY4YUqhHw22/QPY/iEtacbHUzxe+gwpJs+VjVCIBNOk82uO0kfT
U0x6COnGHLPXHGDFd5ZY2zRyW5+ydH4rq2i8hWAlN7DzlO+lq5zDpC/ebNjChwKO3352WMIPCNm8
hr66m/Q/KzQJ/uQ2wyNWTfeYy3TapaGmvKE4uKH/ry+YsotAhIW5IbGkOSOAz99VueUuqG1mwQcG
bpwXWDEG31ov9209FefcpZnt1OWdtSJRzF2Ub1rdMAONVtJ90EwvmGCQenYVjK1t7PvE9G62rr6j
+4NB0YFUrAkrOaa0yzZxpP/l2FN2AjCGBc18drmNOVlZnIYUPbVSqYumLqqOpWG4sECTmhJTpR5s
RZzMsdY2rV35XpJ3gacXdVCCTL45dpKfbCZ02D58pat9T7XRjU1u+KWvgX52wnOe02PCvBJMGHX+
xmNyYgnKvQnST9U19jKVr0ZfF8/F0RqTx6GzCdgGa0O2APqcmLrTzs4apvKz4m4bwSxM6ncCipVT
aLR0d8SEtG8x/gngSamXUv5Um0ufTo+6neKkflRIxfKlkAm3+6y/YGCJwvQY/upTqe1a0kRP66b2
mjyQxOfJ0k194Djdqa5gvNfCA99VZAdLMXeNmev21s7qflMN9leVAY5OFNAYPzMT6na1PpWndaN7
SfXxat1VKrs8ectm3Y1IuOU2/t/R/zqdU6Gj5z/6BmvKU7PkBLK0k8XHfluUP2Lrh1NbfA5iZ0M+
nX4qRa6fZjO2WKIzv82xGXZV6CNY/kaaFFHv3EUQBRMhjJnImzfrS1TPr7YeV7u4mozTmNrGyZHY
NDGNTOjfjmGWeH4ZD1RIRgLAUqHsE4sWu++5vEPZVJs07XnqN2iIaxcQNQkc0gGb44GF3nCPR2jE
7d1IaVNP4tEeVT7fqq/qMjs2jV1omykXb45wiDRbfgJcabanVkfZvdZVMZ28aJxOyrLx1CCvY7iL
5VCcwmWzPmvWV1BwYkw8lDB9O1K0YByhn6np2J8oAhECt7warOFn1ZQvJHDYfq1m/AXq5RFLVc7a
S54IBMc1fMzHcDcn2Q10uXJqlvDHdRMmYEWU3KTsn0H3a+XRSvjF1n8/zazfLNS8244yy2mUc3Fi
AtQr+XBq9cI8mhYCD1sTrNEcunmD0RdbU+2hoYAVPZWe+GaUrbUt1FTSzCg7UlTq4i3SvObEtxSf
HX9Yc1LOdkqQZy+xC3nOfv3FYshkm6IS6D8SfT4ldTefrA5iFOVz2GFudaJeUZ+Yy7t7J02YkBTq
KVty5ERT9R9/ps834s+0vsqLevh4lcF7PnYG674QjAdyfF1sotJFQ6o28661rUejFDDzIg+IvhK3
p3XjqnV76jOsWUR2oK3EpOFXZeljTG9PIgm/kfb02NToAauo7japrgWo0M5u0/tq6J41azpFiXhK
a1RoBjqQ4xA1p7qgLK851tfGVsJrOg3zpkuLxzIVE6km2g+o8cDO2/EsaNdCg4/AYtqFi9sDuKyN
JCFTu6c6a6PAtpkRNVXe7hKw0ht8unReaxOYFrpJxItvUg/FDsRLGgAHaLaRRSaFkowRKz9cwkrF
F87Md0Xofs8UCuCW3T3LspqCqYpcLvHCTaPrsW/PXb6LWdlj4BqfY4fu6iQHVOhLAWxprmaWTWC6
A1wKXR05qM7i208dXy58iM7StxrRCTtwOaitWFYFfKnwArqNdUCLrO5ar2NyYLnNNvZiHhLiEdEn
GZnqiDs6mqwDBqS7FwVKU0W4W/hOaGEx7eENGfyvJx1qHL9PGs/UOyfNj7jjExys81v2zGWoMonw
Ic8i8Ky5p+yjJH+YUqs7uHZ3sUPFPmdxdUx5Zp2SMNn3Iu34Uw4OmAMiVHOixHziuMS2mct5i02E
rDMlumWJqDZZ06hb7q32llhqZF5O/kYupLq1U8xFqVKTajRBNEjifDt6OoH1IBe3mRu9CRP33Ejj
J3K66cbD7s53qDkXMdHTznBZHqs+pvuvKiS8IKGlsylcA+0Is+7AVR26lZr2bXCxynddE58Qbm+s
xpbEIrcwaoYk2zp91wdeVN+aODkWsYFCwDPvBMRiFio9E5dNrm/cFil5n7d7vp/widvyUS8rHApN
u+Ufaz7YrrD2uT1sp1FvccGYjU8TiQ+1sM9WnPDvqqTp02zwkdON40zxcMdi4rbM/i9tAjstl1N5
1IyBpcGg0qtkNp7NEul+z4OezsZmrEAbWtCyzrma/E5lL9DqL+SkAUI1dVlCBU2S1VTwQUh1yTzN
ePh54z3KpONbygwpAvX7Je8f2ploL7Xi9+9k9pdV1cVWcxXjqlik/lKB+e2ZKeysvHllMXWeWx12
t4VpeXTVe5oCS6i8ea8r3tXM43KTaZ13sjQk75UGRyZL3V0G1fzWedcp0iI40nHy7BRTyPIntw6u
MjgBNSQLy0/3kJouTD/WZ7rteSctgXYeL4VsLwyvWKoJ4qBEdqvrRrnPFnlZSHv1spYnJe/nPebq
b2Wp6b7LtPhhHF/LPCfLYSRtmgmftmUeNW6axrrYeWwdANpDedWan5NkugKMIzzzNLqluVUf5HQH
m2f5FlbtfWM56dnOVdrj8dXxhjYo6Aw3Q+Xe44nUCaPp0n03okgyqMH7aZg513pWuevPvY3D2tSI
+WJGNQ7CDSJP6JuuNypfQwC3myrPh5HmPOE40lDJl8HgCWd5cFuY+J16Uw/kL0U1QZaUtkDcotnD
eAVutLeWHyq9xUPxQMMFzmAUtiBJIL5mHp8TYdOaVLIkotXn2Nt+PsFK49fHWDzXbrxRZvz5gCIL
X3cpy2nmEMyV9yYznUc0ALh9NFc74jG/6di9gnCmXZtoqELLKsnv5YTWED30JlKnjv9fgcy/sKrN
GCNHAP2ZbUZKNxs5OtNpFNqDHvXNTvB4vguvwFVh4RjiIRA/RFH5SqjlBdzdrae8fIMcKwkXo9FX
jbvQHbxH0xr2ueT5U4va2NqqCkq0TsRdKtLwvalffh+mokVty12jls8I/9uta9R9UCr996wQ3c52
KxKfBIoLIyLbL4tBxBnmhCqQlRP/ECz2w1kd0SqVMO+qZMQmjtcwc1/n0lRevFR5QCd91qHKXyl9
DDtdTVkA2e140+Ju52aVdo6Xvb5LxpstjPGmKpF1sklhwe/MiCRG7cwdYpPj+JyFgkHJ029JPOs3
gXstaMENbdZdbtqnSaYtoSPthG59rt8jE311V9Xte1WNo98bff8+4eT3PdsY3qnpDggno+k94pnt
42PEDcmKxE8AwbxrheyRO9Dc9OasR9A6GO9tb2PW5gP9bhJKBzKkcd6RS7U+AEH3nekHqx+czcHU
aQDQTWozFWr/d9Y7fKKaTvuStjOiV8OMvywxAr4RiuGtimOY//AEXptEQdhJ+GnT1682zuJNp3bW
S9wXBqiNqHpJBHdladM3c7ywOExtCwEIFsoTFjhWgKYZocC44gxOINah0LY0ZGVz4+h3zx7rXaTj
BsWNSCBP0sirlybmPs07eSmdZjyYxEOfqbLXx85ptVOPLB+yJ9HCLuIB/FVueFBkTj6eneYHOdbG
qUNMuRXC3tSp5RzxEToBOQv8SLiP4ZS0+bZLVJaxSf+YS3VfRq14QKHdHDqQcIv/w4K9VLw0GaGO
6Vx9KbE7B4iE1E1pkjtWmGc7MS8ki2msgrSfQ2u8odr9XdgKhRcm/6peHzPmD4iARTDVuCkmFuJ9
zBd8jsfPzZApp4KfxTek6wV0Ti+WF0/7xpFvEAvHwArt5b43mbtkBPRS5aI+szrx0wJ7heZo06EA
MLaZ4AD6rqFPG0ns78ZZlhKpZYxHcxRPpvfVdVT9tVDkr3hgZW7yeY2VQ69E6b3JCxYTnvMeYk/0
K8vqX90I5xeueMRDTb1LI0q6SqMjO1cMFuNtdxuS0d1FXqH7ji2JTaV+O+gXrPUwiBYYQ+pm7xr6
8aD2xNHyqK0bAzfURMTxToAOBcmZPEna7b6Wx2+V02I88I1xRm/Tn6pE0Q6xkjzy4ApGM502moQS
pKvNb9DLmt2UaEO63xRkR57mHSo3NUl8KzKtk5i1YTsXfUEGe3OOdSfbl6H2ztEHXOMt6Kzu2VKU
S+7kO6tCP6kwCfzo2ozLqjEvXykAsKQECUlB0KUEWuyaIU/2uvlVL4Wx4/74Ug9FsdFFOl57PvC0
HY0oAFS+d/omOwsDoepYjbgk7fF1ymt7H4VhR3TN8E1tS0oKptjOdsy9bwqHa0JpwA5biHu4Xrd0
6b8Kq8MPZPSvUSgTFB5+PuPz6xsoDUrCk0mpqm3Zac42d3jw1z0MhphcGAw7Wwwd8Uvr7uqc8MhS
HTzibQA7eeZtrnr6uhBe0tibH0pm0nY6/FR0EGSam0GmDEHp2M6z0H9MDkUzeuHMOKf+66MT5+5f
Hp60lBADlKwYJ4roFLZahtFpItN7nL1HmI72qdPlr0YWxj4blz9I4jZ36UD727QJRU+4vvfIS/Td
WMztqSWrENEcuNtxqRWIuh0pFVGiEM2my+ypuau6ygc88Vh3VJIlR1GRCo6guj8yER72cj29nmkw
PZHb2qaMXw98vMHfzq3vogv1ZCZC7m3nd1aHzXHoFfomjbtRsaGcDJLtSefBmqZVqn0gIGdT4U7f
VKBdtTi194bcZjSxnmDe3HIYopuk65FxFbBpJ9qPr1hXycgZ8CwV2XbssIYrWcHNErUQ9Zu9UtjO
zyil909EKQ+Ccg7suaSGH5K0kYB5VilC+VlrsM6vxnMVd0E/9A+01yqfUEs8qBoCU9voH/tZGMhD
KhMjWbeNo2McwckxclJjZWbWYCiWfEiRia1EEwRGLX4qc55XMM0UsoGlZ3cgiCwDHl8TBmEYv/QC
+qzunLph0F77/EVFlQN5IWpufTn+Mun57oe5Tg+1GtM+03i+zUibyDfbYtU0NuWEzEFR5C30QPxU
TfuahA2dufB3OBbFixoO31nf9QDI252MwoVozXexqrKbTZTLkZDcaOPZ9hakz1fW4bCvRT9veydk
sdu630gLzQ+zQraNkQ60joxw9kXtRD7RO3yumrfMtCPWT+2vZiR+yknnF6vKdlnxXpex+T2su6vd
1MRZwL0V8kskROnDHCfaUpZPJGb1Oydxnowp/1IWpMAn7dds0l7DvvtV5MxT++i7msjfbtIUzCi8
ns5BFNGXS9Szq0E+spJjW/d71e7n73UCly0k4FfPBxJQa7/sKKUohVbvtNrotqlV4MNP/upIWaNx
VXbXcYBOKdQ8RSxYw/L0xq2WtG2g6Cf6CCIjqVlY4e920WZZDkYCsM/qw9BTeeOTmziEIedoUKH+
4kFm9jEg2fBmx2FtHX5Tu9EIKku6fi/mbzl/GOLmWY/0D2VteLtJVPFDOJkWirlb6dlBwsL53Wmn
o2WPoW9inNvDP35VXJHcFxvpPg0VHlGdd6Ac7e158H5XgNqUqhEdizAsn6Im+wnvcfJdjax73VDO
PxxuEEwfnPIU0erzQfMTp+wN+caduMEfmHVnxywzb6PLzKukpLYpiaykpFAgjlUNvhKERNRGVQQJ
HDRu/yyoEvQ3u5mSS6DqJgi30pxu6yujo9zq4EhTxxJfSdgMWHia5JH88mPUVs7Btm1lU6aVcjNK
flWHvBmLWBo+wrlxqxNpXWlLFT4TJOXNkwjmrDybl/mS8mbMKnb1yM4PutXGD0paphhNYxtMsZdr
d2TRLXUVj7J2lM7N1pYd/yeiyrtnlASwvPP+0kUhPZ5s7kBblCiRPmOwRIa0fYiv6sBd2Jzz/OKm
NhYerKyb0pnDK579oLNjmLf1mP5SMYoxW4+p/WmgR0k6S0wMhTXpB7GkIUX9QiFzIrX8VazTRKI5
yww30+poLj23PvckW/mrskdNKVT/GbyeXXeZUG6slPi3nELu0hgeiB6KGhEkajzuxBR6d1srPzdj
CO8A1cqfw7qhEfo4oxzr5nlNdP8c2igE36cS2wrEdLjcvU6rkEohN0j86Pgd5HsLjp/WmnuXDb7E
RoKFWA6vo2yXKQT5aB+jXJZZ97m13CfdGq7rYUBSN8ej85fhkSMKsnlcWTP9CN81z7Izs0/WnU6j
kqWFSnY9uZJr1kPLCMpFJAitu8t7GJl+xLIf86i2nId1o4tfNaFkd4jjPENU/k1QDCSnPwOEA2Nx
Ztm1ZcqFSMXM3WkfT1oEyGG5hMYqOWNAJtZLimquAjvNaCTZ6TuzKvlcdbI5qZRdPtCuWnhtoJp/
c2LZ7mo4w0fNiiQZscOVz978PZbqSFlINa+F1nZ3pxsdfz2BieTdrdprPyHokB6pEnmb0Z9E4LxX
vPTLMHjxfk5VmkQTismwiIs3I2ne1/C/NEHFN5vD11JnqoWDuL/k4RdufPhxoApsbLvHkZnqQ0Y7
oNvluenc1rNR2TdXK2+vmR72GWaiMNtrnkqy1cJnMEH+31DxvAyqHSjIM5/qRTlVgrBe91ZfwbIn
m0x/Wh0I/x35qbGyA9PNZJB2xh26NDSuJdXiI8ZitjrS4QSILqlrxeHz4HL+X9EX6WQnxyVPcE0g
R61rnz8Syskza/eU0J/XE/gPS2qMuKXOH4Hl5ZxgB/8I6K5H17l8cLI1p9jEbWOcP7HB/9mFV03G
ju3s2ubgOK73EJJQsDP0Wdt4y+66waaWnWQpfv05FCVgevGNbyBxmAqkFsaS7Lt1mkog1vzPlVOr
xr5b9NaRTnr4oFL5f5hdKnXkS1e7ddx6ArKfy1qYMsz31MAEUsViesxEol/HeegCQQU10OMmvWua
lt7XV1NigMJ3Ze3/64S05+KSWfluPT7O2WB+DGlZg9cFcqL1Tbpm6E0/HGagm2qUUF7j7f9sFFvt
ggr/iN/306+VQF9Ms7Wt3KEFv7jg6qU++TUOnOt6to7Dje0ow0s5t+qj26e3ZBmVUe8/RUODMAbF
Lqs4T25L/Pm7egRvv4abdQWl08RSmPMtWWcERZBYb1rJdd3l73PRe7V/XPckj0d7fNPyQXuskY2s
B9uuKa9pC0tgzVdjQTQejTaOgn5K1bdYFgNFPjpspmv/1D3iSUQ71PyDol8BNCVeslgK9DPQwPWK
sKwxNt7LEr3uOlZ1Z6pJfeLu1rGWIT4vHZZQlPVSlpaflw6D9XFpOpXixeksmxay4+w+xlI1wQjf
0IRcmsa102svRBNkd8+d7uWy51WJ9jKLLcT55GNHFOort6j8tp5i024A6DXH9WK9R1Ilx07drmeT
Is5OeBoVP+5x4kWUCO+O0d7GeszfhdBi5L+dyxci6i7IGZutnKfhS8UnzQXp8dc/h9qu/jl0UN36
X0NH2d9gsNbZIYkr5HN9VD+go7ORC5V/qUtmizXLaMsaWB7HHiNY/xuYXPS1GsBfFcxpgnXQenFI
iPQDHlf7wTLzv12Mz1Qe12EN61CLrJQ/V6/vqeMA99errYaK3VBnyiacEKm1UE0PWhJ6D26s9Jsx
pL9cz/reptL9a9KNmzeXydcGusPirWnvKmF7Ptnx9FGW1BJ1GCmOzKO+WXelUJInixjQdY/7iPU8
ZONEANaMjztSaOGmTj6/Zfkdy1kLKtGoD2ak5rhWdQjP60FsJri6iMzwDdIyPgbKxiS6bex4hmNy
9KO+SC7N6IkXZczVbZd2ynbdLVoNv3KECkZPJ/ECjMZ9drE/LDvrALOiSke/7yKLtj1ZKkk8uG7m
9y5i4t02pn5aH9A2Fue2677wJKkR4nX6g8rqvtBm5YZg33hNh/SNp5WCc5e95RyhtcotIdfyWBMY
HkSZ5fNf+Kue56/6pIVM7Y2Q6v5g8gTL1ZNs53hPNp35ZEnCOnKlb38a3GS0on2o2jWyNZ0eTCeI
uOtmfqEH8UhrkkYz5Vrx8UKBCkg4D62Q/2+MSnTZruo8Ep2cUT0MLaX3dnG5EQ6pHtS6EoH0iur8
8b8y7YWLSJ6NQZFozSiazegHrrnouh4qoOJuKZeg8Vu+yLq9IqbtGRc2FywGpidoPYSRxgs0vPuW
aIstXrTFxcu66AGaLMlJZdz+mHoXkEqcv5VW7+5psFt7u/Oqt0IUV2qa7Y/WQQZQmIp7b/OmvnQs
kIPa9PpzMWAFWI0yRGgNh1bLn4ZeUCF3qt+jVRxKval/q9TL/vliGbMemXgxOtjFlQgMnkNCbSAA
iB9BHkq4IzKoKxB4nUpPIUMi5q8fAzmkdpCOcX9cd/85DPvZ57CpfdcT78vYWWO8VaeMgCplhgo2
jdRKFFbACzVhVfGvr5wucgJTU0HOgHQI6B40R8DxHuGmhf74r1f8eJ/HjGKszq4X5w+REu1m1l1P
rdD112WvNdTyCWuJjr1cJ1u1R2ATM89RCGs2nRcmPRZ4chQ25eK+iBt5ETG6G4PP67VzQ+Wwhulo
OjnXCQDIHY86NCo9ZtsrJaHdGrqTqBB1M0U1smuhxkTlAHiUfoe/bN9K7juQH3A+FVWXILJA04dc
o1MPyjix1IldWuxQmcUFcFTq05a2KylhSLoS+Ruv1g3rmmlnV9BGzP8e+3N2avE0qizJ9uuxilTk
jzcwpsG+GsmFCGsdMskIFSKJkicxV/Lc2Qez7qgWNyPNavTOg8/Xk1RsXQ9JJCisE/IaXB4cWjdD
C0YTeUl6a8xZnv6MXV+p8zwFcnnar7tImbxD75REDZRu+FgY7U4bWQD2y15Cx/tG5CKNQPbWDYaV
6mjYFML+HENbVYA1ZLNetZ5wKdn4aiFqmCRcC/ohvztDsXXHkhrXYNz5cdWnGczWsYPnS/WqVMWm
7XvWXM2oQDittafcBPMDkOfQrWdjHOJboSvkGbKMFZvl/TI9Hu4Z8u1ccUBh9c4FTe1dmWYH30Lh
POaagi84SxAhLLvriYmIWi4M062V9126UeLQI7UPt31ETDhNTDMEV2JOl3W0t7yX/ZizwP14y6RI
jA2uiWyHRVQpO+c2mgPfGiv73/eY+yBeoJayPjsSRSaXsiS9b58pThy0JdCMljlh4EyQGgIHSA19
RaLFhB7WH5tJdBuessP5z/GRDsAQVNUSS+kZJX8aBnelpKHx57rQbJx9JfRvfw6trz7eJt3a5i5u
muih03/9WZ+tRwgz/1ie9W0UPQjxO1+poXNBnIVlR4Q8o95Quq2uwfqx4lEJ1mQM6IlHao7hgVC/
mbq9TsJp1tW71pSAvJfdLAmJ4Em0+lZpevRFujuiMIwvBq6ZC0DvZi87oB4ruosH9svHjeAjVjqy
pg4+vPsqSt2+fOTaWZY8DvkE63iJOkdxwHefalWgmVHyPFO6DtJoFPtk8fYmjZk8kOSxTVYzr72w
WnAlfZ416jR9CPmErmPzHOrN4Bn93xyOyK2GnRZh0lgdju1ic1xfrZv13t6IryKSzlah1n2aNEO/
drmr4LMCpClE/G31LXVodZinDT+zcaAykIT2U0rdbA8i7ty1aRhE3N2fTUCRxylCqpYtFuhpMa51
xqZAJvi8HqGOX2xsVr9HCLinpIyMNwp6YySnH6kxAUfl97u2BTCfhmY9bbnFLsK80Ink3wYM3axc
zYhukdrI7qmFO7EpLJO6aRQN2VHceuzI99k1WTyiQviZUVDG+xF/g6pYbak5DWfMFHGgTAT1hsCC
mJ1ozXPMpP7gzTatXanZr7K3nqp5yi5uxxo81cf2rjv9sJDF1L25pL+vm//pxHpMWFAW6ZDbO7fw
4GsaaufHqlyWyeyux9ZX60aRs3rJI1NFaF5wt6eZ9ZYuenTH/k88baZqG6VKkoc103Ya+u6UOKi5
1hHrMYewh421yMoVJ/wamYb8Fg75rWnj8UWJRHLGtTYFGA7nb/CIP467i0Aka5XP4y7ju2W8vRwX
y/EUeupROB0oCy9KfURgzq0Crvtm5l8wzRhf4jGxIAQAZHVyBX+oPpA1DZ1vby276uQ9qlVUzG/U
POyAeG7saGv4o15Hz0QlejnsoIbKedfjUDyipvEQxihTF9HVde0LpriZql4FsNbSv5dkiD81rXD+
drwT6sfxROX6cUCXbhc2gSaetyEbSv3qKkS3L7NrfezQOkbjN2HUwGH0cnwwe3U4SLtRDgTaEzrm
WPzfDSgxmZ22dxRe9km41g3K8UhC3gS21AB8sB6j8cYE2mgrSBdqRgSDWSl/GXyyuhfH6KwnfWSS
1vfdh7sUYYZ6lqqSbtblaS7CZtfMvcnfinUorT/Ic0UuLuuuI9ydZjXelaj4Z43v4qWtvDRYc8lB
OjBzoiVbZLSUACjSaCrH6FUtnUc3q5Mfqj4taQWTddfyMvl0iuHwkodI74wtiyBCeRwyxDZqblY+
TBjlqKlu+rRuGu9iqQbyqabMnnovrM62NvxYT62HLKdbWh1YTtbo7FgHnEPSacwdZhIP67E1jRtT
zQ9Nq128JyBXvAwQbzJJqhlQVsarSyuiUkm2/Tg2l3gF4iQ5lSq+5yjTrMc/r2ZRuUE8VdZjxBQ2
IFZgPqVS3BLNEkBTPIDbupMGmLOLh1TPPjceloBKiezbenxB0m50rwkBdjEjTdJMe5QD0II4N+pd
aHrGF28Rxi93nD8j8mj6HGGUjfklK8uPETpNFr9s1fMgCtTWq2Pc/tuWlfS40zyRIWXu1QuhP62j
UrUKSW6fDRkdo3742syWcYOsad7SouIESc+/QMf0hzrpiHlwh1/wYYZrSzxjZxtKuc0VZdi4rKKg
FehgLJeQxk4jkEQTsA/TBseYYxgP5HObD/qykSHhiWnFY7lLSMKBV4RwptcbHBmMWzdJV4e7wjWB
wSxXrMdCZTJxrhen3AyRQYKjYHkZUurduwuTkOoTP63iKL6QanhZj62IwhVbWLVTt6U0LTfrMZ2c
FVPYZv0jG7rvbkKqnpLw98iJOIhghwH4EmGw7ip0rClGmdzbrRhA7ayUp1Yn7LwBDLfB4ECSZUtc
zj0JyUNfAz5pWNAUqAf38HG6mUC8g+IT+LPxUuvedp0jKOnQPv459qdqWy7j2mGRla5lW1IuPvf/
zC3W64aqIc1H1dyH9d6lecrNkrNzNZc7WemNJl7Kiu/TejeTVnxfz65j47gyD13YwZ1FpoA+hQZs
5TWX2MQLvG7EspuhwNsAwhyDPycmW7QfQ7RhmrdDDx1g1MceNJbc9qHXPMaZQgvh45YZ1wm945a5
tEGo0wl5evEyl4a9w0PpBMayHqetUF9l037tl4V8u2xEPftW21YQ/Bgfa2QNoErap3qv4N5B9x8D
JniY5/zz1XosXY5Ny7F0tMrdhATxZ92iCW69KT5ZtRc/EyNaXxCgfxX1FD87VncbLZWE63Hknkki
sbyqNBqGUYn4qIUoQHEV7+plaa85rg1qJSYn4J+7KxQWi7+zlRN9Ta/DbzEomU93YnjsF9Iwqylg
S0B2gnU3xSv+DDKATkcOYG2xyn8mq5uoLrwun3sSfflSWWjeAhpVRP8uD+L1kUweDafp+/9i6un4
1Nm+J9rs3mslzl4ROH3AESy7ImRQEo/mLfnaPY2/raVodDsXVgL5Fx8XdVr/f7pIRoV2HprlF6wB
vqxzywgp0XHdXcGv5Jt87q5nY/mP3YwgnI/Bma6gjIrSN9GYdVC5MBNh8ct3u2z9PGnmN1WxHPxJ
6E6UKRE7U5ujo1BYXXqV0TyVEwUazYO8apKI/KNkickjhvzNCk+oYoLNs8onTzIz8JYTHuZVhUyc
9Uec4T3fyGF4X3/CcpjVmzNjIsei8AoP/N/nJCPjZiIPMXFoZlot3ZcKU6JZFVj118n8GEeI3OdB
Pa4MrnXMQOL2/3jMXRo565B4sLv9MKJzjIM50aAxi/pOjcO9W0sXan2VJRSxixRt3r9OkLB+7YGT
nP8cL1GanU2ZHgTMjLWWulZQLaM9QdylrbCUbdMMZRmU7/GwFmpT3e0P6HiMzXqBVHrtLqRxmous
OkH0/n+cndeS28i2pp8IEfDmlt6T5at0g1C1JHjv8fTzIVEtqnvvOXNibiDkykyKZBFA5lq/6ZZK
HCGPbnr+3pBq4yl1VWXPvgV9OQrOT1lmGk8oneZyUiANRITn9mcIcM9Dl+AzMDHuwkDG7xAIlYPU
OVPgjs9x2BUrK6WOUovff63yHU9rWTMvgjOVTWS7aImlrIjXkTzHRagXl+s/Y2KYmPX7NcTYDmTV
/ELI6KzB4dxA14LcDdK/Orbhi96oSwqfnXfktzmuEx3jjGlEa2vXOSdWKvUaVlp/FocgK/uzNx1E
k9z3NjSAn/dgQBc6IHJEEA95lYBI6YbyoZ3uhy4oOb8bbvokuCfCROzEGm711P13RCvsLeIMpImh
ObFCwtBoOedf5DzXdha0zIVIz4gsjDj0hgtVJ2wO7uC8Kd3gH3OdhF4aOLMdhagCqla8cimOX8Tj
QxwCaFKxUX2FxKPn98R5uzo1K7U61GoJMC2R+ltfFsNNrTLogWAqNiJmdspwg3YA/Saq2c5N4+ay
rQWyRkMC7qKWn/2Ad0Tgs2AvZAWfkSA7sK8K1iIHNcWVJv2KR1YcrGFYj9/+OV7EE1b5NzBy4SLy
5VMd+/pT77XKWRrAzYustynpKPQ5VnxCAE59kVlYzknzkho2Yjf9RmTBx4K8l4TFXZ0Cp6wLFM9W
bXUArOVf5pZRT3lBE01xaVoL2UX8ON+qK7l+QfVYfkAyE5/V+xmZcITNi3WPKyUZyaFbjr0ivwdx
+qGEavjLbD/kJp4gHsDk0jjUvncqCI64N8znqsmkVYatykWSwOr1oxNOSAONeqpXgE1vAZLYMF1/
8WEi9muZGZ2rcQSq1irGq++E7gYbC0jxoomLyspp7GovevXOQms5sdVzkWfG64R9z5PSeWxtX31u
MU4Uk0CqJtfEM76JOfCfxoOct83SgLdxcXy0Gq3EvbCVLVZth1tupboA5kVQrlFwD6PyKlrigJYf
abRphq31xyJspcM9rveJSkEanEQJVt4ANr4JJqf5IjCcqzjzcJ8JBjZ997hRa9YOb9BwIWLAQ52r
Mh3EixR2SS3DC26kp4eCZeCEPZHieHeXGk7kYzTY8rG3lWKLnv97WdoIdQ2dXp5CKYZS0UpNeWo8
Z+6OOoqSKxHTQwi7Gw80x2oY2hz5kFWnyvqhkVwSkWErR8f5NJ5Ou9aJjuJMHIwOSPNybnv9yBU8
DZqjuBMoVqkf3NHk7Y7OsZhq++IZAgwOM6Xg4T8j8yMn/9UGQ/gwYFfpLxksWuKp8v+YLlGs3wVR
jUFDVfpXJ0aQNhyp3IpmKSk+SUU6INHkh1AHl6OPhrejLLIYE4Ts07HDAXiem0UVoCF13N6niY5Y
RpfS9JMldqo9QHS5v4mD5pN97lCIqqf7xD1uNN6e4od18qQJ8eF5KETep4rBYqoVRq9i1jDdisTZ
76kWFRwk1CJ0IsVUu1aGfcYVx7LO0UiJSxZVgzDcz01Jya4uzj2iZdSK/sg7R1DKkT2KrLn+mE0H
XBOanFW6GGUDncMBwVeXok+MAsH3BEXAPomWjAb9UVYbIIzTbDErMoZfCQxJUg/6vhMye6UFN69G
xkjIJ5GSjJ/QjxJ9IoJZBTSg/5/xcdu5MGyDfmcB2FmbXWds1MmPzXTtAVJL/mfz3isGi155GmxP
g++997nK5OUm2Sp4pEIzNsZYqy//mntv3v9f3wMpXajWNpyy1UUssweslUUl0tHWYKWbuoZqmXX6
kADNd0+VU9lne5JT0EPDOGAtFi00kazOnSJcIr8z7DrUdx9061PT0nSn2FSkhGKkMnxD40h6byLv
z3Dgf28wG3y/jxZqlJ7//V+jRbhvv8O8cOfRum9razQM+UVPOs+hnb3B0XkscmdSJwqKFw9+gAib
TaSekX0tFnWT529gw63t4DoV1kNN9iYlvrmcXyP5ZpU4POuIWoVIafBrr3WYFkathxfsOnCM6BTj
RR9ZtSJ2n/004ieh8pkq6kvr+eV7EUTku/MuuklkYHclCeG99Xu28nu2mffpT7t/SuNM/zXNDhEj
ew890oxjbkW3BNrarmutr9meAs3RrfMnxejwy3F9MIyW239YCiZMuir/rGDtcatFL7/HNGpUSucH
d7JvErqh73WP0VEnA/TpDIoYFYmui6Kn0hYVdOdQ62CyrFAbt76u1VeZbdaqqqP4ORreHGBmi1Cp
wx+oCCwAvUrfrUDyVlPW85K2qn7ExLBZR7mfvet2fbQrF7ghZlVoVPXPSNrk2wIvbNjL2ImEoAmA
Qkbh3gRmTc0u949hhB3JhHSKlcC6gQlWb/0hwH8ODSSnJqzmz741Zsc5hixvuxwrLhbRO8/U0TXJ
OsRDIjGv6GEXmR56ltLZlgL9m+cov8QJfmrzCZiUX4osa9+mk//1mGn6OM36x+v85/TfY+QhWbea
7z0artWirua/K2HHnhmNyueKXRYS3uGjaJkRLKHQMtODrobpMxlklg3QxVa227dnAOfRSouwaJo8
GTO7bZ5cC5LmdEcIKds9/e6j2Dz3CSye6FOYJ1q/5yG/AT6lD7KjkRTRNnVJIYGm0F/MsbqITdmY
u/4yx1niGlFeOWfIlC09tAg/ZdRHyM1Ur0iWLcaJfRhnPXiLjORrOJ2Bnv06EzHRK8Yhe/A/9N5f
haQO5CV/qPcDpHE0OZSP1rFImKpBudODTvmotIcilOt335f0vTvwP4tRxdC84dUekJdQ24sXQ0MU
cQo3FSqWpXpSccx+ruFndY4ToBRVKo9Oh+m2mTXVzVBLCdnBVMbaQM4/vFxBFQR/pyprpTUyvePa
afJyJ2rM1Dv2XUmitcVV4Fq0RTKXon2gdfMwUbGehrHM1p5GE/ucEsGTedjoIA4d2clSlnxtgmFm
2wyt5//72f88zo4V+ai77tKqtGxLLuN//0qVjH27j0gRsoHVtcJXZFmhtrbJ6gprrRiG4qIa8LMQ
EAvPT9qt+PyqX9+kVioe4y5ubogrftqKXZ+0gjqnJlfKCa7upyjwiCKOJ5t7X9GgDE41n3xitmog
TDai3IN4Y7PwAVttoSoA1dTldCPKbAKtKs5AX2cXaD4mfhjNn73CrV6MUyp9PbSoC09WWo5ikDWW
jKg/i7YlkQOQ4YltYisjIYp/1Q47Z+8sDpk7emdSJUvZc1Ck+R3vSHDvFK2kshFUp3FajBZiXZqF
u1ZSzKMIiYNSt22N9bnsrawMO0fLAmqKSVv5pCt8Z6Qx0Nsr1PymNH4NvaS0PiXIL63kmj/a4UlN
1UfxvcIeJjfmhMP8NQeGcmU71zxmLZAiyAJ/Fao6LlKzmWhg4KWdzb0GX4Xq5EOk/BKFd1G0l2H9
qwtXLqNlYWZgZvO/i/j3MZgK41GdOSdRqsfIr1q5cmRuDbd9URtLex3LUl2DccRPNedW1AWVRmFd
ld6BoR1xtky+KzbSoTnMHWQek6WRGdXV7gJreK6fjaJDFcV3WQjrpuxtKyRHl0IyUIgHilhcpP2y
HfwNNP/mJA9jZpyjtoBEKso7qCJAeWNHsNPGpGRJ72g3cejcsrmO+l9JD0d/jqOL+pqqvQ2PPtPn
UfK06tQyIGX3WFWH9i6j2J0Vv4Tmnax2/Ny1yPB3vl/lMCkRyNOmg+gWHcEEJ5fhWC1zpDK3wter
alRlp2rA34cJaSpiudPyeAwUyjQCqgr++JZYjnESQwIs266dhXTINAFHIaDnAkiEOl19nbf3w1gC
2dC7cHwtgn1ZR061wTd22I9VusZlqEWycWSjUiunBFLEqUSc+TTEcEmVxnnGMavbwmbsq4WIiSGm
gFckpRvs+sZ6GkSSRpUs9WBrA7Ifk5K1Y0TawTC7azulZQoVK5xQiZCJWfaW4y/FNzF9Yy5Cs7No
oAiJ72qKOwXiY/fQ7/H/jgegF03SwUs8MfjW3bYaL5E7Ue14E79b03voeylc4APUoQYFFEe5iYxN
GFCf7bFrV0wsPv9uUQWo1kE2ZedZslxNEz0CqUnwhZqaSRLXR4Alx/mTy+4A4cJ390KzG3O02wxb
SNT2LHIwjQInwCcVtpuNRB0Xz9KkttrdF2Bg6q8VME4iP8OfCin9tvQna6DsbPo1REtx2odjtLK1
FiTf1GPlbXYWZ/eDiAE8lh3SaNMgGc7z5usir3znQwTn10RRBXVrGw8DEfzXy4mmM/0XcqMvfRKm
x/uwoSnKfQD9IdgqkydsqMiHzlR7dT8ZVKzTTKXSfUvRviIf+/vfjgfB1B6+/v3db6P/hjgO70fd
kaq2Z6R6m4CSDJLUWc1AdJIC1q71lIosB2s8MRDZfefs1Pp6hrN7U4cHBGeg7HEOxQrOGfVJSlnB
+Ap13SUumOYKSI3afTfV+FugWt2mUev2WPdRe4StWbhIxSU59KAc15huVNDBRT9YnN0Pkkth1bSG
3T3034aJGACgFlzYEM5IJIEkUjOXWzsA2aVo3g9pOtQ8G4L1PSSgSyg3uJe4yqDClCFSUOCXGk83
90hagHJw+SuEumMs9QJCnTm4hrVSa+p3tfNrNvT1x9Jf24kkr5Kmx6QI6TpZ681rK8f146hl8kFO
x2ghOkXMiXTIK7btb0WzGOR3PKxs6tOj03QzRlX13LXhQrMxNDnFdAjdApGGa3zAZAkq4edUwxnQ
s/OT33UFiTEJjLKGm53rDe7CMC1jKx7IHorQu2KM3u4P6vvz+J+d93jRlRuXwtehhZw5M0Q0RNvO
Kl4ZX/wRUmpn0SvsyUlz/9nbTM37XNGLhtHT6OX1dxWLDOiTcM7F8ovVN2kzb3jsJcQrvSD8EQ4Y
1ZZt1x+9nq3Dqe3C6GLgJrhkpbh3Muw/5cqFWBr0H80Ev7VVS8P3EAKEV7n1Tg7r8Yb51kj61Je/
TZPcrj0qChlokV/tXGs8974Ey3jKgvxOzfp2/Nm7KCWJkDh44bSUTkZMbbS8u0ROtwpy/FWpUH7R
UjrKKoaB34hYG/SqhAlEZWcXzarmYeJTel3oIRU8/scwKe+VSzEBLl10Ka3+QTxywj6aDM3cH6Il
DhEp13WTT4rIk1mliJW4rC4sWU0OX46X+jrXsY9xoajPqWTxIUI/fUvCRD34IjuUILC0Hm0S2PfP
GQaadMp0VP+mr0QvB2flSpa9Es9wGHBXIBKYD3LJzw/s1IFeZJN/3YgR4qmd6YG/A4WjzY95EesU
FoUlAo/3FYFa2znaiIpK9blUonHbIldyAZ9BPWsyEHdDYFnR0DrbuLB/igdD0w67kjL7UbTmdUAd
9n/ExDIA9me57HQ2FQ8lxEIIEAtNL208hTpzP5g80XjWtm92hnn0BAj4byPwsGvfIK78MaKqJh1R
o0apa1rWBKFknzJF3mtBxJJGfMx0DHdVjAb3/WPmCTglpwHSeY/BjfG3huViBzMtfSKedfvRDuEN
S/Vn16XlizqQYYdpTjmkqcortVswflg/kEUbFvCz+h9DZfMLM2vYTRi4kn6zzR1faf9Q8webh0yO
mXLq/CVeulPVqehgw03QTG+RRcF7oiLoiJddfSi5IA9m4VUbCwdRpPmS9rn12/6Y4Mm1KMKxfS7R
3n4cPSxQs8Ctl25cnyqlHq6VETmQ8+VhZer82rxQjx9KOG6HRgGckoZyAdOy3ok6ETL0XyPqaUT1
vxsRNUmBjkHzx2s4Y16vZZzilmAuoq2thPEyNeG4AJZ1y6sUfjSDBSMuGqDFun6o7+beBjb1Si+i
TaJmpPFqXXuTUApdhp4ZnFQn1t90ik/JkDUvA9D0K9m0v8SozMudraE1TOIj8NGGIw6JLOkyDx8B
cWq2Ej97bJ7guEzeAmhnbNpg4qZPYuNyJjmrxssRfpmad/yyUCGPFcNB4CrSl/eOsgHibJA0W7mW
k6ycDoZwHGt7y+gcAN2gSCA7px7rRsxwIClPgiCY4WC5iORgqr9oStPu0chA5d7y8rcuBXmTDfGw
89Mmf5NDcHFKoMkX0esb0DfH7hXeon1tdfO9sQN8ajA/WMgFPqGm5DvfDVc96EaCl2rSfQxOHP+q
lPEdkznjfayDhpWnXj/6bGA2AGn9s50q5t5OZXkXtF0HhUSLVzIsgxCfy41wyxImWWqccledYmgf
sEZMveqr3U01PTFQxEzsJuZ5IuaaHXoSqtpsBFSijsGkqLXBQtqy3dMYjO5pKFRvBZ1WWiIUYbbs
dhPpJLoTFTVxpEeXg2x/QwnOut4PpVFGK7PDwkXE7IadFfgF/4QxvHK8j0PFfDymYY3YHPPj2PQX
mWuPlbp0Q1RJPLkNz42ZrwuyMldEj4yrOOu6Mtqyi7UnkbmvmJOr7aEMjR9DYCxVJKRfyGbgIjIG
OnpVTv/eDEik6q0h7/VJmN1BRRDhr6cv8M5UKRb1Y1FY1kJ1y6Xg3UTLUAJ5hVeMsxFF5bIHMZ5I
4S9RksbC8TvVMeusTAdxJtfyu5s49c4n/1dv2aH7O7lyPgOr/hpRy8WwQaqLvadTdbuILSQLxg6S
hZkNVLM7ZRuAyTzPTbTlydtmWbkSY9Lcqm5mWeOsk2CdnboWT2AE6nrfTD7SITEQPBj7Yxl15mve
o6IZVckHJNphN3aI+egqhhqUn/oFdJ1qN2pMHSoP0iYypOXcJlPJz8hVtSfdVT4G3VBf+3R8sSoV
y/U2PHIBeh9R5KqrCHDI2ehj6zi6qUr1BpUt2dF0Bw9Ss5DAkvVNsep9LJmzWjs0aakBwoLWe+I2
Ea29RqPsLcboammeYM50W26FIzQBGTkkVQ8gemfPrBu/shf3fAUp5wh9P8DSJ1d+HgyUw6xwjcJW
uzdjrqPtaMkBSIkI2xo9s85zEDoEpuKM2URQhBY51j5nYeLRcYnqWvkG7CC4RA2ZcxHOZYhjSmu1
G9EUk3ylKpdG29tLsXlKrUKynUXP32RDtq3Zj7HyFHOLf4pLvphMRw5lAuh+MwvtacAd8o94NT2n
/zl+ZCe8iltnjg+oFYXpVo1cyP1ilxtPe+D09wH172nrK44wNyC8YLaxgZ+G3K7ZvjRQVg4ummMr
8V8ptbvvrLF7QaGy+CM+jfepiUzY6eqclmzaNVd/MCzbf8r1YS/u7LXuQJ1rLECj1PDf0I9u2XOy
yzDzOHr4AlmhFQ+KSDFiuFk4yNQBgGpJt1DTiSsKWh1g2RnzJ7rFwYxTA6B8ohafbm65+wLtg5WV
JN3WmQQORh+f8qE0wIVGFvyp3I4fIvwla62B+jeFYqWgSMbaR4yX0WpWy/wQkyg4/fsZI9oIsykk
gErUNl0p3MhqJS27oFQv6IciuaiEpKUNDYCJ1HQ76LTYOvel8RQbdf/o2lxVNEaI84dIVv9KLd07
B01WLYcSh0HRvB8iiv9n0cTfFk0PsI1blJ06iAI234TB1nxTUEnaU5N5s/og5kIpwq05weZSyU9v
smOxkZkwwJmkfjZmI6OLD+RDgETvhzKuQWyU1vd7SJxhkNOf0d7oz6YWo2Ko6/MIlECefN3Ezy1P
9rVSDR89rLgV0GL7XDUt20wFNf0glZNXV5ffMZEzf1CxorDhn1SpelM0qXos+rKmtOj9yrwwPopQ
hqXbte7TzTgNECHTcOVNGEnJKvUbDcm6rlp7fR7hKmF4S4GHzUcZ17lwMPd4VFWnAJEDe6GlPyTE
wpVSsR7Yelj7IrCazdhX+DLG+VEg14GTNQtzKg4g4cYd1vMvUVpBEvW0l1JWEc2jpVGxn1vIO/2l
+Uj19O6A4JYA/FTsZhe9HB59X1UfhwCYr52qE64YtBpqmPsSAS2AxTSDvglWSmwHB3EBTJOMwUCt
QrfRG+58gHujY2ZHNlSn2SGYrBfv1PdPyPIk10Zk+Dplg1TkpGvHtye+IdVyh6XmSP32/rUaeQ9E
2R5vIoTYj3fwIuQOhyosSN2C2klxHgE5bRTrbrDyD6kaPxxJqx/8UlGvFk+ChYijnYg+uOvXhzo0
0/eqPVtdXnxY9nOr4nHtx9HwHmu8dQmSyBm6r/uCPNYcN6JC31NjQKMhtFZ9JpeXtAcf+ypuKx7i
FAL9IAWZxTYN+QtQECIikBGhojibcQj95b860hyFpbaUy53oUB3X27mGqx9U9NV6r3gR9RsjXvoD
DbEvpge9y+IFScrxoijAXabMt6k/KJ6NTxWXXrbtNFxKKqVQblVRxJOabvKzxOoh8fRfstS9mPzy
3nv0VpCdVOObg1bTrtZ0bY9HQHjpYmxfMOmQrn2KJpWBMsaZwmp1yrvihe0hoqyS7rursSqNdYst
3qM4KGQVzCg0z0naIJJpu/7ODgw1OoPkULZ6Yj9A15Cv4hcZxuYDPz+ZXCu/walPtIC8OY+jMq69
LtmUBnf+wZKwHO5ZWypRah5S1KE2qu6nL5CWfnRuYv6YhnZ6lSwzPzKLTwx+on1LKuySKeGrUeTe
3ML1NbuIeD91GqX/6lIv3It4BIxYWZjRj1LT30pnsEjFcNB4hsKinE47QIuDJ/M98wAVnXbcNiMA
J7lYqXimrjK0ajYzHGmm4VlR+YqberEKHJZA4g9p1cOfzXuvKOhp2PEt2947qWnEx/3HLwiVbm0F
eBfVoH92pGp+aR2vPN7jVWqXx+k1nKHMNsWIqV3bGNq5nw5JmUsom4YULGI4JH/E5jGVley8QfoQ
HeIQiRniFFmIdJmGVr5uyvbrBYMt5uSggnzNGD+txtB37qRw5LcVCpPT5Rj4FuZQjgxrpbL9F9kf
tiJO+p6iFR5eG9FEqesQplH5jAdBfBbTS8t7nQUEnNw7y53qWx+D7zw5QJRyvJePkZtnR7boHtJF
tgzQt22AIrBSD0Cv0l+TPsgX4vSP9jzhjz7HltWFpuXZDklN+2pJ9U38LiO/sa9A3m4KJoynPuwS
xPsQs0uSPD9XfcpOqCyXdmEYzzhrVg+5NaIQDkVjKDz5YJJSW2q2nL+5KAKvaywetmJS80ttABeM
R4FhDlXHuBURZEi3pcTbDMbtd5/nZubc4hXYkSj+pcuhjtalFB2QT9dIPCgHUOAGOre99xgmySUW
PLTCGveaC1TZacbqZhcoO+gjnnbvEpqnFYqCF3c0+ltoJi23cP9D0qPhJkJzPGq2FVvCs09BbY7z
UcMVd3vyQQiAnOcajd+lB6V1dxh7Se/GGMXrMA2zk4Mg6hmF+nylU2z+bugI5PoJUIIa3pyj8U7Z
jdg7HofKVjMkXCMSG2U1XQ1+2La0Y3Xl7udlUG1pzprFnHuoU/+pHlD/W6st6kuaXue7P7aqAbnZ
Xj+ONRujQ96rMEGN1DhpIWLUihxexC2KGl14krPhTdyiRCiTFUhQ5FrnO5lihsW5a6pTGao7Emza
Rz0GDYmryrvYmVMemY3BDoTHV8wPP8RG4PfQAvQsKurB19DKdb1Nr0X+K1rz96FOW1inUYt+ihUR
BtXevCyydOkCC9/a3VdKYrk0mAr0lCGCXf+bsZJLz4XnRlfBYRGsldLSyrU1OBkoXXgteapcJKm2
d6WrApmzvAKpZgyZ1n5lgZvLO6k9IH30bej4q/p+0z4Nrho+2cAHE7MFZOC3T9OzdRmPgb0VTSeS
cRYcvO+iJeZUWfU6hEN4FpOcxK0Rm0vCFeVMGfuYUV6Tl/bO9QjHhawF7p1TyVUcRIc4I23nn8wk
gdE1OMPCNUL1R7v2pnWWHhaI/rWa/ZDrcFhtBxDVKGNJF8csi/QujddRCUodV6FnGELeX/84wczD
FxF2GvOJnRfWmxEn27zBm527jfEQ2TXwQLzW151b+58lPN6mxkHBoO5vsKQ4qAbiqo3e/xT9YqKJ
PtYyr9T4ilDv3mJt+Gh5XfOkTNKp4vofeRbm2MIsJLPK3ppxgnw1iBWI3ixG3tSsE24AfRC8ZLK+
rlPwSJDwYJ7527LFI1fraudD9eewjAzrVo7irzCjR8nFqM1VOmTQXqrpzsFeoXmmIRQQRCPQUdKE
JdGGqugRfPS/G55bIk2JV9HDzDM3mgwgnQkhB5vUb3aM4ELEDudiqdzKAAAC0kVr89mu6l8IJA/f
DcUlA9O/VZgp7Uaqh+esA62+HYg1PI4ikufPA9gkGJN+dhYoNdFEtzk7C5TaWCIuJnrZm6qbJoyS
lW5g39SpcnO08JR9SkLpVvB/Ss9B2cxNJbL6b2JY5nzKIxiYMUdjdkq+8qf6oMKrPAdBi9Wi2oQ7
v5QRb3TrfmfqSv/QwQcSOwpxiJ3IWKmFkW/KiV+LcPRAlvdrRKmbbDymEak55Cg1sg/xreIZvef0
QdPRJqm0oDqz3gqfTRup4UksBIcVfVM1cb2tRrAkvmlsbFY9EFXa5hQmJfJ1rVmhNTQllDNVuYBh
858inT2A6yLPNRvxDpW08kpMYURvMPV6Er3CwzfWbO9prLz1WJjRbTCrdB+55LxfqdRHOz9GLEaT
cSuYIakZYn/ULGhbgrYk2sin/t0eW33VjKg0wwW3AUDCxfVyCa3TBGUn0RQQSAO7I3wGnkQkcXIE
Lafx4TTeULCFuI8XQ+z6v47XkjRaBD52oOVk4dpamrqS0mokYeEM7WbGUGdRF5AWnWq8SiCdxjgd
TrgFiv1tKjvxLqeytQym7a5WWym8DOskdsBiz2ulI64kRXwT4w3MAlmw6ObORNr2SEH5A4GlCUMs
F89hgZetk4GgRaKxwoNxiMp1Kivj0qxYy81vQU3MERoGqxSRYUTHCcYcAgDc8VYeW/gHTIHKBxsR
kksbWxO0jfctucHcFJ1imBghJcaqhCm9LbUS7v60sOxLDCmcRNfWQeCQm/m9vhRnXEXp0XV0uOys
O+cl5zxtqPZqNJpU+KoA+TG+zXrwoA2PVb/RUUSnnE3sj0PWoQKWOtU85N4x9ChcLfj9ayc91j/d
hFq3qIlkhlfPMIgmUBDvnzpEzd9KIYzC4SRouUE3jxbVEtHtTMVT0eEomGz9zOy4wOkYy5srCiD6
tjOgPog/WI297iXMght8Fwt1SyvfoCRozH86CWTnMvGHfN9FvXcbfExEumH44csSMuvTGj5A0V9b
qWmCWPNbEIKV+gSTOMC0YJPv8wNZhTJF5H/lAWYWqeiuqCnO3ffkgBhdJKO8tJEZm7cHgy+Vx5bH
pvhv/9gx4MrCiiBA/Ea8FVtfYJ0SYiuPKLCdFtJGNxGWQ1d12mJb/V/gntjsYu6pGHCUvcJ8RXHG
W/dxFe47RAjX4aS7IyBZcWx7ZzC3q67IUWAQTUkqV2JEDNjftpNJOzbQL+LQFe2vlPTF7h6SwUZd
vMEP91Ar30U8TRQ4BGY5Gfp6Z7tI/LM4Q9xrXOsJwlH3mOjQVSNY5nk+bOLUS45q0L7ff9NVgmwd
QnDvwXQhBOiUQ1IVnGwIM1y9UmsfUbaMqKdnFIFctHd7dvM/TcTFs979GRhQ8uTOjl46LTXWaqZV
J1kBKlrpzojNOpoAijYgaGGb4YwZc5CNOo9h+SoAZQJG5uKelqSoeUCU7Rdxk5ub9AkBfB+sb9Zc
ky741PVgWqr78R6ljHYlmjVInVXq5fZONC1X+mHZQ3AVrfRpdAy8CEVaZGwRhqpNhHkSTcX8bNJN
GrNMQ1/upmldVC6LSTspUdrgIJSVKCOmy8ZXN/IEHRNsBcFoEGfzoTBw0ZaCZxG/D5NUt1xraVFC
8MqqC57267mQ8a9m7JW7TneSZZtU3hM3lHBJyWD4hnTeeaj8CtJr5y8sYFM/R63/FXNpvGGcnkF0
lQIKPLW1Rdy0PmiRo+OfhlOamkvJxuzKn3GTOvHeTEidRkb5vVWHvvs+AoxHIQp25ISuYBn5dbg3
s2AgUSzaqTvgKsIO47+NEzG1WaOg4J3FfcqcblZQzlVugLm9EDem+w1M9Iqm53jqGjOIryH3jspA
PUTRr14xZGsXquwKJdp05jyLszC4SoGVX+9hbkN/DpVGxv89tDHi4o+hdRzcwIBeMEUdHqJWkjed
baQnaeyGgy/XLs9tLBGaOlNXlHjbl7btmsXIiuyz5hY/k4tcQ1loZpqjcNv/ZeMv91Z2hb5sShu3
AJKCeDoU5tIHX/ApIcwRdyQhS8CHGzdo3b2aqfojm2L21NMI+Ex/oZLfPUVO3uwdd0QAWm2090an
NjINGEIYp3h05Bd08NSzZXIvA04unWxummdpAhrdD0390VRDcrpHxNkfQ2F1rfAd65f3GFmqlUVN
8BaUVb5pHMAqhpmOTy3ejjcHjU7gzONTJ1vDU14ZLTtPpT+IpplL/l5lbQMq0K+Lpda+KmpXPopO
fdqL9DHZbtFk1cYNbjQ+56FujU6nBP9IdJYWa7I68Y4AejGvJOF1QcILYecgrNEHxr8abipJ76k1
KgGHaUg4ds1ujKIfIj4fxCwMc7LlOEY6qyo5PWRgphZmxhbQVp3m2nBFrmDYtG+IWYNC8oxfcbQ0
JDn9hQo54jHu+Oo4ukoiqNQvwPTwdQ/ldj2nv0bSkam7iiYnK6crbITZQduGjjO8U5BHNB5nzmPY
BMO7Ha6TadRgYbk+j5rCOpmSf46SgkL687V+jxpbpLzFa/39P5aBv3ITeI7SsLITpHPHPtQfmywM
t+glQzmYmiNgoccWpjqOsOM5aFta1oCxmmLmCzxrYItLeJjjgauqe2/q9r2uvShtfRDz5xlZhYkP
HLtNjJIlM4ZV1+KBM/Oo+wzUS95imhP1PTn8kHzPJP2eYekulsBA99GnQYlbdMdTt+/6X91kfGBR
TrPtAaObUC0eWqxcFYTuamiVHSXJf9UCwPseTbM29v96tN9rAdiMHPNUNfZivSCGFaHUHXoUdf5b
2SJStNvYmvKuxA2sW4ghwF5wURAb9t/dokMNswybj6kiInoRqpwnDySE/56B7ypK7OzM0aqNjqOH
Tvd8Ktr5FBRnzQeuk9JBnOuSH89RU0oZfx8luv81RjQ9qYXcFkcfSeKU80fr2vSnFqIKTn3wK/3w
3z7y/2HtvJbb5rk1fEWcYS+n6rIk23J3Tjip7L3z6vdDyDEdf/nbzD7hoCyAiiORANZbplMKOW7T
yyDxD5nPK8SALknRgbYGlCBzb3Jnkm1QCV62bwLVPwCIertgz0Evsg+ev5lbS7tQ8K2dQi8BomtS
jEksDD+13NhWExBq2Yzpk6xnJijt2joPUcDFRW2cxeKlEvC9DW3j6hLu9l66R6YaTfspPpwucqVx
dFUH6kqMEB2eJ6VLa7pNW0jtzs2lyTgH3MLkeKBWByutsYixWxdpaFurwfhMrYkZeTi1SM76c48h
4iFZkAPqVm5U5Td1pBVgQsLke0nqPw1z9UsH5Go9hokNHYHUqQO0eJ9p6qKQnfCMpakGyAh7qc3b
+l7qviJfED27UZvv28nCREjcyPjMW16fLArSHJu0s1wwNWVi7dQhvhrzllyoYhvrIYhwn+uxNctL
7O0y0+QLa4mFX93wTexsZB94oWuLyURkOkhg4RphEgktm7OD0FVZnRVrcXYgeqjMPb/Dfo+BA8gR
SJRqpK/aiRta9wuB3RV06mKAL9oFCJG7+gTP6N9jRLdgYptq+o9xSJBgHa5V9y5Heg+mZ72oQ5l8
d4YMvfeiekha8hdgqJxtVmXewshA7JH3Cq7A6GEHVw/285AavHc4I0jRx1jYptGd/3NEYySPVRnW
WFw21c1Fw6eHv9S2oEJsxQfELKR/pjZEdaXjpzh5aksxat/6csXmHvT+JlVy7+hLfXZkUW2t26iU
HjQNHgn25+5PAydvRfup9TYqnUohP8TTmMEfvSNaPNnR7XQLqLTrPsCWeBvTHD+NEfdxOjwnQzt4
UnjAn8CoKmv0OzD4nJIATe+QBEA3V+Osk/rYpT/9PmJvNtVcBEaGhRjHZj49DhnmMe+xov0Sorvd
NSqge8dud4rSmD8i1XjNEAJCc1PxN1UhF4dG63y8AUBpkKvVX6fQIh3HhRsnv8jMORXOy1Zbb1F2
Hda8rbGbUFDS4alY3oel8TVVbP9bjrv8ouuV/IzVbnfwUGdcieO4QLklNWB8CSvtNQhbHdySMuxk
F2GZYHop4nqWc4yBkwISTeFD6nB+KIXV3pMtHUoq6TfeWEjBV4pVrEy/YClqDvpT3YCFBvmNMmHm
oasYDwniiuAOo1Wkcmo+BhL6v3TUjREdJ8e25WjnxsFX9PtKc4O7DrrfDcf4uLeg4v/a+Rj2FO7Q
7EXVzF9dlXMyr0jRRI+RmuSJ4r/6HYeatqFVpyC0tQd8craiHY06noORwyZ6mmy6iQ0KaoFourkr
s9Y9iItpxy6i0PpbtRhCGD6NirnWe0gJaiNY2X2/6Pjk6yF3m/uKR8dV3eMkJ6rqqLYs5PCK8SLp
GsxKe69keYIFHWY6ohO7IA7lDHMpOsWgqFU9LMWkbO/qDTsYvej5Ko0Y5FmtdScVXbSHXuFv/SKq
nsySLUiRVo+trXZX1eReN+kX5tPFNt3gigdGzKvCNs+iI5UlMOIOehaKq1bh0p9EChF98beXemIr
P6Kssa5cIWc4jUO8eanXoXwjZkHxTL3uwmzTSU22aaHJXuEm9aMOouQ7jgNPvpulj3pbKNva5MkR
hqN7X2rZ3wKKPml2acvJpGJFm1jHFhaa38/AdcFPOmAh9daFyR9r34IO7HvjBepjV2HD6iV8IULe
W9u8TlWkP/rwiLw6XBGtq84jZHPAaqr6jE7KD8QKuut8yviI57HfNmstdJqLnqgxdKgndM057B/R
1A+w+lEzkNWx/dya5l78o2CisBOOkUNuU5xFWJ2lR3lCIdiwkzLZ125FLS0MZ28HJuL4UydgjvoO
gYZ+2ee+vJ3bMAv8PMrQ1GohBogwozfxA2L98i9HtSkpHQjB1QQnJYE8j7jUp3uUQ3PgaeEeAUf6
913mjBvDgTEjdzELRjyv+DFZfPXYD4AICeWNz1kKC9gJEtLTy0med66UdceB5LPRsu/w5Q6npMY5
+jaiVu2kJDXGMkkxLY5wtOQBoRGmxX7/IUy0i7AmQfKB7O3wUgCQFWGeEr3N1r/PZk2zieoUloM3
X4zAi0+uzh4+FhlIXhjPJgmjTW8hogUej62A5E82vLZ3o2Bf8Oiq8VK0G1FbHQYEhZaRzyq/rgdl
pQ55the9Pf+YArXKO3Po9bPp9sBimEwNybtC+vLWopqP5MMlu3QPouq1v/CsLcCv8IFcz1ghgmYu
yhA15tFLwhfU1JB20MunAWG1a0S5a6QCi+Cl7BGvTdts2CInEbyodvSqSHp7a6U2+aI82ovmWimG
fdLj5CIGFV4PlzB3+4Po/XNuOcxYsk/3rBLj49zI7L82Vt3eRnXW/W1udfoE7TjxFN/nbtIXueOM
TdOOo6X5KLRwkeX6raTlPEcsTRIiZv510qd4NopARDDcVaxFCPtN0Qis0iNG93Zc7YOmOcO8Da51
pW6UlRgCJ2ghdb5+7PTC2CHk+hSg+onMpxSTPkQuqZVLA2+hOk93Upaz+3drZSViDMewT+qxwYg9
OWiK/YpnFnIP03Bxid5L+mjGK05e0kTvN+kkveTbrF1ayz9beqec9Vi6Z/eMLpJfIZOQ45IkIJ3k
1j5FicEiSkbdHh1US1/GPLOu7KL8kXZG+HUq5L8LOkcFokUURr/5IQrK78IU/D/F/KdbiAlBl574
m7JElNDCkrp82LEA6F+ytN/FaR08NMmUgVKCfCHaRZirITRgsnh64eWy8904fACn9o8wZ5pNhMlt
8yGsaCU2TT6y0vNs7zcdBtTq+z9nsx25XoubGqS5VrmEfbEfYEQWDfAbRCJLVA29lo4izRXzeLn0
CrmFuVcIOQyS+f86VnwMcSMxM3lx6Tjfd/6Q831Fb/f+MYagbrfwCq1lZNhgJhznZISdfiNLpn4j
SmGFF4ob6T1GLVNH2wTWonBUeZGOdb8VgaporMpiFZtldZoH/7eTTnfzsli/mSeu0wgjW3HP94kv
bf/LpGJ8DLDu8mk/TKqAJJYt/+On9TUUBzxNuvwJLrGf//nvfxcxqW3K/VZ88Pnf/O8m/nD/1DWT
tdashAB+60fPTR7K2BYivyfZeOhy2ulvRRUyHICPpMS5spvk+PLaPecB+ZFJiU9EZKr/YTh2n/8Y
bhfpx+GVmS3FZO/DcSAZF3lYySev4RDTnEDOkfY1GYfgO1lStrEoUqMZaUMnxMBxm7ttdO+Rdv5L
aGRWb6G9CR9HhA5K8TPquqVuBfGjlun6Oh6hfuDFah8A/gE/xa3uYZzO3spy6NiRLGoe9j8z9KBo
SZJtzfJooUxpjXG6aHnrLtVOx1xsyoMYZYtGEWqAOk6v9yJMtFuegc2OpJIybbFraVBlPYjSfNHw
QCDnaL+FzB2fgkXVtbV8mVhgAckCd6fILWE8eM43FIYrhFF+V0Pg3Bn4VQu/v1Ya1xkZBTREYhBD
QTpMdpDdFYtH495FSQyoHA7c+iTmhoBkfMehPGTkX2gkhg9QgOuHUnoS225RyaUnsSHPUKn9syca
PoR9HiPQAHz//jlGLDR1Xase5OpZTG2mnr1xJAvd++Hpfxn418+EP5i69HucPGW5yZbi7YRhgbRE
1l+/Eu8wxDxZkLXPwNCSo2MPfDsntoKf6x+jFOUEp7Z9ZvvyFiWP5be4HlNQcHKAgGWv7B3ZNe7D
zn0hoeR/a2QgW6PW2SidQmYfRsT7hPhtmP3sZTv70k8D4WMq+wrxg3vbt19EP0iWjwNDr0APZ5qx
TX+JgR0o2E2gPVWj0V5VkYuZOdpK4GYUiFUGr8zefRLfYClwftS5Fz2RIijWqt1FJ3ZLWHT+ZUzR
Pwlrivcx7TSm9tPo1BdZcrBqbdyo2a7SJXXDoqPATcg2Dm3S6pN8AnLuJb8xn6zaaywj5QIFxVs4
5SLPM3f6Pr3k6Am8YDOvL1u5Sc7aGEbbMcIHWUsm8VWwvP49Jp/OetQnX8i+j24qq1dIgnfh91zf
CySXFMThMgj74ZZlv7Nv0JXdJNg7PZq58yIiFEO9yTSQmnnzVUoH7TaamG5jjiEbVgAkb6mJ9szP
MCYYea3mcs0yXcJncqPHirsU3eJiyhrZ+0Q6lyIkDJ97E2NvQBHhSasyc1+0nrwj1TFcG44er20r
rB6qAVscH9TeV4SHTlk57c8i9vG6Lv/Ks+HJaqPwdRiUchmD7L/zNP4368TGrKRpy434bYtLauY9
QrP81K3smxGk9TFHgW0vs4BYeBxK1PfDgOq/cyO1HOV9Q540Q6UejuZC6NqGYbMNFHs8WILpixpe
vrGaUMIHc9SvSSsrKLUG3iEsAUcOTf1YekAkI0vtdyGKZvearfxEICO79aJoWGZqu4TaSnrvz1Km
DygAeVGDZ+xU+rOX5SJtbCLfev+My+SKx5ONX+o06nOsz6hQjP9zzs93/FdxXn5MLE8uvgGwjiG6
6PIdb3NE9qquR92YqmkkzU2f4XMfYwe6dIuxXQesqdddFVHHK21bsQm8EcFd4aHZJXOwWBaRcodQ
V7LVEFpd5+RYEEb8yuGes84ird37iZ8/qqNxgmFTfTXsCIF5ZKtOJnzEW/yemoXoiBMetkNvNucU
X9RjbmJ9LmaSrHwPCrxCjzw3dnWht5sqtrQvur6qC0B8aMYU297knQOJ75ETWCQU4uKHgMSnvmJt
s8QY14IxYlaeP+3v4qPAz0+DKhBTmU9WD9mokdXYpeTlJfzokLZetHlgWT/0RlZF3sZWwNmp/Vou
7QrID7h1HAn24+ia94ZBEhs2MoozlVvc402GMU7xMzUj87viSaeiqHjCFzo/sVYDpTAAcQ1jh6WE
J+MpFR56LQcF4prOEj/I8toYPTD7HGCtG1MrXnPd36ZJaH0fVQnKhJWPd9aIajH7KGUbKmXxgJf3
T2MM3VvLT5A5DmF1qKrxrfJKzp2d0n5wPTVed0WVX6uyF+9VW/L2ndk37EzNYG2kavBo5Bo2svxJ
vkuji11nR0Z7mqmK0/FN/D3AgANVtSpaqlprclDV+9eZP6CDqffmV4Otr80j84ksebMzxh47RK+y
XnzSUfrOSU4Cetv1ufbgmCehFiwqwNhEz4ig2tTzISw5CYBu/9bzxxgVMiYMMZ6IUY82Sm40a1It
6ivH6ivBzujKwl8WWHje/ueIMcjSA8j60q8RjlrgD4tZSIphtIdVZsffBEGMjc3ULwNciE3UwWtS
Ur0Gypj0l4i46A5y4efPBWb2G47YGlZsvXInaVL8FpGZ5zrN7Ufsx5ttVHNqqpS6e2976ffLTZrx
tfbH7kEhmburACluEUa3lsbEHgTkd5toln/nWXF1rrXugdxt/iIrSIlxOMHbdKoq8PUWXRo514nt
Gw8lB7yiPVMLa99JSg2DxMhfUC0ghcQa7Sh6nZcMPb+XRgEMUsi4xPu2k700hpCrq/u9GAOdbKN2
UvHANjG/kWw0hbG1Th4zpdchTWbIZp95i64zPCzxP6U0qh0lPzU/tIVRhR17jlTcnKjD9zpfJdnA
o+I9NSYSX6Jq9pl/bJoHBWrSsVBHDvHS5KHpcwgrUxNg5pq8y1ScQ+aqKNkSTtYNvLbVp45Yzjq0
1THZxugWXkha5P0BEev+UEVefzBs2IaXxqBMloWi2nvRMYeIEZc40WOJIXP/HA5y1EbSwetWH+YW
RSeOnAWKi8MqKBTjwEPFOIjSfJnbIj985OCWPKJRpuXibyFzW1W5v2Nqw7uMG/r+Rw1/86XEkqvA
1/BLFifyTa6fQ6kHX5Nr+j5FCvMC0xqbBAP6KMEfDIjXnMoVJdE2RZigro4inyvaxeXNO+B379zx
OW3s3L6xNg1Xi/ecCWkXpXtcLrHkqW15Nbc18IcgvUtf1XdBfNFZKRunl6KLsr5ogS8U8UCu6v3Y
TgLCnNxuKhsVa2hSbbwlpVUsLvVg8LNrxSqz6/69R7TBRvcUXArV7FqMCXXsJy+NPizfddigsY67
zI1bNf6LbXXhWq6RuuibpsONLYI8DIbp2XCNW4Fah+97g4DSW2gddThz+BxoW3BE/xJaKpK5ZK8L
b3YyNAnVrroxfMNYWiFu8bPQ80XfmSMvzgromIM/dYgJ4iwcl1U7RIjvg1YUOJ8OaNhy7MDdwg0E
mSgaZ7iioVb90vQKgJR/ATiKtnmGeVYBF+qsoT+wR1zpedxs0x7gqWKb6R08n/QugnaLf5tk8i5L
sjs7atO7cvxWmZ5zKypF5xhXRYKlhWWoyOurJNeBzvv2ussbKVqSyb83E607iukCwJ3X0OE2oiYm
mO8aA3dfFy2k81nBX0j7z1UnmzB+jh4uZ2l/0VuhQpkkbnPlO6UD21Yw1svW+I73RryvPc1cOGms
bIS2b4O9y0Xz1/AqfYusUr6YRX9F6RLXnAy5iy6hc7MOtnVBekq87HpAqstoUDDSnozNRNUp62ov
XpJ6N771ztVgCq5S2dhb6rT0c0ssUPz+J7inb7FWRy9BYinLYUz0s6PUE26V4wC3tOsr1cUL2Mdq
EE0qU8cXrckfcTnsFuPQZ9+GEoNNBSbxIi9JG8QBfj4Cyt4CC7Cq9iEe82atNglSIpXXAlon+QBN
nxzV1KvAg7ttpJKfLp2XARyKN241XIYrhdeRoITJmfh+cqtKcGmKtEDJ2eyh8WU4W5apuwOXMy5F
FXicclIN5VXUGqy+72ubkwwivUhRHjKtRc9YVm8u0RHw2dRth6tg6lQbv1iXVa+vAzICQkLBwCVh
mVt1eSWqWEKcNdnxzhgFJY+hNfIeQ3ehaMPx1GRkTvpuzJ5THKW3zui365b3x1Hryl+pD4RKXLTM
rvd9wraxRWVgbo/fI0Sb6EW4FFtN2XXX5VjwXHofITo+VedhgOg4nIfRv/oUJ0LmG1kmyJtF0iuv
LlSA7fxZ5pvPk4qpLtUKdElaIdM9feR/fwtj+tc2MNmQNG3wswMNUkml+ZAMqblstEHZtZVkcLAi
lxsV+5u1DHv1wQskdZ/yLFiKKlx9+ySp5ouo4c5o3kWtvBAj62m47IGi9+ziLAIk1wWxpJvDMRgN
9ANz/hqFNJQnIOtrDPswWhwS/7aZLhGAq9Wo+8pKVEWHCFHHdqPbYPXmAb4C9ZpUK+S2aZLLpUcG
razTGhOUMN2JNjFT9vuGquWv24uLQR/VR0SmguUlXerYmLGRVerXl3ru8BZiXe3s5vxpJStHEOEI
mk3ZVE4WkjMyApf4VEJvrgjVe5GcFQFehX4ex/TIlBqqdA3FaMneuDwKYCu6yZOkN6cfV3VhX8S7
Ra9at2gniuIlRhTfAwU0thSDLx0TmNaL8NewRk9ftb0e5htQByg31N6VpnmY5la5NxwafQzyjSgC
3R0OvqRAokd8jAM1BEk3UD23mW1D7xokngkorhgmFvMZQiZFuMig1QYIlQBhb2v0Mee2HuHGuXcu
/Tdx7V/GTvN1HggMYZHsRSpqq2zbvDxTXj+VsipSX3tZTxZjof6jt5/axqn338eJXg4s3uI+3WO+
7+e4AA22DCH+6axS6ID0Rr3C1iAgz855Jd7r0QpWN9qVU7VKK9g/jYW5vd8k5XIKtlLVPwtVkTlY
TAdF+S1Y9Kr1FxZczW2u6HsVX++nsOz6a5gb33N7qJ4CvO8OsjmgSTR1Brjg7WXFjiF70hubkUVK
XrHWojd1DGz7EhMxgCm46ccJE+DnVywpy6c0lEB4yr3HY3vqDes7HU3eW1HrqhSKt9Hf+45VP4LX
Ea1ZWptnF9WcZrAdeLRI2UhaGWykNGiOJGiTA8ZmOCSRqLyTg4w9jVZrX9DZOVhap//Smnadok37
DRI91k6cO93rRhOsK+9uEsvDwtxLj6mCBslUUyVEVMAXwD8W9XBQazK6Q7i+VCcFFVHqesm6qgJt
ezld8qRuWNVDh2Bcp8DcQzsaT73mWg9GZDpHdB2Dpe1r944VmSDUlMLfcHzAMlSstVxp/JXIinPF
WqdesM+MDsKBxJCzbFN2Y7kWVa+WWqxCu18jThtQmoyDkrj5vfAuGYcbE4L2V9Nh6RAUufkYJlq/
qhzNuPHzWofvqRhXUtZ4R8MHq1+regYtq7CXdWb1z0Xs/uyQz/1RednSdiZrBsXqtm5emw9dx5La
tgd4N0O2F+coTqzeImDbn1Euze/HVN35DfIEo2130ByAzYqzGDEoxZk4KoHdlku/iHFuzysY3rVq
nZrBs09zNbOLhRuZ9XEsJH0E10hcEXreOjK0bln6abeOMtleYFhWHl1P/qEFHs59/Yjpvct++GiK
4mCqOcbJcbGOLT5H2VsnAD7cbSplpdeO0x+Yd43jVdCpaTTlmBeOX0Erd/jiIp5gLV3b/GLWRX/l
V6N7zsicXHeVDtqqkM6iyW8dazdCnVjonuSeRYcVN85K9Sr221ObuOSFWSwiFxhcT14nnAwTV0kR
ljce0tvLROZbXg4cZHr5zwqP2kVjtuajEmG1XRR1dK2hFbkPK4MNnM/57Mq3x+LFzq1Hw7bTX20J
+H0vhVA2URkc0a+Qe85T0RLLDezyFCP0z5UbYknFaQLSUwCLQYvNoVbsSfxMQ2mXRK2PF+nvUGbV
JDt+CPRxWESZ222CDD+mti8TGYpdsESJ5N7Eog0DE7lcq4UynGpyLEidNcYW0KzGWzcylq7LUS+k
1zM8Kv2XhPCwG0j1j3iipERpXmyrQmlW+JMV7ONxpbVKu4QEi+W9OL5JFPNOtvjXzhEeMisfIgzd
vqv5z3pMO5WlG74g2w88IbIC8D3YJaL7iG8Dx8LPqWJpSBAV0qr2Yzyh+sR4aNqA39Wk8YhMqnbi
63FMJv1H0VRpkrJCQn3pK463hhLZ32lZOdz5ksSxg2WcRBPoyuZga/UPvohZgqYV6k6m7VRbEStC
UGFXal7rouKFQ7HTVDT+RVVcJHCrKDRiLC8GOW0Z3ljYMswRaQlnVS9C//I51MZ+DieABLDSFjSw
GV8bilRcV7ATl60RBN88V9rLaEM8QYMwt1lrqFtefd5zbANpnQLEyM4FHFzL/cLhF/9vVVPRLTKW
o+kWKxEnLh/EVzlW1Y5qvnVrU9qA28SZOA0+OI3meNkgFJg1V0KmukKgawcBUl4KRlGFn85dCN8i
8UgAtcD4UHJCRgVpFwD6OJNv1ama4066dnme8EhDVmXuFdoBohcVG45r34NFNUqqbMthKJa8dnay
5VH9MRVS0Lai4HmJd59GJmdvi4ANh2mssma0nzTdJLeO2cNptIPyCEonXLdBFb5W4CE6CXZ9H+Ke
binkPmvV1bagUMxdXqbRndlididC2JXi0T5aD6nK2kbTVHsVkHt41hxLWw2eMexEdagh8zQQMU+i
6uj1mueufJ+panHv6BX/S4r0NOL9eArxfV+Iqqu31U5MWWr8ed90bAPN7o4mhAWwgHJzNuOkPiSd
jXNjg6q8pIKFVaUvBjIj67CTAk4yi/Re15xvOYIMLzF+DWhbNy8hrvakmuT6tpsujVEiwWjnh7ld
T8uUtXOoQq0gVlzaPrBvomwzt4hSH4fIJRZwPOeOmJTIlTrmL2mjDiv+2PVS9RRrTBdxqWB/UnrA
+fFox8rD14NthpR3N2zApRoLoQSMUMpw8KzsUdQGJazOfzaVk42M1I2XKFH7c6Aacsy+fB8kTU6E
Q97L10n45miNrN5dOqjuXojMzpqztjO6qyJBIkh0VFmOs19sAqeLLf9zcJ6Y6nUyfg19Dtw1+XAR
BBAvMwByZbJiSRohVbOJ7O4XnmrmQbUd41BOpaoEsbr4UBRdQdeZB5fs4C7Tq5No8iQgo0bHasaP
ZOx9gybZow6AcExI1TN51chPnOqb96JhrBsPTUps6bo+YeGBd1vvr/QyzxY6NquHiM07qhB/lLC2
fmsDYPOP3nmE58ZINsoD6Ny/xHX5bVvqAalHAv59qLjhHPfp44gbeprxgrBBf5W5lXQSl8JBvkiR
6gH7VWAlc8el6vesGKMMgOX7iE9xvE7xuFRPczNG49ayxOmMJ0RRhhLwgrwgUTsUB1EKvTHH83Cq
X4pzP2YI9VILDe0yRnTYMQfEC1EUl0EN7F2QKbt6HJ2bvNXLa5gMCx+OZrKOcT3cDEGHN/NkhydC
RMnvEftEglXbzR1V1FzGttNMc7uYJLfKdPmpI2lLsFHTJKJDzF60MacWKFpbo/xaWFglhkmV76LS
z9fCSHGMpGxZhYF8EMJ0jpGsfCk2HzQdBv1fBoko1wL+wq/3Xw7yjFI/56b9kzwKNgW2g3oJ2Zwe
C/IvIeyKlWNaxUmVe+1YomvDL89XXrXe2chjE/7wSx4cbYAPgII4+C6SLQTF4XPc5VoEklSxKnRC
knHfdFi2dNMjsqwS/SZFx33Rq+MkY9SeGs+Mn2Q1d4GBO+rWqNvhyXDMgwiovcRfxknQ3BT+YB5l
NUtYZEfFN+SKFik3/UKaXVoPUFz2Std79zwuf4qRxkQlNIpRvqvbDOfWvjbQr47aLzqyPSKCw64S
rUs6YXqjE5T5D2FvXBwwUiXod4qK9UsxgehGFbct1YaDZXay/9BE+k60i7BBw8fKmKB6sq2Aumtw
n3FNyxOzfQoTksbKNNufYWqcvLA4xRSa3ctNNCAsJxd9u8JJDPqFOFSeG8WhsjiLnjs0AO2I+XFm
PR9SOyEm0kkBGV6XUb3lpzJsM6PUtkXsm89Bo6057h+/Si7qTQ2EraMsSfnZ8JNs4VeD/JUsEIIE
GQq5jaqjYQwibiVGDA3u7vwmX0hOFqjbXAWW4aJgYqqPkCqcS1XIeM3VizKUxq7LMRz3ooXdV2F1
1Xb3Fe5eiya0k1szHtLbMULPGkz3YxSXw9XcruGSuBOx/LeiH9f/EXdpa1TtLaZLigEKmRas3d4A
dy9Dxcl49xznaojpnqg6gcWbdrpEfVKd+XIv9bhMbiBSW2cW7MY+H6BIGXEDSyvm5HhjOGmx8uq4
CZdjBmQQ54d8e6lLhfpV6vDDRDzCOrPgss4JFrx94fu3YkLY5sU1sklb0afwJFpnXuFuM6Xeylk+
/poKfWxcCu3vwj+7RIvcauux74IP7uuJ32d79nVfxRdiFG4I723i24OhKO7d3ONDnAjuaouvkJP9
F+1AU4B8OFZ5SV6I3EOgutOrWLkVOYnL9lukNmKIFXtXHW/NlhT3opx0Gkap7zZemynLtkuGhWxh
aBQbfvzohznKbMDYhSFyiVzMxRDZVOV177tX5pXYrxRYVa5a05JPbqPUJwxJ2JoGjf+93CN/Vy/e
Xh4ZLIRdCIAnWzhBkhyA/kyZyaBGh2Rq9KI2OYgLls5vJVH90P1h+BxuKv640Ssgcf4gnVCo5iWG
HaR0Gh2OXbw0lzaixzaxNFhZkwisl8BZEDGXcNGfuZpyInMuKpcWzV54CKLcuihUIaljXQsCgg8Q
9WAazfeZk1Ci3rzib9VsRMTo9fmV3STXao5GEnr56FZMaQxU0H5XJ/JbEoxvVYG2m6sCIfch+H1s
OhlOyameonYaxJx0Qh2KCxiNeTYO8UoJ3AyLAH6DG7zw1EVUkPqpwaSZe31I8yOJ4AhI/Og5GyQs
vl2q6tSDvlNs7tF9Q3PATbeWXVibwAuMR2t0yQCBwUjU5rEtbesxdHxzA5pI28P9js8B/3uLcMJz
pPAbHVAEX726QgenVpKTAn0RRaa+X3noGn+p+2pJi/k9H2pc610lPRddou5trbc2Y270+66GElI0
6ReTg4MfZp3tOtM1X0sJcQoLshNao3J+qBqOwhDOdB7fQwE6XUIbXf97qObml1l94y20mkKbTn6b
NTf7D7PGHFWxBwHpkI390ULMZ8cK4A5RVSddBVOb6BCXXs77I6qt/TExtbVS9TBlpibVi6BXfi4O
0eR6GST9Sgz+21yXgTa71h12OEvU7bCdbxeD7cWT0aD2GONvwpaxiY7t5Fo89wqDY9GbN1p0ZBPx
Fty7ebhqLdTuph+aBPIR4FisJwd3+jWKxlTv+oWVswmc2yLx4xTd4iJ6Po37EANevl3gZ+83eztX
tW0+waYiCDRbOylZPDa6fHe56ID1zHo8ihpeENKh0qIvF1DW0AIBbFRl2IpelPOzO0QmxWSiJU4T
hEyLRFoi3iEnIBDjx/LP2Qpmu0C65tnEBHkzQEwPl6HAf2VsrDe1fbajrtyWWVHfxiXaFUFg90+D
BjfX8Qvte1jU61okAU3fXJlG4f1QXIxYy1w1nmQ/ixFnl+XbNLWSrRHJ7SHXnPxAmqDc1pYJ86PP
MDBkq3EjLkU8WDjPtul6bvNyy7/JHMnemiHiyZ86+DapPF/ZRr9PIgaIquLE975puntRE+314O8y
IDVXSWSefWgp1bIpvJ0aAO7pC8RAxjrW2QU5xQ42cvDgqFK4Hy0zX4rexrWKszrWbNjL8CGQhuDB
HaSXJDAzgKHEhwMfHqOzciM6G8PuD2rO544avcIIzQeg2bT3l07Qy3B8XBm+KUMbXfW2qknGWVSt
FgVhFPrOolb6wWs0CbcHZKw2bhyP54FzhxXiuGiLc2S8MBFJ+MJa+QENnvGnpThLYEpwihI/WChx
5/6Km/ImzxP161joxSJDEOcJxzQV/Lk73LH27NeOXGrXWHCYyJmjslfa43jVsc7edY5rnbzpzqEG
x6mNfPaHEklOrc2tayTT9W2h6Q2Gdhz56i2gSb029FOS6eEG2/f23PphvLKrRnmsowi9fbspvljZ
+OhVY/PTzVNkeD0+a93/iBwp8BaSrF8PSm5+RR+VhY0a+c8huIdlHirqnbhzloB4lZREXTWcjWmr
nJU5Eh68IOWqOZS1498aLcljqYtcEuaa96oHmcnJDBz1NK9b4Pvjzvg/ys5ryW1lSddPhAh4c0tv
mm2lbkk3CC1JC957PP18SPYWe+so4szcIFBVWSBbAoGqzN/glPw1UwoVHZgCrZUlLEcaTFWt6rmv
8+4BejCLzKUfjJazyfRYPTrLrNHirtbst3YhtRlaCF4p7Yy18NamAsGrSRv0cxHa+Rcbl+GF5uZ4
fXHW+tJYCwlOonqIiNCR8uKLhYHv7yhqZsZa2Gy3KLmWm10ZdGALC/DzRKFHqe7Dbky5J4GD5JVq
rYvY4v9mWW7LoV9WTfZEtu42IMHBMuM2MMlSTDrLv1wmhh18hs//KLsJ20qc1eDgjQGUMHktkBOR
fr+znWNj+wOq4ViGIOrYYtgb9J9Mj/2qZ2TPMIr7T0MWQnZVVe0sg44OeDRwLW0nUACU2vojWpdI
VCxTazNrH0w7v8hgUCjKAYUcbc3yzrnmvXLT7/Z+7cxbSYONKQ/11NemozRrRf9V9Yl1Ly0jLVZK
E2Ys5FTnaYawKwm2oerCuzI0kVwrbKr7lWOx/MrbsPqsxZ99qm/BaginhxbFum8a3tHrtqm1Zw3i
wK4xy+FOQwrwhDKvuucPbB+Ndo43NcuDN6MPfjpZln9xSG/hkEMmCQ33NcmcuelXrq62mz6GEWUH
U7RSCq9DBS/KdpSXijsHAaAzCVtnV+NF8TzjvkMFrVQQ5S1Pnm6a/zp6jKSh2/7DRa2V15XK1plt
FW506e6ykrS27FgoSmAzMRbZoWpi8052JzIgcQ6KO9e4QjYv05wfQt2C07fsYmTfU48Yf+ehe2x7
DElEZcwREbKal8Lur51dHbura5DE3yKHmhvEU/L2lEMIfOjQLPxv2wu9QLwB8VSyu4sVhoGk3CmO
h68R9qkHt2dr11UGcoF1HL3M83TXR155L121ZrxHhOYijBFV6l1jTu+jRugFh163zbMTRhbuTYn2
mnVFf6gtg9R+aaiv+VSp2wi3mr2MdiH5dMcw+5OMZlH5L+oQ7b0MlnjeBLERvBgJsrqR8ut6haLJ
2GMUL9eWxkscLQk+TaUe59RYtCMH0p8UL0vXksa+NSWN7Wh8moxKGvtDU5Lcf5mbxfz+JMn9IThU
WVovl0qWUfmgHBvvfchXcbLQPucK5QmpzmW4CGzB7yYHKelpcfY9aRzvQVWr6LNTs+pYNPZdr2Tr
F8bBDlCR+dbHzhlA7EDRZSyf1XHxbhqNNz8qcdkK3HxjUft5c1wnQZjf9I9tHZ2wNYVqqBpHx7aa
Z1jh7XOah/HOnxMN7ip9crDN4Ksaqd5ZWqplI7DMpDTnR5gX3aPi+tO3T62ejt9CZUDo0DDq/ZSl
59ku8E/HMQR1q9b6ZOMFtKqs0fvF2wi1sykd8pVVBs6nCI7dNsnn9A516+RuUTN0p/lhSp1um5VA
VAaxxJN2GSIRdN2UlrGf7pM0LNe2nT/hRN7di8jhUGCEPLU8i6VpxV57zD0lXYvIXo6t55Nv69sy
5g2P0mL5lHgL9djEdNP97XB587qcF6CFJuCMYDa0rWs5KFrdOuWUPBapYjnNWRleg27XcFR8BEwM
tBHvLLZjXBpvOg/GtV+o81maUVpskBSyPg0lCuRqX361osR8c1WjPHiBd5gm94Wq5CleeCJibSRn
0Tztw7irL7f+TAV44hl1/cEVqTRVf+fXCpy1Zb4cYFSYd31cnNwMK7YwXlI4i34lFR1z44S2sRNR
ObNDqrOZvB+Z68LVQnsOKxBoiVIausXKVHWmYLfEyqB0hSjKBa5tPHhGNT1esR3J1Hp3kkQwM8/e
z3PTrK7/xaGtvbdluDOA8KHK9FNU46GZpVuqM9VV8zt1IPCuajt+qXn9nxrdoRlmaXSnYasmM6rI
8h7qooZw15j1of9Se7kCw2fwnyiwaGfePF+GwvWfQI35Tz3ymju4r9Za+iQWcBBqnIWd76VPDujt
fQ68NkSwgAtNoWo8+d/CAPHdq+Q6mjLJOuwq/lNqbWBBwFkxucM+Xs5Qp3k/k77bKFieGDHKxDn7
LRuvZq7bLRl/57HGxuDRwSWCunavs6Cnj5o6A5UaXYKqOEoXIiCtwosLj+5OV++vEUusUcK0c625
Od76SrMeMQvnaYyxH86qkKHj+pIZVoXJg1ojl7C0KZ7pp56N7Ic+iakkpgriT66O4qX01VXRjKtr
ZFC45uZ2XcvAdbtCCknt2BqbSqo8eCM7xnaosh8+hnxJp1pfyzzDeeovEcqAncgQ2deIRuUOCFl0
PnVd/NWLdOW1svFs8+IcGW5YTadJD4DD613xUhnQXL0CwwgPeZFscn5Vlc4+bTiutNJ0r5YEohRv
1Cw9ldqFhyP3lXR6aqytLMuaIYQhPy/3lAxcZ19vudtMGZfI2+xGd3uEh/z6VQ+yTYWs0luqudGx
8TEc7rx4kYcS2VK2MSV0vRBRmxbA6maKzfwOfDUZYzQiV01eIWcqnR/GJR67KVIqVbA3bX04Ssg1
urGAxCdWCJrSac9yMEf4LKvZjs1yJR2ZiqiybSwm1tJpS8A17HoeFFN7NoekO38ck8kR25Cy0IPj
x/io6FA5AyXSnoeaje+icrQRyHYCLAeFdKS9HPDcAuqWfgFxN726z4C0nP/olwjNRDNomSmDt+nt
iDWGYnk/A6/TzkaCiZSc/a0pfUrpUMqV0zLxvE0ccoPIPCUdcBia/EfevP155G1yboHkXc+kr1kG
bqN/69N0B6uNYtz9Eauic6KTwxormwyx2h6SGVQ1a8v8oTMH46Czaryz3N69Q52w8HdlC2Ipw+Vr
bbVWiPKlPUxHHDctMgH5FP3KXDVGfE//InRK3nVrrOyyH9a8YMH4MT0D6IbFaM7Dqa5n9wIXzd1g
a5HzOzLzTelZ8fPcYj/kz5W6mxtW5OuyCJ6Vxpj5CinmhxicPFQlXNMlVg5aMNgH8MrWSpo4MLub
sAfcj8Ilz+CxfgCJYXyurOGFzXn9oC+LnmVMWjIGw/JD6/eYRC7zzMq59P2YAsA0hsuNs3DjNyAK
8yuY1RFeDRFyuOnVSXOJaGt4+CQV/V2iu8ExdZp7Hj/651pVMc4J6vt6STpFc5k//h4rEye+wx4A
2gVJWkvHkbhTnYLqXov6qnTmTq5c9Dop9yN5S1gyNG8DluR1VVzYrCZHw57Ba5ecNlHAjvoo+k2D
vikjq/3ezeO0DW2nPnlYdzwrg/pLxr1sEXgOcvspgLl5xpMw2pYDZB9cLMy1gwrheXRdNMXj5kEO
WEc2D9LP9uR8VeaSgd99EnGbUClwspA4wSAFwdYc49MvlYYuj1fZLTcoTcexj0mkAmMLMu2xRHdj
CDE2bNVA3zvx6KEMTRRq38u2qeMW02OI0eo3MmkIk+StfpZL28hzH7qxmzfWUiAteuMMCMQ8V6aH
s8TS5aHfdXJ1HyEbuuTQLfXROlB7PI8USvm/Y8kgq2uTbfYKFGuxjQMFCGYULZZkrfV1zoxPWWpN
/9bVKxs6ynfVbB1Yp1r/DGFGTbed2tdxCJZUmOs+GiaviaHos7uiCetT6QD9oQir3cu1yz6K1pMd
5uPT6ITtAzKb/iHAYGY78ET8RsZ8TVVVe+Me8Q+l4rDV063xm0J/XNTJBWm2L12L0VWzHORMDk6v
rLrUVU5igCVdo9mpKI5SGZtqNd3JXx8iRO6xirvIHy//dqVfDccoGn5IF35CKqoTVqqtyyRSttIp
B9OaxpUdZZ8NoIAPdRNsXCdNL9GipSxdWCUARJv8AwqVprPpreER4icbAraeDtDgaNgrGqg/UrY1
7oq7aBwsTIpVsjRZO3z1qFXhL/kFXZDo1Jg+mtOZ0n9tjPCnNg7Ko6rWqFbUHav7JRylzHTjTEF0
RpHdfLXtaY129vCV/I25n9Fv2sn0ImxOeq12n8xKMe4gUVVrmY6MLc807L8uRadEL7qP8exyWflS
Su7OaKfbOrcY1mCL1vIaVzS8uRYFJznALJ2xj3wWU6UxzpVDEiW4KPwO+Nuk2blOkig/VnD0cPP3
SXIhx5kpN/es6HUvflNwdDw3cV89s4j7lRZZ873rHBzNO019wLHDvXjc9OuGndH3OOmfU7WpPsER
T05lFfVbmWDNPxQf4DIQsGAf9Vp2ADzfvOVdupN5VhiNGxWdiXPYwjWf0XA8iCslGtY2JYLYovT1
X3aV1cpBl+Vxipvq7loyxo8TX8fl5asuh9jxzx5A2JO0AtV17hoUscI8Zq3j5c52GgJ8oJZmLavr
LLW/d56qHaWPR5j34Op6ejHTditd07JMYjvLJns2cPRSEICSLykHSR/Y3fTsJIpykm97/QuCoDgk
iAYaCAWkoflZKDNF4AcPv1v1XIQPUWV/FrKNtPAWuLaGbA4lcgb9gV9claPxqjcKld9Cn9ATKcwv
kq7q6goEOwWmO8ll+bGnbTwT2U8ZtajhHloszK+ZrhJbh3u7BI68kGTkQO6xzZzkJevm4GwXYb9q
QQWRelPYRfUFCn0laSUZkCZAiOolcbqLaUy8xGe1frHHOqQWCitEBiUs2ZcIZSNixxXsoGg3s4c/
loQ7RTzde814d7uefGQRU75T0JsdojB7NBKy3ENuzohlJ94nLbHyYxzjTifNRY77Dh1rMvPLqDlW
7mOjlwdpycEz946FZ540qJXeI0s9P0jLsp0Ww6ya1dUy2dKnaOO3HSDJpSkfPI17y/zSuzky3bOa
qPu+wDdjwb0Doqxjde9ALd+aY1yvsf41WW4VNoI4jXLip031AmJSgQBahuNN1yDf0MISU6oGZmpf
ZRiDeMV5WPB1vMAffdVxHx2tzV9rON9pobwWkwU/crS+SKvP5uJkWL2+lmbXhYtjKtm3a+xywWis
75DV6+/7cC7vcwVbTMS9mm1rx0Ac4xxLwdAYEdjn4JVht7OwskJuLZoerTaaLjpFPupHrHQgAJDb
ALzCQ4Am9L/3pqSKulr5f5pmpL0H/zFXgmW0z2MLQzez3rK1zS7o6aaXxrfSi1vX5t2kbqRbem5j
3RIgfdz3yU7DtH0lo39c4xYHwC1Db7jXd3/EDWoDGl8Z9lmoOD1rZTueofBNzb7VKJJI2f+af7l1
fgCf6KHd7Knwz8sDtAvZEiNbIIyOsnN8vEO2g+WHl2HOWozq3lv5qNbSqlQvQVhj3JZIt14gdLkb
x7HmL0M+31lLuTXNtZeuaqK33PWGrVtr8V2hZNOmcc1f/WK95urmsMXeHI7R0hRjoziun5vcse6k
y4DqdglC417GPDfEDkjcdpqie2sUsK4dPmiz46mvBVT+CwXndNXpg/paVhmZM0Uz1zLaNYa13Ffh
zg5q7bVSDQxNG0c5yGgZzryFZ3e+G5dLzVryEHiZ9yiDWXLw0t79/PvjeliFPNJPmesF6CIO5Vv3
y9MH5TWd/P6BjNJ3cxHtny1MGWO17TbSVCZTgzVdgnhvteLN6YZfjqU4R8rZyrYcU3vjFAOlx9nM
EYTuNJvl3lT2qxB5Wzad+BHirEg2Ngjsjd4dDfJ6QP0ziEQDJhhnK+qgCwXxyN5kOXW8FtOVlkya
52kUyEr9TcxZr+atYFrrLWx3myTG8nkyNCLlzgJRKfFftRd17M6620tuwZ1we7SLNFh/yB7IqRwm
sgdnVt4raRkqehd7OU2U6p8JdOH1KtL1ITtBcQsYz1W32Obhs2nx0H1SR9d86jLMkDNd1Xdl2oAb
t5ucPL+XOMdrO3PSU9fO2kWi+65sYBSsgxqU89opJ8TMCudyDc1b4DBlSx1ZYuWA5FWx86y8wJST
T7Mz9x/US76PXkuiJsQXHeWeS+ylHcu/kNeiGmT6QesS91FCAtcIthFfES9fy3kMlsNCaDkMtYkv
6nIVGejc2V8sKLe3LunXQhamW5/K1Fs7xdUOzkDIn1PNTzh0DistQOs3zNOTRGRxVe34PQYnAA7z
U6Ji4EJuPf+/RIQZ7IQoY8NtuRr3rupsUkcD2HI9TmYUHS1Fe/mAdrme8kvYF7kRnK9oF4GxpHaP
hJQJn0wpdjz200+2ARrNQvrpVxuR4i78X21hoZDe5N1n1qbAe3xy94iVaee6topdUMTZJ57Z75Ns
xGFb0//l1bDXykzFdJzd1TaozPluKLX3SbpiZWcLJsmVqY+cVrnLSFDfOPp/8vi1hf4vfH/8NbN6
lSDPzy9QueOpVm/8sLReux5KtGkowS8dqWT+kcmTA6C4q8ra/eZ6irKavKB8yXveFoBwUKdLfST2
3SE4YIPqPMiV4APhPRK06ikGoHwqQ+17OUz1k7Cb06ULQZVrl1h5S9TSJS0JlS69w5qq4VaWrinL
/8lH3CdhiOwkUZVLsqu3FH2bc39Td2IBd+2ck+hbnLbO8Zb7Gkr+0jZPd4FXnwrb1wcAgHYE5POq
zYG3WnLAzHivpf38nfduhPN6P99Fmak/OgM0VxmIkiiE6O8nz24TkVuqVQPpC2akPk7nEEu/ZAPq
ZjlE5kM92dFby05BQ4Nq1TZFjPm50T/Wc38U1mm/UE8LnHlIY79Ij11VLymlvHvhoU4JOiHQqeuT
DFYDQgBVZjo7mRh1TnTAbx2w6EKI5enrns0MxTWZixxHvnW8GFu12P3RREp0vKatf1P+09b60H99
DzaGfu274ukEZskT40c7zZ9yBSKT04bhRQ5RpHypqsLa37pYRoWXKdEQPMkLkDPoAYCpUAsPnfKb
XVxhKDura7NTshjKSX/vFL9sn8fZMLvqdi40b4PCSvwsh6zlYZckcXxyluyO9KXGwWqC9kkaU6Cl
53CwftzmTObw2YHeEf6boJKwGsSkSym1Nw2i4Uukp1QIoNcgiFaygDOtEsBjx2PKVMMXeKgGZrZJ
R+ZvGU2nCjKJYaMmQdmzFbtb1nIZkMvCRWVlRJ3W6a2fqXFXLYZAY9UHq9bqzM+qEw1bUALOnerC
5dGLoNtlYQvYMvLv0YzTN2lcTzt97OAfdXXyYM9AyZaWHIo0MVZdR4VDmo4ReycYjuVKmjJLs/VH
pUmci3T1Vtjt3coFb79cRGmjGtu14+R38/Os2fWLq1akb0p92wX6tBfXydy1Hv1MGZ7SOamoNM4H
cZ3022Q8aS0FK2lWKVy9epGu/f9OclO4etNSJrpNyqk686rStXWFzj4uueAfxH0aBbToOOhpDgi+
xpvaa5oXSNv2jBLOn7FD00fHGZXEdYBTwksXWhIbxyZpIM/mSYh4q7JRQe1V+SMQRXcbo7+4g03R
8/DFKyVxMQzZO4t3SmrgJZ7W9vFPvpG0qT9mOwWa58oOWyqNfwbxrU9FQz7Uz6z/XPb2WWqNWafh
jqqSbWsFmIDDPv1wxbsb2ed+Du3HckCe1DeSnXRbbhGfMz8c1wKDT6fY39gNZIffk9Rax0w0x6BO
m+M/J0mUm6KaJZMis9LWqdqP59ABQK+NCL5ie0Iqv0xe6oWfl+WZcTAotT71MI5ZUxGC7MJKo7D5
j6cOxrrBTPih0COe33qR7wwYVq99730elKD5ybuZ3F03vXkjBr9J3ejnMjIwqQX/tInxK/q+fDBV
ue7glLzQnSyBw+SV2dbS1PF16hOMByqA2vqYI5FnY/GSNWp/ktG5RwHIjAL/IqOVGpwaT3efZNDe
l9PYIvNdJ8+sxY8SYlZNch/GaG05y+XnrNFOuc+WTabIh4edqq8rMz+Ybmp8K33k1BdTStfqfiUU
lj8Xbo6Ki+8Yp07BfyqGcLv5HTpMrfPTJ9Qha/LXUCdXP1z1d2g8dO9XVfph0cmzP1w1R/tX15Py
GSOLYqe3ubInK4mHNahVPYzKV7BUxhlbdQOjwaH6miUdWd0wTO/RxMleuIkfJP42PRwIQ43+r9Nr
e3yfbphWKtPlsr7nwLVKoIQ3xSZvx3eNEREO8YzOxcgzfZFWo/umAZKFkKgyYG10w1kGWnuGpDQW
LR7UE7/AXtrvgTjyoZrw8mGyzPl9hT8+UseVdBOAhrt+FzOD+jdT8V/F40w1PTJb1PX+PE3GYlhh
RWtuZDzTlOAsZ7Ouv5/d+j7MlmHPRVPg/X0FbnZTufl0n/iBhw2ztpXW7WABkb+HjVtuU9uYeEIR
C1aY35CcOhXsSWsKj9xP0/2HabGPsIc7kGkGKiXvYX9Eo8ZDaWInTRkQ1DqG9B8Hru/lvGFv4qUw
jD7sV6XTjUx/d7usXMJdrv2/GJDgiKfc6GXKOdP96qKkrJDKUD9JSw65WlBeXQbl0ExBj02aam7+
GMhNtbpIX8KFD0gqvyATRT22LWDarGRyX2C1MrkxaotL1et2uNW/BrugzHVr32JgniItHcb1dbJS
V80OpjbSMYsVrawmkE9aTHyWhUWW879UGyEJD1mASGeuOBl8nbrB9lpL/evM3i+Skzn0O8i2DWU6
fGHEHOZqAeNDzQrVLDw5VZ/pdzJ8NZO5jtdldN9BscY9LNVDoP55zMYzwjTDILN5Bqjl2Wu/o1eG
KiRKyhi3h66rfOAgS7gE6uQqj8VYr6xxaO2dZNdNpUHtE6mDnWTcQUdP3cppIhXY85J4vwWlvU1Q
mDsFjr3197RSEmRqDMzKYo/d8Nzqn29NkbaWZuZBYtQXTsttVKStb82rv2sUglrPyaMgqVnk7jPU
1vTVfbbtoXnVMqd7jttqX5px80oePsY62/tyHVPt5YuYKn8GgzP6CceUmgiJK2Y2gQE6YRxZJS2j
5UjGRdGHfi+jZeLy7HMmlg7LaG5gAhSGfncno7BJXpFP7BEYY3CRoJcvFhuFd5xrZXgX5ZIabNQ1
yG1GfrK9NhdhrneNrmXEKc33kTLSQIHyl753/inkdRuRwq9c7a8XkpGZLOf66pmlxDDvcbU29e+e
6j5Ntg0UpnbLjTGhKylNOEnmY9ZY7iFGiWZlLE0ZUFO1g9v/Qxq3UKxQX4GvOifpGmcL80QbjxmL
DN8BaK9/tgfXP+tWiYCiEQ/AI0iCQUwfMUJe+lD9PKpW+RP1l7UAeVQlV85s7hB/WQA86Yx4p9Oz
uUOix3jL7fGf0tKMh1Zty8/LpKFqm7U9tuWLVaob3x2L7xVY5bWGsNuyeACWR4V4p7Mn/aTGbrjC
tsddFDgImeyOnCluLvj/Ns8wddhVIkoZwSzfFtXQH/oJw/kGgaQuLNO3ulficxzb4Ub6ZXoCgyZ3
Yh3x5mZRXA7HABlqC7k1bG8RM3PS+dX3bPu+r/RTrBYaJ4D9/EFLDlqUQG+X9O3vUR9U2Qtavclh
XkYlOLDGhqXHSIsXchjHUJxelXqA/8/JtYehsFl6PsYMAKW3fargRJIp4yPJmpQSiK8Bj4Y8wr4e
1lcyx1+6UB0f3crP/FUNOj029PgifVZF6QL4y7knL7d1fENlAfOfKuO1WGai8sni9njrj3liXCBK
YgRMGfLW7/jdZgJLNGPJHnTIdWWJmezagN17mo8V6i/qvGoWSMtfIhYbxScfH4tbhGaiBK6noYaw
b1Zd+hrtg9/EUCF8Jn7hb9E20q/s0hs71IqDH2rUTkchkUo/lfsJWEwe3sdm8TPq9fk7G1cIVGVV
PBpBr9wFseKsqWPN3/1hOI5JOaK/jMGLYaTerrac+qurjysJUELsrMuoDs+kWtRnLYgfOtmzgbQB
oV1V3YvmV99FqgAye8MSX8meypgymG+iRdcuGgaD8pw4of5NNwNvW/ajd0TKfH/1sU8N6ueUnYY1
khPp16wDwi/KzGQLzdL0/rXq7Eufmc2XpkVAIiO784TERgKmzYLlrnf2OVaxi+k8z74qPJdjgsZr
MaO9SMn5JR/1eqNYib0Ll/2oibTYY6WKanN1SeOh3XaWdYDD3IVrb/Tni4OMCBRFuH/Qbf7adFt9
N/Ca+ZwAFkWQ2J/3AGCSbzlSUgkm3KRHU5bWaH5KNzdjSN3n2x/Ryz1KhfVFgYC6HrL6QbVC/M9H
v/OAdvBQv7ZNk70YZlj94QbAiINiq+ME9yBdzWgFl+UCmRorq0TR1b036dljsLh9Aln75Hb8ZFOt
ya9did73B3dAIc4fcyqS/DoToBOo6iwv+pgUIE40ylaatwFpRijAoZHlabuhbMKHmMXNCtsiqMc6
hQIjA8okTbfCJVtJ9OkOLwrjLTN/zmQbXr1c29p2YDWIAUUacu/QJ8cpAXKCvc5empbav/flS5+/
hESNutXJ9W2Gxfm2HRQf7hX6Am5imS/Sh6xorTTus/TUg8uDtGCXaBXho9b34R1csPpkAzdDMqKc
vll2fGrjIdw3JlW+12ZAQUJX8X0FxDDtEbKN0IDV1fVsxP3XsE4e0yww/x3jaK2Hnv/DHzv0uZrQ
/FQp5bj1bZgmhmNG67xp8eg0y/tYtXEZozSRrALfaM6eE/YvQWtah6FSi7VfgoxeD8BHB9D2T2lm
9y9QP42NZzkw/kLYKEOITshyKR8v8dXgw4W8kQciO3C3uNEMayEGyMCVaTDZzjZwRn5NvMMvmTeu
UVLntdVkkC4hvvvnD+1a9Skr2Mle+uRglR5eWQk3iF76D95s8TjtrPIUWvO3wEqmR6cveeC6g7YL
STtdJOIaVrNjidPcxWqWuMGO9H1sqngW60F/dnpUqpf7UW5DuT1jk3VMoicOCfz/3Jpgzrpz1uQP
EnHrd2NNXcUge693tgwMppWcJ/3gRdqJvHpwqfTFfjJb1GlHEHiUY/VuOJLnP0mfHJJl9G8hA7XC
OxDpLBVjyvVqcX/lsGjIR92B01v1XfgPBB1tV0Z6uSjiBJ+RnffwNyJBGyPW/KmfFnZQbr+GS4tq
ZPrsQkuSMYnXxx8mWtgvTTgon5wpfcjR9X+QIadB6iDXUWeWcNWk3m4PuQfgn2upGjRWexHlk9HJ
zsKDmznlRhnJRL4LisxTHaKclGPYoODFsonVPthUUI0vKP4b1wOCKfjbKW52jw/FdJQBv1GNyy3O
DQHNGpV6usbe5gZtsW9z6ywFVLVUSQM5Pg+epSLrjPG+zlpQGarj8Mg1gV3TPUatfpn7vlhJc0ab
+RB12AxIMx0BaypjngPSyLR7ywZb41dtsZL1Pctc5GlS8oCTDfH52rwt8D+0P+wPrqdwg3AN1q0z
llHJnRzMNJqalTtWFILaFsEzacvQzBuJSmfvmtsqdsy9p6WQ5XD9O4vdVhjBWALtE6+kOTjwABEt
d479yZ3HGWPvxLyP8zIwVgWOKgCVeN9IZxAzUrObvwdaUVyuptkjqR32QKXvYOLmPIWLlPC01BLk
LJZagrSvp9Jbiz4wuP1xv8zRKdVt3pnKcRiCsOB5l2Py+VqjHLJ3/NLbpksTF+Z0409ZdZz4Eb9i
EJ8vdar5Is2+wYsOtNRz6SIK4TV4gi6TJruuHoIo/CZB0OzRQl8+IEQU7liAdN55wIGwHanyi96g
HLuOmtqCCdC9CbJOGaxy00d+d+hhnaH64r83b6NFrXcHwKHBOk8qXgaTV9sHWdhF+h2aKvrDdVk3
DFqw5gdY72UN976Qc/qDVXfdSib0y3JQBpgaW4nBz2lZ/YEDCNblnNSwyKoCmRpW3wefRO7KkRWj
y1PpYZrOuV3zIOsbqrG4l+MU2G2sbEr2YmZu6oNLfgQ8giF25tQ/8F8ogq2jpgFT++iw8JcxCF0+
Qr5F/m8Nhfbx+iFGQbbcsbA0l68pX/g26/pFMQblYfmD32V5/TskKuhtiwJsaF7/cplOaSw6eFbz
lJrdMYaIxAt7kcETRTyRvMOPYZVAebsr4Nn/Rx9vCWRzr2wixR3WBliWQ+R0BtnUUkEULEoDKGiG
Uh6bBRd5a8p/V9455nVUcJK3pozegm1eoW+u737rvMpBo6PZ+ZaJvYZhJbtymP1/wDGyngNGBJEc
/lBtm809yrTRUa/c+Fh0Q3Wvhy5eBbHpfQpaB6g07nVH3U/BQtswx83EjS8CHfVtNeEJlyYXQYvK
qDTnBXsROIzegq1AfYI4ie13Yz0g2F4/sU38JruelkwFoI0gO9pDWX0d7BN1PN5tKIAOG+kq8d5c
GXZsH3Uldbda5/TFHn4XJrgZZW827RNzfLiDU41vjdxYchekwwbJ2vj9NsDZxqXwlM8fbmMFFDCb
MqZpdbAN1QLuOej7LNxYlZMckgksPK9xHVkt1i9Ih80DD81KB02DWhKCeN1dbeoX0A7tLgKhf93N
qFEKFJBcOhRTv/IP13acd9E9WHESuqAsr30yEW7SOZq+Z4uAhUhZTEb3NnWASqUFpLp5yoLqLR/j
6nyVw3BqkGhL01e09Ig4nApgB6EZwN2tu8mUUl0JYuBP8ADII/R43M6Yt+6ACmlUV4c2LECF+zW2
JJmuqNseBbvnpPHVZwfCrub2eIcsraHkCaYYOkp+BXCRdRvW3YontXIMKII8R7np3C/Xy7Gi3zjD
gKPHBu8EAG6Joz6yOYAzpvWf5AAFdtfHqvcoLce09JUSu+pJmsGkWluzrfytNPO66k6zMfMb9sLh
k940zS4eGvOkYwr3wPo3WI8hmW6gYQkYZ/rkAGBR3xaROqw1TYsfmtjGbYVl5nDso+5N+m7BgaJ0
91nN29yyeacPyQOw6vF0nUR+QLtLsL0TVFE/juapsJTgyhoTeJA0ryCjxv442vx3s1uaJZrJ69xw
yrvE15L5lXqmtkXhjne94pNbQXdnUTPynV25aC7dDt0i0JSAsdkBKOt5dzGqqDUlfjk1B9W+WPcf
eqRbZsk11Qm+jjZQ3IDMDB4oS/xLFNreBYsqHQeTirq4jEhnqigE1QlSGJDCzkY5tyo/J8LbKBw2
QIgUYDe9d7ldR0ZNlaUrb2R0yIj9cCk5rfy2WoUOGWJpytypbA62YjR7c/Jg1DkNspDUEWyzzY6N
ZfubejFa8gfwOwMKCyfdbNmz/Q9p57UjN7J06yciQG9uy/u2apkbQiON6L3n0/8fky2x1Xu0Meds
NEAwIyKzqsuRGbFiraEP5t/6+Qc8rps1b1RzE998cZAjp+Nrkfe7+ToWOF7DzyvV28BPP77S6LMN
Mq65riRrMLnpoZlASuJAUyXJn/EhTpv6MSqsDLJ9lf7sKSCiYncpmtamJDr6x2IwpEejrqMpF5R8
8yT1fgTf92JkabjPIM6OU8feS0FdXUP2wdshNnVwGIY5Mae0X82qOc2/02qIJnLiV98rlFjo3mUN
v5YnnXqtumtivlxdJFN7MCVk7y1YsYooRKpYRjo4dhrwoYZNC1kZ26eEgsS+6Vz5gV68Gu1WJ/nS
acFV7KBqOCwynbyIoYILAzP4We7qaitFHv+blQxXW3W6g6eP5WUEnjM25W6oE417YtDiU8FkPhND
4Xhny11TgvuKN2hxFFLp8s5PK4h5FJUZL8sua3c5D+vq8WFximUUuZNPVvUj9xA2TibF42ZSNx5b
p94nQwcP7m/21uu5nxQhmZtMdIPJsxV6wVVv4/Y4kqHmlpASi7CJQ8Z+8CrO4tDRkBzsPovRm7gl
ROqopkZyATfKu2WWtQzPsTam2mbk7XjgxfFuqAy1tm4sKd8sDtnrgrUeJfqGqoQLEiCARx0dITgv
VFgLVEc/CYc4yHQpQIQvjsJgTIHijF+Y7FxAl20P5po+7XZtyGygM+THAQpMLDoLR4c4+zNRh3BD
+/dK/bHMW6aQ+g7WuQ8m1SzytZ7xWfcqOEOndj6P5O+Dbh1DKYLzdaRVLzD09KyE7lcxEnZfleWd
Cr3fRtjEYUzieg1MZADIyjrCltA3KJZGks9bWTYghWFnGK59oougPLs5pWB1ZDPAtk6/CZ0rBzAP
kiJRtzOEh7R9cBlVGcDquTGQOynCm56TApjxxan8o+8b7manLvtYVTs6oN16RiYrrjUeEhURFuGl
lJvdVEeaZ4ZTD3/QXpXA0DZtntkb9Lram2ka7Q22y+6mh/rflm2kB2HSJ/vsnMLifJubijdHLhNb
bnAOcp9/EisoLn8rMcml9LcxkzHaLGtIzQvSKdzRT3uo9SDlEIRoSBanBnwhaeUelEEBA5LJFelX
zV5r2oO4kWwzfc0GOHoSWwaXD6UYua1kr3TF03mJe7Uu1h6cwzS7dL0zn1LHh2NLWOfTKlTVreyU
MBovUZQZqzO3nsNBa7VsvcDQm1RtdymyCmstAeSwONQUcSU/L6613zy1Cv12oqzY1RZtNgM9q7Kv
ztRpi10pNOciBcpsF8VAUUj8ZRemuuxheM2BtC2l2pb7XotWHdTAEve22IeWagpQnX672ESICkcN
4B7p82J3bBJEKJcofK8mfCw88yq0aWn02XTQSU5Ku7/miqWf9VHStm7cj7CUxi86WcTvU+gE9nkT
2rmRcQai+RoKB9lLnmmmCPVAVu/4ZuTtC4J7YaFkF4E1E4g0+mn2vVWY199NusQtgkCeCbshO3PU
Yvo1cQGpTSYxcYyRU/HLNt8OPXDU1SD1xbGX5dsigQLQuL8KBjFhcyKzODbGwKeZOvE8S5yKQ1EE
5bF3u1s5cYot9gh5jDN9gBupVGN55WatfxvZdW1qLW/eGu3JY0u6fwja+PscDdHOpKI8EXO5Nf3c
RDhAiG5+EEMoKiZMh9qJPyncBh8We+gm7S6fsgJ942XXsc5BN0nZeqhIr2+EzYnCSfQTqMK6MooA
VgACZ2NScsFZZQOkpjKTPDWNo73wi0PngXSn8QY+dfpyr4vjdbZeOIe0c2m98dZR4EVX8s3RNW/9
nsrvr3FoIzJGg0S2qp08ugpHb/h0KIjTtkknOi06tOaJ5RQ0pFFab9TpWwR1wdGN6Qmal7TFqVRN
/+dvDwvvQ5lk5amlEH0e5DE5N4OfnMVQnAkbtyjwQf1TDNoZ5M+1GtwzCwS9Rpw4XVZQbcWG3l1P
KXaZEJaPnXKW26q5ZTE9jl0SR39VwEvtyg2+G6ljwuEj5w/USaojidx0b6qZ+hxY8XcRYabuOVeT
6BNU5DDRcA8kch79xFcFLQ46Xeyp1d+H8jQEhfHqdTT7NVgzy/YIU6jKdziw1XCrgDo/2ZBh7fM0
74DnxVTZAs37InfW1TBISQe1tDbhG/tWR0qPfniaPxcIlm+HJnYu6lAAFJjXq7QyX7cyQFU7nnZT
IRy6gmpX2NhQFfA4TDvNfoqRCsYzL+8UWJWgBIQtFTFiDukjpNJnslWD8uQ6dipf2lCTVFcgAqWd
Ou1+ArdgbzSdDfAfbiM3sF8DNehGD7I6fOMm/zVExMlZpV6DNgEGaLT6StjEIWS3mtRtehajYFRp
P61ic1vXtNX1YKouTRBwv5HVR+RgEHX5ZRIRwokwSUJZ/DHhnmeXOIa+GXvyDGu9gflTV/qHfOq6
6atmEkwAU0nr+Bfaj9R1YHnFfVGjpdnJEB+4TYVsSRBYay8O7M+kUCHZ89y/QettvGi4pKNUotRN
Y6qflf21aQsYDEUXawhXV5Cn1fSl+2kTgeIgdeqLmLt0vM5z52USiFCmleUx59NGd9la4DAEYqOL
ilf8p7CxY7C4e6d/DjTHAulYhuJMfhv1BtmxhMF9t6wjHiOIoEkNOnXcOqJo1oPnP7JjMdlt8A83
sr+OSAKexWj5P0DZjid6mr8F+iVQ1eylKtrgXk+rj0loZx8j8uVHD8DMBoRt9tGsegkkbkqD9DRs
jCpcqexLbmJo+VdujkLKa5a0gpMVKjwjMPaCq0kZDCQjSvOR33Dpzs2TH8Lc0s24639FQUv0Jkrp
wjdRZk0WOHCc4RMXwCuY5Ne1Gs37Ifif5rXUXt7lmotYUaElzxnCrBs98cN97RQJDGSufwqSzAZQ
jrdtCuvBQYRROL3JFNv1i22Rw8mLv2tgFvssSrt9Qyf4c6WP3qqdmMuH3odzJlQ+0ayeb8ex8C+Z
4gVAxmpeKLMfvtK2MIdCFQBjaJTqD0OrAwNtKpcbtelmzA7beFVMdS+6NQFT+5DnDjE6rXYKU3D2
w4NnEWXV9iGLfH/bd87r2fjrbPEuZ1AUdQ89qPbtv4jLBlAQXIb3bqLn6ke7D9dUhQawjGC/ZSgg
1iF8Rp9bJXmccfJOsR+tvv2RdtWXUkKMTfVdG1yFZ9/n8L2jm00bKdIAAbyFrJNJcrHSk0mmt0ac
Y1W2wHjvGvNpLjK37JANvalhDY2qS+M01QfohXbc2SPc2enNvtVLdWcDj/s8gZbqwvGeA7ipr2bp
Uuya7HI8clUfigI4bdYdNWRTHsYhvahZYbxodiBfYGSfCIY18u5D1h3gNQUdPA2R+aTrRcq0vQge
io4qrYlii/B6ef+Ytn5zL5y6umt441+qNkOuyvafoZWWL3o72Bl3Au2xby0uRKkjX0xNHxtK5KB9
x7KUinqT0bw0fPeivtx6snzIylTd1RrdfLGDpBYNYMoqiKzk2VSM/rFIk5VwCmoc2mC+Gh4ZVmFS
HHCH5eixA9e9XZtXxaeErZtdtsMXcLjcSriqcSY3Ut1V/cB2y3a9nUajyXZuwOljkswkU58WLhHR
npMbLSX3X/wiJMZ2KUSIp7eEISLQaJNuHbWxhnyOAVJuOoh5buxyD0Nh1WCXjozpJusq41kzFenc
GXGOKIVhPKdlNd5DF3gQIynAhPh0FjTjk7DISfgsowQKaByXqkCWYpl+dhJrKS3pyBLdwJ0Yikeq
/YB2J6TsqCiGqSlvB8rFi0hThKZnwoYL7FyWxOOOdrfyAozKhjhtYgdCO3eqF0/+3i5hCZ+MIiiU
6JHZydNYGNUmfI2Z5yyRaWyS6BmjPdp60Tlu1bam4s3p6PF5BBSoHNU2Dw+6lDIUHnFwUkN3Doqu
WgeZ4rxfNOOZHg8ExsUpLcl09iktOtphUh7fu99EzqddYElcHodhNY/dThvPcDUM0lqcugXyF4h4
HVPjl+yl1qWZv8niErBbpcKoN5W8qLLm/iykKcbiMEeK07KlcU2vxnAlGm2EDc5Tu9pBXfCzIcKj
i3vGoDVSOB7sIfoikGLviEPUSh6Ec8aWLd5fjgV+tjj9xB4OcZh+maUkxcIizpFURF2Sms8BbFbg
g7jtlxv4P8mfSdHWrmK+O1Vz1XpFv5Nrz7ijUy0l+ZTf5gjVirwdku/DegmxlUK/W5aC7WANzGJj
jAlb+l4NTjo5hpUzSO2z1VnxfZiNR+EUpqbPtrZjVg9FOLbPjmdCE+PQWCWcQ5f02wz+gl3Ty92t
VWk8082JPsyJ/K0odaOfmt2AvpJMmM6M+OL1AW0/a69PrTuhstI6wGK6fHAgCoMfTMiveE4Oz6Lq
qIc5RDhWTtJ0p1cZiMHylWOLmLFgHQsjEuqZF9lrMdTMqN+EmVfOXrmN712zUx6yQFIf9HzqvbF+
8ju7PiQPExWj3vrQHE38zmLYjvWAEB+NoR3N/vBsQwXtp1tBBT2HDrS/AMQfPtk+VJ2aYrjkIgl7
t+IUhgbS8Gkhls4VSIC00OT7Bst60knFVTc04wlZr4gma6pHos2ibSDGhCVmdnpTN4Vpdy95k5dX
ESDiwQACoJ3aMqAw0G/O2F2hZDaehEkZSJw4ir+qMpb2J5wF3+3hnlZCHU49WHTcCYkhDrqsWMcm
Cv5eTOIMvqNNpTfuVYzEGjmPtDasqftiWk04UN+zjkYlfRcmEfZrujaQmJ8fGFLkTMnLGcYM8ZMJ
fyE9oQKQPOOQFzSznEfFZVA/vkEmLwDnaII6Q2gDg75bJvt57oJ1jhIKsDkfDCBSZH2j9BIoo3LO
cgdGknhKCyvOOZpMwi+0QJ1sBAcvxjhlu9gZ5V9cMpTzXCxz7fL53bDRaCKdvUWXPjeaFR3jXlMf
qoYunHwCw4vaYl7w6aqs4LdhSd+OKDWKYOEVpcZyChZzYSN0H2UFCWTAbQAsKKjB2hAEX6YUCp0X
oX6Vq14ZNoNZp9wdewU7eDwSZPfDap6TVO4aFlxFpF3mOQl3Vms/KSEBPuZB9iQySFHb0KATR+Fu
7qtexiIXJWLEWWoO5ZpdV/AaKMZionAvmSvaqAG8idSRGZOdzW2KQTP9kKAjcmXDvriKnZ4gi9pF
grCoc+THqaX3oAlaIt1AXW2eBxfbEeDeSaR2RDInrmqN/si8OSzpniLsX22+EbLtVMzp09X4zUHS
p3H1y98oJuNljffjuc8xgUTM9B1tlxvcIOW1/eI26MyKg082/CZJtnUbVP+u0pXyhDQdPKgJ8Lfb
gNDK1lbIT4tgYRNnVUZyNej3y3RxNq9bQd7CVrHcRQVJRRArPJh4aNjJXlqnuUs6We/8TZXnGkJ1
hpeT8IuzM+9WdhZny6FwHf/V/S6mNEs8XqtEp3YiWZxWWEK0AJE0tYov4tq0XKCa2nqSZS87vlFG
Ft7JoZHEOb6CrCfg9i8HynA/ZyxLSYAixAxxXYR3IDuUKsDBLlNcVMmjAN3lJv4wFnBEkUe7WQ1c
/GMsq49I0a2V1lcQhkuPU4b2WUQWFfnBaEwexAgkzsekz8t5HoIi8IRDI3MWTgSgOph14GwUqzaG
b23sFlIB4ZUKCOydCRclhqoOO3Skw7ibiScUFBBeqSW7w2konm45wrrs2yOcT0F6od8JpBF0bOG5
cTVaDRJ3/Gmwq/4vl7bC3ZsgxZXD8zyeIx2XK+4aKbSQHJdcrC011S9F3esXPUaYL6CIk00jRVL4
t8BP/zwVMSr4e3ij62ArhsvkocqDdrUYnbBYAzbwzsI0e5doSQbqJzkKH/+9NZCkdJBfu/iW3EIe
57bz2WLTq5J+JitGKDpM0Xr7Y6CYrLdnCnwoGE0rdRCNHAepGmDrbyCWMoyjT5J/gBYiQpfBMLv5
8MvrKlzGqFHhCEUgSNAzHekXfiC0agdZaEVXS+Y/2eZfahYqDwKemytNupPp3NwInzg4+Td5ChAD
uGFfA0S8p7QfTJ9sb72ZesRXy39do8Wy0ZsEXbjp5QBlC+nx8lKIQHv6z8TZqNorFX6D02KfZyxj
pfM2pZdEj51pK8PBGdriWKfjQytNvW9adYuHMvkUJygDBornXCzLqy92nZXbbETLMoeIrIUbZ62h
O37NbcN4bAfzCQJn6zOlVg9MzGgfO/r9PyJQtarG0fqcZE2/T6iUgDsgzARX56SI3TSJopzokUak
fgoLMuVLZsA+Cd8tiUwVpiMRTytnCNNi1F2Rz9kMBhjw1g3Oc2vNm9Omd/x1LkGWI4wztA58c/g2
dLZyA9Rvo06WDpqOkGBHH8JOm4rmklz/sGXVvVP80nokR3S1naZ8qCzYTq+eHbh00iTmZUxANwD3
okN+6MOnKkjtlebI2RZhxDE9yWgL72Z0QusOVL967aOsrgYaKz+GVhTCVISaLQlX7aNWF/auAalK
6pqh12ndylRQB+pCg5IaF/ftEGpT3z0pXb+xkZ4KIQJDXs5GyN1bRTmv1+CQXoDQa1UVZcnD6d62
bbTwzrFi7xBSujkpvm2cwe9Fexes+NRlUm4g37Q+QNBRw7hsSvSGpcaGxmiDe5GW7GmhkP2CwgVF
MHEqDmGlFuyR3GCz2MScwHK0VVHYzdpFKPq+ixT11vJLtKBlxVknu/6mQ0OSvf1PGG2rFOqtg6Ra
mBbIrDSEwZtYuIH1YwH+4CD457wMxWTHHy4LYd0QTMx2eoPKzgDVPKr1rSlvhD8oXCCRvvXjHced
GMZjmGyToUSBdYGDCPCHA6PeGox3sxVDcZhjhsbPJmjg19qs9JZEDmAS31TX7gTfiAvA0iF7aEFQ
Kg7pxzh15fvFYABdGYpWIqMBHapgPIXgYVz7rjzM8/SJExWgo7lT/bahp4ahsCV6XJwjS3oSJjGV
fsMviR5CS5R4oMZ9W3rpoKHfjUNT7cSwUcFZFy0MDGJoV8oHLXGDezFyHiFc1l8it2juE6V5Ko1G
egmr3jmJ9SBLga3Mh1Q/6h7GqpW/TSdZ5s0n/X9Y/kuM11X1p4Ac2mh7cPCHxYsJAHCr0S5/iY0u
vdhRAD4MMNaHyva/dQ40/hq9yzCBF381KWXxUXM9ZI1a2gm9UT24VQMDcCZVax1u5q85n2y/iJq/
g9L9Utppc9MaUNeDzSY8tNXkq0vHN+JOmnEnmeyi5MACNIIQ4FfZMz+44OdhuGrho7An8Z0yTr8O
gb7pgZJ9NKkuHgwwsvsCtofPunEvFiwl2drqY9odYevuP4Q+zW3TA+Wy5sF+UjZoIBb9g+kAyXag
iHqOvP5Ym5p58H2zWg1xz1a2akD7NJK+FW+n+EyId5dN9y4NG/06v9fTZ8UIugaivF49LLbSj7yt
PlCFl8Vy5a/ljXGk0OMGx1l/aKk1hh1dXvao7EXlcLHPZcbJ2w0kWoXXa/Q7YFfZpvLk/DrEfr8N
40x/tjLk/GQ19L4nZBj5QdJ/jFV87+VO81lTdXmdcvP0QK0C5DNfkVNj6tE60hT1TjfcZOW3uv3s
ge7Zhs6YXJIiCS6Q3UhbW7bU58wuqAIXhfW3t4HGKPkA28nNmZKG7pRNHGt4qwKSi1u7jskhunai
zB4Y1RlbIrKZyFCmoGUieaKWXspC30+0PktpbnDM6Fj3Ml1LlN2WWls+5pSyljjhWWLEEAHYn8W8
pcInPCkFuRWAh89dX3trAb4QMIyEr9BmsFOf76hBd12a5eiFwzx3EjECzVFEMhhNM7oXpj6oqutA
Ug7FPAsxFa43By4/HnoQebSXdKW4pZmctt+lUFK/aInabpFU9OnGGrR7ccjp27yqSbovoZCbTcIe
W8Op4A7vEkxs2sJk6ggpoz0Bddk0XTgKJ6r3Ykl+yhAPoQ/N613LXuV2tyUjXl8huEruh4nXvxvc
ateSa103QZ/cL47fY4VT1gAHuoizrEWY0qa0K0rReIFkceoZMb9nE3tOJ+k5pHJSu0/9tj1qVV/c
RzZJ9xjmwUfZUp7arnROpVOp6coqHJoaqt5yt3It/zwVAbNVBMyxNclQCqRhuxFGEVS4bmmskQLP
jjG0L7UfAd9TCsO95PYTfVXOFXU059p7aOVutIlcdVC46KdWjlpE2RfdYdSKTyLQoTgNBGNaoC/t
s1fWAcJ7U1w8dMHW0HiRRMxIIyXXr7Q/SUYq70paWqeblO5z2gZwg4bJtx46LDjB0+Tegg8CPVJP
3MbMEQI8Z1rK24gcTPBKAwbvW23wKbD0ZmLUdq5I93YvtgMnA2Yu9HCHK/Db2bUTfHJbY9gUTt8c
hddQtSOfreKpiRv5vtHDT1kWBJ9Q6VL2uWXTum0gxPhKyKgE586qvLuyUKOLXfb2Rmcn/LUFaycI
mSRa3dgV+/R58vuxFdp4ZRMA1w2tG/80ukqh97HpwMIqUweybETvfLVUW7f/Ng9tjm6ncC+OAqCV
3Xzdu6u9wCZ/12c3U02ym7CLs9+dXuL4wIKmkMkBbY59rKdZy9SuSpRD38efrRQmmk7JoXMHHeFM
mAhfC5G1ms4gTaUzr/KdzTuHCA66rNkjhRStlhnLKtP/d4mSvxcLH4hWIckcP45lnR9hUMs2eelm
R5QbIcmMovHOr1J1P1Z5eM6Htj5Hct7se3TB4TyEBFfmP/kgh0hs20Pbfc3D9IoMyUQn+1IgruGt
SiO6y1PZ+4ownboyQcA/tzr9LWCT2ROXq1Z1lbv5UMnqHbpyw0ZSG33zzhGBAKelgnxKIDmaSXPZ
FG2HW60DvzfbvNbVLjYsrDCcqneWPCJTEEllcBCPJIyDlnwDj5OvAU8DQZOCqLm5PK861W+zKXZt
CDmqON+EgTcix8IQQvgBsmh44Lg9jgfgYROYRlHdb0DBVX7rp1GXsZtbLnhISXzTIrBMwiQmLBfC
UI8/2l5U7EXa3tfUH4GC2LAYkQDkvlicLof35FphWr1W7qz6sZxogAykJ7M4ML8mpkzWQzK6B922
jf0Au+rRHBvrBgC2Yg9ol5+6WnpAHcpFKtvVjx5gqLTq2m8S3NnTBqh4Vh0EEFtEqC6y06on5KXo
MInd+oEkO2wMkCZ+9pIUWkBd+xGiAgD59mNc9uq1E/ITbaCs3g2rwk/3jqwmZBQgVA9Jzx/q6Sdd
/C6HkyhlpegfxA/88rO+xArHEgvb0wcxWuwiNgrQkbQDtJeuigt9EuwA6NIk/ri2CtqoxNBSxuBS
Wd7fYjTQBfZE9/pjHcrDtXXT9kkzknBv0R4OszzO1kz7x9CbfTa9UOsRyOdeijXzDmGwzcKP61YG
HZOD6ayp8csxfSGTol8ZyaeiL+vHsX0ZDL++RaMH2bDuBgfStugU+yqgucm2OExueFZlUb7a6ums
SLXg4KP4vVqCuVjYbtRfBHSpyQwTFR/vy4x4egdnEsCmavR453x3xj8NAj9FAmLL/WS6ElV3yYwk
ujHHaDVkqQUT73MOMOHJoK737HXImDpjKJ9FaK9HDs0KkjK1+6hbpGKNrXhTTLl9scyxPYmROACA
UQ6uyX+1vMWDtHOqwYNBwODqcXwDSASHShetAphrRi36EcxZK22CKQoso2L1VngkQ2khxNGNp0JP
5LUNGeQeXgi0gywYhROl7O/p6K4f5VwPTrXl8a2KZIbOoN/lLmwYQQ3gagHGiW/qKL7HRl0VO6ob
HfIlv77X8+2rcImZhgJldWTQKjgVjeWx+dEbdXcRFWJoa8ttaOvZXGAuoyw6015LU9ZUby4zyK8U
95zFZvRACWjToIYGKsiK3U2S+kCWfmFjF5RsPDz2mWpcBWSWxJK/bwXPGLeymkIzVzxJkohm3+Si
uvX4JAxSLEfrxq6guZ38bhBwfzOFq7A70fI+FaKny5I1HYraTuG43MZRb1z1IeOaJUziEKPhPNnF
wEPHeYYOlA7fptwbzsthbHMax0KtP2dlkxW0DjI2uxLS7jw7iThhWmaIM6eXqSTlt67SgnNj+QU4
UMjHGxBTSMKk/ic/Tb4ADut4nV/bp3SrfOz1pPvs21MHnutFj305DLtW8SGXr5vgXDvtoS50fYXI
OWRD0yGmaeYmtZa7K4NcmR3CJryZYQ+3BuWhAE3mjTDVjkFmjEr8PtOd9EBrEBJbRlU+ZK6O0nFH
3XounYhxVOY/x2HZpScxtgoQVOtkihfjaupSKvQWpZHKK3aDTAlFN1r3c2XnkHnCxxjG7cmhgvCl
ryZeEuiy7/tsVNCxQ1BZ0sfg/vdJ/cT8OE1KyOl9GadJzj9M6mHnRiohrGEmJQNeqpJ6I1O3LnL0
T2Q1JW0fsomEhMG70rjEnnA6NE4MYNv0osNi84AnQlhUdhthEwsYtGgdW4Ou7mLaTwqbkk4SoxZF
hAoJBRppOYgzcfASDclGs+CKocivDqX3ZOAMP4fkFCfm4W5SemGucIiQZZXcSOJVrQPsXGzvVsmr
DmKRvKbP/+fCyyKW19m00V4Wi1hnea5FKUXHQBvv39mjjs3/mIfhsZjeUd2cQCn0uszvt+32b4ca
m5muK5ubiG3Uvwetix8AJbannAbY1ayX6Zpw1gV6a9E7id6mqfblvSb161n/sqOncNfplbVZBDRp
5TpBlJjf2EzLj+xljloWG8cZIiHAEzMCo9hkUBHNyIqyK0kVOMphVAI4phJHWYVKrSIlWw+35TB2
2nDLrG3hZMFNhAqfMI9ghfZhQbPIEh8gfagCOGe5wEnAx0zzF7dYofd3YrnFLM4ypXy73LsHW5YE
lX/PdyI8zZWl0HasoxRoj++qU6IWBRj0MRYBU3VrKU81kS5tPd9J1ks5a/HO1aplLEpjwRStNa60
FQ8kvFa5hvTbvZdM9y8z7pTTXGub6EcpgX8TJlHSE4fJVFcIMM0VOgg05uEC6KZtWLKU+8RLvbtR
svwPesfulEq/dQ6ULPgQlQg7a3TIHIXXCsdi64WlvhNDlNmp/fSKsRHBykghW7LKbC28HQ1kQLD4
uHrTUm3ZSeAuDMrJjAo/Vp5y44twzYuhqOKMXHPEqNCrR/GsYgU0OwnKjz2fLpp4Cv+7rnUyaI1p
iIZtcJlPkWfiFObCiziDizK4QAZSk8cGMJkZfym+Zp5oJ349aNPQGJsiBYCLUXYkE6pXO38dd6VX
/uepCJ1niQX+cbw8kohRgKasoX1uSUL8fAqWeGAxtqxBRgqyXNWS612iipq1o/f+ZRkGky0fh4hm
QLW/b5XO3r8LoegYV6s5Riwh5li9FqLGgjTItLSYIpzvlha2xSHiyBT9FWm2tlvsOcnaan6WedKO
O1tJ4BAFSXMKEUI8ibN/Gv4vtncr//el/D89jbjy3Wi1PMH/vkyUdFxP/inmj8/GUXO6TofhXsya
H25ehjaA3x76re+flnv/VN/Gv/GJqfMjvLGKR58fERUxOnuF4T+e079/3LePLpYRU6uoQc9gWXvx
LLb3z+rtSv/D4ycxoIf3b9Cb8ZuHfXMqntY/j0t15PfKcgu2pEF6yqeDOOsMI3k//KcQETfhyU7i
7I9zl5Al7t2j/XGpfzH33VLLM10e7Y/Lv5v7Lx7t/32pP74ujSQ9QNAN6fn00v/x2S6O//nZSqip
RHQq/PZO/4t/+o+vKep+ZMD+7WuyLLO8Jv809//z9fjjUn98tH98PZZnubzyf1z6jyGL493LvSxl
wkkWRB6kLg2yd/Zq4AbiNrB7XhtdhfYouHIF2CFGf0LHtA3t9lGWOFsRKGyLt2tDeh0m7+KYVwDJ
ikczQNxOy0DW/LqgGHow9ayh2kNNYsxRrKjKTaH18lXy0v4SZZ4E/YQ1fLYpcNdpoH5wEBgGPidr
d+10cALTvoSxBfM9I3EIaGNn058M+9QLJ1alSjLnGd4AmC3SG2WOFoFiCjkIqpJZfloWMKXOu4PK
+d26jjbCoBajA+r2jvdSVYq5SruxORed5r9QAi6oJ6fmJewL/8W0h2+wNaMpNI3SEDIH2g7vxAgc
PMyBNBSJUa6NZKDgDBKrevGT3DnBKoOfYJeXxSQ0BRnW6c2p7nqluu6BD71a2+VUxJL+qCCTCyGM
CcAVAg434GmGZWJjm660dz95dqO9JIg5UxfKn1o58j72tW2ffD9EB77UIDJy2V5rfVLvhLfK+3Yd
RJJyEl61Dz70FNTuTdcEf0FRU5nKoRkUr6sEdPtXGtu+Qb6kPPpyCIu6H0xaCGn31Ur7NaWJYJ+U
aGC5Wt/dWTDY3iHCcAraVD87cq4GW02CWgCqmdsSkUMMc6uUr8JiEmBC59w657pGEHVaJ28nHmFS
3QckPZwrickXFxgEqlJy9+xCDCRlwbNF5gGRuwvJBmunI3p+Zzo62L0aHr2RhIzlZ+YHhM5UyBq7
BIFAhqZJOhqaKEBF07DwbXcP7FzdQC1vfDANZDIRaHFfvfBK7kcvSmkKIljr4dFNQOFuRXA60CsD
hZLx6h3GYhe2fbATwelI+4ACQ8tOBOu6rm1hMVBnLzDUZqs4rQclrMzKshJvYyhA9iI4ywpnow+y
shf/gkZSCz0lyTuIlWPVqTZsm6uDmKtrYLOz1tAOpoRql1H4ZPx5uug2teklJ5/w0TFRbbHZZo5p
JD05koFE4mT29fwa6j0123EMP2pdFRyMqIi3wuvLSM1LsM8fhRcKve9027g3Pcu7q1O7N7ntw41l
Ky4C4FL53NCsebC1DuKdaZhptXJLE/te6ofyWWvK6rkdkrUXZtFjWEovOlCzM21q417Pomzd1nqP
El2HLHmbdqfIMVMkx5JvcAFGjzUw8X0ygedjNadrLxi6cAfGH54Vx1A+thHcSKOalBcxbDQd2QYu
ifqkoeMO2XNGL2luAfDOKyl7NuQIxlBIEE5xRGcW3xd3V2S9CfRPuw1xqcNFpOoPGhjfY2tCriRs
Pi3GD5bstbvCg6Nb2MQhS+CjqiOHhNA0V8SpBVl5iuMxRLYsJRxq6dxVbStfAif0J4Wzx1HroLZQ
6LqIrJPaBHycXbMnuexkHC3Y/s/iIFwBX915WMvJ16FClswHmBSMiCcaYeE/AdFm92dVzUvcZ5Q+
EL38kjXZZ2iWIOoZDBR4qqze1p4+7KgsFHTNnJaDGlUV+tWTsXarV49LnnoVNfDH9VpW3rz2e+O3
0RVV98996SR7s4Q5bQxcHQSouvk/xr5sOVJYW/aLiAAkpteCGu2yqzx29wth9wBiEiDmrz/Jorfx
9ulz474QmqAokIS0Vq7MGDQ8hmveQvBxuiTWEIjWzg7ZqOq9I5voiq2/5ZtayS8y0+8KxJ0GMXDZ
+y6zTzVXCLMFTsJnqZoOrStPGW+cq11bzlVLAWc2J9h9qcyQHFSYmHI2Kh6Tq2E4+wQ8g+ccD3jo
s/AIDkkNdHg41Dyq9poT5RuwKGhnx7K73ZC0agPUVdOAbxsxKktSSniZy65Ltw2YQW7bOdqFUtTG
hY142+hF6ncx7EkGQA9Fz+/zQugXKoGJYRY0iR2g4dCAKmpPH0BCCHZpKuOOkcI9V0C8YvaID/xn
AVnIu1X23m6gKyaAeQmojA5F4RUX5jxDVz29d+HGuhTMLyAS/uSm/CkBHcJdlTX1cz/DQC0EpJ01
FdXP4NJDpDdigEAZhM15KCN59YxaXrHt2I+JZp9dUBoACwA6RQy6h5kA8qF0JjNwSl0L4tkbOJVD
cUwjYDB4LNqZ7ncDKGG9DWvX9t0o6m/cJjll1eBeW9cbEC0Rm9tQiex7p6Xfmkrrr/FY41GCuBRe
0DrfGJoGj1HBRjBSjm+8D9u9BbDMA3zAMdeDLprs365mXyDfA/qNfPYY1gw09iYfjpkLEwRvkuKR
yoDtOndmBTbEEt/ALJXFgYlqutVHje/hFkm8GFiO3GKXtpYyADeieHFUrzZQqlNA7qhz5/RsU7tm
D0fI6NzSQVfQCFyzlOLSyQ+wSj8WVQsadCrrrNnxZ7MhyJjl7EaokvkIqB5vRxda35FnQhHSMbJv
0GTyvVQrfBDaOoe0so1naI8lQc9AqBFxzbqGmeZDJGo6dfb8hGqowW0rLcs3Wps8j/FspYZ716yH
4Y81Nm/Mbs1XGXnA2zWZOIC2pdjZAAzbwz2kUIf7GOuvI2+aAYLqsRHIMmW+Dfb6M8vr8DQqENZP
5i2IfEGG4paPQufbTlPALYz2D96x7NaaYKkMI8gOObIszgOCFLd910+vWgM5B2OPL4mpbYqCeRcn
SK3BvlAaUbHepbKMi9QGGzha5KKwRpuEexsgivl+LRtrp9xGhjICOosqjGTSD4MBdsu1DAx5ZYCw
x++ljp1yCWDWc5hlvzPRGr8tr95MslVwf/beBqEoxUMrQHI6eDq03k1Y4mSnIYQv9aCkWhTfC4h3
ll7CLx28IRc3c36PrlF8b1oj2pq864+87uA9KBtMZ6FEQG9XPDSOxZ/q1gW2Cug3p3ObuwbLCpBu
A01n9QLx5mkjA6otQqiZx1Nl7rW+yc5mNVibDtBNxUGxaXcnw2jUJQOB0NMkEbVpC2sANslxD3Ff
RVsXiJBg0Bv7fgCP5F6fEgmVYs+GShuCjJpBHYxeyb1TyfwaI7QQZG5F9DOP7FNVdO1rmtWw5eW8
P+pFPj64PaZHaqGL8WpFvfesxw1EXxBUdBBGGT2BGvg980Cr5+TdeAfJ+WSbqTa5MSxlXxvXwWoT
JHbvuep/e7x3HjpowmA1CRLyWrert6LcOVBI2xhQMnxi/XiOvN74ZliFEYwTs87o9fIG1EnFzi0E
gPMxKPMiCamrUg5+rpz0vUBIz8ysoC5uAjYOZ6hvyqyRMOYn7a7sDPVgx6wE2VTjfB9j+zKpGIEC
uX027Dz5M1nqHZFf5uvkuFHQw/VzSUzozztK0/dgbAOBhgBPYwzni9amCGZnBuBnrL4Da3n5p2Mz
Pb0OCrXRAktVmT8aem3/tlJr6zjMeJNeX/lQjMqvup0kB91yqmMpzWzblm3qNyE6qtla/DBHIF1E
3TK/MQoFKakB4AiA07DkA0NtVn/HuxSBiLwGGth1fWw7XA1YQwQJ1FaFQX9NQTH2hOhHB/QHAoRw
VSO3Brgg7k05hmDzl+5tVCDOMcebOxUIjMeEWwFl2kcXcFcDrm5gt5RA3fq+Sq1x5wnQx0ehXe+r
sI7OjlnmBwi8ezeeTJOjHcfuqSrFH9sGbYw+aLcz1hVsCiaI38vqSDkqp0M/t1ibtbH9lqas269F
a7M46tqtlw74yCrHesrNwq+mvH8o5hy0J99YbI7n3mohZBWbtc8AAztS1h31G7jz3ieT53fQdisv
0ECJ/FaqfE/ZTGvLS2YC32pzmNjnFlRElfDoAzOotSFACVkFjDEIiQoRdUE19s0mVcy97UXXP3f8
cWgT9QcBeD4+SACTiO+GdImFC/QR8OBdpqR5L3oD2CiP/WrBnu3kDbiuE+s+V+NF9rF3ivo7C4H5
vp7YD9KNIC4Iv6DrdxCXn2FvwCvnc+mSxKdi9PNoKnfQOm2PFgO8QA5u9WI6HngvGJC5lPWGotsO
Cnvm2HSGjYNVxdVEkMXVRWDdpjOs8biWySl9bwfHOU1j2F+pPOXx1bJriegMfKT9fnAOGRgGz1QJ
7d1foOvNAa0tQDzfq+4lAzHIaQDToQ+FY4UdfPLcdxlU2sPxOXRkEbix+kHQSDCcGSBr0iAjQXk6
AKCGwjKO9mXMIEqPJlROWEvINrpHw2vPld7GN0wDWlsLMfdiVTNsLLPr75yy0B7C0b7HmM6/yxbM
v5C7Adxlznqttw2xKpX8VrNzgdVUMozHSUQPkLIobmPvt8yT5KZLeHE7WPXFSEp1LiLDgcapgVh1
Q3/Way+7b2X9VNqgDOnd8jL15bfOGY2ztKRxRvCrtU00rfbbKE6uYcoeyko3bvo5R4dkzPD/3O5E
cCsXcmaQ4p5xXGXWnizDhCCtJRG3kDl4n5AkdiyM+CbtLzVk69+N0hWbCMIf90XYfmsFs3dj0Q7o
Axl/HTMFPcXRuwktUWyrKjxxng6HFDuHG2lZzl41EJAbUtgCHPiPytx1gqjLD17jXRMpvT+A+HS6
hZDDqEfMBYIrfw4uw84aMKBXG5GAfgcf097G7wAZAk5cI+TtOy/sV60GRReo9jdFKUGVG0EvxDTa
6c0J9XuFCfLB9UJQS1n4wm7A7guI51hFficnxO5KGBVnpomt5toKEI0RSnRMr28iGcItKirv28Sg
iGvuCim6P1rXbwvsP6ONJt94do84beuGDv0g7BvoVGMiSqrr0IPCfGr62DcRXfIzzVmQhqP5PbLL
sw2eeey9QHSPmP9wP2Wu/QoYDAKwu/rNLh3s1A1I5lbtyB7Gqn5H4Gh4wFrOOMRSbbKwE7+gcNFv
OlFGO2EKPM+26h6Hof6RiRogUiAtH8PJ1MA/BelfzDVHxMSEB2hNyTsIsZZb4GJAIaaSC9Mr8AOY
8fjKckAUPaa8721V/2qA+3nPk+4qJgdxTFVu3ukC8jVeJbS7zm5yULFlv2TaWN+ZEDU226F3SqEj
cHHi+MkFJzEU+oyXOraNe8D7XihX9ZXC4iNrNqUpZ49ifb9iiYQOMlShimQ35lg16yPUqfJYfyr5
4G504TU3LcQ7gqYILajUyHBXKIRwSAjZBWD8Gnazm/YoZxen92uAdPIVrJehxZw7GdneJoUta+cV
DhYtmKrV/Vpozdkwbu0AbtFyY4PSD/JjYNFD4BTUp1tQ93aAr+lV/wPIUfsNmIslMZd8VElnsv67
jZ4O9puDxuCjGXxoNhR3gznEG4w3CeyI7Vzyiv/s27D6rutJvI1MNRxJygpB+nYNJrMN72Ie4C/A
wsOAjoLQdRceY0gT3NcDAoRA3he/x9gVyrHynm3PrhD2zvN9JVzvNfcQca9q8Q4DGvehq9Wda0Ru
1HVAjMNEQ0wpYiHWWG/fFvLlS/HaFIsnHxxpoLjvxMaLZz0PM4KJphvVdphFy93cEeiaWXYcUz2/
mHlVXFJhQW03rd6oBXa4c+h77AKtiPDEYhexCPEZEA66hJVpwHg5Vfu48MbHsKohXT/Tlg1QFTTz
Ub5joYkgUVjP+0m+jh4MXJ4jYHdzovI1NfMkCKOSH6mW6+2LphpsP0WWvGT9lUpDs6ruUhccw2Er
gfsA5UZz9Bqg1hBFWwRdzhCcMnNoIgyD/wSqEwtBvNJRw4dLC7VsjxuVD3SoGd+PXWLcUa4whdpB
QvqQxZAD8ywbXRHiez/M6KBpcfM2WSbgZ8wwjlYcek9l2t2D7Lx5A3pt8BHc0p/dMXJupzEXQeQ2
6XdHRjsCNpsGYqwMAIWg4sccjC7Q0/53i8lCF+2FtE4IPnw2NWHeIHaSBZKp+D3TXhEQ0P9gXGhb
BKDaR9A7FttatNamRvgkNmuF5XeQsX6UoEG8jqCF5VpjPbZOgyU9U29MWgAEmnW1zbUCQc74l5uR
IdCnzPQSawEXfF0U5KtStatUfDLAkHA3eZ56Ke34BpCU4YqtevOS8/siKqpnB0bOR4wwBFWg1DbT
8H4Kx8eywFOI7KwLzGioIDqv5+WmMTS579zKuoE2c4H4T0hAIRrlgQ6GB6oKlYAmC2vDLvVdhGoG
UTVkO3uCOCa1qXoXuEYdPF/zaf1otJf5InEH+XZoWEKC4SMey9IBiJzcNsIjQowWHYCqS05h6n1f
JDla+16TiUQ4coxHrlniVaQhpDJA2PpKZYUJTesvKaotpP25nSYR5yPdYmOO2jdBqo2s5jea1yf3
gGNasF2myTZGJMWOzaQFU5/E57ktEBqJX5p9urMo2mNds1BwiJNhASYUd32q0HQTpgIs5bQhADqv
e6CUA8vukvI+Uv+qBWPy2aEh0kU6lo7OxgY34a+8gNFOD1P7Ebzd+X4ssYErbQ7F2wmkGM4k5Pvc
FhHnHPvCWaFDQwgMazkw5owBcd3a0z3oh3vMq2A16i3QWPG5ov7vCjrDFPp90iUvsdMAVCQS9izA
HbanrMpN8xn7HXNfSXjTES8YTFCvPmnA0F60Ji59WRrJr+y3VTL+00L0BNTkse1oJmGeBJB5O9dh
+kuYTg9aBLomFvbPxYTpQjW8A69Lq7Zh7j6LSndKREjGkDTXdJaeiyKJ71hWqnu8m/ao1dGPTg+R
o6L5EGGrcBSu+EFFeVyVh5hDXQD9EgMzKn9CrkCcU0PwG7OQLWyVl95uh7OgUFuEpA1naN4gD/TI
CUS+do7Bto8hnAUiN9jSa0TU+kaDDeIOk8d0GoGW7OaAEWGCBJqXXvXoGKLbmxEUgnIE71+SGVTn
jggv6rWxAGkBJm+ECZrPpdk5QV9wY09KaCMoiwPdgS43aZ1R7TA31ufG9dxYKUDkzXQQ954M1UVF
5mFwFIhOZsbTfAihBZtlV1GDzhQ9dtasqpwTVQL1DDiugueAapveK06TKsGyNZ/qdfDigKHWV2HH
nvNOy3ZNpjIoduCtg3gx301RXW6llW2gkon5ymutG8RaQiFzztIcpmvRDlzc/YWK8qhTQRq76KTO
zD0jERqkG4m66h0P8LEz71YmvbkoijJ2Vzpef0mj1NdtRJbCVFM8DVirXRMG6VtCHbMsfNEaVz/z
GXfM0QGDUrF4T9nBFumJTtUGMM8ViK7dxIgggrV4Sm91xsEuvOZz1kwB8DigP5ir1wrB8hIBI6DR
1h1odagkGW8sGNCeLQOTMDiRYbtgOQRQ4fAsnTL+NUV/DEdqvzMED7JCg0Rc0wATy6L6zEYR3WQO
kFiWisvHXKZwkk529Ev1fxpVgvfuP+fwfMq30PSuz3ot2VGk1y706iu2daUPXRi1X2Z6yhseEHHN
XO1xZ8CyZBoCpsY80LktdoRApQOcdqBXUvrfMsKWUrseqKvdNL8OahdKbC1NpiwMMPhOfU0DFrQI
G/kUceBPKSU+Umut1sMrwRMdplXE0jV9696XlvSweoq694w7MCYo8yVpED81tUJiCW3Xz20dwuSO
BoMDIT1wBEbXIe0lLEPQxRstwfDZ21EDHpojmOEK7cSdp3GW1UYUOBwc7Agtw3zJUDF8E8mBSQ4n
09xqbdpw7m4SUWZ7qgBPPlT7MuhilsyBeIj2QOtVetB4ne4N6xCWOj9XKqcioZyH5dFT1kILquSz
JLgXNs5NiKiGlDm3tBYSHo9PoWd4PmVNR8mtApHBgRZBbICGNB8RA0q1bvsn55HxbFTedBlb6zHP
tO5YeAKR31kP1jFEFUhY26EZHH6k8kaH46VmN1ROh7UZZfMkBQGSKip/rQAlZLZnYso2RIQbtWF3
hoNzswiiUhlx4uJbKeD/BtUxla0Vbgxjmw3EvL+WwWirH/skeZPg9TS8jd6497yBdYWg6IRQJ8C6
QKDeCXqRd1RElVROqR6hFaDvQRjIJ/rnjzOoSW7KmG3W1tXcmq7FumJXz+FrxLs4hFl1YqCLXikd
qTwlfS5wrwH/jWg24D4BlIVx9xf4Bab9AI3Wfcuj4ZW3034xSwJy7kcitc5FW/M7h7VAtZcGdIyc
6HYCiuxFj6fk4E0IDOSdt8MCSb8RrXQPxdjrN1oX/a8UttDu4V/tIiu6behbPYJqarhi8Q3OHnmr
SfAh0YLEmf0SoTWGR1qQ2KLkhyg0lE+1veaAfc4b7iG+5YLLDN8KLCcRFD9n6dOBEMIWe0xk6cMy
FEnnKwWZBZbFYg5BAfxfg+wyuNySW/oJS+jaLvMwt1At86rsIvR8z8uI31twhi0MqCM/x40ybv8S
oCKrAeNwS5VmBgrwERxre1gK1EPrNQiuyrwYbGrIgsGpeZDpFY69+koladPM33Ow21OdlucgqvVs
UM1lUAXO+HcFH77cdua8CXHz6EhB/4U9aTtDFC0iUuEgcdIQTOINZ69SxGBBE91TpTMEmFvdaxNW
7NXpZ4LBjCXbqEWrum5aWBR7Vr0vn3SY1nVQHIg2vC7FBWP3eWWOPypsU4Mw96qbqYX8dVwlF11a
N9VfHtds5i+wJq+4M8JW21fOaO8SOIF/uNCB7KExbQ8l2+Xj7aJumHRQh2lBbJbUuXXrIUI1kEni
PUsO1qMWNwCF8CciVoJSFHwhPFlycx3lTKthzx8tiWRpzf2nzjQsDokYkAiRAhMb7cEfcghpVtyG
AGUrnbu2BqnVzDROhx6r1b8tEMEJiUrw/7SKLy3opPUadIKjgb7n4xpjytllMOE9NBAugICh9KQl
hvFUCzVtQ20odjCAGGCLGKsjoCHKp1q7HNK7rguf4xRtdegjPhnOlqqoeVOX93rnZPdLawPcNAxc
zSc99KN45iWC3uKmcYbs4JB9obIQGmu0utpZcwAemw/VzGbdx+5wgwWVT7lqprBeUnMlNYMdb7hB
EP3fFnN5Wol2IwpI4Y6idP0qrsBGr0Nqr3MAGBjd+g20ctPZigr9MPbeUztm+pmKHEQrDIEVJx6o
9hIL882I0JWqmw0G5RXqMCNCFUtdz880AKZRardYYV2p/1MRGN/AXWrC77MOmn+cBLfIMoaolQfJ
y22oD83WLGCa9f9fJ8ThpB7WX1l/+eMkJ5XdQVWYgLq8KE8ckaAnZXflibJMNyE5XQjlw53AIdY8
YIGoxmJro+cFFtTTtmUMJhEYan2J8Mp822MEbhzFuoM5DKYDY6SY7jTv95JjfMxv3b476jDC7SIz
x+3PX3T6etPH3xJGvqnyGg/7o2Lo+/auw4RBLXgGAiVhe8muhW/rMgxDtENnM/xJh1ejHvP4QhUj
sy5QaRU3xuiJO5nD796N4uKqRDt6OggRBcPyeJjLFLz5hpd7fgcGHr8ylXRP4FaA7y2XzS7SwScb
JCzUz/kcQiJkcuNgEQEqB1ZsrAh79SDTK3ardND+Ilot7CDG13+XmJpuOYKPAzvK4D8uQeADH4ID
C25a3dFBgwDlkmoac+9EiDE0R3fwEYld342FBYtKHCJERpQginSwnQsQvFXfNRE0cxCMBBLrTpuC
eKirR1NVkHkO9fJZM1niR5zXr9LCThAL3eacZiL24wbCDAlgb4B+tOjIfITkuwt6TxiO4EwKf4wQ
DAp6bpQvWgk1hUr9DK1wurCG63sXRBk7QNrcjTvx9px6zmNqI4BYDWW5L2AiCgqV+nEkR8RM4pDm
xrDTBUTPqQzCU8NDHg5PmUx0+KQgs1ohEFdoCbCGelOre6ztyyhxii3kH9qtcLU0qDSG3WYokuUQ
195ucLrwdgyhfW550OfSwaJ+okMGADH4OnN5jhD3F+htPoCJx/JeKphCNkZa52czKsKXxMj3IFqN
ENmIKTj04oBaRRyWlQ7RjhsmIf4YGYM8dnKUSy1HwA5UmJIBywdco04Nd+P0Q7XJzcz0HSMvThHI
6k/gm/qbWsuoIpFzcDZVOyagdMAwoTkdqOV64lq2NqEUqPULQBKdcdua3Y+RDTZMbQJXkZX930l4
oXArrgC6dprR05SnppSiMm1sEOj7jJDjZm96ojx51dAd7aZ8YqFn7tbbF2k8+PUIXqpGAoQ4aDfc
nCW+AF849TPQn81QcHuyfknDLgHeiK2NZ0Waj8mimWeM5lQpF0a+NZ8oG5QURZEfe0AdYOaFgmCt
w4dN4QF00X4yE/XNmC8NTxy8xg0wKKfSGO8UPPqAl1bbmsctSNfa5OAkWNclEtgP35oKxAzYUYnI
X0gLFMsboUdHj5gOS6OwMfFKljQVU/u1KfaF9mHQoBqWdkV+UDNOeTSsPD/QA5SYWhuEVeIF9C2c
vhA1nR87OCIKqFoVrLqM7NyLFj6CuXx9/PQyqWx5RWv1WrOWUWo90HtZs1/atULHO29iOzxw0DJA
wwLufLzgtZlGvYLyLVBF43LTGZCfow/PTgVWmqwDhhV3vB7We6eyqG3dvydSnp7M2ppSX075kv30
x9fzjK7GzUOOEDvXdHhKOHOnLfWAxjGzye8Q1x+AVgNWqMYasi29Lhi7i9P6otcsla1vdM1qWglA
2vrCqebreZ7rBUWJkCkRmRK4Gr3U4WJtJOg/cKjho0N/zjU1+VSAmaj5m+Q5oM1QZnkaO5gFB3my
MHefarjv0TnnJB2gPFt9zucClNBtAzpSej/r4/o0zJfk8nSL2t52Xrh1zJ+ji8V+F+GrPR+S+Xmw
+Xf+lf1XGZ1BFXTamqUyWMT+Xkrv4RzWtf5Pl3q3y0ilMUmHdp4IKOVQ0A7laSD/q82/ykAlgdey
1nz9Baqhyy6/MObABtZV4gNpByvQ/LfXd0qDmF7sl7I1S6kvp/2r7P+81Hr5L6fFnlPBZBN1GzHP
kUKH5uTf5Jzv5h5Ec+anmhKb6gzcFqga8xxJOpXyy0XoSh+nj4BbQM3to5BSZldNe9VmB7p4BcbQ
YGJbDXSXy3imYUpT1/pR+FK2juS13b/KpDFHblBXpIbrZahsza6XoS69Zim1jPi18MtPrZf51y91
hgnGwOg5Yw3YmOev6TL7fU3SuZ8Kly/x11Jq8KkVJddGsai6aZnIe5pjP/0Wtfp6Vay8imMX/lwn
DWsGha3ZdJ5YaHahMspS6v+3HZ1Lp6U8C6bEVIdlWl1vfZnW6f7+V5Leh6CZnJIRoE4A8LytD4I+
NdS3WwPKP6xD8LseRejMNIVlcKg1NzRJUD4HbHEGUH5McRWURtrmeZ1a6Vr/nG7nD/U60KjJl3br
GKOKJPI0+LdHffnIfxnHX84Ncw1WLP203Lxd/BxLXR7nxfvkgzwEjHY9HBfmlO04DC1IQ8X+P4u1
T8uDmBYYdCPrge7aiRKoirOtDefGjh7GOvNT9kuZSU8R6DVanKk41rc0ZgtKuoBHHzisX3tt4D9G
ANsnn1ZbUBHSEO43j3pqHnrtUx+DVVUo99MadLl7eo+qM7S/S82MFqDLO6UFKCWXzry+aQVZXi1s
7QN1GpD1ZYE2FSPIQz+eCP3j5VVS4af8x2sEno/V03BcO9PSxz7WvHR5+tm1t1KKyqj2X1kq+9el
MlNx0KYEfN7b081R0yaV3yKgYbFnqIJlumUVdnggFvCA4sUWLu3GDehTfrfz6o5mIkpBNeJzVsZ5
vrVz40/EzOqUtrBCAplXnUIwah5CAUvDuatcsO/E8MEY2gTOhK46fPqkYVWMr9v6laRP4yCTdPJ7
KRHkCj/CBuiDn+uDoRQdlAX0PyuanTLv2wTR++s3WgOQeQek4h011AbLCKDbi30Qwqlx6fmrnAFV
eFAIdQIjF7DGEEoQwn6olIdQ8qHa05wz1RmWMhIR5NsOj4x6L41sz2rxMZpsG/v8NvqugbUOEpxl
vmmVsgJqYihw+4MGER/g5cBr/H4zGAE9STpgLQTuDOdId0lvZpmqRgjkgjXPfaSyKhHeBiaWi22N
v2JE1Rxx3pcXk/VaDp/4LxrimYy3RtI1uBHP1wfzRMOk9tpD2sJENE3DDRZKOaxyJtQ35Tu+GOkW
5kawyc+ve70/DbjnLUgu3qCH9Axwh7ZVkIyY/AYyFMdEh7kOmmDZBlS23wfPY1tLjdUJCz2+RQf4
Rjf/aVe3LKw/lS5DjZbba//ulVvNUAlYFj7WbOtTNJwUnpGmOdDwWh7ZvLekvk0X+TIHLeObCr+c
Umpw28Yl6BGxFx8h9gTJG1qYhsVOcrBDQx0LvkOIS2GSR/TXJu/ddjcO5ZV3HHYgoEQRtn+w+vwK
x9nGAJdNHoW3dpL6+dRc7fwiheds6VdTUHrOHscN6NJ3UYl9N3oQOss8uEArtbGsEsJ95kGTCtuT
jB95XLNlk7rsYpeVBQ1EGufr4uBLGaPdArVZkl/qKft/LzCWc6gbwH2701MZ7pXod4gic5bt0v+5
+rBZDd7tQu2XiZbhMWbf6ia29mtfLWzuAzPUH6gIHnV8T2hOWZJUSnlK0cGONDSKoGCB9WO/4+YE
8g3o+XBlbdeJY1kGU+/9WHKb0q6PaT1I6NPC+vFhh6BuMiR2tGkh7Y2omezTAFxnURqUy3rGm/Tk
gDkF5kXL9/J4OFCPBABmRKiB6YNoItwbRraj4UdvHJ62jdkJ90Bdr5m6pQH9dgajW1DIelqWinRn
X373X2Vx682uWXHbdPgy++Vg6zuguO6X6azuux24Ky9023Q1W0Vynzd/zSl0RWdQOkxI8Q8zLoxp
62gTvPnZfgJPMtV/+sLTfS8fymX00FdtGU70Dy1DidP0aNc8aGpNHlbLR94xM2gno9h8WhDrJhQw
S86LpVt/6oKfknTzPC1kEDWstTcKLHAHmTv4SABzsMsS9EL6xtP+V5mwqWnwZkel2CHusjkm3WM1
CXufKb5jhYO1KfUmR2UxAm8aUKc372E9a5BUlQm2+XlnTSOCfhgylRMcPwDjrd2POtbXLqr69iGX
YQB52sNUx3Pk3X+sVp+e4PJE548/pegp6gB6b9TQQD/3Y9rirRwDWQlMex8rBaCRTh3PXzHTwxYE
hrV5SWQVtjgMABRAPxKzMO1BlyQt9AYe23A3zNf4lJzCEkaCKhQQ8hMHDkbLgFpTD46jCo+W8g1I
5Oeot2WJQ7/3adJZR32N5V6QD5G5PCR6NCoWTVAWJuitaVdvwZAwVumxQ7Tc5PPEHHYmHNg0XFne
PFo8ARBm+fb3MCFAm+LHpyXXCPjaNm3B/gWb82j7HhzBMPWaCg/DhiLY/A//Pqr2rZlqMOTSGpS6
JT1m3NUpBvf+rCjgtfv1+XsGHEnJ/L1by5a1bDP/L5AjmosNpDCqXxb4vLcZ7GzHIr+nLkG9QfPG
CcO69/sJQUIH6LcADYQZiX7ZHhyxjR0wPX4aNZRcDtLaZGblHPK5x8Ai520rqN8cS9AXzwtYrdb3
zEAw0DDC7A7Zeb7s/S0nRzRlrGNVNk9y9DooZdZgZQRh/cdMutwU1S2dxkj1aUtJKqQDvTVKMfiy
/fC32+TOtWxlAA/4d6gkmcumzhW8AFxNK3uAQnkI9a3+PzY7p220vXLK1vR7UFHSk1lWdjQf8QrA
9QMlF0MlvfwlObgqOln8vQmz/rju9aB4gIUYt6vNl03g2IQgZZ0ysGga0yPiP/NtlI2bzM4Bu4NJ
Kdb/8PhpgMPzMO6t+T2C2gcgAuonNG0tr9gBDneT3rR8Nj/QGnC2o2bzoZgPE0jwtiLKXqiIDry6
6aAGcKTmRXzxPNxyNq+Ch3lE2k0NsYn8WZ/euvh2qO9NhIAGSbHrSn7fNQzIFg1uVccBNkIZg2/Y
CHPBYiHKqgMHHhy0m/GG1+g8Nhx9W2y22o1WG9DOBJrwnrl2et9OjB3Bs3qJZiUukRTTPtTEL4DZ
7KDQOi3wKrABRwAmwZjvKLjaI/kE7lTLb3j9N1uWcGaBi4j5IrICxOVnp6R14wNjTNvbocgRXgtH
hZxcdm3LusT3UsCBOmehtPMqTKvemZPYQCQ0vEzj08SglVcA93fJM8CddC93oMYD91unjbgggHne
TiBk8TEd/yjgpi9lV9oXq0Ff0bK6Rei2AFOzK7wXhRDWAKhbHTOctln0QKsoRJcaEYeqRQjFbMZb
6FTfFNg8KB3kKiZYAISmc+AUrDs3mTzcaCC8Id5OLTtoUZ38KPnrxGJ9D9lfO0h77cFII3DEaYib
YSooipK92vH3DpFDal4PQ0EJUgGzUxOytnD8/1F9vgf9JWK9u/oPg6yc5icGlrZAWgYAfE4BKM0i
v8qSKpjGnZGa00l3kxfRDghqyiGJBD53fVMnst/ZnCe3nQHl6lnTp9BsjFVp3xVRtClHTI6t7YLM
30qavQFpxCBLSgbh4qg4FpPxhPthpwGwgpMXwvWI8SfDDhGYOR0BhdMQF2R5EFir8XsUjEiHPgMw
uZrMzrfnK9BlHGrtNr+mApEKkGzPnj35NpQIzBm93nkWqnqxzAbxo02S3zf9AIRkPLl3dj8WPheW
2q4f+GUbBRL8NJgQ/eC3IFd12rK4A5eb30d4CFD+vTHnV8pmworof0j7st3GlWTbX9nYz5d9mMnM
JHlx+gCXgyjJtixLdk0vRJXLxXme+fV3kd67y6IFs9EHKAhFiVYokzlERsRaS/Vja963G+bqZiKU
wRSN3h9in7imC7pIS5suZUU+Ap2Qo8SH7qQEWvBQPUS6K6CDDZEfalYRYFmALjSoJs7JhqbgkBwh
21A4qR4bsdYQ6GVGzTbJW1DQB31keU0kLHUsATOVAwMKvt7h90sD7NVeTxMUqeHpFgw5M5xPJ8zZ
3eByAhkecLm1UvkAIQjg+MpegUyZCfbuwKQ6941aEw96k4Y3yK64BspyUUkttcAjqFWE2PaDW5MQ
6I4+BB3ioe5Qbfv6MjABtdjsGMaUQ2kr+FS3MYSz65wbhZbsIjWCCICnQhcVCiUoq5f8g5Z79cPI
yvqhCku7bUFKN18paU9uk07ZJXkZ3UbTS6yCFr8cjmMGOA/Te9Tiei+oDUkfxjHalpna7/uI2C8c
nKIoKNN2IW2VGxDiF1uQ7Rt9X2QmIME+BJg59iBkbjaDhgGlgRzDYm7eG1Ix8gMvW0eoSbUruwxF
Zdj4bub//X7J3QBIISWyRQPt1K7vDQ1klUcXV7UrM6tUeQY+Xu0xg1gQKhnig86z0iw1sOvyMdK3
pJArCxSEgDbyxNv7Smt6uSY9R5m+16A8OoCyo5Zr9xkE9xFKEEpgZrKhZk4Yho6SZUDp8kb7EkbB
mWTQ0JRGr4VqXYWkngqugQ4SFiBYzmWjLnxQiU8k+FKa8y00+JCqApOfWWeph2TdAALCIIdapZC8
fdx4ZpqO38qauEYcA1zgd6AuLdiZ8TJ/BB4WoHQdINQcjzFphGerrqsYedN8a90MakZx9E0qQ1sW
fQEKjgBhgagJ0Gz9Ng+b7yzIAjBmuFCWcTGWhEDOPUjFri9ALIwhmu2ihFaQKdJPflLfD81QbxuA
/MwOEge3QLmdihZJaEnSjRB5/oMgsmQkDapigeqdaAGwTiNqIpscQrB1JKlmJPB2oCDxWQKRW7/U
JDEJDnxAp6FcLHQ1p578gApUwkgtTBAJFEFstQIQOB31LmDFg5gnqyEJGcmKlXu+oYeg/CSNCtDQ
NBhRB9oYFKS9JkrvdWMsvFNBm8HRk7o0RIZaFgot3ChVOZLi6D6SJk+oqU9ALQ/lO27VSVRDFap/
QKi1Z6q4q5gLpsIKgB5wagcGpbw3OUPxWZXcqUqYf/Kl+pkAznbj4po9wf3Fb4UGX4HmFi4Ws7KW
wD1bSR2qxIGV8qjn2lFqIC1gpBLj9qwFPSp/a0S3QCo2tAeDQlmZbcRwCoxyq+laBEyTDEt2lKlm
IwH2LQEQ0MYFNZhM+JF44rOuM76XqoIfoTb+q5XDaqMKBl3DyFSKgG3LBNGEMPjZgZEZ8hjJZ1F0
5ZYPx4RpZMOgQGIi/YVpiopnA4gjZZ/TkZq1fIzzvDaxHGq3cUN+BO0ANogmRPGaW8V2Vmbhkxhd
nDeQ/kccgyAhRpT8lgjoV8dE26GMFTELZfD2KtBYtzKRCkjIg+mYtIArjYC1JAgLUXIaJjqbpikP
fVaQU9p75R6lub8iEERk3OwBv3IaIR1I8r0ohfwEYt1h5ydZYQkidU5EEHzkdSvu1OklZc1D2RQ3
mevTXVX6QHVEdEBNn/wjzz0VMB6i2E2KZDtIOw25jJAoR5HcDa9AA8GlEKWbZWAW0Lw3YwVErUqW
6ibmMhC5XHz3ufiRuV68ifSU2DrRuo0S1ttR5JnJW+YDi9f1KPaoC0tLen2XlLlTlfDKSoD4cBLb
SqB1v4Wz6pohHY6x6GsoYkcN9MKJbsshGFIAs65vVczEbSGJp7otigfhSwgL9dSKAbOxpQ7qXmNN
P0cQb8XONqB2kqHSTSmjysY4KPddLaKtlyo2RWRU8ji19Zies74dbyhEoYyY9/JD7CHP6mb0Ni0h
8MBHqcMIg+hdnHf+XqU/QUcsHWoeuzg3yuDeiOQeu0D7GbBZYHoDbY/Scmgg/Osl1PKxhOuJNwcd
nEn4HoDKx8c0+OR2Q2soVShvEtdTbvkAVdZq6BJTi+5kv9KPY/uQM9TkVoA5oLgWURuITlhtgSc0
9kqzgUsRp0MNQnsFGmnQFt4AeoWcHYfqVOtrZw2+ayYhIBpUoJehylPcQrC9aTttN8leWqgnkDCI
412myAepVEsrLqTc4FDKwdPxtoFs9iWm3QgBNIvkyg2XfW6jrMcEvh+yn6UaOBmyXk2V9YAmkF+d
3rFN3DTSHuJQg0UCDVSi1bTMhjQxEv0bCiTMiqXIlEDv3kpa6AfLBVbEPit30AoBugkaXfCOthGU
xMyYZ2dShYOVIDKr6sWPkDDQCAGkYuh5eydBL6xUXGCFRfE5ZjKS0Gl8W+aVdgfJOw3KVlG98Stw
40C3C+WUcpej7skuPJS5DV5yp/UlANYl6/L90ClPvPRb/BLWA+ov8sOIGuOdP6gooedJdSZElOcI
fq+c0PB+fquFvwZ6bsgfzx+2edSdXA6SH78FU4MeSqZXaT1CVPhLngzjnUTKE+ub8ozaJ8XWBw8e
lQ6QhkfSaJPlEjRNIENR9I27w4oGw6iUn+rxpZum6+VDFboo6tcK0FPh8VnzzfN7CrFEr+goBgUK
DUTJD0otlTuN58j61jG6nFc1CDiK0Ldqr/zRixT82r2eHETRqrLRyx6kMLLw9Oa9+b9qHI97xc/2
89X8Z5jk0GgSwy1ktZC6aLvWAdBBPgm57k+qNf9/fuFeBR7dDqG73+8VRHxpPDe81VHDdSoCuQf9
aPf0+4aurT0rLkHA9fs90Wx+QiodxeMtauA1WXb3VI9eQMTgnVAI5Z0aqGJvIuCxrd/vKWUB8FqF
wr2UxgEqwUrN6VytOsx/MWbKeICv5cxX80tddYgqD5RhvGreSWiaRdU0OLYl6DioUKIdBcbllLmx
cteI4X6+ml8qDm7bAqiD7Xwpp+Fw6Ef8yOl+SgvvXDcALUCBWXXm94AmaO4BYXDgxU934LahgJIS
MLjZ6x0FScpjxaBg9voduAMF2I3FOmh9z+/FqVRYaSK5dtH8yqVGPQEQqp70pu1tLQkqiL1DbwYV
+T30dST/Yb4lSMDMm2LDNuWaosYc9be3VQo3V6DS7USrDskc6J8Z882vL103kYin7jb3gLnOGuXc
UegtwwloTXW67NUkOOehI3dCOUfwZ87yWHompDCa3XxDh0PULhwliHdP98+3gD0lcnUceL2e7RJB
g5OU6+meDKA/iKMyOIXTSz6VlpYsyRCpwuX8ovk4oRYoq9wjIpZHkJUBlQYA963MMhMFhewxh3iL
mSgUHmOZKo9w5jqbEyiAzp+ig/TtBK03M31UHr1IZHdZnz/P90LiqD+5hf/6WdT9lNEtw+gXkPQW
0W1ah78iMDYAIF36+9JVq3ukuOi5D/3E9gFkjSF8YoZD3pwr3kX3kooD/3Q1v+jZpJrp5t3re67H
FABYcfZwKfTItOmlptkG2O/w+PpXEEeysUAP9vyhDFneYwGd999f2eipMFBPSnbze1D1Gvb+xO4/
/8H8ntsC4O8DwfV6h4b0QAqZSnu+7FmQP/Qu0G7Tr0whnXmfSMGWNnpoCtDn7RrC5HNeoyReVnAw
K7WInBHyIudex9hqlfphfksEAkLro0ic+Q/cXrS3rdL/gFNEzvNbcajfsRwTY77SqCpQwCS19nwZ
CHSWXLR2kYXbgpbkTmdVd2JdD6aPnH7F5tid5pdRC6EMw2sybZh/vZfrmjlmJDi+3jFkGvIKqLNX
kAtwQhUEdH4DiWpCXP9Fae9mxpRskH8AmK18QgdolsTS6MAKDoo/nxAHMOz6QaqhMpfVVP82FP6O
jWP+C8rV+z6VgrtOD5/diYtZh5t9q04volBdowCq+F5RkDcpiqw6N3n4dcgldJunjBjlKag4CmFJ
euBbKaDJh8iYQwR+CRaPniTFRpZYaTCeSFutNNOeHoqWgEyuDPStem6axNalb6hTZPeQWyyRoAXQ
vBck+1QxfYe56W1UVyoMFcQObUpOqgaCivq5iiHp1IGlC+TQKsIfvvaQtiB/YbqSgxra07fy57RC
4bAnWwNEk89o+qYkIjhmWB/HiJ5Q4DlYAN/qODrq/R0fC2JHAwdTyBiamq9E39qoE5uuDBFuyFKk
X7lqQ1WZQMQRMde699mNAqyoUgYvXUPlvZerz1oV3YyZHth0HIGgoUX82ROOrFH4dhDLyhAFNvWw
kD/JsSpt/DBQkfNNovs6kH4C8Qg2mSIA05+KGkv/GXODfsrc/sia4omRZHjMqliClmLxI+8TeRdN
IhA4T0JlEyqSO6LWoCwDNRqc0YYaYRSFxxSQMdRsy+53vdu7QoDqoY2T1xcC4eBC6sErFuSjMbvT
sVKmkMdAujDox8eOgddQhfhr1KfhAZo7ITxEkdqkJtVmC5LR4KcKcg9TzgNxn4IkY0oAC7ht+U9l
8PtP1aCeIs69nyQJP6Vcg7xUAv4vQEuQeWCFf0OK3t2rbRlvS9bnB1C1Z8iggIYTfqh3JglPzQAF
wF91VXpS23z8RUA8o07KR6kbI+0MbgKouw9GF+bxk1YMzBoDv9qCSYAYHEcDCLIWVbkH9SBcM0+G
KEmUQ1PQd9tj0zb1Y+2K+nGYIGIiaU/zVUxTHEl9ebyZL3tKcjunebOZLzuIh+1iIASMpk6bx0hM
Gxrwo7+/rUilTURVfpzvJ4EqIFHLc3D1wRRnUbLxu7C350sd+NEb6Gvg7Dh96pfY+jkfwF2Eq/kF
OmMHjXUIoU1v4f4aGAEQ1M+Xou4AyUNNuzVfQgpnvPUQwf/r29SETTvY/Nn8+3iufh5FSu/m3+52
IrRaJN9f7xiSEqdwfUCUYjKVYb84xDx9mq/qdvAsn0Wx4Q2uf99CWe0eRQuRkYR1iqgD3ptfwtYl
Fhk8lHyUQrIGoOmhayh79xAHBuc+GFTvJVlK92rBjov350sfSFTejsNtWyNIYMzveW0NTwWF7Zv5
7zvkflBjr4d20xb6YegL2Sl7xB0rRcWAnt+cX6AtZ7QyJvbvtxAg1A8ZCurNug/V1y+YP50/UACM
38Vx+wWq9Ae5zFscrGimIIPui0PtD4+DJo+7N+8NwChtcKIF4cB0S0pLcSCVjz9RUdygwu++fb3E
6QRKRUnnb6ftB0mgipso6yhw+pr+Rqmy9oB4/nwxv4D8Bx+CkgQCc0ONhMt8PX9EhyG5CYBIogkV
Bza9vH4ViosTo6NEdeY3G/DzAZ9etZuwiMcDmG7pHmg1SJzian6LlnTrtXw89v6wA8SyAM9Ox54A
2Ycf1MivV5Dzc+D1uQ+1r7OniIebYhTZab6zJIk9xv34ehUMhVUFo/56laMSF2pV2Xm+E0rgRjmW
wzlwc/7UUBwcWaO/fhaXP6mLw+moc+0GdED5U56Qjer35CHutOxJAha7icLqfv4MFKTgKIN29l0Z
58mGRUg3MK08ZdD6bbkRUNQpKkJDbacUVUgDIEEde6oVtPk5HKFqV/mjckJNO04MoTyFPodyC6qK
1ATfP8Y/hl6Mw92WtoirDC3xDEWD0JGSZ8VObwZsgYosjkAgkVveV3fKhJ+OBs3bdz24O+dLkmUU
tDICzhpHmUcIccEeRDUmmBU1y0fpqBOBxsyRhm9lWAbPHvw/Ezxl1VEHs6ABPH8EEkI1dzCBPmkV
OAUzKUztnIyNmSYTuCVNb3LgxcG2BG6Q8FyQhj9jfOxwqOJPLUNMwQM+1o8j6TMK/IHzg1bp2Ddp
gJjyYIQHjWrMM1ooRJYalV8iSbrTXaV8TvTwSzHTkA3QzaoSyPUhsKpsIYz1DPGSE/doANbhIkKN
AInuPcVV7vQcA3t6K5xe5v9pcqg4AIKEhgukF1iV3DMQXIbUV7oDNevxsc/qY6sX2fcQuUQgYhJi
KCBXMtVYqsGmR+pbSkvVGhUVpMVqMaBqUAoQnS8/q0K/T1xHJFGJihi8BBCVAjbJylJJguiWkpp+
m5zjAWCXLIf8eMyaTUO03E6w9ple23VbOfVUMxchBXFIVm7KHqK1Xer6T2kbka2ggO+LoY0gllE4
cdIEtlB2ed6VjyCWwh7TgLQSFKsP81Wtu58aqa8PQhXx0xCAFgpoJAC2p8tI8huTkX7Y9QMikLWH
1bOL5c9u1CpOOibNEwWZh10pgqM2shPnCJS6CHZMJ+YSNertQxLQ+JH2XuB4ahvbIq42f/7xX//z
38/9//VeMnCzDl6W/pE2U21QWlf//FNhf/6Rv769+/nPPzm8eAYkqqpAXFIlskqnz5+/n4LUw93k
/yDPDKxF6AfbRh0+x7LYz1SmxShr6EHauwY2lwyiudN17/np7XQPDbKvHh+xr+UFefCw8FtZMsqv
/5vfy1jioowCn/rQ28OThOrofB/ICsEJDKzzK9vOMHHs5OC/xdGMJ9uZX2d+gfMApyOpTvMdlSaM
ueH/ddHyau6J5ywfsOcBQXt5+T+PWYJ//z39zb/uWdxyFzyXWZX9qj+8y3nJDt+Tl2p508U3w/pf
v876Xn+/uAB9VVAPD81LOZxeMP/rv5/gdOe/++EfL/O3PA75yz//fEbovZ6+zQuy9M+/PpqeOJ7v
v8bH9O1/fTT9/H/++f9i76UMvi/uf/le1RgL5B+6riqKTpkmuEqp+POP7mX6RNL+gaSBynRN1qng
BGPpzz9QblT7GG/qP5CbE4qmUcYE1XTy5x8VkLL4iGj/QDIIYS2icZBiI4v759/N/mvgvj6v6wOZ
4IveDGRVIVTG7+MKValMBKDnlwM5VHy9HbPiZ7hrEaF2sjuoFd+q++aM2Kb1plOuTBqiLGwx/F6c
NBWNqzgnqsrClqdJKYLAHRSxrM6GzJ3d3whQeOy6Tbgt7yY19ZuPLV7OUmQUFga1y8bVbRYm4FQG
9WAL8bKvgQjMjw2sNkm/tJCrdaZEAWCnnYkcgRmjWtJgX0u72qGK8FjVRvi/tMjkS4up8PoOOZjY
yDUn3+Wbdiv/TD/L981tffBtCZy1K01c6UQ2jaA3Sx3Nu6TLU3QiTqEOsXIUVBie0+/BHO4gNlcY
vrNicTkmF4+N0UuLoK9J0nLqVKB+LXVTmP5GWJCI3+QO363Yut46jXJVCHDAqdOYfdO63lc0tQAz
rsEcEJj2ZvsDcD9VNfIt2G63KcLtRga1SXftMV5tIzgPGWccc5ws5oJGqxSE4fXfbYS2gBU4iAda
8s1af05j8PdeNc8C4H6FTjVFJlTIizEaqrHclSObmuhtlW29Rfnmhm6r7UpXTl21tAPENaNUxv6I
Hr3sSr/kquoS5bVJkGQ2O5TSWcxorO5WsZH7Pa4Y5CsGF9O76tI6RtAuNgDiPdLvRWRkTmQyA/mU
HQVNpYnyzrtkZU25NuWJQlE8g7ofrGfKYsQgTNn6MDtN+c5mJlgEwEVs4NLyTFQAbZSVIfpuhFLO
sdjLFKg+EL2zqRfejNDU0+NchfKvodNjlXwVYJD+uB/pu7E4WaBMl4mGHQfZzEsLhZoUICkoQTZv
u07zLT2DHnl0usrOj+lGsskJiaMv2lbaTckRC2GOQ9asOFRkmtMXg4dywXROMVx1rnKxGKS1MiCi
kSBU9tqrsZW81FvUJO2SDbSbP3/c4nl2La0JhsEKpxIbkb54hrorgwm2gTajv6s+URvQmmN8lmxm
NVa7R6nkpnSQngL1xepqOi3PC8saRcxPFZggRFUXkyQrQTSoZhiqpIFQ/BA7jDY3EgBMoXyf1sVG
BPXNEOgWNKNXlpx3s4VyTUNUViVC1bDWLSy7KpK2RdQAGAdCSF+7Swaw8frVymB6Pz0WZhaT0pfr
1m19mEHKYTNNkBQLOD9FO2JXZ8lqVuyttWoxbsK4YVoDSnHD56goVbA1lXccFEAfD5gVK9pi05W1
PkrKqe9GZCW7h6za0vjuYxPXxuTb57OchVXiapmOOiks0zWy75ZnK7mNWIuFYipzfBm2bCt9RYpg
u7qivZ//QuGYekLBxOPYjC7nvxxoA1D1wPnEt/Exsd1jbaBU+RHAbHPNfZkG2eXwhykNcQSVU5yb
+GLi+W0fN4C3AUqbyWZb+UbGbbDPGQP/Ca2DlbFxZSzCmi5jdWOTp60tBgc4b0YE2xCAlvfU9M34
vrwHFaYBCMWpNvMndvr4EdL3w0QoAn4ElzUdYsXa9PmbpTrngdsEbvy3vfRcSiaNpqVsr3tGZKLy
1CyN7F6+GSozOisOMadNStoNxCYr2wZZ+zE4eLz9MXLXsiLsET9jDki9rFoy+x/y1/Kz4vjb5B5V
DJVsSF81++M+IO+3q8s+WCwz8ZBDiz2E2doim3ZXOXAXfbaD9rg1WNQAnUbRbtzVZWdqzWJgwYnS
CMFxhmnv/Ckp6Nw4kEDy3G6qTxtUWtnQ/BHHwGnNaT1vHRCsJJ9X2kpXjC7WuhrY3qzUYFQ9owrS
Hrd0RxwUmJjgd7JC52NrVzqWAY9EdVkTTH7nXiWgO0UZkx5CkPjQsdDQWLIyX66MGFjQVIryEGwR
8/B+M3z9FGz9YCcNDdm/g2K96QqAZ+iam3hlCbiwshiXHk9ykB3BigJVePXWG55k+SmD2gVRoB8B
kj73HlIq0OQGR4d/W6jfe9RDFdo9r8Fo1a4s7Ff8DjHFcbTJu5Lld75PDU6bKiN4hPIes2QT7BOz
NoZNtfNM+UZZ8VivNJ2j3kwhKjxHlS07OI2JEEOKEhgOTC24ADOcKwhqdfPipNK1wXnlaV4YW/Rz
DO6dXi9hDBqxlrJRrHCTONojcbJdsQGfnAXlnJXJf92kRiB3glAo8BGXS06cJh1nGc70XNLNLt4p
w0QcuPbIrvbiNEKJzOl0cru04vp62kRI207u6kPZGsN3dUuM7E7skCE7q460hyLUXXQvDh9PwGvb
CWdvDC+mexWCntxXZ8Ovnr9vadgrAVjcYW+21kbLqr3F9tWTJkcVyWSvxEEYzL71I9nGFU44jSVp
Zoh8laOubRtX1jSOowBmhYz5ALjoZe96g6xoRYz1BYVY5nhbOZHDsGNKjmxAkmflMKVMTVgs2wim
4lSKc4fCEYK6tBaHPgjhCgVRoAfQy9reaTpQhRv3ln3NjwrEPQwkszbPZKtZ8v10ciU2IrwWUs22
YlLDtzGBduOXZouEt1Vs4DVZYmVQvwuRMUTnNITnQLTEyPtdHSIIJUUkF4Vr23zHbG/vbqtbzwSj
zqp7dG3T5sgdcFkwDd7gfFR7swRzLZAVQLGwowCo+qlXzN7yTYT4QdOzJb+A/0Dpm5XfrR5Lrs2p
t3anUfHGbllK0MnqwSgzxQi6u+CGf9ZtnOQdiuo/B/vnk+YZKAtGNYG1Mquu7NwXTV4MuFKJ2SgN
aHL6RTjgJWycxMltrbaYZ4GEDQBLQ7cUCFk5zX+wFV2YnrbcN60O4iahHdj3captUcL+pdwxE7o1
pmYhdJE50KrYZzvAypLN2ma++qCnpfSN6XAMoAKXwnRLjOR7/9hqhmfrJgWUxcweVYfYuZNgKqwt
nlNvLicclmbEZxRoKsKbuLRbQfgOlWJ40O7TtCugTskKnrqvlaXuY1uySLjiU1zxWgA0/5c9ZXFy
QlEJarkne4whkuamKFOO/6M24VQBtj8ZRczL2MGYuIPsM+TNmOM+kA3I8gz3+MwM5RcoT63V0N21
uaILhLHJtMWxZTwtrUoByk9QsU2hCslgdvSNbyoEKSMTFGTBkcP9Gz5rJ2mzMlOuba9vDJNFX9YA
BIgqhuHK9o/h13TjWs/ds7sZzcFS7PKu2SqPH5u89vTeWlwszyDPbMKMYlCAVwycfZVB47XoE7k2
/9/aWCw9ueoV9RChVcizFvZgDnZ0g5CvVW6jO3qcTw2+kdxXK1vPWtMWy05PUUurTWbD5JtMX2R2
/3HXXdk2NIwNAd4CRAuhhbcwoI+F5teyG8xLqjzugwdhcSfe5vGNZK2uotOTuJzXl9am5r5ZTxQm
+TFtZmv1rkM4xJLMaIciLIhtWKuryDTSPrK2WL3KKACCDHSIs5NAbpVt5CgO5FfuV92R92N+OsxR
maHyhyAKulivMoQEfd1Hu4aHcVOcyJZlGzWz/F/FLduENkh96/vYWW3g+0F5YXY51YZaGziO8oCq
3Qp7qq7HNpyeJVNY7B48Y1+mbdh/WAuhvx+TGqMI9AqkAxEdXO7+eYuyagGQCTCLp6EGPd/Xj8fk
tc5UEQ9BP045FrboTNFUqprHqBJruqexPjTBSbgr02rumeXQeGODLxcpXQ/HHJSNRrfPd/KTu6P3
6QHu8U5bW/bfe6ogZfndGr5YnIDCRxmACkvtBmUX+sbdIcKCDRvhDZxt1nbslb7ji2VqhMhMkUzW
UCRk1N0nPQfw0H/5+AFdG3aqrujTwQ3x8DlG+GYWc9JGU6Ae5QyoZ6ZY9lrfiSEYGEGp5WNLVw6+
GsfyBLgMliaqLT1vlNIBG04x1uJb/UtqxfftFpGhk2K2Tx7864+tXRnYF8YWnZfIhPk8gDFoGWTh
cWBPH3//FXfqsjWLxZbzDsof1TzqXKc+JnvfgirMWcdZabCgWbFtPrO14+CVh3XRqMWS26o1IiYE
japs6d6HdJQ5YtmF5iRDsrI8dPfBhu+k3Zr/cWUgXpidPn8zRuKCDKwK0VRA5w0in3xofKX+imu8
ZmRq+xsjBBgd4MqntiEUU0NjRNN+ZPJp5amtDYvFSR7MMCNUm2EFGHHQOJj1kaAH6+2zFpspwL1W
7gBusGL0yk6J9KSCAAyXFf1dPq0kNGdaDKPTAbfeka1r1UaC9ATQrrv/pa1FN6a8ybomga14VxzK
s2dPMWDNqI7J/dr6dCVagIIQFNGpwDESHB8Xy6GSC5f00CDBYYYgAMq3gQ35aqs3G2Rf87u17Ou1
ETI5vxDKQRXJu1g3I+AmQ2EJxMzduxSY7hY6vkmqrzwtesXT4G/NLHqwL3gU91Ajx9MqMU5Uyx1s
+Tu0B6a0q+dwH9VvBgqTH/oHBYrKt/Upd9acKzotT4s97eJHLMZp6yLoHEDU0MifcWiCUPRmyter
tjBKKByZ2mNldRZQhzhAURyTzdL8N3yutR+xiD6NvBh0Mf2IFjQRhkSN2PI3UI8xGt1JLKw1jx8P
3muTk8qCqjKSldCAXTRa0BBcLBC6MijYYsMndW39nJyNZafiFMo4IqEogVjudS5JErgokHdkDt8o
W92eyhJKZ82nujov3tpZ9FuFsynEFTGC1LOMsPInH2MHqeUvoB4cbfACrAa1rltkDLVZyLjSd3F0
AToDGfwY05jVnOhETf3HVFc1VQXxHjGrtfF5pSfhK3BUmSH5JMjypFFEIctbTrDKhN9K/5usbpvu
oc9xaoOPh6mpoVjh47Fx5dCGJMQbk4u9j0GFGwW3aGL9RXpmZnkPDL5oMCnEbngefxU/RWWBquFl
WF2+p518MWwESkwwInH2RpR54cOmtaLnaQsWFOXcWqM1RQvFV+VBcoDb2MfmmudyzZ99a2/pz2qD
7rduA3tTZIzf+FZrRDvUOf8H9TMUfYqGoV81Dc7/YsK1qJwukLEEhgPR3tI1mm+ZmZgFlhZpRKwT
olArm/y1gXphcTE19CrSQ5nDYoc4I2g9zE6Ykgn9Sye1097oblbPVVefHmTrqI74vfYuQxDWiqyr
/mxxCqErVvBNMp/de+xQZvd5bWJccwuFkBGoQWyTMHV5oIo1pdM4JBSQjGwBPjZQ3t5L1oho8lQl
pI9m0hjyI6LI9sr8uNZOQTSGQYrCZyQpLv2nInRDQCJ7aBndt1ZvEYpqR9+ij6jtN0vVDDb/WVPf
WFxslGEKao1AQlOZg0rEp8AOnPAMQP1cl6TdQMsQBS3mSjOnAbKcjG+buRiyvE78NJv6N/qkfmGf
9B/+xn1st16PZDcQGA4UeEEjdWYn/9ta6uBafAWL3e8uXgzeTIvSuOWw3Zkgkb0pHBcuP3ege7Nf
nShXvJALW4tFR/jYegt/7tweKZHpcDGl0enNqqX3u7yOkx/SWpSpjCjLXRewv6zLwckwLwJT0cLk
EbubqV3+fjWi+N4X1hFcUVGETFH7hZXncph6KYP6FYlfl5z02CDZ89xY5eHfyCutmZoa/uZEAUrN
oBs1NCwF6wfqViWbHwB8HCxurntsV6oQLhs2zc831lIXU1LSYa3Z37UWwrPOyzQm00+ozIdztjr7
1lq32A9pDaKBBArQhn4eLWFCqdkSt1M5Z/htLcl6ZdW+bNtibQFzDAdzIdr2dwGiZ7eGavdmsasd
bzM4K5P8atuQ9xTISiFUsNxxwzwZy7FH20CgsK/MYP8a7BM33mo117W2wQLYuHQUIhGxLEevdd7m
sqyDuge1Y9Njmya1cgel3E2y0a21Co73Pq4+xT4QVkSBPuoAFutXz/sC6iSIkQb0K4AUhht9Xem8
K/P5wsJilSpCUPOULbh4pi12BODb7regqLFoi+TtegfS9xuPrigIHcnY9QQAvIuB3w0NjXyGZF37
ZbBTq/g2nRF8pKjBAWSNN64F4WiAER8B4DXoD1W1MzvcF7KxmpS51vC3P2QxI3D2LnxFwg9Jbwcb
+/xet/UnMBZs5G1n8J//QTe/tbaYE3qr9jWoDj3sftX3qY8Lq7anyA9ORuuzfa2TF3ttA3aVBgdC
HPXgqQWjIf0IEW5vzd7OEP35zw4xl491MVB1vy61VEMRGXOSUw38rwEaRu1nj8wPkFZBvvPtVc/3
aivFhAxRBUAoy9C7r8aBgsJkD5FcQMfMcQuZ7O1wFEjIZxsPQkvmxw9xekaXzgTaqKqAoQiuTxiX
yzW78gvUBkpA2Kll79SZZGpyuuvHyvrYzLU5j+gPzpzQHH4fBO8VzYs7CuQ7xL4MvRtB4bVWynm1
536bWJ4ZsoDKcgFw43xm0EGngNQgO8+THqnBH7EprUXdr842hGIoQ6kCU5eVh0PGhhgoRlSEWNF3
QCb+P2lXttxGkiR/Zazfa7buY21nHuoGCPAWRfCljKSouu+7vn49QU03kAVjqnfN2lomo4hAXpGR
ER7uwME3uVk8CQ7vC7fG7uspXD//FENSAPUnf6C2RWPSUQnM8JOJmNPM2Ed3402EZKu2Dx5Ge9wA
d2/xkGVl3USrHQJ7qkjE22SE9CtsShN0E58bSLHEP3sHJJZmu88t9D/ekTTIsSTDPgWXbRqAkQIb
j4Y/aldKXV6nZSqRUyA91rMZX8tO4sb77Kp+h5YcwTRWFguZsNqjZKAyZpbg/IwVLMZQWt4IUwxU
r7rHsCQt24L79RpeHBfWEBke4NFWgPsMgnkg2VvQExw81JEPWg1d3f6/TGhUKShEvYRXWrQCC8Ze
rO6V9CEbWFVW4mrPnIYCGQoBr0m4DHSvrZYH3AmiMmAntk63K4Bxa3zumkPIEG9GG69YL9lzPpgf
vx6ZeMksZAVUXQVqcP1W56Oxq4VE+9k6ApB1bW2S5KSTOoPPfdM3RLfAir/17uLUbg0tMATU5K5X
bkA4wZvMNDPx/vQkqGhFFUXsUHR7k7U+iXbLOW7Qeaz+HK3B5vwRR6P3Bj9F/ne5qzcEJjV5v3FB
XNhCyqlZ6hoMJ5A6z7IMswQHUdghoMy4BSE/6kY+sj9etGMOdRWMYr1PbVIXIYjIQe2dqj+LCWRn
wIynQDLyd5woWnzqxt33JE7f+pKF/z/mXugZJmkERKRwPMCznM+wnkAmaRC0n9IN0hae5Kpoe7+7
1230SlrZdeGUELfHu4LV3XDBDxB//qdZ4vZPFrZTO1WYMu1nLVT3RWIKrfzA2MiX5vPUArnKTizI
Vc+p6oIqS/CSWYqJNqP4XvEJAgs0+jboRb3Jia4gnm4PXmUB1cy49C+N0EDRm+chI2zA3Z3bB00y
MN2i/DPnX4r+tc/uvh7fpZNx+vHUFl2EyOgbbJcMoNRAAMv1tj008eiBAdT+2tI614SdCeg54NOa
iA5X2hMVISADYrvAJUSP3DPpe1neOCS1uTtodj4se7CJMubusknN0IAyQb8BGpnOJy8BYYgYRCpM
fuJ7Y69zOp/APnhfd5IN+32xmk8VDwugpQGGNHRphWDO6jIX2hJ0MpJKatRZH5ggB0A9fC/ljCDj
CA07O3PEFrmdFPyHHUKduY6bExHN2j95D3l7vD09zZXe9oMb3he35GFYeobVgtcR7xnOKj3O6l3e
Vaxhr1jjTvbTB+6RscRkPr/6RtRxXIx2CcNG/ZD3kxv6Pb6DdI1uZoc7FmCYD/1V1kkF0zKe3KRh
GtVKOnuZx2ATbzr5Y3DLa+LQJfQWoLjksUqHqzN4tIPObIIMwZpSPhXtxHVWtsvHUt+0MvJpwjfG
vK0HIgqoSpJSj4ZjTmcQOqObxNboPtBkvsluQBG5i3xAdV1mPmsVBoNmArkz4OtJm/mqEpK1VRVx
iv4j24T+/I0UdlEcROMw6bFhzdqR4+F8N4iSJgKCrqDZFRAv6vQFaqumcjX+0PcqboQUj04o1uwB
UvYS17gv9/KGpECRSkvs4rq+ibbCbeiyfIB4hLlQX0PXgXrE9CoX6nRgcAARXIoQPBuq5qmXYqOa
7kVhRM8oFG2WIUaNtFnAf/+ch7OaNL46NQN4x5o0DfIciQkR+sihnc6gwW4+Zgy3A4uxVnNxwN8K
mFBoUnMgvwEbFyiteAGolH6OR/FFmYx6KA4gXzIiCINw4gRK17qbhijctEqUTrth4cCJI5QJtAKs
Tml16Wk28niJLLweclkzl3kxjNHKZx3SCc/dWNZAiOrZrAy8KZdizbeOGivIJNiiBH6vNzGroxZ8
f1ow9Aex7SY0a+eRBK7EppXawlnkmpCR51wJZG2aND06Vqck7SMJnBucBJBvKCeCgh5IXPHxoZcj
Dpx6C7icpngDrZ9FnAGrWLT2CqW9qtkAbgqXF1stWskMxQbDVggpCPCZJIWyD0U5yRpLjwUt4swR
zLTzzTLK6H+yYjDPo6MFZNVZC743Tu34H0kBXmQsROWPgxLk36Mg0iKvUio+BckhqiUQlNJ0MepB
O1uMYCTXwjkFU5RkhCA8q5aMX+5EXSjF62koGskwWxDToTaUhILyOGMNZF/u07EByesUqDcNCGEg
r6yUbTrFTqaATbky006Ww8xKE7GPcwt8WLz6xKPuNG3kcm5QwZeSkZNcrqnDEBhoo8Slr/W1WEIe
F9U+vJejXlEbR6rHCYqGyix0mwh6OODTU6SsAVV0ygVq8kNr9Ei4ndtJ0e9n/AJYpvgiBSONVMyp
9i2LoAFxMwxhKjz1hZYsUPvoKmhGao0a6p4cg6pp8ZesazuIn2uVkdfmBG3qHkE2L+R41Kp8mG46
LmnAyqxx6QzyohJknanigjMsFBpPLRUles+zPsUyRKMEDfcRbPTXSwl2vWu5C4RFdcQAvKj3UJzm
w02vxzhKtgp+mRIQf6ycpDrhxI+pHWdBHNVX+RjkvGJDhJnjWmh0laG0jYJkVB0p6nIwlwIQMVzp
gSQO32pkoCEHm4ckf1IU4YImROinBCAvz2tOH1y9qpfxp94qijx4etB30miDYreu8XWFvseDSZPg
tbpojO+Gth8CSGu3HbjTayGSvkd8kGUPGfiXUJ9PVB2cMgMIylBtlVJBjJ6xYlHSm8ESdepHompp
/ZxJhgFATaQ1z0OdpAPUEtWcV3F3tmCd2fW6msH9j7EAjZGi7Zp4k0KFHeRcSZ9AuloDmR84t8t8
LLQffd0JFUHBTQVaxdFpFLSOHqlt91Aobalt1TRoCuWm5jmw6t9lPOBuV+D57GbOXPQmmadHKHIr
4KNq9UUKoXmkS80urtom21YJtNNBdqwW6nU/DFriKqBYD38WiQGeNezcRNc2opok/M8mxopcj3Ej
NaKZT7pWRKAZDVpRMg29S5Loui+WIpRB242zE7i6PEzjEwQp9MjpIi0A5SQEAwZL1/RgcXoQl4O8
ekz4uB1sSWjKYrZbDceKNwMZ7I6K2SX4BLeApDtI2bEX5lpx4Be1OnFKcBAnID9P4I1jlBtjgXRf
grAfrGOF4UZ6U5VTj13ZxyChdQ1O6vFPzI4HkaGCWtkSSu0OFIGa+kMKwOHjAjk8KdedbkB6XKlH
iJSbS8tNxV5ORaPaJyXfR7XNdzknurI4DtV9JXFL+lCC8AVUD5FQQTQ7DttY2PY4YMEdH4Km8glq
cW1xQ9ifkuuyhm6MtqlidApkWHNZlL8FyQBuylnQCgm07yCRKly0DMQKqBvjGCeGERiskAuE2wYt
GIAuaDpwiFTkQXRLdWFOwT6juMKNvJUt8YNgv2OrcxBZ4sXj8a5okrYeVrZxHfScm6YS80u8yJUc
gfimDPdGtGwFZmpiHS2iyo2eagHNhYIMeMZ5dM7Nk8RVU/oD9a6daNX3pAKMnlQoy5jV9jcAQqvn
uHpuj4z45Ck3Kw3672BP9qrc4q+zDfi5vgkk824BHxFZs2xBYcVjLOHqAUlZpR5wLZKOLXrHf5Ak
QA98tgo6H9Ulrf6sp+KFzYI8j4ZUtECYN1Qq+lbAP8jVMRlf6KOt+Ehj8htNQRc2hiGhGw3sQZKM
VCr17Mh7LRxbIYEZaFfa5T4OaivYqJvAJ42T6NUGcXY2WYxpXCWUyDSeWKUGx2tNL2VSgs2CXPsr
r5oFujVJMxDnAT6o+qqLjnWPlVFdI9sos9QeFRcQYaRJ+kMxSdaoNeMtGu0s0Vo2BF0WgpFGcjoA
ghNL80r7N7bPOmKXeMXQRBTJDF1fBdFCifRdrHDvnds7JIEWuYYj3gDRhi6/kpElXx8QAo/E+0CW
YE/TqcFmRhGgH1Z/N+QktAYEU2iONeDlv17KS1YIvxWCcZQVkZo8P4ZpCj4VpIre6xqsh+Dn7k1o
DfRm0RuD+bWldVZKlfhTU9SJnyB8UGmK9q6+kHQ4OPqtcvRlNA9aYMQrb2UfBSnoeSA2N1mkEaxR
Usd+EqYYHl17l4PbAoVTXtpBI54xPDJT5y8bDA91J1FDzg/RCWVjjuIC9SDtnQB1eUeA9iDyi8Zr
ugFayDMUCyfxa4trDwP4Ee4jHnz+IIWhUzhdOrVJFg7v/BZH39XhySCrw3xur8EJWLZTM9RZX/Kw
09FY9a5MbvyGV5WbuNENwAk+qFqhY4WSDROfsHZqyA8BFYynMZig0FtyvinnXJj6uNPeQYC7GWWz
utGuh+/K9eiKbuYMaLO04+7vTyYSCkjrCbIMfjn60Q8ZH46bdAWTSdw16d0FRo+NmiOTRW0S0l2I
1SKRBHJh5yMrFWg8GKH43jy3sznsKmQtx9GsIM5oRv5v4Fgu7BHkFcDcx2sGEpP0sIIRmYBYGQEE
rp/kJ/FO9UjLcnAb7Fq0qw7e4nWoujVgD/j72CB0a5yYpsuKXGpUHZht34vdsJORbiDZjeFJBPyZ
nehb5xYpY9SOaSBlnIkDGafuZbGdOiVQniXggWSY8bOimr+xmOtEEUaI3hdQFAFtotMQSD1QFllq
J+yZT74WzSHnodkzo5ZL5+HUEBX9ZVwTTlw/vusvwnQV+9pV4goaaLyQ1cTDGqqY34NrVjJ/DW4h
U3oyOmqrJlOjVfM8vTe4Yl/kb26IvOVyZ+BihZgcK1q6dDmcWjsi60/CwThO+1YvBHhP3Vt25Utk
oxumfycN/SMKU4pemo0Vuvq14X/tRS/5tzPL1NYx8CRSF37E6xvwCA4iVmhtRguJtkej6oBtE3nq
G+twrBcUqUVUvuHh4AwAVz93A0odZxE0SF9z7ilGikrRI5sxqvVtRCxgT6JOoa7JOwxZMuQm5A/B
N9ULPAltI/JjvEM4j1gldFkl9mNy99yvoQ0QHc2oO4OkzKCZklQu42e5Gw7IgDUmALNQWcERzC24
0p3o5Nvc06xyI1nBFfQODNX8DRDdesTkKxgCkqpof4B/PZ/TRRMmNZfSVxIJB+ERiUgUmnaE666/
jba89vj1HK+DChgUDZIjNmTU2ahFDGW0vwGN9ToJ6i1o7sK5cUZwTX9t5MIxPLdCnf2oh3ARF6ev
0PXjrdhv9wh5H5Aq3UK+xkpvmFhg1qioaYy6pEwzrj+oRD8b3hT3vc05/QFP+rI0CcVBY40+8/yT
U0ZvIPRuIJgBunMNXGjApa8FbY8NZLyT28KwBnBPbUq0igyHvz+lOhoeFDx3CXMFzYmYqJPQJANK
a8A6h8AJhU74QZgYydmYvyu3DHOrGdV4Un/CkwHNTsi9UzO6gLFnbErhIHsTwJYDqB6PHeOQfIXH
aczJETFIqOgyzK58DMziOIKikARRqyNp5EkBNbX2MLiSS4K2ztccZT84JGILLM6PWDiiVWxDGSRf
6MSF8wh/56FoD9oNBE6c0lMcEENYyGwDX8PaL2TOzraLBkiUhIOOsAaBDX32UinSkHzMyJzueg/7
0x13vxE+rXwKZYY6fG2hAMjWZgcS00eHHICJxql3gpXbPLgamFfuKqCgzFE7pc3TuVRgLtlwzyRn
QJjtWjDbsa6fdbgEQyqQINgdCEPB9Hy+VDrE44RYhhFnsklACJkvQjUn3RFaUNyzDxCq7lnvlXUT
LzYieWri4IG7dlUhTMtSmoQueQ9flWeC+tKcBlRB2JAQKLCZ23GVo6CsUe8WadYQUBTxu2SSFAHp
oypBCHykrrUgWx6YgEJ50FRhHLsLWwaDlADvgWtBawy1hs00p/OUxe/YmYM53CY2aYpRtvJgJoBe
sU/CuuXnOM4/DRpkU50cu2Ls2zoKgzdyFKAh7UPPYieC/YhjVLiZhqhACVrURdRhQqON5FbI97Sg
8oD8IfuRdMFzgYgCzWFHKooVzrmJlgqUa8Yb7+ke/5TBP6dWuNHNcQf0PVAdrKrkxY15apA65uCw
ayekRt5ET3hGahcNN4uneNq2Q+sLq05+YXDICmJnIASDd5apo4emlxJ9kdJbCUm4prmfqw1jA15w
w2cGqMFAkaNP8LR+gywKOs4iC7qxgDnlSEMUH8yX+uraRqn/dDTUbp+ggMCLBZk5pMNxbQduviEd
pexFunCLItICyTyCOwIzJOfuZJsbSakPAse/zdlmDO4V5IlVxga/tDI67hPg0ZFMQZvwuYU5MSqI
vC5YGbB4Sa05pYyM3vqpgdkCEFQDsT65t+gCQqPxy5Ib45vx0AP7lt8LZm2Jh3gjIZiD+KnD2msC
WWvqmkQvGdAFgN2AJpHGZARS2ClcOb6pL5BE83QUK9DZBXUUWzez+8h9V+6Apdz+Rn/XBS8Iw2AM
x/2CzlLaCwrT0qAMWL40pQl1pvlJMCEFbQ8Wn7kkbo1dlt8VyblZD/VPi7Qb5DXUvpdsfJueJRfk
qfb0XbgiFPfBLelij8F8p6KlBnLF6Cewiu2MELZ21GvtsXZYzV7rtgZEsiejJ3oIp3u1W2axzOvx
bbSKXW9NbrB9U63eie8LO3YCu7rq7do2iIvJzO3k/UbS7sJpQYcUrlgN4dE6Nzj1oiCkS/4CWuPM
VVXss8TW7gerQiOTBenyrWijQevxb7setPQDpWvgSsLi09RWipHlTW/oB5KfRxoNey31Ap93C2f2
mWH12vWg4mEA4ggwiSGtiK0iZQCeI9Jf9f3iymAz1XfJNQleCN8eY1zr2RQkYORQrcdTXQFq9Xw9
JaAQQF8hHiQBEHID/O3H/sh3iGVlP/XPJzX4OxyG1XNHDjyQgrQuEM+AlYH+BlHauVUFGkbB0nbP
BCeLIA1rOPkkpi6c2GXxS52P8GhLxtMd3MN4zZJm6XNbXaBwyihOz+mAxCd3lYSDU2Wsh9CFAREd
GrRKwRMpoHQ7NzI1gdg3Gf9sPKjozBKuJl82FygzIJq+YlIxsYwRb39yXyRoBGtkGIufmo0KMmXE
K8/1JnMgX2QxA/dzd/c5facjo5aq0xMhlXP+OdmU9xKgfqN8a+yVbeGMV9xjb4kKA6tORSxrgxRS
VO7mMYFozrN0o27BnbEF19MDmcho+xsRJmt0VMiCBiJDSTE67YG0QtZ7zupMbk9ghNH2N15BrJWj
Apge2KihKfjn9EndShibbos3hKYYzVF/l4dkPZFUABOXIscFmEhirPfiLYQtdjPuKEik3/zGVDLG
RuuhQO647SHdiV1J1FCSG8Lfm+9IUhUKNqxIkLFu9KGGMGwnQj/yOXxtQBb8aUzxALHH6zVme8nz
B9evqSSEAAjbcenQ3n8CjAcXgPCc62hxJrNZcBam00py3HW5nb0Yth+BOJXhJi+O8i+zdN9GN9fd
kOj8s+xxz8ET1G0t+UeG1FEH/j+T23SsborzQOM/w0T1G9xWiOAlanuWct8IE+yJuSfKDwlAhjth
KoCwas0eKtaMoJRqXvplDnEjLmwDQQx99wBpqxThiHeJmeZIx5F3bBpikMinNpjXzsqRAyzYHKvn
1+unXfImQhyD+hFScuf+s1vqmOhJI0VAsjmJC732wRptwYm2qe4y1vA89F4bo5w1GhYAB+Hl5352
RmfBIz2BqriHjaObot3sf4uh5tK+OR0g5bNLPUmmeJKfw8zUwenSWkAvgsn1JjC5LWlC+T9t1FOD
lM/W1TKKOVl+nj09fRhs3iGdn/xtN3ybHHKns8LQC5OqojSlQS0B2wb9wucrqJetUqhdfGiGftgQ
mjZe7UefsXIXDj2hNcCrSUIRDO+McyNp2pYR9CYO2oO8D19JoEI2C2rshmapz6T0naBsw7pwL4Qr
KGlCpwxvCyiE0O8aORqGosuV50XzJ/RDh9zrUL8wRnbhnJ/ZIK78JIAAaiaVu155BoEROoKRzpQ2
87DRd/kGFY4X8sSdRhMSMHrvSpXJMH5hc54Zp06fMEZNHavKc2X3SNEdSZWDDSH+UoDgt2afZzLV
XLiZQOOiisjPITOxyqhOcha30xQd5sCZHQFJ1c5H+Y1QHvwOBcF6ATWe8AaS3DQaBmnsQjALes+n
9UHVv1eSLWuvcci6F9YDggkQfh2ZVJBtoc43VCd5fukapIgh8+pAw4aQ4UDEwllefuNwr93luTXq
cOczNI+inlgjDgy6VVeIba0RgkCs5O16X0LDEaybuIEIAw+du42jMJaNDlPX7Uphp6X3VT6bsoTW
gY61KS6sEnLr6HcCdSXol+mcS9fDepC1L1KziaPZzJtDOjPuN5YJyvOPQzQnUTYe9NKDAHY1OVrE
Yj68sBHwLBXAm0AUKbC1zw/yModDFaYjlib089xMXJKI4HKHkDSAtHthnd3zLD65zIANJSQ+Mvn/
iqsyG/RZB4bqkBk3aXod5iBiA8Dppqsas0bDSqNbmS46XzuMta8/8mIqKumLQXaJ8hdBMmdDXjYH
PpV9I8g8cWDN4nkq6TgqPNokHFbSvLXaC/WAa4ZL0tfage64Jd4ZpmxVNwT8SoqRsdc4i9NZv3Gy
LizfmWFqh1SYS7kJ+kNnq41JygYGksHJdWAO6BJlXdIX5hE5EzTjoHouY8dQ7+CpKeO24tLXEG3i
5WMysxz7he0O2m/y8USUdUV7GKVaBMWp6cDNV6BAsqb6vqkK1gZcXx6QeIUnx7OMqCQdS8onN1c5
lGqTFWTDS27boAafesANkgVC/2njBU5u2F9vP6pK/bk7Tk1SiyTyWqdP9YjMzwBqLpSqSYNR706p
P4NocPS7ghEyXprIU4Pk5ydjVISsrCH2eFBwhpP3MoUvZEHCLu2FUxOUS28A7O3HdjxIyX0YoOZn
6KxZY1mgIrS5HaMKEqNHzzQAMZG4BLDEKVBvJq9rHGOWc2JNG/V4EYw2LwRYnJNNkEBJIN+EBktm
9KIN9JUC3oJsEvRVzpcm7TTscBWjSr+n5b0KgETCyiRdckagVUAHLpFPQi/ZuYlwQP8HH84HwYAc
QfOIRpPvpTVcERqvWQJ5xScMP7gXefNvgrE+t/qpbWpbFNrYVaDYOrSIyuz+SUEvHeFL5G+CB5R0
oKbEJPQin/hXanttkdomihSjLyufD7o821y9hUy1NQdQd8tZu4MqUPyyBHE1XJaADKBP93xeU1lN
grCUEM0bIBHXfNLdIG9AKI4ydIInCnMyL+0V5S+DNEhQl8Do1RUzYEq6R3BCpTVP2ygCMxqU5K3h
o7ACw65ZxYKL4wRFGrSjAJ5d4684XYxbyB8DbXJUjbEkiItZi0fqmcNLZSXfWMlcqv3yc2ZPLVKH
ouCVYlo4EUgC4Zno1HBOiR5vcH3FW+l+dNE+YmUvg9OgSpzaBm7Y/md0x4KUU/y0629Bre+YaxMa
JMVDONrytnIjV+lddIflaNexEBzvyw1IKPaSmewWvNmA8ytG6+ub4tKCn8yDSlWrq0Je1B4zHwt3
3OhGwfdEYtwMx3ctfVxOTVB3eAMgTgng64EXOK9Su4cYYOEl+Z7Wu7Ju7Hmp7LCcTFn00FdmlmhT
NH6G47WSgwitn10xe+nKxszm2ikaK2jBNaBvq85bqivZuM0E2Y7DHR9Ofjy5bfIEaSwt3UviXTQc
+CV1OU1xRk1kzNrF+/V0TCRIOrnuYhA35qkqHjoQjR2ZO6ptuG8Qwsp+NJkKsET/X4skyDixmCYL
knyYRVLLIfK40xuBSOmgkCnd2BVYHp183HrRQAWNzkxcHTR6vtfr0Ahw2RKkTezn04aI407WqG8E
S0IAIRSMhweFgfnPWfjLIuXHuW5QyqQT4esa5NXaBYxjBGiQmWBmjh8zv8Ezm/V2I+drNUo0CSBz
QV4j9LN3zvtWEXrC3ja/zNK9LLpGGzpVFTs83nGCZOnzx9fn7VKIgS6SPy1SG4cTwrZCxe4wpiII
dl/jiDGNrM+nt4mRjIKIEQmgR61U9L22rI140WOcjIB8g5ONOERiraLv5tC9f+IZaivexw7hqsCr
6lhMtsX7ryeNtUzkK52YTLNhqBbsfXBS+ALUQhqIa7OLtJe98cnIqB0oqAOwGrMIHGJ6Lb+KP3sv
dORbFMnd3g3vGmDNOA9aFB6KVsrfFQ353P9HNnTgN9AzSUN2izxGLU7EvD4ngAv5mp+AME26llEn
J2iEercAl8U6ABTOe22VWs06LhKVU8jNS+ScEPBKN9GbagqWAqZ55LXRO1nhpWfYIusBu/YwGCa4
xsDCrACXRcc2NeQLg3TSXjt3cRd0CISOugk9gvoEE/qGhZZanwudMC0AgY3rhginn28heW4rQ1rS
N0FD15b+XQkfvt6iF24EGIDOzFEQA2Qu1MHDuYOuTVu/kc6O2M9sRE6HyYruj1wVNs84EReHc2KN
WrZ8kKC525UvtYZO7MZXVMZw1gG9ASplhGLQY0Ynm0odhRkl9nlK+UOpjU5SV1aX9btxkRxUmW5V
PblvI6juMWaQZZMKq4Wy6wu5WQ5AfblIW2+TH58tIwiJvHpHBPvym+HvE+GQM4DBHnW1gZFAMyG1
dEWvVFIZ8QcFIJCb2ckOBJ6vPuY7sIHts2sOqTxfZSzghZD33Ci1gkLX1sawZK94OGSPiz09kMLq
gEbJGFzoLiA5TOLJteM2BB7cdzoQDAoOHjW/4DKQUmVcDkt0P7exGUgfTfT49RpeNEEkwiUdrI+r
dE0yTOrS882r3LhB+arH94vEcBuXLOC2hk4F1MihwUGdY6MpmnkYhMPQbYsadPiam+qMQaxvGwPw
EhX5VaBygWSh9n6pdVyk4Qot0+9CfBvFgRWI4FHmruUaf+RbEZDxr6eNfOJ5GHJukVqZIukiwj1y
GCFbUg93geol4R6UKfbXZsiW+soM9eYph5QL0Wx+EPMHIYDf6MXPcfzX+/Tf4Ud5+/lZ7b//B39/
L6u5AaVFR/313/v4vSnb8mf3P+TX/vxn57/075vqo3jomo+Pbv9a0f/y7Bfx+b/s26/d69lfnKID
68Nd/9HM9x+QlOmORvBNyb/83R/+4+P4KY9z9fGvP97LvgAp1P1HGJfFH79+tPnxrz9IZPhfpx//
62fXrzl+zf4okNZI6V/4eG27f/0hKP8kKkkofYjH0oeKaR8/yE/0f0K8QiKlEELVCD5ArHtRNl30
rz8U7Z8AZIvAG4EPzEBpW/zjH23ZH38k/xOwIFJoI1lFNAnrf/zni52t0F8r9o+iz2/LuOhafPDZ
nkBgD6pUSHSgdIFyoQyI7/m9KBTBmCepplg1v6+iXZjyJo9q4cls/DJ6aoSCx6ytkJ15EsA1hSz3
IbLYVtZANhJ98V4CXe/vskmQFjyaEryvDV4cFfwrybwbUHakvMScGoEeNxiVMV+XostX+1RjQX7I
ofzrNP0aE0pzwJ+R8sLxPXMyJjCAQDoDvDiW6PVgGINk+a7ekt4c6Zp7SvBA2xJ99jIyjU36/evh
0ez1x1VDIIMiENR6UE2mxgdSJq4CLRKQvXgqiU7sjAgWj1Ll4pXAFPs6d4ifIz21RjnEpJmgQ9Rj
pKTWgE5xiCx2txlyozw4gfYyeITzzZHhrzbRpxC+MQZ77h1/mScINRnPUJAqUIPtNHHoYjQqWbLw
+Cn7QCjLpczukGAE6Q4hLifvAVaO6OKuxTWGpgwVnbOwf75rQWDUtFnXqRZ5BEMsxBS+g3QFcsYo
o+//Jjroc5in1qhhphzIrMq8BzAVXBiTXdjCG/hAoftSgzii+mDlni4t6qk5alHTujTqiZjjtzEe
VYghIRJQsVtbLh2TUzvk5yfHJO2ycJIDTKKIui8pRUh+CT5ogrst/A7MkKK/vMy+tGHsmvMC8Ho6
qcsOPTaGVJLF47QtyMXMNq1ssP2YyfBDryrTgDSxvFznYWglKkt3irlzyOSfDBrY1E5KaxgnnHX9
kUoufpQsnnDRuKX/9VCP6AraE51MMZ3D44VgCrMF1tLlRS39ptrHQ+UKRmYmozfLtqr5GnpAq+5V
hjsKwCELKiA7rKxAqE10TNrxxPmy0NlNs1O0wvr661GIqdVK0EkWEDBJadzg6x3ZSdD1E0hm92a0
EOcWkOBtrPJh9kFOJbesa4es8VcTg0v0dBk4MKFJ4ChV4biASYaUA9l//V4G5SR0qQGIwcu6vclv
2MSkFz00Gn5Bco3HLbhJqB0g1xwIfgcMutiFaBAnvWMaZIYaVGRZuToqb/Frgv+yRUPtp6qMOiWG
LUUJzKzcSXxh9dJmMCQzHfx22Krcz0Y4xG1gFZkfohcqcnr1W6t5VcGZEn8ziLOVjQ5j3S+eQF1A
exleAmst+KrGO6EAEMqSvW7T3hGBakC7TOEJUnmMdOV5ZPtrBk5MUZ66BFpPnclhb5pt2OzVknXZ
XzBgCKQtXUW8tG7cmKcuiadMVI57GEpH3+K7ziQEOxBauoFK4zUr33vMF1B7F4V9+Yj3AH8p/SgF
wDeuQbENNsA2kr+JVcn/lMGYaE9NGF+nNZ9tpoRPbKONAquvR9lSxkl7MhY+S80ap+RqyWPkkeJG
vy3yftzMc11CqLPgxodeU9Id3w1qaBltMD9qeS59U1Mxvuu5JqtMJEXnrVHwEZDZ4PxrTCnouRfI
eGi2goaZp67lByfMcs7OQFczOIY4ivdaPQNfugCw/53LpN6r56CyOVlsvRLkYWZQp4ZVcHjT6CGf
++DzI8SSVTA8D1KtgIcRCvK7Mmni1EzkYP5mSGHdO1XcG2a9aL0GrSVA0zWjml3GNr20tJIigCAG
bTnAGFDliTrm5xjiMoq11Hb+89hgjd5ccIIvirl45Ub/nVtx7Zk0Hu0gpH8KXQzIsp97phbNsoFa
wej03hOlErSDGM6yhbYTqgg9UJ3oCXZ4j02DReUdyFE5t0wF/KU2S7FYtxjuA7+dUPCSwNecWvO7
5hFoGbsT6MJliHc0NjCSmtjQq94jPGV4tQ4aCJtv1C3BWAa+fmz3JMRsLCQilYf7HN+JNdoZ6nw8
NCEZH1EDV0pkUhc0r2NSRROXv4MCJut+I4HZ+UnF+JAr+/T1aCQ7X8syjot4KTC+zibhKTqqstqc
o20AUdddB5QHYLPclQrCUhY65vLUnpimtpEmTgI/pDA9oam8csnVCsnO0U4IQa7dsmAl65gRlPtI
lSFBDR5A+MPzkUZSy2kCeAutwYVHByJR8YheCYtXjO5sPe5RRUZIg4WEYAMd8QdxLqolDzsiOk4r
l7Qx1hugIyxm0E0miF47kGTiEYUCEDLDVPlTTESlLEJYIiRYhM0ht95rostARKCZO2V9I2L+TqxR
81dFXRVFJawJIILHzevLhw43IvDNPusFTCX2j+cAah4AAgNgh3wfnY8OllxWen1CoxI44Yi0ASd7
/GgOFjqScXN9NpZne7ncBg3jRKw9KvLrJ6ap2xi8m5XR8YtsGdG3orYDvI2/9tkX9qEM+RXgVMmh
w5ye70OuXqp2KjWctV2whag7qLZI0zprDi+N49QM9URatHQppFkFBejcXw/84o1j+/H1SKiq5+cy
oa0M/LygfgdEjHLHUVKUShDARrKJfb42SXYEBNAotRIp8nkjvhV7VmxxyW0QTAlBWyDfp9DpkRQP
BkSMOZjOiawUVDDzPSFD/4S9sx6aF2YRxiQETqQTUafdI6ICaeLDWLGUXnZE9LxmPCu/xDJBucFc
buYs5SKkQ4LMwuMLvMX3jHW64CggM4ssA3B8JDtMxfNaxIlImiMcywS72MiO4Hd+9lP7xru6Gzms
nbfygCBCIbtBRos11seg30ycVCNjF2lguVCMKzDZ3QWFZthD3v7kO93vtKIyeXAlm2UMgRROhcw2
Y7z0lBImFhkJJhXdlWh2oZsdq7hs8xFs18fgPd7KtUnog2JrFHeLBVFvD/ocKuMhuzoMtFHqwJVB
1hUKaJ2tpd1WG7IxQye3wsQB59xikfdzZRkb5nG4OFYShgD9joYQ+gwac66KQwGz6RPnBx/yVrLD
bfFdfFQfUhzC/IZVdb1sEGh7EErqEFuj74GsnIJAiwUQIqujWejodBFqlmchk3V6tR0n0/jLCHUo
ak7soj7BqKBg4ypu7gPN5Q1m5bc2nt3PoRVtk71if71vaM9MG6Xc2VxydbDEMJrtuo10pHNtN2zP
TCeVaDNkgk/yK1I/TUI2YAIj5b6sHqLiLir8Asflfyn7siY5dW3pX0QE8/DKUHNX9Tz4hejBRkIg
EEgg+PVf4vPFPXZ1heveBz/s7b1bLaFhrVy5MmvvmorOtRmdvTVdNEjBGWZUbhf04NVeL7QHnoZj
Eh1LM1YITepPKInczOX/PWL4z0RB3YSrGcoB59eOmaPQbNDKAkonjv06BPfP2iHmgnDJNYGWyxP9
n6HO+/YCzYQqAkzUhkCZWi96Iguyei3kWtbr+7b87zBne58bfsntvgDBICT24xD29CdUsp17ixHY
Sf17N14b6+wIEC7sMnKxTSyxHdBXVsJaNuSv/x7kW6S1fCMPXuMQEYkilFjPdggoFLrqCBbOXSso
qcPyHN3vDUJKkPiALmZLA7z1vogsXI3/l+N0vpiLuJqH3QEZjnOTPWVQbzB6bI/KWJFteLe4MC/9
FJ0B+9BmxddXPTIuLekfI/5+uP44eUPflto08C4EqJQvqjMlHOwh8HgYMiepMrWpZGreteOVL/kt
bf29yP+d6XnqYZtM2mFJcAxdHj3ZVl6vhAOHArOt6pXj99VL0yhzN+ae2PghQ2iYM17HltvJDfda
vBusRiehw9jdvz//pasIkQHIuShPALE5u/E8b+aDYWM/j1rFI9lUMGJQKK5SN64hb//vwS49HH8O
dnbvaUhvFYpgMDHUsa5OZXmND3rxDV4wS3jPozr5zX7eJb3rTAUW2tzJrUh6F31aDFzc35LqkABH
ieDDuQLfXf66fwx69vC3Tj4RDxXCxDmF6AoCVAyic3ho0IkNDtJqhEDavxfyUoC19H6iLXohBKHG
+vcLImbWGFWDEd11vls6Mmq4ypSQabpaiFgumfMzCqmKZU3Bi/imizE2zOjtyjHxJC6RxbxZWPHG
XZH8b3TYvoX2yzn5Y7Tz89lOqosavczrblG3o5n8cNNFfVs+oTvyyiqeo1jng53d5T01cea0Cz2v
uoz7oEprnk7jXV9BZYu/ec41vZ5L192fkzu7zy0lyqJikfm77BmsaNYBx4d1Md4scIOqJPq6sksu
He4/Bzw73GNTV40DPg2SaNiwQyxGfjDIiFntjj25MYf8or3xe3hHfYTHq+XHSwEcWmkhGYMGQzhX
ns1W52HpwEvBhLHavOrByTv0ibOv1xQkoSUCLxY91OtyX5dueAiOQH8boAHMus6eM0kjKPJDNyBp
fZg2i35TjiKLqv7pytpeG+fszE8Rp05hYacOr+IoD9AIWhn31lr/oreLKWYF8PPae3np+vRxEAFD
Irf51lM7Lx4+Jkc8ABwmbaJ8M0nv4d/Tujgr2PuAdgBOB+R6/75XAlsVoWxDM+Hup5c/Rfresa5h
nBfHQFEJFYkQXa7BWUl16mtToKMNGyOwN3gOViLk72HUXjlu31cLXDi0tMKl6ncSejZMQDxbBS1H
acgX08rlBj+Nk3tV4PTSMDDhhIEM9COBEpytWFn2YZ+Tck5gE6Kq3wqnoBMnQZSMEaRiF0bxdSju
wqDoiIrs34MuENnfn6mytERDN5JKaX768JVyr3Wrfz+8aFgEUQ2E0yWJPwcWRZhPOqq8Ce9LfVza
1SFhjDcbpisrJ5v2EDF+KhERXnvXLs3LXdoMF7MXSLOdXVjQiOhKOjUwfnAOvN7CBObf2/vC+4JW
SRBe8Ad6laAf/b1wvWxhuUXxtcwdjGKqtDoBB0EfvLtSPL5uYfkNzgf4gPHCRckYkr7OORQMWzLm
wBxoAlQ1Zovkp9586qR7b9IFy7/2oH0/WX+PdnYniXmyKi80UDiI8rjM1cmHTINlG9eAjkuf6c9Z
nR2tBjB6LWsyJ0J51onnNnsxqEUf9AA/p44ImChB0ySuxnw+VkYtT9JTkB7ou2BjjtMAUygjnGJb
GuxKofPSLxYs/QlQ11pMBpYF+iO8h9OenGwezgnJDR1XUJFewcLoWgv497gBRwI5CwJmXMLfqO7C
GpmAOe6QwIBo2+VPDgxfknmCsOpobtxCXQnRL31VuGviBV3uffRL/z2pGYmbVwzVmPj5g6PgfK5e
/fbKvX8hCwzQuIYLLAA1FaJkZysX5UULd+lpSLrX8lEfpuOiWw6FXwgK70IOrf3FULi9qT/y9//7
kcTIAPqhzGl/Z54Ld7Bsb7YHxAlDevLgPcHWzjrakYxc7ba8sJQL9RDhLPaI/a2W59LZ6I3emhLJ
T1HxFtg7Idb/ns+FmxNDQMEb6L6LbPrsbHhNU06RwELW84mLl6jKamPfdFdGQX0HX/3vuBwf7I9x
lr//Y6uPEdWkmgcsmxUaKI14p9wMt9FMj0Pn3SlPi7SxrTbjE/odvU6Cu1DIV6+emjRgBqg9nvNk
dOau5CKeg4F/BlZ+2+DU2JM5pMR2wdxqwBkz+U1DzYS1dcpIv+eGOPqDCxi8duoUYkmbop3RxsX1
qVHweXTI+2j1MoVl3jqfKy+ealDuEWMWRjRsdZ3vXRIeB7vLAh8AcBkFce22oNEwyN/h2tqriK5q
H20IJXvyh3rtBnnaNePWGfJHPkQxbCCSdoIp+OimZp1vio4kQVusCYWYuCMeeQFeVvOBOHDToPGu
M/INH0TMbWScahf1YhvmOpGExINnxp2L6NRRB1HtovmDdnQThpnT/1RRmVjeHQzNVg6B51EewcJR
xzyvwE6QG5vv1HjkaOOeHY4pGitVHPLeSWb6056boyNBsvCbu1yMMJebDwi4UmUKupoihIhVC7WD
tjvNjvU16DaTctzm2kwLmHjQ8Q3mdgGc/WZAdHLuY9gzJhYqHHUYz+6JhHkMvCmGMVniU7LlJZzu
DfQbVOaL2SPbhHUdtNV1F71K77Ecw1RGtxwOepqwVPZ4ewq1NeDoFze4w2KCBitui09/slbWULSw
XzRumSeR4kXzk1RRZrWoyFrj2pzbo2GMp8kcH8omWkHhZdfD+HvQ5YlSGByMEG3tbZjUQdBB/Qja
xaNaZi4bQdcys2ioMs+3VkLjWjHz575y0oHQXW0FCJu2RekmeVNkeR3EbqGfK1tu4Cx5J8PudYYt
IEhiNzAvYh4WAQ6WHetuNVSXp97YNf0vY1AbcEi+zGF8GMialz3+C//OHfKkzNGjCed6r+qeItKf
mLo3Kr6vm6wyw+dRm5sRrpuaw8NLwDOwJDEwqbiEsAdE437ldfPRI3+aCcMZDndw0Vup/NWubJDx
yJqOVeqMcF5hXkqj+UewvHJs7RbPZmPGTis2xtzeVNLL7JoeDHk/SUbx+fptRPsVNLHauGY6EWTr
9RD3NO+C+hHmeAlMcsCAWtv1V9NktD80sNM0q3ezE+uwcu8nDQXMQMRtZN5YsLIcjLcqeAwVTQYJ
kQRN477ZuzLKCqtMQq/PmqJem8SKW/8+7+tsanZiGA85m1OZh5nvgwfbPOCtW7dsI/0iKwHVGiTu
I/zp0KFJXjk/uX29Vsb0ItQQV3m17OfYdHYef2Tkl7fU/mQLv05vRzTfBZCNniu0CO5qZqc+C5J5
nOOp/RL6VHY8FVW/Ugy1YxJtmP4MkHLnU7fWeZNIF3570CUCbJxyDeVPGKdarXxAsv5kleGmc4vY
qmDRHX5YOaxuvDCrA7SaCVy5Y7cSTMca3gkF6X7MrXUjwiIdhnljULkqm+DVYFYclnPski/RqgT9
6WsgDmnQp9xHw33VP1ievm8cvq5BZwEo5qtP5ahtSLZNXu7HPjigfWk9RnWihy9BavhchcYDdZvV
7KIZGxIVpI27isYQNIgtzaJ4UjbG9IxN0HYcoi3kVMrqHT3E2kEdvd63lf3TKchLng+p7ADDko2P
GNgVPyR4PJa+7y10sQr/WeBwzoIlxO/3EQ7XMImdzZ/YeO85yG64cV+0/a5DBxxRq2hyV+PU4FBU
N7y2jyXpnojaMWeMKXKzzPLZdDO3MM3GzUAL3JVROGdQM7nRhWgPdkf7fSElbNGdgh3rxilV1gSh
PoAtUp0GtyN7l1nmVhUmByUzaMs3L6LufgRHKQ64tReV++bRSSeBbTh4IYYvYqkbWqidr6OHGjaw
ccmj15ZBCL8O7xRz7mU0DnjL/FWFnqa4gyyV79T7alSrzlpL0Z183rwL9B4lRHzKMorz9lCbbO37
+7Z/CBjEu0xTf4C/ivvuEHDoZTpDHJRVFDcTxU05tSxr+7zMhIis1Bo9mlqsRW86M/coZ4rdULu4
HtufFZOwzQ3ULS+sL+bZz8WI7m7XfSqUCU/N4LUJxJec7QrmvEEfEzKcSsJOpXL7tVsHgB9cw14X
aih3rdvA30rM5RdtQooGBasGod/olr1VjgMoPWPJfmnLm0AxczkuKwmN2lTZiiRhMzUrWQiaaFV4
RwMtFTt45o571PwmnuKFlW9BU5GNTR0Ve3ULzls7Yu90DYtpGaHYSXELBm0drOa+A0fWlx3BRVCh
0txZJCGOBQMzwaYV3DpFZrqlB6l+x9hMsEl+DKdcxXU/4Y3K825VeHyC/58ybrSkOu68Kl+DZJCv
On+sbipPzpsxMrukFNRKhRO1RSwG3f+ihQeSPVSM16Jsu5QL6ABYvtY3TlOwgyu4mfXUDZKhCrt7
2P4Wh0CMNBMOG7aF38oVY6YzY/fZKFIhuEPiy2tthCemxQbvc2IOJLPl3bCa9VCsa582BzGZ9Abq
APol7KufZJAH5Qb9KqjJuKvm6WAXEJOcqo3hsdNMAzy18rMp5GEoZJJzJ8PpyGaPrwHDw58oGvja
DH6WBs8iGaUQyKcrF21ivYPrtbbKo3b6FbcH+CmXQwA1WoMaj5zMLCvl4GzdWRvZv+PMi6Fs6EBH
a9F+/2YDYlvEJZGlEbBbHVTrxr03siqhlXtVxeM7AoxIM1piZgjyIWk+Sw04k1ZFPEQjs4K0YbvC
A36MdLyQVmA1fH+tRnNpYhYIjaBqAeD+Rj0ugpwBI0ZlIBgD+ss1RhgVuqwj28Jrrrk1XcgXQSAB
wxedhSb6bM6C9bJQ+JoCqRWKef7DFDDx5BD0if77U11MrixgGoAAfKSL5xhRUwd2MznLCp4WEjco
Yfsesrc9JvYwwOsVco2nPJnW3jV9qIvz+2PgMwy2pZ5GnBbgtPUB3Ro8MOLQqar0yvwuDePgSwGU
RN4NH+6/c5Fc530J0sn4/4vMk4L0QQBwIKEHeO6gjme9Rc6VQb+PGeItgpUlSMZwvP/26YSyS5ip
TGihgTVzTZ5DWxbJvyf2fStiDNQjoEQJIvO3KgunZsugr4A+6OjdCOY4AiU5bHX871EugFJQNVrs
KSCx9XsF/16+RnO46PrDlDguvJhnTf1kbgsYPXv7GW1LujFhSq7ibtAs9onxaUfgdVTkmqPmstn/
zij/+jXOay+yqS0109+/xkFH6MBwbgzzpm6epddeQZC+J68YCtRh6MtF2DLnGwZZquNPrQR+WS7W
zneoukzGXQUli3o30Cug38V5/THY2SFwvJyovBQTrvVbt3qZ7Xe0VCammbrq57+/5KX9Ano9qum2
vxRUz9BFk3A2lXk9JTBaRX7SritTruxZ3P97mEtbH03tIMcAocdpO7u1WoC/LnSDp0TYu9Z+V/3L
v3/+5Wn89+efQQs5tYbB0O2UGBzvKLP2JGSrDoHyv4e5UDZddsF/xzlbLvSs28yPMA9LpALl+O1v
4tJeu6u5A970nxLjNYj5AiT716i/21H+AE5myp1AQZonCSAK/L6Q4Qrg9eKzQC4L76zrVnLfEaG/
Bzy7HSOFCHnkGFBax8mNYsJTJX+6w7Uq9PJzvp3f/y6nfbbPfYNr+JdjnE4li+0M8j/wt1u4GFyf
08Uzhd5dC5IU8Oc7p+eifkTnWTdTMnAbr1ajpXekhewPfcnYxjRclrbwQbyGFS585vMpQkgM6Qmo
1d9VIwtcT8pZajoLVrg4qy42tYuz6jWazwUewUIgiOAusGgrQqri7zvZgAGooxgmmKrdf4aC0Qa6
oDz4OJLNYlJrX6NqXTjW0HIEzAsAG6f6PErQLh7phjiQzoJa2spEW6w6sp0Pe5WWg52CJO2qLNOF
kw4irR+iM3Up+p0747I2RBGIqjlpql+WfxJIuArvyke7NsbZtuyiGcppzEWxQB4id0uhktUH12qK
l9YOqqyLCxKeym/qvJVdq9ZqLJ1UQyKa/Knuw+d/31YXniyEGjC+xVphz58D5E4ByVplz8g8uNxq
u12PBWwLgjIxinEfiM9cXZNVgP/IxUFhYeiC6YFT9tsZ5o+7qmlH1ye5qRPbnumqjYS591r+6FNp
30yWfw+d3h+OzU7KG3lSkTFcicFHXcmePhHzvnW2Z6alFkVcifZXX+k3S4U/Zl6+LzlwSv2Kf/gh
8U6tOxapWdg3ZhF0aV7RU7AUUYj+Ah3DBhIK0GTO620EaCRynP0kgh9+P91bDTRHwhHkENN7qwwg
ZzoEKBq1M0BXB6ITMCLu8vB1UNFq8B2UQilyQsvwWVLX1MiGZnBjLw9gLlV2BSTpbfceTQ0yaSKs
rF3LZ946Mu7N4r5Co38qB+amSg9ICQSxgbxM5tHOYftdNGPm88pNJJ2nuOU2FFDQtwTxLfxfvQrv
c8LGpOazREIcPPVeuOGdeSMmsR+m6Kmo0VYQTmhCYeYjgCeFzBplNGBLv2ZVoAXVEiC6ci915uZH
W1bOuqZ+g4UyRoCR9ZDf+cq/C8z2vVE6G4winUKrzop5HhN0TfRb3Ip14lSeSsEa6Dctc56hHvfg
iLG9mStFdtoJmsyigX+At2P44LVemVVFeevK/K72yPRMYUeauWUlV6E/+zu4W7pPHlNjSkgn7yK/
hzPByEaZDJN/G5Xmve2PAJDNykhFGH1V3Hkgg+rBLddVGpHuc25rvXYBTKaMBr8qFyCya1KIuiJ7
3kFq41YrLHYZ2gGU+zo0yFd2uJ4gf4w6QAfFgB7SLyxwyH4MKwVUXKP0V8KduWZt5uURUIZi9koQ
6qKPQXrVEZW0/GHo8O3XMg8A1DT6sWnr4r7oTZD362blGxpaTSHb9orczmz5YEb3piQgHM19O56c
Fv4LDkqauf9SDnkQ+xytn541xznVyeDksSy8W9aJfcMnkozMO1mCI1cFmvk+e/nXNNBpo0Tzrtz5
yx5sTK95CErrBiawa2nIrPLI8+DDLTRkLINWNU2LsvxiQpRP0CoKH2CN593aQytW0vWqhHvegYTW
ionxiIhWHqbOb1nStM2tp1A3EK1zUIDmQqdcifJnOwz7MNLrwah2lSqP7RQczb7Pj8CgU7vvjXsS
ttmMZCF2LL73/eixyaMtcJUbx6NHV4Y3hVRPjQnEiaHO4fTF5xDJr9kMNqNXhnHvFmWsJvGr9zyS
yYivPV+s21HGaGJegwu8El6TRWzYoRiBzq6STfdAKjKuVQYB1DW45DteM3SLFFvhDA+iHbC/hQVA
W4ZPkBe7pdzfsQZ3+EAFyaqufiJIFSBV/tGG6gO2qyIuUY6J67pduQrGoNQ/eq7alIOxhl/PdpgM
CHPh28Y2wMm0bAcrNcsCfT6hed/PQExrJMiWfeuM870w+xpQqrUxSfFWeEru2mp4BNEO0FDYJBAT
32h/wD8Mt9KF+aoX3DpNBWNEk7xLAmeLpv/hkfIOrskr0fV7VpTv+aK5k0NGeBIHwV0I1k4rPoYf
hq5/yg5kB8+WcVdCqDSvyNGOCI+jvH6vA2nGXAxTDDmSAsI9AY0Dy0pthr5OwI8DifJsgchdLDyX
Ttr65kGW9YYp+jRb0ESTHXpk5jrpoJkLgNu4Kftx29dkhe4PIHcWBkSPWGXfiQlt7oZpfvQy6BJX
khJ9r+glsKleFw3CVB61bjJOQOY9RLKPGjqccdUZOPEVQUnE47FqiblWlngJlHEvBe4HkzxoAQvq
cHTiyFSwT6PFyZZuVjnu0THldgjFesQG6cfRip2mA/oZioeiQEuK0j768fxCxaSIUjl1EGKudroW
H1U/ArkjXiwi3a04PkgGi5giDlS91hoqc9rPZKfeTJHDPqUzf42R169Cc6SHEjj+pjGd4atyCjhh
WTZr434qdnmdrw2CsulkPImq2095ibrI2PgxN5URS+E/tL64b43woOzmuafjq8Yx42W0m8l0kKa3
dXpptHFpisxhOQBTnuuHvAzKlclmA4LmI78LFYZo7Xln6P6n3ZVrfzBuhyk3wY7z3bhRKmOUbKKW
Jwjet4SbT10Lik9lcVxAYDVVJCmDkR2jno1H4drtjWtMoBJ63ZsoQXQXAKeR5mZdH0g8HeUiDW/p
DS+i8iBpEW3tlvCncA66fT133m5yUSwbhx2VZpB0dZgnTJdj2rvQ1cuosHC3jYSvosEbim03ti5c
r33agkZiVdKNRwvSlowWNvqVnfFX0VsvUTMVSZiTX2NhpHXYbyxZn5hp3PMalqk02HIkj46aj84Q
3S+HNkUro51xd6nUdY/WxBxs7WZ4s3XnZ6pw3BSEpE+buKgXtpWEN7chkrGM0tZxbhs2vzDCnic+
TWtk/dBIrVH0rAuBOtL8YmkXb7bR7x0TQgm5Lzeoqf6iSolVIPwar3AIPg7kn9eWOZN4noVObdiN
4Jpw8w3uebJRvu7TJmfZJPNn1aI4hbampUZkVSl8rX/0rgsfG6OD07QfHrxGHfMpQvDQ0RsWohjV
m83T5Pl3EUpsq8JXx9Cs7a1J7U/S0b1buk+GY26NAOfNmpoScEG3G4jQCbNRmZLdQ0UamQaG1omp
/Q9ihCjyhuD2BC6HmouuHrvZ8RO08N7krolGflfF2qxPZtQeOVREgKvzPu594cb9KHbNBEb3ZNZf
TjBvrZplvorQlOHp2wF3R+xa/LFAo3qfoxKXF/yHYmI7RcWpwfuKwO0dq/pDDuJWKor3nL13Rgei
cVN1Mfc4j6mdn/qh+ciN8WjUzNi5xIQ9biTbBOnAQTI5ZSgAvHVTjYZKDSsgFNsRcbxUpDyUQ/hM
lfkW2sAo0WKVx23lTsD1vQfRtCmn3Un39pPJ6LPpDXdSjy94pvehLU6d5e98PvwoLefJjKadMNyT
x4EFzlX+XFXNySwkvBJZdDJqT2SgMz41dYuKEbFRzx1LeOL1eoce/nAp49VxU8mdbpCE5WWRNbm3
tuzOTcfI53GnHcjpjvQprPw+6TzpbgMJ2rDAmyJCVDUnMA1RhsVJnzpjpUPvuW+KPcQHv5rZONXa
hgCPL6rniZYcdUbfSRBZvIGFlgW9I1KlzHaNwGbnduzG6IaVRSOQcCC9UQgIAdD5hYpxgwYGurY7
CEu7nX9jekKlM/EeqWGO+2kI0GqzqP5ClUrhs0Ndt8+hXlJ2FVtJWd6aPT5RPW8G0g2JUwzbFpII
sQs4RLmun/EyuO268Mseq9vSrz87FHGSwRfP48RKPBLsPmeQ4KcmA0ehfBh7lGUCKvczqaFlb/0c
IvskK/QzYCvtBNhqsYMPExNvgkHoIMHHcqGEqEe2C0IqYqnZJzOsH6iYq6xs8BaZ5BeumldXoClA
jc7bqCcLAENwZ1uGhEBLA0IEkb8sFTXpAALCoQEFrDRUVgT4Qm6B2nnlQYEephxpa/JXgAIipkSt
mWs/RziEJdzO7wpticQQxbaYVZcgWRkT9OOXaZlXXjLVqPeh8YbtUcvyYwqlBxTpQ2dV1rm87dE6
5bf5Cx5jtiLC3M7FSJ4mJAXlMJkpt/WL1w9lyvoccj0kdHAmTbXuowruxnVOY8/Kxx+jKPDOdcOt
kes6HeyGpr2Vw7lQhY99p5ETIZZSXXmXV8Vm7os04l4fIzzhcY0Q2BjRyzGOyt/gbIH22c73oBRA
kbvGQs01iS0WPNoGASPZdI51VR/DYAqT2RrB7+gDPLgVkGwX7NsVdwQUtG3m/WwWgYyeabSe6qiO
g2HCnRxsfV0ig3bku+NSmjCLv84U+3PskOb5JkyudAPslo4/8wZK1QGr17LjYzxH+bEO60cxCyNp
7GLtt04X+xQWIgyGTkTgBHXTz9LpMqYVyOjIBikUIFD0NO47Kp9b5iPu6dwjsUeRdorvQUy783O9
Dahzr4rhpQ5cGZu19eIwlBy6MexTRfDUN445YySFw+7nsTA5FsalK41K3GiRfed3h77h77gYCMgR
E9nmaoDQkihTryr20PhYsahuwVKqn0oGKy8leNKCrZCb7o1Zlaj9uhO+zlC+oCaw5TUaeooqvwkq
oChgJQbDjIYzlBDTeXAXyo9fr3hUdrsOD3y13BhuhSwoR3y0brsAvCHEOyAvum0MEiTg6REmj3OB
lZD24wTxkLSdq1NPINEfqWdRtOu8EEM8NzberboHUwiv41azDhHvbD4CK5vAWqL5Zh7AdcZ2iIkO
0a2pwHEp0K+yn/1QZiODVohNovDYuHwTES8beLgplZlOXpvaGqyLui+eqFci8rR4s6OsuQvFdA9s
hSVjV4IWBVrkwTY7J8vRlbuhOTdxq2OLaWHOT0Ez3IW5gV8B0DXq5769EfPIs9qpuvtSTzV+mrAy
5naIFlTEY2k3P4qJ3lU4M4GUD4Nwd7AX2bqi2JcaK2lUA+gEM/J93SKYGjRF/VFXq9mBOBOY6v2G
RfJDC/0FrfpqRa2Q7ZSN8LKjI6L4WqIaW3x1DQcGUA+viquTJD3ibaAvTwE383vcis0vFgbV48BF
8Ogafv+It2/Y+LZ6tUtdI8foCKqw0UI5MB/LxkGmb3WgHIninrpO/8v2mdrPkB8/dlTBzG+cSz/u
uI80oRk4TCuoHSFiRV9WsKm5KfAvaqP/NMHjA7ez0kkhdb7iprbSebaRVVJa+KcuMsLbIRg1OPhO
sUJMhFcP5cysc0Y4euUNnPxCMx09V6aOU1m7hqHY3gbN/ciKjQJxFKlnnVmNDYpS2WXw+KmfDN/R
qzCcx63JJuhSqxAlatAL4sqwEA3lZGySMgxoNnS+tTHK6mMuesit5kEX1xHS0arBW17iV01E7zf7
wC34nigarcjo2SsmB8SnfW4ngUAKlVOC/mzXsNadp4wM2lo2fhV9tB0Gaq6PQjfCy3gmzrHtnDez
RemrYje2BwaT33pfI964cF4Cx2YPAOPTbesbrzTu87ZxkQ+b0w5L6CW8laAMzCE0cnyBCyRqGisG
H0mm3GrDbJxUgIjTcU8yoOjoNXP+2JhaF0lP64HHvj/hEqynYH5xReCVK6YC5SEDUmxKiwn0CzAP
pyBuSg/Sj8qfyK3SLkTt88p/mXLI94wDkqXet7ZNOE5w4ZnwlrrGVrfaRPUpul3ItVNCbVq/Wbkz
3uZ1F+B0hCCAgU2dSYqu0qRGCv2DGMiKNhHIGK9SWriE/YC4N9HUhwezsX2QSEAavgV8Yq9tR/Ub
ZwjKvSEr8AAMJC99AdG4oGym2Crs4mm0ge7YckZOMdNQfM4qDJ58hcsZM8rXxJ3z+6kMyGdryuAB
OI1KAlaAxhlQYE4GCGQxUtoiltbY3OQ+bOP6vP1UQTffmvhR66FGndeUys/MunCfCwNMjnzw7aci
V+LBLjhdD0QVsYcbPFPo8froBxu/q/YaJ+2Bfv2AUcr/I+28luPWsTX8RKxiDrfNjpIsK9iS7RuW
vQNzznz681ET3A3xNMfeczNV4ymtBggsAGv9gTdDT+XLCbXHTmluZSt51YJR3teWl+1I0smOTMT6
LMuPWZs/ToZRuU7CHmql6eg35W3vVdQyrOFJ77jf11YXupkT2gezMjlvy1b/FFJzbjrF2w1eot34
qKQDncrG/saz6mev/g5g8NQH5UHNqW0NjuPfVCYgszaynZ2pD85rahflvWWlyUaVuO61If2Oquhv
FBURKaP7K6oLiJNJA7SxOOVdTR2p53lCDfqksXWNuvliRont5mH3OfVBCvk6NKkkvaPDKm8bNcyP
XlMYm1yOOJAco9zo3BsAWkbPHrf6XU4nxJWbvr3Tm0ji49oD75vuWxVYP7wh/tMqYs+tx/qVVh6M
thrA6OQFP/xUCee2vAHSMrC+cCcwb2Ryy8ko2b9JaBhglFL5cyAZiBzWQbAtpPDBM01O2A6AmZXA
4ErVnqeq/IWu/Hhj1ZV3zOuk36Dy3W7zzklc8HWnovGoxVE/iwu93tYa/m693j9ImrRx4uE7Us4f
jKL33EGOX5zOfk5HnlZSQd0ma72tH6O1i1+1fDBV80fUyN62CRSoXG3+Wg1SfPI7KjamVMi7LHDy
0yRFj1rfvCBtuh1aZC8pRXyWGxSbx7ICKhnpUKUqXhQJyLzNMJTmzqRMKBdyuGnk8ZgYVb+tsi4+
AsSEjJt4ErDMZJfrabVR8lkpFHHvXSFNfw1G0WDWSL7y1G6XN0q90aQYFn2Spbs8MDJuWfZ2svRj
nnQJhd/mewRLfVO29l9D43/OkvxZ9rOHMKleq1g29nkpDYfe625G4PB8nIpv7dCAT5CAkUAJuunY
q1+R88fJIwnLp0jJc1c3ONFNv5RJ03b/wZZ1n7SX826MKHbjZ5Z7oJ/DsP6ihXa7TbSo+KC0iN5t
wjHmPgtpouQKAFtIK8fhY6oP9Qdfh7ng92ZynzpVCFGOTFzl7d9JUN+FavCHB5x2MwTaF3lMin2h
cTW0zELZFamjP5pZVFELRjOeihuiadf7IEudFjzHYLTMBDFaIZeNMehhTVmXMGiSdlcGD2X31/W/
v9QV5iNgE2uZCAjTG7oMoPeS3MphhUcQVrHttKndwt7IvasjV6fsGoBHtcsTaU2zZKGjSVgAGBrC
2TMH4jKsTRU91xtzAtFt/SWHylPlZFvgjj86EGu92a708Je6YhqelSaqMm8Wbpfh0jjou6pVJpcS
TvU3FXpujLKX30gO2/L6jC41kSDu4h1ozRReZ/4pZ02kpJzMGkzlQG2B8pbVSd7GVj3/xapzNH9b
ZW5jTdFJisI/rgd+Y7UL7Vr1PLLAR8rTrEXCMqLzvZ/9qYfjLEg3syPXrbAX5xMpYaTVZRs+u/D5
ct3zE80kE7cVrR/JO1QJ2obemsfaYhg8QKGk4Lj3TropilqU7wyamUb9pfFACTYgFfyv1+ftra33
bt4QteYBRbMR+Svhi0FspfltAN7cegeeddOP+CAjXGzdllhgqydAVVself0GePcGObPPw4f/Qfhu
eaz4JwBkobEq+n1TU4LTJAWjm7Vu8oGqz8naIxDtb0IePGzG2UI9O6zhM5aiMmyYTvxHp+9yOfYM
CUWzrWnx89oIYc/oDjd+cw3YtbTb4eMhHo6Zhg5J9DJKEAPttXpQqVo2t1AdfzRPpWyRxIfEshDm
V/z+0Zta4M9VbUrBPhw685F2VPnA/zf2uWY0yp9gPYdiW+atrXzsm8F+4fHufwIwKe2NMle/lVXm
8FbrkMfi3N+XqYqmdjPNN+ha/i7NhUsjjOs78OlYxTslxarBZqppIJ58aGaciI2k9BstGOQXq3fG
05AgRtkXYfIl1qzETXOKdrmlaYjBSg5OTk1f0ESYPOlzaFkdXJvO5nGV5/0x1ebrT6wn33TV46Eb
ICjSUPs7xU6s3o8SB441es7XwRhDqtgBvu6kipdsMrgNXF/fM65HXN7nky8cIRTkosEB/gu5dNbh
Q3L88L8Y4izh6uBdzupknNIOenyXH1nTEyoaEUh6w0KIz9rP9nOg+GZCwI6H7n6N8r6wdOmqs2Px
PQaG8PZ7zhItrNOAZhp0kRADbQq9aE7EQPayQFuZwLVA2uXAGpW3bjiiyRCX9LirlluEUurPhQXE
/fqnWjjtkSzH2hi9xDeZwctIo2N6jjeT+DF136vQgbBAXrlQLA7mZwhT0DBM4ohKuqqxM5CL8/80
uNnY2RrGcgGDxTg0XUOxFICeiI1Sp8FPjYFP0wT4jRWU1C2vPJh+8VHyy931OVtadxfBhM/jkwAG
dYBEb6Xd3u6++pm8N8bIzcs7z773uj+y8nM3STw0Xn09X0tt7zfXRXBh0SexFw0GVsJupb148QNp
akMdZGVZLH+zn9M5//vZSk8yq5PHgOkclP4Pmlkfaonre231X65P5eLyM3V0/lgA2jsAbqJTA+h8
ZtJUv+lVcgpqcwUcuhjBArQMihiOtng58vWud5ySCBKwftnuHsI4XvE0W7h/QR35GUK4BWWOR82E
G72b64bEK5SeI/I/hYIGXkgpHkkiasjS0/WZW/xCZ0HFAw7EAVIrhoziHQQzO9pFTuGS6lfW+uK+
srgvo0Mzw9aEMCrK0r4ZQU9SfNg1Cm532M0G5VMZxyvrevlD/YwkHBqpNsmF4xPJCoYjPbDHrDDX
LHoXJw1MI6By6A6GLaSiYZDyPO6ZNK/095Vm7xWp3yp2ePiNb3MWRgCEhn1RDZZHmBCN3aRt92OW
bwAS7K+HWfw2Z2HUy03q1w5dd4t115rGXwly1qr1J6ybp6nNT9cj6XNGE050wGs/J07IeDSw6yiN
KS8OfVKV9Cv06MFMuQFNsabtIQ7wdM9M86B3co6yv689xP3daO3V/tEfczfDcbnaIqUR4wpfdLQ2
rT+SMPQwqlNtGgnTV6fNKnAr8EtHn/qcP43Rfpjs9Dg4bXOLD5h/26tN+1VPzfa5aY3yZKRBvMlp
HGykBp6ll1T2S2G09MfSBE+SrV0P/SkdA/VVAmPz0g2Iz6dOlt+2ne18uj4/yyfC2fzMi/ssX/Yh
vK94PhHUQ4YwZLb3TnK/KfDGSPcOnIyVXbm8jrHDmeGKGjT0y3B6kZg5Mgmy63dPmW1uY+W+V3/r
3IY9MxNnVJma22UQPNSn0gSm4qpNs9GjgXLeR4Pa1/WpWxqKQRmAk9ug2yI+Byapq1h4LXlMvsn6
QywdNGVl9S5VHLTzGEKCHoNeQZasnGWSqn1yV50yrGy9O0hvu/xkIBq2JqC5uB44hOfn6qyO6ggR
c1NP4lbuUF3DmsXnNXGAwHoInma1mOBmDcy8OIc4GCATjcQCENnLL0V1WQkR3CB1JjSRaAqWIAHs
3yA/gJb+GUVY49QqWeM6UeTkBq6nVx9r5dehxBchhCWHDr0GVXLisB739YQLivTgqOXKiltKm+fj
EL5NL7d6l9cESaU7r0pcmRpr29HxzFfuBWufRTg7+7RuEiuYA2mfEjjugNAQFlkZzVoQ4dgM8ly3
wMQi6FR0tDV2tN7cNtxf36RLN5zzKZsffGfpLTSy2gwNUkHgw8VMIPh/CmTexX+aiFzncLmvh1sZ
kyEe07rttVnaUBHRnJM2OA+Rb8Lm0I7Xw8zzLx5qZ6MyhCzq02j3xxnTpUx/oZzp5lF3lLnmth5G
7Rj4XY+2Nij1cg5pKcd0xJhDTb5vAD9Fw2fd8nf/LIiQCSbfSkJ1HtJERdvSU2ChWAyg7/LPwgip
IJaDQM5TFp01Wh+ByvRD8wx4/h9GmWf0bNXF4FyzKCGKzC6d2DkZsCnaEith3o6Ya+tASAhpEcZg
ElEpnaXolS2M7wO4HXNjpW5ubpO9t5VeQFZuu8P4muFKlLrZU3No99bN76jb8Xr9mWRF1mPnt5JS
zh/Qxhsi9WLXKOpNH/1W1pjl8yzKnNheCBs6SqzMNzsW4+g/Or6xiZF9UNd09hdX/M8gIhFL90uw
KDVBrOhzqmKQGnzPMYK5vhTnpfbu450FETZxgF2LlHGFQfEHbVkFOVAYB9dDrI1DvVyHdTgNhjwR
ItRl2jsAjOAhFMOazvdaGGHvBpmfaz1xXCj8eNbgOxVg9uoE2382GmHvek1Nny5gNHr/Hak+OPmv
cbr2mFsaC7YBNDwRL6XVI0xZNdaT0yDTRGOTImZg0V2DRNatOWgtnUvnYYQpA7flh3XHm7HQdnAY
N2Fzb9d3RfIpR6zGqVZE85YGhewkVjHcsnD+EJaaYQ2IN1jsTQPLXdOJb237h1f+zmVuFn/EjoaK
hSFG0WI8TacgIoXXN0Z+9J2Pk/8bR5Ez9x7o8CPaLXbgaoOLnDFJqPDF+b5O0A0HV9Q50e76SpuT
iLg1ITXNl3tHljVLOMZRGExDuYNvTPnvWAO5AOaqvEZG9wC/5GSVyTcpNT/g4/Txetyl2zelQF4t
Bk6ksxzg5YYNRgh/yKBwXbkDpwiL0HoyPrRbGdcU0FErt4iFNXgRTFjqEHOkrIkolSkR1X5Q07l+
1xkOxRJ2cPxZVpWVaV3IeBiuEhODG1WGsnY5urahvW2iZ+IW0efGV2bNk5WEtxCBvqXDzkKhUcY3
/DKCDmMqrmyV9hRMraF/8VeJ90sk3YsQwplrJQiR0ISeXLCR5pug+4BbJkDwj8mT766bZS6sReSU
eZAZGFMwe8KBZ+I2g2gs7UMd/WZAPrt+P1sDrTWZl5beeRzx6gq0qVAgtExvepDzXcLx3NktRd0j
iAvq4s/rS30hJRHO5AxHxcAyRZ8uDr+KDgnh0KnHXrHdqileFL83KgQ70SZE6hK3ussF4VQdZNoU
pR/jGWiPG++Cj8Njfmpc9XbdAmxx9Z0FEzZUEeqY8ww0R0f1kx7iUw+Z8PqszYtLSExv+qP/GY54
bMQjrGBpRiAM4Xaqh43Tz/DbGFmttVCLg8G6iTSI+hn81cuZ86VSBnbAB1KKr7F6N64JLSz/fVRb
sEHR3pdPwgFGC8zA0W1zfZsmLeCp6vH6bC3uVYvDgp+PYss7OYJYxSrPqst5Tc8K4bP6rXqaDpNr
7uM9uK6HlXjzBxY/j2VweVDZrRpVIWHOOn2yzLJGPGKr7MH2HcJHc/svL+bir9W1PX/sd9FAbvLJ
ZTKO+IUol9C7tRhd7e2SE4qI1jHBJbmj4v1h9tn6HxrvyyFpWeKvguq6OMCymNLWB3ZK+3/czbLd
w9G59z/8KyXV8mbNgdVanFEqeP8JKBwZkdNwTpbQRSNMq/72PUuCi2CroDAn/BltqPx98ZcBbard
ULJQHgYfbPkm7z0l2CRp1gWbMh+7/WhE3qxgqNUAjQuvh39h4c/lyCUCOwj+3s779jPliOC5qfzq
wSg625Vjz8b9O7B26AKnRw29uI3RTt3tUExITPmyfd/IUBvbfEBSOR9sd9Dy6aPqlA5ovET6qlRZ
tKvNWoOfZ0TBwdJGRNXTTL0J07h29XguFDlDcMDRNH7Qi7yLeM/I4XHEzenvyhj8B2fwh4MXl92h
Rs2ZUvyQP+W+WXxu4ireTYHn70Mjf87MHB0YLdZR7zLGu6y1211vGDLIw6n/LPtRe+y1KX0EJmm/
SpaNYpjpdH0MCdJLkImsw1o/1Hxd4ORA96c2jtWV1LV4wCBbYOqcYWRiTdgcRliMg5QCz0JYhXLm
CRLyDnqKgtZ748q3v1FpxonYkvEB4pgxRfOQ1BrrqIgIN8j3eb73vBt5erq+35dS2HkI8Spg9gUs
NDTNnNw4Jj5cX71cS2FrMYRZYxnVSaOESC/s2/y2+nMWv8WGZCdZEJPR8H4Ta165py2UlxAmB6w0
X7EddKIv09hk55kmBVxxRkC93LbcIDQ2jYkSmVW4+Thurk/jkqLFRTxhk/eVpcRSOR81H0ElauBc
ueikbrNpAlf9I+828nb25dFXGqxvrwUxgZ6PUzjiNEhaclGMzO0X9W/zcdwFbummBwRYY7e5QWAY
UxRYvm52UFdWzv8zZAQbbE0D52MKBzlCSooTygMAkGfzBr4m5nQDGh7tl9kDjCyw9Z/XNPoXrvvM
8s+Q80o7K0pFVulFWouIR4lpJv29b2rV3qRytiebzrJxHyxNOl3/skuXvPOQwnV8MK3G8QpEIuQo
fM6T6dTBE7Dj9us/CyPsQ6mx1TbCRpDSEyTmqdkUNSeDuVZ/WMxg58MR9kWNfOFQ+8yg/qFBJ/cG
l54PCbIXrrzPUedZ00xfjoelAgca/X+EVy6/WOaPaVsp7Iuo2tbfaxZnfFCfzY/G3/NDY/U+sXTW
Itv333Dzv58tEMuTaM6B7qeaOO5m7xZvC8K+32dP6hEm7arz0HI8/CIAONhgoMTtl1AqV5hS189Q
VLbzHGqKObboRluQkCO4hG5u6x1MfMRLi1o6lR6iHlGdjseIg6RayXpLd2ubXvG/f474AIoRgwlJ
RMi2eTrsDu/ThEj1Rumwpga5ubm+ZBdT7Fkw4dNOka+2acRToUj3ZnuECLHxsmRTSDyO+0//LJbw
XQcvdWz8otGKQ/TjFM7+oZPR4vDkT842HRKghWqtS79eqjGAiZrK3OnlvS+MsHaGrvb7bl689JPj
YNspMBJ/QxDsIoowNluCXSHNqNfMaDZxg2yvP25KKp3Xp3B5K56NRsjXaFjD9OF6zzE87vzb8iAh
sb+JT9V9dAOHYg3ctpg4MbSl+qSyOUR8YJEVmJ/pDepH8bFHdTiCAavG9f76qNaiCOmZ+hVGJOo8
ecWp4lhPIbxU1nC8HmVxX52NRcjOUMzAntocAghEP8RKvfWDb5Ok7tR8Wom0dFeCFPXfWRPycxNH
kTHkjGdovoSQjZyV+VobiXBP8ayeF0XPV8lauODat757GhyctqvpcH3K5sz37mKCa4ttAJB1cBm+
zMSRH6qF1BCo6V+TKd6MznPYRW7f7pp6L3X0V/gfr4d8a5yIMdF4nK3EtfniJ2Rj/DtDJeqZPC86
pvfAEKNT8glQ2DbANNfAJmSLMqFDoWFjHf4XiOoS1gEvAQCqysyw0C1hi/myZthjD81hfhxIrxHd
K/w4YNie5vf6eFSZgDUfw6U0PCPIHQ2vUB1LqMuJDns5y+XOBynSxjsHyvVQH7MaVTVZ2yIqcX2K
56/2bobPggm5Sk41DdECQL/x2J7q+ksAAa1SP0XhfSkV27pLVpbrEskB40QULWhlANcX7/G5VFD+
agk47HnUadvyEP0wscVOyFy/AzGm8kolb66XoyQrrB89iJomLjLyvY+MTfDIVW9X26vKY3PpXZhE
qqAI32k2VnqQRi6/mBoUUBmLDArTSdunO++kHKQDujq/7mBO/fgiknBfBhDWwpYmUkUx583/ccub
5EbeZ7ts1Zl9IRWbfCpek3NXA/mky2HxrNf1xINLBH33TyuofDers23hOfnulxfheSCxtaFasQZ0
BJnq0bhXDQhzX/3qGHdffG3W6F9Z8QsJmWAOw4FQBFhb2F6FF9mNNXExV9pDoX+U4t8ouF0EELZU
oWRxmBg5amKhjAD00FDWyydzq7UNR5nWfUCyJocYkqcnYKDJC6zV2DWxObgdlDpasfVaOB4shGON
GWiPpoNY4ECZKa8KbrRuX08fptOEZ+mI0j3cO/f6N1yY1rmugaUX/4Wdj3Bu5zTBqTL6k6tmf9XB
EQzt2mGwNBRtlr9FBhfDNVHwMW116lBeR9n8Y/h97kOZDxX+DW55Z866ydv+aE6b/lZfU/ReyMew
3N5exPQF6CNebgMzGXuI7ui5tPZzpvwwi0+tjHWJ+QAycmUSl4aoz2OkE6Xy/BB2XFpUjt+EBQ4m
zscsg9ny2U73o75yki99Ko4yXvkm5wzqjJcDahy9KcbE6NDeiZETqrqN3awZUs+/VEiJFkKMcKFY
eg6f6zKGn0bBEE8qQKpuSr8ZfQ1luPArX90MeaXij9Jp6hen18IfbTZirBxhUPPrN6+LnzBPw9nT
EcmmIdazqXM770NXHOX2y/UVv1TJp+AMjFsGZUJXXvhacVv7aa6jeTC/TRGhPirs6HLfbvEA2bfH
1rldNWxdWiA4l4PAwLzcUsQFMigQhTyrZQ/AwkcMykZdy4b4FDlrrZbFSLM/OnuNPp9YyB8HD7Zu
YPRurerfEY48BFnxmsHdtZD6uT6RC+fM/NKWTZtC7IKlFe4Azqxg5UK1xynG7u1NkWvVJnSMldy8
GIkuti6jUK6CprhcEl2jBHHtsL9QFZOjQ5DfKv7KqlvKFvQQVZ0kBbJBXPjhqIz9lEN+Vrwbz6y3
kZZumvaHLD9N+KVen7iljXweS1jhakWrytCIpXl7q77LVouR8y4Vd/F5ACGpK0Y9qWnOfA17fHbw
xDhq9+Uf1mN7Nys/A41dO0WW0gYHMxcO2NLkKCE1VSlP5VantZIgVChJ+UHz0s9DmIauJ3cPfl5j
Sln9cIy1uEur3UKuzZoXPP1FYWHEHSI5ocm9yrAQnNBPiCbspNlZZ3i6/smWVuBZIJG+letDEffI
m7ljDoLe7kIUKOPeH48Dyh1rReyl9XEeTDi5cA2qyz6gOxW0yYQOECWIvFq70b8Bz8RFch5FuO84
Jd4gaKgNbvgyfMSEZXzyv//LjRhfTyyCkYhxs5fkftqZe3mz3gBc2nGwf7nd0FBBdUz4dupkjpla
4S+oyA8cJkg3qW7ePypQFtzUU6eVTbdUJkfkWsXp862XIzZx4hwCnhkOPWvlBNndVh/lXbLP3Rit
m01qhAh4bGkebfxV/enF73kWeV7FZydaZmaI8jXcseTydozuDeSCr6/OtQDC9hvxSAm0fOxdz8pe
ysk4aBln8/UYCzuAJo7DYxpovayIXYba7AcVM5/BNVOSiE/DNnc2HZZ0vxHGkGEwcinlmS5cQORh
NDzNI3X1sbbRWxk9w9dZhuV6lIV8BcniZ5R5Qs++SDrlXml3HF1pmOb3VTOrxmRD9dIEeOrkKWJS
fWIhGNhY4x9Ri+ze9fAL34vSMPgrnjE2vixCfqbPTKFTwT3Ram6y5qFYe8ssfStgENzfAESghSBM
ouOkvRXUXAJyGTlTzzL2pobn2JD++rmMLj6OHljZqu/lCOrEDCaUSnukbE0DwZgg2oy+ei/n5v7X
JwzNOJBsVLFwPRUy4oAEamp2PIcaNYaigJxcOvzGN6GBhwb+vFO5A1wuCa3ABAVPXkJ01SYP201Y
Pf/yILiSKSBgZmUDtA0uI2DllBS57fNVNMzrYp8hNFr3+M+CCLmmtezEiWw+feN8VprvQ7em3z8f
C8KxgU8SleS3D0Ht5HIUbTvUtlNrvauCerxNIuhKZlT8oJuV7wryPGvafKwtVLejvObFOtXV56rK
pEOgSdYaOH7pLn/xa4SNHDdJ4g+ahz/UFoE7t3aTj97X5shN8ZDsMn7M9vr0/j8BZw4tN2zrHYSO
N0WkICzG/To148CdvLz52g49fDvsIO7rsrbupTjMbiVFbT4kshPMMoHIYhcB2kujk3yEpgiU4vqv
WsgnzmxZpXGYomAh7vckdDKcxsGYyvEN+nPYA6xlrIWMwouTl6FNAQblPOGw1mvFifSKYcfKoSiO
vf33iFj+9VEs1DSJYWuALMB1vkNYoeRUNqgBccfyO5Qe+ii5LcIqnTWgQT7hmLXVzcRDs9/rVg6d
N9MfcVGfh55/2vl5UDpFV+cIZXjaDQaJRyPsNx1eqqr9qFkvpWS5+vBjSNdKFEutIAp1loXvwfxi
EzGmo61Vk6MAHEru7AP2cAdvOIRu8jKjMpXosLZ6F469i3BCclDSNmqk2gb25BzS/pucPE84CuDd
7eqmvevsr0n6cv2bLuEiLkIKabV1qBk3Vcd+2Q3b/qk5Oc/jDjkxhmk+81hUXO0FeNlH6dNK4KU8
dT61wieVEO7XJJVqSbfX/55Vef7obrJ7LnjHdVmexawA5dB2HJvT8J2cSx5NNRIyLF0+MnA5ubAP
RofX3zYttOFT04cYoilmjiaan7Wn1jb0vwo7815k4OF/xJC8oJVrebaWq+fvKS7r858lfO9SxzGv
VNN58pW9dazdQHJnyhqGMhj07rSdgYbgbfZZM1YO06V0oTIXtFlkXMvEhISaoCQFDes6w5hCHjZN
GG+NNUbK4qwDKJ37OyYIcDEpab4+aoHFci6dB9RPN33uoYP9NPYPaoT+OcYNebAr6RtUY7vJGpjP
WP/+xjLjFqdDplYVbq3CcVhNoaOVBqkXHMe2OmnH+ICT6XbaJTt/H6zkqaVpZXVxd6CNS54UrkFS
KoVlNlt8BKU1QaM0vwSp0v3Qam8tF69FmnfXWUIsQf1NTcfUxpHUbQdNHQDB9Pom8UFAXp/CpcPr
fFDCDPZAEBW54vEy8qauK3RTNXV3PcTSPni7oUIWeBN4uRxNEyV6S4eMS5HkH/WWu91IGS6g0VOs
4MCWBmPSeaFNxnp4pybVSYgc1QG3I2WK3RrgKEapvzEWTmFZZsFzSAoJFQV7R9IDFRRy+yOQ73rp
RLNsE3XFyhZeOitoodJroe/HY0KIw21YGv2MIsS/5Itmt3p9D4Nlpe62eASiXURjB+wxhUthTddV
PClOw+fv9hrItWhv3M+OkTijYf98rNYy00I8qADqrLYCVZd2priycyPzmqRUXL1w/ePMgdfuEV14
HHn8h/u1E3eBVkk4mrEWAlzzg1YIB4B19ABDccLnw/c8L+I9HfPbMqjzbZaGn0J4lxs9HQFNZNVD
1WNTTwn0e2r66g94J/ZN3tFJxiI0RE4T0WCva5EhaBEgDYvyC7zC6KZWrO9OSr3c9JRmN0zJ+F1T
YU+uZbr3S5tbLy0iajb8RISfLjeRPI1D2c8V0mbbvV21ZRuLVDztTtOHDrXzrX1frnTBFrrOlzGF
2cuzSmmt2Sxsvt6rbrb1b/yDdVC3qBWsxJrX8+VZeRlKSENoGysUgSkJTFULsc3vnTtp1JRtHao6
3ggKksP9UP76zf0y6jzpZ3k2VnIkkWe46uR8jHCp6U/Xs8X7PM7f5+X8xlpQKDZc/n3ParA6BlSO
FQEq3H8a8Y3f/3k9xJsWpjhz8G5IdtzdYUcIb4M+QyCuijjsKw2HtU11AoO6laWN9Jq7QJvwG0w/
1Z+0l2QXfWt/PX3QgCALooVIC4K34OUAu7j1EOuny8f5scu+Kq/xZ30r77XdYLrrlbyl6aRHAK6E
bilJRNgDOiLZdtkwnbxB7tvUuMGxGNUVba0bsbjwzwMJCx9IX55KEeeIfujuZnKEB0R7E57mh0H8
6+1L5vBsVMLSV4asBE1v43yRtY+T4mOlkt17A0YCWiavHCtLWeQ8lrDgQ2PEzbbm+JIHe9uZ47as
Vg7ItQjCkpdLbahxxhndxMPiSD/08QoDdgFdxHxBTQWKaM+SbsIqMAKap2YYA7j2d8B9qDpE22za
du6ww5tFJRXOmpUru2z+o+922VlQYUU0qSENngEAJ4OgH/ibWoHt0H8tnaeSRgFXp65+sgbMTOPf
2mLgA3imok3DtfNyi2HxHowhBDEeqdYXdTcBp8fAatz4EAb87VpLZ2mLQSxGkJNa83uPQxkpnFEF
WOpqkn1vpNqjFuZbK0jXVLDe32/m/ijKvnQgNJa/eL9JbWfyZdoBOlp/inzwuq928W1EVT+kGiwN
9zig/MYnnKlObLWZEi5qCQ0hTONmxlrU48RjIaFahRKAV6g7z3QOeqod/Un7jJI7AmNat+/D6evK
L1jaGwgOyyYUNgrDIuKph66EBFFMv2zT76ZtvFOjQ2NtgBRseA3Catr7ycoj9K2dLi5crg3Uy8CA
6HhGXS4f7A27Mawd5HG3/U53jaOFX8friGc8Hhcfws/DMfzm33QQX2m+utVGvw2f6Ur59iaLt/FW
vot2Eq/X7fWpWFxmZ79KKA8UcRg5E6LmLjDGGycIXsdR2pfJGnNo4Y3KMjuLI5xPfTaGsFHnZXYw
vkhIIEn33OX6rbeRYWbUr8lKnlj+wv+ZbQTeLmc7UGq19C3i5Xb9I54wpOy9z9enbjGEBX0YwUJw
ZmL6S1MMi2CXc1y0mLtA7bXWGtiLHwf4Jm0FEIDGG5Pv7FbURIYXNh6Hupe9hOkfvvr3UK0MYjGJ
86z5bwzh0EMAKYwdrRtc66M97hCIaU4lLAV9Yz2i4p5NO/0IHHftEj0vq3eb4SzqPLdnI0vzNky0
+bpCZ57Xjn8TeVvH9XcYaDiudQhugxv9KTkYn7x0s1qVWbxVWDankz03n2gNXUY3h7wcFT+YYbHe
YfgU3oz9Jkk2s+K4fKyL3fV1spBhuXbS3cXsl0wr3j2jzOYbOqS7Yf+TbS4f17gmC4tFUWRufnMz
TQXwdTmooZdQ3Mfows308j7CLggDqi+OlDxfH83b+0b4dBdxhGJaMZW+lLTEUd/EdgtczoZAR9gj
zopN201YRDbD3kum6lR4Aw5YVYUPatZ9zSMnPeG9cC/hy7FRvcbe5jLGobmUWdtWxlxhxC9gnysS
lkGhvcoPWZwgKuq0B6DJ86K/nCAM9sYpGbi0YloQ3yEPoB8UZ1AOQZ+s1XKWVhgVlv/Geiu0n63v
ssHSB6+Y8Q1bNd9bTUy5TtBFjtUhXGtKLCVXAOacpCYirTw9hD3cpgG2cRCJqR34xxnmjf9F8fe/
Nbsxydi0a2SK95UkZ37NA/bTgNayiy7nslQzitkqi0A368euUjeJ4+yU4s96VUxx6atp+qw4ihGq
Deb1MhKGiJFjh4wt0lyHRJScjH1quTNbpMNG9GTdAEZ9+I3NBD9sbiMhigQcVphRHdvHys4YXxri
aVwF7hB+6frH61tpYWg03y226oxkfIfMTOPKCooqoCw9fNMH1e0HDQeMFd25hexDB3LG4eOkTnlY
yHWKPtJ1ibkRJ6c5szfHcY9v0TrTbeE0nMUNWXwOyny0ry6/k92M2iAhIu4mWbMzIpz/YuneaZwc
/L/tBmm1M2VvL4Wq67RU38f6nie/iznDDeCelVKqsrA8L36McLzU42hjzsiP0Q/DNnCDh7nTglWX
vn9FPNtlxZywEVnDgS9OAbdounczdE5M9JKT5FOHCQ2CpdmmjF5k58f1BbNwanJYASyDzoGShyjt
mNeNWoZS3btTwVTPIqvdiwRp/Uvs9xNeKpTfJ3jpH5J6wkHteuyFwaFFZtCh49Zu6CJWww58hK68
ubWD0IxOpWtlnS5shou/Lxwr5uTJWYzePY7WKS+qFM+rsC0szgTbXhnK+9on7ykeIDzj2HlopQg5
BSEi1OQccCfOM1fxXbS3duGpRxIo3q4rmIgD01VKQTSLDRDLfDQRtOlB3s8tw4fzgMRwpH1UtFcQ
8ysrXtzlQhBHuO4WppFaRhfQM74Z7upDc6sdxrv1O8a7mSMORWPlDayG2L4I4E2TihO78ymyPs4z
N28qTIbufBd29eotUVxyQjCRV4Hp1qAGste6ZdMfJMSZVYwCr6/qdwe1GEM4yNA2H6YpYEDVhJVj
MnZbLPFu4qZybQksdD+hCmqc2G2vmQxBzNei5+u/YHmQXENZkGDmRbxNLtl6oKcptQtnY2FYn2vp
9nqEd9nwX2P8GUJ442mN1Zm5gjS0nN3H08l8nLaUavb4noev8Z2KnCLuHlTSt2vuHmIafgtMEUNx
DGA+7+hnsu9nvZzzASXV9S3pYGGZquEiPGUry39xEs8Czf9+dt0aDSkfullOc8BJr+Exo2CcfX0W
53Py/Nr7NhZHNTmsoVMgfHMZIquqKOl6QiC/s+nKV3Mc91P6YWiSJ23yV5blQs6giYqFBLpsdDnF
+io9Ol/3SsTl8mxXtCF+rlsnebo+oIU5A8ZIAwPJGThmmjBnsjzmuNFzHcZbr4SCOAXhyigWI3Dr
oFhGW+sdEzCypxihbaBk0/iczpaAzQrubmlls7DgMCAQxDcRu8561pZGb2I3jOGXKR/0Gx0BFHsb
pDszpPqtbjGtpxAZb9d0+d5duVkO0PopfMIFtCCXzV/wbMVVdVvKhZS8aWYaGLd38mMcGbsiH7Cs
xVbccW3tg4yWQS3vbQlHz2n3y5/v4gcI5+Vg4t+Z69Q8Q8R5bDqsmbqyqZbGyMpA52Vu2b1v4sZZ
MBV0pBs3fsH96x5T+p21S+nAufL2/0i7siY7cWT9ixQBEiB4BQ5nqTq12i7bL4TtslmE2Pdffz/Z
E+1zKKKY6dvTL9PurixASqUyv0W1PDdnoOzNHsOZounIhEDVYVkuatW8Lwwhk1wHrRn+Q8auzF01
CQXPcl9/apCjN8vWtxsNZRRgC4qxpHT0FpWA7lRp1MFJEG2iOztpPUfe8Oh/nSvABFhTZlU6MhR7
q/AED6A8S8NC9zrIEYjB8mdIsaR9QMtNcDddeYOXoRap3oIEZpfMObSdbsmzIpmFPtTgA/EAH65N
GNXb9I7nQgoBDxbk5jdoHx5bIUAvwFhGw9e5uC8qNI20szPu/9eVjjED7mEAWyoVzGXlyZomb9o4
6zGWgakmLOzhgki3BB3eQN/URwLZFp1C1NbWGxCNbuYtXB2hHmrK9Kk0+WfHhj/TroStbQOGWaTp
roDH+hbLa20BXoRdKmSUbTPMYEHBCt6eXDzorsDEuqFbPjErhRseT5GJKR4QcKRFvpINTOEcOBij
IWGg+bJLTsBl+LDvMH9PL6yN7LSSOxAPp4syJMDcdTklF3MPZy2odHmQOp8AbwtUscg97X5y0PWl
EFILt0Kurf3LkOrPL1Oyrg9TBWdq0JghTDa+pkF/6KEjM+7L2W03U8fb0w2LBXKYmAiBEPBmweSs
EQ2pSh1KTjCtrCygWcOmPry/9le2GHQ+lKqtYiOiw3P9TGneMq11nN6bRl3/WLSMn4itRV5Ha1Z6
CY+Mb+8HXFsoFxEhlnEd0WnoBJdtKJuAc4sxBbQKchcKa968K2C4vj3PW9kAV/EWdZUdMgHVFsRT
YxEdoxiuudVH+6HyFXQ5CZoKJ81WYfr2uuRcBV0slaiCXWjEhz+gHv3QHkzoL9T7rQNtbYngu6F+
g9yeBlXG63cZlpbeDDJBqxT6b+xrsq0wsbLmcW4B+YcSBNT9ZW50xqRPrAoRjL2Ck6YBplgG5Aic
k1L3qramr2sPhOMFjtyAGEBQYpFFrDYWOk3hbBLy/mDr1SNptogvayv+MoT684tdbFWTwUs1KCr7
rHSZnX0kdvaq6SSAnFnn/4vVDr1USkFHUD2yxReC9/tUTgXuzYBoHhVuPjzmN5nr7IuA+FvjnNW3
Bw62ajvAGHZ5hYiaVgruoNiwyHPefrf/V2I0jjAdGR46wMhMSnPk+tU1jTHaoYkcT+P0VM2/aJhs
5Ni1zarGthqErzGaXmpVZqGlQ5Aal6BqBnVjYtNjVqdHi0Qb3+W3Q9v1bQvVkuIloTmDweHy+EAO
Ir0O5JonqTzZ43CG30jiwYsekM8XO7qZ6E/aH4rhBc17n4x45LEC3P+2104zT59HyFHqHQtgYe50
X8oY1120xN9fO2tfE+gX/HL4+21fBwaLstCI3nl1KiE5lWBWvpH81972RYRlU2cM4wYoNtwCY90A
gXX+UlvTAR9nA6u5FkYd0WAwgVj8hiWVDhm0klugo8vhRRg3GSyIdWeLmreyrSmKYLAmgG0EHXuR
5ssWXJ+4BEFF0HgI0pS2QSJb6duYBMKwO9ryNFiLpzuABgOKjD7fci8YdmzJsCOACHflbigecIuD
UfUUEKpvDPZX1gG9jKT+/CJhRdCSZkJCYq3IoCrUHtst1vfakYz6GjgbNH/B+1oCTyZdzHLSCjR3
77vaFU/DPvYFesCeshCim4PENyNh5JGreGrBXDxR2w16Gc+Ip/yKZl93q3350n3BvL7z0TyHNsDY
7d7fTGufC7dpmLPCxQ5E5kWd4/B5jvoC1rNwIHWN5GtKnhO2k1DEeD/OylqHdPE/cdiiulEHKWQx
GUYuojfhAMYB5W7KoLOSjb2rLlqLBHYVaLHe4RwOkihFdyWZIyBc+3um5X41x/uC1jszp7tmNDee
baWoQUi0JdQVE0Xj4rNlbTYwqjCOtKh9K32V5QeYno36h7i9qfJ7c3NPry6Uy4iLs5rWjnAIa9Sl
ItyLzK+f1cIcAozM3Pnc/TdA4rXdBtyhA6I0DggAeK7XZq0TEYW1RMKHbYELxsGnWTqv7y+S1Q2H
biUoI4qLBJridRDi1FYJykjnabyLviQ8tw60t9pPMRXhr3QK+2MEX21vajCfkDycj+Oc158KPecv
Zltupc433CG1H8GzU3dTzCzeKMdUiSNNEJkHb+xcJAHAtNC/jX3LN6UL0WHXrv3sTgmc/heMntUN
cxFbFaAXuSAZWnxlDXDg9Jj8kgrVKg6V1x8q2ODUvyBg9kUEm8NX9RGXm8dU3xedSVSZy/lMDbob
JynA4rnZ13BOdczST0VBTtxpc9zmoujXXOrdU9SD5AevHuhgSD10MxE1LwUXnYvN9RCNJXQn+xTW
PDMwo3Mv7ANYr+KYgMJ9ChmB2nbYUj/PsxEzSsNG7mniuzqCd2JtsthLBpQbUaFpR3ie3vR8NL06
N0XpkZJar0Wo8dtQk2DIlaNIG6/VLQD2CQ/Fzu5CebKasjho2dhHLhiDBbqANNFdwxiYPxiDfc6E
FX02BiltkIW14T5yhHZquxmPlTr4shtreuOdLhEJdkclcQjFlWcOvzrN8DpAKd5tzQzgMjsLBpxg
LgtbSNFhgU35uGWs9EZ3QK1i1L3o6kG7Ev9bpPiWRzIsMvwCWMd+cWehVzseQM9PgPfJDpNv35Aj
29rJa+eKie4UWGWY92Jwdb18ZTLlxJ7RJU1v2Yf81sJ0rDrBGTpAaWmBDJVgFlx66cetmmotTV3G
VcfDxbYpKl7AiM9pPZme7eJjnG2pZ64HcMBxhVYndPEXKcpsBVjnOW+hvHWe08/REG8tGLWz32xC
C9qB4C+D9rIswfVxbvWQthhMHe098+eDfWuhdfNHGmITH6jOw/eiLfKMnCeSSxVNg3m3AtfmN/LI
MFb8NwNZNSwAHEuJHqGFs1iIOe/iltQwyOPTnRwOBY3ciD9ubLf15/knyLJ213hMS6NAENVG0f0K
neX/OIAmQfHyfrDVtfD3gZa1dZRL+LyZZutF5gdhTW6Mq9L7EdbaebjtQUlB6V6g37WoLYxx5lFj
phi0QKvVCdKAePNdF/QKLXvTudHGE6lt+WY1YCbFFYIKst2LcCwqkhC3clApSL9L0nNTfe7bJ81p
XLJVXa++PPDIbIjLwct9CcuVJbybHIYnY+E+7r+1zYb/EF1NQRcBFqmAlXVbmKKBYVhrBgw6FGX7
ocnFQ8WCGXzMiL5W8K6VZAQkDhhE6COn+fMsv4X9r3h6LpO7iNVwxN45EYeH+Hc2H5r2S8V8k9B9
qm3BPNbOe0Cz/3kdi81Ro2adnZLhmNAPE/nZGo+b1qFrderfEFAJvc6Neh21GAFhaKfcd/4036wA
Ut+7f7Fmge5WQ04dddMS5Yk20jijL9cC5O3ch3vDY4f0Pjmb+/ou/E42e4prFT9SCogQKBnfTnmI
KBn4dD3QPwS0B/2h6p9pfMjGr5l86aan9x9ubdVeBlssqqRnEGck2CCi0ffORG+gdLJxr13bgzip
lYorJpxgB1x/pkyHnUymlbBfpT+xGwMLXhlDiGp4cltny/h3teSGkRpUcmGSi9JvseMdqUY/U4JT
+Qy7rBoE4uRjdmM46GQqBjHZQButvT/b4KqchuDpm7uS3oczvEfwsUTMD2U33nZ9u/H+VkJglkk5
2orgKYOxcv3+GLStmRWHmH63+oe6N4F0Nq35+P46WEvMiILCRmm24MqyWAjVWA+AEMS91wbOvRlk
gThHexOLPD5oB4igb/SKVpIZQxWnJB5/A8EW6SGRfdNPBloDRf7QdCbUaPNdWHw17Y3vs4LLQWWj
LGqw+NARWKp1DynuBjUFmQ4IvlvnJoZOLM5Sv3mQm/7Max8KfanfHVNImfxO4Be12khRz081arXE
CvKschttizO69taUpioDAUJBs5dLwbCHyaZF58Uj3fOG+6mVu5FFAiVIuLEgVgoPyJ8o+TkYdOEI
XcSyQdGkALe1XtwDihBTXMPTvTEKN26620rsgXzrXKcJv4a5AcedLUFmY+WecRVfve2Lt1mYk2yT
LAbmJ3LyY27n7d4uk+LQJhWasqJv5L05OvoJ4IbBreJac20zyz6XZcOfkqiyTkWYdX6pF+2Rm0S/
m/ocoseClbcSVI6nFopRwWwnnZc2Rn4kTQ3lVFk6xyqCtXraaL8Ks6ogXkw6405A1EqPMf2LMaX5
CkxQdJLdQIMZYsuubWtTEE7UuZnmyXklRZd5dST4sdMZWN4i3ygEVpf05ZdZpDhSloPEPBEF9Ck6
8EO0w4VrP9waN//FtX2leMdXwHoD7AA99OUNutJDFsNXsffIjbXnQXPOW/d3/06lBX6Mvr+/6ta2
EPrguPHgxMCca5GF6iwn3KpwGwknzHiJAz+irc7dWghIHgMnB+UCeNSqJ75YV/0YRgOxACZy9MjV
4tc6/vz+M6xUPuh9/w2w2Dh5bydRr2F8zKN+cm2RB1iEHy3JNuJsPchig+hNWWFogoxd1umZpfGx
kVuaBWv55vJRFisNdpdMlBnGdMbsHDBbdU1NvxfNIdOD99/Z1rOoX+Tio7SZ03UQy+u8Sfvay71l
bxherPx8oHMAONVMAD+ADLr++RTGSFYSYcYuquSgm+XRsLf0tNcqD1Q5oHtAUw0L2FrEKOyC8Xo0
wJsG6AgwMmwX3HVL17AO/U6p8m+1t9RmWFxurgIuNktpdtYgIsBmBgPdD+NRSx9i7YvI1P/51iYb
fP43JgTouyglHig9gPEE1NpiXSehbszGiG+EDt5Bd5Ov43P6aoFAYfvgP9Zu+Ll223MYueUjHGK8
/3mBQOwB5AYTrcu3+t2DjUTUzTUcrNugC3MvLjX//Qgrb/MqwuJtzvNY8jZGW4mP3Smu0GUHYuMw
VTzQ6uRDY1fHrDE2UvlKqriKuaiCykmTcWFDzCkxnSPvh1OmwQUzY/v3H21lG1+G+X3UXuwuo8kN
aPEhDJ/sn3buBAKElLKLjr3pPL0fau1wAs5PiZ9rQCEDh3y90/oC8sYgZLRAzmo+Hwb4k/IvfUxd
1keHGQeu3+RWhXfK91LEH9E03XjYtUr26jdY5EXArhMjcSrtN2XK8pIdCEVPCsugSHmZ13/ZeOKV
3IL2DDw4oH6C/bjEMoBCkaWwO1Ydmt4vH5TzwW+7MIwkXaDlvCjYYj2uLRvUZBB5Ab5RtYau3zET
hZjNUA25zCeSOu5sBXL6sfFYKye/qpn/CbJIyaDmtGZJwvb3YwHRAN1cl+yAzNvnO5m7W8ls9bPB
OhrFrfKOhyDE9UOlZQMZcYZCXXHP+vreeYl9ghmQEcjA4PeoNjY2/FrCBgbhb8TFjh9msM9SCCuC
66D9Go/zoXeh5DbB0U6RELagQmsfDfhGXOgNjK0BZL9+vtKiIyst9dHSJ+J8ITB0KHp96xq39tUu
oywWf5hVAiyEugMj5Y8snHZURCUKkz4Iymwk5bW5HYCZf59psRCHlNUN6KIgVphueSyDFFM759v0
ZQjig0Q/HD6ID+8vy7XNdhlxuSpz0kWcDhjHi49OfM/4xs9fzV+XARbLEFeerIM2A1Ky3tzVow6n
asyvc5TaXetzK7tBkzSwh8afqACVMN/o966laoDQQd8wgHHANe96lYDbn3bF1KGLOFQ+c8JjVJlP
g1EfZmdTPmFtRaILC1Ag7vuQm100ZuhcpJ0zoLGgWsvEbVARe5AyCGEmNMC9snyEb7Gw3a1+2mpY
bAPoVIPbhgxz/YgWMYlJR4VCKG0vMebHQnd5NG1UfGtRVK0H6gP+Aqf1OoqAeV0fVbgq1+HsZzIE
O/gjQXHy/nJcG0YppAFQmw5wxXia6zBtkoqWMRThfdDHOzNITo5H7+mHPzOH6QXNAH8rVf7G8i4K
P1zIlDMStOtM0Eqvg44i1/vZslqwFarpQaYVPPg0XYrdyBNQhTNHrxu/0GUYuvAKyUvPglMpAQSK
TdlJjqMDe1eGTCTyUdxQBfX2+ob2QWzlQwYlElurA6haUgLzsc6JXDNOmwMM6pJjl+hdf8J/1z7Y
g2jPMoqbwzxwBwPAqfFro+xdEnLdk204HGyHtDdOWNtuFNdQBmtqbSc1Cx0Yp4p+FlNmu5AmHgJr
4PpjY1n7Wh8ANxRxXyqy57ibCz49m2Uxaa4RVdNtSNLkO00JCep0jD2WJ2JLQGptA4JjD9aArvxV
lqLCAmLGdjoB/DCYn1ldu7GpuWQ4OPzTxspZy9RK0BF1AzY77qLXHzEzaVVnDk4fund+cCwcmN+4
vIYKDAL+z5LpKN4VreWfaIu8OXbNWPQ9ovGJfNfIKSHa9/cfaC0zX0ZY7AR9kKwGhh/d+DTxzPHY
io0Aq6cNrDEg0qcBaflGKXloIp0NBDf3GE5PpVcemS8erQfauVXtVzFSFqSCgn9z84DMioLeogFq
L8GWwBFRAzQBtF/tOr3lTObACLbNRjGydvsA3xk9f6AUAMRdvD0gIIswr9Dt6nD/epR2lnsYnWPn
ilzsyjYhNxzEraGrIMfw/nf7fW9bZpPL0It83MGIgUiJq5UcomPZ8UA6pd+CISmb165Lgi6/NXv1
T6gvDeb1Uwe8TF5AVnLyCKyOdaH5oRhcqz6F8N4TGBpGMY4NxdCeXhitPWl+N/Q7uIB4WXfPamgK
hD9p+oWnuZ85+UZRsraBLx9nkRyFlsR5WhuwQZD0jhntbVbqj0Qzv5BsSxN37Yy5CGUvBlCSTm0e
V6j88+Ysw68GaEXh0/tfZw3ACvgKZicwVYNUgkGv08Sk1Y6sZ0CjWqgvwF8nhh/wF5R2Xim8LCC7
yqcB/1bva5c+44rjtQrrvlUqq3e2WCJXv8SidpXWkPemjl9CTdry4I925TaJaivMsngNnWYqa+Te
dobYnHjoZeNW9KYTB04PVvxUpVtQN7Wt3nuwRRK208ZuyxTqabaMH41kvrX4cBM67KYzrUMcaxvV
3cqCuXqPiywMik5JE9XeLIcbUhxBL9yUM10rYNXlGwJcCq0Ckun1gmkSOTjdiAI2PdYfyiA8QnzR
LT7kp21e9erjXIRaZA5ZCWM0CFIj7KNPWtx8SkruR8OwMQDbCrPY0U1pFdrU44mYwP0s3icoSaJ4
61K9kjcu39uySdI08OLVU+imFlNaet1knfpx/tDAlbfR5If3d/XaQkcXCy6JkHiAnsbiiSDrkMSz
jdNYacFCYh5asBaECM3j+2FWjmQo6mNEDnYpuLPLWiZGseZkOgF4yIqhPNKVkSe7cePkWiuBr6Is
FjWMUjunJTAn/WP/lT/rt+mrShL1Li3vCMg33WHewvluPdpilRs1cbpYGqC5Z5Duk0+hvfHu1nh8
V4+1WNzlVGa8oKn2n3ZnhDYSKlV8pS1yz9ryvvxKi8Uw5uFoTBXMmE0DdS2SbAYku5Abm2g1L1yE
WeL2iqlMxrofYJBOk/telofC+jwkd3r3USbRnub53hSe0T9r2tYIdm1nXUZe3DPzjCHxFZgk4lYB
3fQYXLAUOmq6p7NjCyi4FYiA5sfBOMqX/9cG+N0Bumh8dnlahGmGyM7MjU/MkHzXp6axcdVcayRd
LpXfra2LMGExMQKkKAZy+/z4G3NW7gCoafx+l+/I0ek21ubqioGysyqFFddiuWJqcyyzDPe/jGKX
8cwF5/QuNORGx3+19gBnELUvxyX3zRXFoLhDyxIOvHkWOD+y1/wLeRGnOBAYoSsin+mNH7UPcF+q
d/Tz5ENsy9/So107oClG3gBVgfD0pvqeJJo9+oQUVs6fuPVdL09Qc7yp86e62hp2re+Qi1iLUivq
OiJBGgNZ4ZQcTAdK1sKrCldlsMncbzH/1Udalh6XT7aoqWoZ9YLXOYCKp/bY7PvDEIBst996get5
DNcmE6hVxdhdxNEGPtpJwdAsCFLIF4VHGEW45Z2xSfdYXZUgciucJ9xRlh0XTcDMISLo/E9kDg8R
o+1JL3OMcnkvNpLZavb/G2oJiqQsksSqsAHy4txG4kjsaCPC+p6+CLFIWtAfp0nXouDAtrb3ihEZ
naNbeq8Fpge30K1DVP24N6sB8HiFJdVxS1+cZ61TDq2V4SuZbu8XT3LXH1roI2RP2Wlr4a2viItY
i5MN+AEMaCqcnV38MjY32ngXVyeLTYHZfazGcd+lhR+bG6l4dblfBF3krKEYIyqBC/cc5weIQUDk
gvMfZLroPtkZe0l7XT+NPUTSGpTj/8+3uyR72EzaRZvi7Spu8HCXB+1BCeKDzXWINxbO6mEHuo8G
oCAwYUuAa8HzsbeHtPco2WGfuLUd+hTe6KFpB+8fbuv77W+kRd3lWHHrZBX2mzmAugHbkf62RSfv
/SBrOw2IOeR+5bX6BtU6DX2XG30NhSv71aLPXW1tBFhbF5cBFouxGeq+EB0C0L19EqcaafC/kZVb
+ywg8CEHQmuQ49Nc34pg8CD7uMBnyfvqAa3Es20mx2ikr1HU8Y2OympFfBls8WXqyZQgo4Iz2OxA
6YxLl3xWOkk9GNX5J9uF2HRruRSouve/1VqDjDPgEBHb0eGEsMhZU5aao642dnqkXuzRaZ8aB9tv
0CKQ8MvB/WkHn4atBpn6QsvUdRl1cWzOadLTUk+wRMxdBpI/Z0etc1w7PGXjfqBbD6nOqzfhwMRQ
Rww0tJfFVlN0cy5GLPvh1Pss+KNMkvyuR9p95Ov/YiAEnaa/8dQOuSju2nCqaKjh8VTtaqnPqJjx
sweo8bketpbO6n6zsEoxUwCN3F5shyzXcjLWym4OmUoe8ofcL4DOdud99ArKpm/2u80p3uobhfgm
xhdgSr8Zlcyy56boGDqcz8pyJw+iXUfcoXMxxNjle/3LFsprfaH+jbg8v4dmKHnfQcJaf1YdJbmT
e5rs0bLDW50O1Qu53apljdVVehFysTd6J7K1sWhx6CV6cWCZE+6y0GnP1GzC2iswwxyau5J5ifPQ
8OBzSXPm0nKSaGWPJYrsoRF+V/B0Zwx141JgHndpEaNNa4q0fmnbWfpaBOm1wpiAjRlZ7FfNoO0s
Tgj+naaCF+o4G8+aiH8W1uBACY4+9RqbXlMtr73OzKp9B+W4B2706VM8kDrDTybsU15Djc/tIsj+
2nOIdxVF40HrdNG4BsSwzx1yXup3khXCnTNA4v1mMLJm935qWTtrMCaEgBM05CEivdjjepSOjRxw
gE70ZENkPGz92XH+xYEGkDNEDuE+DJi9WqcXO42g+Ql2Pqo6uwHzrs7dCRw5J+Mbz7J2FCA5Anys
FNjeWAq1liE6zBLgcgWUFgZT7qDfqIY1bAW3drN6LctcZQCAqoSvAI1bdvWz3oJcWTvhtZ3qY33/
p6brjt9it/a22girmwrNHgiJQR0avN3FCiejVrI5QTe6/9HtSOHCdUWH6BWEWj+3ZPdnOLIFalhL
V2DRAi4OYilE5hZVXTxMrA5HHSwPLT53g635Zai1GyXCai1uAFwPBg9wr2/cz7o5ZpA2RI0w/oDq
/W/x2e7H7MEYLogC039/qa9eA1XDXTEIwB9YNlAnGprWpOMaaOyTQ3fGtNLVT8qyOd+klqwtReQk
eF9AR1R/A5aa9dBsyYADm2vi3u5aV8Okk8As2pjHjbr0jasMJoAAC/2NtTjHMmZZUEtArPi296MD
Bgq+unfGmPYrNn7iTbjCtx7xt+42a2tEndScQc8XyiKLbd32PBO1A42c2gDpv4dsU/bh/U+2lp2g
WGKjS+FghLbEQ82ykXGiNfCMo+aOk9xlXXpMU76xDtce5DLMoqwTERBRYdNNXtJbll87le4DseS/
/yyri/0yyuImCDUQaUwqisN2xon5qR/7cejpmc/3hT8diq1ydW0RXgZclByW7CXRB7DCBVQ1QvIc
z507isiF+uXGo6kvvUyH4K9oIE1ivI7L9XWC52ixQ1oAp4jSg0gOvyWh0u/dDwUpSwL2AGXR9yOu
Lgwo8yq5TfjHLU8UZ04hK6bXk2dWj4P1ADUKzyHxxnmyuiwugqg/vzi2DFhBQ1UDb6sftVMltU8W
K4/vP8fqJ7oIsXhx1ZTEoLVWcDngtnBb8ojZwQ2pw7OxdancepjFGh9BmrBrBw+jTYK7VDgR+Ixb
IKuVz2LDW8CBIiSulsjo12+MhfXAJc4Nz8ofjPxpGnH937gmrPQNr0IsngMTYCome0DPubXCA4V7
JnXNTvAdT9nohlXR3MZ6GG11glfaOFdhF5s3FTJ3cgrBAVXWps6J3bS40OLwiG9FsAWkWtNzuIq2
2LlIq4U+ZDhvFfJUiU6lvuLCnHnkOtpvmhP1tYOY/e77vOX7t3JvhxUpviK3oBSFgu36G0pNilJT
QtGZQoMfwBXbs12533LoXP2OOPihIwOY1RsVuQo6npxoBvCM2rMoqOVHsbgps+R2Yu0h7jd1nFfW
Px7rb7xFEWVUYDAiA+Mq0qXz5xK0/7uoaPuNwnB1A1xEWZTTnUZgZF1hdWbtXsob6Da6Vrd1cV0p
PqGXq6F7j0HjWzdXkrAwox06mOSguAjK6CADF/4PunXrO0HtFx98kdyVeRcsFnSYeYF8eb0gikTQ
UY4CUDJuwL8jMvYzwyDLdnAnzx+bvnFb+NlRLdYeOlPm/kAz+dUptCdKpu+grvgEsP48Hn9WQ/yQ
VjPgYtmuNYtnQZvG7c2fMPbYV9YofTjUSa+CBpTbT/UdG2O31eC4XNEnPe1y10rsLwyaWjun5FAY
acTeHqjf8rI9dBYwnOF8WwHLErNpn4lwOqMG1M6lZeauY5HONY15diF+/60bw1fZlWwXRbbwJJgP
vmFkVgAMkukLylMP+MLCRZ77aAteeFqYfE9zkngyC18zwNkCMdaQ/gY+aZocbxomwzOp6AJ76o2A
Y4T5LanK1heV9UkPOYVgaPRcjkTfpZP1TYxh7TMj8ts6bD5SkZ3rAhfJCOPOgndHMNtdllXPfBKj
a49tBNUwFgxWOPq90YK2NuIgD6uD6OAolpI7HFG7IUmDmGgns893mVl8mIR5brX0bEmt8HSteKEa
AJLdoJ04H+7HqDyAAXhbUPuTwITVnOojNbt9VBsz7LSA0Jv6Gxv1Amqgx5onuBcOCfpd7a+adpEb
c3ZjGMlzVctPemZGrl0SbN7sUJXN7Vy2xC0E1DqYA3S3M5K7tKK4UTfQPiOMzf7caPWjnXPx2eH9
hxn6mG45jRPIJWio7uuSp347G5WXxBHzMoKudRhFYq/lTXSnJ9HPjjW6a4W4A5F83IE0K92qnwCp
tcDiA+aDebiN66cong4RaU56LEK3F02xM+u6QSOcfdf77KXMtMfCsM8WR5MQsswfjVwIqLDQW6C8
20+sLMHCh92fy+3Z55V2smhzpGMJOUP9HJpQtwGgAP+G/h0eKN8pPvbQO89YLaln1eMjHK53+iyH
IwdV0aX2WLlxMeHSZsh+h7S76zt5w+L6i1XNyQ6fbnazGXjJaWwe+pw81/Wc+rgxAYNFTPYhKfBE
emjZh2qMv/ZQcvD6uGu8Gcir26YjWhDRKn3op7jwW1o4QHaxVzMdS78pCD9LOecHtKrDQwEw2k9M
bQw3jBwYJep20BhtoYwHcs8Ipyf8Oqe4036Ca3TT29132D28wtz4Z+NEWJ49fN3F6Jxp6+zAxXix
WfGcpzPxtRGY6UR3ntlc77o0+Yn5ym2Smae0re9ayb73Nn/hZLrRe70JYEX9lFL0QXjdPVEAPzPN
ui30yo8TdoQpw3MyQTBKa/ZJHOauwbpHLTHOzKxmuIJUT21MsArpeGvALDzXzQdgkZ/ZkHwYDSfF
QDjdhcJ5LZ3mRoJeDcBHeXISyzd6aCdM2l4QtDLtLr2zDbipDLF4jll1L4v6m95qhVuaBhD1NZgs
EFrjXpc5YJgU4hYkyieeiHwHtP+TkZhnMKANN62LvWn2IKDL+fNQsRwwzAw6QSR+KEXDXVSvpY9O
NPRt+xZGRiG3YE+ZQzqosucv0SDvGpa/pGY6uAOvTrzNn1ut6Q9RH8OFNEVDcphTOE8BFWk7ee2m
EibTEbocu5RUu4zlhwETzLydDyEzidsX7Bcs8zQPQtOnarRql2nx58oYnmEOvgP/9bmKCuTrFN7R
dDxnFhK33pXai5Poz2nIpDugv4W7pDzQlP9sjAzsr674nMXskx07AGimbNpRWh7GcghI0w1uSJCw
hF5jBSdp6jVUnusMvGHMLpirZdiBmAS5dJ5uygm1S1vDuc6AisYAR6eoCdLWgmBzuWsJg81bzPZJ
Mo+7uqoeIPb2bSp704PLTu+KxngmhaAu5VHmNpyX0GYDHlWYxTcZ8rPldF9TFiNvVNORt+kvfJlh
B8yZ5Ro93vfYzrUXWyLCq7HMgPTFDiMWrwZsomTGE4uLb2FjerPo/Llj99BgCnRelwF8BuOdbohb
SLMiAU8PjOg/U6d7GihxWezcZQB+uTSmX7sB5EmnbOCHRlAAjBpQkUw4EhhtbERilJYblT1avSEU
O8bWloZLEwMavUxCTQ9yc00x+DqS6Qj39bzfOSH+qUNTCFvZ4gWvE36LfXOfOdNjQcof7TCVcNSy
vguCm8Ng4UsZY0Z2c4MpRG6TOx14fK+cjMadYuOR2BIAkOZJl/WPoeAnibt6Xxu3FHBxt5b6a5fl
r5qDNilvn6xM8yet+hwK8SPt0fBMJqxEs0YtGPf8J0vr5t7IsT8FMrY9/XD4tBfm9M1qLB2GPeEJ
x03rxhp57rr0s+VkASaP+q5tWeUX6HHta6003CqMXoa2vcuIcavz5odZGN/Rjx93mka/9REpg35M
Ilcm5kOYkJ+2bu8TK9/nuniBcgfORd1+AGj4RJP5SBMeHkazES4txJkakKDAqphdI5YvGpkPLRkf
+1TuBUCrOXgfDs1uTbt9zbhWBGnIy3Ne8vpUS84+D41ToYWCJuO+lLkMwnak37QwRVNFH8lNWvTi
Bs0xeKMP07d8yuFWMdvmc98Z3SfKyuKccVs7TiD5u0M75D9Qq02nLgphOBEBhrzr7eqXDX962B3w
0noay3l6yk3anf+PtOtarhxXkl+ECHrzSnecvFrqVr8w1EagAUEC9Pz6Tapj7xxR3MO5vRHzNDOh
OgCBqkJVVmZPR2vHKs4eGeLyPo0NIENF7d6RHhJqbTzxHxhwdrhXV/lMWqZL5g0oNYO9xATxrUOz
vPMkGdy5YDzXgxrLvFMKFRXqmNFbWefDUaqiOwE5oAcOQrwCHrReDZRGqSAdanfjnjesQFrXpF4W
pxl2E1zqTjc+15l5VFzwStoDxpGN0DZw0DniAHSefqYKquxtYe+60t1VRnoL9UykWi1PPKEUaIvl
AZvIkeQovddVcxt3Pdt3mqId2dQeSAv2Ld2oioBXhXo1KsoLSj1RMsW+1SGgocAUt5UHXr+wGdX7
vuoDqvAXm9enepJHs1aFP1ggJ8s5uqTSYDeWE6e+0zphKpkIRqe8axQbLKzDG8sN7UpPhe61jYNi
rZZ9jTWrCnLZPHGlzQ+jDQq7ItG1gwQs3BuHxt3LpFJx92XmT7ije4Gb4HGCmkZZVFPYZ/JLoTbl
s9J0xalVyjIScS5Cp6scTypCvTbMARS0jeB+3mv5kWsoQTplCRrLpj01EsADC/R5A8qEAZnqIhQM
B3XK7yEClASyKyjCzEQ9dZC3NhAYXiub3IPm2TdDA8ZrxFRu69aBYAkgjlLijIy3hl3TwO44hGH1
XNxOggNIN4LbwHydVPOlGSj0ykp/TOrIsUUednGdeFOfF77K6eRNUyFOaVt8tU35yMvyWium1MMM
/0GyNhzKR0c6ATfHYBqU/YhQ5OFygaqVulbguulr1xgNWDJ+5xXua1E/ur1ahoI7uxGBmMT13uy1
W1RVolLhGIs1mQfkAm50hrBJAf5Hd2bo8ldeGxIdmfZXZ1pwISiTmSiaQSijlYjRpPT7qXl0qgpC
V7E5etzGcysm9Vtumk826P4sLTlhwP15ysYnMilRa5hfem1KThC0xfu20/fqqH4Bq1h6civ6CyHU
PkzgN/IZdSj6qtoYsFrDWEAinlgH1jsKnXMMrMjbwkyq3YhZZR9uAximlqne2DdPtKYPqQGGSyZD
Hiu9p1QgnWjA2xfX/ZWrQt3PtSI35juMwVx1mfYzdtAAInQMpB0/JpZ1j8bGDaBse1RF91nN3T1V
sp0c7FNvKt/0olFCNKEqEFuaLxSJIKbXwGFY4KhnIBhsHruYBMKOPZITj1c0iuHGQNPt0VziVZUl
13U3kHCs43su6l8ItlespxEgUjZIdpHzJ/R37I5uSKSe4yHS31fD7DLLnegMgGYlwBUcEiaGPcFh
y2iuw3l1W70Kok1e5ebIxJSHYrJPyPHfYjfjN2oJFfqO3OdVEjho0iAd56rXl1TfOcRsPLMwhefo
A0OAd4HGZNj7rNPg2xTSeAD6AUeF9Grjpb5Wjv3wrF3UOYwG4XKScJNTq/zsQZbkM7COeHY5vfRQ
sxeFFWZ67qtEVT1dpqc+xayeyTfoctbKEueP60WNsanj2JTQhPMHd9qbcOg1MTZqpe91+EsP+E9V
OZFlagGw5B+muTTsfjSnxgNIGaBXy95k7F8r7RioFZjzpDgQGYtaWTNkPKkydHXGKvMM9VfcVf5Q
/JbWXe84weUC6ur+gcoGBCYzE+uSFlgKBew1NQIIDsiEqNVmWzzRGxaWhMDg+GT9aOOcYEjhTqls
8oVnGn3+fy1DX1SnXNE7yJ7rCWIYHFd3V22SzK0VjdAc/d+N0hdVHLxjbAb4kvJeop9BJPP4/Lsi
O78e9tbhz/x3Yt9hrBFiX1nI/a2e4vqV00H/AgIBFUQai4MoRtCiJqraYJLsyDHkNZMEovYxgREm
KiPKvf+3xUW12Mw06LIkdO6J9WH9MBdSEVoeykMZKc3fDMBCzsQAfgWywTMf98dKmeR9P5Y6GtCp
wQMMbnpqXZ+abAO9u1ZjPLfyyWX0XZdBYw90gT9NB0WPGOSArbXhH1erfmdrWXwrPLUIlFWBxsmr
ny7vPK3fK3IvoTT+Fyf/zM7iC0lJrDSOAR8s8scui4by9+W/v9b1xUdxwOgNTLWG9u/HjwI+xZah
hIShWCi5lw8cmi/pAZ7vuD2Ludap/2BrccniqmpKqAvMQ8PDCN3qdlf4rm88pgeUfTBY522PVq1/
p3+Wtzhzo5Yw5g44DZOjaHiwFNBWbSwwivdtc3Tbcdz4XuuXGLOtGPLGGPsnOcKEWUmPN33nt8cp
mqvPnTfeoUfgF6B934IwrZ71M2OLRsgE4kJ9JCXcu4KcYSx0dIIxgTLofOO4r3p5CFWB7cOEoNly
GDR1SFs7qAr6So6MxPjSK0+Xz+GaAVNVQJYIbDgwxgtAhalMFjcZ5Btrs31T9eHOcMq/6GODWfI/
NpahKielmbp2jiYsKYZn0P1gXltnfNziYtxYyzJaUSIEiIUJ2CEcOIbkwWUbLm5Ftg+TAQDbQhRn
Zilb7habXBQuJ7N+b4DVlvenW172ICnRwzRw4b+l/1dzb0gjZuVcmAb0ceErbKq4opKoPqrsyXKe
U/egaFuqICtHGuzCKEGAuRAJy5IOxZ1yO50S2LAd5hmoWFj6FOX8v28sg98LSsCgesFWLjuxEGEp
dWuAJBoZb6hyxETCLrfc3UQ28tc19IkLIBQ0Bd4FSpeKw0MBKRhU8kG3/x1q6ZEeoF9wh8ziEB9E
IDRw8xTB6MWhOPX3l2/UmieCads2wSgHVOxyWsbujFxkcx+sDGfAKA+GvXZnQJoHszmBtbXQte8G
Km3MioMyD9Co+b+fowE6YhfgKZx9uzxMt00AvUOI58WR/tBG6jMg6NdbfBBr8QSsOf/YXATHgpmx
QBXyT+Zu+HnI5VdMB2c+Stm+E6W3M/HF1rzk7FMXzwUXI8mu4gJsBtaeRfouNKd3pg5MJZ36xpLp
TdVC3llBU5mgZOSBqm5c9pUI9sHewsebhCu9QxrkaKk4mSm/zqrB8HKlvqmtLbTo+nHF1YabB6Tu
0+SkhEybpkLaA3385gBkZQ+V7wM7pbv53Lwz27wkRycCT1C0KVQ/h+JPG3tme/E17SqDfnWHqzLP
U2aZJwxvfofNIJnxK2if/wXL45bJxbd0pDqi2NfMjJL1axUN+5/gvwiqGwn6qu0Ef+2K4IEBnwbv
iVC6cJ9G6bAxYwL5PRMQ2GvSpNnZdoLGyyCSnxu3f21paD/NiEgF/s1aGIvNyR4rFxPe827OeEhm
HAbcCX+Wr692mvn9L6ZuoTzzj8VFdse73m1aE+WakWbehF6R6Lc0W1d9mqmBqBevZyjEa4sPRrQK
PVU5/iOulwXyNCvd4X20yXE8/7HlgTw3trh5htmretXBmEof3CkyB5zJ5E4kr7TYmgZZSRnALfjP
uhbpj5LLzm4k9m5gfMcS16fyy+UDsWYBmrCgMoTgLrKghX8e+nI0GcXh66vnSnlUh62JmU9+Crkb
3AbCNoLqrAf7MQCU1tiCiBYIKsrvBCBuzYHzE7V/XF7Gpzu0sLI41h2LNa3r6tqvSnEX95av2wKF
4uLhsplPTn5hZnGWGURvY+LUg++Mezuz7V9ETM6NcNVqJ4ihPdWkontDZXQLvLK1i/O1PgujFsT0
ulLDLpLqnqE5Nav4zo9yerDoQ+G+Kj+H8N+Jxa/tLFTGLdCaIYZ/UvJDJbd1idsMYGJBOV4G3C6i
Tn6/vK+f0FMzo7cJ9iYb+EPzk1RaTG0ou5QzBl0tPLA2+dJy/aY8TtVzXV63PL9i07fLJj/X9xY2
55txtqWaNVl10tcYOL1vAACudw0QCR56Ksdsn98yH6iRDYuf7tq7RdMydIyf6pi9+mhxxJxfM9j2
u5d6m6VirS/MAxGj6fPj6D1uvQLfr9YHRwV7gG4BCYywDbTxwnuIrkqENc+SoWnSvlmTX9wkKOXY
wG4A41yBWsn5akSGGgzhrOW9HUhXzg4m5SBJozuYy/v06NXHGrMNE8RHnBnHTXtPWo+gyAou7+s7
F/tyncDDY1LCVoGKW1JHWUQaogQBNWIaRlP92mMHQGHQsedpiDZQgnK/FczkMPSgRa7hEWQQUBbH
2Aqm0TBQhIkw+4g++jYzGT7opR+2SF30pmSYy4VckkPNI3pXaCA0B8tN/MsbsHauwLmP6XfLQghc
vr9SaFyQQs5TB+AxdcewVKcNC6uX5dzEwvEpcTwSqsJEHQ6BcNGnByU+CYejFlXFHhuahFs4+c9B
Hcf33ObC5415Qsd8BANJF8U7Hoy/s4A82CGqkMHQ/uW3+mcTF+5gpjrJrakbZ3jNEdiil6kZX0yn
3oDEbn2rRbxtc13phwGLsrRTAvna1NnSEl2JUSomTzC3BqYTDZKyH71MmnRokA8oF8usdaICVc8r
yxDpNbowXgFYpZK301XtNu7r5VO4+r2gaAQULDTFHdzHj4ZdbersRIdDbYI/rBY6emsg2yE71O+e
tsR5Pk+V4nhARglVcQQMYBIX6yRxNTB1grl5ELGACvaYhU3mp08p6uLUh8N5IeQQb61ybXvPzS7u
dCeGaqhNtE5m0P4UABZk7OMDyOpuVZ/63RPKK3gjgKUJT5QNR/cp8VyseJHlin4w+owC/CvoSHdA
qzlh3LQZ+F5SCNpINX+ZkqGJLn/WNR+OmryFLA5O/NMQrZlCEyUGiRLgmJ1XKOxKadCftbZYUbbM
LBxMbDM+s8uAwsC5dZKjUdzGW5Lwa0kGpI8w04lMFDizRTjMGhO5S4wvx6/oPj82ex3i1HhqHS5v
2NoNPzPzTjdwllfYVJpSxRi3TwbVi3UgqdyXyxY+F+dxEDDcYwFdDBg4GHs/3rSiTWp11NFcI61p
HiXQ/Ded0zCfmYD/0EySk1JX90Wcxl/SRkLZo3SNazFSyCJd/iWzoWWAQ1kOwrOYKAHJ++IOShf4
q16gATeCtEPdy1MTole/SQm0tqWYjpidi+YoQHEv1psZFh1AoOGTgt+Zo1P5TQfljctr+Tw+gF3F
TCfmIFHNnDVhP1rRXbBo2BNaHmqzA4FvTb13zvqTpnv6zXSTXik/pYMmXxGkm0NhK8cfzzw8/wF8
nVsEixWWshpMVJ8RvkFEJAXQIwMEglo13V1e5Mo7Ag4acHTw9GH2zV7YiV01ju2ZJ4qL65b87AAf
AYe9pxvjRsaw8sk0kPEgIQGVrgOe/I+bmZIqR2o44dnXZkerqiroz/OttGTNCBLcuTeAsjy+20cj
FrG0BsQ/eJu0ya7HvgUDzbbmY1ccPqYt/mPEWjxgZcVpygRSnxEyoY5gO+ztc0lk5Ezm1dRY+6lU
N5KEtVCKvryGzQNPGfSUFrsneZ2gctuAE5iGqXa0jjwClCTI629DWAZptNXxXTt+KOzh2GvzPi5f
JgStnaY20t5v5QPGDIT9LIfD5ZO3ZWLh4DMxTL3hYhSobnSvrOUJyCpPndqNsujakYB7n/mZ4C0+
lWFHDDNT0QFJimabV1sA+DxeXse6AVRKLBU6SqDq+HjmBGRyTbDYQUOV0Jdu4AHm6Lc+/3ykFm4V
88PvWlDwCiBl/2gjaw2FcQev/UozMc6g8T1xAJyvLZZ6IF5+KvTi99CSq1Z1QsdN95dXuJbs4zEO
CTfo3IDIeZnIOawgAGvI4T2zmikeeP8LI5eGNxOnV7tCe9L7Db+0FtJmAaf58EEFC2W8j0vWG3sw
SqoCiahpXmY9lObRbMKiwsgGP0wY0knviCyumiQON1Y7H7zlZuM1DjGUWToAU5EfLZPErp10xGqh
/4tGTBbV9MhOYwSbEcnCqv8Lzwj2GDhftEQ+y8KDdCIXoPjBCBeQVH5WsGQH8nuxYeWzPImuaOD6
VkFyjE7Pp2JD0gzN2KZT65uPoLK9qaIkMAE0v+YBDemu/5bdTHj1d9dx7JuHLTmztct+bnxx2SVG
fvAgV8Ddp785g/7VlO4PjMRc/nKzd//04c5WqH/8cGqWD8SwwRim7WaWjm7fRuKwLdu+5v+xhTAE
P2yBqH1hRmOVOZklWtDoP+aQiqRNSFVJvnU9CudD2pAHfIIixKRjcX95hWu+5tz04q0xdBBotkqU
ZFuWQBZOtz2z5s+XbazGmnMji/OPYmWm6g3wkGSPYvb7XFzeQMKmD3jY76utQcmtNc3bfZYeD+gE
WHbdtz5lP93qVMYbAWD16J19rkVO4LZKCuU+/P2e3PXZczs8blYr1zLFOUjqM//w/DRaxACbUqsr
GNrEf6CBEGiHxtC9AeD3oY4G6QGXFZCDNXkSSkcbcXT11J/ZXlytihZGp1toxbnKT9F/tYfYQ+3H
0wXza+EEpfU9sbdGutcqiR8WvLxqDJUYvcaCtXv7Z/7AXuRdgebxqUBSokXpT+NKf25Sn+xmYY2/
QQjNzuxs0YuASHJ7SpiLHqD9OAQWiJ7r0icoLrSBErQJCqjjXt/Y5/UoeGZzce/TyuhdlWPN8+xy
90iPyZuLZjlIeThYgOxfdfLfv7Q/LHJx26WKjALk4XhpGxiamcQDFK2Cyp02nMrn9vhiMxcX3oE2
D9Oc94ZqvMtP6n7w3LA6pYe5UJOIf8EZv3VmF3eeg/+LtxJbmRy6KwCRrgHzvtn21P/HysDJAwIR
NOGXr6gEAxtMq1EE7W0/ftKOqLGH4PvqPcx2YP4OaMnt7u2qUcwuo/WDRH2e/v7o0Ow0TtRMw4Wk
zz2goe2ufCqgeZHdvFPMAHSzxciy5uHODS52U6ulShTkg74bH52hgpMpr01RPmzEhfm4LcPruZn5
o545aoNhUEy10ATvMbdhhOrP0TrNcBFgzf2Mn8wMlWxoA833fes5shYj/jFtL5WMS9kojaBQNkD1
0lNRQVG2ZC1W882ZLADskoBMgUnn4+omLjCbmmiQDoUKuwGFKox5HjLwEG3Do97fusudRNkCpQVU
KlF3WpwQoueNMxQYeDCBpZyJqvzqCpNPV0itIenET/mR+PSqfRdsENxjb45X3GEQKTS3VKhXnRrI
T8GHB96Rmcn247JVu+JqS3D3x521o6d6h9G3B3rAKHek7OuTu8F1vPYhz80tglXe4LBq73GjeOYW
0s+KbOW5a8f03MQiNClaQW1jXlEdFjfWbsZoC2j2jC8zRGTmezBOGIzYsjr/1U+f9GwfFwGp0Bw5
KbMPnQExYwVEtnIwbkeoc8mdpoLkeKuZt7XMRTQaeK8MfYssDcIyMxMYRnQrpj0RkUx+jFnSy5d/
PpGXlrcIRcVUFuB1m5MozBZ3auOBTTkQOKsKKIsU67+V/UNAOv+Ei/shKXUnVDNBydtyH1QEKWSm
MEbz3y/JRe0QFdP5Li5jA8cIUAmNXgyuSOEB7BBnHJNoN2Ap8Ep32l02tnbu0ciGNs7cnvjUmzC4
zJoOUrmQRvle8WehhZf//mrSfm5g8YEymVtZN8GADIZADVgQB8ahjbSo2dFoC/61tZrF93Famk/O
CLC0pMzekRYjuimm/jY+0JaVRVizaCdcY8CS3O4ZzHuejrHXy7u2FjjPN20R0XpU8sAmOFvQh6CP
p7vawhCilf++bGbr4yw7AK1whxKervWdpz8Ekt1efZh7zNSvdltNoTXHgHoTCBYwN4Q++8L/1Vpp
ERs4bL8lmC+G3AsBgb0rdupYqoFeiWnjffV/rO4fg/N3PMsLQNJGdfCA4D0c6lHi89thb4czDhBK
K6AI+LuT/o+5+aOemXOtrEDfGfe2fKMWBOz/ULSRbD+72ti3/yJinW/n4mK1ajvFTQ286lAf1GH0
gPLZOOfaWuw4N7G4To3DQY+Fthqk5fHgDtxHAzwHQe0nkXZIIvTW8cRge2D270Ag64lDEbFrsrHM
1Sfs+Y9Y3La2IHnazrhcY9eSMN3Pao9IgQi4XPtAesB0Gl4J4Uc0lTZi59pjAJyMCjTobRDgLaHP
BgjWeGIiX37Xzd03++mY7JOj2F++havuBChgYFYxNYV/Pp4b3ANw6xgu8LgOGsIuNNvbcsPEauo/
I43/18bisPQ0dVXiwgZSZHnIQ2JB7u7PQyNzgMf6N2jR1RTu3Oji+PSJZGUSw2j+PL+FMdrLPbl3
0H6G3BcoZTalSD9TGSE+40WlodU4814vEQWZQlJMNcHFzOCP92Bz4Io3X3rhZ7cIBngRTDdQQEAD
HHQR3xUwpe3Qf0e/wv87f3D2YxZ7btFxqGKGH9NEkK0O6fEn2BEO817/i7rDWiH+fOWLveasmdq2
hjGQcvjDlb6fpZ6S/bZYwKoXP1vV4jpimFfKAWKeflomHtHumuxIjaeq/XH5Usy/d5nXuTMOE+0F
HcrRi/WYemukdRO3fmkIS0AnLuPf83jKdiDcTS2/jC33V6eXdOPKz3ftk1ng3mZwMwRmlw0FYrZJ
XBTz6joQHKjIXyEL/t9DWfGigQyei0otTH2SgSRo/dXob+KYxo8cPGVio968VlKHAXRPTRt4d0D9
P7oUWmkqrUwHit8OhE2McDqhLeen1+z9TTwdx9STN/YOZxFTcltv4pU9/GB88XJzBWv02oFxra1Y
UBEMyEO1oI8yq3m5fEje85PF54IpiItY0BWE5uPiMA5u6Q5Ssf88bvqnBCq2+SHZl49b4gAroeCD
oUVCxgEOToWLeSV60xzSYwX4ALgBT1sDIZ+FW95Pxn8WtEzIah7HFZhJajzAq6vqQE8DvRqfeSB2
9LoDZniPN5Tn7GsHJFy3c+iFF9vkFXdWLt/5apedQ2bIfmwK2HPs3hnATpGDn6MCD5vPcl09mKws
n1JHWjdZP7bxIdbl7xaYqhCghQYC00KjhaeBqOABbHCq6SVjkheeAj5tMGxgZOor+rtx5eFdkIjQ
BdFyJKcYZByAZEFKqwKxQ6dWUwD6E+nnyqRGss1oyA353E6KCQ5IlUeKbdVftMQovVTpXBAml6IT
O4uLl8RMKRiCxqd6wmRrl9nXChhYTlnRQ+FUJyDa6BWnv1bL4lteuC8qlHujeKBlUObC9sautvct
CMV8RWsPeQwt9K5qm1AZ5G9dk8TXiUUeCZhRvicFmBNS3siIU1BUpGOej3452JiiNQx+A/WFMoAb
SyLqMFmAXC7pwioBphX7YR9ro0KPJndUHRxgDmEeq/TiCOY9d5/3bQHG+ky3vmGWTPO4WSYPaAsC
wThDU3mZYSK41s36scrSfvBkNrFno7XQW5KqfE0wyaRtpIJrufSHI6F99ChOC+lftcKlNnbIpX9m
UAlzApT2wWxbAKO7la+sZJ4fzM3//SyXLkw9qfTZnAxmycR2x27THbrM3nhg92Cs2XD7KynYB3OL
l0I/aFrBOcwx8NHVo7gBAmRrSfMOXfBVyzQPlR/NyTPYGDA4PCvNpzswhKB5NZd+QCW24Ro/m1Mh
s4BGMZ72KPlaiyVBXgRjkK4OGZxb0IUF6r475b4JHFl3vV04XEn1VAcR03EBZ5jxVYvvFVvUSgVB
4XAAAra/njXZ+WkALQQ+2dyJV4zd5fV9dsioWABBoGGMxsJlXzhkIx2oWbVoQTSMMl+x8+8FSG08
UJZwcNV0Xw2n2LUAIYJgTd8g5P58WD6YthfBVdeYgeZmBmc4iECJh68xl6+XV7e6n7j6AD5ZkM/6
hGXs2ahJQVIUmozQrI/GEcxMke33NDSLnXs/BtsiJJqxkj6D8xINfwjGoN/vLFFKbdlq9ehawqfQ
YvUodLgLb0prUEcJWwsI5QMIDwvMlk2pvu9kE/txCYENLwEXoqeD6yUAttOnTccjITH7weiQHSe1
fJOpe+O29avK5JPSWBwaoSjlyuylLMDZBDJcJCruTWuz0cf0Xn0skZp5Jc+/4NRFJMlBSjO5d7Ha
aN7E3cCc6Y5sFZLLA2ihaA6sSY6Y0LePID66YTT9JZoYpHVx5DJKd6SIe69sJN7IfQlWRTE43qB1
QMeJEtg1dHs4waBznpJIqSq/F/mRqWlYxnqoNtAWYCL7zZ3iMI7sV2tQ305oNHFlXw78QDp4ZDYz
65VOu+N5muyzobgCV5jjgY/N8OlUewB1IJzxGkzGFnlDs071awOOm2dG7tlF9026Sea1Cf7XpIJq
iOwyzzWck0WmkNr5LdDFpo9O9J0R5xmke+t+Z7XiQdUo+uzmpGIfVDxuIDnsZRhi8w2inSxr/J4N
IDeSHclOSgEh4qKTNIgzXQY5A1CFzCRe2iSTKOEphnjBFHYkfWb6hegoAllfe3EhDKTBeDSqLsOz
G5PAuceMJAuduDBDeB6wsmjkFzVtUDVq5LWbkh82qDQdpXsYx/x65BZQ8YPNkVBLGtYon3pq26IQ
A7BCyIWi+1OSgPrUhW6iCeLAqLBV1WtE8TZM7L6o1Sxgev5ilA2IMMCDBEBvjRmRvHxyQEIXEV5I
cJrVIFqnrxgi4b6wUWNOlQmsqR1OZZU2v0rOX8skkWGvmOWV2tIUatCqvrcZMcNSzzMkIa5fF7zb
422ReAPnV0aRZL5Npyd3eBus4YXE8VFXOHjc4+S27BG667IJoG0QKPWvfFBCjGJGgzntLGvYaeOX
vCcPVhwHldXcZElzRbV9monbqstuO0e7B4PYA4TbPVcYd1KbmZhy8ka10j4AAe96hSZUL7Fw/Wgl
foMoF5Cqsngz3SZMVW4dqtos7kGZaoWDRTJfCO3NgpYhyKO7vS6QvICNEvKMRI8xLRd7DaTi/dGJ
jaBwWh50aPyA4AmALcLkd5njm2ayeS5t65hP7KVx+iiu0chicjjaDo+YkK2ntHbILPzbNClbL2nw
bpa58EY1/VUMNQt0x6G7qrEeeyPblUPp4rqYSdTn+Gal5t7LHD0iicHriBAlDbqEq09GLOqAQo/k
Wzy5zC/SgUf1KBNMJqNUwJLyaWi1vclM07eqson6xNXB6QZ0EC1Mn/VoqGN0PKoV+sBy+zGvnRM3
wagLQrugquw9psXAF/fkcHkUE3KITn2wXRMw9AqNrJzqIJ+SSuLpLpJEs0RBAu3f73k5YnBkHC3f
cBIWyhrcZBJMC17dlK/QIoN4fauEw0j8juEDKTbf0YqcMGzp16oCarzYk9Nwa0/E9XmrQ29lNPsb
E28y31DAq0ySTHpab+U+yV5UNqCQBYpHj3Qu6vvl+JhBJM+r1VTxKo2CQadtv1pO7cLFWbs+I1+z
USvAxVn9xgjuVaEpnWcN2s3QD0cwf13rEIPoXZwd5Q6JcACitmtRv+bCZP7ISeypTZYgZnanOiUH
xRx/SxefE/RmP6FC8tC1GmTsMGDnicyFBtVrqjPPboywqb924Dd0J+1H1ndPZtYeVLvc93RIInix
h6mC9sBE4vu4YQ9VXL8JJ72dGN2pSXIawMjWG86dAhZUzexDVpo7ATUE/KUfBbgH0eR/xOBlGeoY
ZfbdJgP5tKwVhO4MDNFppnlNVd4WI5j7tCTeWzq9dkn1CL2eyGBK2Kt0r2gs9yUA5CNz74msUH/l
RuBIftuP3/sUoweWm9q3XaYYvq3Z18KllYfjBw4+UK829U98z53ZV9fUwDNhzJtnO8533WS/mq12
UApd+IaB46bAV0GONerAwcfVBLTB5PukIMvK094NHDGYu0aJr7VEecoG+6pMq0fLSh5twCEbtT2W
nRpBFnNnMzuNlB4zPOBIJYEbtzcDt8LK6jSIbGTiUCYjC6Y4SUFCOd2IMX5FfvpYqKDfhjCRZ2OJ
Xl9UwH4ngx0SZoy34DSuArzbzMDQgXOpsx81BSOboaR7IpQfuVG6XqaClZJaHNSkzvjajaXcNZVe
enaaGNgFTY/Qobvp4zIy4Sn2piK+xDyP3DYF2V6fwMt14HWyYsgs2zZgPBBUMrJZJQfea8rKX4nZ
/JBth1ddn4o96uHwD0rhj5kTaNS5JnUX9pMLqUDX9GTvqFA1TjSfkjE5mD2/aQhIRzlOve9kMTjc
kyqoGAokNlO4X3XU8YXinLrYGkM+TZCEGEsNFJbpziJd6iWdFspEHuuqg252N3LfzfpbTZ25F2Ub
uER9UGLtIGjVeyMYuHW7VgJFQflYyPHggqY1qBkolzK+B1ugFYDoyYNC875zmxczboQHsr4oBmfz
aErE3Uoo/oiMN1Ny/Nz0LtEV4YtaRxYAksg75DHHpCtTT4eAYsTVnt6JWKPBaChlOAz8NVF1umNM
KLs4tr6IzPDL3NrTwt11evvdKPQvsU2vxxbk/E0SsBT8rjlchDo0R6efbK/uretJ7+6kqK6zujhk
mLwNhXTRJ8+d9KngLViLB8XcS0jlnLIpV4Kk7EnAAd65pmathGaWs8jJB7bnBXtuMqAkiMONO67k
ZQDC7GvVyKhP53dqZarylPWZ5Y9dkj0VWaIgqmTESzNd88FcuatdtN0SfMkrFLNfJ64dUwtsEmVa
fu04kvIJ4XxUc6SR6dTt6topT2bfaEikiHOMNX0P9Z77qgYYDeN0J6SooAZMW9wkiWbN+NTHXeJ1
Cbhrsx4cqg7G6uLB9BNT3uPYfk3pUHplpvzOuFpft3Z14q5zk2qldpUW9ptGdTwdSdN4YytkONrg
obdYq4YUoDmv08bfo02vNDr3j/X2qYoJ4DGT8QJSeOUX6GHbaBiI61FqCK9UHZBOJ2WCGNabkYzx
9sjixCx9tzcHEyePd28Jcobrcmqz+3bSxUk0QLoRyyU/DCfP71RVSJyGHASoveZO4LHsyL4xaRbg
2jUGOAKlduKJpM96aw87txXjqVbsGGEyZ0dOGsz9qtKqjrGaj6CEdXLjvorzFxSO2FUKXdW9yTuY
qcUPKW2QC1c9iHx7uISeM+DAiS7AQ0/U2FcqkMZ5NtOUr7VZ6gfXqeVdkyTWvqjcbEdwux9FPPwP
Z+e5GzfSbe0rIsAc/pLsrO5WtuU/hOTAnIqZV38eGh++I7cE9XlfDGYwmLFdqmKFvddeey0pdoEe
St9MuZY6ve53GIF0XJqa7tlynZSeNVvGNglmU+Xt6YYXLW2C42jaXHyyLkw3SgZpVxmB6eZFPB2K
MaU7sqtl1wikYRW2hXw/5whbC9t+I8RJVtM4ilM+yh3a+2NUcElWKWr+ilw9zBOaxhgQoPXcTHAZ
wWz0u0TlzzZUkR7laI62TtpjpBFnv4Zu5GkwNcSDXeRcG7DkMUGZR+7QGoU2n7J82p+4qtG8LIxb
0yqecAi900X8purTduJroibdT64jnEc57m7ZE09Dadt417bjWqmNXZLlW8NyHmvivCDNKqxLsCOY
pCRwcRoNucKjI6rC66jMt5mFQU9iVOGqLYKNEc9/CrM7kvPsknS6V8zmpzoqv1XdblfqgFJvG9yE
MQLbg12hOh+eAlNq3DjvVJcMAhHn5Gxn9XMmitKdrOxP2I83VKYJ0MpyJtORb5JsODWibHzZypCW
1So+iNC+N0Uf8s7hSRPOj9ZEzJmmxWHWHOe+KtRjaEfkm2XyNPf1icSIX6tOPB1plPvYVkR+buLe
oJPWxRba/ANRs1xF2Nw0f1+TDjpuE+L10FsPVTeiwD9ZK1vCdIHH+5Sib+1Osern87jJQgSxByf/
huL9OSlzYlHQOoR4nidylrVEt992gOK/Ck1nrzbS4OaaihR89ZaW1bqOIHWG2q1NQOwKI3qm4HSX
aFKya+axwIwdxDScvkl2jQ63jMYdHl3i1GvC3hIxoNUuUqw1BVtnmKZyUwVJyP0l5G3hUFiUx9tu
8WNxIJU1xNmhOtxmGTrvSMESDCntOjXm5JHjgrx7PJLj5dUrcp/0kg6sluic1zobs00U4eMmRlvZ
TEaJfEnch9+KJntxuio5NFEyeu2QMPFuImHJuDVFX9xUyPXTwFqf61wZfacs5Z0klaZf0Grs009r
7LCNfq1bTfB+1dg+jpK8IgO67bIWp+MuovBUJr6tNolXToPu6QYbcqSvltw82diBkNxIUDTuTPPX
pEjnKDd/DATxg5Q+qHW1kZx6283120SvasfdZMXJL0RjZWwsJAK4PPxlilnl1bKCc27N8i4euq1u
tLsZIeCsqLaisc6qxTCFpN4ZqRkCdybnGXl2/BjPlpNtw1lGB3e+oXb1K5NJjWdqO0FndYcyttBD
mpVs16T8m+NEyPtG43BIxuyNpK5058Apt3IDvUgTVfqAa1i5qhRx16V8jdrWYN3iD3CIcnt4BkDt
VprTBX6DqRTrlfyeen7F2CbjFlVq/Vz0WrMxE13QvGFWb6rgrdBqQs88rF711nhF02vrkLjKYfqr
L4JHOxz8zhKvwhYkkvHGiUlvRmfbRHCsKuOmtbu9mZjC00X+mEzRqoxAjwVOEYqMq0k6mxrXVT+Q
DksvWmykXhOWiB7ozVnL67eR8GKlFYq0G+tEQZg6z85BN1cHlNRBCcIZ4WxJE6swmBtaTnqdw5g6
58hO6jtjqqVNFbbjaXas8JssynnVc1365pCvFoQmsvLVDC3TbuM9CrlbTY9OUV85L/2s5hszJZeo
msz2xZQr21yJkh9Rlxermqd/Jc2Seqzb2Nwh4m1FLsH88DZogzhrvRr+Cejpjtx8EAk5ZE8PvECA
PZz6amvJYtMb/Q+8VU4jUSkWF2Q1eiLooommtRgCNNCblmwbqSQpNCW3Cpt2E8tteggRg/YzO1jT
/fZm1sapkBugsRn95qiwPKXUd/GyaYqO0EYY5A+DeKzE/E3BhNLG3StP2sNE9GSVsd/E1iao1LUR
99/xmyMqTgt8FwtrdCdR+r1RJGjb5x76860fy8Vwo1ld7hIEg+Yk6Y1eGiUuE6a8TnGNcQWoxC/b
lo4hCaQUT4S80YuQ1BfHAdNx9Ge0Dn7SzBv6ksxkPTudx0OV4mLaVH7WFedYHe9UOg7tWgd3mA31
hI9Aja1G/80uUYWY5NYC+VdsrBwilDAUuV/LSeRXtqTup2TaqLV2U5n1k6LDJEQ1W2EurtX13xWu
iq2aSoh8zqZXSdlqIO7o+5+2Uv1ChzlzzTyG3alEp7gkEa04dOflZvfp/Yz5iv0D5h8NxeTutZSd
XdHEGykWw6YOJcM19Nw16T0l3RC+MRc3GIVvqXnfDmaI+fq+6c7I7DUx0WPo3FCsJGQFLoLN1geu
nm/JIR213pP3CJYetimaLi5WRB7nzu2HwK2it7hUj5I07IfUWFHFQYTgZqh/dz2xrGL40TwQCD2n
407oJzl5qKIXEBK709YZSuFL1ie1mDl8c4Z1GOUbOlS8COZPH786089S3GTGfc5zrOFvI/GA2bJn
KJEnohubQNdQaDpK0nWssjmw1Kmi+DWlV362f+jaixX0TyrXQ2b8sbtXzbipSO21CR+Y6F7Hra63
3xDuXNGNsEpz1cPq1Q1twy2037Hx2CtilQSbPjRcO38SMtFVSE5w62i3mNWKqfphhsVaZDaOcYeA
zihuxJWTJI9aZFJZs7ITidxJmGJrlAGbtluHOAA6QbkVRoprQ+IWOY4hOmBDgk47Ktu5AY+M4FXu
djm46YCHSma/lGZ8yEqxn7uGC3uPdCHuDugTmwThDk3FU0IM+62P8anoDcTBh8BLiDC8fqByjNjl
2iycctM3Ru/xiUl9VWob5Kw2Mbre2C+8l/i7dAWOTrxGuRLorhlJnj6GuzFdXnLDAs8SdeymU0Vl
Z560uwIQyB/VctrSMGuD2CaNP0pttIodORfeXOozsiiTX1JIXIks6Vw9i40dhlCU4BDUg5OAgUiq
oqNfD/qaS0Ksw3S4jXtQp1lHtWwM/+izWvgEE44b19Yd7QyyD8i0SobqMW/FU9TGh0Kip1WjskjT
3Z9cRba/jKiFzgnBlRHklqc31q8R6UqzIheZZnkJ0R6MRtoT4R9FsLAjJAWleGEkKzGRsBWm+lSM
Xe4BAH/XI/GzloaznKgqvWfI5+P6FXi91Ryt0nmhn2PeTFp0Bh1NXbqrZVcNnZ3aETmJEui1CYpT
h5TZJnQU/HqGeetM/VFEZl262EJKd2XVF3vJyVZBIzR/suoMFwCnoarctpmPNIu8kmwlfkH1LHlM
5eKXFJTxNuK1BYyMlOIuM/XxpuAxPgW9NfzQaVfymnEefWyTixX46HxwsknbdPhsb/ll9q7PDOc8
OmGgrgylKcEO62HwJGDdwVOGVCB+zQ3FiSOPTqPJVkGZIvGKHjzWEJFq32hRpx/mjtgKQtaDNU8R
UUdpwzqT7cL5nWvVHBDM4kaqLhFwzY32IIpEuw1LU6wJaVtfRvf9qQtD5cEKkmpPtAxO0U6Jci7T
8XaSG0qnWhjJtU/qoLZryP3hPk1qsU3iNvFhgkWU3nFk8dKmmR7JFIcaODrNSjeIqzb3ZD20DmrZ
1zeF2dNP1WuvvYSKvyrPzrpSgw59rVy61+Mqkr1alRvUFS0j6U99N0YRDlYRAORA4nZnsq4FgL9S
eamTRjezgZEGQSC19rTCZoKzMkmPMgQ4CM1l2vgJjkU/BjXpDjTbdivDiRfH1Mwqbmq1CfANFrE2
+fhkdetEyh4r9EmfIE8YhZ9NtbYbSjnbIdZQ3gFGVNu0oc3U1etIcVzDmrV1yvnyBeqooEi08rmG
BP4SQN3dgh2o0ZJ6Bet+Su1tp6bBoY6akow4D56TLsiAJMPmga/4YzBmdYcut+VzfpNjMfXpXck7
t08jzLtQ6Bruu0B+nXNh/mxFHbp11z8Ac9j7Pk+TdRJPZJPZoOKtgbHV4sFj3qdaWGwirUu/EY7l
vNx25etTm97PAm0VsOySfg+RZreG1Cvu6LTFURtV+TmAUrCtslrfTPOE09gsy15R1tIT1unpViGz
WjktMZijWNlraUfKXnRZ92B3DU6MWV33e6Uw5se8yrVd03e1ryd9/gYApgIiO7PjFvKYUAzJh7J3
UWRA1wU3JFgSCimxLoG6omkc18eiwF/JbOCeYtBGWwpYPJtgTtsXuwiLlyrqg0NqTurGbrBtmmRJ
YFMf9OFJisZmFcxtt4vCFmKC0+u+0ti6r0ICWDdDa2JxlJr3iSzLu9Qk0NMl7Y/ZNcqmH+dwUw/F
cJYSrBsiogRsihVjHFw4TjjTY+VmrKQ4Gb7VdIqvKfZhJKM5oFNWmb8NVclVnfY1rz+WFZM7R2H9
hl/qfLS7LvaUxY1pbQJigtRzLR0Km5JY3fTFples6KXL5XBNGhvuF/+8A222xU6kTUywOkS7prK6
bRG2wQ9iSFlzyRbBIgfLwdCuwkDnJZic4Y5eAv08tgBZaYABGczu5Sl4nEP5mx2Vx7bsyV7U7tUq
6lsylZWk2gkoUMEdlY+xp44G6rtt+BwEHQYZc3VS0nznNBh0dC0bzT7qfAw14dTV5kwuX8n6boZ6
sO9bCBlBMx0dMXLn1w13ubSfhbmOnPqmi4VLRfpgd/mPgQeWeB5buWRVJvPOCOUbPSXW6/LNGFm+
br0NXQX+d+4Qti6y5qZTo5OkZZiEvM6iuM9wYy+1aY151tlxapwy2piyj/SKqJwxPRQ571/MTzJL
w6kKVN80ICjgtA5YV0XR9zF7Jptzax6qaPhl5A9W3q4dM9vQD+G2ZrdtJ1Vf52aDiSANGFWjntAl
u0uz7DRY6jG1okPViMSNTU6inbVrlQi2GujosaH7xHW8HmAtuIHyllkRCIpS3ZtVhsX9cKviV2fj
3Ff3m966N3oWp/rWWm9ldls7+5jHNZgRrpnb17i9q8Lfwgi3KAQ8EyHcGeZLDq2P4+mm4A9hBfFV
nMygwUUm5oiSQeMlKHXBj0lYvgyE21QgaP0tv5Kkfl3yAEultFfC6DWoNZzFxgdUildBTZ8XYeQw
afir9X5O/VCBK1wZ7HcaUEc7822CdpxBDwPUfVMVx3L64QS1RzX+uyIlmKfV/CDJKkx6nAcTrzd3
c/a7Wnze+ntDPup559bSH6c+x8l9AZMOXE7OHLefKyxzFjOWHC8t9LJi3Jil8tAk0Du6iDIQrFO8
Z6jt7cYMyTfKcZOk+yLf4rm3toj0NaAFEyR7zk9JH/tqACZMhRR6kZ/KlL0722/T33pZ7rt5+Ily
33kqAbZ71SPXotKV71u9XOldsjImqMRasct7HL9CeaNg3IRuAc4xi89FtZWiBzq1D7HquGVOOhFP
/mA269ihoAX8qmHRSQh90Kp7uwVRB0KwrdyX88d2ApBQLX9WQn8u7+PBpCCSdOMxn3nQvcgJ4te2
ymXU60L9kJLi+Vo87uK+vlOpCXVrSSEBTarkGxtzAOsBgprAdAlvklsAU17ItHoyp+zOVqe1PQA3
qkx3IhYvnYPlUN3LZEhghui2SZVqPnfja9M6N1j+UORR1KNVmas+oSqv8XJbTf/UdryK2aQ/qZL0
iDSfjZqeCuZZUrx3MAi0eyjk1HfGaSen2Ul00YuqG3tF6NY6qulsHeP+Lh+kX6qU+i13mVIom7EI
d/Q2cmby8Xs41AhcdtG06VQlOBgYaK+tZICKWCjjfpKc0jVIKbA6SgjFIkd2axRTJBI7T4/1Z2Bl
t7OGvW0j7dCGK1unR4bGD9zfPKRk8BC1vyWBQrhseJa1vNkxQtGkGzXiYbj40WJsEiNF3bgeB1wf
NeVldCiOJVhmkx1Yb30d/ZKz7m6GgkZKhHFtmANi63q4srDUA+s75OPCkVBqdYdCuqeG8laIYWVY
zSErfsxkzYZi25uyIweLomhXK8m4clQgtmwqDH+WrHrHw33Q2FQGhLC+yPahMLuHEqfKuTB5vPtw
JXCpw0NIfA/V+kVM/SuGk7071E0Gai7WKEM+dhMHDVrMWm+LA2zuY9fPd1E73ematQsyHafY9ueE
mZMeVCHRXrMvcqRFiozZjI8G9C3FjE9VjX9cXo1nus7ORpuccmG8dun4VGamh2/eU2a2qzIPTqmD
jrGqdLemWXwHWF/jhvhExW49l+Gw7oEI/8xSBENkgNtI9i/rgBu9pgwPg92HWDUa4UOYRQ25pXke
K/kP/orSvq1hJHRa3z8Sh81QzSvDesxrYf8omyWwqzsp0HzuJNtzoBC4naynygrqMUg4jcG+koaK
7mZNRqW3n3TeJ1POG0+3xLwpgzrx0izPNvz+cNW1Q3SYLLL/zNbLWwRZ2kOeAGoag0VxjOpO6EBx
ibN1McvWCrPYYDcQWN0HGJaBl41gvYaVcZ4qe6MBTh/GdJLwoYwmX6vb2VNrtabYtTAfEKrxolTc
S2WcHSO14WaKheHnQh439E3b277SVApHenk/FlqwCnUzwewvJxkcrGDnxJrYBrBXeK7Yg2e5cgAa
xlR7iJR4xuOu4xJCu7sCSoYJI8sJzkKJuatlbB39WrNuYXr6ka2ta4J2V21rXM6E4nTzczAS0sJl
KYf0IFVdPjzIkokKTDNTS6XNLg0enFpF6w9qGPZmnWYAo4bqTR0E8WPbjZTY44KHBxAx/VkQzsMV
4DuVMdaCJKSAnKFZIg5SI74ytZrqmjY5/pA5uBZ2v4luvztLad8Qo8kdj7FvHhWI3jrG9wiQpSkz
X68C3+4pIQ26T9B0Qg/o1gzCF7MLn40883uqiQQd91ZBUI6/R/nmRKXtWQ7qYTAuFrvD8KnKCRuJ
hZ8kXd/pfXQbJXS46VYSbUK6rm6tTgvcuOwf5caUeKJzqkhQ+f1MxW+SSd8KM910kePPkLdWcznt
qRVYXhIUznEmaqonG2ww43VZOqRwnTYrLzTGm17TbnEcJRcelK0kN5C6p61cl+Fukqzf8RQvIFVc
eFJAFxlYsxsEeEIi44YMQwAlxp4PU53+Gpz+pBbxY5U7b7D1KreJlftgIgRz4juVTz6njEHC3h5n
ixeyqRMf4GBXEhBl8nwrS7WygTZbu1mqHruAlElO/tjo8IVa6Ydq8yzTj2k0yP4Nuf07TV9NM99o
VftD1D2dQknuq4bwhFyfqm6JNrq72izWToLlXfMzVsIz+PpNlRiPMDXPxZjTKzvPT9qoHwNsU5XY
PI3YXWeBuSmV9mGCljZ02bNiifUUaxtJINKH5xz04uNgEICn2jaOklOrdlRHUQqOqr/WiroUbGdH
jzx5wkVtqA9jh8UosqVPSmtv8tr43kpz5MNqGdwpsPe5aWbo2EN1nnvF54JY6zWFSljZSA4vGJEq
ndQqw7gWwGmkHNNWza4PI+qIY/aa9lgr1r0ftNONLAdnM2zObQ6KkACTQl4GreEpgNAnXCcajoXs
bPth5v2PcbLDf7US6joxjGcYcrab9Rh05pGMKkLirOORdN7BlHet5rdw/bY0/Xm9amIXIxUA31Bu
QZq0+SaEdbgdGzBg06H5WbSxP4xLKWMOihuKfeZ+ckqctZPQecphglPSVLTGg4ylrLFVNrlJdJMf
L/s2OzUxfas48zc1lsmr8t99KZ6pL3Urq+3KhV8uebZdjitFizGhjHukyNVwhviS7mW72owckbor
2esw/ebCN1IV4V2zzjE2lHI/LEcNRMk27uR5/NnkSblTJeO7zg3oVgBXKzXqlNltW6X63vRJDSxV
LSxwZ1jpfU4cTZWLrFDyYrVeN5h1El+NOAmSIUTlpggyKsxxHPwes5irUcYQwZEwaM4prLimkJs/
ctafodlJh0p1wJo1ZSU7pR9ogco/RVycBIiZ5wiw6VLuUSxWobd5GZ6dfptT0A3j27a235o0TrYa
zJh24q6ELzeCCKuveDn+6OPEHzEx8kPocqNiEcEmOQ6PYnpNnPY4me0dTuEEAKUCn11hK6DOFFLG
pZSJjWPu9TO1P3vOto42BjChoi11FAIN3HUcIJxjoRP7o08enVpTgngmJ9MLz4O8M4xyNRtU9edc
kTAPBugJVChgeJnw4qbiLeTNXseWIIh3EpTKZzXwBaLl1NOk+UGvpBsTlrGrJNniKjboBwPQbAu2
Tjlfy0pEuefcs/gkLw6+xQeBVOf32dHw+g7zMr5CGv/bjPEvo/sfuuyl3t6Y0r5dauXwt7U+35ce
aB999frhmlDn37aji5EWuw5V4W9TRiTrXzp8lhW10TdQjjk9r2KHcsdK3CzeTLY/rBVaQtoNtiGu
BVD2f5K1+djSgw4D8Dsx3qJWcjm+iQFV0IyYcjpVvZbKCatJsCARp+uvec+fUKuRA9YV568IxQdt
NUMyJzNXrcYrVeOIIOh9Naj6NWb80hR0uZjAT6a2MJ0dWb1YTD00pyGk0u5JvVysARmle1XGZLew
zRrdeK3yu4JDnHb5nzIeMe4siNOiGZpP0kY6TD74FQKmBYg9zR2aAmm5mwkbpl661se1tEp99aNe
9Dc1bToITCxJE+i6aDw00TCvWhkbc53iXO1/vfjKJy0DrP7/LswFp56iUGdAhWzQSIUl0O6ydeC3
LiniX32Yq1KOn5Hc3493aWfVj6M8Wjnj4TT2s37Vac+M/BgO1UpfZyvHl/6r3fX/56ddNKZlMvS/
HBiOEZTV2FmEnI9fL+HH5kgUWpCyx9nDQAzxUj8lzMaAQjKyPlURfzN6XNaNGEPeZA9kd6Wf5LOj
8n6oy61RN3pXtilIULWuBHT4/9gxTWMuOFgZFlKHGAFcHJOaXv2oMhxa3uIK2OF2pOb+9Wr97SO7
3N5UEhcPIsQbadr991pTi9ZuEytgY9Ogn71oW2eVA0bTpFJtlGT19Wiffpt3gy3//11LUdAiXKvn
zMdGmz1rfDuCDj3jk50q/81B0gwHoXtDWbT4LuYFuTRH2zik7PocnxYF59zTXcvgHKVIol6TePns
PkMsGtI2ERX2VRcfihAnLPQQ2T9DmsYTmg5kHGQrXqz1w0EuQqgHNIb7pZD0718v6WfPwvuRL/bg
SHd8pWZSg7OTWR9NYQ+bxmqbezj80fbroT5paWU7vpvlxeVkzQExYPpXzIHeOKQ+034F8Jlbq7yg
jQo9EQ/ELHfjwKOSrTxU4waK8ZUf4rNDhz2EzcHALQIY5989lODX1WBfQWy7CTZWu6L8l255rZ4C
f5GXE8pZ3/4XvXBLpzCCjpRqcB257K3iII66XWvCs84IdWycdfLAK3DU9oYnjoub65VJfvYMvB9v
WYR3B8UsTU0ZZ8ZrVuWrusI9wdOOyl3nE4qSG1xb06U17PIS0E0TiSe+Lg3RF61jTi/XehzjVKPe
YR9kIyBM6/rRpK773VyTf/rlNV2Qj73yLOi7ES8mWMsOtu85V2eiSPehqmwb2Axj88sBCYwN0NC8
3Ce29ZgMysvXa/vZgWH1VLYPK/xBHryHbZlmZo7jAV4mciZ2Y98Sd4xXDsunwyDyhgcObxEatf9+
QU2K08oWLS1BIoAi36yEjvK0iG+/ns1npwGpcyJCFU9Fcrd/h4lJSiwyGxK1fhMbMAiLa9qwn03E
UhfLMQuzRl7uf0fIRjro46TnIo1HKI32KgYKiLXY/3oinzg0AN8R1jo2nf+MdNHSJ3fSEJXxImjo
qvtwq91kfuLHG2XT7Nq/SpHXddQ/e44cQ1eV5cpWP4T0YqTGZwxUxrFp2FcYjVmjDNt9lVHvvzK7
z74TliscL7wUPyrICamhmStkKH0zPJclN0i4b91v7XMaLBIAyFFcU9v/NJR0HG4sGk8hylzqjo59
KolSoItnHxfRunBvefPexseHB/DqjbU8cJc3yPvBlgvt3YUlDXoaqUEMIyyocwpXNq3CStQt9RPH
62RpWBqyr5mXfLJnyAp4c9GexqAOMeR/R+2dIYsxnFpalPEdzujXp5NhOxznGLuZhtcgsdb5+ppC
wMcToWJiy0NIXIYppnMRwwKedskY1AJKp+yP1HKHrFslytXc9mPmoVqOSeMwU8TI27k4eXYJO6DH
ouyveYjYEZvvjROsz1uy8iv38RIl/Pv5UB7jBsHqE5Va9W+U+O7z6VCoe7UDajSgRVcE5lROPFWR
6007jpBrWr137sZWTn0ldKrHK4fjk4n+M/rF5sk7GPGZ3CwpVri1DouEBEX7dbSVt/YVi9FP9JSY
KYpCnAjqTB90P4DfjBoRzhoaG+W9UBugaOM6Cos5t77bii0/5hKExRR0eR03WbOrRDBtirZId/yU
yqmYKWl2Bv5YTtdNj9ClzEd7Cs3bhgydZjM50ADcAngESeQgeytNnfEE7dH8+fWifTxwqg1qriAX
R1jy4eKvCFQMJcxqz6Iz1K6ejWY30uuTV0iyDsXq68E+7HidPciaERrgNGte9s1PjZ3DPfyLJ+qu
TSFLmSlxXVMA+HQUg4ZrQ2MXor3272luk6JL4YQIz3S+tcqbmKEJih//xUywQmEEdrmpX76XUquH
Q84YaZX8QlBkl0fNvVNes4H4eDPpMkGqxXotXmr8dTGXvq/o5XCIUo8wTzc+cBEaxEbvI2PhewJh
t/k/jQSAUugiQmxGRjnH1i5uixICm1EPNI7nOYWx0dUM5T9+xC6GWB65d7dERFSuaym5onkEfj/R
xu32wJ07sZq9RRLUofX3Shj1YZtfDHmxJ+yaw9xqNhUDASGSd7LCArg+dXBbpWL0vt4cHx7pi8Eu
09NA5IGkWDW9dNs5fuzsu6///E82+D+f6CJLbDtgY1Xnz1edU04vWK16k3JNMe2TSSB4SCqPcqWs
65f+bgUcd8UJ2QdqkZsu3CjLs7rxWobyyVT+GeXiyjaTSpiZySiG2M7atkpQoNl9vVoffYQ5Qe9n
crGjK4mIF0uk2qt+tmsUtXzNp1FkY9+alSs908ixVp7VQ7iOjlDDvx77Q2R4MfTFTh9yhGiBRYSX
NOWPDjqPNRZnNZug6FvXAMZrS3mxxXWHNoDUYovLd92q2CW/6NjzzN14N++pZyqrdJ0crx2ra2Ne
7HQibX3oepJoqAmPLYybULG+D5K9/noZP8agF+t4sePrpqVjIGQd+3VsuvG23tCy7VWoW6Ca9H+Q
YFu23T9xzMV4S5zz/oai1XGIaCMhZBr9me2S+MFOR/IN+trZuLJBry3ixVsySlZcRzL7c4TpnlXf
U/pyrOLt6yW8MshliDtF6Hckix6IZOIfFxVbexjXk6Fe2YVXNvxlTKuNlVFRNqw9U7zZ+sMA11bv
vauOUlcuJ+fi2jAqy6gpYHI5gdmUFLWvxLGfrhba/8C+3HyYZP/7/SuiryqplBoZgBdtWHcyNTPl
yhf5dA5YVRlk9Q7+MxdzKMZYissEtlIk6qcupSF+yP98/dE/akUu+/jdGBdXn54VuHLJnM/hzvwh
bsCb1upL9E0+T9+Xh1a7vQbIfEgALga8uPAqNDKGslSFp7G98qmv0TOBz1SkGIsXsSWtEqM13doS
/tcz/fSDmQ5oHka3umlfnCGhaaoka0x0LB/n7lf+c7gGGH76uSz+nKVmhhn9xZZIJ0uoYT8gPhln
qy54beZrhuKfjmBjVq2gWohL2sUcknCekLNZRgg7czulFgx1mzLr1yu1/JwfrjaErzWCvL/idP9u
7XAwaimtEUHQtN9GW8FrPMjTCJuypHfrmvvwZ58FtVWSJEA6/nExJauqM7o3CPjn+g7ygKohFGpe
CVg/lh7Yc8BwWJZhPATus/wQ7y7rlr6nXjMZRAXJ1biog62zWbyFM+9auPLZ9fZ3OrYmO4u3+L9D
iaor7WkZihwXJUQI0LKLVpAUX7l/PtbTljkt6/b/Brq4HKwB3zLUb5AEvJEe7L22NW+1U7gLzg3K
vLD4r6zhtXld3BOKOWoavH7htTQsj5BDJ7+jSbP/9fXe+3Q7vJvVcgLefSm5mwYpyBmmqs5S/JiH
h8i4MpNrQ1xsBpFWVesYDDE7Z0fbzsFtKV35OJ+dU7q2OaR4DDpU1P6dRdRGSBFqSQ1BpdVe6o7e
wH7I6isTUT7/Jv87zPL/3y3WULZmFiwz0R6WLdAdnXt197P5md9oXuImd9HRevz683waZmmqDArM
RWd8kH6T+M+DUMk2W7/39WdtK62gS5aY6SYr+CUvV4aTmcHlVaSBl4J/LR7slwqtdjRX5L0DtLfN
UitYvLSkjb69rmn32aZAMdlQsGjiub2EMEVu4llakHCK6sWsZNRMEXK6is0uh+TDdN6NcnFm1UFX
80kiAI928j5dZMMXj40eQi+5+hKmWv6VBfx0XhCulrVDLfnvLfJui9QzxLIytyG8n+27xRY4OadH
46QdjTvFaz35m7W7Vha/NuTFEQ6lXlRKzJDVvM5i2Hp+ovwX5wupvAWH5R0EKPp34yOfBa1q5C3P
020NBWq6EqMuv//yO5moUy3gqw3oe/GSl3HXqehD8M7ulk9k7uDdrK4bA302DA7ROKvq1Ik4Tf9O
g7JQKdGSsxQYxW45SjFeR+q2uYJsfPZB2NLUHXgAqQ9dzKYr/oe0M1uO21i29hMhAvNwC/REUhRJ
zdINQiPmecbT/1/pnGN3o/E3LPvCsSPsHcyuQlZWVubKtRAXUFV2C4aUx1n9DiXXC8QG7oarrTk3
SB4TKVz0a+yljjF0aPUwC8glM0xHNXGze6DMYNt/650oTMV4f8w9zBVIfBXrIhGXlxCP0mgLJcoT
VDn8mWGEmUGaL2P/53U8y2YwEFAQDJQMLl9+pCZrJbusp8oruszelRbz1dB/3PWbRcnVVByhX9za
EsirZb8ZegRJGaZZ4P320Qf7qFKCaB/Uu3IPc8//oHK2spXVzOj3qgivJu6xSFeGSR3t3gRjKNMJ
yw8Ck9O7xSvzAJfNhhuuXYrnphbBrx+UPETjneDXP9jtvdlsBIX/z/7xhf53LYsURe6GkdkSDLQH
el/GITg1FAEiEKGuroMyEroMW4qSV4uiSE1cRdJeHGF1iQFKoE+ozAb2mTwDYZuo5MdTo9b7jbN1
dYQXZhbVBqsyy9iaDe6lo/XdfGmRm4geI+hkiRff/5n081VyAe7UNqDVB4dAt/43ROPs5iiFltfU
FKiS2F9z+fvIBPL0Vq0+3l7Zyv6dW/mt8Hdmpe0bRDkd0a2cnZPmTG7NJOB/M7FwcYOgpLddjuJC
5P9SzPmnwjzgbRMrn+diFQvX1oygg+ik6TzABI5XN3YTMiDeMeTFYFS5u23s6tawhfat6PASZk2C
7WVAmp2sGsM0H+iaxfd9msOVc5dMr7PpTVi+ySDJ7yH9u21yxRcuTC7Wl6TV2BtFDjNJZ//s9Dh2
jWCANCudHmO4kW4bW9nMC2OLYzwGmhpaHeuzjQfmIFxrfILuY+u2Ej/54opf7KJwzDPHi6XWMnTm
ZQUa7ZOFjDVag8zf3E8HbT+dwFbfXtR14izscdPL9LQsQ1nCJ0ZDsSCNYAvhEPVUj47GSVBqW0eh
2hgeb1tb+16ayCjoPRGd9MWNn9l6m+gqnC+aZEEp47hdm3xpOpQU5k2F5LWNPLe1CE22M1sMEWEr
r+7SO3WfIG1o10/Dd/mQs5ODvLGTKxHjd8hlO+ngycvCWzvXmlm2kIeVPsBYXb2bsmLjhImfvPQN
EdX/z8RiSTQMQ5iiMDH5zz5UEZ/VUZoOhBB7FwkmeQ144X5Kmo0ocv2kx0cAKXP3U+GRqb4sfDIa
4lGvsAurhvky7SETOEBksh80b9qBeDtsPQ/W9/Jvg4tDkNlF3gK25wECmWqdTvARJBtX15YJcdrP
zlkDZkSFHEGGOS7imahA95Np2sZp1ta/2N8LEQfizIoZpO0EPAkrA6Sbtj/cV9LcwfBY5xr8ItlP
tMMnzWVglapMC3/Y3o6q8bmdy+aUqykEzLYanOap+aQMWfs+qWfb5v8NwZAUp+pTFSlI6jJgdlJh
4js6aixDImN330KDkSu4YmWa4dyWzOurRZV9BGXefjSrtIA6EyKVT2aVQ+UyRyNK9lYjMRvKYM4u
zQLzES5TwePcyPcxwgB/qmC3cKhFHIiTILZrsS3xzABOBsPkrI3vZX/ayJG3tn9xYBpGNGKQ8lxJ
RQra7U0IKa3EzFXK7Gt40iCjuh3f1q6I84OyyMmzWA2mPMCpyhzqDhgdykMHU8xtI9ed9cvdW058
ID6dwpCMFeiA7aMJYB3CAfvZAu/jHIe7/lg/Wjtz47yIT3Ide/7y5GX90MzT0LZ9Phl8zoIZhVeN
Y8eZK81N66YmTOx696cU94t1igh/dnjmtlB1MGnksLbzC3TQa+hbNla1diGBTQCzrOg8qJcP9j6r
czsUgkWDod2ZGc9qx/g22tF3LVY/3/5sq77xt6llG2tUZ813xgwFsYQxMJhBnzVmxW/bWPV3YrTl
IERDPWdxrkZokarJQommVxmMioL8BzbfjTEklaXfwTQ5M9hQZ9Hpttnr15r4Ujx6GbMzDVIJsfaz
L4WAny7wabKX2KDP8kN4aA6G4c573vabExurG6nTejIpG4lH/aUxs1CZG1XxxEl5TIv7tHgItbe3
F7RqgkeGqVJqAcK6OMdp5jsmVIqQLtr6e4YpAm/MsmPr9M3GB9swZIg649nGSb2lhXLKWhgFAHju
Nva9OXz/T4sxFvtlO8k4ViY29AmKR+te493ZT+/+m5HFWVWHMGzqHiMt5FcMHO7heXnkbP2bi+Pv
D7PMRFRqblDACjP14wwpr619VTcDrPi6V6HuzMgi+4gSIyVTxkh/MCnujqfxXjq2xz8uf4lDc2Zm
cWgMpyztucDJ5vhrU0B4hlBtDwfgf/swiwxEslXYgyesWP4IMXXF9Ln9ANbteNvM6vVwtphF5CkD
vymDjj3z1aOmvPftD11zkpHbcpJ/k2eD9RYigjwllj0zxqdiSemGyYPC11XmDzyA/6OFxZY5kJ23
hcUDway/VuHXFt7Z25u1mnueLWGxWa2qR5BssVlp/djYT/pmxUkc6SsPPjOwyHumOB2RPeSjIzr+
qyRXF33F8IHB4M1ovLWWZajU4JO0hSlTe5egl+DoG92k1dP491qW96bcBENSQSEOmSxwhgZ6dJim
9FyFYk96XWfW646LLezHjYC2sa4lHCRBaypB3wfQlTXudGhazDTZODNrwZ/2Lxc1YEwa/4uvZJZa
HhaSMAHP0ghTr/zErbPha2sH89zI4vsgJZgkpYoRFTIg6VNTQNYx7TvDZ5g/vLvt16sLEuOAMghj
yrba5W1WVyMwOxEEHANmqe5oz7ZXlFsDe1tWxJc7uzP9Thn8sWRFJTSZVon4Ur6PkpfbS1n7/GAl
/lqK+BFnRoIySePWwEgoP6vxNz3ZcK+1xPP87y9iDPSQTcZMAFslwZ/9UqM2A/lKk+QbsWw1NTs3
tIg1VpH6qgKpiVcytFLC1Fg1p66Ffzx48K13ygxLsfIU9u+CytwwvbXEhXs3LfocMAT0noYYquUG
vqntey2LT0Ha9Ee49op/E1fP17rwdT1W6waGMjwj3M/TNyf/+p+cQl9ka0Xaz3RkqHZTGj7Sbt5D
KnPbwlqwo/NGi0/gJ67aHjLsIL7dY2GUMheqrjQf3d56DON3Svkh096XDNfftnjdnSANoaSo2KIR
q6IzfOnpuoaoQS8W1R8MzTN/NUjkZnQnmA0bf3d/6/db4yOrh4tuNrMEov9nLXxyMOc+16aOO4Np
jugl0v8Y8fR7TX8bWLheHShDKzHs58mUhPvmoPe/bu/a1goWm5YAcYjsghUoKE3kB33Y+PvrfvDX
AuyFp6nQuIW+gpaFfO/fJ/fRUVA6qA9bra/V6i9WECoGZkw7fhHmCsdPy8pmHdN9+Cz6etY+/NDv
1V24h+zodHvTVhd1ZmwR85JghsFaLEoMuQht4IEBF/W0JXm8ZWbhXapSdKYuvo2utT9qFBdKmPJG
7ZQ6yXdtyL5nloR+kzYXeyVDcnMj6q3eTmeLXLjeXOn9HKTEIL/4Ps6HvkbfaQulL1awTO/Ov9rC
+wq1HQZFEiucjnH6UtuS6wB9mub9/OP2J/tdtb5havlAVSOkJHrhIPpj9MG8h/OQIY4CsY739rOQ
jRTarzCOW3ewN942LTbqluXls1Wx+1kRQYLBcreQ5VOgTk+hrh9i2GJcXx730CFv3MqrtyXz8sQk
0TyFHeYyGMbaOJhlE0EuTZdWzHdndABdqAJRXG//1d18bm2xxKx3pHjSa3Eg4meonY+V9tp4bF4V
h/yomhsZzTUqy5HBkYpmD9QmMmrWl2sr4IGNogHPDO+yD+qwS9+FHpRgn/0DffVPOpQH9xBuHbSN
/P0qDViYVS/NWk0390EhzNJN7VKY4Htvqh79LS3Oq5C8sLNIPpHLtsaswU7C1JTjv0I+47ZDXg//
LyyIX3CWE6YATXXEH8RZsN7WhftFv1c956AxrmfuglfaRJ/dpdkkNvHutu3VxXFXOigBmdBiL2Ja
lBWK3ild78Hj6TDNQlk/G9sNoMKWkUXocpS6jX3oaDx57PI3eiuV4Ji6rUrBVYBkF8X4rwGSRIXN
fuGGcRAqvWnC357VcCyXjdZ7rY2aYGiOW4Dha26kha2F7zHOIVe5pgi12/YOXtITijtcpPLD1tV2
LVoKhY9imgyQWpphGsuLVM/k2R5s6PMEyGi8a77kzzky5zDlZO/zJ+dBKN9Wu9kzvP59/NB/CYd9
spvukp2zSz7e9pW1gw7un6wObD5F16WzhJITzgZsawQx7YBsVqvupwGdI1S/YNIxf2Mi5eGnkbze
xiteZxRiI2wNaCQASFLYRUYROA2UZ+izeKXOTpSUgmHXj9zhkww3RrjfSiXX7WHThuBEjLQuDqU6
g0xS84KTscdx9+ku3DlvmkNzl99bd1uf+fo6xJIGylRhNAE4/fKFW3aOnNg9fPIUtw/hM8DFo6h5
7KcnW3H7vZjpQdYOqrgPW9rvK4dTIMXp95FcAPta3Pn8i7AHFNMiHEg5InMTpKJu+81VViHW9reF
paLwUOiRPVVIJEhm60b5L8s8ls0b2/xuI1J729RKDLgwtYgBjRQkiVTWPHMcZGARI1A1mBFD63jb
zMaeWcvjD9N3OrcA42Rl+gwAfvAitB33t4389rCLRGWxb4uLpzSiGuI7m6d87goIhXGqfvU7ZTd9
Ychrn3jz64aDz4jyadgZYOhcQZS2ffKu8qXFz1gcBAc8ol2bRCDY7D3DfN9AvtzHb/3wt5yZOwZb
16H4SMt167qYWjAwDeZ/cR0Wg5bVKay0Kul8slc+Zl4LWenveb3NTvp10xMbgo8NGCfNOmZlLq3F
s1k4cgvneAvRgenlh65yB90VMG8B6IhKwNcvH25/2hU3ZbgJFi3FJLKoy3balDdGZdfJ4E3daO+C
bvw1OQmSPI4zbtzv1xALOA5UTbe5QCCscJxF2AwR12vLdoAA4Eu/k/ewgx3Hh+RReE72+V/0HoQ5
A0ItOH0gTllewsg1hEkwzVDApCUFLkigT11jJDujybrP/2ITobsQNQYQRsvAxXyGZUkm3OldIrRd
3HF+6quNPv91EeP3ev4ysoxdaqGUdVfAiysmSIevM164Q7UWh/RTD3Xu2q2Pm1ePONiLAyCKt/+3
MmsRxVpHl2InhT5buKROLu0/28+OJy7Y7GCjLLvxtFzJpC/sLcKZVivZkJYKBbVmvM8G6/00O99H
Tc4OSqJ9v/3VVkKnptJgpTStQb1hLYKanrZx11lkaVEV36Gl8ZCgq37bxOrpOjOxONGOH8ttG/DW
KtQm2BmT9k7SP+aJsbGStXSI8rrGbY3zXfMQWX4BgX7HK6tJ9QY8Rpshiywj1z5YCoq2AROSJNeR
28TZjzCygvetPH9G4wJlJQTDYIyqH5MIzbUYItjPlj3J72/vw9q74uIHLuoiiEQYWStr7f+O7GYn
yJ+8iRhQHAGqqG/7PWroT90T08Lvt3xq7SPQtseJaagBE148LJCBqRFbVVokjUoAUPddFh4KVK9u
L3HNiiMDhVehWFGvksIh99shi63RC5FoNAfE+8yvabrx0Fxz2XMji23sOqke8gLaQ6OZvKo99F2w
/xfLUAnPQPo1h3nKyzso1FUzssXTJUEbLIkfgvqThR71fzKy5KOUqsDUOsUBAKqqu7qTvsZD6pW1
suF1q7v191qWMwpB11rwenK36ZO6iyPnvgicw+2VrN3ZSHWCeocVA9TiVbd+LOrUUonK/uMnhkNF
iIyfIu/jK7veCRKmfzF5wadxHHisoM8ybQhOLr/QaGsGs89YdOh2l863oN9Ptb2R+azF4XMjizgM
jb6GPOo8eqadHfLA2cllh5aPlZ0gBzQ2ouTvYerFLQMpB4FL8HMxUrJw68nqKwXZTRQz9sHX4KSc
VKTrTtWOqrDuRl63E+PQ+dH4nLiGmx1gMkiPW7w0aw9pHhd0AYDcQLa2xElF1TQXXTcAyGyze72P
9kVeoqylPCelkrhU5p6VcQjdRC7elpqxkcavvfF0uD/B/esAy/Tl2GI2mY0Pc7Z44wnWxeKoaHcU
kQ447n36E7amDb8VH3C55ef2llseaXPQafCGCXvKTgyf2O+0o5jUCHbZx9vWVg7ixeIWEdiudVuS
Q1jfVHt4A7FxXZQboJktC4u6zgwLEGIlLEdHO0e1vmlwqN9ew0p8v1jDIjCqvTLrJb1Ez7cc19Fm
tH+4zW1jI2atOgI+yD1ugwhgCvzyeEsa6u9O1HeeWXWu37bI9vDksD+qZrenCn4X9sGpdp5Dq0SE
w9/JqHreXqj4GEvPOP8Bi4UWUW22U9G2ng8Rfl46hw4z5tC+dTK0dLYAAtflaMg9qTXY8EGJ+fBl
OAvHaZqZguq8ybQ9aMgZQQ8gqMgh35ctLwvjD6h9wFqiI7UM57hUVBtHb8V1Ln7AItRFDWfdivgB
/ahTFvxQqn/u/Qbz74J3TVD1LJGDPniBtJYG+OvSz373WEAGf/uLraV/jANT9waX6MAUtlhClTnD
UCopPJt3yeviDbOTMP7vGIAH9PmbTHSGs+ljcvA3osjK1jH8h7NoYgzwitfBGtW8shMVCpHwK5LP
FlowGytbOXUQOvAC4W1KRXVZjPLhjcjaKUfw/tX8ScAuR3pq9ivji0Woiu+DQ3NS7jZsit1aHIAL
m2LVZzVw9Jwbnuj67OV1vI/jzEPdwR3D0rXUF394cuqfmvLZdn5kpJTa1nlYuXgFPSZkhwoKQ1c1
sEiN8hi6T5JVs31QCvV11g77MO2QIU/+HEzADK+K+AHsg/wPo5OXK2VstE/00Gw9xPeMk8prDwUw
s/vzA2bSeCf/J2uBxm7xzlIy3ZqKwmmR16Ix2bhB/Xbji635oUZzn6c3Kf5V26dBuXJE5Bi8nPvp
f56plGSpkIpHavB2i0Vl7SXOvObf5hbHrYnkuJ2ceqJCirZD4+peT8PQc7zRG/e8MdrE/QesRyu1
qAuri200fK3yJxOrorXcPwV7yfPfdnfqCanurYCytaGLI9AHaLOEEs81lVLNyOg6lJ/cRGRiSOjy
Ltht1/bWMmnWB60PVzWVtiUgWZtZXjgi18WxQtc8v7MYibV3quIiBIsaFhSOYK2l3dZ42Ppa/7K7
bP/WY96ninCeALJ6hKh2UbqRnKzcqOcrW6KTk7lE+mRgZbLVu2BidnP4Os1PcfPcdVstwrWAebaL
xtI3dRniS1M8tGP/scra10ZSfu4qaeN9sPW1lu+eMkH/027ZNXEGLDSyey/ZhweRrOdQCPkw0FZv
tynY19Ij6hyGIwQ6qEotQ5ZkV1NsTHrrpXf1O+gNDsFRQ/xmp+7kU+y1n29HlrXd5EXPrAFgfAhF
FgESxv6J+SO1ZdjACHaA5B+AF8/eoEdvbhtae30wXfCXpSUENE/TaDZydJzypn8V5/lJSbWnPHd0
hOqTH76jntCsedWOueP1U76xzLUjcG588aSUI0MqewOnKZvBHbvZNbYKiesbaVJpJl1Q6e9e3jRs
YliGNkMolWrs6+Qp6dS9vUmyt3Zz6zJsutR5dFqv4lec3dzq0IyN4VODEU457xR3Pon6qHVkrvRh
69W66opwxcJaQmJHw3rhHJY/cRADXFFG6hLu5fApOgKkMOi/wqN92ML8rNXPsfKXveW8dhLNelCF
tAHDO0A3dwyx3uUPzqOYmi2P5utmg4hj7ZOdm1s4BZKuplWL5Q31QUofK+srlX33ttuvOR5lORj+
eezQc1w8dvTODDQ6gWhrIFxbflbaTXrlNZeg8qfCqMXwEwjAS5eArNoMUIKevfZTvzMOygltJd2d
PXlnPmzfJWvHmIl91HtEC1NUhS7NKblmkqaBhqKifLBOguRYO8qv6s3JipU8EVpqGRYqjZ6RZS0O
lJ7qiVVVdDemknQjL9Ofjdx+URz/oVTju9tfac3TbfEdQE7aNFLshbEZNaw491HH8R+jN9quQgOJ
Pfz1z+pba35+YW2xh70WZYYfDNSeHid6jZCov0h7A7VVus9iQBxV2dvrW/F06mgm7wvoouSr0m2r
dbKROC01z658UyjdF1mdD/DJbbBSKyt5wIWdxTaqVTyi2oEogQhPkmt6Ruv2sqsgpGG5rdvtkGE4
moGb6Hd+5m4VuFY8BjUNJGBYKsw6SzWmqNKdNJ15JBrp2J2iLhyBEDXloyFV813v9NmG16yc7Qt7
i7NttXI0Zgb25MhCk4W3fFP9cYhSFIuHNbzpADGuQLbj3FZFb9POp/L/Rc+UQ9LEr+t82sjfrlei
Uo4RrUvD4Qq7ImqJhiCoNKP34qmXTzrScidfT6oNLxTXxeWzk+6rEMqCiE8ghxb5vVxMdmR0QIXG
gxAeS4713rrfZiRaKbhw/6JXASoPTj7bXHyXLrWVQkcIHeCT/6jo4yH3QTkG3WmIrI+qT+m1zGEP
ylTDmxAsrKr+4+3jdu2INNsonKJAArs5DdrLGNmYfZIIDnCv9Yv4deJX/i4OrelVZcXqY6pX1IFv
G1yJX1iERZ3ODBETcpVLi2qWUDXLsAipKo11JG2kN5HXEk3KY5M+6ltlixWHubC32OK+7xPkKMbO
i6b7qJv28Iacbi9pxQLYMrjt4UfilF1VzXrg9dVAyLIQV28S/b7I3/0bC1wvQPTF5PAiu5lQIgxQ
JG+9oqLR+yHWhg1/X3lCqKzhLwvLlHeOe18BVkKAeOEZDWFQVLlz+2z9rlmVR3jGzWKnv9Y2FrZy
R1/aXSQ2Re9UvdFEXJ2gbD9Go6R5gxUXr40pUzjYyNFKuvOiFijikhk7XoyK5cvtzb2+CfgJKFaJ
motsA7u4dMi4TTWuOaR4pEB3s/RDbHzywyMyypP9+V9YEkwknDbxJReHTamkcCJdabzRTFwbUfXg
g15NO7REoQcwNj7p9UXKsnTanxQhDeqdi3MGtmXWCxkmPzkAAgQfUwOrUO98uL2kLSuL06U1+jx2
QgyLIsVRzqVjldf3URpvHLE1MwQMC3o2kDFXWcEwBMYQZRT8LTvTvIC0b4fLVjvLbqSNq3LNHc5N
LRKDtJvlPIpFf2S6K617o3rRA8st4q+S8+v23q3FDTDfBgVGUu6ruCF1gZYqc4/yYPlstc9RvuHY
K7UxlbucGxmntoVzX3p2FPZz1DVQ0hj1HvzwtM8R+LF3dboba3cEPSj/k9qY8OLF3SmQw5QZgYRe
D8zSlpnUFtyyFzuuPd2ZRwsuZWmPSpv9dtz/E9LKlUvswuLik9nKrEhjDEoyDPNnzSmfkw59Yd9x
x8w+3v5ma95BbQDALQMRFNkXp6rzE02Kx55W3QBKClqT8XOVoDDex0fTLDdcUXyfq50EMwX+Go5R
XP/y+4V9K0kMsdSePenPmR5+GYzsdSekkOmfT3b3qoP16vb6VvJiNK10XmdUvFeK/BlsQ1UmR70X
/Qrg3hPfDsE5BLD3zXfpUf1ev473EjdB8PHPDfNSA7DBjBbso8s7TgvbzqocuCQGT9QL8l0fuapH
zuP1H7+boDX30y5jTkj+4+EtgIqAKwS1G+3uq13OJ+ryQ0A5xNBPNZwI+dTtNtYmbrHFh0QeQjSE
NBDoqIZcfshRknPA54L2w2Mu4bNgM4qooSKmsCmct+IzmBIjJSoFA11b+Iw6VRPAImpXtd64DODO
BsVwxzP6Nx1aUV36aWNpK0Hswt7i7A2dUxW1RTpXQ4QLPtnLAEkiJjTsfHc8JrvhlG2MDVzfBWzi
bxAcbQwADovNVHq96CVmhDxnejaVh7h4HrcqquJPXH4vsiykZEDWc8RpLlx+r7ytal9qW6o7kfYJ
2jzXHzO3GayDGhm7se83VnS9h5fmFnEaFZnalx3MAf/0cqlyfWcjkqxk3Yji0LijPwivB+Snlysy
SvSoy54s2GmO5tH4TXBZak/Ol9mD4/K+1Ddc/ncBbLmFFvhZXre8bLgPLg3OqkqNNKw7MA3TXh9d
Wwz8eSXUxSRZkVupbpYh4ZwhDRo+1gQUc+uFr658RLqVYAppZ5tXPYxiljJ7SIhk1X4C3obc+yl5
ZJgFabv4Zaumur7ev60tOxeWOfvDmDAxMzUJXaiyK3fzTP0gMH13juFYD7+n1XDQtPepAxkwMxqI
StpS+CE0vkymeS+Pn2zQd7r1CqbEU9p92zinK6eGkE7FV1TDULNefA+57uRhyg1GU57anX/sjuFO
m7+Jh5fQOzGVPfzsmuRu8guuHaUzu0ukbNKESlGCd/RaWX81lJZ1aA27fmvPUuQGudH/mKN+3CWN
Zh104NauVcjJR6Vt88ibilxVdkNjmG5Y6dI+0Z3qQxrJxXs1a7fQoSvJEl1esmLwPuCOQKFeOmwW
2qFcDjEvYdC1yo5rBzUTr9lNu9eyC3c9QvQbT+HrtOXS4uLYS2YR2OD+Ok+pBqBMp1TWHif/vVLJ
h9sfX3zbq7NoU5dkAhrB4SXoskwDxhDE0vRjf6ec6pNBET7cb9GA4EjXhlSh0UfIBObNZ7/cw2Fo
ojIKBMzbMFrdDUjP7+dx9o9Z2P9QJWdHheghLmmgzGoaPaZa/S5R2u/OUCeHtNRk1C77l16Oc0+P
uuylmGfGTAMz8Mx49k+S3ry1h/I5nu2filF/TSTnxHjXLwSy3pnhdM+EGkAg/7k1SnM3OlZ6Nybz
6GaNdLSCcW+rvuTZfvqu1RsiUVY/5Vq7L1pUoYLoubE1N1drt+qSnVmXKnop8mlQpruYqU2vNxX0
Wds4edva3fDKYezoEJtS4gVzmN+NdfIlspJqrzvBDGam+2xUzZMu5bObaFPk1n2Osrpl/5T6Mtkx
F/Ir7OyPtTEcS14YMWp4ribnOfov1ktpMCgcVYHtploDhW8bSG9LvwSHpmeIrMxD/1j0Qte4eS8p
xl5qkAe1zNM8pk+2mrZ3Qw6zYBcVND/4SG46JA9pFacno6vfl8385A/52wCWDremJkhvaXjqFQdp
OedjUDu7oLQeE5l/UulUyvPXTpoMN5Wk+3ZIv/i9TSvdtrPnqCobt60FBbRqkGY07dusYEBiVvJP
Ud2/5M0M93ChIDTf+tYejlHlwbCA9Myd+ca0gsk1tdI/qGlWPTphkh9ss5qerXjK9nnajsdJVx6t
Uqq8PJFDV1bjfNeVBaB6tf/UGsF70w4zWiFOfuJz3KuRFO4U3/ay1njndx1UeH1X7PukfN0UTeHy
8Ffvqjb0DIduTTbXlLiiT22a309Z/SOcqvqO5emnubROEQOJwG1DoMPVQHeiNVI3qyzLnawBjpEm
/+EYwxdTnyTsT2iCQOh1l9bp+0zqg10d2rI7aJ2ORmCfHmV1+pW0+c+ubfLdSELhkYi+hH4NtbQU
D7sqzlNPisLyVRCoIUA25UsfKy/GxKxzps9uWMe1C6egeWjiQtr7vp7zweMPflE/TyUN8rq7Gwde
IZXa7+zS1D07rZW3sVahhzJaoatp3a+ss4znQpW+9vW8j1vpjRRIGVDSsXNb+MIfLK2EkTH+0RTq
fGzb6RftDIMWsl9Cx8iPQA+x2EmQN8Zx5NI9/zGr8p1kRu+iIrwPLLL1jpZbW50Y7XDDKPleB/VL
z6S/W1omDFPtcOw0CU2bicx9SMdXTaN+iUaam7FVQk03+7abOEyY1YqaHanUfGl96Q49llcZREXd
ODduYo6V61glrMhZ/lkr53tjSjRXb+adEzv71ORx0iDaZQc/a8Pfm1P/cZysD3NXvm8r7Vvt+B+A
pH+/HVRXLlSITMSQCXCyFYhE3DfNOFX0YarG1QpCVvciy/kfV9UBFfNyoKzIM/4q2VVNeM6ygTsi
VD9I/b0cpy4PpY1S0cpFxJQ2KBreJ7bIey/DdqanQx+WLCW08ztdGU9y7h9CRSUXLbcmZ9a2jaoE
FIhga+mXLfKQ0orolRVj6zlvgzcyMjRiKNyIIQAZaLlw2opDsHnTrlyAIjUjE6WmLyTMLxcIm2ss
GXYHdCBJm0/61JuvtViSd50fQeqlt8qw98vC3slzZnpZ0Wibrc+1m/H8F4j/ftYN1yZpCgyfcTL4
U/faq+hev+tgzzQP4b3z6rZjrqWitPYZFwVKRodpeQvzETtq7NzCzd6uXfEmK94P78sDSM52Z3li
bDQGPOpyKIV8fPdt2hLzWynravwEAaKwbZIcfelRjjVq6cBPGCg+JiW4ifTkWwU3xZegOwYotsoW
WrBBv+HJa4aZkGFszzbI5SCiv9xnagtj2TtEWuQRfyscBXdC4aj0rLvbu7ziUgzmkkfTioJ/+aoP
pYZZVQQRe+pYzddSkrpDEGQoFPf15M6VGexNvVd25DnS/dAm5ufb5leO7G90He1D2mHgLC7Xac7V
TPUNf1IG6ZDLReJGYfMSNs5jbk39RqK6cmYRuaHkJeZp+KIL59WnoVNzha9ZqqYXSu/C1t8VevGv
rIjyCKGOyYPFklCd8c1Q+EyivYzRu7l8DrWPt3dt7RnMSv6ysXyl2egSxIbDtgnZHnkvwLnO6+bg
QLfov956E25aW+xbIg99PtSsaDxEb7pjdtQebaZxhTtu4wTXHPJ8aeI5fBZhUIubtKDCWHzX3ikP
0dEgupSbU4irjne2g9qlmU62kzAjvfPU5k0ePjfKYVZeLCbuN76UCMmLNwvcE5xkUfy8liqLHKVA
CQ87vN091G0erb0YwJAftr7SqnOfGVqEqoq3hx6ZuERj+0DcT74xUFk63l7O6sc5M7J4GPm+6AHU
9N9nZ5pfOU6dMO3nqIXXh9RGfL0u71uuf82toIQpXMs3t+LVSo3pYj8Xj81MH/WhMthPp7s3y0fV
/PNE5eLvL05vbeixNRhs4xhL+wEJXIYDnvq639jIlUYlE6J/7+TyKqcLG+Et2PG/BG9MLz1UQOwF
tIeM/c20qxu3PG5B61d9/szm4hzD+TcrkQi2QV4eGlu/9y3tITPmYyw1W+vbsrU4xmbQN1Uk852q
PUyG/pGWzUEJoNuuKZzNnuYVB/1henDe3XbQ9Vh1tsbFuS71KgMbnoukYdwJjm+q/rpr/O8QUvTt
tjnh7zdOtyO89SxYpa1dmbnCjnZJ/xBDzyPIpFLJ31la99Wq5I1RzU2vEUHgzJ6ch46JaiSFCRDU
w+v6TmioaY8jRXihGlP/zI+buO2tL7kILDIKmBYCDTz6vjhP0wfBcyd5+q5HgUc5jtj9J0oGK/0b
cTxgC0EeEz6/JW/6KDVRKE9ABZo9QIRvE3JG/dt0Jw+u+iOn64dsONWXAUH0rUC6ghXDNE8V0Uih
xrxsb+uT7hTBxEdtg50JBrM6xoo3vilrF93oPWLlTG1s5LprcdXkjjDoNArBukVczQNf7vOxB7ZQ
f0OHwJXa7hBXz0n6y3de5OnU0ve+7blrcfTc4iKO5sPs67GGxaYuX5mTdj/H7cZZXDVB089kDwE5
LdOtadarSvMxAb3pse6pXuXJ4fYqrpW+BbPTmY1FmNHlSWCr6AfQ574vpI/CS6K9YNSwGOcB11oE
x/Q1ufsu2m2djLUb99z2ItTYFbXDuORgBLQ6JvWYaY0rzxsrXNtElIFwR3oPNo++yxNvM1kPqzaA
llJ9M+rvKKDd3sG1RVgyhWKQWxy4ZYuoc9SsjG0+kjp/aeJnrXxW05fbJlbPMj0UHaohw9Lx8ss1
tFqo61HDs1W0DSHpeK0cdFjbEs/44ge8HqvDifbaN//nbbvrS/vb7CJwzUqtDjrTjp7kJzs5fWOp
hZtu9URXvw/86aD5ZbggnYUTGB2sglqDkWwsFBdJhG4XO/q4cZ0y98YeLW8a68yO+B1nkT/1eSCl
moBOdXbi0aPxPwVRWTwbA4RAblz60DFMapDtB98ZnurRQsSzK6r5EAXQV8VAkO6antk9RmKanTnW
XePauVN+Kp0gw4EnEKJ5+1ULtP/H3Jc1x42j2f6ViXpnDcGdE9P9wCVXKbXLll8YtiwTIEEQ4AIS
/PX30F19r51WOLv76UZ0tcslpSCCWL7lLHpjofv2ZAaLXEmv0QcVKpPEynR7S7LpLjKrhUXlt0mk
WE6MC6j6AsEFq0hGGp0ir8vGzjvFqBdO6DKOctmqvrl1asBQeb03VXHDOIWkTxRnhpDbkaPN1NYb
I7uNssIqaf0wb/iS10zKpB2AriZLhsbjpqa49ywIvkNnwW1gFlT6gC+oU+W2d1X/bWr7rAAMyTZh
EmmZ+YH55IxY1PxO83szOulif9NI1QERu9Vul012bsY4EUN51aIMPy4AkhCy7mTdh1klYYfrFJvC
rdPARpFRPPIyAKWUAea9DLDMUmFCqHcVM4kQAyVSuGqBToqD2zl5jGyaDj34sEwGqm99R52onHeB
/9JX3oeZ6Fw4KCkMFcZchq0fPDthvZGEpGqSKRMhasQ0a4CnpWWmQ5NYRfws2uYNRdEUXvUpaeke
377H6FvbbuV2XK1wipC+apQNx0ju/E7mM2831Kuuo66FTaTOG9NeT94ppDKdZbvxreF6CL5OcfzV
k+5Vh2tA1yIpLPOlV2ivMrEl1kE1y3WN2go8WhI/qpKyjLc2kVdz22zglxskc/ikbXPl6Bu/r1/n
EMKu2kW3MEpEX+W9wtmMVya6u8hpT/DNgkyu1W7BfH6rl/bUltPJbr4t4Ccqr73WM1hTY/cAe2+A
5oSs4MxTfqr9MkgHz7ouRZ/olm6m2U9dGCnZdbMtbbOZwz7pxhgmxi+cWgmv7K3nSzg+zXsYH5z6
0D3VPvk2KbKzi/HQKocnyu2OdVdpoNbkvvKezdDte4KeiwfnJKhSzdVu8j9Y3n00yhu4BWU2aRK/
g8/9VO3JPCPa08fJ998glXIP/EDmOO0xKpqUhPDxCFEQjlyztab2Uxcuu0K3W1Msp6kyj0PEPxu/
OwJRjcYQ+TjEBvvJt5OlYIlL3YxzqNzTfklUbGNrRI9OiwBMjSk6DKvdQXjjYj4Uz9zyWwtUrVeQ
pOrClDW3NtuW8VOFinlLk7YbN4ObjX25jbWXR02TTTrAa/vq9aj0RE2uB1hoOGO8WSzSpqoM5VU4
qjLxSWcdaSm6rOgNfGYZnz/UgWOlDopgSPUsD9PmZkINH9Vc7WNavvRoAl5VcaGAlwqy0Oo+m5ok
wi4eNAF+ryl3fAaEamgPTe3MibH5E3WtQ+zPux51VpSb7INlmfDWqL5NpwbNE4fIhI3xi9dEkMiH
oUhbcZ5o3Xo58JaPS1tvba8++q3MbctVmfLpfaggjOxLTdJGS0i8xvje7sUS4siZKNOikiJrPDhw
2Trr58Wchhj2Hs1o6L7wFUmInNAssemTS5orryInpH9F0vfty2wF9pZ11SEa9b4s6K4MUanAKTI1
aMrMoGrO4RE9p9c5Upu4Dq4cgdWMWyMpFjsvFEur0M3DJkqHeThVc7iZLTSNbfMZpk67ObR2Xe8B
RtecwOV/iUq676X1RenxOa6BDEt83cyZNbhfjeWMSWgmk/BGbNuqEZlkhZ2wIVpOVeA9qxBymgIu
p35E0aHAfynD6kZCxCcRXi8SyLQkFhraSe/7VlJZ7pKyOERHDP9/I6mDGGqEZdb3y0VULdt59vII
zvmmgJw/CyEfhtjKmbr+0I3MfhkLcqelzmgUPPigk9oK+IwiHrzcLOq+m22RcI3+SxhCmIUZpZJW
8WfIXrSJB+3YNOxAxiyJdU0ttbcGD6EBi5/a1kXqCJ5x1rMY9AKtuiSUpMF/tLprppYXIeGz5Xoq
FyqmOzB509qPErub0aGVbVo2ZZP1xoJkJHGLrfZrg2slCDHFzIJAOJYSC8ABmRFDbkm7IAOHvjhW
jL5Vg4ce6QLQg54e7HI5zN3yYjtlXrTiRtnOlc/qDeXOxiel9dx2VZuaUnyahgXVaMl4iqigSWHV
KwNclKRGn63l89GqqziL8E6Og1H+beUrepjsOvhS6fle20DQbIqaMnZCMGg+9to3V8gx+zd7vfpN
yIdcWX1wQkGpHLbawMLBrclLx4IxY930IXLZa9EjmqOlD4QP92YIUi/Qqk7swTz4i2mgIduD9x2G
fNvACm/Ia99Mt4uYxsRm0kXjuWXZJLwZUmCY/1s2l6/dRL5Ygp7aiUQfpJCm2UjKda7LUD+LJoR4
nXYlru6o407aVFpfTyVcZkJV0YxB8gRGV15emegrnf0HwEs4jKQ5bHCded5yAfZU18gH2UHTf7Jd
kK2RQSdkIt2pQ7fMTZyekaSJ1VPPOmvZ1LFaUAi3nPiIFjl9pL62rIxrqwiOhI5gySkRQ+5YtXiT
AV5x7ULc0qrc7ciaJ9Ks14JFB6w8T2Yl8Wni9w1x0x543ziZBm4C6DhacwwVtHgu49To2VbZsEy1
e4VR4vA40tgB7MW4eju79XTkkb5CzgZd84mh9dOGMoHU9IONDv6nyQpjuq2Uy4LU8WywS+MujhI1
tDEuOBW6UF0CeBzafJDHSazQN0k5e3UJWanBoptAOwLSbzi57xsy+TR1G2HTXTNW9g2RJoYCmPYP
aFUZlZSs9GB6qWc44JWstdcHVfrGKsdpN0LfZ0yiUqI657aTdzcAT3GMqRT4VRx6RPO72goSOJ+h
akTttVEcPRox2l1aRT6EmxoxeK8hHj8fwfEHxsGyyZ4PARrnvt/Z2bygadyEtMqNB32kuuqz0beu
RzU8T9F82/oF9v/Mv3a6eiKeTvC7Ii7qjorbd70crqtuSEQwXQ+uycY6uNUchu0I5GAI554csJlG
5R2rCgxuW3wZbbYp53lTkVgnHhcDAHsdXfuwZQ+vau7ZGkgM7aTtUKFBE8YH7Q4+ino1f/NU0e6p
U1lsy4vKT0Ug46wo4Hb90mGPNjkEPSnbBF3LbqMaIh5cjSShRfFSO6HlZTyemUz5AoGMpC+GsspU
3Fi5YweqSJfQ+I/RHJRtDhYKeeyhNZtVDlO5UxP/0BE5XKhYrmnM7zKDs+zKbvraaIEOjqzMtPOm
EDgT1swW4BNLOT06s64vJXRrUvPLkNDUc1DSBvz/vDgTGRpIMSPpMVuJCDRZ1WODDIe5jdJ2fVNm
lwxQ30vlQO5BmxqYHEC/zp6Rj57vxAsiY+UcLSvYmvnYEPnvwxdXBQY4nn/vRJ333ODWKT2O95NG
1ocivpeXvL7erU1GbmxDiQk0JUhX/JzD4aRFou8LXMrfuXo0rR5WKnG8bTN6d4na+05i6oGRBcYo
FKBWm4KfB+OM1A53oWYs+whwIS/Fjvi382uMgK4hljCQA+elAxnLUGp4E6Q+eZb141Adev74+yHe
m7KfxjgrU0kbtgAxB0jW2dYnWH/uoBeBNte/VtB5J8f2sEuhrYiKVQQRmp+njJSR7bZtgSB7ZlkM
mTAx98kivi5AzYZQw2T6UkfyvZeE+UNPEpsJhKiz6k5nrFYj9sYRM3wYigc3ev4P5u/HAc7qY3M4
jJKsuIvu1aTdvsmbrXkhW2cT7Gh+yX72nZPI80HFBwkEyHu0gn6ev8mNcer0KDJUBU8c06ecTQlb
3qLFXKhevrsufhxq/VV+KIcMlSXs0TFjOh7K02qfXm+96QA25cnNrT25RKZ5ryb806OdFWhnewFb
04UjeJcBBgyoR/3GnobvZehmo3AZXvDwfEfcEjvrh7k8W/iFaSZnDJdVgh2B69fpzcmDA8nWk9a9
L7c6r28DEAuS0s6iMrl03l6c37PToyqqrisarJsQlcf9qonh3wN8lll3EEzZXvJTeaeN8uPDnrez
pWOXtEGIn9IGDrNBBTc8ldTlUfSnAKSy3++Jd/Yc6tE4rvAPbNfPK6qVCVvcXYiRQ98CkKZPeHgJ
sn0+hL/aRACJhJItJCMgA/Pz6pT9aNGpioD7+zhvvIOXksS6L6/Dp/YqPHAIrF/Cylwa8Gyb+0Uf
qojVXRrMJLqB9ytJ2MwvdX/Pz8fvjwX8fRDhjvR/Ad8T5EbKXfw+LYpcFOVVJO8UmqOzBrTxtnd4
+vsXdX7pr8PhbIRZIf4EnOvsOHEjeEbUwLcisuO7sh82Y4cEmZML1/754vs+DBIB2NiuCvznt7If
FMQpoeeK+Mm5kmVzvTTyWc1DxmZ3M/TB7vdPdd7qORvuHEiuVBwFw4CnqvYrP3XYrRZF/0IXa11j
P8Zo6zgeqJOIZkCXwA19vgbtJRh7sPI4VCPW85EhHy33q88G3wLE+R+8rB+HW1foDweyN6LSIceg
S32XJpXfpXFrAI4aLwzziyzd+WOdLYrenWoQm4I1hrJRJEic5+agAElBUbrcT1nztd2wjUcu3m3v
LcYfn+/swgGCECCqAXfa4jzzEVWYHkjP8kIo/95SRNZp4+iHX/0vMRtjkQ+BVJQhBjpWSO+tPfQK
Qdaxj9CL/wS9p0uIgAsDnh+88RwsnqEtFmN5r9m97F8iFEuW/hXg598v+19a199fXOCtbSZw1H7J
GYpQKN8zeHHRp2XjpCRzd2sjmW17eKwnbVZvrOySPMUvnafzQc/PxdId1DJjUOeO7+Ve3gK0d+fd
imOfkRSgY+Cl6AHj5r9/2PcWC+QZ7QCKUpGHf/t5MyibdJ29bgbK8sK3MjU/KHapM/hLTLI+HPjQ
BBKXQKCCqfrzKKIIrA4iOF06HTCj+WqVUlypzGwg8XAMThc1DN+7ZFbpe4hiQDgRR/LP4yERIHO0
YGuPhwgEjOna/VDdDDt2BbHgTM9J9cm7//08/gKD/P6IPwx5ttuHzoNuC8X7+65LXNC97dp+0pou
h1vRoWkzRSw03QJ0SqzswtiXHvdseltvGly/dOHT9Uw++puVczwc53vzWp1WFIB7e4kQeGnAdbP+
cIRGaGnUtY0BldxY8xevvESlf/fw/PENngWVsGSQTr2+QbO1D3be7NQ22stdvzEbe9MhmrRuwf+9
sBl+EQf5/hIj5Dch8J3QyjiLhsaWgb8dGqxTMGLZTj4MIO6QfNVKutSSf3cKEZ2sChPQATmHk066
k6NqcJfrAQ3OGOyJsaDPv18Yzns3K7Sc/znI90X7w3uaANUogslDH+5beDNnzc5KgB78OMO7hOXs
uti5Te4e3G8ibx6cSztiPbHOr/UfBz+bTA2PYr+o8YTl53UyIdiVsX1xA4nbnF08P9+dTohogc6B
cO8XlXv4j7qQ5FuwIi155Xv6UCM5/v1svr86oO2AGAV7Fzffz6u+ivXidj7GQEttFY0+gCAHjWqS
tzcXkT3rlv1l8qBRAKka28PJeXYuoz44a6vFuTy8msP1mJd9ssL2QbvYoMGKU2yFMl2ix/2SS31f
/z+Mus7yD+tFmbpvGpT2YRZJNm5WHl67vN2v6FmRXtoA718KPwx2Np2egkzDVK2P+N1cA2XRa31E
BxtVJmCDm4vmGu8tEcQqEBl3Quh4nVcwApfLynU4SSMoOwdoQTW+t/n9Ell/5fO3BpECUPEAoV1F
QH6eP3dCd6VBmyPVKMnU8ZvdXTfyQuT17tEY4m5z4UUGhvEvzi6ThXqCy7rUmT/Z4rhq7827YlO6
KX2ePvpNLsn2H+vjPwpSQC0AQgYivb8qnEwqCuhoMIUwFI6313a9k+VxVRSCxEUejFMiIJyUuKkD
G/JLg7+3I8IgREgGE1sUc8+WC0Jp0S49xvbRrXf1knTWRyVRdr+Udb8zEISBkTZiEIgRn6fEaIJD
bgL6QqlP+9QiT7J9pfUH3j79fq28sxx/GuYs4BuKkvUQverQgl+ORAg0v+3890O8t1TgCgVwIiwT
3ql7qtkGrtmBMUO1ZzuS1Gja3I9wawvScBWzzWDT8cAe1JfYvVBXeO/hIAvp2GEUgRdyLi0REiPo
EtoqtYNkir8N479rEY6TCrLbSD6gRQ3R7/NUWLNZK389HwlWA6KQBYiPObwEYl3369l+xiggL6A+
AurJOUNZBwZ0pTUoXzlEXioyNLluNWppat9spuNfRpr//Tr/T/nW3v7jJ/d//1/8/bWVpmMlHc7+
+vdr9tqBIvlt+N/1Y//3237+0N9v5Jt4GLq3t+H6szz/zp8+iJ//1/jZ5+HzT3+BNyEbzN341pn7
t37kw/dB8Juu3/mvfvG/3r7/lEcj3/72x2s7imH9aWjZiT/++tL+69/+gLzID0t3/fl/ffH0ucHn
rltRtpx9/uUjb5/7AZ8m8Z/fBTJx8TorMQ97f3pbvxKFf2IBECwzqMbhzxXWLNpuoH/7w3f+RJka
9DOINnool4T4UN+O65c88ue6cMAiXKUmYDgR/vHPR//pJf2/l/ZfYmxuW4bmHD7t/bzaLZTDUZEB
cPQsDO7EGMQxK5pr4/r13O7imHtAfwnBRj3fuIVhUXnftQjNsxLerJZOajO4TaYtxiyT9j4dJbxG
cdaCCCoQVQPMM7SlfoNwiPGqNG4CAzEDv7UCtGKspeVhC3hgoccwQ9IDyRGntPy5BnGerIRUpiLV
eUkFMAD57BZs4dCNsZtCfa7rzlb36Nw70HiJxOQH+8KLYUSeitiY7uugm3GhUBIBds9LBnRgC7Bm
xsZYfmLoGKPVVJuqNTOQLwOaeNuJU7Ce2YJyMwd4IYxqN3ODbpRBarrRBUPbNgW/abpKeOPOZXFn
uwCjFWXtpAPEoIhI4N9dDCQB2VW7Gzgq+0qlrKITFB1mYSwvSKRrokklPTTc1XWkQ7d8qsFwVZ8W
y5HgdReOy+tnrwQO+hMa/ADLlUvhi5vIOG3MM+XYDgO8tvB9ckdkO5ePsYg5vWXG980JUBSjBHqf
IGKmTdRT67WOGuurXUzA18yiGvSJ2FaEHRTWs9mO1hy2V9Cz4WyjnJbUR/TTI0qSAD7Gzv0iowW9
sXHpCrS0owlYtmWObDBQYtGKIoMXMO1UYkedhaW2GMa/MFb2RS67rmY5FChj2OiUfdkmXS8EeVwW
HyCY1OGhInd4E26Zd4BrmN2o41HfWuVQyV1Va9ldad74TZhWou4seyNdUTlx2qP5XaNArQUa21kx
0pZAl8rylpJmi00LgeY12OYgXhMrbnWftB6vkcwZunBw2fu6LJak71htwTacSN/dSHv2ySe7anuc
g9LgGVI5ucYFnGXp2+uWeQCN4YfEiwL8vRXsGoRF2TsnQ7inIe0QTvA3g7k09k0eNGoKHyprWWxg
BG2P21cjG2zrtZzHvkBxQLlWM+3Q/VYKPa7BQI/v2Pog9n2Af3Ok6A6/tGaPVajH6YEwzRjNhh5C
NSLDS0J2lUahcVsIoVRtHdtpOUcExomaD13RJnPHLfKlIbipnvtRGs/fIYcW4Tc6c6iUJraIC/8Y
cmLqfd8ExHroDMBHwL7RZnZSVbHuE9ro0QIxsX70ZiT3pJ/L5yqCj9rV4gZg4wAjUvTsEdaxBkhi
yE5OThL7sQwAp9RzK/f4WYBfLrKi5N6LqF/sQbGcin1tTQ319nHEx+7Yt4vLPscggnfP4+RL7FM5
Y9ciB+7Qwlq3q2vVX8apDqzMx3wB0lHLqm1UVpqKukB7B4VAbGYFVfjA8bLVpgbIGuawvV3KK+bZ
o3ihzuhW4PI3Tv3GUcyOXiALK4FMorU25pNAfaOHqToQYPbRL9TUbzqo20wnfFcfAFiJJQl+e+TU
4JxOBG5qiQUdwQJhcM1ZCAc4b7SzltKuewwH4EfySgkZ3ln24tEvdoMT5GjQwY+v59BfVF55XeMd
2yoa2hFwwXixB/xAQHmu27EcwuOsUUf5Mve67T/rwq/MUYUNpTuq/BIZZuGzZmsR0AbYtppqNU17
pxfzuO3D3gmeHCQf3dcKQUp5gqEYnT65k2bTNXFNh4iFs75zjz3kA/oUoKsozAbBg+5EGVQDsGQn
xMDQp2tM5Ced6TsKnYQafNRTOdW0PunGH80pkjUkCRLmjH1nJ4FF7PkIFLEnPhvqTt2VokPT8rSy
hR6BtqsD6l/jxKrsnQUJBARMIdMQECnQCACaIFaBx66GUk+AhswOCx68ZqpxHkM9wYybGbFxYLAb
ewJiIPQzWnqi4bzIrPfkHMVJ3XqDufUmIE9OhQ7s5W7qrXiSCWT+gunZwW4EIlU2tcpcYaB6AMmY
eNrwapyiq0GHS7zCSAoB/HBfuHMeVx3Vd8pVo4YQAjBA02ZqGtZ48Irv6vib7eKQumKi4WOZ8Dqc
I5koiDbjbfaWhmazXSzGPikv4u6zE5koenMtVlVzIqqZfOrp0tfbpQtt9thRPyhvVTwP5YlQM5ED
LYKlukJREw5tbl/p6BDb42wf+tqW6gOORQCT6qabVA70bglyhRTE+1ZO5QBsMMwr/Pmuj0fPXKsh
It/KTtTFN4WLY7iWwWT6YydoZT+YshunIaHSQPqCAt5FAB8Jx5ZsBSejnS+as/I2WHA5PvV97NGP
VTArwEdDidZ8tkTOC2vsb7Gc+RfuBbUnc2siRNxWg+OoXOlV0qJuytIuMqngMZvCMTesDrQNB73x
NSTnMukuNkBCXl8G8kvDetHfQH9X10GyWFPHjrQYguVxAQyKHXvu0+Y2HhuXXtl9YAOn23l9FX5o
jWv4cbIqf9wNhRmtLHAq7R7HwqktiEx4I6/SSSoafyymuqp3NgIAFGmYPbhDVseTGj7oiofgN0FX
BZAzCrRiKPOoIiLc6c6xmkxQ7bb3LpZXe7CNEMUNLu0+vIcR6lzKrArQL32AZJNDrsoxnqotRFdC
eKkL2zXXxdKrAa05lyCtcwECnFCnMrSGIiqPIu7xrJs6vXwKpR94L3DiHfxPfGILOXrestDNXJch
FK7E2Bb1YythRXiMRRXZj9SpHbWvq0ZacYozgfOXqrRHtp/bInQOAWkc/eqHsHm6lqq38GYbPfF8
svGj9nXHiLhxW/TcqiQuFbwh+2JyuxeuQac3Ggh6LpcN8oPSDwEiGKgAr5n3lvQ2bgUfgdu+bWkP
R7zeJvyK448A7sBuKeGuVofGWY4MSah6BlqtGO7mYanGPIagVckBIFaNUAkuhiKAg/jcQawscaso
BjLM720H1Qvs6kZ8gZhlD+kIgMQdRCKT3c4QskIwRl1+0jVwyA3qinVX8C0Y8p5wk5Zwa9ogralM
vQEgKy5JbkgghN73TsMikjcLZH6GrB1Cr6Hp0DMUw1JeDS5TGaZwYjihYF/ok6MtpPC/VQgh2iGz
2gq85O9ZwL+VED22Df53nuP8lBtt39o1j+jPv+n/x0RoLfT+9z+zjV8Sod0oys+d+SkPWj/xjzzI
cf5ERXAVBUCnPgJdCKWLf+RBJPgTgrrItZFteyBfeUhF/sqDvOhPP4KsHurZ0JeMv1ea/5kH+X/i
Sg1gTrTWw5DhRv9OHgQxhrPSCSrma/kVhpD4Nyxd76xqX1Y9ThMRqpRr1BqMdOXR5v5HL3BQB1M3
AiSnPadVOoJOnDhDM+eAvgJhOx6ttgZlX1olCED1wYM4d2IHjcz0COcRFUW3dlt0m9oeoxS3hiDb
aobA1EpaMT7ArFzBfGsJoPrmldDz7m2VRy0qQx6oC6hBDByqU4MP+R8nIVCAI14NtHUYiswBPWbS
ssr9AXSNmLdDjpMOOEmtgI5uDE2iBUdIucwA9PtkNyOEwZ0Pqi5OgCHzgcGP6mI/61z5o/Use+8g
oFoIiSGV09j7xHDb7UDM6RI9sShroIudIbCkmUAWBXIJOIDzU+GhGFOWZa7d+MkuISjgiJzUhZ8t
qHDNM6T7aAgX+jCGigkXHDNLrG1dI6y3hQGGsmSf2BRe1QJobbeEtWz/BToa5BAUrEKeNe3mzoRg
koBsP4/TS7TcdZYurqbIzVsvHhNk3TQvwgbJXi1e+DLtIoowcJge3QmSS60BRZg3BOauxs9ckD6b
+S0KgaI0mI60Hj43hbQyhLbfCtKesAyHpGzNPvZiltWOvbUrGidhubKgZgDBpW+/LMErd6siLxq6
dXH3HlqQVRcLb9uIo11EAdSJgE1v5rgCveRAZJ9L1YokNqGAPJFkid2PdxK5GHyBkcL41IdWd4ew
bAj3cxTu2bQKEbYdULnRmJFRNMnSwCq9dJG4zjS8c0deJxMoSG4gAJ5X8VUZ+Ha6IBMEcShiaPYC
VB9Dhk7WPlDyZvoiOvfbKi2cko4+Ddz5SAq4CwF/bvHXChjoBDtjyGUU5aaAbY4PyWmrOcTD1vHl
vAlGCyIYsZcq0nDEIbbCogieY2t6YlZ8OwCZWCkOdP6smqQZ2y0kXT5xawTPHkbGYKd0uRPUYVKj
+gsxsc7JcXFfIfB2odVKx5XZdZw7zbNh/sBEpPdCx6e5o2/QF0Gr/Ea3AXoGGhXaAoiV1CEMJeMA
UMXef5Jeza86rSCmtunrW2f8Us1Q6urhNh8w02ReCflIIHcAlHC9rQn0de29OLBfzEjTHaTd+qk1
W7nLBVlDyimvhz6Z66BDZk9QPC1FDogi2nnREG4I5EtTAwGr1ehRztMXXPK3MMcMMgLdMT3EcEN2
BLBiqtz61lfQdJZjhTQoXTobnL0SV6Y/N5uG6JXRtVgbh7ZZh2onuBTMARrGgoiWY8QupGFKGu0l
/SChRon4NJWQsuO1tVNDwTMTr0pSce1kJdwzMx4SuTElxFuXOPjix/UDGDjRBrXBassVHBAiVBmn
PpKpnmKaBoZCHyrOHNd99oSo90MfJTiJnXzqO5GIxr6DY9GLDZy5WCaGpRS6KUcJCFd4ZKdxRJ+R
H5NcCvGZW/xlKqMqpSGMqukcfgaeKBsr+kEa0ebtCABJF3o30MqoEjo24OxYKqNiFLiTwfWSFLO8
Lu95IZmzwGW051ylZD6FvVWmrrGsnVtl6KjSDam2IY14pleRPAHBzkQo0aajXk8zmRBF7FQsIsbq
VEGizbT3kOy6BfFSVxqZk4iD82eFmRk9kXYQckOS14OlaAVPcE07wt0oRfcKClMFAcEqktnUlrvI
Zh+NYD6kz6Ar50MnunDKBW+zNQDRhQksBeRxmPXVbPMxaTU0nrW5HeAzdFXrJ3BhRpAuEf6Q6MtS
+xWEjWI/mVv1lY0k70R469v8JaTWPia1ugLlGV6hoHyynmOedAyOIHoqKep45c5j9Gn0VqJAXIQb
M9Q8vxudakn9OcZ6qAn87FAPATvhsRxxBoxTJVCMQlXAOHeKW6e5ipFsMSdGE4I9uY3aQqdCJBHr
oG8grA+Ei63AJi2nNQ34qJ0rl4yQzgihOziHr0UUVpthVQ4MkewFKhl8G3yhBrbZVRu9AT6eTI7/
dbT6azZoFMDC/rSMB7BduwRtJ5XWNkf2r09yQPrfQJwutRyoPxqGYgeJjqDuO9vOnyHZHrC72lVs
y6DVR/THKBiX3Cqxq03JoVGHcwFVjwZVCedjzbWfoZSVi2gB3WMKaxCNIsSl7V5BvytHVa/NQDbb
8jl4MBK2ESoqD0TNR9yTHz2Bll0/fp2Lxs6m6IVbi87hGrWVKNWlFPbsMLygh87FuqmLOU7IjLRK
hMxOaw75f/IQVSMIpJM1JEhzsBwDth4nKON18t4xUwNrLjBKsIVRnkiXGjOG4wArdm6egVP7WvqQ
+QcxDHF5+GpIh8pXsdTJaJy0LAo/AbFwY6GaSKMKjmkjCjbITFI+o4ra/x/mzmPHciRL00/EAqWR
3FJcfV2r8I3BPTyC0qj10/d3sxqNwgC9GGAWs6kqJCozPeik2Tm/7G0naDTn0DbzQbcHiqwXsC1E
aVfD5x+4DtkPHa7xAHITD7Dqt3e4CHOcj8LB3bxl8aqSU9YUjya/yqBppwuY3+uUYaECr6yCdO1O
3SCtg4ZFnhiwemca5cwDhKj2RpxPtZCh4IwdVXaoFLesI0YVmIZMgtrHs5dUpPIBDe28dLjgnXrW
NuuP7+YPDclejEbXpOs+bA8ToW7yJtLn8wQT/mTquIud7p6NZuUrIE8RxxYTQWh5fhUR/STD0r6i
+iaxV2fhKPqGAAnvsxMlKrVyQs5Spt+Z5d+7CSPTtixWlGXTccKelpFXmOZKsmWWULhN3gZL1f3i
OAgBU2Il9GM/tiJc5IBgoxue+gR7tq2lgZk0KpDTEXCMj8Zy39yWDOtaF/s6NYfIWjcnSjsU2aJB
wtM/TXMy7dLZILzYWI61WZJPNOLMa0ATBkd7AKjh/O+MUz7i4DJ9+6RnEnOP4KWpsieFDzzM+yte
q4bIR+mGVRqXcqHMwMHdXHMgu6LYgqGUz+1GqGZj2RQ4jPbZmhfwYe1YebV5sw7dO3P/7msq5yZy
gt6bH9c6D5otj5iH9agZuosmt6fVHXbpkJphNjq/a1D9lqCMQuYGlUPeFfkrdi/1aZY5Vt1yCazW
uWgJLsWh8vOom5Zd7fQciI4G0nBbwURx8uwqDWRRn235RMlzG7rb1Ow1rLZTYkJT1lnCVKZd/c08
upK3dFs/Kr0ZAmInIAFuT2LewsVe5MUVPFmV9MSjrOUceSaVIyCkQXesUW4xLXVWKKzNCHuVBrbx
0gpKVipZH6w1ne837dPmpAq9hLD6UR2bVmwMHKNiS/VCf6svCyHe1qgF5rT+CHQLtd8/+UZYkd8W
2Y78U1g9nl3OEJ/sbUfbLZP8ter8zGujEYyBYcmeRMrY65qRbzTPcs6iJv+qFDLN3tomigh9nKP5
XZWW+664+d+tPFgZizdjKJk+UiaHefjrm3DSicXnVuih1ixnZxDfjGBMrWl/SmYjiUHxeZreEs+m
f1nItC1zFYx28bVZ+W7RTcy+6zvVsbheLAOnq2kFWUfgUVu6blQ61Uv95ZfWnzVttgMpSUOUDtw4
Su2Z3Xe5FM9uA7YnBxCeqvYOWZFuoadotHbX/JAL7TL0HfYGvf6wij7sLSICp4bvPqnz377ZxGuZ
fhZNj1dUdAzQJW7YBdwXgPzFqtWvEidtqPnljn3HjEbLjR1Q4v1mzX2kxIc+jSYRAmBtzTTj4nd/
F9Xtzmyiek6oNO2NL7vYnlMop0B620/+Sy/dLEwXudddzsYWEJnvCwolVWMarnp/tRZ57vu+BJFS
p0kmLjangoS1IYt66fxZlFouFi/QsZ+5FvslQJodAkyREVVyNGj1by/RfxyY0jjNm3mnaEtZE/5v
qxxjI3OITszKO6+osl09V4caER3u6rSMDfEtvEbnMQKM2hoFUfboECmM/butizmemGXNNb15H8ty
V5cjdyTdqWvSkzdXkkRrYazNjFBoiigIN73UvovTcFvsgFxWzl1b29Pcoc7pcpbuZO3Nfj4nDqbF
0XKWvZ03p9l8yWvHiXOCb7lN8MiXlVtEtrd9OWvNdN0yLzYVLRw6Ydaz924x+TpAhLPmxKoBMDLF
o7E4f5XqnjVNBaVJp4QwFfsA36ijNPD1vLzv+S0E5u0/5lIRUz3Nu8abf6QGgCiUvEq9yKO55+GN
rXuUuVaSTczBSjOnFJkdq6pwwnaRvDXDZSVijXALM5w8H0exmRGDxHKZZgSy1+UzEOaMxzJXkTu4
z569PKStei1mH4HTNh89Ad/R6Jdl8+1gSYYlwIVwKNV0yfzmYqrknNvONW+0l96t7ust+zT59wQy
bKTLVpQqbacaeVCFyCNSVSxk0NnFmeALnB+VJSJwhfrpmSWgarZnz7LivKf/ghWxE/NvFl/O6aJ+
2TyLNOZCfnez+71gWQygGV5nTsRiqAfWtjICxMai7oMHjHCMh9JM8avlZ1KhL7NjwBVBJASZXeVH
txCcl3rdhyRgjNGaDIQT3/KxHYIftgw3PH++AKRxIh4jQTptljurm6zYXE0v7PDkBqmFoWAkPr2v
yYhZMhIqpochwQTcNU6YZ8KJkcpwzig/nF0GEc1TQYaFJgK9eTQKn4ug77ZgVvtq4uLR0qYM12rj
taqMe9vMyU7Jk8/RbJO4mmeWijmP0n5MI5Imf5mV/528W0RKMLenWVTL9sMemXB6MT8aHW3hLrnS
vlqn42KyTBCgBMmsWyqErT0nBvjIRNkqPc0OxsuKN6LKp0dzs8t4S5+ykjuDGraMu3ojfLLLP3jh
r3qWvOF/P3jZeN+v06GczqTG7dOivHY1ye18HumTKUv00azkleL3PdB5Y+957gTRyydrvb9Zia0y
slkx+iXWRysWpX/oFudwPdoF3qBKkCCxSZIttIeWDJBtnB5ng1QH8Wwu27VNvStB2n/FGHtZ8lQW
ObisTeK/MLLjNqe7rj55OoCOgFprvGKKhOivXeK/qHze+Usa9Rb3KmETH/pSf0szD+u6IIrAAiTQ
boHhOc4QT/O/29Gz9oY85uZyP1esw/jQ9TLWTQQtSRmTpHD2F/NzaBVxEz4EsbWcy8SFrxJ/fWZb
e1Nxu4znxVOPRMOetKY8TfN0LLgOLWbCzR8euhW7tnxqXGRMo3VPuMwfpsA70OgzKe4PgjpoWCX1
JrbkCjXlW9PRtEgBndK9pmuPbXOGYrlD23DhjFuDpiHJN9G3e8edoRdb+dv2t8MClUZczbnI8VNw
8Ufl0u8SO4DyO0/4tFu9PTtJOwXMwV+qdt8NO32sV+OlY/7d8vnQYJeI7Hpag9XToLHYkdUK8j2f
qck7o8bqi+6cGnsCgbZA1h5k49gFs814ZGqeEdzuv87EyI0Hm0qZRGlBp4NX25UNCK1E7Bgc6j1R
LiP/i5E6Pxtyzg/1UjypK0c+LjbK8ez5iTggEAgWcLceTnhkXvPEsLh5ahYDrq2gzjIJ78lr1Cnt
W8+0n9nkPhUNuMHAkbeJn7G3Lkm9XNLZ32mTNUXdqC5zZUatjnrOM5NfjW2eHGl+Ljz8unLZd82R
W3glPwF3Qzv8cSfvuJXVeRrsXc6/tU3l9+STCaMD4LjmFOqEHEVOC9FkW4HzVBlQ8OTgPzOqnZth
8HgsxpsozvpqpTEWqKvoNZ4VE1QkBbH9jR8jD3mEMvut1u7OqLQji9tOIjIgTcb+pRvV0Rn9Y7mF
SqjXxR6JICqI2NCs2KqGPez9A16yAyXN6DbRmuf9e+KQJZTq80HzGnafKSfY37oW2p+t/PDSp8IS
8WS676Q8zkRxUM651Q17hPDQMWYcQbr3bDYgk5P1mPoOxdrQV7k3vsF8XFbxQHbJJUkZ+TNik06l
s182xenrqbdNak1IUjf8KEthXqlIERqfGl0dYncI9bXZexZhAH71CBX1NvWRM+1byrk8BYvb15Z5
GACUYKj/+qPgLG6d9670SV1qQXQRI7GjAATdulwib/kY2YYNr2crJ70l0Lu5ipMVL1Hqs0Y5VUOy
gN/tko35kz1xV+SrHRYcbL3h499nvq6JEup518g6jiaoTSr4Nue4LcbRZDgIfGJrvO12FVjtndYY
PGD2Obyj76J1DjcyOqr7+alR4642gIvQ902fhfyqxZCEpu8+EnNNr0XrBNXEftKXTGPAOuWQhy54
pG/VsVmayPenr2Jx4Hb9Atk7Sl+rHHeZTZIBTDiId8KfyVrM1175d9XI8imdv0AoZ2h04N5++N0J
PrNkowvFZppsakELzaLGmHvMJfMKU5DUHCgeCPCdXG4s8ph8o+EAVs9qQCJ+/QR88aPVpKxXVfNj
FN0nlFZ+4OaIx27lBOOIf6CGLomgkr5yq38Qgh2gsF7gMtlCdTBu5RPF1cJAJtU6oxYlI8hhG8oS
576vu+rMrmfT+wCcE5Ikcicy63ahZ+E0NvPV8W7x4AU/SqJMdUi7nlKKertTS3HnlATTaGUDspzK
yEncNZyHqQsqxymiCU3HvYG6+NDry08GJpdsbb7rem7izhm+8WW5wZQ5QEl987vsR2ufSXyjWwuB
3PQPzcTHO5b6p9ll37WaZDgtgMCkx/6o1tm1FKToHu2MHWcGkgoDCeryMpeyu9NspmeFDDY3mWv7
vP/BRv/S95xcUghKKj3S3cR0I8RhwI3MDoeMD2RTLBglMbRnp18kCSQ8VKcbRUwIEOXGMgmHmsCg
orJ8quWlEedVLEV+ZUL7m0+3FbrYRJRUAHlSzluEMIF4paYjcaWUKgav5nfEWktMWbFvFWbchtQL
Tc+6iAj2PpypfIjRawE+IqiK/WUTofQYcq3ptS5S+1HjBW+29myvyZ3myub2Z18Ct9C1EGCVVAqA
IQ1UZj9b3BFtM+21QSvDdqgE644iP98QuzIRX4mT7SdfrgReNF/EmYcW1r9wI5wkyDL7zyiakm2a
Ro+aigbAPZPOC3OLnSZ7qbeqPNQIdZDOTHi2TT2uV6CGXmAz7nkjx3KM0SH8JslFjy1BMUnLIttL
d4uy3GJZX74FWhTAh2KMCQuhntS2Qn8qatZzoA8BDx63dnLvqWyv47Dc8Xnxcq5gZE5HMkGhrST/
9L3DMrL++BXCgmoSx9KUBos4W2HhFkegZeLTyCMyu4689yLtmK6yMiJ6o0rHHxyrV7ou7ueWQXMe
q6Pg9r1Qm3Dqm7ngIQ5tVCIycuutu+thbxE+jXY8Cu/SQut7JKkUcNDIsoo75aCvzd0Arz7y1J6P
GuhnzwMyjc0OzIOqC7kTLIRkdPIAFi2RO3K4Hqx2vqubKUy6AoKCE55NlhzYKdUvoCpRtzTvWUvH
R5pHq57ot1nbPzTGI5R+5o0PsGZjUPILhI5qXoTyiABrHNiSzSacrvidjJ53mP19hVQtEP5j1vYT
ipTsl1YwvWSIBqXKQrfFZLO59cnJtpMcbtK/iWSgoTSI8RN6cSjQu90bm3gyc3QXI6M2qSrCOPZu
9jhgHAh5YYKePqPISz8zWd3V2rxeauNceJV3l9Da0Pl8+mQXgdo2GkLh1YscfwIBItpNEw5pFvVU
xuZtVPW8PMpkhlYZVhMjOTOE0bX7caxor8pYj7vERHg+whxNIpJDid4shQlb19MCVtqAqlLEcTUG
CmPwjcR1ZhRX3IWHgsCk88q3186s0VkL6k1EphdujNGOhi4I7OyhT4tLTyMEf9vOS6LNkESFVd0c
wtqlbHrtQuwxqq924jsdU+3RsfhWp8pEUSm03US2dXjL24rTwvkae386qW0iZUl+JVQnhqBFy0Hp
3WEydfRE+grLt/AjWerD14jrs0hdnLZ3YpyKUCWdCWLrHmzNgijgJQ5aem5UM5hcUWYbLebXxiZ3
Ww3+FINYAl0rUxzc7pdOCk2w+uMDUj8ytOZ6DDcCcyAkih8vXV6b7HaSMwQWNzFRzv27dOQbLX53
6HJGcWdofnGiUAwuEtSBmT8FBqU5bt/A8xatgURq3g22O16nUcWGA0lSkpeznIaGrhK7sD+Kzmr2
22b4weaiz1IrIom8u/dr2IesT38KK9P2AxtYp/I/rVnJk+yORkvg1UZe1c6yIT+2tfFDcrJQh3ZJ
CLna7NF4viJ3AQCcLG+HYjdeV/tpFShW8k75rOHmTqa35Sx3PUhD77MggS+YJa9SvZJPJN3ikuqy
2UFJgvl211Gj+cO2SQfL2NiJKyLTCCttA5QQokIK8oRUitSA/k5QAfE98yhnL0ZQxl9oPui6hdJA
jVdbLJHjoPenvBt+VzR47RQgJ8BN/0rGGpiMgZp0s5cuQJ1nRCmDFowxPOUkWnVOYChUX8ZrdZPh
eqNDnh+rAO9sqBU27wKVQwzZz57TPSLKBulof/lzObx12vjikfbYj1LtyLwrePltDeHYja3m6z3I
UZ5465DsqUpwuxZhJTkNxgZKQi/7PcJ6G3UzdRg+wrgdnDTcAbqcoCiltzOn9LmjAUnUhrjqjf2n
ydIqbEn4Cco1OeVZ9ewluN1b0/ucSpBZz5mquJEUQLTdTagssGUl7q+eAXb26peplPeOwVY0e2TA
Q1La66tvj/drVTy5qc9Yt1PmPCF5G2N9osQUxbgJpKqRzuRvd2hRkWw+Je43ej8FAcOGjID7qWDg
RMOKEADBTmfMD74fZx2TXqopJ17dbefWJpezO/6ue/eoZfVr4XlvWgVQDgP82gzTedyKs1EOT5Oq
r6rOdz7ZcG1fXU2zjJNM/W7E9Lfuu5/VaH8BTweovZ5NUPsg0cC0bIHQtgVynRKjvCYW0GDj2NHQ
1DLM5zGJW9NgcWPLYCYYgrblNDeg0NLSBjfsMn1vlflbLqvHQk/eUAseUq8407JEaE0/CxStT3nb
ottVC51Uq//H5fdqruygFpSGLdnNVKvvp/YOWPWZkBP9oAQz+LIgGUZ1VgQ1KQzkNooZoqWDjlcN
i6MoDpk7XjSv9Y6hX1Q1mAwZsEZOBH9qISggDciMUx2jLtHa2UvfknMK7XKy0FDHlgt5rkCm7o0K
srfWGi/MlnU496kXCD0d7mTPpCnWzjvYSFRDy0VejRPjIy9ycXFL+4XyDnVQXH1Udjbablgz/y7R
6aHx2H3Qy9wJLDNqGOZTBSu5H8b1pdxs544DYm+JvDqOiSJg1JdyRxQIDJw3LrFSW3/Mi2ZnVboN
UMso7lpqvSAU3vZOOtzYQF1cXf11CjxlrHuxLu/uypzUu9KOwHOfYIm2nb45gSM3+yDgMhhK0ZQp
host7fbLOBEMSURe7epPRcoeP7vzE1UQY1Q5neSt7OItFzqiLRqsRtSuEiIQ+B6eagZuWf1pQLzC
Us7usPA6ZaOlBU2nfeWugKW10l8mw5E7+h1IO1/PAE+YMlt6DYmtWmdb0bQwoZLrhhSBLzMqmX/D
BaFLbNr9e4cYld0feC8rEgQlXVkQ3Dl++AVD4I2bMoaseljrHQhS9Uww2rHtMREbOvK0xcDL5qfL
FqglUwEfBTQ4N0nojg6tPRKBGVN7V+5EZiYvSTK8YwhJEPfa+AC86bGmsR2waHmBlAGGgUDwyPBW
pBMEVlk7B1Fml7nVq4NXifVstosHqt2Qn5uotzr5o4llO40k4o3t1u6NuWLDnW9dXM08sUJvQLB+
Gk/gA2E72yb7LLm/gn8egv6xPXgr1Xedijtu7KOXmDtX4tFwNJeCp8HZdVpzTBbZHiQOkRB/xFNT
Nruyd4fLTGtT0LgpsgUEXMDpqIqE68o4KWD2uqW9l7kygrZftztrRM3ut9I8Dxu3aT4a6pgIY4/a
EIRgIeYkmX/yGT5N2/R9Wu9HYuBuEiEzgNMGdekAZ2s1L2fE5y96DxrlAL+dyJYLfZGgoFpLkDNi
jrU51RDJpPmu3I6FZWnHpnpz5PJKZvOrNdoMTxzqRmL5T0ljcHmb0glnQcyaHEjZEsTfjswOaB5Z
TFyyFROm5EMhsjtgbJII06oKjY3dOU/gkhpkoztnk2FbMkwoMz+bhkquSnedgw3LeskRIF+SCYWW
bekazGOxnSbSH5PMXghCIbJRyBFYqocxd8kcDPRZeXGpzx9qBH/M82FDkvaw3MZZo++72LLW17mD
gJDt8Gxaf0RXFDzPlObePskPvRypT3PXqLS1t0JzoZE7cMVFrr8KVcqY74rw5Dl5EwlTsrZl+qVs
2ckU1z547YEsR/x275rrvaHczQ+gvRqfPwj1aGZHBJ4eQigDCAPUB+dBoOWeuev4/Bn8xb5JHW6e
dkJmNDsPmBJ2meNr+zIpbEAU8v8mM1rNcQyFuueAyPm/8YNr0nFJMwWebh0G2ElWocqGGUrKOLtt
NYKmlnc6dqJ2Gtx408VxGLnhoKiZLLwVQFlDrKfXD26rX+gs/FqMPrZWcVxgGVZbO6ye2x9q72Ix
ESK+6r+25qY3SK2vxOBmbictNlrvtJgM3LfJMNfyd9d5x6wNSuVclqRYTlZDR+XUql2eMIH6N9mJ
iZ41ctz020xZIKsy2etqfLXZKBtwcKtOHjxt2WJj5ns1+ke982JBOWDWYGbpSxKBs71Nlma4zma7
K50pPyVczmnVkOsMGr5jQnjt8yYYNjMLxGiNoH4Eepew+Hqt+XvYqcM0LsfSRb+NjSCjCBI4BxFe
HtX4ZKI0T9XRZ4PaNLR/ZuaoMJ86yGlvhUFOP3zF5WXasBLOsHhRkbvAWIPYI1XfSyRuRGtoYyTq
NZ47cC5anJIim6NBQ09slxQTSeuvXlbePnGL+3QB4KnWLTnmWrvGDrgLUFxl5DuJhDwSg7lHsbPu
ZMUbSmk4UGyDNGwi+3PRsW4ZDhDetgFg5Cv0aZGTOlZc5nV1nmWx3nXkLrJ6McTk9whv6E+s9XtL
R4JjWM6psBQ49VDEnewfoIkYFhsHi0M+7LUCKp0ep2hdtO8SAgPpDz/AuF5WGzFyUXptZBvVX4Io
nqYqQchlI4RDOEGobXJJS59MpKHYm3pbHa0S9YrN8ZCKd8Mp+7dUByMtaj4KfaEwtUWZ3Tl7184Z
RKvSI6v3ru9u7aUwvdGkb9dlguNV/SAPBLtrvgwzrzhaNpGueNUEv1dX23e2+45oHxDWMq6iyrXA
SVPnUAzpqcggjEWF93ZoGrXn+HnQk9oj0prVwUOAUjJOKEqzTn5nVBEGEdw9eo8naeyy3ZhpyGCg
RrypOiv07vxdRc12blhUJJLh+5gyUYRiWk6o39/UbW4dc5tNspi+fJ+paSzg5lDxBaZK370BIl8n
PjaYaRJBDjG1KNh2Rm/ca6lLeAnKQfIINAwudsjg0dyNRFOrMZSk056WIv/yyhy5Qs6ia9WWhGPL
35RfZAd3WHjNOAJ0Zeu71BN38lbEZSjgFpMCpEATyQtzcRP+0wfRDAgB2mELbJGeWzP90akORENY
7zOChFx5NdI5DSC2LNQP7dM66fclJ+oObvpkAUuFha/1sauf5ChMIqv9Kdx0j6kK2i3i1foZCohc
NvwvZPofXWY5WMaJNF49RqWsd40I29Z+0ny8QRsSMh8W1u/MOt58LnEfPy0hqBY95+zV6DXuGpBC
BA1guY0PvaZACCo9eRTKJR22M/soG7JXjIzJe+ZVT7oJU2ym4TjNyw5jQ733BY3ROuz1xiYeOwtH
k5dW8rwJWM/eShemm/lX0bVpkJZI4Pnll2xIzhytTIThVPOV1YVW7FOfuHo/wctRbxdp3owMqODY
KdH3J0OgJpPiwZmucWJezz2VVw2StGZdr6RHTzsfxsJZJS31/zRyJmK/zH7crzpyG2iCYhwiU/Kt
NQY0dS1TJ7ZrAWFTSD7jjZtibpw75VIJWllbHupWCZWxqDsG6SYqBx2IPP8wbkLjHsmUwAOyTfKq
odWmFTy591WzhKtgaGywUUGBLU5k2PVXpck1zPewC4ZRx6rzoJo4/mahPdkunh/XsZ6LDcWYvRgp
gOIkDpqqSTXuYP84aWUjziJLf62ybaJFzp/llmWUDyEyXdIQbD4LOQwe7eROT6A2qsV/nASjbTmb
qNV0pNsdacu96xPDngz7Rr5VqWovLpbayJrK+2Ks9TAzINdATLLCfmgG77su7CvsO8IAolkpFUaD
uxbIoXKl7aHmi/1K5nVftSb4gxUvZv3SgbGjYqqASHmXKN3QkTysycuIexVfRGIjhRlhkYxuX/vG
gz0ucA7Jmp1tYo2fEtE84rZkHcuKfanlA+WrWnNX64MJuwAskRG0TYfOGmU+Ecq+C3ZALYSRXKch
P67N+uEY41cP2I+dIz0BoX317UqLUJe98N9HVbfLryr967fIGMrS/WXVHg6Z3uNV9elzpXfyZUP1
aCB5sAtzP+gLQcqpud8qgT6ZB486M3CHRguTFii4sPQIwIu3j9/QhOAuWAxnX4l05y1bmKbVodtu
gqZO+2taBXwbA49ZXv225B3dOm4/73N1dCQtBCQby88get7WmU3U8v4yvv6SXomADrwbJzfPdYMP
o4a+9w+rpT2VaFc4CCTZ/VTxVljZgrkjyNwvoZGUfK4qzu9cMyP0Fz/apHY2xmmhUzxR3NZ6o7GP
nWpja/FRD09k94OpkCHd+YfaxC5QI5SubVL616z6SO10CjQkPnisX7VyQ65GrS/aiDSNStWJxxIm
UltuPIc73G9u7KZ2Toj0RmZ0mbAHbw1aBxQGwqD4XK0ZVliM0GyFI19UyrPpPRMbtCmQOVflWRbi
IRsBpamkJHp+VFe7GnykttqrKNvdKDQOwnWKNryvCIdZI2ZVhbVvlpFYOAl5REaHTAbjao89Asmg
13KEJ057qd3kr6c3Iwun/qHh7/VsBuql7n80NewwGeIkN9zPrf7SGufH1ZnDcDYvmIG2gzUnIL9p
96DE9Fl3zv3gokF2p/qpt2+/X9+jwxeFyIpEoCurPAbeHGqamUf1Okw61zglyUOCXoEnS3c1ytp+
HX8nnUMLC3k4+9b+Uy4FTxntNn8hSG/yZnsD/PPbmQmTyHKlWIOKOqfQhUVhbP5mQt5RAbIezI30
WiysD3ZWW0dvdJEeJM3bDfHp55KkLHql2+0wp+he5VQ895vWwL1Zn5J/4uxbrzN+0x1J2Wirq34N
KoNbsqiQGfg2dWruwiMTzpF6bYc/KkOOt3gv5IXG+pZeE7b6uUaRbzQZ86TlHko2IN0+8uZSn8pJ
ETaCXogazmdbhqNloNeHbpwOykg+cfLx4i4mRJf1LYvlc0IjkNfY+Z3COudt9yPrvg9GHh30j3HO
S4OSgMLdew1VEtpSx462nNAAZLvegv0mER7qslxPtrO9D0aR7CZDP3Sd7tx5y3oUpcZyl2RPnjO+
+eiyIjxaYAUTnSpFP+67GaUiGb3FrihgUQuNiI/RX+8HuDlLExYqRiDqYsH65fO1t6l4NMta37sk
1B86k34YmZro622Uiw0G56jmg657RIVoTPVDskLp+bTW6H3+i0iFuwasJrCV+LYHqjho2/lje5R9
WJmz7xXDlze37BDbS2Z46RWNKFhjY18n9zAb2ouqoaql/oSDMY2tkZj5nAGmSTDV9KytCyAbFOG5
65sWkhdMaNL3idkccb/u1gnJ+UqNjRrWg1R3S129LIP3m55U/yR4WWr+uqMS5wDdeFu39fPQAyqb
1ueMnwnHu/+O5zjf4QfiMoN3cjLtjt8AknRr2zOdt5AktFzY04Nalk8fqAgND3pQx1mi3hEXKrSy
farcL3OdTraGjVBfqJppNX85ZLP+3dg1U+TqJ7t0pcxP8/PLID/N1Nl20t/eM4z/16QgkstI1iMJ
IdGmXTeQsFny4XpWyrY3b6e0yfVdpbllWEAD7WTXPtA29O+Irv/X9rr/NZLk/0d/nU2t6f/ur7t8
DdP/ETNy+xv+/BMzYnr/QqbrOkSbkyfyT7HVv911pv4vBCW66Tuu8e8Ikv9x1znev3TPJNLwFjTI
t+6Tcvbf7jrH+dctf9ZxaRLD4UbU9P+Vu866/WD/mUaj23jqfOYqVPPEArv/pP38RzoXsr8Bp6Yv
Ikri91g/mnOnUZ/Qm+US47tIzrpDErEG/LGSOrX5jytqK26ysPT2BlUncjhSXy/X5mkg3UN2TuxA
rOyq3tPYVkAla/o28p7zs6ejm9McH9QGDW2MmhmOVAuEhq+Jk56+qEY9lGVpvLEk3dvJGm7/xdGZ
LbeNJFH0ixCBfXklCYC7SIna/IKQLAtAYd8L+Po+6BfFTE/bY5NAVebNe09q2cfS4aRhnRIdAYEJ
tMXzrPiJlTNMHtSOKZjxnqfcM3mc7Lsa2x3c/2ZG3MvL8pYg3s45ZXMjjIuTKS+atN9znUpibF1G
mmxEuszqdMZ/iB/Ji0428ZdBTS6AZTau3ew0WZmB1xofjq2w0mjWqdzUwe9bukqDLTqV912m1ddS
fC3C+InNfnXvbXF+ISmlQa+Mr3ZbH8yJzk1PDMQszlK8XneGxFfbZmlNlP8rtE9JaG1bewsFOIGz
ec0YdjmDtqQ+2fV3Uo6bQYmuk57fK04dI1kIBeW7rn53nCTQVZS1mBrIcYPGNOhS5M5dleAelZpj
gA3PqP4cpFNhnDuCDcwdLQzqGLgZYWlFRM/yyh4O6TfzGpDDB1p0dijIx3M/fhNwyNfTitCVmrJS
BKEn9NTirSn7N7HOjv+lTnVbP+Q2MXe2N3+TtNr1yXwcGE6VmjwxU/SzGdXTSZgL2t8MHPfs59mL
6eSM5gXK3m5yaGnIJ73nineA9Rn2qdyPBrs1Tf3QOsZ9ZCStJIsBFSDaVoUTKjx1bEyK3H2U4qc0
CIEfc/4lF0HAd9l/2mvjuZltc+Ms1nP27pWvbKHZLUwZE3HLnXjL8qdTzIY2GikTe4RySLPy4K3G
glKGlfkRC0p3baLIG2doZMh1Skqkap3AJJzaYvZwdrf6qTbwowKHozNkDly12mk0zVcgIkdCPll9
ZdcTxt7+L6PQHUX7Zm6/MlU9ZHL8aV/jKuYqkY9aRRdqXHGERotGVTJMM9SOQbt4stThN1IqbAgI
BhWQEd2upN93Oqp7noZG4t4j2A5kVCmhk3jJ8AR4/Zpn+UgkGJ9WM/90lmb5ykhXEi/qecQCG4LB
otWxMMYXrlMHfQUUlnFkOYVjXcLKQaEojuqAktSOu5Eichi/DOsPzJkx+k67KayKXBzGxGFXj1Wc
C1UzDhPDbzKG43xnH1F7YChY+6Q18l2UR95BK4tAlfpFhajAB554TBKH9urk6atqFuajiHvzZaiu
vTPghEzGe88aHLUFZomCPtFKas+eT124Sxp+ffZn0c6dXZ0SJTuxYRMhJnsMA57AkR1w1XOiXnoB
gXxeV1Nlp8y09yZSJnXpUlK0aPIVpPb6i9j0kqIt/jaOSt2VY9lg6dww+/b4ankMZATyK0n7Dk9N
O+nXnu8eviJ7Ebax/jFpnj/rR83x+3gOC0d9GUdafNoIy/qK1DYYkI/07G/JPMolB8mQBA9c5Udm
xBqkYqOoHI6MnhY7uo3dxa4nn7UrodsQ7aCOkK2yHYoXrVlCWTLhdFqskni89LssP2xAG23+x6j2
Og25w9QuGh/9cqoz8jc8MEK9RrHKbqN7d4d9E6okXi28gqb2qljjTrc3mIsNSwtG4k8R2V8nUcOC
ajed2m1lPHlGslUM9IDuM5Ea79p852vapn22a/jzpbHRk0fbLxoT5/qeqO6NjTvIo0iTrIlbCqTz
uOg4Csr3spGPCjXAciRchSxo2cmmxC0L/xRUftgiygxd1jPfwHsGaonei9WixD6BLB7F81sB3LeR
BM9+qVuOioeLmKRJI+qD7BNfSGZ65UfVZv7cvqf2xSVjIvgfJMUOHi36Oeqjq+umvnTTcJrjt3hK
b5nE8Nj5g3FMs78NQSwnZtBlhQUmLshI+LY1hIOEvUjedmy7LfcikmCDecD0U4r0uCS/W7ECCCxo
xpZnsg3F++SmL/2MEEgPtuD9LIYvbIWozPoBK1tMkm7ZqGxnNMxz7H00cRWO6RhAqvFV7U+c/Da4
rJb5t+vF3yYjgCLtcErvqeY82pLjUCab0dPv7ahtJJP+EQMJX/zGwm/EedIx8c4cczNwmpjYR9lq
hpgTKusiNK0drnrXXRIx7FxVMCRja+Sk7DAwx2yry53Q6oF7LLr3K6z88/9/RsJJbTBWDaK52SNb
S68testGqKiZkLhYRxPBri5MEqZAW1AnQM/ok+STSt7Amh5bbBgz87ptm7n7nh5OjbMXK49Cpciu
EyKCtP9E2mekPUkyCXr53eNUSrmDlwW3sVFt3eG7S0FZ4G2ZEAvohgZrWs+OjT6gwOQKsI+15AYF
JF5AUqFNW+dWfy5sUOj5my0+eIN8m54p6xem/kEqDxoY5ZjNcYNWfWdJHeKNCNj0wHzMxcD3FvXF
uUoJ76REYqYyJOtwHq1Pp5DbQuWjTVsEaug0PoEhXqDyKWWFwoJaFbEyTCls7rk8289OcWylcawR
CMngE7LaL0YXDn0dFHb/pOKOcWbpuzZAoB+P0zXBvNFb/xDIsKlZgdsZOFmYVLTzR9GXm1ZvNyZz
DY93WpsCl14lxptjxu2uUok8u2U4CPYrynqfd3ZAU0jJZm1dPOvQSC5axNemttl3ZKCEj59W7+3K
BaRCJbt9PHrPldTOLJ7gzOdiRGBpuD3JpQAr8H4hoe2j6EWUya6yWP5Z6M8XUFJgukz7pYu8L2YS
D7Tw72ngAU+0JnDY+pcYuncpMi+cHIXoY/mSuzyoRYXHbykLTEGF+oc6hkIyEnGylR2jWWMcbkaS
jjRoHNGTyfoNhcFIFcdHpxlxLf4sQv7knhlDsrFeGzZoRR72IZ4AV533xYLXk4nVMR/leShtQe8+
PsfpgieTwQkO+jg+506b+nntfjAJQhh37X3rLjh+sJxOCg9F+jKsxr04mX9y5rhbb1irOZhMnofP
o3mietzjPH121ORs5t6L1ACzssJvBRtlqTgNnI7LeG1oEQ39Nzbcn74cfaebtjhcj+2k/LQxp2Sd
beum4/xAcBqHU1UzOk7dD3MiO0dd4x775WrVtm8n4AnGqAo78dcSxs4r8wDKC219825nP8T09wZx
yD4iet8pyN5opyO/Ad4BIBfbKsdfCXdsIJmVYHb7f+D1JOdvEnGbObnnmKWjsj4NZn7G1hAMSv3k
mRRqXcFVzqxYgzHBjqWdW1ifkffLzrYzoas9+W6/V6+W2h+KuSPrwrPhENIv25OyvKWJfpr4RwsL
CRmG7DmkeQuQhuE1edgonMi4TMa0LfgL4A+TOAwb4e6a6kX3jH2lyDf28+0jBydEiV3QZYCJIWAS
l4Stn8MbkY3t6P2kecWknh1kjJ/W1Zmx+qcRtm9663K8h+5me9nkh0ibacvnfc7XWLirxjdyE+cP
m3ODSRKt+ldVmi9JdcDSlGy0yN5Re2/KnB03C2u2gJtVe8d9LOgpgFUx+pXbZDS31sxazUnZtmn1
SE1x5BcGeWXfbV5/1oO2wYR/uB7Mba32u8asPyZA+FH8l9f0qJR4XNGthgnqDWV8YvR3b6B+iMxD
CRTvgKXlSVcHAbMj+8f+t51w5XNB6jCeuEzSAg+VShVjzXJnCJL47La1KTKd7D6k8xikNuJVtazi
kWWaR3SeD0wGn66TFCjvxGBm40XgzSDBDHZDkzyK+avbiU1ECG/527PgtFieYnytNa7YydYDs0+3
nqdgunWwAL4ZA6UotXWV/GBxwJDDgqrsryeh48FNWT87js7tbNytdTA5ocAqP2X22qPFaSszAef0
kkGzdw8mD2/G7aVbJgP2+KvvHSoNkzsJebDY6w2OqGOPO55tH9uodvwMwpZlnrEpcGGcvMq92s2t
UbMDRlqKLpYHL9XzhNUNTzFZNUqX7MDsAwPacOFp91l+s6Vdx+ILSF8wzZynbbTgGifsZoz+IKPX
BuMD2+3WoevWpcXVNexXS/nkdNh7RzVY0v5SXFwUXrL6GadzHqV71Y5PUn3v7bX43ROC/srguTHz
P6SzfI4t7WzVvzEj4yg6jlQbFZdaz2Exlr/518K7mfIXXMRDRvHesJKQEDQe+2LXYjzt6ugSewhw
tJw6MSmt35NI2BTCOkF23Gq2si0pUorl6EzGKdffUjvdZ2vuhkow+gZIsO2zca9V1ivUiSNNDY7C
X4GRJq3ya1LGvlM+a+4X0DkU4mpbG39bVjDr3lepneaI/M0Gt/EYBSyfNB6uyuJO3CODOKhMKMr2
NoxvNTWYZZ2zhuF/27P14WPErLPY3Ngi22Aue2VUsB1MtouiaxXMORW5kf1jpGxWmRrFHBWd8mLN
+XYCcJfXeqDNMEgZbORkL9T8fWkyLmV3pzE2iOWngs8vGp9mvh/hxMGiOqEZeQFp+i1xidW0jfdh
DGu1CFsX14f3DYV/A4YHFAzLtUsgl2Kjz5c6IwGgPSxWmxBfGUr83DAAtB/DsgOlzLZGt0+XNsQP
dZjLKcAE6ltefGl10so90YLqOZ2GU07mqBqOi+VBK+x3MzuteTG29vLlUMKvfPBOFqFNgeWUxA6I
x6Vuve17up6uO9uM512OnfnMTBHpcJ9hhbOBD5nerW0dmKPGVUPAtJT86iXe56AST4oyrmR3k1N2
zEq9saV+1WdoRnyHQzUciCEGRv6mm79tvlxmovDwgnCBELU3K4qt9DwOEyL9AJyor8RB99onUSEU
tk3ELEz5tgSBIaUOSdqnTJGtXWSZPUIEoPi0cF9mnXx6ooSyGTFkcBY068IzLLI17hHAb9O9dSBV
EHDQd1OvPM3DGKhq87dwXtOSTb+96/mVVtwBgp5cpaE+VF+xc+5si+UIdC+Ev494GFpsEBSmQecM
d7EG3Cg4PeEGi8hCpZ33kySz1FVP0j4TDODiRGrm8DPdLowxR1t4xhsBmIWwCrLBfeb2aScz7DPq
77m8o5dt5r9df1jQXQy6KwKGBQFlBVDuUGl/Uca5pfIjzFi2TuO34hMC8fA5cbbqsYuXg2PKOmmL
2CzLXyN3/cUqjmYEicD4kjwbKp9bXZ562vo4kjvWRm5aw7hC8CFApeGbO+iJ+6+qupCNCljJUa/E
GGhgWnBbs7uQ7HDc8qIM6OGZ3+tM1/TlSIT7Gs0f9shcjfDMriw/VFLqoq83DDk2o4n87Vg+5s3H
Urj4H1vfhEzjWg92CYYYUXEUfXrmvzknTCLCaM72nWXdO4aSkg2t1tDtGJuxLJ4LqNo6U3Njqya3
e7YD3nHBefLFNiDceXh9x7n3p+dcdQgbbnTs5vBQ0ulrVcFb7Rnke3MEsLKHHUqKSAVwPXnMQKpx
gT7hR8r0WzKKYqTc2LtStZlna8NxZqvY6YKPWPyOvR8r6uFhN6/C+VFnxPuJsrPV+VRA/fp5RePK
lKE4JJ62t2NlxsCMM9pt/hnmP0NoG8PMzg6ttuxBIBiM7AiB6QN9v70sVCPODVMne7+xfojpT1op
bysKnqQsJztTLm6HdoUMa+EwHaq8O8LN8jPY4PZ0qMcrFYbPeJSimEXng3pcFDRK7LUJ7l21NQ+D
zthV3cUGNRhi6MSG6cZ8aYyMD+9lKau9Zv+IzApba89UKVTcaIcw47vjp202JD2w0Hn3vEufbd4D
aXLJ13IXxyb4ELu6DgDebdootik9Ih3vX0xJm3uMU5t450VHlQWwJnGIXiw/tOsbuWC+mTzm09um
U7egEGwcs817zbUfKb922Z2L6ENn6y4t9v83pdqId6UTYWrScKr53iqZ+phUENa3nmKgIMToTP9S
yUSvc6gSoe6m+BoH81eOF1txSOWStU0N7ITjsGKjEGRp0ZzlA/fB6nYAqQTnscOty3Cx6p71fCZm
4rMsG8LauOKr0NQS+UVo7TVWMO/q0Jw3ruK8tln7Zojui60u/3Bob4yWzoz5Ggq2UcKAgIWx+BMB
fHZg68SdCrMOVM3ccDU2vCsRm8ZThen1Uhwnaz6VA/4VCg9k2G1tte8rvtGc6xO//KSK7G2iZYTd
oEtvb3vnWfRnh+TO0l9kYYWzplPQplBlKqIJ6d2MXgorPeENwin3nvnepqScbpgYRgXZ5umNqInZ
/TRtx3L1RxFxd9LTFkSHemfZZtJ8KaaLTrNlJNFJT1f/PDb4rU0UlFgey8XqZK/HY7KHwfWKx51m
0LolbXECTbk18xVbaX17s3dSckLbDW51Fg8zzdooevVSAlIzSWDCLhF/hykONdQzL4GgVSEjoQCU
h6RT/XF0Qq/otnwQO1zYJ9NyKfLw8M4DXxoFrG3QyzLUFHcze+uwOORjstObtypx9lHZPGQ18W78
Law/HeGYOv/k4zhhYZsxfZqvGTjVSmD2dYgIkyfOuLYEGfzkfzS3rycjsWxEa08CDDhF0/AyZZwT
lenuJnebZ0CkQB0EYvGuboQr1vsj7HuxkIRs/wpED7HAHx360NGaf1aBDSg/zpHck8XZ2J0XdK17
trR0q/EV6d5z1w5+qoCXIGXmkafLYzxOj5EsE0ZQH8TS6g3czeJPnL0t9ByJ9ccDnjW6JJgUMpni
X8lAQeQLZsEyINJziNzkxavVH+IZB7sf2gP+ZzInmtXuMkzQcwEbpXPCDma5O2RvSS6Pc61fqNFv
nU7Ki+Q3e+EjXnujto9dyd076VDJ8lxhbm3wUYF50YIyc/XjrDPR0IyLcJVrE7sPOLcgljWCE1ph
PrU5tZpSXqqxA8rXuc55UOL6IGzvXYMMf03XHBfuhsJJ3/oBYlkclzeTEficJggZ89eUpFCRyiOX
5nzvJAe8K9J3p9dMf3EE5ahnHIrcwVg8y9AAFb0t8If6Pf8HbvN/OckCMo4pLtSbUnEiD0mQzocJ
YEpOvKdsU3Jdw/qrfbWt/JKsDlyIMWRuFcYu0+uKfL0aH+EBYt3TYCwaNKDOO2orwAMC4P2EB3b1
y9wyR3zApjmYvY4TrcyRK9rlvSY5LBMlOf3/AzWVPKTAABwRJCNEtjFZZ0+ybh+T3vbsNGS2vY0J
72jRctGjYZ+NTLeNvxM3PmMaXIJtHQ6JsAJD1Z88m8AapwrAOgfwG3nMbxteflnLjrhOviXJQaCS
Nz871UWJRQ0ifD/7bFq8Zyi4OpJorDDCKHCOUzzJVynddzcZMLGOlIAzaY+4rnelh+jUd/vBtQLV
7/CPSTLbzUBFysXKhveOyf/ANdeKUwKgy8SBBVn2zAd/njOgxelHycTNEyQ1YCsYie6nQ+k3iM86
T0ujQj/hHBrHDCtrIPME/6xi0fzkFcXqzAuBxHNpnVQclDXVQ2zLrGmWjSyL97NMTpZdxiAJx7vW
KHBFsC3VA/eXwuLwsxNVfqP23jky1fw0ONNTr7RM0jX4GYTaChDWj3l9i6Vd7pH7rV1tXXLTbR/Z
BFLDyFCFtZHBW+ZRBMfLYRoJ31USpp+Li38z5dPqFDOeRdxBwSrsfTUjGC4Of4A0UZMgPkuM5jhf
Bxni+yjEbD8vMfA3EvGGxnBMMmG6AttrIvPoRuV5lgGEj/kscYw0TQSGJPoENdgFTctt3rDpZGrN
0/8/1IrXXWlo+uDyP6up6p3spXg1s9e4dvIX1Tk0FcxsK7buBn6gUCNWbmsX4OAjlqDxt9dtIoXW
QCQ/N4g/OdbFbcxNPbG1vlf4fhoPxcgmnrw+BO1x6Tw96FNGFTODjbHJjtM4Yx93wXuqS3Qk3Qyt
wyn6bcwu+WPWD7vRnTjt9SQOy4hbwOGzICrGR4h5PpRO/WolTnPwxuacGXF01knK9CwMDRXZWITb
hrehH3RfFZZfs/9iIxzt7ClsJOCB5rXGQbsZMCoTgkAsWFxSBi2Rz9UWN6UzA5ZmBJM5wtWuigFL
tIQYZvy6lYQ1iR1kdfWhOsrqy2G6yQIFAK0LtnYQ5U9W0bvHKFfSQx9BL/J4IIeOD6IaJb8vj/3J
rc2PwjPLs7eKUDkFXz+ZlFcTKoPGHWJTK2VUm9UIO3mplArnhwaZSOLOmtS3vDK8XavB2ZIOo+nS
5LkeE31fOQnfnO6FXs1Uz5mIMNjrW9r6E/D2Yy1KwksGmzO8zGO11JBeFEJfolyW081YooSo3xKK
ddwFR/Xblp5BKsD4GfUvvgrvLXPlOpTWt25clmcz/sljxXvB/zT1BeV3gd8xyj9GQ784FjdAVr+5
o2KGXiI+05HkXjfY7I00+QNlYiSVbPAHbVLjlracs6YwibqydRo1o0zD7JLQeuIv4uV33tJixKPW
n0aHOZcNHDv0uvxtqPh1kapM285laePK35CiWvZmpBERT36qrnih0scPHlODxU50i73kS9EYSXqy
XijIEOYansLGxOFpGskTvi/K60S/ecWCqV5iDgBz+zoaKwBhsC5MWqJb7+mc+2LI9/ghccQuDNzw
umGLc8obaytqsmvNV+q4w58VflkDPPUbJ673va58GE6voEhTUtp6dpZieIecFOigrgmaJbx1i/2S
udYtx/ayncolkLE+HEQ5dVBjGb63RRIBs7AJsw8OOtjKKSvmGdrsEpg8+QdA3Dt15mRJBgitjMip
RKcb8dcqqLuas7PqaWeQI/7/YSQYMQcJNmcyb5MmzVO/ap1DWv5V4u4X61xivACOINiaRMe2bShL
D/QOyR5XMK17dBy4t1EnSMXaI47pxZHwhCvjDgKT6wMKDr97f8FMNwzC9UE514ToIL+7xO1T4VRn
EEOFBomO45A2FjtxoZAcFFWsHJSs7XyCruRJSsVXp9bP+ftkUqQno4CQJptor9jVv26RDqJc2Ty7
AzFf0SjHRY151pJICVSb3HeS9W9GGzVoRtmRxBLv2dCcFGatmevQlFnVtCOzI6d62EHjJ0UGn43t
B0UcuiKmUBlylpekK9hThJWyvFbWCBA98rhPYBIXinoa21OuZKQsmiz2Jzn7KF6QwYhEibb6jFTc
0pEbfzNZouZYeBiKAiaH6QT4RL5gQkdB5DY38I+Frw7QWhkn1dvYqiiXaKR1Aw09z6Dn2cyoAP06
O+LEXsAdwoo4gjx4qV28vAMfdO1WftvhKc1yq9gZcfqh9PWuyJT20LbuO37JCXKuW+1JBGFsHaIn
DZeKjgyxy3rnJZ6659gskObq6RAXwJIco6R/yLBkTLYdeBUosqLQ2yBvBd2izJJtyyh97+gBn3MK
tKw/qMncnNIURIDduuu7a2gP24jIU0z6wYzHJlBMB/ZX+U8Zs+G5cqyZ4VLGR1LFOp+LQ5rYVcoX
HXLqs0UDA0OB8QD71Um7VnroAbg41Y1HHgeT3RwVeGe88Zq43SsRon5ftsXMog/L2OcezAzJaYtd
p7COzmKzOhBg3rYoHe8uRrKhFho6koP2aHFF0QdmT6yfMH2lW6yPEnxdFclP3eusfWHg1BlZgxZB
fPtcRPFHqX7wkCaXeWmIRjbsuMnIovlZar2B4XAexsyZHY0Jxpr1v9azh7V6HnpfMdOXtCAtwL1O
aZR29X7ULDLfkvFc3SUfvE1t2M5Qd4Vql4+0iUKKYkZosDqO8Bv4q2cT7Ay1aW61ZD1JZnkWu++0
5kaFvEsd7ll2jaSXRKbiYmFgBnWSTFhuywbtBUHDUxLt+P8PZ/1PqV0o7GG5WlblHNWWEPVGI4I3
R4kRaIX6XehVYmymkplLxwhgdoeruUixzczoyKWS3hyh7yW68zEuOAlaJlt+2mjWSSQx6wzFLqP+
cMrL4sbNRVt/FKQft4ZQ030kuG0J6ihXu0v7x5REQWJ62FKJruSWjXNTJI/INBls43j10xpADNFL
a8fyIeR58tFHHAn/U85lOFntciqr5jZqigMh5WHLPohyQix1iyzAVibJvqY8u2v4w0Fz/LAHpr1k
mTjWMa2mo2e73lbEOe1xF0OG3LfDOF5NurvQaLLPBXktmvXiRggLu5aalLellr9FTcogzkHtsVKg
fFviCmtqPDm8FpZ5iBMi1YUeGOOC0ufExERr2T7KxvycSHbt+tIqsXUSwbRsAVBZ9NrBTphYq0X1
3CpCnLwedci1y2dwXuUzQ9ltPkEEb0213QtLOg+XeykwhhXk6ZSIj9GUH6rU3tWtTrBCQATEsTXA
mG+NPdFdN6hqUOKGbWtHYGS/C17qkxj2KZndp05vll0xLhfyxHNgs4ThSLl2L6ZJD2TH7VOrNaM2
EFxX6PLJ1R6NP4vUYRkylupaJXoCvKw8aesP9oFBtdHMV0FrAFK1krcuUeVNJ59LXVi/m4Y33f7/
56wponkdMYiy5FDx6w4+TWs5aF5qZmrbNCOhN45WccG1duK7kHfbHuXdIu150hXzbekEsWiyWNus
9nqM53K4ACfCE8VGllCAu4sBPex120ENqSvvTKiE5Ce1i6+7FnRJMRCrGSm0g3axjKtnzwYacaQH
dqkyt+9n/a01Ig99rNiXtXBu4KT/OQxMubVy/QlqMpjoViDnjdWfGQm6GVp6QzGfibP1Z21NH/ao
ngzZimo15ua+rXbDVQNL4495/M6EoQsmfVY+icQgFHTX2qSUnSYyPSgvTO7xB5DkGfzaUYqj7ET8
GFoLE9HMPgyqV+BC8KpxHiCqzRaRTANXjtvpB62mzCboE2G+Mz6gbHVPlYvOFcMkpEIqp3NpMdOo
jbhIdhggSaQmzXJtjGE/mKZDLklMTx2o5y2+t/TJGKJdVhPwS5Zi+UoWyNwkW9+XWMWPk+E55P39
JmtOmTZVoFrs6c1ZuEa4gfbCIFbNYezcZq93bmBw3E0sFAQ+QWjTxKn3iA1pvcCgqzKt28DbXk6W
57mPUph7GOW43tSL1fVUZRjEtnY30vsOOcVEZc4Ieixa2SqE6vGijVmQCJuYi943txmO90GJ2K0C
JZzhEALQkQ1E9Ue7NmUe426JkRI6+nz7P4jPbzmF0p2NS5HKENwnaGO11cLWaP8kkWFcAKoObDBp
Ebg9UbxGqdPeKckfMTSjU49vLagjsAFa2ZLrxkMGXgrZeo6ip3SiJM3RTGRTpr5tiGI/lfIl06N7
7LZshRlc5rxmZn6kqR6KEg2eDQ7axqxzpB49ahmIjj8O/NWP2JsuXWQ/uTbpmWRkxhHLNNv3ctYI
WFppkDeCxtG39WVmeZy5y6QKRbh3/7W5+VxYvQiaJbfxI4471tQxIZXWbcKhXdS0rva64GYaI3fH
FrIWKA5zmx4HxabnXgySaQYhOKWv/EIgWepTDY3miUV+73pEdCpSP9NhfuMDYrFTHBEYKQ1InBhD
YiChfpVPV9i83qtdQIz1JvPPPGrrlcOlKUvU8rgYvLutktJdadlDRXLe7Miq6Vp90N3lTD2SBKML
P8oa4UFWw3JsozWUnlsPIoPgLQviCbZmXwR/RkWQZcmS0iKhFDN41c5uBklENipesg7ovpchXhSc
BuoQjfRktB91aULNa1V8bbpanCwrz8NydX5lSUKvMJgTsYWqOJujRzaLetZkhBbFCvMVuF/07u22
JvK3k1k9Efq0D3MxXTt3JOudEdXMonePVTb3JGav2fgGZTfa14N7ntVqfPGGBr8DN2cbq7hbVIMC
9dQKAeUkw6MzSJncpP5SxVWxNyFiw911LliQps28VD3gR/DM9ZCS7yJl6SEikv9ncRNfVItUHnuo
hIBRIczhKYneHdrTrepkRjDrenzqmMcTHEfhLsbROBMes5AOy4kKDZqUDk1qy57CE8jUZVcrOHVK
drZhMbtgGn5OmpWgttCsDyU4H5E4AOhcqAleCeZAJIwM3OTRtlF1kdgFmB8BCtHVCUdZMqh4XvBw
1g7BKSvncYZX+1TMsXga3Cvcpjw0kYY3crAiCvLag6u8lId0XYibI9dY5nxlt4Hry8U5MacILP7A
51QjwGKU16xWvgbV7mBdOICiJ4cI/DK7QZ6k35KQ4JE4xSH3ZFjnCMB9eXYmwjwxZNUNDKg6rNSS
DHQ8Ho3xPspiZsBtkvhpDpWsvxYbF6gr/1SrbQZSzz9d6Ba+IzRMIfBA9mmv8y8+qVlen5SIKYJr
5Cw2ZCZ2dhpvVfh64SsQQo5sOjqro/dUVOq/HpSiH80M8nsESzl719zEy2clXIzY46xdmzJiStA+
bIScTW8CniwS91W4nIORjd1qRBLJ+r5k/CsN300hA1XarLwgPW3AdjowAc0cjwCBDaA33Qn9rMcH
jJo7KdrCs0f5jTJigoDCu6cpkHpA4HWksblclmvXLQ3THoBQKrxcqJBwFaVhB43dvbZy/m2GQZ69
BESBsv7wdCWoa5vMcgzgP6O8D2oxx35iGtnW1ex9mrNhqbCNx2hUZ8rlNjRn+pmpqLk+h0a/Lpq+
XLrsw/QKn12LK6I6e2ZmQICTHX1P7dSjE4jODKvOY4+NQdSrQqQT5X/UnUev3Giapf/KoPcs0JtF
byIY9AxzfWpDSLqZ9N7z1/cTVZiZ6gJ6GrOYxQCpNEhdSTci+H2vOec5cpxKXZikyegBjMQIW4yw
39T9L7USjMeh9eZDaFfNkVYY3ouwXWesP/5q5ADAVU29SJVougwy/LpcJd/A5bQx3AyUN4CjYkRa
3aVV5z/khcFTY0qnovuTg7xxenNEyaNtPwtCL8+Yt781/R3XFMsocjJvh+kX0xeBnzrbCrO285GC
hNCtC/ZrZJlLDnZBxP+pzKRMlLTHONwb24Di7hdc4X03XjnO8Xg1m7+zQ8eIXHtH8tus2tbvJII5
JYmkgBquKOTWkbE+/XaXZB+K+ik+I7vkhU3arDvyhN1AZYSX68jH5/5a6yggjnKjZyVrFq0ghb2m
0lkRouYXioT7t3iq8PHJI+XQnK1Fb5gTIJEIcJVWFat4r0rlBd5wwnyTBkeqega7Y5XD5GlVpALF
lbNrtfOadXciRJbZS4FUA7ptNogz3cR7W5mOBYcDB2pXR6BmX1l/Ev2uPq3sKe2fkrfRZCZvnY4z
DT+I7phosHTqSEAF4hmcdnGffs+qwzxdjivkLgxtIS0bmysIx+b3evuBjbTCxYhCU+kV9lHoMuTp
eUlTuDcHSso2yXm2Km2LGrl+XyYVIFs+3dQVAPCWxpz9P+Tx+JWLR+5jmdU3ImnGpztBGhnmwlPk
o94KZE9TLOoJ3Aczd9Tmm2NWuPQYaeFy6J1HUx+Rj0m9TcGC7Jmlm6wcjJNsPAMD8u0FQSKKaLQ4
RYhYu/Z25kvjgDWZZ2Cxd9htQBm/B+R9hzXY0HdIzcu53qVlNUjIdOdOX3ytAhu8DlxeEuReDHrk
rlIpJrQ6J2lv2eDnrZse8K6z7S9j+aOZJTpj2Emxlf6ZtgnjxWGn0svEE6D90gHQ/dTbCOUTY0RF
ttOBWCu6foMVwm5pPWi5R1ZDRNab7H2YE3pbcmjPzy/jiBTHdowgELIfU5I/c7nWbJ0cRXoTlDmF
063EpIqHstlTMn6vaYZiAzDKyVAF3JoHMLOx9vNids0pR6kkHYMt5QKgwamVLqvBrpH0Oem8q8dO
0dfHAzVVWGDyPib1kuBlOGN5BUTYEJuRWieF3tmGIY3YB3gVSpXCcNZxeYOQhv7c2DMy+7ofw4Tj
ASWKZovW9mKyM7PXbijxtMwtDM30T5DiLnzLPFBFibwiYkJSqxvicXhdTT7wDLUz6AXaTdT1Z9Ie
2iASMiicdfQX5vQOSKBHEUGfJUIeKPuGOdPKtWF+L4oB/0XNck67310Ja6DoEV6w6aD3zi0pEo90
xdCcP0Wln309m38/BMymEOkAnv0sw2KyeDozax0xaFc0Nfmxv+UtPDpqE4aaClgP8DOnukQXPxJ6
3HMUnzaFYV8NjUORjk/CM3mPmRLQv/0hZBDnpvTPUU9JfsBuzM1trmQuw2rOl1+TpANEGzBQ7i9y
KxN2o7frOZsY95oV20WNBjxl92SsSxvMK8CXaiRJj4f3hyjXExFmykiKyaOfegzicjoziODttpZE
YK8319fEBCCUlaNnav1PUR6xFXWCdZbngyd/b99UgbOCsQEv0DJKVwOxnqr9RofwkVvw+Fslj9Xa
0P40yLiwlFeLZN/7BjLzjcHdr5WDKkpxDWxr9TCEVMUgWwcyTlJ2kGv5mvXrfcYFYBtzBrRg3AyP
qRgRLqjDq1J+m7d8f0waNVDzbg7l/kYKrX6y2N0CFdfAVg1t1EBgZ5zS/iI/6UyayVZIh6elvPvj
c4NuTivSR1pBnKkai2GeS94SxnZWjRlC0aGN6psuefJQfZRJZ4aSLmiuahkwxIYD5aXES/L/JJLw
v/RM/v8aXGiQKPhf+ypR91Y/m+9/zi18fsE/fJUKcesm/knLMnSsizgh/2dsoSz+TVNNXbFw2SPM
VjT5fxkrDfFvoiUzf5A0Xf7f0e2a9TdD4kt0HRukqWiW+n9jqpR1fqX/5KkU+R1UMrksBSgHv9G/
RLj3WcqmWCZ+YRqo6i01El091hP1MT9HOtb2Xm2flaTQ4J0qX8G5KHD3mFPvWevsYQje6tOEAYu4
HMwwnrr3zKjYZuqyT8LOdSnKOBdbbFfjPd4fAyDGEZbu3F4WR4+RtV8R4t+SGFAH0NpyMPjElg/1
ASPBWxHCYP1+mwbrvfIZXQyRcfvqkEZBjHJ6IOrAP1wMTfuTIzDCZJkDa96CtZSDupIDkx+78QXG
0iGFmpghPGKG5Svr4RtW4w+a5pnj5In9X4tBiowP69PNUagbDveW08nmpc7gY2mpOwLlnucflfKk
zPuYxrxBTjxzHVCrSf4EsN8suwAVetD2e7AZq1sZQRrom/Tez+P7oco3JjTlUL6VcRmrQxmLxRFp
LZqXhSvXdFSIsTtnrLp9yRNvgG6xtbmvYP9qQmyGs5G9tcYHL/gJZwXDhQPBKEYHArb3lp96qU64
LOIuX69kNp7UjY1Jyd2TQgrD1bRP7hbIN8HYXgTU5E+KGfOBD7SIlfIwTzSUr8x8g1o+UQioqKt6
B10nbx1gF3Qzz82R9hQVyBczYSagYoarcbksdko9P8BLoGzdpYktjXIZbbczxcf6Gz2j+DbnkT7K
roa+PaJz9HSl9A9Z9PVC8OXfOnurIedNcoSjvnXNfGNIedqLzGvr9SZP480ss9tUidcUIbuZrZef
y898Gu3niqaLsVFEWX6EvSkGWVh5s8U/l9+s4u1AfJM7NISMvFcR/yN0k76mD5vHJ5byYszGBc6k
ylSfeDMbpZSnc5yazP8qCY3RXrkC8Lh8mN29n8mCWd0mLnXQD9UjnVNv9VJnDa27JsmfJI9/lV32
SWjcO6DsNCGi+bdikSADZ78TiHK8UviZ7GdOhAHpl4NeYdWZgUDAQN/wT2fOnVCYtG3+RzPX9zZv
pvHf/02W1X95nGVdQtykq4pimpZJ+AP//58s0lK59ZAb+B5ZKNnM6u1+Qif2jBFZO6I0Qu0gfI/q
B2m7o7oZgPisf1TYjHYMaswKfePURSsRz/2iu0Nk14ruCzc9hVHMY2UcYtD5cb8Xf9TX44u9SSz2
1RXi1rUolvszRqM2RR8HIddc8+BTdpfH7l4M6w3HJwlb7LfstlViqZAjtTjQfw+BqAw+EnnQyOOp
qpVQHPUIj9o03+tJfNBXVKie5rCudB+av9EhA1wQ1duJZKAWpBOptE+j0D6lbfkUXgjB6MRYnIaY
KUF1RBUt6EHtrk6eVa0he+yga7Og+hTvuWuBfu1fGVa5KAz8RU8v+0RRsHn6rrnbS0b5uZGcUSWp
y1gNBtjJWi0fC4A6ZlF0h4TvK4YUnOTbaOpOXjcugKR4SNgCnoyCJ1D+VnW0Vk3nFAzUMxqaXi1d
JR3cEhUMFIb9ixXGYFylsb9VY8VsBcavKd1We4ySLglF5yL3SdhMWmiJrFNgRDIO+gAHV1n3ZZzu
sJpujVxdGT63VWR8DC/r3gaG+hDXOZZPu08VMBF91wa62QRdvxPCoEcSta9YZmCN0huN9A0o6F0M
RUQiKPjX4abnx61d8A3y8Rfu3XvChz9bxwgj6Wsiopu3yQJ1lW1xc311S4Xvp8YYAxXxrnLaiWtz
s2wIcat67XpI3Qx+RNIYh/Xp2nzn20RdXHqEiLsFEZcMYBz9fQx4haOV8t7OXJRbno6lwCjwYGvs
/SrX8gweKNn9bx4Z8XnD/eNR8r///d+gGuiSJkumjlfb4NHR/iWztwEyJhzaBjO9V0IKNrCUmT1v
NzCQyIxMV2DTkho6TMTBrxXRJysjMB/5z2n8gk6x4anarYpQAbx3eROPRhu3p/W5YAkS7CoZssS8
x+clgW/dt2DkGkpNPkSoyoa3w96ifTIdRipOS0gW7J+BaMQ9M5H9bxdBay6iYtrqJT2YVW0o3Gd0
Zscjb+vLaFS+IBs+wBxcGpiJim8esTgrZ294Qjg55LLkIUhl0JhrAM8+KMUhHPM9zC+LMr6iL38V
F26k5MOceQrg/CPrcrWtfkFm8+jS/s6xKXaeKjFF6no3SUAxD+bJle8GqzYBp+IoR2DdzoKWX5rQ
eFGXh34HF8GfqfXTXoGD/Ngs1SZdwGpUZHySZ5mK162KD4ibxjyXS3cB9dnKFz7tLn3gqUe5Cuve
10TFF44iaIyF6bsS7LTneUGSolmFeD2PIlanOcAyqVlZPGRGxAwqSsY2KjQzXM0+TJ4zh8iAb2cs
L9MkB0Ku+u+Zdxh11EleWg9XSEtyfhl01Yaxfl5FB681FGfTPnh9U5GVGtFyohEvMYC3xcGws0uv
WtfBEoAyibPT07rx0U7HSyYg+tTqt9xJx/zNALo8a24P2aeYy+vTsSLPr9movZAS+YBYeje5nVkX
wUip8GP3K1PQszFUNtFkoaDK/spLlS+NN4NeFDzpDqX1bp5DdSKzxSDT5Kxp+9WKHgXu7xXFWslQ
VEEH939+OKS/l3//+eEwLEOR6RioNQH+PcvHf7pPYNFgRTDK8aIqR8Qa5Qp5+9iHS0J9MemAM3Vg
Tz8gN7FaaSgdKrfSOTJeIZ+5g2q4+Zh7jcLMUCXMbOk9nR/92nsb464i/5mttdeuubc3IG5T1U1c
2BnzrZj2a7VIcTKKkWosnP19IGqwAw5YeH3AoL7dSZLs/UbJAnEn53lpQ4CE5CxxOncRuu4oD3pj
uOLLfuziV6PWYVftD9xDU/bJohjvrJ2pwktuJG8Jtgf8CMC18tuxJpdJxYRdtOEMGCLRZF9oEs81
Lqaau7/NaIExMMCCBGlGrnSdWBCJx5hgjOsWFJkWWPseJuT+FFqAmzbWHjr6d2zRlnxnPWxOLysj
pC0rXpPffbmgUVVfFKt7Ke/QBV+HdLlILLmFtuNjwhLVmK+dlkQDE4B1wt6NcPKsTliV1cTTjd0X
FQ51SaXQrcM5eSMWASG0EKK/lqZrn0pXXIcXmbVDn4jXLj+uABTQN1txUkxx9k7fOehOguRgJdc0
c+VidAaLzdWoxVZkRR1SZMzb/oedT13crJ2X9OHgWB7iw/+udjEt7V+bEUVUTf6SDdRqhqZL/9KM
1PmxDbNK7InZ11AKxMvkwPFwDwJ7OmwHUnn4WQHQv/lDqcVQKWQ8vcLb2v+2lP7afuxPgzmKHDE8
+sadivfZEsI2EcJUEEDAJiFh8GHz1rz1gxawYkfCW4BkJoNhNH3xwq72uk6k+7RGVI9yWI/owHbi
euoJaAwxxm986iaoqPJ2QSeLhI43P9mX2Mjed+FLQyGbtrbOXXeYbSDPu//giyvkN3gnFSNxTbyx
lSQ4eS6hXWFoUQR0XY6Souk0/0L2hQqfmhbQwBzU6o7Iegk/UE7BqGdiPUVYzmMoX2t9wepvgayf
iEwlbJS7Stnvm8oxt1+JpFzHq0l5WVlMbvULhndCCaHkbfz3JABbZprsEOcBnvVgjZlKDMxgHOi+
xZzZIr9bQYQND6ojAQGh4BiQntf0vnLSsTU/pWaCXS2kID87NpDvT7LO2OHf5lZBm5pe9aSMqxk1
jZQ+rN6vt8HZ1s+SwIsneECI8m2Nd/hY2htDjUgF16HGG2uSZ/QyFlsS5JT5LcXD0MJz3deM+uIH
qfZRWqRO2sh0psc7K//3lRmk8aqQKLDXKMMk7tacsR74WGH1+W2wHs69iozU6zSL7w+Z7MnCVI0r
TmfQyFZ319pQfDSpdf3adcQIuORH68a645XVhCHEa7te483Ju/lzK3+Ugsh8xvwa1+IP0+1y0ZPl
3csYylFdntd2QtbbeeUG+ZhFANE17jD80BX59viLnTzqyDMrF4dwMUdgvD2MNRHIT8l8c8plMm2K
8TJopG2ktAqY9Eb3MC2nzEanHJNLmH7WyEj5OD/JeSkqjouurs/d7GkszUB2bdNKXWQbLu2jsF9U
GbkMjjrUJxjtuvYE3hGDwUl8/l0xXHHIPd2dEwSDteA1We53+Ys03I5XyW/Fnzn9npWiIjjc/VGg
qzx1eL05Ypmm6eDQqf5f5zMmqFP1lU+IACh2d96eRRodtVNwFmy2jAQIr5hasxL0d27sBPFX6W5w
E5AvhOiMr5hAWHCfx6B+qukUMisJmJIJmINQjG5Dcx+pvQlecvEQl8XJeSRyTZSOYPTGsDA1f0z/
KKzioiO3kZPeU/zyc0flx7m1pVcIfFGSowttVTfvc4J47lqCC0uYnYlVqja6fKt/78VE5oIzly3a
Twi3XSD+MA89wueamZAQ6VsFmZUt9Qi2OZQtTCCRQPpG/k185mWbpCBLceB1bpPmNjyJ1303XgR9
fKncx2x1D8s87o0R5cIYmpN61a+lbN2FsbrlJhfHpF3KJzKV05fNThRigV8O8e8fh5YE6M2gVrbF
65yqUYXpt5CIexz8LiPqb8kZC9/yVn01yuEdRKbPCWFXs/S52GJgmS42Y1ssVgp12S1p6NbCchWc
ElikGdWcViXBgZh5EpggONmoRZLu+EwXICZD9z4KyrWV40YTHoys76gT3eHpZA7sVWcxW8+31ZBu
vUjxQQKnpv8edhz2UutqMo2c4afaHqTaV1uU/uwJ3y0eOvaGc7ijVOYr3aK49sSBZNNtZdRAJgfJ
LlGxGaFVqWxRd39uzfBIbcNY6XtydA7r/Qt7hzD0MWJ+sA0snterBmyGwNUTeXPuxHBIHxSeK8s5
oNStCN+O2QiIK9bSWFzTCHkCEB14jZLg767d6KhAQ+buZQJ8QvdsjUM98cU5D+3kHe10q125Wx7y
03gU8z99qI5vDRMpg9nTmiaXUjQ/8yuC/6tx6j/66VdMN4wRaBsPP2Ha1UzgGxe/85sUsPeANmVT
HBoOZ+sWxxS9WeoQmz35oxhHTEdgOcBPtwwwQH0fSN+TuXLyGrYsZY/V0O2M4zFbIJT90kTjVdrx
A4XJFf3S2binbOSLS4K2wnid+Qbo9zO583RCKLc1EDs+s/Zg0nH3En723FnWYCByj3nBBTHzGMBj
rlCpwScdnKcPKmVLMWkwakv5pSrzgFUuPijlrc26916S301egeoxT4M9kfp57hXuTs4qA6MM4sgL
WNLLJjxI6VQPj1YvR7MD9hFPwo996FgSkMiNY1gY8CW6/FG+MJmK2x4qN+EJOuwVB9MVNQ8EyX30
8UjILFQsRlDF/Naw3Wx3e1plbD8oxFZnZqgIaZTR/HifFvOWwIqWPTMdPL2MV26GtgEa58JPl3zq
54KaWzfry4Lrnt+MidqOabWquO3/eN6D7Nnc/kKzcRIcErNjrRRuTSk8LCaT8jO4zJZYfVga24hC
c2dZcI+v+MiORyoc111yD+fJQ0HG4GSG4e7Z+qWof2WwYopNf1V5Ec2tfO8/lG320mRh/1efmRsg
p3CVtnUUkxLPQDdFbdzsiSvDpsjC9tqfEBi+AVlGCirfUGt0Spw2eTxpYggQo4E6Xds6OVIibOg8
0ylrtatOONzhpWwS9MujlVmqCtm5DfULnyodaeybEGWlFKyt6oeCY8qSq2cCml7mI+2jlHY73F1D
9234Y2ugcTuxnIade0GN97DVq8k8DXz5xbbeMle6YyEOJFwmxGh5uCMYpKTYozNxCnHijCQ+O3NA
tucFU2tMmgutfQ1YwrDN+X3sCz8eL1JD5AJ20EUB8bYrds+Hc8vhGxRPXqmjMyGYyxf9BevVPm0R
ybFtExUpwRaYNQYKknsBepolUSBfyaiiYzXl2y6v1JKYibdfibpeOps5iOqgmbMk9oeEzsOY9zrm
k+VHW8EqwFomd0FbnWLjFu4B/jAIYo4E/oPaSzx2V0OZqwuAOwb/qToxH4SBxZV/7FuMRMw/+hhr
wXXbi6vJr78C8Jz4mEw4xTqXmHaa0tztoBor3a3RVLBKqLBAesz3iYPrGW4gNMYje4MbdM9VHShr
5utQ8YoIgITTUyKqHqocJPqTjtyJuRMC87L5Wsr7ylAsd1CNvXQbAZxPFplooBJiaNMnD9XsHnlv
xMwDdTVW1AISd4DpN5QrC4aU5DGU/XkQ+UVq2WZantWx9zLtalec3kBi1ZGa0mYe8g233Ed3L1N3
OEkXEVMOkmGsnqUn4JLujvdkMByMxaypFtdIcw/68IpzCyehIpC0Y/QnE5GVvmQ+Kdi+UIv+M29d
UD3Ac/Tuog96yN+9JlZEHmdJv5ERnTfwfTBypOsDNec9USjTNSqDggFUfx496O8Fvp2z5s/cLe3n
90wEs9WLDrhkpg2pk//Cnn9jRoZwOkd2lDo6Ez4yk12OHlc78W18EetDtK+BvAp3vzfZsPO9htjR
Wd98pdb8VrZ8kus6yaUEE27wyRALLDYcEcqzPPyBLasVzgvzN7OzDWtzZCK5JV+z4YpH5pluMASr
NjeezdnIaWt52ltuVrH0bVve0VoXQ/3V8hEF6sIllVFrb9TayZNCwCRRr/nzgncYL2aWuYfaubbw
micbhUB17/LljiT2vqTGfRsshBwEj9cUTvzMtbh3b9UwvrVb86qIq29Koy8hW4CrxO7yGX/UDqo7
425YyHa5KLix5Lq2l/YBBIw3y4qRCnZfIWi+KQ2OGvq/Fqbdb3wqvqyND87RMw6cu6qVj2lvXobd
fCl/5qKf4MHToQg76GR66K/PGdk4xpaIItzZdcFVTMNNBMXdJ8mt7ku0ZzWxUBjLiMFQnGLUXE0k
BC6vXMx1fBBJrDomgfh6NBAH1rD5V8kqoyJ3XuxsOBxrYB9cK5SUl4xpt9US88lLV1EfNMhDuH/P
jLga63Ch9R/Ztf74EnncJ5ufr9TvZD595NfDqYXPIZK+AEO4X+kE2A07lrnjh6eI+As8iSs+E3uH
sEt+qCW+iz9tjrHEmdcd6WbtUbN509e0hhs7aS3j5QkAS+AAkAX5bW3Kj3LvPpmq60TWrxS9q/We
G8I74gK74wLgzX5vKumtexssISby5XMjNA5yJECa8XPnKsRFAGtrtnzA3A0eS1xvIQrOiCWUMyij
Q8es2up8FfyNyIx6Re1dRc179TSAx6VmRMWfSTaFREaHDDqCQiDIYEqgnOJvF0c/Y4I3mDWfzuOe
YKH+5vCf15houtAybn0N9Iy4p4U5XlNxb90qVQ8zUYqaKJwZd2s37XbAq9ih6GhTKK9mKK519PWF
6iOUA9qaqB+qGG7dRWX03UlFPMpm2P/cmOStMxLFPI3664JS7vzswKtrnxTBgmJNW1QHpNkA6FLp
toCn9kSAgLOCVzdjsHunTObO1dU7xGtQfmIgvKK/D9ARBewDAmETg4n5bNppDIkwNJIyOKlKkLjs
aM+dXJ4ZSD4tvEE3shbYDgK5C181Bt5ZhPUaCyNB98wudeY2VCbTY6mmYS7ulzNMFff57/KCdR+L
Sla8lOP5YV6J+LOXjXTwBh3P8pnM49cesk/MAi+3k4yNTJqdtB5GJD9EE8HH4olT6+H4CBKdP83S
B2SoZfXrWCcPyDCGcF1gsUwDaUIax4puBgupXmvNPSUkPNcseqrljAqwITKUHgJFpr+el55Xw6Iw
BKdgWHVc+CNEdYnhHe7sWGMt0yhOyDgP1uCKS8OMDz294QG5z9a11YnISbdHv3V2Lg3OYgwvddE4
9fY9f3rFUlHGY0nGxmGhXRORj3uzV5VIviZ7WnpX9bShfSS/9Ek6N8Hkrn0Z5ZkZickaE24UyJTq
zXEtDnokq7gxfeLMxx36ScTbUKsPSWk+zK16Rw5JYif+bVJLsRktekMojOFs5naawVfkQMU1WSaT
ggK03RDxFK7gzc8K+O/kNL2t0ImAYGAlMaaG27cENMxB3qnY3w0PiaJrVgBWjsPuL4JH4sc/ilRO
k7Ji7mmH5qza2owq+4zx/ZUl5msmLe/bV2ldxUcn/Oh45QXiUcshUAchkE0ptGZO0CqswROYj/1c
aS9knKx9/FwlJGQZFqav/B7/gvN17iLpd5Jx5gAq2X+0H9QF+uGQmrmivm8/enC+8LhBykRbo0Xr
pkSdjGJN1i7W772Z7pmKY7Z6yb5xIIuTrzMSEi/rgoBV1byRnXeGFzKvNtRUKOEIHGrSjxqbm4Gx
f5GiGjglomH4j0tQGe9ZJTyM18UZaLSaKPOXwevSlyL6mq3phgj6gdrsdtD4H4jWxPajAQra0Phr
N+ZCbOrJqrGttI7mrn/sjMqxKpJ0sN0Izd75lUh50dQbbtpEyq8jt/x6SgEFquR3HNfZ04rpMxG6
D3LZX1GNEnNFIL3HS38duoEaVmNr2bvVYjgzoxKDyxOB+5q9FVTyOkwuh3bWTazRUzDFLymsOj2Y
iDw1gH5lyxBB3FiIckXa70ECuJMS9TWscBYCOZ/uKTfpKpj3LRXuc67dd70INuGnXH1Cbgt6sb+R
KsMYN5ZraHpnwdlNaPL6BpdW855t+uQ0KJdGGZQhW6RZ1xkN9X4Of7aU6qDp52AE3mWJnLen+a+q
vdHBBhbbDmI5ApKGAvGvrBXgQN4SYCrHH2QEXSqmA8DRbeV7ANP24N5hSPcNqMDL0s0TPI3BtHpC
Am5rCvCT+bRi5xrbFKAoUrM9NoDPD2yUKCMVFn1juDiU9StbJwZ15Yc0a54Fc343bzwMfrKw5sFY
3aNj4D2aHThMWFJeq7OXQG8URtHhdNOr2cVI7pqX73yZHfZ/ztNDZuSsQI0TPojQJPmDF2fcVpcU
CPb8JUFNvWFdyHzjL1vw1FgI156oIM6dTaDnRcagYjKiznBbJE9MxSxJwPlZe53gLgwnMelehtTu
oX0hGT9JjEdS8La0dcQSis5gr4FSDEExn9dnzaSgGgEVc/SXjqJpP2N6ne/Qlx7cHq31WBdaCupZ
8XUu5SfSyql3klPa1a/hrigQMlXqQxqDwldecw258n7ZeDa2XHPlktaWUTSu9XR8wS6BAPOP+hQ2
eJoxZwiEPhZtJLcJSVSAxaEMr1FXUA+T7cyNIAy3TcsuUgvSo9rcZBPtLnsfm4JCRjnNzzW+QhEn
uhWb/IzK3bK2i0Rhc7DGN4rWkQCzGhQ2q6Y52GqdbPQM6jiByqIuancZGlcNuhqH/7kExaN6aat6
h9xd6vQxweBdtvFcItvEJEH8AfEF0MSE78pt99Jmx3nMr9VYvmDG4gMlXM0nAxRZjEWQU+p9HN91
wSoULY/AFgNQm2zen7zKWGUh/NVj3gMnXnByrOeCxALkejfdXO+1NXIOfs30pek1lpo/sh7WCARW
HX/uiOqYcTJVIDuHHt6g5YXVLEcpi8fOfO79kJUwbQMFcVS1x43n5ZCqzdhG4+RU4KgklnMgWjK3
axZSNH430faFWQvwEL3Qz/08oGNKGdokFnAiSbn2k3E9suyGeHgYAiljDHp4qB99lYucDE9C/qw6
R8dghc/hTC3foVYYhxqWRhpRKQsZPQj54rjaEShiVmD+q3EbjgRsdnXpjL9SR4YUL46Jr+7mm7XN
r0tusiIQ89ERp+SyrlGL2EfXSiDo/uBwv1aZQ8rtReOfzxmHSpvSKLP7FE/tO4l46gUpTqAfezjP
dZRebZpTYG2LhdYGviDOajwx+BjGJlCYaRRiLL9oghjW3We//mbfwzRAVlaH09VRD6Yry7l5xjF1
hq2sqNLBUJxsPmQXde0vKzu/mYG//SUMs6eKlpdVuM8rl5fP31KMVZxjszbSLL9a4p9WNV+HLx38
3OHIQsqEJ296pnjtVd1BlZ6k15Hl5pr7RfrNAOzIZt9qFU8lfcaoe1dJmuDoPbEgAPJ9sAHY44Lr
YFazBtz9tku8BQ0W0LEZLzVHblaY3kwpnCKC7vt4DT7ypvBxJzAl9IcM8JHVctQxfruKxfMSqe5q
ut0Xu/w5CemNlArLAs6hnvnoZgAyD8QyTLGBNXBLWArRU+KvplbcceHRI7J37N1eylyz153n5kzP
SJxqd/ZqTTTLGlEc9dNwcZEVagTxMZPH3vLJlEn6FLPVFTg0VFfqclhd+OgZ//eji7bNXey4O57u
KNZRs7fYjc8M0s9a0+fI8ate8xvmtLqw+YLSo/qv4IQTVO8gBfXb1pXX/FJeLSj7CWyQV0hVzsZ9
0FLFmZGhDeyBjBAkKAFdviDOATkB/iSbnmSPinJZnpO74xWDOwDBBRQ6cluddQOiYAa67WUOyU2i
y3gjCusC59PbBJ494Kgb5/0hXBLulucyu8Sf0eqmnfY88vTPLI119v4te//mWVfqUrii2WtD45XV
hEVnxBT9xEi3zjv/K//gAH5Jf2KS2yHnwWA2K8ljZ4Jujwzxj31iFpRIgVK2wSrCrZOwg8Pg0nio
Vv1NRbKNmtA/njptWXjxHs1R3biv/oOn81pu3Iqy6BehCjm8giAA5iBRpPoFpZZayDnj62fBNTMP
drnatlotAveesPfa5Ge9pYJ022CjOdR0umK+0xnWjqwK9G0rEvpjHwwtQSOGWc4mWAwY86SXfgSy
s9/DZNGHZJ9M6mkxwElqew07qpYGh7ToePc6kxwTaNNarjD3c5IaCSR/ibqyKxs+4OZd+D6RIfPe
S+obCMT7NCg34jmvnWw4i3VXouvKr187bgXULdl0fiDuG0m3D4KfIzMKA7TCxKwRiGkTFcRhD8nL
WM5GV15qPEMBFcviNgC1avOUFJ/FkviIFmiFOJh9wjOogWT/9BIXmfqGVn31bCtcbT0yuWiyldFw
dLGwCXRviIrVoP37cc6Epor9AaGHCjrziJScL8QAzEem4Lf0QQXqR/by9bsGdk78Tc8mN07RFt6I
4GsX5PPdksUPl6a+Es6N1J+VCchlEp/KewkcWTG3FiFEmvZXuiTHPIRPhDJiUL1cGT01QV7eQWPY
xqItzPFumkQ/L6D46ODup3BzoPBheN3vStWijKVGYlxlQYEmnNmvZpZc2varlbkpt3mS7eZS9Csp
xtEPW4dA2Epo3JjwsAIxQ+hl2yxUjn0jnHhYZpipbbvFculMECIj7Y0MuSNKoXvel2+T3r8JQ/1m
7ZayRAp4gwTySEiBiArd//0xDIHXBCJ56be+fl73fet0ko3G9v+WO6oGgqA9i8wkIT04H9LOXB4R
sBqm5oSjuYbIdb5R2A1qG0d6C39RZLFnox5YLkRAuuqfD6FR9qDptGbbtqVXhZo3bl6mXB1VsaSx
GwzI30QjW+ZwX1vgFI9IKc5uM5SXhLSTG/YdSNrlqdgFN4vAClCkWnAHm3MnAvXehiPbCcE2syed
AKWMcu0i9WJW4nlxtGG8GG57F5MBjandAvmIiFjLD2Q9uJCUgu+FG7qIC+9lbhR2GJI0+Vb4qIDd
4KLwIHp7IKz8eHSG5D9L8pWU5qtxCXQUEvL74CjSrmCOnkuxZ2qsbpmnFb5gZTtNfgXmgi8kPAyR
eTBxlrFlOwWLcYoJVUNPx/Wf1NNmyrKDzmBTcCpUzMlDzAeOebYk2QJr+W5dDbaMC1vG3gKZqI6e
YbETxA4UaqZroDTkQ9voZ5aGXu2XBJAYjqp0N8geG4WhXhERkKIpsC2Yz82LM2J/Al4Zsoco2cC+
6m1b6SdJQ2EXVdd+8TGX0e1ZKm2K/Jua1VFRpWNGB8cLh4djgOWOP5rkbUNi3GNsLGryFEjoK2Fs
paId1G/RjnoasS0xVwB7KaLonG9IsxtjuYB2mFO2TcOXab01QB1aJdnzpVtZfgjW8IjvKqlK2i7n
HlEaskq4R6IcByQt0zK5XS1uG7F2/9BXo/U26kM4m/to6fdY3XYl9jFNU5xJfJLg6+dd47FDaAu0
2KKbhAXKEfSibeMjRcTJvU1C+k4Um/VG7FhXLOlpxpmZ6vtUZVwLr3Ci41umnyr6GsLUNgx1q0UH
Atl14HwM8e1UZU9ACLZdCnya1fRBMu8zzbXnjL2sf4x5/ZhlnOGhzonZusmp98XY8BIYvTfWjQnM
lysf+RgjKLMVKdgXwCJ06iDipHbJJnSh6m115ujYgVQc58kJGZqu+sEw8soa18I0rrX81eBV06Bi
Tq3m+iLThXqP0XWf3PI3QxWZ/6mekQmejEQx1bbxJQ1lTxRY/5SKJ4NZZ4aJEYOicPCkoPWgyHrs
p3dBMF1ZzxwG6bBo0WUqUwjquKStwxyHh/ipDPFu1mLf8ntKCZnldcD4qBodWCP/X/QmxzVGIhXb
bchUglAUAFGEY+DKYuXf0Q0ss4rPR0cpLyaRV8e5J86lVxgVn9TKnN0kmJN64m4QG3sUP1sdIGxU
Z6iewr3RaDuwFbtIq3dJC+fXmH3mIbahR8dgbg8o2rgAx13qX6qw2Wl6sJvEH1PhaVKKo2STtCft
KncJ61NkdOeWPUfdpIQtwRf2+lJ+j5r6IS/SIwrk/QRjfhJtvp+jlvBjmRaGks0BDHf2smj3cSfn
w3jF3Te0RHcwQMnjN8mMT3H9pUbdPf/bQyhJTWk7pAa6BPNSeHTaXliQcB4UXkQhLrI7ynXTVRFg
BLJCLwsI1Mel7dXon0QWHr45O4mHCT8fzkrR0NXvgmX02kRwEQot8rwJ6X5F8mvVzDlMl0CGku98
LEB4ZbZSZqTvx7CGdcUXV5d9KY37uUv3t8oUWEmwkGQfD/TzMMNIM88TrbNMs8w03p0onno6XI0Y
dFVH4jUnh6IpDyXHF4T/goNlZbbAL0t3o5+RjIEt6E4C1gW11PlnlB/GtY0+GZ24KhrOqc88LYi9
hklcSsyiUXyNOUDsrHUlZCfJRg2hNG0OmlS6OSJElbqtom7z25QFoIZLNELRTDJfT3+qhfyQqK0n
yInKwIx8zcsJm474gvSNgdUm0JClUAKpPYOoJDyx1WR6EUNDa1h9Wh0zPbgDCWtaK2M4NlyzRb0k
3k+Gq/QnOhm73m65KJUa32c7eCHvfIBH8sxyeD8iGy0Q+sTbA2VUNdm1f2vRCURIhQ+awP+6LrSn
iNXB7Kwl3LrQHjiNaRAcyCP/qZR0A5NlfQDODVDaRCnAVI8WYU7wSxwlxlXqjeNUwAUeEGyaf+h5
djVYPJoorchLuVXV5Gcaaug7XKJt+0HwTYXOtMa+JUVHoyEy11E1MqaS8RHq4S6U/DZ/Ag2zmR/i
6N5aubw1cGPM7CDij1ev97v6l4FFIiPN4X4Taq9dKKrqLTS/TWIN9zov3iagYPKUvXOGW7X+RGK4
D2d5EyDjYRC+kQm40aZpbwyoxVAVq5hbzGjeKdovg7xNb9+09sIzrVUs81FO8RmzG19FWinFk7XW
ueK2bH8/VtZJx+KOgc2tJ+FggGMUutJFjpi4dyDHxhKgdntDwntn7d2OUJOaXRqmnKNwFX1pElZI
ecDiWCip1RTu9JpSEtIDWfdbpjDJus+n+2m3ev5PTrXDgDlEG41L1VvHJf6GFSA4s10j1A+t+yS0
x6eKYAnU61fGik3lq0H33XKuEU66iSXOIbSnOdrTkS3H+BJCYsylNWa+9hdK06mVfHHW/EkDPii5
LSN63jWj2xYiE2jJAzvlDTA+FmKBdHaxWYW2BRm2soHKsYv8EIPqwNStZfF202eC2tE0GRLzBYK9
teoo6CC8t4UdheFDrMUHWDcAXdNpVNWTNBPqI5VOR4BDHpL2vit+eywDErbzRKzvSFZv5s/M21aA
DtcZ4cmC5FibjgATKIlUYXwyZc/xH/qZovvXq1YI++tTiCUvZIionfQ3cR07bUATVCe6fKlhbFXl
Pq9e1Ql73T6mjSMCjk2mcJeaOG6UXfieIvnwMmYuoj7g/SEsIyzon5p+Xx9jdXziVno2BdmbFUbf
ARwLx8iWJF+ieJKQmp11naIcdXcQFXfT7woB+ZyS8Qw9lYCfuK4jMqm8LI79UTB83ZwZnEDK3c6Q
uWdTPSepBDptvM5JfMOUcwySS1Krt7EAUxgiJnCFazPWnsyJnQmFp8s5FbodkFYuM4acQnEX0XCa
dza8QYM+KNgtSCulSqEcwz4uQSHDEIxi77CQsnVj/PtIpc42unxj6ZPfLoD7YsVLNusZhwefeXoM
EFqE3/yhKy/1VPrMjImTgjPnwcrxgocWlsiReRJpY3s13ApTyrx4a6IaDD8MrOQyQw2UE9mgcCyO
m6zpdjKgFYMCCvaoJuaPhMG9qKQuYaHekhu3MJ7vmhG+id1RsUJfGLq39EOjMMyMv0jHPoCTfaTR
fEFIhMy41I5CB5bnj1P2iYdTG2OxiBEWgCWL6WF9E5OEyy08/0ZbYs89PPYsmXbGWCJAanbjQQpB
j4wq0maMCz1ch1iz+2ePuEQ8W4z7zJuoWdef6J8Jqh04mqg80v6Xg+9gQHgV27shL1fN0YraY0Hv
akiel0vjKhXLdQ0cQLqZUaBqgnVok+w0CPl5QOhyH6cRyFLxVg2GwyoaLYz2Xn8sL1WMDyLbP3xK
h6kTD6YHe/jU5OFJ3tDSqOMxEs+D8NXhlBjK4TroxiVPE1Rm2Vkxk5MY1ptFLx3JEcr+ECTp/nIZ
ZDR+D02z8OPnJwUId5B3npxJlxaNmbLHF3PAwQwaTD+M4yd9g1dn1ZFWjBNoJ8D6iN6asWAzGO3z
TUQCi/GUFvPD3A0+hhEClz6ECYGpuOwR4ew9V65S3+SyshDja13pYv1plwomjuYpjlj1rto2btkG
3KT4YxA+6LnuWOpDD1i1N9Muc4WBVi9TXRYReD0CUDTkwCAD1VcHwsAiAu7t5PUFKr1hJj8j2h2S
HVZtN6GiY2z0PRZ0RtlbgNc6QMmZ94zN+/88v64xoduY0nNKDreAEmbwFmw6fdnTbzWeNtprKmGY
vkmt/p5tTJTCoctNOdjKJ/NcnSRAEeA4d9WwyVKdT65wrTBEMknjuOluZZFecsdS1H0goo1YmNHZ
2b4rG/eNUaiOak+M9pBJ92snhnF+P1PKiC3B1MOq5+CGOArXWKD5CpSrgFZrEdVL+xQMFNjzsCsC
KlILpVK2+AwFS5JXhLL1F1yR692y9lkTkG/UX2nROOCltrnt4PvEPvm5htrVXmLobijjyGIdwinN
76efqerRDZb9tu/Q1JGIHBpraYc/CeM7nxcGCnbhm7gPj1B4B7TtcnLS//ceGxASrPfYgQzJVlBv
s7W8hZ1+UolLG7oPF3ZbzkFqDvs+kfdhqe0DSG5z9g4r5b3Tuze4XLLNYXU7ueiRfa2bfGPGRFtZ
XoyTtHbFr4WvvGYDQJsCxwDhhU9pdjM5ckH+gMoF0mJBhHTqSbypChZFnY3uRfM7o7gEUwoC27w2
eX9zF/99IpUad1yMzCCF/zjRz952oaV5cUpTrZ5Fdu1Z0NOP8EiAjiCfNHSLh2h0LJtZUj2tz4C2
qRHlY+b5TBg/xjl7lFF9HSZk6/Odyxg6ntTxnIU8dyMGG0ypjjNO9+U6zBFrmum/T0kgSCxz2V5e
4DBsk6NeA3sBBG25SGxo8FasPo7jktwmffFjvr94YJaAcDkiWUaMOsooYD0qkraGcUbPABCHoirr
u4X2dtz2RXUtyHTJmgKQnOyPaGfbkWDNFF1mF/oTFN+KBLWmONbPtTusYFe0PscI8QCphBb2miWK
11EtoRLQJBR2cEI/AOtUfwyc/5WL7EUnDFrh2OtYnzeOyQSQTTbjS7BW7qEjHA++bBPd+61+Swic
kPXsYJheDZpzaeRtVllnvExJcZLS4mQhcYhATCr5vJfWoEZawHZZXYXzdkCnyne6F47C0UBL1xjt
KoodA3OfKcJuIY4KE1w/fEsgDRjr7KMjZiHVZTudOYmgaEhqQGx3fcP6bNHRiBXlj1qjvs2FkXkw
sBlag8QDTV1TgVnpRGJOGt1G0qyqSfkVp0baJKMJMkwEuV2cuzl9KyZF26voUmut1a9A1HMY6SNg
fDBYf9a6X2yQ1xmitDHnDTcLgNkC6tXclZ7aVF/tcuqnfK+Z6kfFL0fsXouG7C3qOWX4wC1DMAlq
csDxdW2LyU/VeOB+iwaBnMcNKZEy1BNJM71H02EhQL0mL0tsv8XmB7SpDTgpSd8jdWdwz+doYlMh
tGseHlyZ96F6ZrXfhfdxA5NpvkQkHsBhm7mvbIm4Djaapy50opdRO4l+FA8NY4iq2/cEn7R+Dbei
ioiPui6Zm0R3aldLgBW8YIqBXKsPrB2hr5IFdBbDGeH8Gj/2rc4XMFsMBskwhJa40UsVZwqxQlnA
VrInVUTpS+FWGtVxGjLSIklLSZufPqyjg7oQ8CipbtWLH3NW/Rswh6Ku9SNqlywh9ZJkRAmU5HwQ
UenwO0VWqXPbcO/IXbOt8U3qI3/mMrkuIyGkSW5wpI/NUUZQAJvmYM3Z9xAsXqf0s5PjYZQSFHIh
vGUpTwENZaq4iTo+H54fzEs8Jwyf4YMNavhXk1E61NSWqoFUuEtnrrPiPRX9thnPCmlYupH8S1h8
23kMH7vVxYqIGgQA46PTVMg7gPqmonxJ+QV9SkoClPTsp+GUCOVGyyHLmRoSHDPVvmCavRrSCrSC
LybjobbTBZXLUjYfY92ecOJDXlbdNGx3VQIgd9BJP4mReatMOWr0ecvL5FKMDHiDulRCn1a1f7UC
gVLA3TGSBWgHo3GGxoF1TbYNwXrHX14Qd5MsLioBQX5K6GU166Nm8tA/O+lXkd4sjBnIIGxzFZdg
i52iu55ZG+GtFCn1JENwh1SuaW4yBlgNoVZ9F7ya4gv467kIo4sc/ptX5oleQ2GZEvFj6uWvXGiD
s9qoJBAri6MbmMbSEZWWrvE0k7+a0zGLHTvOnh1x4tR9QpgB/rAQy/0iFvdczGFytwNklL576Qzz
KZbvnRIivraHTLyTRnpVkcCUCvkV4FauCqf0gLHW6PnIDDk8hYRi2sMkfDYlItUmB5mVuZSToo0t
0TiARUhNWrBVqjlahmUPqKMiJAkpZTPQelIEFiJIweCyc1xmLmRVXP26aU/piNJk0RkiW9e86Y5Z
VNw6IfVMQ36oRlXbcfErAfNstV01MUiSGHGk+Sc2jWFsPoY8utQ1aoxMY/omYTwzboUMErIv5EsF
zF02zUOzNPuoJ3KltTaFYrm6aH1bhHA9ByOD97fo+ilSo/pg8GPZVGwqNUpnVKJkaRfaVowZWMSZ
v/41Z+Om07qX1owXFltCnx4IgoN3qEmsSbVDPXREn4LiXLrpNHxPExwomFAv9U+nommZZldXS/L4
YCvF3a8MNYzj+jbUheGy0xY3Pdsqu9VCahcIOXoGd6fWO3JOV6Nxq5znEu1NnrwHyN01Xr1Yme9K
EaDu/oGzjQ+qqIkrb8Ekw7a7jJAgCUE/yhiqrArCoiKauD5E9KlL49btUYQGzUrJhMam/dUW5cJc
82q0yUnAq8xzRvSVbyrpc4rAj0+dpm2XsEW2xH7Mj2Z3kBmODTPwn3mxcHMY9XArQR1N0hQeVaQf
FnETLDPMhCxT0t5GAg9bZmmdclfCe9h8S837YO4TolN51Hi/InSlnXK0yvCbKgJP3TI+RzIwyXmj
ZWLwmy270hoRMsM15ibFTVLMb1PAZ0E+IGHI5Zr1RNUgsKPQROTXJGBKSDrVbiHlS6keRspRmuug
q/pyJzBjBVW1ZlfShlEe25kF0TdW0TKzCx8Eax91MUO/7hEyQqmJuJrYXHUhShlzRFc1SzEjB9Zf
FtlfdB0vyfxbK6TKl2T7dVP3UoBUblWAvgO9bblGBiof3XpEGwK4cKZCLaHyTbKdkItG8zNXPxdD
754gOv0gkqNHoefNsU8Clu3EBB7EXFI2wzqSzNBDngeTSEe1N6Cklre2hEiwjCnTDtJ0bOLa0WSN
BiL5rkSU2wj1PkYGBzZsuKgV2cMgpUFVzIXTFj9BWcKwpFC9C2wV6vKK2+grT1Vycj5N5VNE464v
x246M7VzTNwqsJ6admdy36flAQUcgknRoTsPH7kwP7Nv3t7jGOpQSlG8xMtbo/eCx2e77eTe2ohs
LxDPVtP4FIlCLVp1dtkd3HV1SXZFFX6PZBlRHwLFNo1yuwTtKzBe8hQT+AV/WuDpZ7+zwN8L/1Wg
woH/clszrO34L7AEQMWVLECJoZQhZBrnd0ssHbMZOK5D6rrc6QxvmN7y+c/E+0AMzrxFCqwULlEo
GSZ0ncmlg8GlKTbq3wF1HtUV0p979yrvJi39gZC0ZVf/E/8BKgUQSq/JYcVc4Vq8JZ8LPza+QRlN
8o/Cg9t68vIOI2CjkbaZjMis34dqR3isGb1JYoHp/5qkmQPGmt9FxLTpmCbZXeQBjmiY+ezcar7W
/bExfIH5svJvtnQfVl9rC4vI6pQpNnP/fuzGrRUdmzn/4odtV/qxIROs5skeyJEaa7tpXuQhyGnu
LfQuKl+kjBDktwJWIWY7IZiWFIoMNZijSQSC6WHuyQQ0P2KBiLNON0jZY+Os3DvUgvO10L41Bf6b
WykLSRhhzZhHa0Efs+5i49Ru5oZrtIViPv+JZHLUpobjXs+gIz6ygMrajyRys3i2JtQgknys6xoB
PE3PTlalYRPqdbOPBdQitbLXOvqfX0l/LCiOJ/mfEHM8z0Va3Kyw8gWm9w8OGfPaZp0zATEVVFhh
gEA2hsafZMnRt+McB7LKyzd0JFwKQyQynQzf8qZ8wBsleGPkbio62l5JR09U8loLazR5yQ+6oL1w
pFc2jnhikEsFZQ6JBKIy0hWS5nC8L2rzxXWRuxI71pqRMo4Kp8iH26jIwNu0+J8l2nXqZYDJiFYO
iKIrNwGt+83c5/cmXLNEbNbbNt8E1jUKTi4O3Lx66sjLjnAMnThh00slD5R9Th/dOO3ovNiKHhga
DTWYjE2NWSlxmAkgvEzULUvwCq4HuD/JE6WbunZM2gHVjWo4HHMFztTQwde74KrEXIUx1djA44Vp
2TmW8QDi0XI+QrmkfQtsglia6SDNLO33M3zvgTOIKssdoq1BtoOgqOjwyDTKVCpAJQ9gEeFy3Brx
gGhf5AXXimZvLdZ8Xma2lbkaeHnFG41EOac8I1H7scQMKjJMKAZcXY7T0K5aAhYpWlTGhiyYl2ZG
pDdahIqBtMui/AuxI5LbNdIyHSpCmEZ1W8wqRqWuQBCmblWpTB6hGd5SE769kbM7q2YagKHpmqsZ
9DnSZyQe1Tmx0h0QUEn8j03T8pLj+5APxWomI/dXc/LMQQljauDYD3F9tMS/MWGfJbuoNW0IWRyv
touFPphuA2L0hWUQzNvFG/GYGnuVJWn+zIKHWP1IrzmRbSF+jGtOI+lGWohkjxOvLwfxQi5lk/Pv
TfJIXPbk9GhWcRCMFsdLkKcHiSXyrHXjx5yHzzDGvzkj6GWuHKo1gBjholq17HSZUDpVJvhI8Fkx
xg8xlMLT0CdnGH/QrWN2TBwyGVKotGvYEMtIJKKOiU7KKBjQg7Et+hpBfGHdEI7L+yJlVjEntCdR
zywErPkVxCpb7wb9NuXzS9GYEhjYmVVZoSDQOtK+SBr5omEVH2F5lKQvafhOSduNCDvnNk7OGqoa
BWkj/+ylBVGsTg0dX6UKx5xnfCbiV0Jy4BdCa5TRuXpNgzsxeZr6J0pwG7jFhWI3jBwdc8M7GlWZ
d2k4zZAnOTKuiFkaJuAFuF/aPkfN6cFKlRi/atHEC1XmV20ZBlk+U3msy7h+hmv+oTWLb6EaE9nX
C/vQIF42o+UJagUuCisDyxAx2khkKdK9a0+1XsCpZ6Uj9AWO9jR+Tj+wFvjzKTLVS8xnq8hC4Zu5
QsZymAdEWFeeHOXHBez6tjMQ7sRZeGgIhp1mDmG4ktxXMPwqPfIthWEDXUh5DMJso3fo+1butaW3
tpXNEqg0cXFOqSHGxyTGn1Yvwh+l0sTfBGM+aWQqA3p1GOS7Xo+//HnyM/9CMjg/xYPUfoJSNdN9
ZbnwLGY+H/Mda5DNu4a3kwHJZZivJB4Y2VdJb4V00hayu9adyKqzB9QujRsE14l2ycgvbXsWgH5p
5almgpCgklbUhhg/HmAZ3PryiHmgQRLaAsuE0bJ2lVYfxImhDoiOrOFmOlUoy1B6ntAyLSnhB+EL
M+0sUR778/xOntxCLE5ykuM9T6SoHBTQwzOeOgjYmXoagsPw3xPVboE19DQxEga+4iwM7cWqRjYl
rGPziTqsJNGuB9uVaKP0LvbMG1spelltyTiTaamhXdISdWutszE0uJvi6ncMxB3LtBKgQmrSKisk
huKci21LT/x8jVbk494lYvkLI/lNCb6jmlt+jItNp477LoB2IrFrRhz1OVWtExYNf5TBIvw3bJ8Z
BBKypOr5LRxijtGl+7bYzjMpCVewL89/W+q7pq66LTG3+K+bCJPGtDCSyksUN+omi+q/Mq8V0WbI
cw3E5abb0yr+wCLthStJS+q2MprfXvDjB1cWCBPCM99m0QVdCvC3/J5fxqlCsEzK55/hlb30W+h3
zx7EADgot8ZH/lCO450oD8SlBHQT7LD4gN2m97gv0aiUOaGLM+mEpabvayTIgdofpC4DgxqvY91Z
OpZ5Cfko/gmmpvRyDISYUSG5cMREu05sZA65sblHcf2oEonDLM4bGFAlA4G4otOBWy9Fw9+EhHfO
x8DIfYvw0jKdHJgzhBpucF+HROok1mrxhXDVo64zvqcOyPre1N4Mw7eSbDvo8cZgOZ44Fp1eEPzT
E8Qkmt3A88q6cRNPa4aoxtBTsDuJ7KjiC9r1HYTICT1yZmd9D3OQGRwpjZj9J97JvSGPe0P8EVkl
iWxNSDeIdZSnlflXIOl+UBSg6u0rHRtC84Jqh7msdaeI0FMr7k0oGCuLhjF5OnkwmMf93NMfmhkB
2ynyHVUmNQEUsMloNI1+AwbX6b6HBZT+qfWrzKBN2UnylzWxVNJFT0ssZ+jzaZcyzwhMuPDDGQL9
LmsYLfEJi1zFTbQv5u8xviI+gffB7TMflRL/MAoEvh/W/eGJVhe3a2c3Q8tTkdoJyTrouHyNae+Q
ERkOX9xvI4LcVFtcKRwJQQLjLatBqVzi+FvBMqMr10a+9MPNnidSC0kyHI2vWX6r0lfbX7rmKaWv
jP+/799181fpWltByZ0NHxIpqTrJJqHsMhatxvNkucqzLh+9/FQZmxaM6jcZwu7xJx9OZrGpkB/U
BBo7BrhE5SrnX5FwMKDsK/w1rKIGOlQNNjPZKOJwy4z3BpNAVi6u2c5cku9tdcQZoi8vim0hgc7m
Dzhcg57uErE82Y1UZfiIWAZEZAu5LWoEQV6TK09RxMwD+Q5ydVSG/Fq3FK5hGhuSBSqSQvLqK9Te
dL5N+a2I3ytQjNGfUHxN6qWMz6H6nFk6oh8c0tsiP5buzDJH7Hdi7UvLyZi3DckODBIYiWf7CNo8
5TMb5x5xsF8V4MSC+xjCkD9MTzn5iBcPh87Qw9JCmGz9RokdrTndxCwInwKPd9BiHW/v6UyQlXLp
Kp/vJKF4U3EUCHwUFR9CiAK3lLR209cU65MtrrjLC9BbQleI7r3F2VVDm75WXAmWxPzeBx+IzSFI
HyYIKsiwx1MYKrQm3wtvkZTKPvC+pVnteJIO3Lnj9xO1/jbH1itnVKinntTVXIjkZiVwFCbuueiJ
dEai0trK0VmQHwNPRosIi8FrD0JhduSRTOWctzAggJWjMbCmv2UQid5SVcZWnlJfoTxHLIYDrRPR
Mv6GbYD8BLszxRiXwLY1PnR2afOV1nc3ViT7deqGUwE7B9ldVPgB0a38BwG9whA3W2n526/bd00A
PYiEOB78SKYGjwy7VX7C/NSXtTfIO3Oo0TSWPD3Ywl1w+I7Y30T8/RAlNEZBs0P6QpW0FHm/JiLl
qCf25G/EgZ+8N/PfQduX8rOfX/G87zHLC6yjuN9Fwy/F0VZYTY+jN5LAVs7oZj4L9TTpJ2HD2llp
DpaOtnFTgalI3iKsNvhDesfUX5HyT7aO6vICYG3n/TsjwzaHR7Qr6TqmYyLegvhviCGh25K3nI4Q
7rm0N9I7zQrabHHahKaBSqkbqVf0yHAi0cguDL7OQl6YpzLJ7ELKMK5bwjNsw/WeX3/dIuehLKR+
h/pZPY3xIYyz4fzf36qewKT//ikYkQJaQf8ztAs+vGSN4BlRMPbJRxCnGB7VZdg2Q99uq2Uq7NmU
onNoSdTjxurkiBQdIGx/07V5/JFK/bask6q2EA6s2Cg2s1Sl3mkjzIUajMnONJ1kdOpLiL+y5nPY
SAd1C+er2kx3ykZkI6LgCh9law9/qUUh1zFDTMUNnJFHm7o0n+Mnsld3qbZC7E/Vcwk2ospjsTcm
CYsDWvvdZN6a7JX2pzVDtN+NwT8TxZmGAsYOruMfk2tWHdyyFJ2WoMJGzhu/68nvDBY13hSZcJzQ
DX8YBDXZiSAXqCXkZxez7VPKIDnSq0aXQCsegNHER6GdpsHtjDuYWLVpj4kwvnVs7s0h2w3VPp7f
qw7toHyREtZ/nxU6SkUiuEy/hCejgpq43IPRtIPgt5lhNnW/fU+uSXsQtWfPRShV/PDnvzHCaiFf
6QGvwXxPjYyd1MPofxt8m1kZ7RTpoRh47bsfnnSBQrDjrumBoG6znMRnrFj1Ogv4zUmHmJSvmjyR
jCV5HqNuyu9sbku2JszHI+2eMBuk98fYCMtmYGiQ/jGLf0DEJ/OzSnWEp/0DvRa0krNC8gJzAwyA
tZV/K2Wi7QVlzKHjKYKfpLi9o1o2ebHZOM3LIm0WknpIBQury39/q6y6ujSKjl6yZdXUWOEBPutw
YUlYbaxybMlI69xaxWShJPgcqmQ8NTAC1jyrSEni83//FKT1Rc9Jnl6EorsNWFvRhy31VxSw/oks
2sz/Ieq8eixV0iz6i5AIPK/H+/Sm8gWlxQcQmAB+fS+uRhqpp9Sjrls36xyI+Mzea1tp/1gTbr0V
wJ/898WUSZo7XAMQUjsdCnvbGEyG8/8S7uxzJgrvQTjl+OJEb41wgtcQ9iCdKMycURDWJGKTeQhT
zdn1951w+8tMKDKmyQjcRZ0xOBit+4F14shylHE194QhMIh7zKXp4HAgJBxSJXM5ZpR9tDWm1qbM
KLfGIG0cO95n1RKkVjmivFYRiR+JSTmVMPVHi2ubWOyOjhMxLXLM5KkxemOLdoVdQhR6x6FB2OxF
gXfGBP2tgxwR7v//koMpS68j4kIdlhQvFZEhpbFUcHJKaIXxPZWPrjN693ESwocUGAgl2Sw2ut2x
iMTZHf2JqiRPIavgpec4a1M3JD2KjEID6VpUgRvAilVeSLkpL+WSKC37HbE3UC8d9VAzDqLJJFcg
rr3+QQYcCXYh3vAfQrzqOXzoWe3MVY+k9EEi1S3TjVmW0H9HShXm6mllZRemqd8iR+RMaEu/d6Uc
ME8Jb5OpBZ+0FrTJG79ys4eeInqQatElb0KMNTdJTq6RfU5jVWMa2o95G6+dPvscUNHrlgfZt57c
eDxHBmk2TTkV17Aw7sySR89xCHKJB0w08SCM/WjJYJWaU7iqAzZMkQcyqRuyszel9srBahAbUDDI
rOWL4UMjD7veR+ieotw075MwQClM3uFPau3CiWlu61rNLRemvRGZm96KeBlRCDu5mJVPHZGJt8xE
5lDBaHVVfsprFT0tZR4LFzSeZvkZNmEIP5RTxJR6iQ7gyKj9yGTjEnWnoWA/H6exi+Idt5Zt07lL
rOShHpoZmbq1zUyL1m8JsSm9sdz5nonQ2UeWkAGQEc24imK4W66H4LZCZ3UvR+E/tAUPajKPDcVX
wTPRrxtHvkZofu9UTpZdLJYgVZPfVPcRLBfm33bnpO9FFj3Vos/hZZMkkYdyw5n74fvUsvDUxpVn
EPgUMjEIWdqdMXPx2c6RBItCkSSqt/o4Z17BtFBVp1DyFmj4AP2crh3SNguDF02RPSYFv8cWJIw1
xKlDIAm2DsGfOw+rDGk+dBEV53fjmgRxyOAuFv+IUTy3KgzPPXAMUGc9Gx5+ZiYJ//eLb0hvk7OI
g3dj1PdVzfQ5quZxXYNTXs+UHLFaBInmVJ4ijT3SGGW3ZtbiO949gPmtp750fbPaC9Y67b4H6qtt
vU0FvS27b6C0OSjqIUG0gmSHYRcGlJv871Hn8kDfFANJV+IxSOFuPgRinv8zmpOFBXoRm/B7MPUr
6Y/yYyyjYLdsF5k2kZ5CfE1eDBCPDi0WPkWcQTSY3rVHr+ss7+lssWNLsPRKL8LLy+e2GhJw4rXx
rk2wnv0U/nYZc4EiMtFQ/bOV5izq2xMBaDG1Vky4jGHhZRbls0VIdzenzaPmhqXFbs9dNfTIfJPH
uE8nmNXO1zTm7g31XIIvs0PhVWXGW27cJ0m7iE0jDGA+k3Jbm1fI7mvUECEN+VicbL8kKDFmkmR1
bzgK8g1o+JIAtc5g8RkzuJ3n9DWM80d0UnzjYbN1VMKJhVqzkWQ6mBGU7bGg947QLhUJTbHHmrsb
7N8k3bpEw64GM2U+ThB2PK9ztlNdSvkZJMxZraF1mEM6BwJhFJLMLk5fvYUQ3ZK11NX1k9v63qXy
mUWqNFOvBaxLbYNZ9IBoscQuNkaT/+SKNVwwjBgoqYetPs93RUnKNHONZu1F2jkQ4BHeHEhdHB8H
zzKivymbQOMPLOxzFmk21HLkczuUl9UtI09tr0ZajsjjgIqsAVl9F6AK4cHfmlYPWSOb5K334/jU
cnWGBoYMWTsrMhAYxgfjrZpxLtnGLFb/3ajYaT8zFaB/sqpi3SYZ8lkC2+lNOS+wI0WWr+6auL+Y
9TSfJu8BCDCujqDGfuDPD16TxFhx2OaETtBRvxmIwEObE867RVZLHMF97zYTxwLzjDR7j6d/OBbw
yczBSufJrZ+J1SX8r0IqzQUu71wCn9GdFx9pFT/4jXp2J5bZcyU2A8hsvwdWYwffcTc/6ca8d7Cc
B754kTUD/aKgx0f28IaV4EThBno3tQj0DhRz5+hpWOYSHb0mbFl0fGyRYEwzbKdmrToDuBAh1Mhg
iD+DObMtZxRnIy75GqG/Mag7IwEZ4BhRdKrImEHU2Qc+dW9SHEu/uBiNg5R7JQdqA789OJ2EnI75
bSWXcqEYxa9tFK932p7atZW4oFeyHXK+c5CEsMeQ6C5Txks2o/9vZcU379yT0X6bQt4BJ8zelAM7
XsvHJkixJ7M2VOTCOBCPJ45oZXJwZIRzybTOj+3AXTRz7b4X5FdC1gpmJIy4wWY8+vvVKL2HKEYr
idwcF7wB5050E3Hms7oG4x4lVf/QE7I+6GFDqtCMhsXNGDHzBxQJroI8GDdRxgXPvV4j30UKFW6a
DHtyNACtCVjOenwPJeJ2mrfx1rojzPS5/ULgHDNmGlFRpyTAogB5qozHyvuawBS7zIWyYzyjLS8m
8u9Q9ds0voRh+tx7g3NH363ZErAqLwleKmkmiXAvnsrhJa6/Q4VuhJF51miyEhinLA9v1zC6e3MQ
DkW7obyqAHsmvbNgTiG8a/6r4NzBO0En5a9GLAi8b+MemShzgxofeo1FdgVOmB9D8nUluxgBDu/D
nzTWHbqZ9wSMNMb/l8BqQBrVO94+84c0e4spDRFGTZptulE3XJ/Ya5ZKzXewTPjzBos5Ws5+SaLs
9XnySvfSNy9invo/KpzXEUuqWft8CzbZn2IM/6V5idS69pZDRPuHzMTv17UMQtgGWAPGVCEd/Not
fyz/SPKepcxdG7P7jHPWYXZPjS/x5G1tW8DWnDLzuUbG3fFthtZnPbTHCkqLER40K6pldpQxS8i7
b/SFcAX9lxrUBfXQQS85TLbGAEfZQRtKEh8wOVmfmC+78jvieZV98DwCCx38Zj8mDdUpArnMomTg
5+TLQ0WaDYyDTOYs9MdbVKEstR13lU4zYU5VCf5NUr0JVNe7NGZuF+i15DyZm2FLImzAmrPpeJ4I
Pq3F3N5rlZuQGelNwhjS9ELFxhCfyOOcNy+easqTSSIqjfX0S40YYYrk8e3BMaZZVb50/EUtnvWi
Coc7v66erGKxT8zdaUIoxmjVIwiSRZ6J2zQ1it862LjJWxl8etlXrz784dv3mUl+OuHjUsr6DxS2
iXWp8qfZ3bIhw7MReJfchhB1nWxy8k7S3I/Rppz3fvDgFmvBzG9xze3d5p9dOT9F7LQb32sgLg4p
nxPFqRWbPJ8M+P3mfXLvPUjncNWMjdPduf4/wpOTfFgtOxeeLc0Wur4tVasTr0Xwz8jotDhTD713
sbGu48X1Sobl+wa3ErFYIF/RxM79hlL9y14SlLqgWqLgMFTEYTkesFEjvxCDt+u79j7wWQAMvT0/
jkTKkhrybJSIcmeNFCtIb57TvrB/D1u28U1IEnSc/oWor5u8I+iu+Ou9JX295amvOSjX8QHM3KJi
ySMg5KmzH/yBSzgV5iadt6w4/6o++vTcRbwFuTN02CHTcV0KA9FQ1Q6sPBnM9yamulF/pWbsgblh
FzzPMv2wgxSGd6LPw7iM9oNcXWVUcELUOYMcs6goFf0Bv2v0T3Vd+1ISTQaR1nyg03g1XRXCjzTa
BfgID9ZpSVAIwtMUR83zPHsCoZ7ALwjcc0iaNRwR5x8XdkOO+0MQlgL5GGgYh5GCncrPpBflB1MZ
lHQjxZ4jnGPosWNqUuxblNPXuPsKU7xg48wgU/hoW8ghCX8sCCQhoQ5uBOc5+ZdN3yZGChKz210d
rGb0zFzrCVPYYRuKtZb7SEICpsYj2ea16r5K6DxUkjgeACk71qkwXnKEAmjE9LzvyUCFI5AIb53G
z9l0oXFFwBw33wNWIb0V048oXuLha8J5Xqo/Dm94MVct/5xTys5Mx+8m17rFItUw/wxxT4KgcK8x
4W4C9yKr+SAm1u6BvMdQ/MrxXQe3srsTwL6nm4o+ArZ1LUxofBfR8BEWn2dz+F5wMsL4NuVri/8w
vfigp5gyMqIVbNl3dnp0k+eR3BGTTF060lfferP0t87/EgeNFxUpFHKjefesek0iZQUK1gP/dkiJ
O0Vzg/p2RWXQJa+N/yRbkMMHrGds0TPvSwdbBo4YBHC3B+1vNH1pHK+syi3UnMnbYoaVw7XOzoFY
Y5G1kBH3tGx/oc2ariZKdA+McEkbSu/A/zrj1v62TUamLwZZLHxN6K3TI/aNEXd5BrT4MGWgFf8V
CzMAy9hZBi8JjW2SX5rszbdbZm9r9Y9Hmgk8iFAeBCxsl0weRmAf12aN6OI7v1IcFPXWMo5Jsmvb
E7eYjfEV1SJ64upoZ8iMzg3ErRQfXbrQQAm5cdceuzKLBcDatK9MEcIYssK5ljgeV0F7J4lMF6dx
YEF9TjqUK/dgyzrIkjYol38ieAFpaAdXeJKz/etUP0X4iATAKcB+sS6uHvDt2M76WqQbM7x5UCf7
E0HEprENxI4SBxYA0H85P9n+gS9DeF+ZfYnlhuzWBubTUgDeoRTFPN9BJkFkT/oIe5Mh+oWFEkdn
AoTDAY3rA7/DkftWQg462AMxLDsttu7IWFivLByJnXMPWtNPbr5FbPZx9g4h3W52SJiu478yUMJe
fcq1abxL+j2CTj0dm+whYRUM6DV9NeSFJgrOCepr5LfHIvuYxi17TAFFKKGsOaNXSbOzC5qRTOL6
QbUEexASxQe3xVbOaljZ38516l/A/pRiD7XFDM8QWyMi6vuj4V5KDamHVI1jHcK9f/CtBPo72YPX
GFd6+28Yzqy8dfmX1NcuvXU9Gh5MTJjT8F99yegFsGVhAIq5Mgzo8xNCJl89scd3HmESoUwBxB/z
AGSnwqP6Oictmu69TZgQoxEAnmLLbFrP11G9l8YWJZSyNwZq9+qTkwu/ZF9DyIQqevP9YyNvrKkm
KBfgymxQqk9sVVR+LWG9ORBOXkz7kf9MlIFhs58oDaH0OdeAXr5KP2b1NcmdiNZOts0mlEAbEhm8
YFwNJW82FptmYhd3MAkulnzgtWYbgvah3vJQK58RHzjqlbvVPh/1SuuDUIiZX+DAgbTOxw9fHn+n
gS0llaM+DJJ/GNXyis+G9QaKM4UtEgBTdiwskqk33MH8oaV3JiCgo973KobEXNzjhT/IZ3Rb32gP
0bzxOnwhS2QpvDVx5ETsumkeH2rxyl2MZo86wcreugVGDNbN580+sJFaBjrwq4mnRt1qwFNovgkX
YJE2vk/ywAPZGewY2eFs+mCLui+ayWLb63q/RCIB7eNG/tO/HW4q68D0peatilY8JK69BsWeQj1M
FzTXKFjFYvc4FMxHyjWRpCgGu3hrhwiveVpxHG+A9wqEmeV4VeYNWPo0PcwCTtpxmH+1fQqYMGRc
6bG9d+0fFLfcCvwJbfE7NFfZPHtktW4ZUxiwGdJL729QRun6cZQHBNOIPQ0Lxu8bLlHXXbdAQPyj
nq5ee8OBDwhPYgl5Hp0tX68c+IHwiV6xIGaI2cs7MSBGfF98SfWT5ZzT6txCqhMLyGOF7mEYb+74
5FYHJuzNfLD8c2Ax5sk+vI5I2mPdvtULK+YLbsI8vWn94oGsmc6g6Wa3Xbn2BSbYgslp+7Xd0r8l
j3bxkbk/nMC58xFAzQOJkB8t+QPDIpivFjOecURyx26CXHZgz2R0W+NR0WKa1z7UG9OL1qq4OA89
T8vAOCkPwJfTRZalxZ1LpqOaWQRc3e5Byuuyjsz1c8TIJeYT7GGXe0G9cwgi29VxkO3LgBUpUswM
oqNx14cIp5welm1q4P2OiZL+QAfuMA6JAp7nocEO3+nyNYTlhK8m2iei658paHqOIyBLyNdgELWv
cVC/yZHiWKGb2RG3B7+z8HDtB2a+dgZ90w6hbxGCkSOGXGeT/FiEdPO14Bpqpfk52kj/oyT/nXX7
WaEanJ3u0C2dtxl3+IhbqPNQRy7hVDYHRM7vKqzrR5nn/C0bw9nI/g8xNlRX6PCbgAHJ2YZTUuYq
fUQ/wFgAKcaBEu8Mr3wGCTonj9LAyjwGEfU8q1dCr5PHQdk+esARN6w8Ecw6P/z3i5d2d2Ofp2vG
Fd6S5zfcHNoLS9PRgaAg/aHPrw3zpxWjz+zZxlfnKVK1yiIJ+KNYURSwKe5HVpGslLETeE1qH3LJ
iNbt77G7QF7A50F8hQuoAJgUmqtwO5SOfyYE6gWpkPPqVt5EXrLILlMcG6tK5ZJwMhrANveHp6SG
7tANz41f+D9Z7oH/oguegryCm+6sXNV4V+kxnoyLOAHH5NS72ESX1rr6rh6C7jjjobMqdWXhQWxv
pLkIJZTk0bEw4w95Na/sNmLM5S3h4UqzeZ8rSoTYu5o+bGoGbYu7ZH5O96a0u22eeQDjJkAh8L0u
pWGiHmZnU4iO/tmxnWvL27FFOyLBm5U/UeCyMG0AuUYt45m58rbdwt627e4BpNyjCDlDLS1/p3Gv
saZZ9j3ePDSLVWGjYgfCOlkSMJGBFkxYLbLXCD+1T7Ihm/A52Pz3r9TLv3cu2GF0NAKMRWmeJuii
qiWFQ/RZQR6LxtZd2hsaP3a73n0t5Eei6vrQWdHidWrvEdrFPGwhnK7UnS+G1mujzdi0+ub0r218
fPYjOC1z5JtHZ2I89zPhFF70UnSJ9+A7Qu/LIf2KWOysDRv3Pr0uYH4VsG+5IlLjMEh4o+Fhmflz
OdHM6h125b/JHPaojt4myCfNFOwV08Q8Ju3VCWx2we53rF68wvrnMade9QExwE5stTtERlRbIa7b
VrHlbDy0ygx887naWtSBE0iJDljIBnRlvp3JfdTl7+ROcou5w7ddb8cXWW36cv6SbKGsDnNJX/s5
6bnpNlUBa6pSxBvlYnAChXudxH4gQ7KRULyIn63WKOQvYVFrPh/ocyDb7nXXxvwFl516L6+JR01R
0oNt8+VQiO6mMvTWzOYQ3VXfsZH/zYoVWKqNEz9dp0CeqhbkemfSxA1msYFefulKakhJKvOq6Yv7
zhC3sWYllpfmJ+h2OApMXcLeetLUwHPDQWs2dPQ+oYQOXUMxquhOjuaLAJ88xyI/ZFAfCBPnmmnK
r2yqsQ0XLOgdZKyhYdITpWi/897+TJsUjIfB1LeE/eMhtWVMGK0G3WSrhjyJFPYQMUlJY/7k0Oc7
q4OZcIJzyNdeJmi0jO6oQpjVjtypqLivYhDk7DAxDA+vBfED9P8l4rfpuw66DqUv8nXmHzba/GNQ
ENrMj3UXB39+Y+QbI6jJ0B5VfbLRluhu6vbGVEFXZOMq9eyDmfwZDMokCp2XWdesJ6d+k0sDpw1h
hmt8JqrMx7WcH5W5GgTkFR20xxysoOVjQapc6pI8T+td02jyuGX+GbilPKQ1cqum3I8NcPzYbE8G
mqkgyflhhhktu6I3sOrpWlKbKaVwbdQ9k2t4Db4BAqFDaLWKSS9jt4Y0DR6owor5AO8iO+msf3PB
5A7YTkL+1HqyP9AKH/LIBwb90Q9M3EaCxNGvRxvho+Ov4nmhgcfPo198tdpwt21nzXwZUH2dCWpk
jbtlWqSOim0Zt990qCLvpUcEzbyZTnV+dJI5xA5jA5CPLrNd82QHNUNgSP/t+IFhlxaJNf2eUTVZ
KSFBQ+A2urrZ8ZMqNYI6DiaIogkRnwHoaFi/PtN+EvXwj9BmZq7xSBSkYqgVBuvOy6Dcx3O0DfWP
Y4EKiCgG0C9citGsnzrfnXa2Kma2beatsByibYTaN4WxJhd6Opg2RROZsQwTC2QayWK/bxQBIUHc
3LlwCoNW2XtRucUmLjP7yHVLUFQYaUrB6UEZtXrOE8S+umVsxOG8NorFjyhy4G1mwZfsBWCJAlyI
y29lwIB3ojE+dMOCushGfte0+FWY2DCvO04q1k9BOvhPNhCyBNnWf+pul6v/ZoUghuu4mN9t+NdD
EHzMVlAc05oZk4i1uZLxcgCkw7KYjcpPP0CggSjQd/tXmVvV+5BOlOfyQ0eJ+MJe9ViB0oDrU6Vx
hvSKVw8ZaTLWzqUccKsb8LLUwOHQhNiAxkX8RoRBH0mGc/zmEbyMQG0yukN5K6PXxRBUyd7ammxL
zmVP2+ojbbJlcVcV6XqufH1LZ0z0jAa5KBnY51n7MrgTaKhOt9dmKNtrbSQzDx/jXz1N6qoNmwWO
ypOVnUkW8VFD08IvcKIqYi0/7Y4MI5LoiS1zmRHF3Qm5wxEGjMstzC9u5T8OeBfgXDDqxP8F5ZH7
TUYaLqJIiWAIEky+op6Qvhj1ruzS+ZrVxsyLx1VaLf/vXJfPdEN1NaeHoMibcaN1/Q54QB7iIuww
KmGej3sHmc9QHNvWxgw2LBHj5aTJPcPShPy+Ok2y+qQ8yFcd1tpdVXrDU2rHOPo6VCZQyk7OPEUr
R9vuyvNIDIZWooW4hYkSt9kbH/wkHg7LTqPhgL21Aft6FGEI6YtpRLPYDfhwSpj4hLuFK4vb5Djk
dfxcpimfm5/fGY1872ffuC/M9FoGkwaxwSoiEqq+idT7QTf7O5SqOVWYqOexO3UCN4RbUcnVYJWw
2UUJCZzdaqaAuwyq/BShQ2Zfy16+A81DuRBz5XXjOlUIXGooRVh/ZRJh3UIsOP8rgB01AtLF4rWc
kYqMiIUndbCv8zxch461t+jSs9nylvNPwRhvID57FjvENpdnJ9CfNnYtRiHcveogouBBwOiySbfp
RI21HEorGgSnOqOG2udwRswkuMocYRIe6QzIYxfZB6uymOnKm4XLS5IF4ZSoQwa0FzHucl7t2wAV
GCECaaWora3020LsUlnetm/h5SOmLIhgKutnv/wdxn41+NVDSGdIjMKtwU43NQYYjeFM2U0pyqir
rt4p3w7B4J+FMb+VYNW1fes6h0R5MicxUPngfghm3LGw3hgQqa3h6HnJWST50RCfo66vds1TPOkn
SFWPdusz/UXt3XAQFjL+a5YoJ/HrqvamjOFmBWyITNzYETeQT6vQFd5jxJSL1d81n+Or4Zwzb3zN
Let30O5vaxvXij7a6Vem7d17UEcQTdwSYV0ny7p3aMBk+RvygtgsR4wYEHWDYH4iQ6ALv/oyfEHV
vwsEqxYb50LxHFrhF3q1TWfDA/KmvRYIRJeONoxZCsSMX8rzVBM+IYHvcWGWI7NVdjI9vDwfLY39
msfgW4WHOQi7I7yOijCETBjPsXLupL5EY7sxc30cpu4xYLaekCgcm9NTV4OCQ1leInaL1any47MQ
HlGwkpnpvCkJIDIjpMpFZrCxZjhmJn9B1JIRSEPo0Mxlyl0oAOJjNoOnoWXVQSSG2/fcXurI8n0p
ZjI8kVX4omskS9UEVbPOjF8TH36Zxd8zj2HROD9emV0bkFCjD8qWvHFSyIeI7NGqvcQ1SSQGyqM4
38wPCpNSNWfveggJAopmaNbBoVrunG7RPDjGPuM0mRT1J0M/H9ROiDs/DafHvrjWyQ92+RVxK2t0
MyQDKPx6TAdT+0kXhA4i70SdypGMQ2TYZWmyyhdvRcBOh7lcr7mbXMadTRysTK+8TVNEGJwSX6W/
EJXBLTFz3UQTKLshL5bdV/foON9sdZ+icGny7aOuGMBHDIZpisoILQGYzDY2X1TLE47AtWwlxgHG
H8W/0nGBoc74rpq2RZxoWXBreLOhHbljvlNxcW+7BeBJf1+F0VssJIlYCSCH4ttoeYVLSYVQU+rV
zJIEUqHao6Yxth0Yf3tkAqS+syBgJNteNXNzD6yYQqlqpD9t31wxlp0nSDzyn1jsRyWPQ400VRHI
aKRsGrGgg9Japa2zUgxyimhDfYnjzjs4vmSv3q1qF6IbjZd/M333pZDeejYm5N0elnKim8mZEBl2
GuhH82agquUwjSqI+sH4lmFfg6e3sif/oHGIqdhnu0xJ1lmXlFhIs5CbPPFeJ+IS4KmybXeZeSTH
wKbnso5Of8DJt3b8ZudRsnOZBCe3r5/R+/rdawUR1ML1x7ZsJSFFWC2JDKTjdbuRCAoD52fTQ1Qi
OqH4i5zysyLCwjEG3vfZu19aA8g1eAlDv+Lfp+49jqki02fiA95KxFx0FQ8ogxhiQPYYFcY6FpfD
PJ+XXsqNvkLPOwkaASAB+MGy9prWBDjxQutrNFwoLjdt/Vs6JwB1yfjjguVo+BBV0W0NYj2D5OxW
kJYzboMI6vjoYt5HD22cvcz565PWJKZzAUQ6r0Nt3zzDeChKQPA1Fdsun7ytJrek7/AxhWP+piko
KwciX4U3KwxQaWdYnQxQSkFZHiI4lja+tkXtM5Lqokzu5aJ7SRmR0Qo4DKjNeXxDFPUwMK9VPAXz
V4mdVbbxIUSUabhXeoff1E+S1UxlP/XY+IadO0WHaSg2mr+XYaVsoklYZSpgde6BIQNxy7yGOZNm
OESs3w9NFK55NNkusGYPBWEr+IozqgyGo8KHDs/1lsBnQwYugurYGtm5rJprKqx7GbKYoYHwZqb6
tIOgqhc3ZjYaexM788YP73MWzVgm3Q+X8Eiygf/VbE09kP5Wgn2nZEtuUFaO+UNXntMweRFi+BOl
cVLmfKtb1B7mYxMnORMoE43THxfzqSI2IIpQ0U8VKeyEMjLoSjQwnQy2ZLbo+TUzTsRsy+3bsySe
+dunVPau9dxvSsfjNfuLmOdF/KyVHM+5Ea1U8ycKe1uww08aZ1NjRMmXc5ZYpYg57YCKMszfkBD+
i7zwhAUGk7kTg2XDNAUUjj2tAYNe7G3szBpvG4ngK6sC7gJW2exY54z/GosqiQLKyKJVZ6QsYkjU
kGiEHGQQwwpNQ8iLgbp5tj6YIDIbxs6F3sc2gMUepTt+0bighb5ZfNfRvq6wqZFt07kYCHhkFVgU
N3s03XlDm8u7p/fCGp5aOgef8UF0Z01vdfvtg9McOjIFcEpZqHNYPDkEtk448ZLORx8kD3VIIIY0
t2W5s9BPhyLbGy4THJxDnT1cO/ZY8XKCel8OkW7lBNXTex/5cRDQUyaivIYA1H01dIMiHjncnwG4
rTTY8RYrWqcAFCM1sFHaN0A1lUJ6Nw0vBCuPrBESno8WaQyaXw6JlV9nwB8D4PYWG9WZ4mEGhRzA
oGh3UW9vlv8TWXlM0+Ao2u4l6OXWEt3WE0zAAfK5NjQLB0pS498B6efSrbeECG7q6lsVfyOOhgJw
XkrnN5RbPAcv9K9wssmzI+sZx9N2YoSZNrDUyCvpnStN0oWo7AMLf9YB7M3KZF+onxz+rFMCoO5+
WuOfx7cWGvk6ahycA+TlSWujg1Ndgx9NJxCvaM9yaBQJZnyG5in3Q8YbZmnjHuXpFg4h9g21gjQH
CwALY4BBlVrfE3Jrk0pl82FhvdecnDMevcj9Bke4mZo3PFzrpVOs+JkNdBNZY76HVvMxzMkVDg8f
MC0OdXis8Y0rcYAST3i6Xf9MabAqyLPzje2oD50jkKrwX4PXTAMcZ0HJXy/1/1BHrg1iMuZlahAP
IYtVrpkxflD19Dwn5D3Z+b4qhh278q2tsVrwCukCUovtbq384mEK8mb7PHtIjWiJ7Sa6kI6nYGFJ
5kC7NJludl8DBFTjbjTNTY/51IdYImTxiMz4mpbV3eJyGTzGKBniAJNxmlhXlgFL7U9CvRgD76AS
b5XyESSmjVWjW6dTu5kSdeLhXcX6rVMpAjH0WH2wAY60o6DFuCH3KSGsCXjnVLB6pzs3oGFouBxk
OhdNTD6IBaxAItmwHy1uxJyhZjj8dLRarJ7Cjo/WBxVXMzcBY/5f9cG0iRKWQ5lwB7IR0oI/AEeL
hrDMe9ENj6H+9EEg5+mLMjQxstGb36KYtNMHM0B9jx4VyD7vwvhrO+axd2kAGzDudn7RZIIoGWM9
+UkGm96j5ByE4u88MlhEjooaSLr3MVyCwjNx6FGtxYSTNFVEWvtJ2989Uou0Hq+kpKAzx0qosvvA
6dDQbExvVrx46CuZmdTIc6qA4BePIMxk3CY0jNXosYMmKQBZWpKhnTFG7EMtO5B5X9VPrQbU6SV8
NahVnYJuidEM8+YNHcRiHsbv0n4hsP2n1cJ8JAi9RzQcJZsJKK4PntR4MLvnKr5o+6XCITSq7FPi
vhnVuG7RwQxEUy6u5RmFnQ+V13hWJnQhhnTTQNzRyEQri9aJj2NqAHJibtPpB7kGIBsWwL6xEWmz
VcK5S6bxebKgR86nzL42Cn/5a+wziHTlkb18Op+s0CQ5tF+7HH+Lrmyo1ToqgkNoDVh4WHXVzyns
RwAfqyCEakNsIvjjM2sIVoUGBzv9gyJRp0fS19+xCfaNxzA7M1xAov9iCJCaE74RgzrX/baIXtLm
jaEWf41dDCrPDi6jE6z6Xr8lQHmLiN4yPJhMcwI+JoANd2ChUacBxWSWO92ZSwkdemSJl+1G++iu
MUeFGZxzi8AWM9/n+slLP2q/fYB8y9jZ/0zL6bOHD5BW5c4bxKaATBjX6jLqiPOV+YljAae/LxlQ
J9xmwMYN3Cfta5vu2mFXGhSmurgktU7XecQlbKQcdXGJozoMPjsdbnMj3xJxndqvhf9k9ND5QEiD
a8n1yHx/k/AiRPW16ASQCHPjj8Ah29ZfWT3khcBaIUNb6Q41CpdPw2MnxuKYez6HLVXjiLHoDvTg
FrHArZjvOtnCFdO7iHjX2mmQ++LHxLMD9AZFMH4F3e8Kr8EgVoGQ/h9J57WcOBpE4SdSlXK4VSBn
DAbfUAbbyjkhPf1+mq3amtrdmcEg/tB9+gR9IRiBm6Kv9Ak2AjFt8BKB4MzZi+GGcLVEDtWkcOJ4
zwmCTUDk5Fh+WJQYwVXxiV0tQ0YmiRvg7BvBqe0Dhjl4HBV1iltTjb2QcmRAMAtRATTWbuQQBAG1
w57JbYQLZ+7Kg7LW28CDg+nowWRNQ5hfy4BGJaSEKJqIiwIHukphdmjVXJNnDPO7N6IQR9I4pMdb
gBtarfG8EDEa1qahkG7TL6U96dZFVENbh8OjUMlpALKTD8EQkRbnk8Odyx7vwqXI4TubvPlYZ8Je
Rlc89A9k1qe02Qm0aoLx9rIRgVleztqECFTiR2WDy0i4Rc4by6wBFH0QMYC4oqTrRb4T4Y+MvKHA
6hzbdT0rmPbJs8jAhwSgBSM2ScW8j/JJmKnsuZrgMR8W0GAH2UlJUfniiI2/Z1qeaQIlfRnQCffq
7c0LFW71/se4xiMZRQGpK61ozgZKTbBdRCg7lMxNf6ysa4oZAR9NQa5UqpJnjsgsaohsBYdBvxA7
5vbFd6jg0CHBGP3MzWMNNzs4cFNaDG0HUvA2WnOJ4HJHLTBqduiETf9AePWqM7KDRzCcXRFscWSy
ITAFxEUxUlbya2385lBAR+Xt9JCQZXMR1q7MGjNeUh/OmCBNn/1N6JRfQBDl2m+SvzA86Vgvyx+i
5LbjQed3TG6KbqLki1+VukLAG2Nc8N7kODCkdBKC/IKzj2IojfZcLwFJixZjGupZRv6E5WXnsPrI
x09+eJZy+lL5gEeB6DhM333ujW7fBmCii7F8pehgmLNEGfaZocnUjFSiKQ2v0KeYYgdnn0Uk5TSp
gCHkSsID4mLVE54CdugF4nPgxqmoxcUIOb2KqUbkVNA5Ga+RgFd7rf+cTLKCpcpeVHE6fC/xd7Ex
i+kSbHG8iOLabBlg68z4SAnJpzl2+aBqKDbTWAXzZgd7fIwudHtIO6JVT/qbvjPyvYg83A6oXJcg
zWB7h57fOge0nUa4zGLMtmcDjk9w/FywCq94PwvmmqV8zfUfOZi3w7puVlbBnuEbwlq6NJ6Z/BFH
2qbLwdqTlCRYylo5c6r0rOp/ZRqcw8B7Kx/0KPOOLiuKd0l/NNWvXJcdWbwIGJvL+GR1wqnTdkpy
6MJbqPPfkKwqnyHVsRksaAqgp+Q20f+Yw6HIf8zH98Dmbk8+rGBAl2ULI7ADAchkHJM5stTk9hCQ
vZM6te8BWHTrnoO1vJsv63EVgkVIjIqyEeKzwe6acL83xlMi4xAj/ZOTr7Y5xsa2g9VpFRcxYMzN
fCdmKtkH3EwYuLWsKhgOkNKL+E9pUV8y0cN6k0Iwo2RvuFJNO18OZKLTNRT9SUy4Pzt4L1s1/oBz
SX3fMPZdauM85CQDOIUYu+ooq1IWvRsxWFb3x1L/asS9Qv4r8m4o0GYzQQ/sEWPhm5zwU2tXt26C
oV0V3Sjx3BDGCVC5HSp8wSKjrXtrXlLlOoLbStuHuDOTfaWuU+2aoQMhehYDkwF2CdyWoZ0J3LcC
ODTscojPxFlUMDXnsexOGD/qDj+eAcH23Sz7FUUIOx5h1DHORbiqWE+Vsxq/r3hRTGLG8polgLMz
UymdDGcGMH3MKQ865keYCsbIqzwl+BHSNyYOgTua+SqVmBSoNkqSWdXkkBMxQZ37iqfk86D8ianN
2mkYQgcwQBCRJYrFnwAPIZaXVqz77iAxQuG4terLu9xo1E4Nw1dWutQtawCAWlBQtdK5MC+BDEYG
AgNW4hjZIohF7KK4anXoNhpoFkeUUoZux+Kosp0fvFqR+2C8aOKxgnRZlVe1XbXype5/iuz0sI60
+niJfElYlpaSV0vMqZY92gVRDG/w+QH28JUVmuOI0lQVn2SnJ+o6SDyWvolVOgk531b2PSgQwqf1
6PkMG2uR6VzshNFdeEAO1L4k1LfyGmi0ISYx+GW4cSg7TNaNENbbm9BdzwATS86i+VTMw+iT59XR
wHyOAXvqqwDnEoDuSBLHfQk0UoarFH2U8gXfUOef8q9CjFGlblx6sbF665/WuHpk1D547RuflUgX
vM6TL0p2Gp9Hd6gIf5wM3IF5qu4jCF9MY7kjMcBl876nvGrTo+oL+9lEcs6oRgGgxGRLJGFuzfhH
tI5xu6jEZRV/jsZNLfAkZhtpFQsdO3x8emcVjR+qOS4+5U+/WUefnlkEiFALUmQy+OP3zNrVdeTp
+UcP5DecaZCRlJxRuUTwgm2hWI/FyCK55+Tv8K64SXQ4oLUtYREGIcBJky8l/2W6rikiztHQe2Ac
JTTSqvqTJicx/DbV30E6aOjDa7cNni3auE7a9v4OVWuHBI2kdSg8WGjx6suAOAOczLAh7xc6oQLC
A7sp/EMZqpgSPJZrtYI/W6cf/j2St7W/M8eXhtidTYSVhTFuM/mYFbuWyBm+ZnpgxG++sNfgALfG
a8B4vwuPcnMWoRoTsFgzKSXDgOTA+zv2ssTVVW7678rc6Dyt7EYytJxsBsXTzM3orwjaoJofVvLw
ovLWBSfGQUdakY5xMSVSj9HpR48DsBzG0MBXofQMerzCYgJoY4OpPu4KblUhRqWA8K2P+vExPKvy
YpKTWGBllQrrmCkYE0VH6Y8PA+AitYJjivDkXVz8WQssm8FajPqj3xBH71kQ7VEqmOU+NRdv/L5w
Ou7PYn+OJ/SUMu7aJySIzWttlba/gbxuZaY8Jyn6fGs34Svn2he0m1IcCsYi1SVJrk0JWwdTFmVW
M1OgXo4DlV4TzpjyI43MXXYa1kp4+or9TY/3ic/wwJIdQVozlPRkE5r+G0/QYZJh4KYhlc2sFRtb
5ID3hU1hbQvpL49ueoTlE5HgozCZkKmgZrtWsiMFttKpbtY1l0Y8hrD7YOJre5QxtJTv6CqCGPrl
gm83QzLeL9Pqs3ofi/RaqMfRWGvjXowuYbEPTlZ2zsq/CHOph/8NYanP81U+lFtVlpwwWPNnarzt
ahaAnCI7r0/IVJTHJg7Y5tHN8vdBfg3UbmEioROze98Y+57xYu/j6sziJvPtAWG7qzeYbvJwX6Ww
TkiFpb/j9H6ABcOWMMufEbbm+P7qmJnTmpL0DZ6uECMpWJ7EkPRNKCytUHwS0y8TkDDL/lKfHbfW
b4wKM2y1DXVwfQPHmQ4PvIQUpPIlYEIZqB9Nfno//jr90zcCYC+8QIgu1ha5tqRWMwC4CFY/Femq
ocSsMabtTPcdrIRoZ3Z/Cr70rBDNy3gthdFjh9tlHF26dBUzT1Cjb4PpZHksYvrAz4TLp8h/s+pl
MQ7Rc5l7/wirQSp2eb7VRqfN9/146AfE5LD+tI2A4ZNeryTxq/bXsnQQ32uh/NHUQzk5gwMrnob4
kjVkGVndojCFdQC4kCbaJrOmouwt27JomJBbphITb5FS+QMqEXCjo0bVUKvRswt4GwSIbMHU6RoL
rqCOrmfca77kaMgZ9d+o/tGY2HdYferCRcP6yIKUKGPQ352y7Kn4q4hBM/ZPRA0BNwsd7M2LkVdO
b32n465DjW0AjqkSeA/+TuAhrYQrWBrahOZlLAfyvI/iZIAK+VkvCGrDFy9WsC0lHrtjkdSgCcUG
JhwxPT/yM6dXhMlFbGlzQtzH/YqBtEBkxUsBFgnBjutXlCqzis/qVz1qemvxVt9LfGNxrw69yiJU
uHqVtNsRbXZB4dm+DHLB5A6YSf4HbhvjXVW8OhfcMm35cJ8RLGURyIh1TwupzkPcRwzSQWmG0Kvo
OyP4GNvfOsf7DsqWzubnHEYq74aNiybObYEL8TkmwRpIERBV1APY7dE+4+Qb7io66NriDyu8J+vj
0dzz0PByvbJlCeH21PHiht5B5mgoIZIAtykNmMxq7QDIOcT8Cp+uun2sKPieUjq6YfIkHaDSdS8Y
f8sQhSj/ExMR7w3FKS2gZxkzvRc8I9ZPKgVtXqYLowy9nlweNTedKmYCFsjLCn9djcXUcg+WBaWn
QGBy73syUhbGDjPrYeJ4j6KE9khvoHvfBvFaASWJRFKYhOgwH9byg5eod2UyHRSvYdYw+6WiKc9K
ea7CfaTsVUZwj1pZBbXppqCaumXh6ImB4dX3VUDxz9rYonxDgQA0Y6B1B52gSwb07jyU+boxY1La
IBF008canBaxeY37PsKKAMj1zb6U0VcXTeG23CzJJB1OyJlm3WiEp+aZD1yu0qUo2K++IumuZT8t
V3p7sciUV9ZysZ0WSdmQ9+UFxvpt3AS8gVJPgbOEY0ICLuQJky6ajBuABq2vZiTHOiJ/DwkKcHkY
bfiIBDGlTLihe6snH+mDcsA9SQOaI5wAwqc5YVME6ADZO+BXSOGXTX5Vh0M7IOZdZrCuUlBuPFu+
YP60OVUIfAc0IU+tCtE++k6EgRFwDkdNM+zbbD+QvceVm5BGOwseBysCqFhk9cxvEbisMoEhOBka
W9yryaPkT2IOWIjzVpg9ymVTbwqOn+o5NWZagsyDXcOTM5I/gn1YahTCjBQkF6uiipYSaRSOgN16
IIVquHWD23ef8YCf0aS4Mb/lcCOTl5l2DOERSkqgvS18ASX5I6XENqpn2jJ/JoILwC7Bfkk4MTnG
Gg8HtrLZYUWJBjOv4aXPHtZW7tdW8Rqbb93cW+XLANYBVNaT76g4JzkS7RbRB3GxvN3pmFHAnZRe
dmOUg4V26+NNVdAXnEv/O0jOlraWrS3fZpGtm/rkY98YL2r5V6wwRQ/sEs/fYdKx9jh38a0E1VMW
Zgrk+3TN2KO3tlm9MYZFQtENAIsRMFJ64GPadyRw+wdmYuj9opV6ngg1uJlIx0b6IJeeFvhixasG
fsYRFg6JuMxZjHEpYo0WLd7sz8rDYY2sohInFeUTBCloZiNUXHnuy940BhKm99yZZ3w35QeT/K0l
4n6Dry4hB26iEMOKrsmlUgaD5UXw9sYtVsESmjEcXBO8ChhAbCWU0uSw8czg8kPFQVQbbXin9DYw
eaPKaUHjRZIDHCV03l88E+6UAO0WC4LOS0ZD4OUJR4FX1JvSPwUxhcXqPS5gdQ8fAGaPJzUxLLKu
dwHbIViQMkk2YcwW9Kz033sxHQGfExh2sLRhjSO7Gp10mAXSNmo2tXkZozNbhyVK582Akg8MqZIV
FnFF+OYloh1Dm5nlRJJ7jPrISNCihWrSxzpALMMHoE6KROsYvxjkjt9v8EtGU9pJblajvkZczY8p
ZJqpTTjMoJ+D1hlLFhsIqPlYcX3X7HDDLaIlxVvJXQcY94KO1jFqUCf4nS+bwVCLJJKsx26dlsTu
uWiIycYaJMDJWVx7k9+RcjLe+8Y6JI8Dk9Kmwl6IlcCnCy4F5lEBjUE1NQfLAPdYrfmWEubE6q2R
jnzMlHRYcMdipz9WbbUFRnT+paIuAkJ9UVkglJvyXQnQmTOh4IaCfFaPB9M/SfVGMEDXXXrKhAmJ
q3z1BJh2HlF0Sb6qmm/cNm2fXCKEOPGsLbY8309LnUkGxmQu5wQuetT+EzGXEA4QG/j2tDXp/OG7
8pRt6PbCjM9eY1NGxaFwEEF0ZLLjqC96VcLLeZr8Pb5Xaijh7wE7yxnqFRYTHaaOjCoGjEJBply5
8WrOJwMeI1JxaiJ3+MjvIDqP1rEGD9Gnby2V0XuYJFTbKr66qN/tdDnO/UuNLWOK2GIxGqiviWTk
4oLe5MY/OballPPyNWPrT0jGAupNc+ErZIaqVi7gt4iTkeBxKdRQ2u3mhERJxncT41skMZj10NS8
EpoGKBIdi2ytCHPibiXE0NdW8cC00CA0qNge88ZySEHg7wucrPQere2f1U844v0mHSBFkd6we/S4
tHlgtEawqIvlZGYWzjnnDOSKGJT2F5NSgLkWQb93sujYiCM509iiOWJKAeXGJKzd2mhDdNhQIYOf
4ZwzpUFr0zt5QJbCJ9e0TZWYBaeLl1VCIrdTmnPE41N4GqadmGDjd7VQg32pwgk+5WiEH3M/YA8t
knBFsUmiL7VF2CzenYtPDNY3JW7t2Cn8z2XyT+CQVbzEh5ZNElO5ZnvKeIGkZJXgUkeiicfmIp1U
XHgjsoEzwQsftvRNB8w2b76DN5bm3DZeD5fbhOVhF6QBV0jDGFQ4AmpeZrwZAsAFgDbNU314rEGn
13zx+aFlwFx6YTjTVLj6+DvPmVqI2K7NOh9RoeMkdF23CPE/J1qxaCei+a7XPFNgrsvs+dRJ8+CP
0T2j+lKfy8iiCX3Pk60WHmTjQ2rvknbgddBnm1Cw2w0WUj2u9Acd5rTpkQUfM9b6xioOvFZDZUsp
+gurO+EbB/xG4i17pQhDnNZyWQ17Kca3cj5qNBnzSieLdVm9L9VjB9YmhE49bDio35lnlY5yec/f
X9QRTo/XATDaHWaQ136AYqoPW5cczhmkRyEDrFl550rAG8gymSkvmTnwHILiwFWh5adW3/b1maC4
iKAwHXN3TvTVgMt7NDefHGO8ZYMhP/N9II6Zlm4QsYXxtq3WKRTlHyJvftCiSS/AaROqoYkFLX3L
4jGewsf0DArCC+ul/FgRnkQceVtPGyDL57R1XRaBO4GFGN+PBiNGRK7qa2y/E+MGoaFKVtXoQVfA
+UtsVmpx1+lC6OVpnTxEvn25eFQrs8R9b021wjZlJAveWcD1Unf9mmzjN4Edo9c2c5QQ8FMacRmB
v9WYvawSzJisPfB6gMT5ei7P9afRo46aQStmCgNXHQTThOXbbhhjc9PUjLRILZkTykJoHNxq0GWO
rvdXLIO7cTPcNCJieunk+5do2GrJKmy9NNl07cb/ST8ynM/0GR3EY0CN49xlJPsWab5/MvyjDYk7
RnsSBSRWaw4H5Yr2iPWKGxh4Yr3o4oUsb7gbOQ6yGoh+1shzvmZOjQhtLzAZ92QzYbGsc3l0BXJG
ZHBYx/rziu9uXviLIFp3GKtS1qPvBT0o5toSId6ClVjN+/MAED3zwheVscggCS9DQGmEsJwNdLzH
YudpX/pP8McshLKaco//TYol5Si/8nN5GPm9/qkP9b7/oC8fzlTLskhKoQ2vjYSO/IkeCHYboMKL
XZmfxaf/GjZIrmELMuCcJatsjgyUSV65Ln4hfECBnuoLkYp71T8Zc/HSzxQ6RrwdMUO/F1t5je7V
bfPp/YQHCvpNeMdEwNc9lFumE9Uz1L77Mz//FzaPKdq8JwZE3W+ApPTEcc/Loz1jJ2LarCHn5SJ+
uGBO9bMKflTm2ayC1LMST5qrZwHDrhvXSPUdHcOSQ9IWPx/iZ1VzRzrDB76Y5M89znxt8MU0aZGJ
q8CfRVjlti4NMHloaro0sAD14Re6fFEtEFyMDYM7jZoITXvYdCCQblL6NaT1byd9ca4IqVsPnzoX
D8bRAJVYa1GlTZXPA7ElwqcbfEeNO4fnbdio/Iz3v9qvnMOI8fHcahADcx7iekpfsHwTls09CeuY
YSBFGZGUZDUoLuMeJLc99edM4w4AQZrORtma8WvxGzKTpOzChIcfiJsKBEtb+8IzbW1mLtOiaKVp
9uBWNje2fH6prvkx7rQtjPRoIb8oeq3jsPafkjE3NhRlN0Aa/FpArKPv91w48AdyyKFF4ta+a3Vf
MBCh5RiWU2pOD+lrml2u6sZVp/RT/o+Tc4mHHzG5AOD8PnlzYD6uzlE7jeUXjBRqBu24rwCDEYvj
byOO1on3sJWrGwQIZsEtZxp6XuWE2wP9OQ4uEU8PwVQ/z9Y4B1qPDabOGjKG5KwzI2OV/tTUEuv3
H+N5ouX5mdCXihMjBCwxSVCX1+Zi+CyxEwTBo3AAx89tunzhyrMdaSu+FViNf+mH8a2uq9VjzzHf
eKRueNlc+BkMG0j/r6w98xzyfFd4qTvWh/RDSUBliq6amQyfixQcGp2WhDScx22kN8YCGHbMSHx0
uj/spxlX8a8g4eSzNDv1RvVLxRezi9oLH9HipipsnUBk7ItxDJkM9hE0oXpEpxjxnSAJz6mQXHPP
a+h7aF/FyoqYK7tjBC5o4yxhSxfiBFhXEIiaXWoS22W/r/LGODIuij9KEGbdph/CxwbGjJza7VTY
TBDStsJj1q4/p3LOeWMsk3j4wz0wNiPLHVHRRd6wCgPZmw7s7+GDhSG9Pbrn5MrngHMc/1K/Cepq
JO6K/enb+S/JK0qJq+uyvrOmQAp9DqWf2JqeORWE8TXONQ/yO6DWjIy7eedQjvDUH7t6YXqJZYMl
On+jhwOJywTsD+T8RYPOJf3sD52jzKtrRIZz+eSrXMR/rWMyao1siFUYr4FCbcoXz1XbIv2bR/Yf
vPNld8ciByXThCzN9Zl4w2Ec9NprTs03Byfk74lUTl4KwIKDr4gt/AJ4DnwBmW1CY1xKACP4pSPT
c+poTgcdfBYG/Z+TyQsVs14iw27iPvkUIkdLbfHwPlHT8r0a63CXeilz4sJBOa7wrf6OT4MNimYH
csUhB97cwqC6+TaSlLWx9ZmvOOrSvGO2/okN6RCxd1kk6rJZQAvcACK+HdPwcATemUtMNZxsY5yr
lzCLn9ohmOdetDRumQvmPCcCN5x/7PUjUnPb2NGdVO9TpM5rArTxZlW3aJ6gwC58b0/0CDOumVa4
4Zd6Z483n4gkmV0Fzc7YQb0W4WnOdVc58bmrfqMxMuogW5Mt4OkcW/vuiwMJlGk8Sae6t9tbfGgP
HAWU9CJ+NQjcDWzFoYrZo+jBF2SGVFxZHzET0IfDrMbAb81hZ8LQsJDk2yANwa7aJbvgyiHH0fJm
1+ET8huCzSytLfseo+3AUc/1j27Rgdm4EXPkVH8l0WR49Pw7QMfBUT+bC3MZli4dxvvfkVl+sEM4
Tnj6uEXhOZsdcEVh/JPCmNiGu3wlnOR7j0BTsPGm4t3gEc0XyzAc07OJdUmeDfjQZHVFf14cG1bQ
E8tDniKaa7wgcxcamMs8PX/hesDGLrJl95ni082Cotyyyz991a2psuUfmjX6NyZcwm97Y28Nez5G
dC0CCihKB5eXTG8yihNgxGty1Y7pjazLM1gG+btc07Y018/DewI4eNRBQpYJvAeH6VGW2OqLF4bt
XgBLVB7QTQs+aUM275nNrfyDdo2+2iU6jle/DL7g97VPF9+oDcZvBjUP/3ijl+yMS3nDeghtMqbA
L/OceLIL6QRS4zb7hBGLouHqH6ylsTEv+uVxChYcIiaMgJW2gmHZvt7esKYuCffGXPlS5qkb7RrH
2lQv8N/xHv0WcywlVj2h0cxEj9JX92nszD3Smo15ypcWla3wQdGbLKON5iqedE+2echcjD2kYcb0
inbWB45p+iXmJcJnDIWCDnNtQDCDIz+z3PGsfolfeHU6mAjtYPreOuwGhrl6+kOh5zCONE/tslhx
T+Ckj4bJVXAZsXdvJ79x5FR/1EPtp3Qf79pyWDAHcv2l4bDUIR2MxwPIDCPvbeWx0Xew7hyAeZvp
Nj4fnviyjv1M3otnZacqrvzDsnqf0M9s8HZwA1s99WvJMY7iTDlKfIazeIidwCUfycF2bvVBDpZj
eJ2z0+bB1YAkvcKubhZ9njhTX+IKWNW1HOHaOe+V2NrvVbj0P2rX46L++GZ8wFud3ky8pGNhfHP1
59kn4SGz97pacEjgE8TvZGsOP+dNyqfDwhWuKiSEs7X59g+Xxw6apZsDjbn1PZ3TtLjy0ZqWOa3h
XFw2thesduoevxtWA89MP0HDceXtkQoKTt8q3YBjPMcjEjWHjtFWj427TJ3f5DN/ERfmKA4Byw7F
6OIUEMsaz+fT3wCL2f/Wd/WgupUX7Q7zYAaudjP3zFd3f0w6jvkSnsreOGVrBKcpkg0733DHB1f6
3dBJ1vBXPajqDsq7GdkW9sO23N5dQF49lOtFYW/Gzu3vzTr2igNYuNvOWFIgxjanIrcKxfkK3yEP
oskdgZv3+U1Pe+Q+VG0GaW68NMFzeVeMNj1seObt34fhcSdCjxE2XEZo82zpBxP+W+v8sEi8znSU
v56LgpMFKKeMXPmgeY9NtW6pq3CS3vmb9zF7eO+j6v6ODChP+/csW5qrbPZe5pyL5oYn9gVGZdIF
cjJszXP+Ey/1+2MWbsAiKCAWFn420+8XRDpxCUi7KV1dt3fBb/F1V+bWHKu0xCZ7Z6bsLO+h2Iio
5jHsbYqRLQNPBxYO+vQTzH/zgOmkPi+35DzdYvv4J6+JO3543FwO2xsskK2v/3DuLHU3OO8hmbvv
vbUpvdI+jZi1ABOfKArA366I2tNde1G2lBL+wfgyP9KtvxA8aad9EdaLazCo75e1FW/aV7MQdsiR
LslS3MXX8rv/M271rt82REKpS5h4xu4xG7Ess+l09uK9I/oaU8gQivfOxKEUM1dbehI3ihXNFmYJ
wK47sqRDHmE670gUcuiynWSJe/lp2l2fpq3NC+8x4802T+kEGW5GZ7WVzgEygZ+bYZMH6fJgpF2T
sNkwcV687SdkExN9CPtAgXm8A69yhx8qB/EwlQ972jNIMnv9PLmkb5nyOo8dhdg+ur5Xj4Xq1i7Y
7oRBEHzkqqTbsEYwJbDVD2bsXv0ivmYJ/8E+W64T7Up33KEAMOwGBxO79bqbOTcPT2pxj1B2j3Qz
V3GG2ee4SyMXZpf8AxFzI+41Fmm1xkzR0ffkXFuUx7ZEjrd9yJ7ClfdBM9DOWDDvipMFigYxH9jb
1i5Y4eHe3vyNuOS6sOUTpvYLcTYtkQpV4W948b/Q6B3zK1ADXDrWnrwsXyKTWyoY5oscAuKpt3fa
kTb3U100Hvdy6Az31yu5fpoweXip/IWNpcQZETrh5YSGaoFVn8AeU/6m49P6BjwMXEy5thTefI/t
bNzpLpoB8rem+ux5ExY9BwrtNidHzo6ngMCpXl0+fhhTvJ8NUx3PPLbzh4syVL4/liGFzHjEJwjN
uTT/9A9AHna54LKjktmlNvOlhb6Dw8nGYeEcM7ziXfWAFl86GTsusUU6p5DJG1dfCicsJIEAneIv
IPLePhvLM2UAwy9X/0lv48ncIPIERez+QCHBBxzAyWWzQZe3YcjqwpL2OFrHhHLIs5YU9ksgHZfC
noJkKmmps7nbNS4HwY2fBD7YZ6zdbnwyZ2H9WEtGbz/6Rl2KS/LN7BWch+mvdk57104t4JyDM4cn
U1snDsAJu/6AYqNYE1uzibzp9/w/bbljvuIN6T6uVyEOqNQ77Osl87PBZv8ouyJFlcM4mC9E2XVU
M5/+ij1CQd6jjSQgc08CTk1b+wFp+VThnbtkyr+TyOXehKrrz1X4qAC4Y+EUdGPL8iNaTcPqbKYc
phE+VzY67D183vhzmOi/9rAAnvq9kDsBd8ShRfQOuuIyvOUmY2JO89jbuYv+wFEPSwp2R/wxLuaG
ixJkjOXL+l6hyZtn13QWnQoPgi+BwU440/eR19y7yPad8UhncazmZJc/TsJElZPxeXuNp84TLj6b
i6t9OMgHvMCv002tHRGY5nb/Us9s5QVkd2oFSqu58jOehQ27D5HDkTo1opb5lIupUa7v+kf01O/B
fho7+lyYxuntqkvplFPEN+4A2HHQN8XncLC+xT1DBN4lzhIzYd6sxDMPXtwzWGI983OkIxVduKlf
2UK3V8GWT3H5xCV0rbrN6r1q7AMEwNkvMeyuuuc46bxum7sGEXSklNrf7YyVLJ+FJXZeu2w7/RTz
ZvAQoqeyFV1GEOqr5iJcRAtwgH/gAWfXvvKyq7hnKPaUP1KHHeqqx9bDrEbatTPrS6D3XDHlXPc3
eRbzRsZpkABM1G6sLdXelopK2GorNGqv6fEbXzJoEbrrPeODeqPute1I7KYD53BpzOEBcP+dBuAl
bHjjcD38sDLtftHPeNgONY7dzk8N935SzabWC0bCLjpCJrcPwZNWOV22B0zdD7g894td4xkXCoXI
E36VOdE5DpznhcmomraDukNlr7oMezhVsWs0N+rBX+LZvnsshCtFeDIHfrsl68kqbZrDwRJ0Kbsv
VAbWXOd7CPt1uMk3lNj5LXnSza4kR1pBW9lYUye0E89MVjQPOhKzt9nwEzpFDvrT6u9o00fWqdQ9
JWYDpEKJzd4ixuoPvJoBiOpDvAqK1GCIGb4Re8Bn7t4AvqZKEnQU3ocBa66qihpX6o1lY+ILEeoN
GVF6vSR5kXkf7kCmMWHn2A8OY9huDe0NOUfEhT19iPsAXbKfi5TT1Sju4duP5XtjRmAPrRh/FYo1
7v//pf2Vs0Baj0EfoVoY9qh7fgMrxfTL5BerqCWXFDM6HY1zLw2w4u1KA30JfbSrh1W+MR8T0SaK
1gner07ad8x/lOKaiHk3V6O43BCHmC/RE2D1E2prtM/vkQhToe7ct66pa0WlVwlLKAuBbPi410NJ
l1pdRIAILURqzGGemBiCvVOCWCuAuQTSBb776LQfFt+EJT9mWo3OLTDEDoE1+tR//1Yp3Z9hJP1a
LaXHJqy+Hmr22wVxgIkg5XhbastckTloDSWclQPYV21l+tpUDm09+Ou2xnnINggcc03Y6Y6pP5B9
1e/qlFdGjCnyqG3e0lZJEFf0lv7ZjaaBBIn5jGHVmPoyZSp4Lwf01IRKX0PpXf08iupiqH11TTPG
Q3lsPMtRlQHmBKDt7t1zCFRj70pxUqzrDnhSNJgrjWnHeEVcB1U+H7DYdyYHPqY3QUkPyWTTrzRx
9S4UCI2TvUKXCUu9T7jH5YZbReIF82AoXcEX+vm7IbRXjwbIiShXTF+z+Og60Qmx3RuX+LHqCmg6
1ZPdIYmqtoseZQzPmOiUKgeuMgzj/qgbnyJScdCTnNBpAkY2JDVoIqL6pkWrlQumepSUHvs6XZvp
ajZ4RIiNC0Nkvfs4meotHEVjMK/vaMCcTyo3qi8QnTMesuqBS1IBnUHxg9Mwef7/+6WMH/c6g3qu
QnhAZUQgQGEk1VInm9bPqxXqJ3w2pt+TMATyq7icB2aQMI8WaYU65qkYsmxwt6ZFHxHvWDEDsghW
pzUBl0lF1UvFjgOKl5XBY1n46c4sYZhxyKtSsDanv+iL4r4IyQkRIAzUErzfaWf9+6Uo2I3YjsBP
UroYpj+jZe0/js5juXFkiaJfhIiCB7ai90aiRHKDoEyj4L39+jmYxZuINzHdokBUVVbmvecanUpv
LSe/pyUwdzpcrVo9YIfiJqR6wzJu3IpeTQQV1FNpb/mM2OrsXldGcw6ALi4NnY5KUKbE2UXaX8Vb
h8NMY8qrSupUl7YF4cv2SbenWAEAcWV189FnJH0e7OCRWMjLP3mHGfK6AVSXyFfufWiveiVTP0R4
JAmO0T9FmkDZdUTELXNt7cC6RuyDW4iQ+alLX3urKRclrzv1Xg2t3JBeFS5a4RRbadFYd3LsIdj9
nKNhQW1Spj9Qynpn6B1Vn16GAMGieFH09hb/e44h3SYkuMgS5gb9VyWQYPRe0+xGj0STME4gE3TY
jEgDdA6WQwRwpIXKIc6Ds5Vm1bkoTXNvVZIZMhabQK1RzlpMV3QYHPiSwn+JpnQzUdXhzojw5Pdj
7CAWYbc1IsLTcj1Ek0M4kJqbYqcHbrIfyuyl6MU1KenxlglheZrfnyTZtUh/4lPbMtu2dYtWRTix
JfVgryva1csYcXgaKpESleWOHDGbjlFGusJ+dHeIlcfUjSEfRsE+mf6lrnNC1qmF6pItUwQkWvZp
cE89FNyZ2sHsnf5ViboYNVQTGnOrlwQuyvKW9E67hVn0bAQLW+rKuC2D5kORlTy3Hdo1WcXXSOry
XPpBcE77wd03Al2RGeFYgG0qS71+B7Ddr8l/vfSa9gkiADe0719s1cXlOWzihm4wpxGX1gh1lTJv
bL6cohsfkOy/Ak/IS6Ria8k9hFmqQ06ZMWWLtbYBejKWn5x3ygY6/nDBhdWs+w7kCPJNHu12SOwS
0yOz7yA3yfUdpgFOVqMLbYKVZvAl5ngMkfKc/v/HSP7IpvWGG+lNyclR4W6BUdyVhclOHQ0oaY22
pkZoMeMkVf+DFzncjA2BvF0cfXiSE5G80eZniFvKcE3Foq+VC96NwAy2jj8ixPiszbg8YYwhQFqh
odODigTlyOAskNcYVaKWKxlOFjy4pvrBaQSWJoQREjECgvO1LNSEJKfAXDlZY287Y/insjdeQ2f0
1/WwIWVl2eawuLG2Ij8Ims/Y+cTr2jsL4Ev05eSsSO55+sqnuGHY5SLcBiUICDrKBwNwZ3aL0o0e
0OHQ4LQF1b2uxdSsi+oz3NIWDyPY8RIyPOcLRPSrSnqEXIZT7Os70M4IyyUNdEZ6UXQgdCLXOA7X
erJ3vQ1Er1Y/h+ZM4+TokVsr6pKgOEnn6LvTWX7fDZoEhOUMet7s38aGKr9iWRj6qmeM7jC6s+pP
oOB8Be8o8VDIqUx9GLsgXQSTeioQsNFxT4Zv1IxypSs/pFfToe+Ga9quky/bZ46yU4mzEWG58MLm
AeJtrnKHU5HQZ+Ww6ap/0rLnmseRbcKvHONZL/1571Yngq2xIyChYQjNykN1YS0dJzrrsbcy43qp
1mKl/kYxYOSs3NdacnBN3L+iuPewG0h7INUdtquoNnZu1Iih9feyFohVeRnN+px7zJagCv0WtTt1
pE1MCmQFwUF7U7pg4zgegy9iPgP1XSvTbUUIQ2cyIdZcPFtheOwFvObB3k68AWEWdGg67ldNk9Pa
bY0/pd3UaX2KkwIq1K0arqL1FpNNwhzvNNQH+mrDd9s8av0rjTG/YJaogo+SMan7Z9nHmuuPZGa+
wnNppOtI4Rmo8jJQ5tV58Q5UWEXgpgCoqal/h4Y5PMw1UjZwZV4qSRs/R7OW30TX3IqUcX1VL20l
IW6ILdZNs3mMIMgMCRrvDlXWrNIOJVhGfFppzUImy6mhwV9rEPvIhUjK37Aj2oYSXjjeV+u+x+zZ
CVutEwFkZVrpIoZTKd/QOknKaUXRH56mwt7PTMC37TK3zF3WXHx0CszeHW1voGfy5SpVBYC295S0
DZ3r1OR+DBOMKxsKEoadQZdj6y9JmYI/XL3KihrhFo6LAM9Ufc68HcnQrTxY/gNJsjYsK4s3CDfs
Cu1/RLayPKbPODqH/cUELWk1/fwfSWmYfpA6Aq3BWms/NO0FmGOrm/7OKVokwojqXGfdNco9CcBF
IQLj5RY2jQFosTYe5ACKjls/S2eYBShATJ6MpX5Df5xH4ttg0RvqzUEgA0wJFWBFR0rF8jurcfXq
L59I3tHUlg6h4BB6yQYoHP/TbNtVJ/GXiXkJ1AfUAQ5GxukYlZktVktQJpTLGr+phiPj0hJ0gIrP
jGkWwzinATmZADtGo6bGG7UlRFUwXbeQgnpcamAefUhwhfiyNklTvFy1uCgW0TyI4Bu3W+h+u6Tq
pP+CTyg/l/Ytw2Bpiz9Lr86kxa8s17i4VJK1/+P53NSRYqeDQMaEedQjSiRdVhmPO9WXSarvYdPi
MqRL0v7yMjomNsinM7UkJepl0vKcf5k88U9rwbE8G7mjEv7XaFCzwmdXfjcwAdIEdX9yNsKLFiXn
iD4y9nG1X3p8rgCskEfbboxmxBHMRri4OruYy6jRflc1uqmFugnLbkEk4xxqzjMq3gPUCukA3aj/
8dJ6EfTGLNHhGbA7pxglVHJxtVcTIUtmFk95j0rvaAefMNXz+kFRE3t/Oi3JkLBzxGreq2e54Rwa
N0ZA6iVIbw9o29VPjwCheJxgzGc6hIXamfgnk6gUgR7GkQG1okW+gh5CHBc6Hqzl2N9V7Uv3OYvH
75GkJHp12NEbf2/x7rPi+uahuH+etlY4eIH1ixIpp0ajpPsxiXp2Pgc8jvkiNQikRuBQfjX6Bhk3
PuFsMbL/tpgcPKDlu5ClHyNpyHosukzQ/S26GBWBu72J6335mV4aItLtbTu0bzktbElLlgAD/R8i
Xofw045YLR5lZIXvXGC3FEX5O6cwNokt+VgTWDs6QLmRLXfeQz/QDm3WbftuBQVlxt1WMOkxQIbL
y8g6dV6dusrzQ5J/Zc2fz5PPzG1l+6iI2iUXlwEZOTfiHI0tyytgWiej71D/EkDWzOn80L6y4do3
iLvVN5+2ix+iLgDiNyZLVeX2cnWbR5rh9J4eCnmLCZoJ99OS+CDxD6JV2w74FBCgAS5JcZxN7ku2
Ac++BPm25e3VuefmZUEBEiIDfUTFV148CxS6PrkDA5/UU+6C9FRm8L0CPaXz2Cz/araPkVwSSOb8
fCTTdnpz+qvAX0meUY/nTtfJYQHG56rvIjpE5gp/ZecymeT/5O/smQ6G//IkrG3azrN6VzIWh9pH
oAwEZDoiUTFXqXSHilS4Q+r6DDN/k+4va39b97exLsL6qBneh5NrQswCWmmMpIKTOS3I8VqoNxHH
8JHZDtONSxhg/5GEH4YgnoljGpbv6AFNxq7C8qDm3hjWh0F/Pvtx648+xVWBla11/6nojhJvUijp
0Zbx65DPf2V4DMWubg4Vx7HKS3ZIjJVWIcXWvoz2J2h/0/RV6keHL8442qhqJBO/FJMpiraUFCL/
AdIC0BUriyw4wPX2JcOLgVUKPY+p7jRjhTapI3grb9eCI9QWkOSaeW0h+N7ZhblVo502tPMwiZbV
d8RAWtNf4SRT5DSsPH2ZGac4u4py1acrd1hrOpa6pdHtOJQSbJouNlOu6m8aDW/6u3YAB85Bc4jc
we4eGv2OyRk/AEnSWVloT/GsLuCbzaU0FyakbsskA441hmHeNtHR42UmrUKpaYsyX4M7XuCrdLtL
ZJ7a/pB1lAMButfqfWTgvktAQwBMpj8AOKzZqNDtwTMa8qN06efDhW4VvCAD4ZcJ0voEZh1kTbGN
0av3uGvhNgWYMNLu3bAnPhuOP7Y3vPEDWgHSCRSxl/KT6IXavfrxX8n7b6DtcnHw9MUhSf8a8XD8
6lCq/wT8DDXYl8i08592OAsaOWB71Bwr4a9W/UHnxj9yz8U/owcqjoNKWbk44DpquKz+02NACv6c
empQ7nDSgIDGa6RxLQ1EB3dIye04BMLAieR86Mb7kCxdOKXDqW1etEbGF4IgTIGCebq3K+jHtQpp
fC0oh2ntUXWHvM1je0mii+IHfGX0VbvPnCsPopg6Z29BzYlFiH0hKd8b5GQ1b91cy/l1/JD1z4Bk
UUT7irmYRXpBjiiP0q6bCO7+JXN+DVx5KeVmdmqS2xBeoXeUwD4lgI91n70q7jEyrhaD9lLz6Ggw
82oPbrcmyLzVd5G3cbNd7vdETBfIs19jvMW8rGRXhYUFmdwJTrXBpho2Z51+ujR0NGH5xtKwKss/
E4M/0opmL7VL4G0VvHzVtgAdFHj+OsTeZo7pG+xCuo1dz4nKGzmGhHUzMMGdzmIeiRHsg09T+fPi
S4FQa8BQovIBxFrhj3r8VQXqndGrsNNd0ayOzj5xPwigX6TeP6k5NOWeNhLLpnhH66gyQPKUXRV+
9O6fW1KVsOm4Y762Y4RSBhMrNvQMDlEZ7CMCsev56P1p5tNt0ULaD6v5VAg7CQNORfFSkBTj5Mzc
h0mh7ItvyPPrDrJe0/5z2RSCH4dgZHnmA0M4syf/PxnIsHrfVPU9RhNS0YU3+7sz3sL0NqDMyEgV
JIlzIR3qYc5ajfxNC3gnMRmegh8Tco3RTqqg3z65TqZyn8+obAoqMqE2i5H+n02ekD/rqqNLW9ya
UmpPsG1ROLnzQQHih4jWlyediXjEKK872MWziw4T8d4FJK573kJtd733k2Kn1pWLmZyUEDJZsPcB
yCteutTSLXw+0PxIvZ36ZmKDibVfSxyG4eTDa/YRG2BVajYEqBRfCH3Nfk4hMrCScM5S50p23pon
6FHxyfBb5Xz3dMbD1CS2dbZpNaK2+Coz/xoPw18JLIim2U8bmFfFGKa941+e3jT+sGaIi3Svosdt
WNgKGeOwRfKvgqp1oMR1BAkAy5ifBpuEe0fGA9EvPlW9th3VjaY04E4gZPUMryH7G0igCvUVZh82
JPjkRFMDRwosS3bImrGf5KqZE4QwmOWciDSiPJBuL9iHKlN+uBaq725PtrPePdxwoQWgYCieDnry
Dr4ilOvGfCYcH9J313bFT/TJZmRk3z90Z6GPq4LfrG7XHjs11hIkuA0XKJo+sX/ViOSYCDtCsKRU
nesV6SFlP9cgFtJk7/j1Oy4NMICTHiND9tW2X6125BWo9aMIThJl/ojXzOQuniE6DP1hzSY8l0jX
zfZCLE2jgKc9dS3X03XoLgQjvha5hjUgKgIn3q1CLgwEJFh7oR+m1B8cy9jizng0QeRzXYy01/CN
IYsYQjfcZh4wlmJdet3bxPBQkDJXJZonbM6CtyUhX8M/uvQG62SNdFoL9or8EDrMAVgUeJ1WjnGw
lZ/BeXjRpaMFk94FnVx3USZbOS56ZiT5sibPuj7lNIzMdYI4p+Aqs5SsJwn8g3MNSRuBrk57j/RF
T8xBEZ4cbqwD9TC9/IXRf6t8du/ViFuEmzHjFSVqqYoPUr3LlgqYkPVZkROTvAnBH4fBp7QJqvkp
g6eFyU6RR4FxQ3UO1D4GXktckv1eaz79+jxVxzY6kWQ/cs9wRp3XHRsX/2sQHDu8V1QQDuIK96p1
ew1bSscnalNmOhI2N3VYwn5tNAyCQJ5A0Jn16rs/XGugBE7rM7XwsfaE86mrKt230cHOwRoVQTGj
abYlNiL2tj6eMHM4E0wrmw85nfAOZgqOulz9sxTa8znGDqLj1Q8VUUbXvjLOqZjhPPDrNzqmc0Dt
7IYmERDVqsVC6VQv6RMPiCxokpFTs9b/SvHpwmuOaEG5MCRthHalgJ4lE/K2maJjz6jST+2geXc6
j1PZO0x0COSKEhdqZ6I8p7SLESF4fPiSqYsDkaBDnayeO+IByIWLiCebm9U3cL/BQYYQbwlXSKOj
ErCNhnO1eEr9aMpnFf/LpoMeOFDLw1DCFNTVc6gqtjv63ekt1L5M/5MwKVXroK4ezWA+lidnUqc3
v/gt50UbHNuqWwzlu1Xt+ItdtmiNd0a3963psjcif4YzhCs0QsMJrr26jP18pI8afxb9bwJtu12q
VUeBi2QYqm/JTYtnFZG93mpi0dr+weTiZtlEgFFEBATGZ8xaRshP/JiI1qse4lCfSrMI3QpkrUqM
iwEpHmRvkgRIhmPsThN77uXOouL38qlsA29mcifr2AHL5Frsiiil55Ztpte6oASzOSeGLl2SBplC
OfD46+thaxXk6CApKX+wPgh7G/S/gtmS0//IQdtrwHrjHG2GuR2YSqaHWtsNbgoK/G9I77GJGZPp
sK2ufLi8JsabniFBC0LY/ZcHqzI5kTT/qjhv9OLuoWux13CG2xRySkOGBvt1oixtYhTJtewLNArZ
3sSRMHDNDUkEm6kDSBGaNljtE2AA2ZjN2z6hhLuVvQdjzad64r5Z4vGiKb8b+t+0esKwmpmusrUj
m/AimjBZsvBcE2sIXRp9rbkl2DfcNBygOWptGX764NfrUzDN5LpHU6H8U64+iKi6eEa4BjpyC1H9
soTtixWc+mw/4tsgX29gm3ICxv/BT4lHu/317IfM9rkNjQIL18UNfzpUzAlljgWb5RAnr5BmOZtL
h8fRdbE3/Nn2qZUVpe9TE3RigTWI8kJNGVa0fQ66bSB7bx9enC9j3MUjkVAVjooAP0IdPo3iu8i+
UvcvLpF5eXQTpqAmm8G4zJmjU3KNzl8vPhPue41Bf9C91i430wucw8C8FeYJ0AutvKDcqdnFgSxu
WvTiLoFaLRL3XUNBE60H591oNcLuHUAEE8Nmq+jngQPK5ILPtVbLYB66f501voURGWKbFtxD+yzb
U2A/mUe9FeLqAois1Jkv9nW+RKgDWsq76sk1aT+T6B51P1Xz2zPnMvDH66ac1zRQOpYkE1vOdCrA
+K+PX779aKuTHX4TzQzT5llrxzg/COp9GWEcGZWV4jPqp2XUhF+xs7Ja+tI0kcpMW/Q4FutrYVLR
0S5lmfDrjJOXEJuOZ+6IlTanxxby9yTD21Qi6TzvAM2Qy8kYYrz2Wqpa5Nef7PQJ25fOh4hj/F/A
sDxwBFF/snQIGjsmicJ9jEi69Q5XXwsDAZaAoy9zjxYyLSnqanRZ5IrOpHH0sCTH/m9XwGdEzya/
VDTvRrTyBm/JsHmr1QHB1M2aqDoVD0QVLywl25SSDi3JzDZ7oUANk/LN+FyUAvpmMQ/PwHBbsvht
jmltAMI4dYe19mJ49tGH6qWb3x0NyqhEKRyKW+FoB13iX6MpmdPObol8LGkW1HF0cIu+RnDqPlPD
3EB5I3xprnRiUWRoRQL7CIx8CyB9kxBrXQarmsI4ZlfPEMU4XNTsOJpz3Z24HsQyj/7G6IGvhWRa
vAz7WweO60Jjt6kzdIuhiwu91+QLZxMcSM7E6xITVhQ3z84/B04yj8NkxVCylvD7CoLLXXAUDgCr
AVUzvZKCUQxcW6e4aJJzG0tBCRewXlvdkvAVjKL+rLVQwVHhS7zEMU5S6lmt94EZRhhYccfFnbbi
Y0BTLcNvP0IVmMX538gAdhrqDiYJe3m96b10P6RwlKCs0cjNnhh8mA/42q1zH1V8D40j7NyM3cFO
ly03BIUY4RpLhjaIeUgPOAXf2fPqVB42HCDC0Sz3+T26z9ACkLNRGMqr+rLOr6r3mYaot5JmQ00k
fWs/WsPf2Aiw9PQJPdFtHWv88OETxTvVA9zPvTxRX8wd+C45QzCBjDUi3KzEOYn/cSOR4uN/Mxxj
G/FswjaA1mwwctO2inaU5kDqt4ZyREPjrps3n0pLHWh0NpZ3yEgDIBYD8igDKc51yVxiCqoba+OW
58zpOX5iab+1POm0JXxLCvJEqrtIEaUYx5L5THwvLAIeqplFHI7VwOwR4CqUCqQwSRzVis2fmoDc
tr0nPmIM3VFoA/lytxVtW3oYJ8K2aPg3c9GzcXfEzdoeXNofXkg8lctMdHO6pZ08eHT0e/u74Zbf
MuxPQZoFQl+FxDdID2mcgaKfxlFCS1lMCj64P624By2OXgdgHOClvDw3vyGqKuUB2h8vWgYZBnXy
RNUo2kUtQUszHRr6cjUwAe2DEoope2VO/zHMdqn88ag81FI/1VSZVjof6TE1oftW+dpar71bp1p3
pclnhfdhQsNV1ypCX2i0LQDbmM/tpv9g+gXL1vzK5COi9NcoSkQzfpgfWjbu7AGIVeFeoYbg/7J3
ITOoDu0VN0q9SthxzE2YwWBMEjpBKvF0JrCJpplrJtxG65Fl5ncadjTbglPqNeTIzYMcVltlrt0g
3nYAkYVA+0qmn0nGJqGkkZudtSj8HsiyiLscoy/2YMN+qzy+S+1VaTdSjuYh3243NfSrGBA9r07R
de+ZuHWGuhJ9u+kD+qZBPGInBTfHGaGRfsKe0HDKe/lHhlbIDsgHdDluRxyUvD/D+2DgCuvIxjTJ
AKSjZTCziDuPq4Y6pWysZaUTHtigQmm5pKtrmzfaWCc9tiOmUaNKM2ySPBC5qSnqmoHru73xErmx
0UwAGeNYKpHe8Z8C18C6LTFBJrQjqnffwsIj4bxQLmRhvsiVYm5NbiZJ3h7OOodemvAZ88TftlIs
6RE73Z6h2ec4dJ8Nl2tCyU6RBihT32tR/iNTdtRKdw+WqhwHSJoJ1luXfphSPEvuzWMy2U6vdnwc
Ajpi5TkouPldan58Tu6ZyhxgXZCgacrfNDyrxYTAnzIc7feuYdmFXvVlop+IrVdRFduASsYptZzJ
AlANQt8aUf7z6DI4KhviYN7quCfu9HNMCpSZ6VzVcWRTO1o2cdvMcFuamZ6B9AvuWUJpqGDIzTnG
yuqpA/FR3vXhpgQoMX3+HWMStb+FCDt0k+BVZ+P4tESqD0U8axzlpVujaglXoXaPauosrAIlPRPa
mIuSN4HuY8O7NFHfwsCDpVJwCf3TrJXQFml7KhvU2pOvumwXg87uhGjnUwFyotvVKvGBWDhI/tRg
o/vlsnBtIIlsRkOFn9JB9yXnIUW52QyLz6YPT6pfg/GN7IUkCbdwwMWaczI9C24BNON1GnlD/pVT
9kG3dXIM5F+hyesTGq8itbZKCpjE65Y9iZ5D9e45OFOAClm4GYmRDmnI1GE3S9VsUTfWgL0N3V8K
GEk/GAouWZQhSUPX1JvXGnP5TJALRtlPqei1/QIDV5Sv6rRZmPDOnCE8FTx4D8MHNb+oJs7Et898
iK8c9Jc2zUVAy3sPSfUXuczZQjJaGZm3Q0V+Vb4J+Uoihlq4ZcvoL9P4PD6H94QA4RiBdv9W2unc
ceE6EyIegjkeevtiqsBb1lYDnJrMeex5UBDFVNCFsHEGJVhE1nMYkp3HHJzDvifsNyqNVeg2y7K3
+EL7FSlKKBIn3C7geyqwyeJL4s407hbC2tPjmtul9V429rytECwznr3YtbFotHZdyYIWL0d6yRwu
tKtT4VTrkKOGCAJmIqSU9tk9N3GjWf+y7JvwByvs3ywsOL5194pJCPJPDucxo7PIdaNmoES8sCL3
gawOLp04ZeA0jF+pLRelofDm5Tu/h7+pbY00Xzlcc0hloetjtT9W6nw6GYG8Dv0uTi1hPAmkTyxM
8ewSd6hPwBtvbfdBQNGbrHA3hFQ+/cql3LenqjlNvoWT7xwOEbPBgZI+M+BW7kBxodUga7uVQRxp
1YyrsLUXQdzMVYtSlhy9oD96zIEkcG0zPNPw4ff3tl4XXIP+rzYVHLvusrEZxLfMVGXALAG3q2/t
NEvshdodErRCTt3hDnMPU4B9WDULl3tJM8k5rHFh6w2dRda0xCySocRQaHqQyA2tvsanmkc9SXLO
LGvGuRvgjW0FQDnCJaZrcLM0EVXolDb8DfOAAXHkXCSaux7MATRvC+Kj9+N39L3XTcEEiKAniGBb
g6B6X0CFd3ycb3jkzNKY7LWXXOe+iAaIRC5unMxfc2PV0edoJOcTBu8qevSu9t1YfDsOFzar+grQ
DinM9HDbn2IEnurYgfdbq+S9WT2YBGajgmFZY7cvjUuECJxjTlaZit6Z0FezBtEFvkJP7C+Se3Yq
Sucmuyalx3iOWdE4USMypNS4ZF3asR6wBizlFfljspyAXIidejqBmK5QpIcCcWdigJitAf60W28M
jkIjcCQkKUJDWIksns/UZOO8Yv6nNGhHx/ik6/ldg1cGs5MhZnPwgUuEIxQNZtVkhqJrs0mL+onv
7I4zo4m+M2cyBsbmVeeWHQpz1kwaBKERMNxvp0t+Sk9Ej1EHqgiRdU4PBhUjJhofBz4GrtHviZFR
F75BhoISb12Tx99WwR5k+LrqGKNrZwscZXcfwmddY50ZB9KQdKJEqhXoa06lTH8IK8EFTpYJopoE
52EmWkJMHoUaL0oL5aECOYzQDDKYCqtZuQTdNHRGBvD/LkV3GLmzCHdaZDOMdJCMmveCq1v3E1Tg
HMfo4rNv1lzuyGvcFp7El4KBKjXJWpLVm63qJMGtuv+TYOxxVZb55AqIWZw+Z2RnoSdKbVBWRGlR
7Vdm8xTUfIb4Y7GCXrVmYM6DSlvWqrkYJV2crvuyClvlWZPTZ0ThGb3YphTmyYjFWy5R0QNrcQes
BIaBdmKaF/Cojxn0MNmUNKfFPdFZ0BKPqZEr6zgmN4sNWEm5oyKBV9CPuVypNBrRjKhzBiu19hEq
XGu4cOJrDAoJ1keZpgPwVeimhi9FPfXKpy7R7RjMLy3Yc05GKA53AxGvmh5zqbPVAwJGUEQZdbll
ga2yxl36mbY0CL9JRvUtyu5pCju59dd5kM2qFuwfcjKp0XZQeQiROw/TeNcO2+ksNjrjGOYlAUrO
0QIva7FlKcMjdv2Nn4gZsuKAixJq1llr8ukIFiyNZOsoryF7qgmgJGMaZRG40x2GgBiFIMLBhRRL
rHVmqgmnFgX2BGz2M3MSLiNawCWOw8byu0UvW1j3n4icNiYTJVOCrYaHMEWTlBqererSqydX3xn4
8YuBmCpMTun/J9fSMXmdGRY1eQqlB8lxDFr3jAZvoWYObVBqbM6KQkMB3NZvlsO5Ef0lyclvUOwX
tNOqYR6VysyQwJ/9YqcOMCcIXY/H/xWiILW0t0x+6/FPWZCETv+d/r5COeUz+GbqHQ53lZpB+pCq
UYNPMNMQJELNH5/iCRyxD7pz72kLW5b0vNyD6gVbwRy4Ll6OyeLh9uPBl+qUmzRg0wpYEkxZRnM9
jsEyNOmQIa6uzHiWsoG3nbEbKvdRJlRiA4xPvgzi51rIXuX6n4lWyGFF23UHqIstg3kSBewi4BbQ
AqyNIw2mN6q5OpkNfN+R0p8lBCKtocime8EfrZjjDuvBA0NyTkwsqujaafHMNPzneU2cbaW9WTS4
3UmphwN5pGVcaogDLQU3EKy5lUP7dqRfYGE41PSbDLbGvarWU+6FIpIte65A8RzBuJUur5vRH/zo
NtqYWABQ9CXTWbWY1fEvU/6ZXllrrQJqFtarnvtdlnegB/Y+B0+GKvzLSLCuIIgjAKJJn6jJN0bk
I77FySNQKbCo7AwNuwpgC/RghUt8ggPUd7IkmFuwjY/h0mmMRUWEQ1fW/yqDRPicVL5gXPjVwOT1
GNId6xmuFTZNIPqsDCHZkDBGc0lQORQ6ej1s2+igiDejKaF+NQZx6aNxDuhDV160taxul432akge
5MgiejGPUdpO+yPS2deQPAfn6jhIDhnPl0V25r8/mClJCI+GMX/oRAj7OY+JrIihfeQhFILKWXQh
im+EQp3/dPB65yEdkwr/Vy3pFDNkCsU+Y58WJdgwGo15Z4EgXYZ9sm0IFqksa2f5ZK2YaBuHZY1y
KjP9E5CPLsj2hux3tsMfAtVbNj8Z1a2sGBtw9ZdcP3ruz2zgHuvKdSveS32BNWSf5c0xDr9GUlvG
EbVBrDM0dA592i0L/1vbdcZNDYOFxxZqoIYVY/oR1B1cU84GHYzFQO/HsE8NiaCZI45FFW0FGoQK
oIQctio+oaRPjsI035MYKpuqPAzEqRWzkpLvRU1AgA/sD+aIxR99YYa93bMjZmS8ICo2PI39cuiJ
dSoE2skyoHNfwd3rG6xclBWJifm+gkuaRN4pdFGf2LOsNU9tByI/pb7TxuoYasTYug6EPau4dGTL
FRzV0g5etStwkQsaN31PKcAtLSgx16T7nDvYW+g0pCI0RrcMkvxHZ3Bjksiej507QzG8j2x9aSTi
t1CSZ201SD0yGsnCeRWFw8dtc0Co3sJwz35EOJ80L5VTbhSSuxLCFIsmO3DS6YJyT/hIqEw2NUvB
cOOkx4K9YWYiS6cddK1wlKRcVDOJna0Q3iblVywqHwthcKu1h75VCTEwmRsvTXtnYbWvN4YOHcom
9d28hC4/YRrdnJNTMr0L6VKl+G5pWSJmg6RO3GdPCEZtmBhtmHiDynQ7jFD+S2ms1RCan1AbZ3pa
M25HaFXtQ0/djk3zUtKjWtP0mqLPL6b50Rn7hA3bNJcTJRtFBUo1x8fM9KtyU7NbsbJGWvkeXhD6
7hVCJsfDaDbe64iYuHmJmVygudB0Wv01V+6yPdMsmRXKt99whqwUnOgi+Qhyl6qRzAb5J1EelHR3
YjKb/HycOw1cE7jrIKKa6KY2IHEQCwzJ28iAJXygVgHCQckRqVRC+F8RsFpggIh+WSg9IucbgNtT
JT5SC+J7u6jYqUm0nb0nSCgNhj0qbMKOFwO/AZ3Kexn8xhOwLsrmgrFNibAjsy8tR6/8jhv2Nzmv
jH8SVapm/BU69CqvPSl0itvAvqlxtXNp4JrJXyoODGWIWMmDrW8fSkKWgkfARdCaxzhL8Y9rcx/q
Hs1jSG/4KSGIiq3FotPP2gajOiQGg11d2FMgVqbBg4AoMXPlBLj5AHc7EFeebBkwdL9MbKC9M0Ma
X7Y9t8SZJYKji769z6Ac1l5wBSbmMItjFoNCVTGPAOTqatm5/bzHWQvLIKZYZYYHoNuee/4iqRcy
QRP3E6jn9D+OzmM5UiSKol9EROJhqzJAUU4lrw0h08J7l/D1c2oWPaanY1pdgsxn7j1XIBB5NGDa
w0hoj8gf9GE/E1tGRaYM9kMN3tglAs2bahjhI7+H/jxQK7j1eLE1YmVusfKVi5bRCQEWzYnLAdHv
qeRhNMN0RSTK+PSiqu+WE0z2tlguQvybiKgjG/GBWAfosstd7VO/ROpbT3qri5q6A/5TU6MjHDPI
QtQYhPG+0r4aW55UCjSJvFCik2FgwTqhSINC50KPUQ/rqx8vJBPm2k1lAt+QeRYz1JcpgV30UpHI
A4HEMtXkViUoJZ31i2ki/HTZZyhwDi/tmBzJR3vO8YyQN4MwgRvOGk5OtL5Md1LRzXDR7vsNyqCF
SWzWoZrHsOd0lxx4Xo2IPKWDzkHiqulMBuoW5mlT/lrcqRH7Jh2ZiEPpXbYLmR0ovxV0YCtmafOO
jap+72DUoiBxDqS8Q15VS8ZtAYu4noOGv1O9EyJ4wskztC8ifxzv60ILWz7sC+Ln9zHH+BQ/0XSS
QuDknzVODqvRKUU/kpyNNZIIbZ8O5UuXYtuAbu889Y5nU3LCzIJQCkyvGr08f2bn/+RKco4RJMYH
0Thnwp9dOQIV/FuK012CaHlxFKgNwqvkNKOrbS0Ua8gP7IRd+5ztVJ6fVat8FNBnE2DWVBhoUHFV
UiBQ/8+/5JhsXeZhGZ+LAj5N8UXylrEYqRyEu215G0vQlHa7JfZD6+HUOPNeMeJzMbEsmz5oLINm
DlZ4AIXyO1BtTeb8ypL3a4iNbYFMbpXPlQzuYhCyFSLukmSMvpzKCTT3ZRmwf9CAAbet1RAIvP46
2r/zeKiip4WThTzBhpi6hrRTjWTTPCWiYMVncGcQ5G/aiIuFsNiWlBYWzjVHZ07crSS01S4OBiZY
3NBLXu9VcuTIiulNBFpcViAQAG6Mbsgle4sNdivOov5bloFV++JRKGEweF0TMMmokErSaNo8D9x7
RZhMt67Pr2pMp8qsasW5SCXe3l8FqJ7TOG+VpAgxWz2ZEnEDe7VHi8JQcQ0QGCINEgbUHEzuG2v1
aupCviKvENS3pkaxWVnwwvTZTwcE8RJFc39fDPR+U4DJ7csnhU3fg8zZuo7O97IsgcmsrDSZZWgy
YmDDC65poYLkzWpNhOw9V7ISvc4UGwPYU1NazyJiEjddtHz6LpPpgr/yKS+IUOfPXFsAX1vnPC5s
VdxhOQ0THISIeZ2izPTvHJXtHEor8ZuEpi6PPi1rvI0xB8HQW9idodxquvuE3tZtdX+0GoQHmKJy
65izFDIbmhcX336knItlDKPFfcppXw0Ci8YEHZF5d9GeirjbRs74gCNlZyb9dRRTwDB+36lAL5J5
JyaJ2K/c9USdrkp/cdjqrJX8scvsr3FmtgSsSHNmo6ncP8mJMKTeIUMLvXPPQKIWp3ivJw1ALYcJ
7cxXNBAHUFz6Udn1IroIKf9ipXlpHPuqVGMgUSFqovB/CzN6jeRPCch0WOXKkw1QjGX2RR+yr4wg
eJKo9JtackQm6l5dJj76FIlofnB5ppDoHzIH/aZmwHpvSGwBhjaGyoBYU+3CtHq3ZeuxCv6hiq6A
XDXOA1egT9Dzd9k/GTQ1BvQloSWIaFX31tv8Q9KVHTVJejOq4P4JuhkG8Ok9Uxn9vUl6b5OBqAkA
NtHLQwPbrRl+XPlR64BM+tdMJ/izio9GBFPAgTvPE2DwHZcprurqVJCyoLTNnyIRSrY6rp97eEZ3
JfL5Zk/Kg4isx3ocP7W1+Sxtdr0L6w6Z5T+my2loNTz9uTF+Lh/0GdybuvwoW3HQizJQOVRJSGY4
FxOAmcFLjfzIxAkztS9rL1+iN92S8Kwxo7sT37LsxKSFiGuS9QoHGGjq94rhKVzv62xjlokoR6yD
wyjWSY93BruFtksUsNBUwfYX/YRbbkty02aKY2eMfHvCZ8B+uftUkmXv9OW1pDpyKjiwOoj/wd6t
o/vObPYxSyVaiC9hKtSpYLLda4lDPcF32dyh/i6mAooiZz3PHTVOGp/5/u4TCWeCA1nP+e6oN4Uy
a2TEmnAMFsGqlQfL+GesYYssQr2HcEcX3fhwkq92vRY1t596bvBuWSrJceA5jRrKggOrCqfzazlS
bzigCFXjlNwFcWhCTdeBdVCbjwPouwoS6jJu7qHw7qTvYmXdarUS5Fl1G9v0kRyxY01ZotBnIZV1
48ivHc0vVxIy537XGv2TmjLjK+L1XzH74OQ9p2hfl1DP9PsXavRZCtZremwagz0+4wcrxqH2Xlvq
vjOynzTlYkStMjCZ0PsctDEpfKUZaAYKOoiUGsaAXERMWpJTO71rk3pKF4gKq4PIdw0sVrhlNRNT
WHwrBnlfZgjnvJIzSZYpMzg0MhjgN8ZdIzPcagLfcrbfUYJ3dGyDEd2nwI3N2YaWiW7R/dLMnxGS
db+0GySFyD5bmvhy45ALaY5xYPb2A+cHakquPTRhZvmn8xrMyctavZrk04z2l0AP1tMedzWgs+is
COSOrAG5Py4y8RNCWKIQBnFD+J9EcrSMV0MMLPR3mcvVf2lgIeZEb/3gMVIB2Bl0I6ghGveV0UrH
FtvOr61ebaSB0hGuA/OjDmy/fCsdAiXUAxXPxhaHWERv3aQHjnnPp0R7kYM+y+hU3mf9N5Kopvgg
suofnGYjZU8vDqskbpdqcLkCJXfVQ8ephEyRzQeIQ0obF9sgI3WucP7d5CP46saXCgOT7bxN9U/M
h6qAwZMki4nHNcPC9KO6oZN95+u7NE+Z+q0jLtZ5Hu1PmrY1exbVV5m+5u4/6byRLlb9NcPNzg85
OYDsa5IawTaNjlu+6Yhn8sCIPTMLEPTn6/7u7MCzPF3IVrHiI/1E0u7hhCLklsWTrYnANXIIw2Yw
0+e7EzA3DSVftK8cAQc6YmJQe21RBeYywn6Hd72yDV1FsGSCbxCOHRoWR7AAcQAErw4IXutFNMx0
aQU5D4PVrk8Sij6/hdflfMiWBoECrzAzFCdxz40EGsPgYI3JM5pe6vbZbK4rglflHu+lGHsLV2X7
GLkXazgUxZsq6Pt8js0J7WNB/CLg6wTEyT6GZpLrMHA+R4CwhrLVxLHMOU9IfS7mDiFLWC/UJeju
fgYcU+1z1Vzd9rVVr6vxSKLoph6eF9c3Iwep/dG2zm31XOrXhgG5uEd8/HHDa+2biiWJnXsxcHor
OtIDOFFoN3pIgTXYQbWe/LvTwWxxtGCfL6GvKMSF2STWyxygKBoVl/+OpXBEkjqECj9pcq0KaonO
WhjGlwxIHeZamAgYMRjF6q3am9s7TOVOYjibOqIJiKTzWyWahwhvlGpSyFek3o8/Fjtft/mLzH9J
91uxN4zja7m+jUdhMT1W7/tDZoZnx0F2ui6+i75mZOrL+ORarGiMzeQ8M9IiYuSUzCCOea5zHowV
nLhpQbSl4xInC2YDG5FXdge7HEdfzfhKpTlzegxRiObcGITC2Vj/RtasU48xXf0FP0D4VMFXOjVf
fJ6rKh4Onaptup4V1izZLUJvXSiJYLFwyNagb2uiggsy/OT3ZLCLtU0ycv6Wut9IUe7k+F2Pjm/G
tm/MybZdGS3OXzWtfsPIU53mvRDMRE7SPM9AA1JshpLqJgEvP/H9q0ByGSS7FXSlasy40kRY4ILE
KKzdhCXSjZ+U/HXWjM3IRsMAEzDxEvGP0rrLfiib2LUbd3+Bm27d5NCyYZPbQa8eVub5IoHEfbXE
WUz0ue9FS6nQ/dPGw/1lnSB4ZdVfvDxBQefhvcfmUPlmV5wQXRYqIiQxFU0i7s/diN1n/tXB1t2V
naSXmOlPMn2I6TdVCwCWwLjQfmHG3M5MqhxuQ5d1Ez6fu7RwZu9r3o3UdHaNi2KoPurmtQXB38DT
XuXkwaFQaK7v8w1reHes/gGvBABfN8DmA/TXfbAY2wkDSjBoweGp5qLXeMuKCQtJQ8oOKLmWm9Cy
GULcM/HwGPC/t8idI08Ct9Y5dggnErD6YMyjzsfdyMBSYYAgbV9DTGq8oVvGQrZuVvriRRBC+6kK
+rDlHksOWRT9ByG1Ug2s9bzrR5KQyGvtVLFNmBoWfOH6eiE5z4Y6NPgDgNcVCTLfqvXHpW7KaqjY
KpkOX8Ud/++kfoviMLefDWj1i/XsmmydZL9t7FfhpHtxt1Xrn1GsY01Bu+1wBtss9Eu8g7qjvOHF
MHqwimvnpYNKNKS5n/lna/q1sdXpzmuux6/YtiZcITqlejzPhxzh6owKKo8/1uX9rhMihKuCiDH9
dUSB6RcrP9W4+PE537V+EQZALHwFxPfsvZW3HqH44oxbK8OfC6pkeNeguiI/gZqcVWjJqpd25d7T
3pJh27sMcWCA4OrZ2tZLmxH3Scj6JkoDLQ1qY08isBz9VOXW3buoich2AQY20cB5rf4FkbqTB4k0
uPLjJwpyxWDeszGAqJPFwZGD9IoARh5GhQ3clr9SH6rEETNzl55BVPr4mqdA5M8RNGrHM+tTnPno
EJfsfZp44s5TCvwhcNydbqFJxkBzmEEXkJTqXnv1uYlvSpptLFTjA7E4AFswMvzYkii4j0n86yLf
rfb59GuOpwY3hTThGEb4CFg/Kj+sCR8U+DgmraWivaXzT5kdFk8Wt4JnzmSSy8IV/QFPhZEwxkn+
h4HznDADlThvootC8Y0qN6m/CoZmYktvazleYTLn/ctJljQ2SXkljjPtLkr/4wgAfL8LtdJKLDLT
iZ2JhF2/S0ahSRd8Po0LbvsrhRdJXNTy0jHEf51S33WOtkqSAVEZTUH5/dWJChcasX4F+bg624EW
IWZPwyi4XOoewJX1uZpns73GBEAbghoNUSVDUdC0YD22rnPfDuLH2NXTuc8uJaUSJ8GKkNJKn0dO
A5NAjIIiyoz/6fI5XV/bHO2p5ObB8z+IU+/El4gUWA7VflHZj+J7Ll9SLhPSLEQktzHHsZXxVTVc
sc07E/8NfSDM7oY1JeuH56L9Gls4JIgNHSx9JnIjwzD8iMSVCh+l6v618CcTwiXwhhZo+zTMXWOK
qvr++veghQS2tqh1yGo0/qFfM5zN6DKoHuS2Je5oyOpzxNY7Im8bJQ89Y3JQOyZ1xU/J4TEhAs9p
d3oIDMjxMeSUnNAJoLe/YSq8BUv5pFevedR+8UnfVVsnnZlCoo48PnwEtCtpxfd+sBCtRxb3ltEk
QRL/GbVFdctWkOO3GklGXHhKypXyvmWj1AF3ENG5MvQfjL7NfEDK48zw7lxtX6H3KwUsdkSvPUf3
RxTfUhffabzPK2ZRynrL0BgS+UJaHseUmviloAhFre92n029i6HcOusTpJnZvIjMJO8OEwizk6F9
WoZpNyf6ZsJ2T4EshoFIjbO9vMfxh6ovT36FcKbLrjZHf83WjXxZ0RIZRpGcXHJg7O3y3aLz46jZ
GpTOevSnTGRhF/GljTD+2vGxTj9s482okKgJtNjI1IbE2ColuSzDoa9y1NHpTkueWxfyyk0hUwrG
Uc3IPv7qG4T4zJSdSysv6MNr1BomnWzCLMucnyfMRAXb4gRj6N3IOEHtGea7a8gxdzbPtsvKyFHd
rbp+re2fCgR4eZE0NkBzmAuX7Ho6mu/VugPqHQYaHQB2vEy1b5SnIcWsvhwJOt+kbHM786krXjMH
OKHYN/jurde421nLr+iAPKjvfflo5c+zEo4RE+A6PRYjdD7u1mFAFc+Qbb4f2EjBTA4bNf21Kj4H
eXLqd6emWbo/dpBiMRdvtJFhFXAm663s37RIx0D6YLcvWUT6ZZ682NmZjPfD8haTxVTjGeP/hKy2
3ZDmWJrao+3E+DOvM6LpKY7DgumwPTFij6id21Omnahwdo4KuYu7j+0M/lI2W7s+Pxriaksg3dUL
XigOZKgVYqj9TNdpvshOdHo2u3dVEWtPUs6QzbFZA16p0iT1UMfyXfGZtV+kJDPZIH0MigLykPgx
q6K9IVdvQeuDnN76jgdI+Z3Ca1PhZiqQqJE/66oN8zS2pZse6+1UMhXVZ9XnDKccIYUo7r+zHEPs
7GLG6EZaaUvXchz/AhfMfZJDhYFueGkA1NcfcWtj2tH9tql0bIpeeQ86R9A83ezyLWsLf7IXE6cy
w+5cajh3tRb8cqYo3jyi3NQKo/Yqk59ra5taCXlcRcL5zmEloQErQEDpbFx7pPKSr266no2FYL7s
1WbiTNv/vLo2TnhGobHx6GwWZPcTxhdlD3wfsZZTW/uEsLiVmLpXOpndssxeCQ0od69RCv2h3uXM
/kfe8AStyrwJC8VGA/uRzdm+wghrzPNx2OoJee6ZuCUUVA6OFAmVlaUvRP710ymaoFvqizO1F9PO
L+q+0cXrmpsv+ag/z4JFmPE8McGMQE/DJzPwkFlq66fxs036R4npz+pXCIXv5eSyVkgOiOwbeBsW
ZO+YmCGtbS+utC9R0Vwj3OST36K3rLMeq2VIIiVS3H1DoJ38QOBF1ZNYvIYKuRgT6Ax9jzZ908c5
ot6NgaQtxl4R1z+TRK9OzEPhMTD07t4EdLOrKX2FTn5tJ+SMQHWAMUOpmbJsO7TbkpV6v+aYoZb9
LKO9lDW/9xVbF/x5xVuBI67d/vS+WOMuXupdY8VP9cM73pXrqBhX/b3Ry1e9SF9PkpgfB6EEp+yu
dBSvpPyps+wyO2xa+/EEEOuoVmOo7cazVNm5j8M2L0sSTOrtqM3bqjHJhcI718KXeBvpUj9ywL+R
Z0Hryto9UcK+wmG/CObFFStSI5ALnyurZA1W8LSryuhsygMK6kNclmclUk89+QgPfHQ3MkjmXrxp
Axh7m5NDz95avNKmWhzRae4bTTvnMj0b8YeJCLlSIm+uwEyYldchNZ2o0Bj3aQvq8Q1abcn8+RtL
aK+G7RoFEdnmynScE/Uo3iBLhdIYEdgMockAfPb/tFkejUzfRrdRriGctw3QVdM8EaxL2BqnRxlm
1hhyuQ3OmSHXeaiis0Zgq6FETHPLhS9MzKepd4/RJmW4EqFRsLe/OkXXvT0tYnAKoDUz5YTKNMNu
ZiTKCbwyPu6iya+Os1yUNDoztzw7oIckNbLFvjJySdSpOg4mCpK7nEDskpmd4UBwwgkyZmcj4Hlt
E3mGQ59enI1ynFfXo4UmjpfXmlOo3vkuT+VKXcp454xpmRpuQPuAavBScPE4hEAri3PhaL0UHnq8
qZx8hc3CuN5GgXzE4VVy2C7RNZDcjnuNOST8YKr5ro89LVv32jkcq2KvovLt+apd+1UDPqSkwJiS
B0I7nLPDjhI7Pppbciw7qlBK5yoyAlt5VJ8k+IGhSvYt2YsaVEENvA/tn6eVqtcnrtfRAAk3iBbg
GUoYuw28bnc/N78Rhk5VJ+FuGg7d3J0FlXfyqRO1JpHmJKDucsS3W5hpjrO3SVyUsdcaidel0b4Q
NiyLixjNJ701bw6xR2YAUvISy6NAXzvPpReP6j7Kin1Mpe7agS0UCDHpZj5wZ9zBKQRbSQUBI8vE
SWH9l5gkaS2hUA8zvDQpEdjFjAca5zTiKawfRaE+VrX+WM8MCXKKCHOviPoS54Y/bSNNweOY+t1R
xWLf6gtoCTMkW8GB1V2aXm6/I08c23wnIScyeBoGsFkP3eRcUi27AN+qk/IknfpoN5+m1mAryCnU
5aU9zlVxaJv6EPGDdeuqxkHZFofsVgxlEPdmkIB2A0ueapfy2lsEcs71cZzeaQWQFgBl1dZAN1S/
11YeBzXgtiEfD8TT+ios8H5FGs6dFeZKC0zLPTZZfcrKgpnkLtk1L8Sn5LtRaQLW8iFPUzhVargs
a6jTWysxvw7fo9+HKIO8haKylYgwVvjyOmoUJnM95p8Bm75Sz7v84dWCG2DtWh/EHFnwgdvYhzCs
VnLW+BaNA4/ZDtgC+Qdgla0+DV2oRsB6WFZgEg1lz893+lEqrHJFcu7r+azM7Mq9vp3P8Q1hz6PI
Br5V8toEeW5em7G6smW4dJl27pgWm/uY+UpUyp1wwlYijtWi7YgjuY6Zz7T0gSUzjanfMZTH0giQ
GwJnL4PEANXPkFoWJqE6+hb54QKhAWSCv/JK5razbf0tlqD9nYokr2xlT2SV7+7nv/AW8Bn6sXvf
Jp3fq+ZejdPDquxRto8LCCrEpRVCNyYZsxoYk8q6qQnM658CdIo91+1OpmlRVUF1bB1iIgqolrt4
66SAketjqQxXxWHBdiUu4yNjqcXoc2gQ+dySwt6Nvdyl3HCaiVI40raz6LYxy/IsUy4Q7hrZ7VBR
FNFEaTZda5h5SDP8diJyxf4gscGo93WsnLoiOvt5Ic+NHp+7tjupAHvCFv207UahYZtE0tv0FSRg
KjPSn/jUkMLdZL03Fqkv0UnINtBwu7qadS2XhsGD9uSoBx3Vay+BVHyMkKsS3v58Sg4j7i4dX07J
jrKffws3ejbm8rm2Dnf9dLpOAY39TMc3Rh9uUh4MWR0Yex3GKT9gNZqK11iML3MzPQ8RprHC8uPs
eaKxmLvqUPdqQCoEHLYWXEBFpU/gDFf3MvfBxLKffQKolF83Ca1R8XJjz0x7yKiq1z3S4h6tgsqN
ZcoqWOiCcc6m4D4cNv7L+JV0WytprqWdPw4VyT3OcJM1Q3B2j+rjgJygIuFTbFaYDhJvZD2j2XAN
ryxUP10eeNWSrH+0k/5R0e2neIIoooZlQqQkgvUCw/PCNrPr68BUEDQRTCsaEDqU8kSt70b2p1Gy
x4+UjJNXtyDSRR8kkC14DFBZUbqzkgv0oX+1oo06EyBAJiVqeD7TazF/lObFhH6YlP21bsprg/5d
0/izu8al7drrmhlXNeHP1QNn6r8XgolFhHNGeuZyaRJg6sgJYmf0MryKSkPUnsg8/dAKzRsAtLsg
bMg5sJmuFcKvyZisVveRvdM1I6LP1Irz0NpHkvHmmCKf5SY4DPvfROaDIDJiwhJuMdbECdfIHZ6b
LJQAtRz0sW6mHIqRjezE4Os3anH3w1aA+pJ+NYT/jFjMh+s6fTVWf4iV8pGR3HZF/AKD87FKoeZl
9jXtuiuyOMO6LZP+qGMBnFksWF1yieDS9JRT8ixzdT8v7p6h0hcabPOg/9nmgqRm9lad+K3R2UiW
j1i2jsIt9q1oaawntrV9kGttIOAujUyNlm1B9TYqC5wE7aLZCEXsZS9WEmsU56gLbo0JSFVGPXiH
XMIzIJmTZaSTF6xayRhgvKrmapD2wlcNAnO7Q5I2+8mzJRH2EXlRrnlKHeMsiRVtjdecL/p36cpT
43UndyGSmFVHfk+hW35bZ/b0fPEafjg9AnH0knOoMYVcUDUPQx1gcEmDcrVRaoOtpS+OwLbE4HwC
YBRwXqdF2SVg55CaLUCq4qY+4kln9eUPeeGTCDhHP1aR7NnQAgBSyzAvU/yZ4CYbKk+189PJ9GWX
wacbgvj5aJbOnil29IU3N8UOGzXpS0XacLIdbWhw34oWc2waO88K1il6MNNni3mQoIhUWUPOSIWg
pJnsKFx9i5Fki4EJIgLH+uMqZJAau7aieUyJP2RPp7CB4uOn92WkR8ab7vWLHqZzcmzq4Rib6jF9
JodsJcWBIAXbLdEkz3sT1V+Nc3+aa8/h9OpqldWR6U275Aw8+xRdPuhsClRdJis/C4pL9bXOL7tp
ZyhWiE4qLA09rJwlVLFfxv0tatdH+MKUOwAT2+VCwJYoTvEahQDfET3boz8IWhpkiASjUuMJDAxF
s4RGpR7rRZxgp53pXs8N88txVxFR3/KhTDMpp1RyFdjaZHj4h8WtNdarUVhnJGnYdq5AbP6xu8mM
zx93N5TRRfsVV1hjAaqX5LuyPwgq4ZBqsayqquWLJ3OX1D/pxn5R2NgBRX7BRkBaDHxEtuf7oiOw
YC2tEwJzolHKS5R84ssg+EgdF1qd3k+PiHl2aImIdtBR3G3wyWBU3fX7+h5qFipfXq8TzGM6PtCN
hyZ04ZPNHze0LUdtGMMrQHmU9A8MRCjcUMBhIxE0K+at09XrMPKYLt/ZW6RvBwzYsgLzglG7MwpC
ubKZ6L9i8zACamMzOBzK9x7RBVYtUtoMIyFH/F8u/uq+2slo2aECrU851+yuo6lJ9PjIkgrpmhPZ
V0NZr3hPcyxLkXmNAdWtlNr/UKfZs31zz7ilHlkxJ9NeSA/ZiUkHlhB10lv7pRcwDft9I6kSRrBx
2MxsqMXluMOt0pHNpOP/J73nRfCmpZnuaVdEWKVmIsTkePUw36eEa8RQDLCr8/Hzre0TWJdvFRwg
O4jnNHiwghxuToai3RqNyz/t2kck0JTFfsz+N07tFv68UIN2mvVisqLTOkKWX7IOSJ0aIkQ6kg+F
TcTyURyStZUijTCd3CdOzkBApTkJYjmyHLSU3FOtP/AvyLqi5NCIIozJ1yWAZEB1sTzAVa12s/uw
/KIWRDehB6gFoznzIYX69sneoEDZOuJfzgAh6chOY8GCkyzd1bQX06Z4o7P2mFvvYcXj5bYcn7y1
zs4CHjDylsmkYDkqs8PEPGfauC8V4Xck1JOoWjFhpWNRAZO5m/GDSBcYFapFy2tBPlrWbdJE24gw
xzERO5dJ/fUo+SuxNmUjvbXVCR8GIJJ1wER2QOPjuvCA3qP9eWsJBANjTe2loLRWNjdq/+LNkqTg
MOLUnIpfzxWDxHp6Eqx2O1M9oIc7ton5bOgK33dY4GgQLa8R1f8JWzE31/hoPbz190s1+8TyzqIi
VeH81Wdd6OeZUUmHqO1B7W/TYbx/PyqUbcbkqwhf+y1haW0xkoBJKjmb5lInKyg1j6JNcNp+MV9L
5u3CeJ65rhVftFa5qLZxLRKOmtXnSNr3vfJoG82tT+dbGnU3oR8TCV3m4VjF86EBxoR9/TFHLsJv
xdaNLCD3JOljRm0IC6M56o85NMi1Y3Yiov1s5t4w3MY621pt7yGoiHImRaP0ELhRHkwGJQI/xpkX
RBs8MfZeP1YelYg3Wr85HHubx1Gsc1Cgsy5r4Zf3GJJaeLmaehY5AUTuwHCoyrB3hy293jYrQXAy
T+5XclohwpqOQtFb7ZX7OOFOQ3M5ZbnESr48OwG1hfokqb0U0nN1wa91MazsUhGBq3afvFa7mp7f
Rbwm7exN2T7VA+bmXeNidDVRQjA0nPEh8AYAdU1WFMLs69OtwkTcbF8kU4rEZErRY2dwSfOK893E
tEJH3JeQ2gvhjhnlQDxxjjIwhl3zwEdxhDRSuuONObyTd7uuID+kMW+qPT26z39RaYUCSHZi2WGK
9pDVv4klEqEnPB6c2K1KJjhxYdR2iIQdxLmpEgpCtHTswLoYw7aKw4VQeDZbLN5w7z5UTLRb5HMD
ilA9qa+mglJh3pDdMsW/9KT6NUW0bZ1rzpg0DzAv+GvX+xrO5zt9y96qhORBs4kAyLTg9tXHiFsE
MycWu3cb25+JgXOwYgSoEPKkdUATDntD2TNZwHa5r/3EzENWAN9aK3c2ld86nCISJY31o1as/YPu
Je6CNuQtGrzoqRPxQdWbQzRIfk47fLCtyemOo/QlVVYvmSxvypg4kD3BEauSkVyNRBvliY/Nzi59
ggN22vOMxS0D1hJFnwSpcAlFxneJSIdllGvWIa6jSjEe++ryE00hOxN+Tc4VJj4Az9QWe1QjrHvY
HTy1tqd02obfaDcj3BbqsVpP7ZaZeWQc9epKTTwrbph1vBMkfxs8d6uHsAhNkgP/NyMcEtoCGpoI
C3HMcjbaMGBP4+5qXVZeYwa2xp7TrUpmFI9cVaVvCc2vm2dzIHiTpJsIKGj+tLgnnn9+75RzOzVu
+IS2d4ryetVhtCza7/1v4FnCgeE30syJRI4tho3sW/AKdXz0fQsOXk6nSI8v2I9xH4pIOZr9Ucsc
It+DBA+CUbrntukvebReLFO/oDZu64PVIJTNhM8RIS03WCZOBkIp7hqaTGRBB67BNp77wCbjWpd9
CN2tEZc4ys6IZzLiRGbbDXtNwL2qLn2rXXVk9FbdUKg9JI111PrhNDDMU3ijQJmR7D32bDa5to3l
l3KXohQEOaN8wlEX5DJZ7DNjRnUxlee0DXJphYhcN+NeLCqE4r8l/eSW5D0E9zU/mlDNc5ogSH4s
Y9cUfln9CDfpJlntTDYszjUNG5MV9BcKMYQr7x376YUw6RKh2MhOOF3hSlMA1+RUwYDNy6/xvobl
knGhSjc2VgvXOGS9vSmA20VkycNkd9d+NzENtqPWcxkFl+kDRF79bKuMfKf5mKYvSVc8p5bcJjka
IphAeRqfHNmeEBBE7CwyouoshdF9i5BlV6TudcEgQZTxW36sWg7hBLUQZa1FWZtKzdO5o8aW7Sge
BFev/PZ4HFU9ZHgWTtjImh6dP+uKKgaJM/ShhTkEow0hQE6fHqKHrzRuvTSLubHIDUEmim9XVz/x
PzJZNHYacjWLrTq6mPeieipi9kPA4Nqc6DcCCVrzqGss0fBsfBmuv+Qv/d3Ih8ThRM/fD8QHoLE1
OOybu6lGOQ/Tl8O1MdJMkqGwGZS3hMtC8iN1fFfUu/u9kdF4sSZiJD7kwWjdZjH6hVP5TGzIIIGH
wFJm2eqCfZfeXnInO2uLeVwaTmUCRBYij3SCrP/j6Lx2ZDeuKPpFBTCH1w7MHSfrhdANYs6ZX+/V
BjywBMm+Mz1k1Ql7r53lF8SdTY0i701STvNrljZXvlqaHrW5BxuGY7D+bF40sHHwClgAqiyeZJTl
szfvpddagPFh7KMpZS+9Ic2HFkYFY0pndYn+3ikW6omr771kjgXHOaflT+TIUDA9y5fqO95DyGVM
Kmt3gA+3EdGStp2n3eSHvUuos3EhY71c7h12/D7zR6TcksC5Xl220cXJaPP0NDSkMA8cm94kzVJX
pjfp+ce91Ds0w6apupsz6b9rRXwoPAZ0Yby59deWDV98Oy/Z3Sp9QJmPDJ3lmGW8leP2rNr8YQ7Q
WWPjUpr0cGLzG5nQFqb0NuVg2Qdg7IL1KMRASuyZECgteVjNFsXac9KTN3nU3qo+f+/K4b0w6ndj
pX3Gb1KT6GSY1QM2UfdAHpgttc+tERi7EczMYHG4WGko0+nLcCMRXx9SAImw4Jx8gwo6pyiKG1id
/b2DYmQC6tO+bek9Q0yRE7AgSHLO4FlZhnUGvubEY+fskOJtUM2AlpteDTBECDFf1/qqURLNp23Q
8dZQd0IdGhNW04sOceSYvOqxtD3mNpqgwZmm1THh65YE3phy7Aw2Q7wBnhOTDiL1UsmdmXTIR9sF
uNENfnklfwnzy61v/+aD5VRd46QSHo9wAw5VqNYZR1EtU89vFPEfAoKZst3zSb+BghlqKZxjEkYT
6U2ZlvdOrz7SYvsoNzC2MQN7uo0PtNqUmEcMk079qfGicxZ5w4YhVre9/Shz3SLCbGQSDAtiZnGJ
GaPtZH3mbptTUYbIW+MSKeOKnI2APLoYemfpI4eyZC9fIlM/G4m/xWW0fQ3ND6uGcD/+JAMO95mG
mTey4lWkC1YRadhUck3cunFMpkbyrZHV1ujExL1QxBg4yfamsRQ7PU1zMTOEjcNwVQbzpmjZo53L
Z8+FORYAMTfjDTo3ev+J3gEa4kVa8cZ8xG9GCa98b7962frSoBxO7Rtxq5r1lch3CSCE1a1ePhYo
hrSjVBHXsoLNZNzSpy81E3U9e1OEJy3CWyLb4/gX+mkLSAO7siVVwANqJJCDfqBYVE91P58sksV6
ZEkps4+X97xfBF6+m2GvZ2VHQgd4DNqww13F82WVChMCy2ksiH0b3Btfl5CRsvjwVkrtbU2jzRH5
9jF3n/o/5f6yaRePVRufhrm+MUH4b9LmD1tsbCDA5SqkBJX9t72l3+k2fe3G+Klp+VXav64qyt30
2RG7MNN1c9c39GQlMlekbPAuwnJfmKLH0Yo0yfhdMutQ2gfFP1a13ifJzb6QL4zHXlHuFPa1fSKp
vWJtFWeGt5sZUJQFMqHhDN0pAwrrj8tvGxlFguqq7mU4EZbXG5m3A27CjHOwV8am4rEQSSFpBKfG
g6fnwfB7HaobAtjF/MBrarw6oOmkkwOVtrsrGEYimNPU9I1O9sGsn7fJ31Ws1Qtei+1iSrAkcQQc
Z2u8g/a9rtNyKSYzrD1sPY4w/h9i2dp8orJrXtB7w1Apycx7Uxvwxqr0zhbocxq+jSa/TydN75/D
qD13PX7y5j1f3OdUuu02AuuewnUjwxEZuebgWtc3L9srr+xIaK5p9KWvmD07seo17hacl3iITRa6
81BAFuGxIYp3MRU/BaGx/WyQYtTXjAJxUTlfgS9eWAkfUPtP6GYWXye0Q88vWg/hyvhoN4/YyZ1V
QUJts7FIs43R4VCis9g4YDcD/UPBggBoR62HFsOpbO8jadgiXtVqu9aZRAIAVPiYEUKJYrdQL4ZU
s7kEjqVG0DqJNASu5jNA9BefoJBjyoWk2Cxb9xwUthZIyRQUixGa+suirx+L0sY2sROxOEnxoxaf
6bhH2iC/tVvx/iZOA5KOWglzpoYx7mJ50gJPJ/RkS5LbC1OUxzVgUdBNT51dhM4D9FOo+cWsWW7W
64H9n9tNHsW3aVquou8euYFTm1/bZLqBHZQ32yd+dMf+/iI7gu9BS46u3ncPil5dQC5BCr2IyryW
K+SJXHhbS+WF7bNr34Y4fqPanWb81f1yzertep4RN6kIqm7EDeARNuVzlSB1aKwHk5llvFGWZmJ+
9KZ8X+BRPMWxtkglMErU84svGCu1qSM/pdhzd+ZKdbGf1uG+UQV8tEhkD/7agWqJB/RXtUtOzBm6
DzF7CvVkR1zG35nhG48HmolxJFdPTliW4tBkMapcSYUk7f544NdBgDAmSpgrFRvgjqQlziAGIuny
OsdfvskQYopsN36TlEHJbrlM75v2e6eA1DXHQg2JQC/WJ7dFj5KT6vwy6Cu5Jw2Vhw0JQ1XvxYzq
9OJGENxt67k586AvpCvogs28YhitTDXkLLrMlRkNK+tvkxFHmlK/3oXykxe4wDGokJ51XdrtiomV
VC4IPczBJJ+ULr9HtSFX50nTvU1FgMlPlSJMN+ONVGOUAMfG1py4/9l2+h8JFXhG8TTzHMxhYWi0
7T+b/NWp91FQo6Bfj1rzLV4KH2F5Dbp5ZiRArIhxSpSFZsbRWr9boRFIuEsdNm1QC7stdvdJdsng
nUiy5S0uRrIW9sHt49iRRlImrLBUEWRTXZT0IJO4GH0TyEYSFHfya3LVE0V2r8qaWDTqbxKKNp4u
lvGlNjrrg/HnUIX706BeoGcl4Fom0LfOhTOmN8TJUiIHLmuiJj13J/TGdFZd213qCcC0bThrWx6/
tt+qmIn3nErFl/IsyM0XBkclBC8NbbOkY/nh8uE+feETlDMhrKhmLu1XBda2/lXMSkSEMHUMWmOv
uVSLl5wn1rJs2UKbweipUJA7SFVY9YUnaq/el0D7AapqpDdTbQl0PQDdYNbowTmIV5anpbumjmq8
yFidY56xW/2TxM1pu6sTC+QXo4FRkFoT7FkiWvEsi432YrlUye5g6m694qe6LlD/lHQjpK13n+tB
0k5+cTHa+WosmBVTmuXi22LDrV+fO4Ww33szg4RRvW1MPyurPEuGebrjhSXJWrK2aCLeyTISNtNO
sajUw8vYM5VaooqOKL4IbFMR/Ltk+8A24ww5+Iz1odjlj/atBjbGVqlGQ7Ua7iIr7pBLFMu0i/9O
M89CXbl4zF2LF6dfuLmHxjF6wboWkEpyW2JG/sZnNSIKMtA+/UW3r/NBZEMgCbbwlvAtnza59dhC
Y+5U3Tq38Xyycbkc+jW7WKf6C4Sg89cGL2w4kAcdckg4SEZuzanqXJ1krMFV13NSNzdDzh5kKpcl
B0POupVBGk+Gk/7bmL8WXmR9msNKQldVk4pgFxFnYVTp56ZXfCFEeKRf1l1ZqG6MPDljBo/HaOUn
xFDmZgYjBH5CJnetFWra5GGYDzEf+gKflaqLb5Gv361uf/21zJqGOCpcix/ILibkTIVr8+3f2fSn
xlljy1LAAdRfM1WOKzBCHaTql0DofQRKi+vKkckCEhZLpuEpz1kI9Owoi+Y+ZR99qYdEv25LxyUv
MUsiXUCn9arKYETfXArGy/RxWBEHjPGinc/q/IdJdk2PtWWvOfjGs2kfXw8IOe9uzUmsSU7Kv3HK
8GRASvsqi4J8jeoel8VDVDLDptQvakpoWzw7pLJ6Yp8aF+dGv4TcDrxrbSjznoygp+YERgjLZTHU
AZNlko/bX/pru8q2q8wnN7Nt57n9VFCEm76kOAz/yldFfjPPhMiYDASUmvfhvMiHA38gGjkJ6uf/
k45HmgMmthmq/aW9zAxti4iyEGbk4vBB898a3gh527wVLUm/QJKaPqmUu6LyGhDTeEU2lllYetMG
yMPqRACGqeBEfK16gW1IOStJeWLROWSnaVh8u594+mSvmR8wZXk2l1Afl8CK5OvOmbWp9x6g6uEA
id+d2c5rve4t9eIfyN2YSTABQq8q5jknCrBkpFDhAROl/eilmD2L9XbGs0rdms+YaDEprMjFy7th
xncDNkAvE3xW649lEg9lFo+xm24jAK1yfGBZN403fdYf1b1f9Yc2M+hyFl9VDV7PjhbE4EVvAGzy
ox5ynXAQ28TXPbo15IsanCoPL9uP/QEI4Kb3d9ahfkVUxN4Sd5TeXpN3WzdOmfp7g5fEskdFy843
FSAVS5CYFuEoIU1l0EMq4KhweQw3BXZZz2iJ2xhIkBgRqR6NteEwTxwxsZgtM1e/DE6KbKOxD2mN
kGaDecVpRFHQn6lSmKfR+maFfc1kbA5ZfyfVl9HcwEqQT41NuMmXgQpItVW3eLcZfycBr5yfAOFJ
lfplrgYKMfoQY/y+DbWVufzDAMdaKcZBxnSoDZN3XH5LmfC/SLQCbhwnnEGAYbTJPRRRlcehSv6A
gdFwEhUsNfrCb+6ay27OF2QihK7PzHqWNg6vQ9Qs4rRlDAKnLxGTGcHER9+KTyuP35nLSNeJWeXa
O6whpIwlVh+7coImdey8olkZVUreKr5UbLgQ3zyMsJ9tN4RKPIbn4UVHe7YEwXC8gAljE1XWj7qn
gm+3G8fPtZeHSy6d93o5skE9Wsl97OIzY29+I70ffGS/Awk2rflIjmy8Th8iUOTVVUZvleNTU0hO
SXiB+W/pGfARq4/S4KxL5bMkYXRBANqS8qrJv2V8fZSUnkFOZYXtwx86043TLqxub5NhIrwtfD51
fxhDA0JfCWCgRdiHXBdAw+rvZL0sEMPYuYDeCyccBhgJMNeW7bVUeiexUP6qR0sVL2zdNf13rZYr
QaiKeksFiyenoAxdbSitAx9bJPCVdWo051xX3RiZ/RgxCjmYGw+rQkH/R4YQt5IfBk7tvEw2MYDD
VRqRKykuS7kjt9006lc7n25Lm9+tKT0rsoxIHXk9qQcg4TMpJQy+nEtPJVExxheN+q4FsorgZj4d
dvwhpy8hBaT7Bkyglfpp+euXRr6NrdFmhTHjUOlq/aTzGmUfxQfNtJ+w+kfrfTcWTJcH8USxjvjg
TSrkJ4j2Ry/au3bX/Jj0zoOPAhWs9Ai7Vu+Pf/t+8SwUzFVWs+qK3zN6bIsFmc6CzLSb8wIQhGSx
BjoC+iOb0m1mfD6iI2Id1V66sbuUNWhXpgYral4uo1su4w5A6l8flpOt2Fwitt/4XZb+SPP2LcaS
gSLrHV15H4YpmM8NjybVqUflTQSR5HVMY9I6hYGaMGtFUbiqzsa8rzrJ1nXTjLs1iFO9NpxnMTD3
7lIp2gUAxlWXhqvJ3koXxSN9NqQ1gG+3oM/akr9jHhyYm5rBNVeNJ4wQ8oZWNoO9S8Kwu3H5UrA4
S1ExlrPOEnNSSyMmd0TmriNCh/0GkUWT5nMxNCceGnb7RDSeyaf056YloK3yu04gzIVp4abPWatP
9WweXqNcviOtxXZ1mHcqWpJ6Yl5uU7bCsVBCo1lZEhWh/Z+C0uRs7rkvUZTnw+gRCooe6z/4vRYN
hmH9FcZPRx1mvKdTHRi1HBj3EUsdbYsB74XYICKumJCRILoKy8Hw2U6UgDryk1jz2H9OSeNWHTwc
Qm1NZQkkyqQY4XY7pgGYerZqG+KxYf9u2ZLrlDAWw8fuHyODyJYq3rgskD0ar+ot1zoRGfPYh+wK
M0mPeQLyISrz70rF8bBlN4Uu8UVxJlqNjWPFCVww21NfFymDyHacw9kQYVURuyuWc/beQXxMaj1q
aSUsxYpsV5sXFGWLLx/ZGRij+aDJfuiVfM+L9VDLhtuPggW+cREGOkN4XnPjgMESqgVvm4Sxg8a0
xOjbMyOwVmDaN+IzYyRM0SKrXNCGarCO2ekH1NI8+ra5+lHlFz2BanwtHRWbEZYDj8QJmZRHnM9v
QROG7DtAO4fkhcz402v7DBPE7RTK6w7BzfdXxjlfZLoLuZqzOWfEqycVVfIHOdbHUgE6silu2v/u
obOAL+PmWU5qEV+qwbokd4kYla4Idy0LxS6CSVcDFYJJJtZTaVdBr/1MZg+8gAbuICGFvPbXHYJz
ek0wBJS3PiUjNQVCeNR+JKl5r1L5ucr2vctR0Alv+dEMRhsYkcDs95E9pld7kymiER4yvf5aA8YN
N2VSXO2VZPWZCw5xxmRVR+ocIz8s6/uxrvKolJNTThTRz9eOxaxTBTxWkit7SgTZ8OWg8GMBihqp
1VFktquit53POolWNnCMq5EOXyPvhi3aCJ2sYnfXevg9LpknuP+0JPWwOnqD3nu6xej+3NHRBNrv
1lr9uFV8yMtq0FNMIJM7zsQK793nvCLIA+6CDKC8rv+JB1DAA/MJWDnHIfqS2KDYLfMtFBoduh52
kiHUKSadk/szRQmzhvzfHkegZRshAHfXWN+aPSWil/l9hy5o1MNYfTXaLibMCVVLG1/ybLm0pRl1
BlrXd2XCd4wLhHm1gkBmYR7XmTegH8yIJa16RBDLLmANjCQOSROM+G72GPGKAf+NJa1WRASk3jY0
GQasOlq2Ln3bai4w5gczn+/wspQaTC6JqKOxq43eHf7C+SuXe4/fLBWLUybGXWuiWfk76IDhWcZv
oOfyI0F8nmEbngxTJsFgDanNF1jhN2DKVd36Gl/LUOEezXzik72V+Yzm5QoXsm0dlAqBPK/b6Ou6
7pV96zUa3DMs1RWikNQz/mNSsXReyRRXK0tQtcVRxmDWsNkprM21l8E1V2ozZ5bMhyGX93EBxJe6
XbFGa9GRvQR5rbPuazs/C5I/LwuLxaTYPJHoXk9jkB18Zc8/5n7/mE31g9HnR+oYuQsC28kSFCYs
6DXaRJKxqndDMd+wCKaqn1Ae0Lyq9IMph525EEY/AmlZYsB5yzHJVh+VJAE8KRtm9JZHCZBu7SM2
ifugRZRJvLu3dOTFFNAZTiQO+oqwLiXxnFZk+cyXa3w9saV/SHvzjoLz6RunFvK2Rpug0jgCgNFy
ftFKwMeTomgX1X2EgtUAil4YAKUHN5PTw732mCw7CQW9bP2gJ/QFVS+CZld/8l3ZKOd8RMus85M4
JluC3RJmlOYDlz9M4uLcmPopdty4Vr2msty2Nlx2QZ7xknUdahF1J6mqQzsdo4pGShGhrRnRYQ3U
tAWCqvid6b1Mo+0kAtUqHp35wcE9VVKY1FtUsgGYaniHgOiJmeXfG9S/edx86pbyqe/m5yRLqNOr
z1ofP0Yd8DjgwvSS3dOnYu8OcVKHpZUvPEY2mHGNmGzCXK0mbMY0YsUTzWRktrNxmacM8CytqWOs
0qc6Rl2JiqXTP42RovXwM0zWZSik44yYX7YHIp5OdTndcAGv4wccQleeCeVqmF93Onla/5RGG5h8
ATpa61Cx8Xm2mA8t5PpSYG/Z+cXfkC3bt7ONFyXzKeG3IqzzDoPS6CsxoIfhNBedN+sEj/T74c70
twWZyVN83jpMWA0Wihu/MwCcOe+oojuvd3qqbjBY7gNLM6sTLM6ayEIFoaxSgNs82QD5jb8sA4zN
oay2j7FqP4ZCft9ouGJZe64l0d02Qx8tvRcrKMtzO0lXpewuPd/HYvwrA6dvXqJA0x/676zBtDvS
bfEnlxBmiFqB1+p2Jl7Cz7UYvZkT1JY28HO0Q2oEUXpNS8ZCH5Qju7xE6qJGpqYdYC6ex02N7FKK
JrWPYqpdgtjDl0Bje84JFBuYGGURCRYEZm2cqboj7GxHofwyf21XMyZCuSGuNo3dNWegeHDMZKWy
F666N17G67xSzVtm5rdJ59cWO7f0QGiJhkx6/53+GYA4N0Me9ZsUWk0bxp3CUDcPtnr26Q1Bn2HA
Y4wVYBrDer+xt4YeVfpxnQTDP2lBY5y+9QqLSEV7TUwCZdiwTBgBs3PeYCpZ4wsOciDmu1RADbSJ
IDKC4lFr2lXFZVqjLWLyeeOQvG2Tcc1JpDTR7ZvTf/CiCAaVcnR62XlCTZ8RRiEh3Kx26ZyxRVbQ
sfaKZ3VghKXX6phZ0KH2/JGlly/d/75SLlkwgJVkW/qJ0IS45jPJfArTkhIfXwkpc0G7+VqUvDPB
ZArMnmaF9WdeslLcxIf+DxucK49IFPdwN15aT0K7Mcqhe8/Nn5EE4zMM5qP0xyTccvtTV3PIubL9
YXzV35CjT9sYpv/5yLxG0luLY9NuF8DZpAIMXiXprolrkHwa504eYrZ7MUVvB/5x+yPUhtdHi7Lo
LoAzDakCjvnAfzhc8MLIdtCeWTzrMRY7SCQW7qoON6Vow3lcQlXC53VISAlT6LfXW9/3N1qUDWSv
3MjH4lJ8LAkYtcwO+MC51TGRvVu+qPtbDytetTOUAiRRrhFLk7rTroKIOVygvtQl7sws2e4BX5E1
yDtpB6WOnS8wTkYynEd7A9PzNNHK5PgA2DxBBEdT5moIc3TgVPYFAAhOUUe91IgSWTGdxXyS7ZLp
p+ymDHtMmN4DtB0m4XoJDNjBYsA6DHnsZnj6MLlyWATqnn41pvKVn8SIsilRmC9JbirQinzk+KE6
au1Wh8yH/MsY0Wb8NSGioNNeJInmD101g0mVkIFcukwTU9jXKf40jD7YcTnAlvOsqfbvAolkx6C3
YqsJ34pYvRpZlsK2mKCHmSRyA0ZMrQzcffHr7qM9JgWowtE+UNqLq4FHw4lPtJB4lmGMKlHlTlJ/
XVX1gsEkyq2cce/fjtvHJ/8MZOZyGvqK6aR1ztEng8AGXn1y/0K+CzAMdm0FG5B8K/YGDL3UzjkM
aDS5T873LxvRVnng/OqRfEICnEN7qM4j0qq2lIkwtZE7n1VyncnZdEb2sU2lOFP3GPh/G1BG2pdF
fR1kI0ILBWjDwrDgUPj4r7yEqjAtYa1yplHeIQ6P7L3CWlNEbZJEna6GM1mfeZu6svp4IcPiMj6C
IZPye6+aVyn6dzRiRxbs1xPJ0Y3eSQVZxMOpzzmARgk1Ii80cQzxZU3qaLaKS2do7jwjXh6X+2Rk
T6EC/TPX99ZFDfwobcLihn8IITjCt3mW8fCEYqFN6qntuIkvWOS1o64iWa9eDNj5M4UDPp0KX68r
f08GBh47C0SnLxfXdBW1x/QEYpkWsaLyHFIznBaJsSBzmyYNE00KrmccrCgfuoXJAa5mkwHRZDmI
5Z25Ra1M/5pVy9lWGfs2LAgHcq3B1jCUJD0dbb40IjVRsY/kri4BvfPWdr/qVnlblMVbeDytoUJd
PtFpLXcB6Lvbx0C3P1EvlvJbuQPkBIzR6uq988wTsqggh8DG8AM9u5jOPPUUHwVJ3bmf2bMLCuY4
4uGLs4SJYe/ky9daIhkecDb9w8WqDp+ZpbhGUfLtMOHnJpm1zoX8pFpuZgInSyJ0Y45mbEw6INvo
Y7DuGhqUPMxOSsuvQe9dNR3dEdN3Wvx+y960uPXbocfTwQUGtvRFQ/aqtQtG2t3Utvw+VjBu6WVz
/88+CfrchaCfFrRIW131JEiAv70gN7alnIeY33QBZvCFa8tuJTe4SEMPkJpuPxdTPP8TpyXEIJvT
TbP+UZlBwXmyG6RsZh3FpG5jZXIGDajWKqJe7S+KN08xLoChYGUd+wRHRKJqo0VipnMj0rwuuTd2
Yp9WjU0dVXmYnIQvkZ0I7qSvm3szx0Sg/s4xfrR5fM1db5h59y+PTU8f6wA3bNCuCnjZl+WDtOp2
hcJtIKtId1y6WqArRog/D6jEm2I66Jvc3jFPBauE3KTuxB0n4Y7DXzYulzTm2y95N3BN0NKoOAYS
cFHnBAbqKNiNdBtULkR9lrikV9A2MJ2pTJGrbGbr1gVZ3udlUN7wmAiR3bY0fWuN8llP7b17V+f2
Lldcu5ZxGQl2sqmt0PRrGfdjwyNOoYvEiKe2F7NTMurf4GVqTk1fbdNXE6+Exe2wsjdLlz8aIbJb
DF0OACLn2Si34aQjv8RayoXLmn+qmQrl67EmrnSXmYDNBGCzfTBtBl6IP3HFlrhiURY/9L0NOsud
44JoW7Y6cxrhrUM0zg3A3UAAk2caoLUeO72C9sYiBKQybX/fvnWLeUqVDYOteDPr9F1siKu29i3j
Wt6PSEHWY8O5Zsvi/9NaS+vRps1eTt/JkZYwCqvZCcDiL1tv4+vANp6EODG8Wu2eCoymgtJsp0ra
Y/2I+OuIPzZYM9lnb1tSExmTJyqN/F3E3TH5Y+33IlFr7b2fqfQ1J31iaVDwSmWdwx/tQMx07JmP
qnnibXKkQUA9QgqTHWoSgcyCO6Tl1ibL4xJvtHkCHn4W9Fbuz4QWVN9FwaZuJVqLoXs5WKd2/afL
YVdVfbBs9O5VEVZ+/OLzHTKiLRRc7lLDcrguzts0IMnE5uNUpXXqCVdIDDOIQWWSShKaK3FGK4RM
Lj3UC5FumlHj+q3GYjec2i1IOnqJtgnHneMWRxQco7pJwgG8pRy3p+o4fk1G/oBkcx89RA3mpTj2
nnbP9/3oKz/9Xrk6BtgeAywVhpVLzHnxArjm+Zk2ARPSVo0vhkoO5tlk1BO/DDMlh1rsvbyFnvK2
bYwpZtufcSUbb3ZlBab8Pu7bcVZtx66oXFESk2Ff6RR3DNPVsIGvZKXDdcFHOJmSi8T7pEt2WJ7e
x6rGAbz5WWH4vbr5hJPnUK2kLuj4HcSc11BkU0CkiVddGi5uXGNT8tTE56Rul2RQXW3onZo/REK7
U3W+NjTXeZpvreFOVXpZKy5ZVyqaR3lTv0C/g9GicxhTKi7QXwuKBb6kufEFwaFqWA3jV+f6ZRbf
R+ZKMhVO3FSHrFpZR4t79bEUq19qgz/+Wg9dantIGk+i0M7v/GLn6g0Mdg/t7kRIL4h1CZHE7O8G
BkSDJx+gIOa2esMImlVs1NugfplDF77CngxAu8zen9a9KeQwXxhMTT+zpgRTQW6KesDVNbcXJnKR
gjMZkr3PWfdFOEOqy8EoN9cpy+9x98oOQaCQHdRHnApfqWtc+2H5Ca5kJH6PSddK0uuEgXu4A9gk
9HD8mOr+k7+aVE4N92UOLHMKMb4SjIGDKY5wQQ5izf0xJ2nnaDOSFLZ+I9sTUbIVYgQ8m/H1OuWF
IyeHyrRP7Or5H+XRbloYIFVfvajaHg0OpqZWnCx0SkQvTCqfOPNEDh+Xv4XMnyu+8pKe53ogbR0Y
XTW0Xm4lcLSzEYJ39phrRKjWSH6Px/ydeZb1u5u2aBxGzPUku6ZJhAlSIuKSCK/CWN7JPEJ4kbnZ
0D9KabqtBqlP6690RH1WFzfNa/Xp1B9HNoXJWX55NNh8G9pHL2y6hQG/SoGwo3ZsrBod7gqdQT7o
m//7NFR8GpnO+7R0Lut5VyF3qnaFGRW9dRUwgoT4ozRLSADRIz6e9GL26o7TFXpFf5316ZJ14CGW
aIgNVz/BI+sMPMgob3ed9BfOxhtrprOkgXqVA6VIWNY3DiXGZ8FEWWhj+K0zQrYfKJ3gybJoqtEt
bANjpM2rjzJZQKZYPft1uUtXTBEJ08LqV6H/VZYJ/bRCEM5ASTiJwUnyymEh4IEOdeJVOV/xnUWy
0sKhLQ8Byz79tPJJ5mn2GrxiPu2b5ZINZjhWTPUzj3CewGyz2z4sd2M1HqSJ47GFwwWq9lwsCeQx
2n9zOG2NEb7YRr2BF9UACA8xeMHGljiS3n0Bv2DLMwoPjYp/NO/rBHN7LMEZh0vRez3spfIjvqpV
8m216RerVG9hM5Cchqw97wIapS7u2Eg2mQtWSq6n6gt1jkfWIUBA46E8JQLBiVeXiD2k5QK+0Qed
WqGSUtwE+TJ4CZ8WvFQKV3ELxOrao/9eDCb1n2uduQkFesakMesyT/6tdDJrcYbMMKSKasTl0Plk
yM82Wtjss2N7mQoRJa0VTEBJ01n6/E6uc+kIdgBtelpIf1MLEigThVGN6s4ZedLTtXZTyrjGbn0p
YWKJB4cGE2/a+F43NXHtg2vn8nOP98fnA8RJaN7HrHpDWfrUnvGxrv9lv3ssAGnY409Rycc/8g/c
A6X49rrQGufTH+vcJljpEBHNHTAiTI260NFDzW72X2ZhF5e3k9H8LnkZTxXOCUSTGxS7hfEkSk7y
VI2JhlOvjhf7LVvMd9q8Nn0fj1PKtz4y0A7GY3neqyWK6+5aOftHqidPZGHxBKBLhOPHUe9nb7N7
Ds7fR4mIuh0XjMbDilxuSP1Rh7ePu2mCT2R0qW9bwnsV9ceS7Vv9jTeqGm8p5awdPxuLRcK4hxku
pcPJ1sug+CWx6cvgnIlaIoDnxWRkd2X2pxa9/WiW72s7PeNxvzOHwDOF7Te/zEV1axx9VC57A+7k
1+iaxNbYRMOa4+TTFFYM12Y5MM04eBEoAEcXhL2Z2hTmfO3j6KjNvzoGD7X0avWffpkvqQC0hzHT
wwiK+nSDE66A7yu6NJLzkvmiTmztqM8sZQT6HVbtMQjwXQ139g1QkaM5JveBRZfycgV76v9YOq8d
x612iT4RAeZwK5EUg2LnmRtiPD3NnDYzn/4s/TgYC4YBu62WSO4vVK0qEm+XAZtQgkVQzFuUzOj2
T+OfVmO/Il3zmZrjTtT83KCX1ondlB26WQXVaLP9GWGn7o0VFFkbaM8TuklBYSPL1zEP1hK8QcwG
3OeZb9Sal6Fw0OAizyfjH00dg3MtIvoRsj6FwGeh9adIhwS4Ifubztzq1DCIMo2Om5/E7A0FdsXx
tfNwJfAiEBgO1Xy/IV1FAIke4ZUgMNMrlNSrf/XfysBvQfgIXDHyqlUSiYaBi1hLEfWbQepsoWAE
mNj6ZdD7C+hsYr+sfnQlObAVdDc8slSNSgNyxmI0zCUTd34x4BJSDVSMLrov+VlSGxZaPaMHM7dK
vqYg6hi1E3aBqMvs2LTn0EpD2iz1uBRT3O026WBt1N/JvB+7ezkst0U/ljbVaAVMEqWVyzQzVDTq
P8s89SOxU/4IPDEJgOa5e/vaTEQYzESBHypYyvm1MB6MsQj22M8mhMxETflg2nvtNor9aBYdX9dB
2Cu8euuCLz7bh4+Vu4CABV9cxgt2/FvTD3eb0kTJ20f+uh1y3Bqy+BwKkhf0gwNKQMS6mpLZo8Rq
ivvxuFtSmMxbOE9VaK1y4KLlIpXEIWd1HWaeeVcDHWmRk8+E/KtZopocYtCLzGdsK1IaOSQbNDKz
zGNc6Q9qezu0b6tWvYmleUVyH5Xmv7Ez7io4Y2xMFyyR5xk59V4ejCreyDUUE7HyXQd6NIlgmPEA
dUgo8xRMDUAEeR6stRbu8KwqLOerE+vyocbeaBYSzJn0uluQx32HB//z4Q/8OxCEFdgZK+qNxN4J
mkTxVkwJ8AuJ/uPAOoczniAapoYCgjdkxpOM2mIxFvysSVBEcGIGSvii8BrjlcMJPc0PFpXAKbOL
To1mrOSzkpa8aC9bQCAH0KXhuM0y5F865WVGZo1Ei5UdyCYDXNNP96weZ8dTQWOKnW83eDXG9abx
C8tGqJTE8oiX3qJbRUuyXJwkvUpVe+2l7sqc4VpjNKohHFjwjKvduDiuUdAgjI91n17jId6FjKGq
g1GeM4w0PQe3sAHt6JnH26Bdr7GSI6kQSCo0zCoz6hsCkVlDQzg55ksaNme3a25ipHA5FgMEjap+
zAMnW68RkzmBIH2iuqW4NNIzYtFY0614zb5FLvwpG+N6LGLKzchy+08JPNa4yienp+LBLCkgM+X/
VT1PCxt/Qj56JdIG7G3OfCwzwhD7l5RWlpYHlZKM04VVLMl39QibwABvnRho+aXTwMeupQwtud4t
RhpriVdqboOekB8iz8kqcvWBuK10uXkyIqbeMe9Cah+seB7y4hCFy8DHU9X8U9HHj3KX33Mg/Npz
OdPDabVZHLcbEnT9tvQgb8xvO1evSWpckH8S9wYhzOo8SewRB+V5Se2bBaVfUVMWzbIr4DRI4HdU
CeI1e+YRAWameonBtX0ETFp/cL6d0oJrDb8CvSisXsXDT19YEQqZP5LToAb8rJXhhBQRlRwy4xRP
Mfc/jE6v/q5VdALwse3hkeJYc3iOqcwWESIZNV06c5ktDU1WmBq+RoTSNi+JDQasMJ71jEtplxf9
R0uppjoZjgkOAi17eapzxIon/aCjbhPnUpFj2TX9uR+wVXyJQ0Y0aBZP4Why/qx55MhAm4w6IK9P
PHPZmgT9yR2qADNV1RtrjA2d8HMYtlvCyMBBSGLyaXbWCbD+sS861kuUnBSgg7JgnwWlMqCZCVp1
x/Bb4Pt9yhn/crGZuPUS+dTUH5UCy3A1g9KdCTDU1SIuRgWDAEARZaXpN8/dP5w2sbGUFxSE/KSp
5Zd3JxAJi3kYsbJt+p+WLEcInYRcHFpVCeUtCSe6rO1zHEW40kjSBIHgwUIYbVNGJWLD1cIUgURB
DaqF6AIwPJAN3MJaA6Mtg7li0sNLuQetDaarO4y03HX1yECZDhlU0G48SoMezaSAdKmEfosuqBpJ
x0JK8DleNH6DwlQhQx6AuZzk9WMECFzOM2ro+dg11X1N13sdDjkCA0vRrthmr9wqN2O2rq0dKFXH
gxHKBMpNNu96N3Hw7dIG6ww1VcZit+JY7KyA74m5h9SPp27kGXmUDZ5xvUa3ukS50Ufta+FFSeb4
GvedU9JUcN+V/rbYiKIFqWigSZozJdJtaAQ+58qtFfMmJ9ttI0qwANeWTc5ZJo4q697TRqIBkhlN
ITmn29t4HKl1iKqGwTwkvmFDPoUIBxt8IuK0SM4LS5xeVm5MXJw2LqqWmIwjF/s5tzHQ2t15gKk5
2Uw0B+aJFSYrtTipflJa/h/mKn7JWb8uudvqdAzCVxK2yFBKzYG7I5+9QoMARrBFDyt4NDrXKuHr
yZG1baC2CctiqwtIkYGLau1eRjTvPpRQl7mKnwfcXDMIPdcbOWkIUNl+ajl6WL7sWYB/aO6ltrqi
7QNlp883CUzZUrI4pgjQyrP015wgByzTOZTdQCObfAhJKw9JADvas8IZO4e5zmUyDpdELS5OjnLC
EGeDx5LTdXEps9SWPx39lyY5IXApnRUrk+yFSTa6dk+5KBe17TlAUP4gW/ZSUQQIVILFZKWDOlVX
QtY6UTZukd05TInRDqpevf7blPFKaYDGhCUaAG9C1+t9D9UuR8A8IFRtJiou3HuSPxvo63UbfD/k
WLQAuWaFpjlG4MqrD3KX/dkG80XPZi35GeSvI9qYcDQ7b8IWgEAK6lCh6GjW4ejATdaZRLHmiiaI
8GPUWHmUQxhPdbessjAdl6BrSRpaqE/hqrXeh8SIJC5OTyobTDCRkmM3fzPm92bE3JUpucZTB+Zl
//bGfnz/KMmPfbV+AWQpN89i+wHLFL4LbYPrUBdDStY3481ms+xs6ostZoS8B0OuLrb0Lix2tbsR
TSbghsqdl8HLhOGRNqGa7FpoNPVfCVeN21gdoxPlRajZI607WPgyWtb8tCJMhtJ8yI/693MHuqI1
7yEg6rB8JvnjOVm1V0R9JWKqEcSfeuqTNO7kjdaVlbiqnJ0mbtLsiEzwq0aGMJR5tPWPp3u7NwYm
yxvaQLO2w7wBhaWl0dLmESwn5lUsfeglYzqkOM2tWLJqfC8MYF80OgBZMiN1ERHh70bbXeeyg29C
C1FXoYn/slbQ6nXR05eytcqZh9FmewrJsT1pKZQ2yTh6CfdAMkrs8+XDKKB4Q594RewIofcJYjIZ
g+0s+Z4gpoFXI2HkSMKhkxkYEPJgIzigXZP8vkUVCnYMDyyW74ni5B2Lp6T4Kuiy7VnxNlugt00I
rTA01QbhQqQv+4lGj8xK/f8bwaYilXaBdSAFicjY+pOf8dwJHJp/Ujo8eCRVMLJITukcpIRmF/ds
UzMKp7EmGxlghIGeRe6p97s25FGI9eW7D5LpY0FZyG13stx45BH26EmfJtkYPcymCXeQv9Hqe2hz
SZWrPWI2NpMdv2+r+smws2B+hhaxMBImv7Yw8eI4wQTxukikoBefKQp+k6NBgatczFqwkm7WVGBQ
GPkkinOqbZJch/Eq+u3CbIs8AOzXBKwa0hT1vc72pgoBHfhKVQaGVPDR5O6wJVEpMytGH3MKV6N7
WIz4B+2adVTuwFPmrPDJEB+1INPHgD+x3dGbduKyQHtu5m9R7QGmx4s1pudOcCYcwZjXLB4KWguW
A2nxH44T+nlcAFYbpH0B6JX7D+BMyrQpxbnd4ZPkJM05B2cE3kCcnwo5EnnlZri1GybZprnLxXzf
jw5jbozxAxsJR+FMI1+5b66yUC6QoC/6vj2rK/wg4FZjsY9nFSqsVfZgY6oQHMc+hdi1MPyEqows
jN5SIotOU8pra+pXZxxvuStril/M6DeMF4s4yl1joaExn9CLoJ2gUPDaMlpd8HlrH4xWEywzEHsC
LXL8VyNZC7VFQl7GQrGtcdwuHKhOwfSKA3XlQM3ANBQEtucLqH7EeHob1i6nv5cpi6dXVLk6J50M
3LzrPSJBIF75TBz8Bl0KSLoEkFdGv5v9BrhWaFHRVTFsq1hb87McyBS6+dqySGlJVVxf7LRHTN8B
+iKnKo2zMrLGb0WC/05w3sTMw3BzRqoL+A6+EBO3+apRVTsM7YTjd8Un03QHPTIS0l2/KNlR366Q
1V7ELF5l8p9ICjI5B1ga5fXwVmQ9Vm3zVe6rV655a2LYPxsxNpocAa4yGZHCVoWWopFPOct8lRid
RfW3GnvK6P9ROWTL/8kkTkU8MNIg1Y1ZQUrbI6my308KxfEnGWZ9dTMSgGGTAZAJgL1tHYgWPNnc
6PTVp74uAsX4nAnkEQw1Ny4zJaEBEP+dIUSYw6Nt9Rel/mnJI301VTOSaCW19loa83v1Z1fTCAXu
nko4zSZnCWfUGx0kZKPMDoVyBFN9QBpOuPPRmJubszOnfK9KGWKWcc5kpKX7fCbWOa4VSJfIKGbr
tU5L5MlEl9n02d10/fxbUbfYNZwHFSkm+TxmySEgN+EIw6ePq9aIaxxP3Vb/b0ozYQsq8L4PPXL3
tDqbONI746SrmLuccNkyz2ImY7Gi7xuQIPYG+afzDZAy4wPz/k0/M05IzZV5oII6uw+aQj8WO1lj
ThZyHaIzb7jWM671lGs9f0O+UsL2e3o3UpnDm92ao8GzBeKId5px0UkVj+kZa1a+28gUVYvxRAIb
72k/NAi3N4BxZnzvw+wXgB+eiS2whYcnhjZMJ8xjDeNAZhrG4AQd5eRIOFbR1F6F2UWm+i+p/juq
fyKkThvfZ8rj26Hyn0Yq/s+jaZxG9miAWoVShSMqbCijCCVDB+otvEfKRWwcA6RwFAN71wf1ZARI
nl1j/T160ji+r+X2UUvi07K1T2YLAkKMyoO7ZRqJl23V6Gvk7CQwxTpUn+YbSeIju+SEL2WpY2nG
VhhC18rjya6JYBPRP93FJu4clSvnkatyaFOkuQPriL+WlxbuC3yqgqjrkA8nca3issFjeJ7tJVGe
HCb0gKXXgW9IR92bMNPvkG3MaEcpKc1IfKp7TlfaJFwrkBw9K6c1pWFCrZHN4QBXGU1DMw1x2WVx
q6wReOQoTYFWIaMVL1nQJMM1qwg4Pe6bwo4WATLaACNb/Dp93zsLKiYOHQj7ymIylrDk/KxuOoqe
EX859+ua4gBqr1i5wRYTVavqDCvMK9KDfH8dK0bEtfJi1PbDfhmLq9y6moqhxhvoai4D6lAQBMOk
nzp7QKyNJOg8fJpTg0deAKYWlzwvT7X+O35MGM5YRb+Vts/O4tNgNaHcv7UmfRHmfHfOG1EGHXkP
bMxfZija1pvhfjf63eAZJZNQeewlcev16SFt86u91+97ROAsCmDYQSxRXsXPHg3aEWm2tiUveMsN
aX1JXkdpeXBzhUQ5u6ReIGzuQzOB/JXOrlpKUHC7iI28TyTbGcjdhTn4FXJs5PDqpylKZ4zk9yaf
+a+QluNsUrHedOUc4snbsOLKCdpU9Hs5CHVF85BpyBTkJvv5qpq9COt4uvuN13aVZzq0oYy2cK+S
/+eITByYXL7uigWFJRHEohBmGSD9JuTYWNIgWZeZ+S3bBr6a/aBP75o9uyRQncZUuYyuepoYp7Nu
PmaaCoWiCYt2DwW/lVW3EQy/0SWmpCl/F9Abxk2cl1wmGNI4s5uBIPyZ3WlEtfarZyDayK9CUT4V
2WBXwJr9TdKLl7LJHkm00SqnYcJyrKw/VcHgIOHs/MPbTTViQuBiTsZp30ktA9+Gr8kAek2929Mi
zBO6QIQpyIkRUusoE5sIc0jFfp6/jmNPVCABTSYiFWVKqVO7uGMXTaxNuR7HOYWzkwWi4Ig+Il4c
52upiSsLXT6PIUgKLCbIgVXMH0/94YtzNTY8gdoh+V7pDFqM6CfrWsMNHFXFm7YU0eGHdtAODfwu
iniAnnuIuiZrSR0+bFHL4oYYbU2XLgreJOWv22Ud/5sxkAnF4PLlmZnCmdI5FHhszuTS5S/Q0QrO
P7ytNMmys5zkjL2M8+RjOydydloMnG0/PSAxnKonC8scXsWFPw2786UMkK4HDT3+tvw8928jr+f2
bRA7KytizG18dNVD23iuukE536lk+DyMsaRyY+9GtGc2kdspWe44X/gJ0OQEwOTDZDj3atVvUxNM
7OwrGQMg0GoT6z2U6vRTC6Xs/mGtX5L/mBqH5Rq6LWFFwQSvUD3L2m2U4H3ZH2Zqemzl4f+wRPbG
9K8DVcN6eqw39tNgmxuwjrWBjE8L4X5CS8QFF9XGt4EvzD6k9wpsqm1wkDD8rDEG4PykuCsNkrhQ
zNf3/WOr5BtL3KvSarS82KQzEWt44nSb+SeZjzLSBX/tiVpjiFRO5anTZlBKYEOFO6PDHa0vm3Vb
gC8rkEfNZaPocVDYNcOVUvGEd2i7i/4KLYSsk4YAySZh/MvIhsBD5KSIPaWwIQh4nCZCgtUIdlrE
vL/I4lXN48apYhuviSzKOCOwp8wXPD1a1OQcFgMOR9izo2fOzSl5+q9HHNnZIx+ai62hN6dbz+KM
lEDjsvZoDRx3xtCpMSTrxt6rmZCZ884GytUYkq2ozexZ8k0i8ZaW21IqMBLQ42XtP5sxa6u9g2cz
/ipApaVtuzTbAlS2quCATnTUTWIyKfuZd2Xzdo1Z+lJK93WsurPes8QFMkfmwTBVniWmksuC1Han
6pRrZadhZ7zpBc5w3VmihWicwzaT+aJUjQlDzmI747Aq1ToHN0gGQDNDhHPoJRBJWe30KKIbWF+7
5mGTYCHPevPQN9lPittSJTl+ewWr16fKq3IHrGfkUR/AIySuY5KYDo6/pFRDegZpCjhG+r9Hv5gq
2IFGlDNS6Vx4vgCl7N6Xh87lOzlMR5kSiYH+b4XRUcGW2jqvMyomxK0cIwTPkjTgN1p1GmcEhQzy
GwKD95aBjNyGA8oRvtGjyLBCHPGgTDANG4ReenucjH/AIN4SiYgPbBg22eslWqrKgOZ8FEyt1j6N
dLOIO+EE7c6Zrq6HFZEm8vGW5gFc17wSFRVdjell/bCHNdCGv2mp+SFWjxEJb1IzxP3atPLiO610
2fqD8ZkfQEcN/Uc5jp+krH6tkvlVvHZ2/4nqWpK6B06HB6zAelTecXOMxmttLy9mSAAAOMUFnOJo
l9AVCAoexbU1jtpkneUQgqIUGtrXv8U0QrNtQ077IUWnmhA+UxOe2tjjMbHzz5JRO+EAjC96afkP
ORSlTN9+Whkh8Clk0EDKlC0o11K48NQzt540BjNdfk8niruuDrCYBqtffowrJHn/y0wWGhQIR+2j
zoaw/1DZ9XVr8ZJL48tCgIlGTGcjvmaVdPV5+1Bg3XLNP1/EOQ/vtYzvZEba2oFj8qsFoStdv5hv
UrvepomHxiqTQLKwnmetlRKEKWWPJZDG9IUr87E7VTTN/0TR3ncS7JT0uqX1BbwZGDOOadXvrUMt
q1GXQ0McyeGakYO5LUpoQzYPZfoxfT/p2E2k24hs8hmcn34GwKdpnJRNWBojlMbMTZWS5NqRlhuR
5ZjG2JfI5Bg6+H5mTNZHwNcYDLsRpOKybbrXZVaQK3iDFiWY0+V56Ac9bDfk66eyRgxttCc5+W+c
22OdmF7/jfhbwhsIaa4yIcO2WOzYKtAxuQu7V2R1XK5UCJjaUd32DCHstkAnjLKJJmgeDP+ZBAQy
44RtseEpkGPUJMSo6PdzP+rnFG3/Elr5Dz6usg9l1QpfybdWUJowIOykj8ahvTcF3B0sU26raR9L
bUFo7oX5YsNK4Tpi78AuR+498imt/d4vpJUzBCesMTVtf9sUXzbRLf83JEMcOG8LGdUaiviqGc59
QHJaxzKBuTzJAxZIrI5QkASMSUZkPbMmlwkJYvkNjBmHDtRrzyCAqyUIEGOIq70p3UGIKmwDcAvq
rQ2ITru3ARMZFD8yudyVxyDo2mXFPXYNflV+iNOskTH38eAJwg3cJZncBHyukBAxKnHFyI0+/7z1
f1MsiOWwX6peMEvB9M04ndVpiZYQo0xv5LGJS2bFJbMkrCkJXkwr4pY32OIoVvpwNY2ASMXApCyH
UXhaeOzPk9exxym78fQfy8FS86Qsg57LmssCxc6aq7DrU5UIN0NMzMQ998xMuVG63J22v3fVdLcV
aBjJ/7ACnGHLKYXVbYOMX1W259jNLFerSQjMs2AsssDh1UkX7jwGX8lJs7GMQ9XYRsJ6grR2fEtk
l95hKGTbtw0agCbbrGfKFzKlX+dVY/docoftKRC8DMw0K0usXU9dL2MevOgds1xoEzqDtBRpKbKL
yAQSojXnwZiOmPTYwbH0PYy2+VL+b7hXe0vKHIQ3CuSXvFg7QhbPDhFbX7ed0dUiXH/pOvXFSy1Q
rDx1OM3w2G2Bxgtxa7CDR+W5m9CfFjxpdy9FjKR3s6+ToNCpub+ntkdMiCcQqO9zeRicv7tzbHfl
8q6xj+ojnOpRDUtxODUop60JSalnrziApeG50gkXXDEcu17DBGsY5ajTK/p8ghP6i3fu8XhqT6wb
2QADOMfJ9Qyo6EXj4HraghTNBXV2IPFu7X1iLTTy3KwDWUX3y0qgRNqIq5ZKgaXJwVm0w/7HMNNQ
K5dAdfs7bN5TjVus7YHGPbWatjugexvpIGs6SCNj3tX9XY/aY2L9IPuJLiEUByhBOI34SZo9rGkA
CjK1mVlF1UqUMRF9SQaCF90ldipjtCPZL8leIm303jwNUU+3JZh7bjrOgPRMegFbcgygmGl18NED
radU70Az06Ki3tECk7qk7OTTUr8bQj+ijPGLovPXBIn0oZyR0kEId5BRaJHNQ2Urj+SDngvgp2Dl
XYuQhhkAKuyt6xYnme5tn9271I6fgii8DD2DRtqSI4YPpnzjgi7LoSlpjhbJeMav6mQ68nnR+rP1
y9x54C5W1LM12Lj2rHwKrYIvbn7gzw8s3IVOwEpRchU2BkNNfY9+e5mgGeS2746+MyIA4BOgIOwL
51GdtdehdW7bdjRBWjtpc2CRccdDFWazEajwvSY5MuufZ47OkieXUmqvO2AuhWRWp/gaHQaLAEG+
FAAwqOeO+WQAmpli8ktjQnrp3RnK3rVxf/SKisqi8Cu8awSZnMlnwKEzoErVXH+a2COLxhuiKavD
ZS4iu6hDBsF5ib/2ghjN4P+7YNdivsEWC333Op5UZTsVYPsrwzpl9n8JCybyZ4KdEWfxhn4pm887
kybBpEkMoPgdrNgEPWYAp/GQ1czwDJ+8Fj465ybgUY85gw+E+aVdXm0zvS+b/qjFemOmzbqvtu9E
+olUPuLVuGxHtgbF50U95byb4SeDK7kmO9M147T6S7Y+mlF6mHL1kqvVS4KDtGTMOhfWHadwmQFL
bO67a6XqeVySGKlBTPVdqpr/tfpsEv3myXfEjm6RedzwYKihgGrmffaxvUAB52NTEJxvCFEV7OUm
gnOmx8GUmEG/pyHvzrROK/xndUoeGcGOzpuQpPss/UgOMknHOhnAE54gXFcs1V0jX8ckGxnXlo9U
6dIngpVsGYsCd92zAVRIEdf9HXy5GKu3SggADtIJizKq+eo1U7iT7d3Hx+hkyj0rlPvad3c2Hbdh
GQiSxHme1/44YJ1RknN/13UmBM1w3L3nYqauicqqGVdjcbR5FwQr6yMnH1agWUGuOOBrL7xZR61a
gUWuWEGsxMFSEcDjnZ3C1Rg5M3tljioagr9JzqRf6pAttVsatBtgAglQlupQxRPzvGlBqlsB+9CA
m5W1Oy9bD6jcAwvaFsFbaGdEXMLaHuivMxNp0DLjB2WVgQMvNZA+yX/AYBKv1x3a4FskL+TRac+I
cf5VBeaDtgZ5h8yeSEsnlrP9YqpcRsvvJpUCxIK5IZNI8gaHvIT1mIXmqoVT842F+zxC9hDOrW/v
GtjApR5iPfkczd1vCfJaf38J6Iv/uIP5TY6cgHGCkdgQMDbIEectKStqRcutcVVhoITxhE6CSD9t
YEQDLtS4Efwp/2pg0kwJnr0Gb/iTeKm/2LP1lln6u7XIHyb6CUgzgsh267B+qTgajHoF+qsHo7Ap
8FLoGWWYOSU7pzpU/L3IfomeMTGT1PKlWsSHKpcf+aK9mZyD/D53ypLn8CpgS0mCZZLh613nm9AI
qs1QnJhDVKe4sQ0PrCYhPVMRCAMBplH5bv6xU5+xcJxLlUriwwJGuLNayuFmEyKdEYrTs5xiYFBB
M9TIP+FHn/oWuSUelAmtbC6ko0lm6/BJZI/Wvll9/5q9a0P5UugaDRp/pgUyvXSUsr/ECs2q6leM
5PJPR1tuAFgvTOD9WPIHeJp80BjKPKVnQ31Qbsp2B5Igldt5lvbjtKquSfxzV7PxqQ4pzmjF+NuT
Qbgxh+6ZQzOZQGS2vKEcfDfhiK6S/m58YbcnilF7FW6lfOQqy7D8bM8GBy1MN747LKgSUYX1CmZ5
uFayGfWwmorAKtfnzixQlUfvvCbzhwEhaYOQRDA6ccMHMpqLWK7ooIrvsT/kbr+SGvxwEBWLifBR
RH24dccZSrhOrz7k50az4hYt9rfN3puM03CIFzZm1AxIxohegxhfPQ1aJ656/MY2tY3EoliTGOow
1j7EbQxclAsxu62/NrJLMv1ex9S9RMPFDkduA5FFjTcbwSEcxGbAZDOXb0C2pWR53xPqL+dNQdlr
o+zteSHzYt4zMynPZJmUFnhkKc104jGuucIsklP1AccPV0iA2cRXTHLsAttTN9SEuXYCVG9CczzX
8UQQCd0E3ZZ8MqSFFeUUEl+wSXG7zZcdKLIuGO6bFKI/OvdKj6G824Ft2ryR8VBPya2pRnivUF45
mC1buWz679TR/PpTu7cEsSp31IQHC55PAZuC+W8L9+4bAR9PDfv4YW/tUWPK21Oi8GSYQRIOP3aP
/xHMWMv3ny/Cf5LR+ZvO6krdEp8nxYG56mH/K6eUX9S/M4WvzZJD+wtF4Vmum387YzuQcZU35mU5
IsP/nTJ9UDuQWayoNeo6hV5oFyjubJrknTeA/r1FB1AU/sLxuTw/OhGUaHJXhosZwkHjF3U1UbLt
dHiAIJr6qBZJmG4zY00Jb5+0WkDxUT6G9vGpQeBaE3m86RQ6wP9kAyxBsTP3Am/0u7JqbgjpZgnH
TYtPDiVE/rjybgOQGF1mLy44/XoC0QltEdWxg4Lwv4/Ci8vhZfS/CEq/dO10xehP1wUgGRvOlo8B
dA78k+ph7m1miBAOQVfUqEvUSD72iIIz/ScDNZBAE3GwgUoi4V7AuQ6DQuwsvr6cwfFFclFqOxi/
Gp1Usz57kSNXNw5feDdJzLRuOhlHWyyBJwVk4OHbRJWegW5tD87Nxm+KvZaV0Yy6nTdE7TtTpnNg
c6RIp/lsJQN7HN2t9ewlNySCyz5ICLwVTuEb0p+G7R9sg9PqZMHSiWCa92CAbWFkKCyqTw47iv2k
vGFivTV4LNKeOofgQQjuZUYxp4GRRglXU7fszeeOrfOI8bblWnco6HfsMbZzFgKDUHoGh3Cb++U+
NsODXTHI/dztWLQfC8hsCOmNOcwwFwL0CvmpmxK2vOR9CyW1cFt6oae8fl3sm862MHu3EZT3WX2p
jn28atlt2jXUuMijeaSMCY8VFE+UnfrFeNLXDsj32Rs2NeIllZEHoUqXrjcOa1l7a2O+k8tBCnLZ
HLCWOSG0mLwrT/mShBQtyNftsEu1UCmwFGXfNn5McrJ2Z/mQmuJdFcMrc6CHdnCQVkKbOObS1/yr
9UAfXsBQwyLYrzynbz0dRUFHYf+WHwpqfUZKM7DrBaEFASz6o/8xH7O/SZhNDWbf1HLIwU48E4IZ
6IwN0WvDjsM3Prti3KDukrw3YT/MZ9KI+zN3zjnHfGdYfTymViQhsTOxugBGa9ySzizrC3da/jQU
kSkNCGVkIZ8lUzkrT2NOCiTd+Rw303vexPPaX43D009Q8YRH7blwyVfjGGroYUqFAfzwpe4GO+U5
UiMSI8b90m7mhZCUy5pTtDPAEFGVHxbCcPCfpRDZU+MJ1QEt9mf1bdiEy4PT8pAMadSM6LLhggAC
sS+FhjUnVod/6vpMXFLOWMXBEEsELNMcLOWtgiXYldajYFCv/LL6JUxn5+ZYI1EEDyyk9056NtDF
Q8+ce1uvdxUkhXFbk/ftg73gSbupJ4wj56+4I3IFRt3SF6FxaDSoD5M3reCx/hYInafWPJmXcvkt
8Q9Ah3mzyLywLz7Bbd+VtF57e73Vh6+ZCqYDib7SqJo0qtkbM3Hf3seTRLuqzilZn4NL8/bMGDzI
D/mkg6QfWNU74OgVpcPW+lFblVviE6l7IrqNORCdHQDiA0WVWN35ieuqrjIYMZXbfTb/psNyXbxh
RDKVsESj4yGb3dLR6+1YRbLDhdRfE8cClvXbXGmPNO2uJkAi/+JU29UB+gwq4aUBUDBXYbrW4Dy3
CEJ1SATlZkQLQxKTtiA2ty7GjWsa2ObwR67sWEv0ACg1ZotwIPNhjjw7gXAviFOk3JPJR1FmnHU2
Y9hfU1CQPynldxXXH4GsFxXx96ypvl4gaepOo9SSiaZ7C8CYjGNS5Rj+iEvCtnpUFTsfrkTwm+sW
TxGOR9aCgruEmRPoN3OlCFhNz0pbf8/JkMf2I3SmA/ZIZAuLJ6DFxH46p9Gd3RqNhQ643iKmiMks
MxII1Yp182x8Y/Y5122QIjKWegLNNXJ1BsjmcLm0Fb4QSMUmD41dCf6PtDNrcttasvVfcejZOI15
uNE+DwRIFlnFGlWSSi8IjZjnGb/+fii7j4sgm7jyjXDY4SipEnvKnTtz5VqDSPBN6S0FoSZrhZ10
n+jAQFJQItNkuRJO3ZYi6T6t8ns5Eu8aTQPkBbE6fVqx7N4g4ylXPOYGalEmOnvAjkESivUdkNMH
Co6Po2A8ydc+5ZLyPc1NKJNZJhxgNIGI6rbsyb7rvHcjSD/ZFQEiY/SQW52tAGKqZYDxgJhyJYfl
0L8KKNAFFoRj7rVHac5wjORLLBPDQPSnJ7C3SuYOmYbY/awNIL5g8ORhYID6prW6oacsWA95tDZe
BW7ddcyHdrQgN7QglyhQ9sRyn6BB7vN1ZnVwKzhUlnaqiF9opFWoiLC70AuU6lc9Ld5aYKAVJKD+
NyTTGw2FBeTssyze6K1LOh+ZoaG1DarUAM76RN9VpJ5Fl/wHJcoJLWkGm9S2ACjAX7Mj+bfzBDsE
5vYang3xzkdxqaXHkygppS97ykwjqqZ53b0LpdJY1pvwOcbpBY+ySoF1kO9UYFlVeV2X8o3XAPxH
qu33vmlBvgQ0CeuU80ITEls0GXjYpcItLOjwUKwkcRLmqm4Ty590bGiE1GmT9zb9HYIi09d4ivm+
odPUq14A3UA/0DmtTeGl3VeIXPnZbYdeYdaEdBVNYEMIGgITSFweE0YNzu+j5YutDPWWMxgUNKFW
hJ2uN+9gnw8V2rk79Tbl3hOG4iYLPrnZtlMAqqssntWRlq53YpHvaZ2taeWw2l13QIcRwV/KacCH
U+TDaYoc4epSSwMe+pWi+9u4HB3doBm1J0Zf0wY4Qq4S8baMx5QuVoTY8vAgoGkPqVDgUt6pQqg1
QERYW+upojk1GxGrNwEy5NaDFw6Poq328fux7dEw7+wuaNHoZhohv6e5wrtvJH8tkaFV1l+8pt2U
0HV1OQkpwEkAouhLztjS1I+ttS9GpAm7JjkohnYgw2yk8bVUwk5A40fupRDdUEYG/0elQ4wB+NOp
rk3kGxAKiTRjDSQF0eu9koxo87tLu0IlkLF3TJh32avsI5RZyOu4tEbSc/tBR3rQ4S6Dsi2gwj+F
8uSZak1eSfwyaaoKy3t67j3349jKYHmQG9qZIqSCdk0vcEKVwfg4qsNe2qor1ntTfIrJHf6O9gao
qUDWkV2nShj4qIz2qzvZEtZ9n9yKbnyXSd69FMv3Zpg9VOqqGym2RiCbgxdKR2D7HwKuyBGyOmhc
Nt5DQV3edyxvuE+8H3D+7iTUw6NA4TVEo8gWhdewZJ1ofC/g+svvUePZRhkK4g3NOBK+C+g2zMrb
z1FY3LjCukbBSVk5ev3dbCBZf8rIFegHqDigTJkEZ7i61DZ/NJ6qNdr2W68C54x7pXh7ZYYqrXQW
OXd0WnvI9MtVJXkPcW0+ytGT2Va3n4A8iTJsZQg5cVWL+7IveIDaqikfcqgxQyZZR3lZ9sVbfbrU
wvxW0wNIy4ctVUDvulV8OJ9aIMzIabgeKsLjTVCkN4kikx6CYpTmmabmwUm51OfhbPqSY0DrV9ys
J1ZL/RvocRRxdyHQJIFiQlWBIROhhKWQMLSoIyR2CMZi6sGoafcc4QoHDeiTd4rcq2Hgake7RdSv
ylKhL60GF8uLb93Xpf2i7euEHTP0+1QgxuXmUKqNEe+LWtt1cr2DknGXP6rog6kaz8hsHbbjfgup
Gjz8WdFDwEJn2NQ5uAMX/pp1JgpeN98g5gW5jUqiP8k/qhtjpKiEHF5Q8/zlQVbzls81UIP6fVW8
R3CNk52tWqoRCCCw9oGGkhZAJ7jeH7z3dkR68ndTHyJjKDKVDPOLi2w4Eb4RAyrjPQyPdgx6RQ5h
eWnVLXnY3YPU2ZPmO5Qf0DxDIimo1x8Dm1Bxm9DABKGy9fy7XpI+LXz6yMPygVpNiRLAx98zrwGp
kPCWGiEaRfvLLHbCStSzdUtrTmcidgGMIBsHx0MbEpo5zjUaO816QztQ8OTyVn8M4HZmx9bRRi82
xWCrh3Ljw3arJbcQ3mowgk16h7fAOKFVz7WVenCQA/B+ElEq62uQFUn8w/vJiegsCtGEDJGnXbPp
PgtyZzsE/i1t7fuHKHNGBV1CYYWrQnuXDEICB+q2pWJpxOATEaoPV7U3dcESDFZUuzyqmKE27rAh
QMqWOnVYOfKhWMuHyC1WUCauWhJIJsoANQKRk2J5SUuNR+WLUY9P8sEEWicfptZ89Mt5JaxcpbEV
sEGjtDZuoIqjdFWGpM3TT5M0cVeuVchtpRZKRWQ9jAKwsW2JcFclVNT6NL0GnIaDVgGeBsib+Tt4
UBQvsSdymxEapgH6G7IxxdbwYQFZ80IfaOSrtzHyuWkG/5Zt9FQXVgBUYtoeb5pURT5VuuJBc9VQ
ZBhMz24i8gpSw+OfDj30mMWdPiT7FlydGYNMQ1UEwKJLX2zdP6EicpNr0k10C+QG+gZhl638e83Q
ySbCkvBBpXtExwXFvof6D83sAXjdwpajZtPTfw7FnDTQ3YoQpLBuB3kdkcyIyb+K5F9DKrJ1ksPV
8ejlkJzbVUVu0AUNbA47Q454dFZIhK21F2WgVGl4hzavbihoiGG0ha5gY733xFUVKo+5pDD7yvcR
bXlwDk1IlGWTjhHt64mjxVs1XoL4crZ3dTopfCBtHyYgmB+gVzcM1weKx24EzSoMMwMlVC3f9syp
SMBvQJcktsUqJOcucw3GGp5Mpm8NoeWm2ibsLykhJPsZj+MhDYJDRdNXUffXo6/uiu+KT86rJ3p6
laGz2vxG8/SDW+whLI5Bo4IOanJkiuikVaOODrQC6K9QpBuDra+H8lpTEzRi6TdCmy1lmothGzef
ZW4nH72cgPArRs9dIzVWA6B0qdO4Af3+wHiIQ9f0rjTe9xZ984a+qlQiWWc3irwOBNwrh8HIPuoq
qH3T3Rn1c9LsdP9ag+jcCrtNwSst4oWVjgK1ERrgKJbXJG/9L6Up3veEh7VW7QejdzwoTPTee2GR
Yogix9uUw2EQcfpg2nPz1qSaLWkITAEPC8DVF75QkMNoDlqE529o2OQyAEuc0ahdidFNVhYQNVa3
1kHxYJhoP4ptdOep8gTGeaz6+ikooZdCxkojCeda5kHIgF321J0l784V3XuSwGKnwiEjobo48obt
tu9++69///d/fev/j/cDWqN48CgY/Pu/+f9vUNTR6ezXs//99yH4VmZV9rN+/Wv/+WPHf+nfd/mP
9Kkuf/yoD1/y+Z+c7P3nL/L7/7LvfKm/HP3POq2DenhofpTD4w8QRvWrEb50+pP/rz/87cfrb3k/
5D/+ePcta9J6+m20E6Tv/vrR7vsf72TVep2KP2di+v1//fD2S8Lf+/Aj/TE2P+IvJ3/nx5eq/uOd
oFn/MkVNEw1dsyxJlkR+Xffj9UeG8i9FBe1k0vStypJpaO9+g/i69v94J2n/0g1JFulWIsVmSKr5
7rcqa6Yfif/SVQP5AkuXLNVUYB833/3P8I8W6u+F+y0FwpIFaV398Q4b+Z/LOY1O03RK8YplGKoG
N4fCc5Sff/vyGKQef1j6vUnUVm5qOIhqGGY+BhTvb7oy774bhh9cvZmZv0y/NWXMTemypquKITIc
WbakmSnP00Qy7q5pJyNsvUZdfq/j/nbQkkOhRmhnmfXussHpFx6NDVi+phuWQZpOVSxRPx5biGJm
AqksL+K+dj8h9AR/Y4zK7J+b/2jvvx3XqRmF5l1DVE1TVxmhdGxm0PrYIlUEW6ZskZzuhye/SDLn
8limb307FsMwNFadnaIbiimZ0zq+WScPrlcxDdFpsghaxrBwrAx0mf5BH75eNjTfEHNDs0lTk6Tv
BIMyvKSRE62+dDw+dHDUl62cG44qi5IlapJuKvPhGHlPf58Hl4GiT72SdEx/NivC/+jTZTvnRmMa
CgdG1BW4bpXjaWtzqcPT16qtCpaiOl1sdi8FiapmLdBp/fmyMVk+s0iWrMmGqRuiqZqznVBkfmAa
Yuw55jPFfdhcnz+PsE+Fm8j2f+Y/6fKwQ5Qd14B80U+O7dC+/AF4hdkmQY9HFyVRRwnIYl6PR4vX
rjxkvxRAY2QLvVyjMkAjkyLafaEOyISi09uP/ctlq/P9bxgmDk5SFLYoBQULD/d2a6q8/DKl6Hlj
KOnaHYV7uR4XTJwuIyYUWdYlja2vSrNNGbmQKOXg5WwkV8r1EELPl7u88tvq/vJYzhnSTVEUcYqK
JivTz98cszalNSgNkDgJDKXcGZUbdqu40eon30+ThZN2egZMjQqtaYqKKkmWMdstctFWlQps1ia5
XZFPIzEXDIZ/LwBRsgvKZgv+d8netHvfjC01jVz1qYgyichLU0HXKIB5Tguoowpl+fryTJ61ZtEH
pys0cyvqbCaFIKD9sB8VW2/Ma4k8BzjYKwG6mtYoni6bOrtob0zNdoecETLSi4MDtry8hIoM6Qrq
AwKs/FEwxN8vWzu33cEE/Wdgs+2uq5CiQxAJ76YxghnzK/OxGbRic9nKuTEZIpkcVVZ0TVVni6UF
2hCrGUc5C2SRh1SX1zyg8q77VgJt/vEPjMncLLqoKRDxznai3rdmIeeDCr9Z0qDOGf70koqkZOAm
q8uW5jHA5CsMop4p5lCJh2Yeyhcg2TBVC4nRrskhaKPhQEnUr51GQ37aeC8ZGnuXLU7LcXxxThZN
VbIIlyabs13fGpbZyHSypUL81RXxzXD7rLOR/LCScvkg+x2vFAkSN5Vmucu2zy6iisfSLFnW+I5j
2zWNImrvoozTi77t0+kjSd4+Ns2FST131AjgCKlIitDONzMTD4Vq9V6H00pHW5V5qCUwGmiAgR8v
j2fJ0HT/vPEgIuxPYeqbE/2IflDT5LoX4JNyx3YtUcG4bOvMXaZzhZJfY7eIijY71GoPSSzB6SRT
+30AA1AWpHBp4yzqT6a2C+oFx3/mVB+Zmw2Nh3yGxrul2tMTPemHL6IHYdnlIZ1ufkvWcYVobE1h
nDZ9w5vpq8tUb4sQxl4JeBAPy9ildSmzDI1KYtGYzRqMJRVtvYuDL5ctn4yOGTR5hCgmBE2GLovH
lnspImXV+5R2xSc6nVe5Hzi/boHREWMR30vGa2j0ZmymJccSLUSaI9OekL60xfPl33+y9RgBBUMN
z2uovHtmc5d3vpg3jWzaYWF6m7iJKztTOdXWmKNQHIzWwvY7ObqTPe5knJFE1nHuf8Mw81olJkCN
Kb/hHujoEEk7Cgtb4vXRc+SeXu2w0TVCG0Y2c091kvlJH6iws+2zaAf0ekTlZBU6pjNxi6NZvs6C
dbltFmKBM8MjVFPFKQDBrjG7xKRe8fJCQKErzWW4jXVdTgLbKEG/SbVvNEujlNlfb0dp8TjiQUuL
kkLLgyLN9p8cCwVuzxVsiu9Ocxvt0b9+oJvLhpwMONGvbRWMWfJ0QYu8xWQC4uPNHlo9jwG1MBiP
/L0r1S9qntGWlwiEwkW69JKRThyVyTz+PZXmbGzVkEpoTya67d+0jrASPkpX8EUrd+5NA8TdliAx
gnSAknO3oimTdOnl0Z5dSUlVyAqYyE2Z09S/OXhdVkIjbmnE/Lr3UAcSAkmRh4B15t1cNnTGh/AC
lXmyyZYmky84NlTktV6mZBPsePQ3QFc+q9m4EDOeOEhSJaYy3dRooSja3EGOLpSqMigS+K/D6mEI
ySsjAeLT5qZV8LZHhiOSt/j1CdRwKpqpk5rAw8zG5Wlm6BkxE4gI1yq0voshDNmBEnsPl+fvdKFI
8vAEJRKYBjnPRnSDWfuNwNPCEOnPC0EDUDtGvasqB3nhHXi6VJgilmMSZZnQZ3aZlV0Jl8A4EHck
kM7CYIJ2YC/rC+fs3IAsySLm4NlHBml2zvQ8ZJfQMECzTLoy4k9ImhQQaf/yrHGIZUI3xZwC4dlQ
4MWQrARVCFuhEorklPnsJxAhVVHx4bKh0znjaanwaFZ1pAHZCMfbuwEBoI7omtolJKMfxiYGXI9m
8C+vjMb2FnGGoGC4L2dWIsLj2uxNwXZh9XAj76AJ5i+7dk0WpzuY04pfMGb7WUfYLRAknpVcNp5y
HSaT/ByYBvpDSIn7i/5vcjAz34675Xml8zoniTi7mVOYSIyeyhpaZMMIwloRPheBLj7kfCSEfF4G
gQ09X3Qo+A7k8+Eh4JOuojGmXRIBAmNhw0wzePo53DUE3EQd83hfMkvZjUokBUoDNA44ACMJrgw0
thXl9vKOOd3/00SruiSxMTmus4lu6KfU6PKCirpOYop7FqxSbi3J3XOQa9DvXbY2943TMdNYz+k/
BMXGtAxv/Dww3jKCLmpqj3mQ26959bWFYVagVW4EivdrtrhBFY6baUgsKYmkWVDS1pI2wMOj2tTa
KZy0Vf7Br4TksXJV+dpI0vCpEyLx+bLR+QGcG50NsKXw1BVqaNKEGX2N4WPauHFr7H7ZCDfXlD7n
DPIqm21WM9HkSCG3Y49pew9lhmPIyS+6Rcah6ZT2+IfUPnfZ8UKBayWV03KJtTVCOWHa0JKSgxBr
zfqvssv/mnk+s9d5Smj0WUk6V+Y8rMpRE6xBQ05+HtZ/Fehz3fGvQgKaNu4vz9x8t78Oi0NF8lki
Dzf39tlYVEYCCZUd+xagJVgOkSSnm8n0aRD9J6am8ZDIlE9Cmlbtp9gA+RZBRoMygKYo2EduBzlc
39MyfdnYmTlkg+uGbEqaRqQ/u2DyqimAQxPo5zwsu50s9x9NuJFCtF4uGzozgW8NzReLYeCwM5EL
ph8NYCeiy2umKwIk1QY3pOHksrkz49IMWVQ4yNyepBePt2ESWH4uZCL6arTY+atM1fptLo++o3Wq
+kUwO2vB4JnzS6KFyJpnzPQOnE1kmcVekeTkxYbMV4v7uhCMzjEQ55IWDtjcE7ITdZFkjqZa2CMP
dzyyuBuMuEaUiuJ/7yF/1e8FsUd1FiKyXH5BoPHyRJ4ZFy5eU8noTzHV3JxStbqptZqA5BPg1VAE
S/vr+90kqKYZVlYVieaD4wGVsSkWZUR2O0UF3RqaR1WkrDsurM+Z/cdLRRE1GQEflUDn2Eo9Vn0W
+rVm82Bp4OcOle4p7+FVVkaIKi7P2TzpxhKZ09lVuCAN8ulzH5hp/mCkzBkYuB3AiivK57vlV+z0
ybO7HjOGhEOnPHDy0mvciopYERu2LqXRPjSbMvOcQGij5mMt+Z57E8VNP4yrjidSv4NUJywWBvqa
Gp1/AuBaRcfTmyQ0Z5uRGCdE7xpRvHaTfDC3NMR+q2/o6rKFVfLZdeTvaJB77Qr6NneVrsN9asPG
fnmyz5x0sgdTDRKvyNrOF1YYeNYihmOjQw+ZfQvDcQLHUa9MV4HbLT3mz5njockdqpBLspSZuXSE
VKyled+WVPGauszBHSetzgJ6NT2PnMtje/WK8/l9kzmYu+fCEoFQ9CR6RD/dUK3w/Ls0TDzI5Lur
WEoOekPvm2wgz2mE5cLinnE0R9trliQxQ90s08izXic2H35IHfIKyZPJI6dt24VVPHs8eUVJAAFI
yqjK8fHMBnGg0ZJVlABmKyGNimGDwrO/YObsyXxjZnYy3TGrh5gJdLxbdy9dlZzMhpP5D+Iskwqo
TBDJI5Dq6/FousYLpS6EqFooh+w2MyDxk+jQWXCcZxeI7DDryzuUQ3BsxfQ46rlO5TEKYsBuTXnv
ZymUS5DENykimUk+LlwGZ1fpjcVZkCqWRR9DLarYmt7EJU17oBSzWhu+qEPpLWRDXosh873P21eE
30nhwTj3LQOMlnWe40XVz/JetmkOALp8l31IbqMriLLXPWr1q+wGOeZml93FB0Su79KtuXAKzg1Z
gqUc9QLcuTm/193SSLy+oYih54F58FP/SyIZzVpLdGnh2XHWkqEAbJEoeJFkOl5OkktJ1QITgeYn
fBpoZbbUEVqgQV84A+fsKAYpQg2AiClbMzsgZRQBiQvTTlsFyrJ1ChOp0AcLm3PJyuykVYoUjJrh
I9cg+/dBlqObQNyc/KNdopJVUBRRJsU/L5QYGhlcgwZHp1oHj/mNaMtrqCg3wPP2yoYGNAgsQLlK
yTr9gtrOVfURtYEnFGguO+pzR/HtPThzX6MXRH2sM6chUeBalmpvLZBD/5w2sfc5T6QIh2bWS6ne
aQ6PTghPBIvU52uUK1FXOd4xeuQFnZkiNqf7lu+Qyoe3sBQWzvxZI4ahkxpkt3DpHRvJ3QJYYcAL
obAKqIhoEIoj5ddtAPeaUEpgAVRAWcc2fIQTtRRktS166BdD1yDFzuUFOtmOkkiFQZR5VZGFPHkr
+oLaGwb5J9ugqUb1fmbyjUuD+GUj01TM1kOaUiH4CZNk50kulfwZFGDd5B4hoiqq7GOrFy9QGInr
UkVS5bK104WRIKXHX6gT9sqYZ1Rb0czVumbSwuxOQudh0PWF8UiTKzgeECYI/8UpNwhYbuYqNEF0
rSQspvBu3EgOXWzqyjugALupt93X7OvlAZ1O32SN+5L25qkOPw34TY7Ha9SYPEsBG3NkTv3fo1V+
oT8zeoQNRO7RNjJ+edtRqrOkqW6AVV2ZbW1BqgKkcwk6OvIFQlV/MOmpvjym030n8Urj95NNUnlF
zUx0KKc2lUm42AnKlSHK/m4YA7ipJYhNL1s6qaVZJD3fmpodoiYPPEsbU93WVvkN/VwPMEA1H6oN
LEOrCCHNVZKvwTdctjp9/5sdwiNH46aSDTjgFS4tc7ZmMOGJY9V44AtCZbjrKCPv3AjFUF0e5K/K
1CL7/2dvmu83e2Tw0jFROnA1UkgTlek+x3VwOybBN8EwFlzG7HydDG2+dGoYkC3nfFWlEKGjC2rI
q9KlRMVr8fnSDE5Xy5sRaUGBdk3z+oQSngZIr92VSrCTHKxn49FYIyQIX+gTEijgOFeoxl7pj5en
VJoup0tfMNs4lQebbRRCm1l/ah3vSrpKbLpBEJFX0BCD/n9hXmdH4mReZ+8KrTUrqcwgvh2hjIRQ
yogLSOo9H2WhWhHXlwe3sD/nkbjnNZB0V5w/1QtbOOegLSurTy6FtLVltQs1rtdkyPFMUrcDyQzq
y4S6dw4DaBOa0MsxmIIR/715SHdT2FrQ6GetrUMN0MYuH5D5WnDTpxsVq5bK05cgiLButn4EVaGr
KVw7oaoexkFEjG7p2J2uGSlCkFG6aHLeSfofb9K0tSJJcgEuCab3NGTefUlryGhJL5dXS1qyMx9K
UcThqHeeo0Kplu2jzwLIbPsbtHJUy9OHlM5eO/l42eh0wGaLZsgSRVAVTIpJHup4bF7Qt7rsJZML
Q7wSUDatSflLlhaZoyvNCzz3S6/Q001JvoRUIagUUsoA448tBqaSyV5OzSjIofZVGqeubK031tVS
WHpmZxwZmt3fBVj0SG5JSvJ4uaJg9FLFwf3l2TuzYpYK6JcdSOn6pGjd6FZghSU7Q7T6ZyA48DHK
z0JjLVzVZ80QWxGAgoMFbzubMk/K9VQl1E09ugGDq0CBZWj8dnksZ6bLAkj2HyOz6QpiuYM8gxvU
GNBLcKGxTBeO6hlfqx+ZmD7hjbeHXzlRJJR0HVomd9k+s1ESWEn7ydeWtoD+6OURndlpFpgrNptG
/AF66NicBHV5aBaUSGKD1nokVwz675tOcxrV21w2dZxaec10kMGVzKmfg4fYHNOuebLiuw1qPa4q
NSt4la99TfukVR09salTuahAt+g+S/pCHfLELtV3S6b/gAAfJMocf135SuEhtSXYKW3+h0qWq53i
wUwqdB5mparbZrGg36mwiDs8SbP15WEfew+GTcKftzRvIzyjbM4LDZ6WFEMZC8gPoa6RbSCMtupV
NRgeMu6D3j+ghVUHTmAKyPdetny8W//HMogi8GBAsPTpyLzZSsBnzSp1e89pvLuaJn8wD1e/boGk
x1Spl8lkTc07by2UMHS0ngXznTvpZGWDZXvpUDmXjUjT0f3b//45jjdW5pWhmASu2ko01v+JjlKu
JnSUu+Jdg57Mgq3j8/CXLY4BOBR2KW+n4xGpYYo2L48Lp3SGNcU8JyDcibbwjV2hfI6SHLDfXb4w
wmPf9ZdRvCNFAWN64k5b6M1C6RmKNmphurYRu7R76IW2MnMaHUMvzxb8y7k9ge4UqXhLB2I8X7He
bKrChzDaFtshoAG+gyi4SxZO+rnx4E8AGYiaBURBOR5PFtapCC0cRpL2U5hDfZu0285YREufnmwu
FJp9KCeTTAU8d2zHGpSq7wM2uLivd38ma1mmq2phl88eTtP6kGQEvwFEGcwIrPzHdoIatUC45zwn
DVb5Dj0Kmw78W/G+20i2e41W2f1S0D+Lc05NTvv0zZboLKuiz4GEvvSU7vwXKBmdbBts0S78Yj51
CARiNV/wF7O75y+jdMyB8KHeywE4NmqVMk3aEfMZ7ryr+i50BJvGyx182693j/X+8mE7XT7yINL0
mscz81KaTWvjad5YU6PEnLtPN9G22xh7+SpciAymkPDYfWCG1jrcL41OIGSPR4VSQ675tetC9tc9
C3r6yffUz5UB60eVahFYbZpiaf5YCHtODxrukOEB1qcYy91zbDWvk47eXNm1C7n3q1ujc4UM3bQQ
lNblWTy9X6aCJY1vFhG4Qant2JDXxZkajzGHrR4yHmNxFr0gfKV4oAFQXYHHtc9qWxUH9emy4TPL
J1FPI+Cinq1SbD42TBd6lfhB63P6vCuouXfaFjKX/dLynduVR3ZmIb/X+a6XQ+FIz++KpvUN90C7
jmySgLZnq1/xKksHXj51YMT7U2eOrk/NW3OHXAVsp8ZkaO1G2XjX2kdxPWVMUgcN7BfpEWa2fW8X
AoQztuxMRcviK8oA6DhDafYPDiU5Q4W4iWw8iZTZ+uKaIj1oAIfBrfTNu6KH3C6vqg2ClEh4+3Ah
Xl7VWUrv1QnQ2UXWH18HAGjq733rebQ+HOUxd6Gx+UBrvh3s9Rf413fSehrhUh3szObFGIk16rOk
pqTZHooT5B2GzsDNWfTm0YPSN8o6E4wgfO77ARo3w6yEzg6y2tIXvM85rw7Am/ecoYDwPuk+6aUw
NeShCBzzACu6nT1IX30HhkZb+Tm5V0hzvi5M7ZnR0rAEkIVYDADefCldKWgT11R8RCRWEGTstDvr
rt5Fe2Ht/yzX1kP4KN8UT8RrC3voNKhhiuFY4DlJjA/8+3hJhzHOTDOwPKdQ4v5BG0Sl3GRi1UdQ
tw3BrVcq4kIW7oz3A3Q1dZaabFqyw8cWo1bxfNPqfSfvtRFN80FCFY3kirkEMDi3ikeWZmMTDbls
lLYJXgO25HF0V7iiFzjIVuInRLOiZuU5SxfXOZekgyjD8ASNBsxzPDwdraJBFzHq09D8PrqK7xJb
SlbaYbTdVXUXQji4Xtg700NsdouBYyPQIQVBkmV+n9Sp1uQpZGRcltlts4220hZ2mv3yZjkTbtOg
S+c7OWminhO/ro+y67lWHzjpjbRptnCvcyaKXUiOeMnRnrXFcxckDHcXjXqzEEDuW8UtZSFwYE6i
Exg+2Q1ssCuRRVtKgr36ktkMgtUEezgpqJw6UrQHBopIQehEH/q71umdasU80mF04P7/qd8NTm2n
n7uPS7HcmVNPj72sAZKSDAvk8fFmSVxJyfpeoWcFidy4kOxWTW1fD64LJPd8mNZ/facc2ZOP7QUD
oFfLg+9xVH7E2bMhQXBCI18C2U2Wm7Y6YX/Lb7nnLniZGRbl9eagCiTxrlSmpNW8Hi+EEo33VpA4
YwxFYGYV3iqREClztTUNS9dplnwOa8Q6jTzfN4n7cHncZ1zOkfXZVQLzJeIsUHo68LTdl5DqSqPy
/bKJc9sVrgRCHsA94Kle44Y3UTk9TmPSDCFqBj0d8uSB6rsUYQ61NVZ69ZKNsKN0eyWzS8lYeFKd
mVx1ahASQfvTZndyKgVP96wxjRPHhZFGu9e0q0pGEfp9pz5qQQ4H2s1IF8/l8Z5OqUriE0Qc3UJk
AueYG08SrHGU4Hbs/GpViR/DaCE1I02O8vhMHluYvuDNhKouunFiW6Ld6Yyb5HZ6WgVr69ojvlOf
8g/jGo7UJwtuccQZncuDO+PEj23PfA+tAaaS5ElCKhnK4U2+gZN41TjRvbzKURn/9Uv42NzsRWck
JeVYhQU0pX0RQhFUj1q7qlRIWbPOX3AC07efzKupTzVzbYIdzA6D5+u5r0YZG7WJP48SlNxSsC0i
cnyXJ/HsDnljZ3bPm34tQZ+YJ6jVvG+VkVaGJVjm2Y0PjFWZvAqh2rwVj/SB0lclWUl1299MuZ9v
oy3sS4jKLg/lNEiCN+ZvO/M+NQToS33Q/Bi0cfHJ01rwiGF9gwP7UPrtwr4/N21vbc2uBLPuuzwG
uucYkAkinOqo0fPl0Zzd3VN4ArUHMDPA/McnqzK1Ih+712kTf8LF5hTPCOlurXI1rkW42PWlRpdZ
nXJy/1PmgJ5Qzg04kPmeUw0aJlG4ms5yt9Y2yaO1CTfGY/FcXsmsmWe32ymPkD9L9831Unx0bkbf
Gp9txCgLjaDKIpQyAAKkkroa4Jq/PKWn9/jx+GZBH4h3UugdJtISbXPehE1sWxECf7G68r1gwdqZ
DNCRuXn7jFV7o0Z2OnGgOP2O5npmW8YKAmXbv+0h/kIpK0MJYrVU7Johdl+XEdAqsRiXjAY+d+Y6
WEQpCWWG6VKlWU1NmyIs2asqI+ll2DD6XUdwXHYOBGFKtBp26nV8WIrVzpxFC3wHyGjg+cRqs82L
OEJahHlBJQKa6XbM7EwmW4OoSvP+8pqe2TYYoipFHyCZoXm6V6m61FQ7DAUhLRQoe4ntgic+Z2Fq
+5psYECZPd9z2UvlpO7YmIPw2W8RpinDpdhg2twzb89vpqmA3id6uuawIl+Qa2rYUJs2e+MJePWO
xXOs5/oONT27Xuej7V9FDnm2rfb98vydO/Q8g4huJ+9MY8/Mkxm05UOIn8SvzxIYpbtxLQBlW0tX
6PXK6FFqH9qf1Qs6HWskcOlo2yztlXOeDi+nkc+GmEaCSeLY06EdGAW1OsZOiXpNu6u29VWzQeTM
GZzEEZELWBjyGT9AexSYOkJ6GkfmCbeUdS7hlIgRU12ZD9A6btxDvlO3KJE40bq9lnflWtnLu+Fb
eiXtQULZgePx75KgYultcXrPc0RZc/DtpMDpf5uNvQgVC5bdxGkT2u8zGNoJ1KK7yyM+Z4TfT7z7
mrp4zRi9CdJaISSf2GOka1GCFD8o8kOQ7S7bmLWJT26Hmi3YPokwl16POR8O960vDJkZk3ZCPPEB
nEmyMoAk/ZBEW8ptfSVsSbU7aBZvG+QSlxZ12qfHR2gyT9MMtRGdysXM47h9YpX1OE3kpr6Zrstg
HRzEQ3HAlq3srb1MCAoMdmdd5Xse4Qte4n8Z/t/2Z9Fh4xpZIubYLx1pA9HyS7oT16BTScFnn+Ci
3BQOLCLrHDLvyxP/yn5yMnJeplTNyeKe5PsspanFbETZdLAHO6Ut7zsqktvCce9INbKb+AbXCXYu
qTF0RdBK4T+iA/3ugw/c+n12tfA9p86Mlfj7e+bODO6P0JLHgaO7jT7QIUsdbtzQewYhsHdtXccb
XNu6t2kMd/JrcVdB9059gqwhQuzXSI+9XP6e06vo+HNmDm4gUstEAd9qQoOMmKPlG66T1DRJouSW
Rx8FiF+XegmnU3uyJIAMOBRT3/i8DtMbeSvlWU8kpT5zZaw0ZammeuaWJ+ki6vhMMt2Uh2fBDHeq
JsTIZFNTRbbk1rsyrmN/Ff1IOtvdBQ+kKO3sBnkuqgorX7cF1UFsYH15as947qOPmIc4OU0IUCCz
6bUVWopr3y6IMcwbtMptjtveWkhKnttZeBnSrxNcHz9z7CwDQNhcYIwZaWWIg5/r0Vol7Z04ShRm
EJurF/zmmdftVHsnLn6lP8RHHxu0yiTMBQRyuRyDqxpCpa+uIz0O98YzCmgfIGq9VnZkEHPcWfd1
yaW8omHnu4gQbuox456S51nfPGmQaBlJVlhFESk74Amlvx0a5HjsYURowwnqtH0RizDy7FDp9axd
pbkFk74veyUYp1xKujv0A5LITuTSzDZY8dtd4uXKZ7mFv/b72OXJ/yXszJYrxZmufUWKEDOcwp4n
z3a5TgiXq8ygAQmBBFz9v3bHH/F1+XW0T7s6zAaElLkycz1dDnNi34HohToNZi3ibtxUopVyFXQj
cOpaiq5fVWMaPP736vnibaKtHdCgq6qNNfxpx9YjGXyuY4BkSVsMtSmyDI31zKKt+syCmzR8++/r
ffFR/nW9Tzt0IFqme8DsYeU8vA8VlikaBb8L+q8r4tM7++sin4LvrnJVrCxuyqyHk93L1TTkYNsf
s223EXVObr9TYK/f+f9cEAMCKKNDXoLS8/cSDVOTZOWCu4JHdK6wLDHr4Te/Zfd7KT/C5VIiD/7v
5/hFQh/hvcFTB2c9VObPAzMGvd3wDc+uCX2Ksq9FtEa24U5+a/f4RdyCaQFER/DsRJT/+SSBExIB
YIfwVU2Do9C0qELEYvPzf9/P11eBHggQQYDxges6/Vd0hNJcr5cBqqcgOg9cnIdjt4Jp2ua/L/OF
fI3N5P8+5893A8Zlhv0LYSeAG7BbT374iA/0+WqEFG0xsBp9uCaHQwtk+u+qdF9GJ3hp+MyuEgly
/L/vkU5xg8m4iSM6Uv4q2ZQfpvhHo8PgpkbEAvQ4+hEQu/jfuhV9UYuF7+2/rv3p+WKA7f9fGzyJ
dQ285fwWrKKd9UHFk/sGxtlIN7ALFBmCxAYM52J6S8UGMt63nQRfvOqraQwaCa5WvbDz/PsxtHYe
mj6E2jVl2RJAyBu5t+ow9v+zKkH/+uaFf7HhXJ2RMegFMR2h/afjqk50xIRFXiOz3MNdUzheDaus
ID/bBmVn/4X85k/fnRpfhTtXvRCmlLAMR5ve37cIeAhhOrVIbpBQhPbn6OCc3uf9+I0X7Bf7DsbL
0OB69TJCQevTvgNGr8IpXEtsAj1SNgCXNuFm2H63vX3xxjAtdx0XQZdQhPH0v29n6fs5rFOoYLSx
fDMQ+KB1COjgw26C9X+/ry8uhQEHFDtRXUK+/zkt5G3ro7xao/6QGIBopJi7R9UqfCigin+3GVzf
/edtG3o8+j7+udpnEw2MiIim4dh0aAsfc3SMeQAvMrUS8UAPUT3RByBsg2JcADMfjIrfpxGUpVi3
wze7+achzH/yNqQNGPxCcyVa1+JP2XeiFjnzAAcIOtpvmx3fsIs6xWcMQG6ag91VW/kRHNxersFW
zOWlKr7fIr5oWYAtJzZ5zOigDwyjoH+/ZaOHMu0snoZZz+sYFYRUFqDoYEWJG7QWBN/c8xcfZgDL
iGtQBZ0TFZm/L8eSoF4yjcvNEL1jAFXpd3HAl2sJd4KsDBHp/3TpKdYkFTfX2May9ZDZguhbUu7+
e8F+dRv4+5hdDa/B8GcjJHgbjFF/LUhEw8EA4gi3lG8e1BfFeWwl/7rEpyel0oYOMLrAfQAgrPdy
n0ASBuIBHWXxqkcTAtaF2zXfbWJfaKfX66KlwwuyL/p3smohai5xa67ongc4LCCh3aar5TCfgKH9
R4n5tifgy8cZomkUnbYJ6hSfdk7bgEhbBihltfthr+8iaBeF2pUyH9YAbGzkGsRD75t94IvdGt1X
/3fNT2ejdOCdS4YDSYxPAf9JlFyn8VOX+dv/XirfXefTbr2krrIYH0ftitqPEiikUCQ+7B4ZKxj5
zvPx+qA+720JRDSMx2BPQczx6fNqe9WOFS7WoYDcdjUwJ0BRAlPlgURtuu+c47/61v59ueu9/yt+
8wzERRUgCc0mCbV0mNgpG5nclpn8rijz5WP81519WiK9k2bOKkgt8ATPh3gvebjx5VtS2W+6+r8K
2DCIC004uXq1wbvv75vqbei7Dg602BHL7bLvgacjRXIs/9GD6So8LU/pL/bQ/2y+ldK+ONlROb0K
CwhWr4H335fGUQSSSIfnSfnHHD5GM1hdwR9D0NWhXkc7FTT+zlz1usz/Z8X865KfVsy1uR9VC9wt
GptfuwpexRIOEnntCCzDo2TvTWQ9a/Xjvz+KLxOZq8EHjHagHf5P7tS3FEVWWHfjizeXa/+qOJFt
D4n7u9Lkl0v0/y70eQBpEY5UIsOFbHkQ9SN8avK6+fPfd/PV2kxxnqFBDHsmqv5/v7a59SNV17Fe
EcI3AvWmJWUHP9RnuVTftMbCnvCrzfLfV/t0MDhTpcQZ3xYL2Dz83MJJvj4kiQDHaXKNeAZQxp83
giwtyHECQyO7MbHsxyjsNF3YAoWyYsPPtu1JsHcYaQeKUdn2rVEBn4Er1W7J63Cc9aFRpiQrX0fm
lXudrwpD7RjelM5v7ZEFSdvlAazpoICkyWCfwGisyoIM6dCsg9YF86GFAbHcxHVqAG8PdBY9qnk4
LkuggY43LF32NbMlE+hd1BbXm9AxcViIBIsvUFk5HZJs0S3w5WpUa5NMTZtXii5o7k+Mep+loquO
p2Ph+2wYNyPDEDMAIMBu5yir9MGmE54eN4YN2oI/ZrRfhLHSYCrK1ENmG9i0zg3AU1BLeVOJ0xxW
vtwuJhYapEgzloD39ZasskRFj/NIa/dOQfZjR8YZLw9dN2Z2c0WqLCsV+sA0I+XQ8SqYMljbqVGA
7t70XgqKvYljd1JNCFMpy1GIWkPUwVjXgNtDC67yyvE4Dl7TFDpFz9+ewtlNHafIuzrnouMQ9tvV
AlFf0Zo2a6ESbk7OeODvJdoGAoNHckwQUnXux+gyDjKadVqvjWm9CryruCb9Kydh9oGZ0Lh+nT2Z
0EsjKisfMj2skzJyO+kR6h0Cc+1+Ehz+m3uZQao6K7S0RSuXBG2A7iuWSEyJoRe7UEgIRO6XtsXb
GluQ07KeD/XzUk0SjNowVfLRDqmvV8PQtNkFyN9p2Cd1i/DlajVUvUUwwXxMFYY38qSFilZMWdo/
jHjFfU4HRcbz0JHoZ6VIjPdkw8htQ+Zx+HIZjQ70pqpgSuT7C3+cgdeC+1GNwydfmObuycsG/N4q
85v5aCIGJmwvJ/NA0GbV75eSWFmMqMX7j4jwrAFU01UzvcDGTYAqnvpzupIwQHty2vh0hQhe6oOu
LAKTSfsCncvRfO3O4pKne8ydu/OkFXsEMTmk69EYc6sr8Ban2rIyD8S0sCKqu/opDkrMQ+Q4YWi9
aUg0zehkmeeHFkKhn7dwdnxZUD4D6A4D/GDJz7VEm0vPKpdnsYkfGhFbWLUgX6qAjmiGovLDRt3g
+wvP6CHo6wfVL2TYA+nC6bppZx1dqVpcn3BLIcoQU1UNQAoGlO+GxUvifavxXDaSzy3fCstdXHRY
gVEhjIh5EXElfiS6SfESnU9VETgcmh9jL3vawf2yS5OVCebSbfoALcd33YDyEPDbWd+AgUw1p0eP
+W6YtnMvW/AuAt2Qsxg89QQHufadSiVua1qW6ypdIldMkUsQTDdh/KAkG/+Eeqnleq47764pp7La
dkunzSmtk1QA8KboW++blMF2zAKMWobOnmuM0se5T5fmXtNpWSvBQ2Dbo1hdUsMwEuqZ1KKRY2mN
yZUoMe1uuy77FcZjYk4YigEyTqLFCDsGQoMn6uoWvRgzkNh5WIbGP1iVzPVJGs8Ov8PRy/QmawZr
C15F/e8YlsJqnYIXhmelgV9aUW+SScEjC1ycgxqT5TjOPQojxWwGonJCY1NR9y7U2xmlcHpvTJmC
31fVWb9C3oktj3kMKEP8RY1GWafVUw92ApB1Qsf1mtDIvgowRnczcN8HYXt9MaQhr4uAM/YGTITl
vUrnUea6k0mWh3rseM6QBMc7QB3THZC5oyx8K5jGHGNWhXkSZzOQyGJUT0kbjR8+i6YRIGIXGfBe
Y+lfbRPHGtPCQ/abLNrz4PRtJbbJCS0dd1iGHUL4Be2KIJrjuwRUDm6CY57Kpb2N4HhB8WN4Etlf
gQwwiIMxOPq+qJDegpSQosV0hsHH/SiGKHzQi8/FuvLqIDnoOCqzQxwMIZYqbILwLc5wgstNSYE0
tpPy5zxi4fwyZIMbgf2d8ZtS0IBMLkMdJqfKmvltVrzu17RR2FS9yVSPstfiHZQ0P8thAZz1QGYP
/pVWaBzY6qSEj2flGwBAY0IPQWuBTR6DFA/UQji5XUiKntCgUZ7dT7Wz3S5RIT9biTwKQF3wyf0F
hE6dp3FpRQ4AU/PE8J/gB9DHBtbsbJlCsHv7luzGRutd2c4esIxLY1GwbVI2rmsvmJKjGHQ9Q09q
0u2I4/kwjwZFB8Nb2h6Dxif+wcNZDqhdFfQchJLENi+e0pl/UztjH0yguj+dkkEH4PxgbmcbqxQX
SMRl8tXwmGizjB+Rj5pFPmc2eJ7KdBEFx4+BmOUP6DY89GnUoQOVjVmVR13TV5fAgPV9k7ZuXvYC
fAJ+GLNsIvlMEtIHeDNBZQ5RNVZotwYQutsY4cXuIsScqHM9VMas1cQlLYSAcxLAHQlw2bEKtHdp
XNUKAy8205lTRZuqKUqSpiLIQfjt5MpaNb6xfiY3UMnRGg97clGEzDZP8G/m901oozulSO8LFDiw
FqKNFWAVFrOoAk/lyaQ9dWxilZDL4ptxzk1FZX8gXTP2u9D0Bm+1hPsWAJcY570VZMJ+kwvWsXnT
VCwD+zgb23bPmWPeXR+WGZClaNwv75t5jm3B4LnwI6FWORh3VCJZqYW65n52ZXdpVUDv6yYZ/1RB
R20L7qwL3TP+CTIx78cUBuhK+vYjrRivfsA1vJc7gGgJcLARn1euM0uYDxiex3EnQ/T3AAlpwOpM
OBa7Sxq/KXjbyXQNodLoAwmWJdnSBnaTRa/HMLrI2QNkkaBZti6WsZ1BwZQDfRHAIqvNBEE2KTJY
SXQvWdQFywlWNcLvDq4ZS2IQtVC/jwtBK8I2NDawnPbaflR5AGT7uDalSPNuMja61C6wzc2sMWT2
KALhGr4mADsqpXW3DTnN1NM89jwCYzqzQ97J+NJhZwJLfP7j1z5q5BNjqzEbuiII61tDgA2FDfrG
1jCyU5Npi7jlRTkoFAK9Dh+mDwdEE8WHltdPUxzuu8Dfg3ZTbU1Hd9UVte0c3TR+eqqjAYeyxo6C
7h/kO2PZr0XI1yoTm5CiZkujOti4Xu38VBqEjExuJt+c49g+IbQOc2bCFwF0WtGq6VZ7ocqxhe1i
Iy8dqf4kHDDmsoU7ai/ne9fFrLCJ/TmV4ILatvPypgy3EZDVWHcEaF0F/i8ooB1NL1ObLLloLOIE
Wu3KCEd7ajdh0h9MXO5n5p3pou9cIp+XGR0zkYKJStffZxZHe5fqE2PyOZsoYNQ1O8MW/ikZyluJ
MuR2DMo3batHAzANotToJaJznwdjc+iq6U8U8ftkaW5UJd7GttkKEesc7LnfTk6vsxzBjuVADEDa
O6BjZuvHctvOy2+4523Dvmk2g9evUNFB72cMEsKMg7OIJwDgnXlbCP2FJTKsEGe360U2US5rnJlJ
Z8ejceIB3i/jCgnFnxCYUH9myzYra++6gTZ5k3lIRWvyc+i8t9B4awu7DpyQ3UfVp8+Jys5wxsb/
VvnjuspMmQ8eKNJcAzrrxLqOUGyw7RMmdvCBoIybu5TuvBJUdzvtLOz8rN9vEAT91GA6YWc9kwQD
GxNWBzbOOY8JcCAsHeNt2pLHdmHuZZhTPw9nr89hGYyxhC6mRYxj5GFmJLxUrf/OUQ93SAR3rA78
ovSDzcDLM/dZAdPMZzcNO/CBNzHQ4TOy47zlFbaWCR44QdB6eRBJ+jRzWdVFX/rIqcLa87qcd3qR
hUXt9hp2TxuF9zalcYfajSDqDeRYhuMdAYZner1LQ3LL+rRBiiaHdZ3gHx3OADjCwA+jrqc9jNxz
wvy9V5pTCSyxAo53DKo1Ft5FEXGeOdnyLtoiKtkqMhmw5+2ji8PboBF30i0O/dcT/lK68VV8mnRy
QFliqwYvLxP/BsPzPB81TVdYxBchr7Ed+d2ny0+PL0fipb8orT5gHV+ELT93ank0RN7BXfUmxR6o
57HoEXSGXrlKBbtzjH5MS3qaJzau2iBkBWIPYB3rFjazDMkBGPG8q3c9TimExBut/ceo608u7dap
Jr9KG5wDEGPzpWwOnvZy1+HzSLGJZm6iuYK/+oqJARR3tqYL3ywUll/h6GP6HyfD0OoGEWS/9UX5
o6dwuZmACfehLifdkzXlDSuJyxFv+TDXlC/a0/fcjjwve/DRk+lYlmLbeMkaVtFnZMo75XtnEcUP
dAgvPemPrkO0woJX3mZns+idHfotzEF3znlHNKXtot4uhU/bG3BYD1FCdukyb6vQonEc2D8zXbKW
H6HR7KUiEnmB2Esna0hGEKiaueiqpCkGUW9il+79zN3oBLDtsjkicy06WH1Mnb/qxoVBlMzUChy1
A46UR+nLZ8jTN0lXvtQ+Kep2Xk08fCUzuMUaoHFBy7fg6qCU8aLuukOIOQpH0a9H0804+LulrI7M
l27lW3nXVmBFaxMesmhEpNucO9puJxru8bhf/ZYA6G1q9EMgi1jrJvrpdHobJCXNo8UNCNSiX4hf
bxGwYthQxLct8YCXFvGl97I9IAE3page/KC6T2u49A76gtEzexeoBN8KxtzHYqpqvoY3DHxgIiJy
K/ipdQ4hbxieaDf/7Fh18PgIN11Gjm5Az+HMUQ0dJAA2GQBUwjT3dsDsH0YTT1MVAw2dujxyQQKF
rl0PZNCoZfjgYSdmrxO5J+CObkHxrmCWCykipOZMZZflZenplQzp0yACAMlh9VMwNNLuswWVsbzs
ovheqBiGYkQEw4sifIt97RBm7BpHQ34BXNrpXzOWIRbz9DCH+rFakuWJoYR1bke27oblOfaWu4kv
YuXHHOU0CLOXfonlzkraPMplZIexk92LypL55I0ogVu8Jo6NZR5gXgLP710wMh29ajjyRltuPJL+
qBhpqhvkfKG4V2EzO+hDvoekvTLaPqNQWSJ1ixxt5UcWjsK9Rx3S3XsQGdr2XY6kZ1hang6OTjRl
9pqm3XDqdQzeN0mzMthd7TlfK89CHE8qNXTbajCzzGsKXgsSlDGK31oYJPrwYRWeOlkCFsNFhK2u
b70J3LxVFY2C566JrZfDiyLFvD8p9WtMpTh3WLVqNwTlsuRX71Ng1Acrm0sWzrNYw8IZIaGoVRSt
mtApmc8eaiA50pkQBpcC5eQ8DSwBezqg3RMMFCO58rRp3QrGUXpet2M3kV9JOhjMvgR9Sda07HWL
2LGZMVBVztdMTfDlCQZr2G8YRswEzDAoEN9BR8LD4iFRegVVUHQv0VSBJkRQLv2ZhkO4w+OzPF9G
m76q2WLbFX0J480Be0LbBP3dkBG4fYm6RGsdqqcgu6d4kzncwMERx0tjmwDc1aOPWu+4qtMlVYVX
a/DimqovMk5/QJ6Qz4NIzVYLnT6mZuD70XnJm80m/wZ/wOwUr/y3FjyAS1K2ywMiTCQFDSYGV2hZ
igt/juUzrNmhW4xtsGtDofa16vtT04HyOnpw5lgpZ8M+TzPZwKXDD9ib39nOW8nlStxG7Rcz6qEk
9bxqSmTE+PGIzsZXP+lTIGn9PudYtdnqKrPKwqhQ15vBCu9H7cXypEehtj1QLsWog3iLVg/+qBHU
/zTAM10fE+fNfpkSmIRRj6hjFUTXLcCyInG2fmUCSc/SQzyc+oQHG1QVmw8k0mNRNXF/NwPUcVfO
UFiL0GZ630nLFtw4gHvwpRmy/dib7lLLIHg2of5BFyqgnLSO/cILnuGjhw+MkWzaIXpunpoKuJQz
t+lcrr0+jPIZCuz1kSVZwYxAmSZsVbjmfTicW96XeV8pr96Eoqx1IUhat+eJlbzfeYZ7e4A7grNz
Xf1QlpzcY0B6+lCj78kcbj507eNj3voQMlYoi3pPQzy8z0mKaKfbGcUPPUu6vNfThTtvrRG9qtTu
korcgpH0zEQt0OInb5Ej3MM4rAgGg40L5WE2o8uwlGtgX15MnL17NvL3yxWvjkBoqutTw7yLP1b7
Bbpg3mMMAYnHezgsT2jHfgjaCJO+jY1XsG48mWbeVXP1QoEwLBxW7gMjdGXBbqwomnYHtZYNHJag
ch1H2t41ldtpbwpQ+nFdbmXyq48w+x7N5D5OxHOpYnwFKYjVOpL5KNu1Vqjf+DxI8ko6kiezB+XS
D9SFlBX22Fh6x0zM+7mlt6HK1pSLHRuHD2LCS0i6XdyzFwhDyN7a/hj10Yo7gSFUcMAeEgOTFghq
KZSVAS8siHRhKvMB7Bt47+J3W01H1vYvddne1tfzeJGjX2DgC/44c7exun+OS7LTuufrhZVFkOjn
IG4Rf0wn9PBuBJw3jpjk+L0IDJR0ornhCZq6Ezch8MGSyxur7ojDLUp5gHHUB6S9DQwINjMBHN6v
pyl3jD21qGRBu/D0z2bp+DlaMOWt6gFzYKD85HxIVhUDyzTg5i6e6yKFoH/E9+Bve1/ht6dxXkb0
jFu3SLj85MFz75MDXthiVFxAvIaEkzMBCddQl+2WJGSrOOFg0o9qymvenZvJYKgh6nURV4hihzre
BIG+11V4hP3RuWv5KRFzYSKxo+P8NLPpztLuoWvUEwzRYOvZ/b6qQqZkmIUv7cZvOerCXbXjtD7w
ODxUQj9HWfmYXrVufC1n2qU3MjEXzOefGoWMmPXltiGxyrX1Mdo7DnHhIWq0cVau2Rji9nlbbZFV
YKFNAWxHBrZrU9i+lzDbEmVyj6HvjYmXN876Yur6rZjCs+rbU+DLjRe1l8YgE09VfwYKOssbnsGa
cEajWWXVz8C046aM5ztYB+mccAw7OOi+CLgQ7kSI/qj8WWms0op49344/enKbuVJ/7an4hHn2kuP
ZKITI1rVSv8Z28RWZsEDC4zMUxOdbYyR9th7HGr7XqbpSwlW51iXRaZNfOglBM8kRSdp1+9ZmxU8
DdpC8/kZKgMc/BtL1q30hwOX7ROsql7SXpSww19Q9sySJq8XzCQyaFFbicQrWPV1hES1S66lCPTu
YrvN8HHHZihi1z5Jo7bWeDtNMWZbTncl1FrIwCgplozNK8uRJ2tkOm0FJQWl4+g8GPJEIpSyMHZO
cq8pwRJBWszxQznb81q/+rNriikR9yHHEd0s5KnpyzMIWgHkWITlEA9WrvodTj+NXpAHJEUDR756
oHkSukfO0x8oU6wYjXcLGpcpFcWCLIzU/jkE02Mx7+jPy8v6zUd+VIZyvyhM+g3mDvYvx8rWOKPB
YJqyp2mETtyn6xRfn80QTy+6aKNuQ7rqcGWNYyHmfoIp/747ybbZaAYqsSlhHDwHpyZodpObUbBT
mzR4GuC8H2WmCBEJpp1+moJlXmPNy7xi6KXO6hizRy66gYCpLnCu+TOkyNWyEC6DrluzONwCGH2n
I7Eus/GYef0zKj/oP36T1Kzg5os8BT1hNdnE6l0rg9CF3lFCNxmKCVe4QsC4KmruVmSyW6MeFudu
uLjzYr8YpyQfI8xo4BtTwCAk0fTB2UPVzBta3gRtfM6msmgy+lxShqmy+eQ79FEGpwj8QTq3yOTa
HaHnSd4qN27DKl4111QCejeZcl+3p15WWyKHW2d+JO42dS96mk9B1haS3fXCPDqXbupyOCYSohTK
g9fD/vGKgo2ae2yn8JHE0R3Uh8i5I6PlobLjOmXlTiP78pKuSC2CtWCpdgvqGnRqYNaVbtGO8BCm
DApTDTJwGSHxxavzwA0ZH3gbbpCm56ahOJboSkJx8pP2vg70GhLfwZ+6FfW7m6jjF97JA6Hkh4qX
g2cGKD3bTLttoDCIqveOVzsRDTcBfSf66I9uU01bnk2nrHGrycwAikarLn5gBiEYqZ9rNhWob2Au
Qu7jFKMa05taWuDkY/TYAdZQzzvrQR+px/ux1zcTo9uZxBc0o28QOR6rsjprrg59qXcNMyukMNsa
oWJbAQZikSeT6NJG6F6A633JMSAwRmvVlyvrpTjX3QHFrm1rEG5rLJfadYUMNDnFbsqTroFbeC0P
i38Sc//IE9Qcr1KoR5ZNNA03YRSuYryw0ZCtE9pbB75KinAkdjND2LqzPYsOJiwPdMl+RFaeYgpV
rUQxeitIlVEI5iyAeosyWD4mDd2KCpmEjjX6b7Xy94J7t6wMfwQNgnfk3/8UUnDAarxu0Ic3NSS2
VwFP/8PI/CfK53GDzEIcuGXVKkkmsela0dECwnQf5wuodVuvaybMQQIOcGCK96jYtsrdJnSiqF9P
XWaOdHDlcawnVHB7lJp/egsmxFdmKjWGRWtv7vJ5CDDARGd7F2MxbTg8CdEyD5FqyEv4M+4Rv8/R
Gu2UCPsm1ZXpmqcG9ekg1huR9ivSBEflNLt1cxfuy1nPO8aI3PqTC9zKOLXsEQEEK8Z6sr9Cabeh
RNDLWySXsEy9Wbh5ytCvdzOMXX039CnZTf0k7qtlxNaJF4FgoWnmc5S1bLcMQbb2ie7PVQKTcYAl
IJmqFMstrroX4IF3CGO84KJYqMvDABcOcuN7DYUCNEMyfabwMvGfFQpU0wpL0fchQYOiGT90yaLh
SOpKF64iKsQlWQgX6BKHqIwvYPKQ9NxnQanQWJBSeWig83dYpZxvLFKKvK4T4PnCkNEb0FfgpAel
BmLRoqNw26SW3S6ZggN6Xw739dAFYxFDa0FVEHXa3/j6vXPXB6jzg//+iinfUqFIkc3wdZjLox3F
9IpriFdd0+UcxbO8tj0hb40RwfQ5TGDatR30skvaCbthUlZkb/ugWytaxhiCYlNyQncCv1mwAh6z
a3O/T8AijRQZfqN8qN+beVlQipBp8NAm15S39obxoUfpdgeRF1tLCW+2phirBBGkG9gtQ1ETT76d
mp/cwRwxoUruCDr/4txCqv2NTgAo60uSbXTbhi1ESwhvMcolV3FKiwMKI2pL9SB2DgX2G6H95VHX
FdvERF7ZefajiarXYfJuUzQP5X6MFJc0Ybuqo9ihzFhW6wmujBvTok1kRuH9lDrLoFShfQMABb2O
fQKQxOC9B5VDmYt1EZKbCd5g+PTQOVOv2pT563ik2MBkiw92wjRFb8Z3oBj73YhIqrCVng6qHPmm
GWqyremUoeCd7LmxCfbZ6MeYMlmkaIVDZMObVWkiDMhVmGk1aLlY+6IGYQ5f0jzGUd6hsn0X4vge
d2lsWHOGuTQEc79MpyIJ+E0wea9ZPT/UYKyDqCkWLB16lJnAnHxIIHM2wzVexXefVB+eYDdZZ9vt
IPoDXIHHYiZoOBqyx6lG6UDBW6ZoPNiYehTpelw+1DbrNm7Bd94jiV0goCZIdSK/beATEiBFEsgo
UaJskZiglYRU02vMy3ClqNCbwB9B+K4ZOsdkdW4xVoy2c+93j+x9BQ4yK1IHp8p6Qa2khPCViwAU
QlwaIwm+X1BmkScrM+2mIHkNaTmf42rYK2GeSK289f/j7LyW40aSNfxEiIA3t2i0pxUpidQNQhbe
ezz9+cATO2qiEcTO7myELmZX2VUok5X5m7gIm6/kjSVNLHrapFs3OY9lG3FaKi8uzyrd6r/1ivBq
4iuJd6P1W/WEmzjiyWKO3rjRWpAVlsXdXrijaQeJ9T0Nc/dsWYW65bEpnFXZ9XkeYnbgF+k584Pb
pnUL3gojyQkqtLuwzv8gU3MzGqTGWhtqNr3dH33rU0I0mlewxLSSONJ5IHTPSu6bthi5Jn3/jPNO
V2jT0KfSmrK2xRJ6r0GR3yu8W6GWTrrWfhPx0bLjNvxJRmOIDglqb+5NMyYRKgUxR3jBj3v1PMgC
dMLKcjo1eaK0dCu1Mt7W4CJsNej3GFreN1I5OFjiYasEyIbi9RDZNWUHpYQulhdPca54XsVEwOey
m3wIWvRXZfkY6RWt7WEoKNsX1abqhXCHgHxN8SprHLEU9Mdo8MUnsZ1q/+CMpX0airBJypYW5eCD
mmCCUblDJnUDv7jmJ3e6cRQlMXs19GJ8tCyBJicAu2ezkLLXIJXzx1SHoV9qXtlsisGQnugH0Uhr
dfekiQK119ytTh2NyA04yPBJsPz2K2pB5aOZ8b8LG9LaIKnkn4jswPgdRn74QEoAKyl224dxpHpG
wh3lBi26Ru42ulDrpq1qPn0sJVCBdtX08j5bw4ghjpckPhWlru42ZpLE92XacYcZjVmQhNWD1lCQ
iRV4DXyXW4/T9g7RduM1AKGJNFtvAnCJQpEiXCslnAptHB8j1SxNx8+sQM9soRa6P30bQ/UZy8HL
7/EOKW84mtvnmAfjVy3vxK8dLyK8qhC/uq80LXr1s0HYi5nQyzza+4CHNJS5Q5eN5TbXoviENau6
b8aAsw8qzk4YW4xC2i63Nl2t0s3MZQoenIad+BwpUgqpsOI9wf+dmhLPi/tUdrNHq2iCjDZey5sD
owV9FydBfHTV0X8s8Tzc03gC4DbUJi1dq+dpGIzVQ4/I4M8SwbobxBBkJxWj5Fx6XftokHF+i/jO
h0Zry7MfR+rDGGsJEBT6mIFtSll9HpRU/aGRhm0C3e0/pY3in6Gsh98LetCfTTE2W9tNK2tfV1p3
VLlVae5rNGEjLB9/q9SAVLvIKThWmgecvs0Fz9Gon26CDtnkrolpTclqdR5yf/ydpFGxdYWh+Rz3
sY90NE/0sLXoKos40Otm8yzl0NRbnhVfuzGlXuzF/p+iRKjd1YMu2mS5EpEnglGlql/FlDIt3FSf
yySWb7xCTI5i5g6pj0ZzOFbnOJL6O86d6LGw4rK1BRKOX1pa9vXGrThLN2ZKMz2u28zlzVwAyChU
rf5RjgPKlKOSvFgF3WglapSXXnQDLp1Gi24zRQofqtHEe08PyjHbAjTC4z5PhbgF8izGX6zBcmmA
c3CBUzAz+VxURX5GDVd58BLBSjZtKrmvtdm0EHZjz7qJ88Y/9cGEwTK93C84WgSe8F5m6cceben7
qImpGTSZV2MWrUslEjCBpxm0mv2s2ijAN240g5ytE0eNVK1s5JtIiazdYAaqeqS/TXHLbQ1XPRt6
HsebQo7ciAaKHn2Okiz57atKWIFB6/qE1nWUTf0CLxgdQHCuuMu6OJF/5NkQWs/FtPK++y5uhD90
oy3JB7vQ22kD1tVbNzepGRSNNUhs/Vyv20MUJma08xVBU45yaWKB2xYVJ5FPCpn+AJnZ0VrOqkrc
CYMritjgqQiK167Mxd0FqTduQ6utkIVH41zLMltuLDCundHm/kGufU+7kUPIgo7StYX0yZeNod6i
p0EXJovGRPsOaImCbcFlqh6GtjWqCoCMQsUzCBoc9oZW+ZoF6OLYfm7KshMFnF08y6OGlKzXkPXW
BEGXMFtMxtYZzCx2N1EP0O2ml3BnFG2p5Nl6yHUaMdvAp319TgDCqU7aSWNwyJuQBrLujTkzqhsN
BNQ6pdZuB1ncly95lCdAhECdKKBgBt2gkT5oEoxeKivAFqml7Hpk3tEq7IxK6Z4HaWqlhKEPnKLM
enXYtHkkvsTU0t2j6hdeuld9KEN0ZLEZq4LGGm+7JO+QQSABLW4lL9yLamdw2bpi/Y0bV8tOgSAM
3kMIPnc4foxLViYC0RzcbV4Ak2cEIyUPQk+vBl4eB+wytt1W3pb3/c1kN8QldxqP4W6yI4ltaSM6
9ba5SW78g7XnEQztCNWTJ33r7dZUExaU4HD6hR8HqwxgojW3+5WjDEn9OEPqaMOT+43GOgkjcL4f
mjUw/+IMXMSa0QaAuMIL1kGudRtppyunaOs6FKW7nX/o4/26JMQiewBmF6I4GsKsylxVxKjaOGs0
oXC4VMcdF/ZT0m/MB9OhU7YFB+lkznADyGwfrULdl9gDl6FnUH6paLWQ1moNpt47NHuAnrsK/8U1
RP0iM+kyzowgMVDGTTWVIYr7DtLYpCpcnvNz5Qj7em852ICtrOPFgSEGAF+M1Qw49j2+Poe+UDWh
VEN4/P+BlVtOn1WK6iIXztR49KLeCa1bniHrw4a83i/62tH3IVdSfjZ240HbBs+uQLPTzlen8u1v
vNqgFxFnGzT0ADIlLt6f01aQi18gwI2dvM+oSZ6Ck+lUTj/JJPPHH5EbA6qws871XtKSUExdJwVl
0JhOzTZJqfV+KeRKDeNF3Ez+SMFj/XVSiZZ32c417LUTYJHBoAMu09EBmqSZ339PV/QKKwolGDZ1
nHwy9MT/LhblmknizDDo/+mVWNtPtneSrmlz8XJL9LNWbMbaIRfsf5ZH7ZD8bm0d2Msd9SJE1cza
juFWrg1vablSF55cinUVkuNseJIR+yYw1wYRWG03SX51sCmBRq5wEBc5NJdxZp/Npf+qiz0vnEnC
v9hT2YPNru/KVSbw4o6/jDTjykEFVlscGBuWabc1T/IWgThvWx5otzsofxWgTjbxiqzPAqlmEjRC
eXnSWqH38n6RpHValqWA+Neo/7BQS0tDfVPpRwN17Y9vySWpEXxGNIicFnw1xZjNowRg0MKCCamR
eJO521vA68YLbEsn2fBy7H4O9+kP6dF7ECdxXfCFK3fUAgPrXfjZ5Lo4sBiNpMSO1MX6o6oaFGCB
ASF3O5D9ojBh1xVgJ9XXtZUVtDjF8JUka9IRvmILemXRipYAS171oq+Ni3FnHuGtKZMHjHQUPp7m
xWFeBJvtClN1KzFKGWYABRS0nhICHBuDnQZwHkaElvEK8f2zBVR+XAm9Ns7ZB86NAg6AMOCwWCY3
qAbc+7HghMbwE3uBNe3B6e+anejoWGj8x0J2Hqrz+2Vruoka9SWLCaCu8qnxqy9YJ0BTEWE/lF6B
kWqgp6ePp3aB48Y5Qwo5CeVpVzp5WYt0rhJSq0yKn0b+0kn5HlGF7cdBlm6Jd1Fm5ETfryguV4ys
2mJxBEe92hufopv/1sluKU1EJRjCiKRwV1wZ5LhxRjOpQ+tk8EsKMa13B5kIOy/BuFXc4jYQ/XsN
zdEtWPzbcgh/YPS3kne8JRbzj0lvl/YCjqMqu/T9x5S1zgdKxZqd3HPaGn58/pT8hpd/mKhyjrIp
nnCNOFqvIU4m7mbNzG/hIuGOBFPELMBa0aZ/f0Gv5eoCRTOp800JnXSYEjpp+18kdEvrh8RKJMFC
yAyjyfdxAqQcpViHMh/fuMOmPqY7YRt1m0RyhG/91tvkeBTZwyO1pY+X1ML4aOHLKONhYULSNdsr
cWLmiTWiW4cWCMhRVPjcHw3iYF5AKb4CbtPH20qJV06Dq+xDk00EDySOPRVr4znJFtBCmcFf6dCt
9I6Ad3dN3v74eGBLISZOLStHQRFkTjrtAR8a1E46p8t/qMlN2ucrM3f1xRgDmx2HAMSHkG6YzVxT
B2pqQVKiIPkbzOkmA75i5LuPR3Gdnc6iyO/XhZlbZlX6dft27Vef0p15LE6ho74iAwZCCcFnoLb3
0X13CE/CL+tGWSO7Xi2Q2Q+Y5QCRDkzOTHXikPgDbbzVzjiw3mAvuW32oaM/wOjcVOgMVjvllG7T
fXGueye03XN3sG4i025fP56S5Xm35LcT/tqQDGZt7nagUByr6WxBPff9ZwDpH8e4zlvfRv03yGw7
Jl4ZSHicdY5mxXZe4JZY7jD73oWYGnb0i4Hv4dL3KIMPF6zs1NLdSpqtFX91zQ4ARrKy1q6ftNPv
sQyQ6DL6IFfv9Taioae0Q4tGkbkPj21rW7sImbtJNEh9EU5Qb28mO5XmvHYALuwj3N/Q4YbuOD2m
Z9/fEKzG7GE/OP1EKdF+rgrfX93WMM8vA8zutMQcaVVHU4CxApQhAI6iMHWCvoWyRtrBpVk7GtYi
Tivs4kxPEIizdPau02F64eoveXMX17XtKZ90a2WxLs8eNph4UmmSPk9FNDwvWvgYLeC/8qahnwNm
YyXE9WjQTlUNziJk+vDzmCV1cWcZVq81vZNoL3EVfE64KDw8YIwCktfjyr6Yjpt3tzFKNZfBZrcx
7sQx/MwO0O0+Ng+T+2uGhFdy0/nb6hf+Os5KvOvN/i6ePDv+htJ3UTVtc44/abeDcLwV7tznAnVc
fScefjWHfmU23/KJD0b4Jhh0sTgicCZdRFkenOW2/Jke6cohYqrfBN0mru12QwPKSb/ph+GQrDxC
Fj8kdU7qcigYmHOFNLkdhVGN1Z6OGtLHmvllqLo7HgcPVqJ+heLTrkzuVUo+fcu/8ebax4lU06Yx
hhz+djDUB0/pi2Srwa03zjLpnnQUK3pPayvo6g1CVJOETkfRytTUuZkvrchKg1pZOCW8t04lqwQp
W0n+QdSzHZJaWx/4WzjZvZecs5SNtwnkBhUvgER5QbwU70nvuy8Y59pQDiur7Xq3KjxyJyMnpEfo
WFjvDwYr99NhcElLFM9Bp5fCWiJSo4VAsxHHu0mPeV1vZGmFX8TUpt90sd6kWk5gG5asNzjHno/n
SF/YEby7lbFN5/R8XU+lEBSmkRO7qsR0ZScN6L+BcUGPljsbsxppD7wXqdJ8s17QWprKi3BzdaY0
MyLM0Um/fODPPuAgstCV/bI0c5chZglYAMFQi9oaDN1wNyILoIlb0qWVeVsZhzn7PE2ReL3v9rkz
tpZtmBORWlm73NdizO4jmK/D6LVsxElnFfJNqh6tTXITPXgbT6PEygM5+bpqFbqyIK40dpBZ6IKe
kVGcc/CCcwrYkk7hdI6HsyAtWNvdfrwGF7e+KCL5JE6GZeIslQAiBaA544ATvABAX4mBl6f5AG1y
cFDCGUDXAQEUeeULLh1z5kXU2Rc0c6gESUnUVohtmRZmo1p2ieVNK6+ZsS+tyItQc+knk+n0M83l
Q7qPKtewW+QbtRlX1v11FWA6Qv+O6C15vTgydCT0IS0LfLnuPOHF9+rW25pORE+c9zDdz2i3qnW8
dDldHNvzd2JeZfoY+cwiO4yeG0eyuEWC95uwtb73nl1r9rgJfoF7jjCYXRNEW5zXv3eGOssCEJUQ
jSEkuFv+ADg3AHcAgvrx4rwusL6/mOZuQYmZ4nI8ECQ8Dpvizt/U0FhOxrYGZbThofWUeiAy1qIu
7om/Q9Nm2Vsz5oEvSyGNHArI1tfghMfnHcRHmnEaMuGTqVd7W2Psc6jDldjTbTa/ES4+6bzl4KdW
bMHshOK5r48KpY3JJbHcr3WOrtXscGJUTQyscX6ihDPPa/TRt8xIZWIh1+pIvW66O+nAAfdiAhey
jcfiOUMyvl95uC484d6Fnac3wIS6otMZntd915SWUoP60NMan+SntOG7Kv2Gj3iszW1mmHZuaRu8
Gh/Kwrwn59wpYDNX1tfCl0YsdEqeqRKSYkz//mLXZlA+tQhyAeurlZ34Qd+EO+vOlzehgCPmZNxk
xHa9yfQ98jrebs2/aenUeBd/ltxkcVf1k47I5AJsvPRH7zTZ40bHcdMch2O0mrsvbNrLePOOYRG4
DfPPeNGV2KA+bbfuSzOqa5fn1HicreLLMHMl+FxusrBASZvCmX5q9tbdz8apjvX6Ml7YLpeB1FkH
NJl4aQCI4AvIr6C0N3DUT7lZAht87sLHrvaPklciPwX6i2oQAPImob3lP4mhdEtp+FMTFwdR8h/1
WF+5V9d+2SwRohYyNKM4TQHSjdI52Gt7hY28JkZ7fZFi3oYMNfYWAOeusmOudLBxNEsR9BV2KEO8
DokPIN2EiRIZ48qYFk4NzJ8oEFKVpNxxZRhngh5B5J1o45PO+VSceGpuhI1qS3/G06SBSftgbS1d
X3LvY862aCBJ/qQGirXiNpVtlGBBf/9RnGqP+OBmUDBmghVgT8btzUE7fnw+XH9EtHfprusUm5nb
eXIE2bPXsqHW0Kgu307jqWO5Xmi+3pWTD7iOcDnn8QT/eH8KmYYluehBGY4VwKbpfsvynzZQVsZy
3TfQpmGIJlUJlfrrvIsPIij24ig02JTmXt5iO3x0773/7qNNl//7A4BYAMemiAqujbMR0bk2E8NP
dVq9sPw22N1/BgRKlX78vW5Yc52q60i+y3RDjOkRNa8q54Y+tm45Go7fvKjeF7n7/fEqWPg86Njz
OqbXABDAmG3lLMncYpB6DBUCHaqkInf4QRr4B1bVj/8hEvcxfUfksq8aVs2git2QMBKRx26kSV9k
cF92jB7NSppxvalQ8cSVXZnEUGVxXp/qYna5AD8ecnj7YqAjiLpl95B0UPsV7yn2xhVzusUpvIg3
/Z6LexZaTVRloWggGVdtEZ1Hew99hW6tcbIcZrIdAGkksiDeh3FTN5MEBMgdXDttER53DXxcSNbS
0oVjgcYXKwL0uTk1od6HMWF4pHlMGC1spc0I7x48Za5trWwIwAUG31JN2SNT/iprzc9/v0Jo0+A4
Qu6GEOrsuSZrcSyZOaFFKEaaMgp2nmW3xQSV/zjQ0nFhyNM65DyS6bZNc33xyZogRwUKuQhIx2gm
2SNKfjwS4d+hkCMM57Y1VXrFDaKefuX+7I1IfC5HxFGFSBzXTE/mO9zifrMkzmFWKrW4uXebqflW
2vVexDkMVm8TnSV7PLSHftM55kHfrRvEv50ZlwfYPOLsCeB7eakLsg6/FrHb+r5/ih0YB2AF8+f4
Nd4Jhi0/1FsLWEl+lzj+ydt09xgm+Idw65+Se+OXt25KNk9W579ptuwgt6s5B2voQKbhNfRdsNv7
5OTvIBySXekHTbN7/JzQED+v1XznG2sWep5nFRHHuYd6q9ONwRZRu5NiZY9GG379eNFNI/hg1ucP
2qJrUUzLJw2x5EmDddEJpw6xpUhWzqpmrWUW89xpGhQNVu5cLBHoBsxWeF2hUxqE/jSfkyEhiBpq
cPnOPTY7+WV65E1K7+ZK1KWlfBF0XoMrlQ6fB1OJHOQwMjsUvc+p0e8/nsarZ8XbyLAoMckI0bye
22bKoZFyuKKJbEIuxYnW2Hnb9iA/G9+Gnezk+7VKxOKg/sa7qgVUlQz/Ro+cegweQjf7Eirdl5Ux
TbfsfG1MJuUcSQBhAB28P4+6DrEd1cXyGvrFlHtiFoL0wL45hqc15NHSar8MNWU3F0dfnY8A/0I2
f1+eTP+bm+x0xOg+Hs9bz+KD8Wiz8dRUwJSshBoNQ33vmd09faTBlsNesbUkBQmk+k9lJLubGLUz
kBj73iuPkH2eKsRrUTqAPSQOGSDENDu36KLaqpR98Xv1pU3UszYgvO95Cvl5XuQrP/2qHTMtr4v5
0WbzYwJF8gWKyU77gkHhs3RISMVdhwrprbenNPMp2QmOkNvej4/n7ArZ9xYYPBaGMZMJz9zhI+gk
D/ke7NbdW9xLbpN9S689e15/WC4dDfrfQHO0clQ1cLI1FrRZw51KYxhRblHjTupLh8EzhpVD4arO
9TYwUgruNvJXkLbvV1wT9wmpXzVdN9JOvAVxAmnFdLpdgHM0Z0VGT3Qj7Famc3FLXUSdtvXFOlcF
KcjRg2GdW7YCbIm8DD8Yu/zOq2AV07s6xtlxG/OOgheEIJEJloZyx844o9lMuSPY+9+jX91/8RmX
ziWavP9M6/SZLwaYaqGqpRlnRq/9LFAXiOqnlSmclvrVLr6IMLuTs5ZeHr4v0x3SbcNX6ezdAmu3
qwcM0VZ9i5aux4vhKLOncDNIwUhbO3IK7CoV9TYc//QGOkVfPCldWZGLG+DvuOYVHLfSA6lsCYXK
iV0XJSpQNOKPrve6MoGLZ+3fQPPMQgq7PnRFAol7zLid7FP+hAiRsu+3pS0fEDLfBbv/5Q6+mMf5
VYKQOcKjETERRUDso0YXwVw7I1eW3vxKVEMl6sopYwqP0Z18MnbF3tpSUX7JjqKD5JezupuXVgf5
OJCQySoIB4/3i70ZrTqWIOACR4HoZ2en6DF7nCw2hVtrD4fsPtp1Z+x6nZUvuDTSi7j6/DZAtLaD
WxU5/U4obutjRA3TPbR8vqcJCFWRr6+2PlZS4fnsxoWJQBnMTQclGu4Z37ghX1fstIOH3cndQRFk
dGxCd+3EXI5LTUMWJeCH8/o1ekmNaKXMcRTb5j6CTTLZS5a8RAbHu9XtCT3Px33I92t9uqV9Ykl/
I8+OsiEcQylrBO4C2bPN/lad/khvP/6Wi0tIpgalcL/z+psdMJGKZq/g8c4quhC1lJ9B8K2tvuSK
CkR3pRy1dMBYF6FmT3XZz0Sa7IQag2+S9idS7yYZsmKt47A4bf+EUcR5gRhPCD9C8NVJBOS140Gw
o9jaupH48+OZW8yJ/o5HEWfpnGu58qiBF3e6U3kjtbZPJ0F/CPb944TAA6JwzDflyd+unWXyx99M
ebPsvLjjxHKwqkH3AFY/UWreIT4Nu0o8DVuEGeA6TfYszUu/rY7ya3+aeBDxyT+NW8jyZ32lyvPx
N4XD8v4E0qQpLcz4KX1R3LWutBdT85BZxVkwUVX6eMIXT52/H3bOlem0IVDj1MdDV+y2sKo3xRry
ZG1iZ+cpbPHEGFsiJEKyQ3ph8nIvy4dI+pLVXz8ezPUqpaCj6DKgXxVmznzxjK5bG17QQziYMIxw
nU+Kx7Xnr3Y2rzM+DQoe/4gY2PHnbNflRWwFo2qC+IeSDmx7rMky61N2zBxklv41I85CuO4i3Lwy
W8aZbOUy4YIvoO0eUgcRlT2c0hNiXdv48/q9sDCR7wLOxtf0WspnqnJHTMdNxlPK8Eob4ZW1O+86
7Xs3sHnWorZBikIGcWix79w9ilMUDRBRdybgzlqz9nohTsFAZukSNLQrc1NXa9zGRPHUMfQfkozk
I0CkKIOlD/xfTVbO5eUZ/E8wa/7EMgLccfO8zidN208gs9DLLcXYbtvg36fODIs2hMx/NXoEsxst
HVqv92CnO8mbJfd40B0cGJ5RWLI9x13JZxfn8G+wecnWw1zbS+Imd9Qs/AUR/kuHXK+kurdFqt1E
QbkGcLkqn05LX8fDyQD5AUh3jqbP+zIvtBpfVQ/FOex4qiMyuRIsO+EPWdqzOlSf2jD62sXpLkUN
xxWM3cdnytKI//4AeoTvD2PYSpDeBzF3dLm/1zrhK/oViAz15hm5EMeLEWz79wGn0UIRnZhp8/yz
yj0jqiYPXj25m1TH1M2z6D0p8O8/jrNQ3YIffRFolqWYiocdggqtRzwFBwP/a2zxjqGtbJ8mw9i1
lXMF856+5GW42ZlSuxLiIBXWjChb3Xh37mNy579WG24eAuMNnd2499mzt0lWictLe/EisjHLrLuB
07PFocKJh+5X1frIkplYNKRrrcGlpXIZR3m/VCLkChEy13KnmPRLjNG6Q2b/VKIngkp/jdpQvpJn
rg1sutwvchbXS1vIhQzMTznCSlqCrMYe06iPV8pCGEoplIoMjVaXPj9hUFFr9UrB48z3v6MfEgot
4NY1586VIPOTJYWWhxsFjX6at20GTthAOx9DgEzdjbhS1CtXz2I4A04SV4EB92q2GsXJBKAYcTK0
MqMD+2xMFKEMNTI76tz49eMJXCi4Qdf7G20OhI1gefUVJUTqUu1NQg3ZOxZH+bDew10cFrwgS5Gm
9pY2W4JpLXhmMzAsN/yq+n8UpLSyatU7dPpb3ldr3tiH/0SZnRyVL6T0ESrwlJvgDhngbQSQ3Ps8
YayU3/8FduEqSZ0opJO3NZBqi+RuGvXFOk9hUcQYNA1vHQbMJu0QaeWt9q3deq+Y+jnWc70GKbrK
wd+HnKdcOICoeFsUg2OhNGQiGCdoHupU2bkxw5XtdX3HoSECoICvBqcTNu7sfKpczQjNDJYD9qQ3
+KMctG/WfrLtDvf5v132s1Cz9aG1SRhEPTLYk1ypHOMpf+hwP1tZ7lcH4SzK7FyqDEyKhglQGd/k
rU2RsvseHLq9t9Xu6tPwM3pWA1u9QZd25+8/Dj1t23cr831kazaVCJ9Hg6L0E6MLuNAh2kdHFTLF
GlzoekG++2LWbBoRlJOLuBwaR5M7qOqR/7vwxzWq7+K6ACrBojegqpPjvV/2sasMFmo2vdMHgrof
0KnWx+KIEc0TalYIApv5UdUkwH/FZrSqh1BeG+bSd7z8AbNhinHvGX7PwuwE4BNSgdhVZnvhH41r
JhS1zcffbmlSVUOEowAMBafe2aniyj2mWSIgvphSOlZdmyz71+VYlsdliNmpb6CMJVBiG5zK6zZN
Ix0ETMCpWn4dXWllE1wfIO9CzRuUFM0qBTsRSrE1doXI+2G2hrDRbdo8fzxtC4HIiyFhQc4GWjUH
GIwIn2cRsveMyd+jLrVDh8n2s35b9ys88JVI880Vl0UVVAWbK3dRK81b5ROuB9s28b+NanD8eFTT
x55tZFVRrYk0POHp5xXCMhmUwLIYlZkbd5VaP1tKexhNa28ktFcqVTq2mh+trMArXK0loQRxEXWa
gYuLpsBWpWUdTkIUGKyMN9Uejk55sD5PFdjs3v0k3BgPw3m1+LQ0s7By0BEBoEGGNbvg4nyoqoYG
tlO/6EiRbpNttcehYp/8VtFNknco/O8nepb+gmD/RniV7/pddxCo6a/iBKdD5WriL37KbAo0zGYx
I+HsfpOM2fib9Ml1fibH+BDdrxY2Fg4Y2tD/jHu+dos8TTtYYRhH3Jjf9L3OA/lZ/Ozf60dkD2E0
NDbCYSfcR6ae08oGvUqVpm99EXs20EDH4Ewcy8bp3QQciicX5usoiXG1D8t8WGsrLEXjbANRpb/p
DM0KqFRph6afmKBhKX4umgFpu974ItTaWm3qGnLDuC4jzSqoY4KrgxUBCtdgnDa29NJZD1X0hCHe
ftjk/rZHmys4yQ9I8olHTCiUYWs+abeYCZV4EQ2O+FPbNupW3SU7z0m+fryt16ZhdqX1QMtKlOpa
XAGwujSCT40q4xEprpyJy+tqYshPx716VQg0aoyIJ7phbKnlTdQM4Tnva3qJgZui/myOdlF1/7q1
8Lag/gadjc0KBXTdajZxi3tR6L1awl0w3Hw8f1caUm8nlP5PkLec4eKEorudqILCqlX32MfdZnvz
pniZGiayMxzkcuVAXLiS2SN/o82GFAw5GBydaEO5U/C+KDBw+nhASwtiqqOqwIMVpAxmEdwQqUo8
XnpHa4oHrMS+YWNw5wXW2gts6T65iDMH/CH0PBRdAqGuzJ+F+N6Mt4qaOUD4j2h073Xc9LhyNl6o
7F0jsvXJthVrG7mLdzJKMrGIkOTYOGVi2P/D+Bm4Bux8moVZijUtYNUNrN5RKiqRuQCa8/Mk7/Zx
lOtaD2uTIP+EmedWJfowSNl3EOLGXf6c/ipTe1JXMW0UiOtHP1ovWi99WV0CZyQrIKWvauTo0Ghl
mia4eu1UcyNvg62LuRAC+xuN3v64tb5g8uhu1bX62fVjm7FeBFamRX2xRRAi93qsn+GLxUWE3YBU
2GIt/OmHcGsGHeKpysENDIQ9JVhPKry9lU+68AYB1A8FmDozfu3qdDhdxDdwhUCKttV4zgWH6BRB
WZi4R2v6XEt78yKMPhummfaCHsktlMZRRBP5qBTpyqpZimCIooyaiYhcxLzplxpt60u9yYEWfyuz
r33y4+NVufL3z8+yESRQgw9v56QCNsQpLtn6t48jvHHo59nMxWU4T6zqKGmMrOJN4X4eTtGd8NM7
BOf83sdrYuPuzHvvTV+o3ku6jWGxUx3ivfzp499wXfh8fyHPy2foqFTpqHAvTKCkynS4llIn3iXk
dPJ9+r14Rs31pfzGi05w1soYS5vwcvyztZhmekrfYxo//NPuT1QjwBeEh49HuHS2IgIuyhLE8msh
PPRqLbkPCCJqqOlITfKoR9W9GZmPalTcKVZ9n5g4p38cdHFkf4Mas+XfjXhGeWmEr1wJqnqUdqiN
02FfgUy/lZauFtDULUJoR6ZKM/2Mi82cZToqrQpjk7GY8MV2V6jdXZqFn3Q1+h4WwxdjjP7UluRU
gulQv8L3Ad6/qXYn0cfmunatX2mXOLkS3gRa+KAk3g+z4SBku90bIoev3Kffha4/ibX8+D/M0MVP
nyW4uU89Tej56R4t+0A9ywFeBtpKr/q6YT+t7ososxWG7jV+0SYXuB7nd8EYHah0baxA3CWVdxA0
bVtU8ucozDFJ75vDOIyHuuW6QXT/0PAQt8x+Z0g+NIMg/l+Ol7+/bE7Sk3ttdIH2tphqNSddLe9E
fw23tvRuuxj8nAs0Te9ooWDs6F1xP5TKZPlu3gmecTMmbrVyHK8Fk98vRb+VxiSs0VtxzSgkI9Oa
c4L/oydq7rE3srWX4OLpLNOEsjSstXVjtnw0C5h8ZPFh8+J5lBEqROby4wW6lKVTe/9PBHO2dLSu
xKtCKrjBlFddaCnG6JvBG16yQn1N2pXixeJ5wVWma6plTVTV97MX9lIYJiOXmdt9F6QMybEHWN8r
h9LynP0NMkuzNK0axN5nzlrztvZlO/aDlTlbzOSMi3HMSlgstLysTcYxFYtHB5+2bX2udhNcWLb9
rbyyv9+W8PUB+M+Q5gxnWUxzVKkZ0qiNu9QrcFSNvvuhcZ8BQdUEnjpRpDvRkMJ4zoYdgPljE6Ca
3+ifrDC5wUbqs5YreLLmn3AN2cZ6cF/H4rkOipWZWfnAxmxiDL9KrVArO/SX053io6erp46mPX28
ZleimLN3PC0XyQ9Jpp3Ul+StoXThTlWzYpOl9Zo84OK1+vdLz/WVcHTBVFslFBb1dtNVGyscNj7u
u2QKtQlfpV5pJ64FnB0wiZG3Re5XCIMJ7XYM0ttea476kB3VUL6r1ZOmy9uPZ3N5NSNlCy9UlsCi
z4oVueYZXYCjkhOSWyAT04ubNLH2PY6ndiF3r/icfvLCcJsk4D97anFSuxPD8NEP1jCJi1v34pfM
B4+HdBK7UxJTYGNYYJIoR//LEfQ3hKG8P4K6qlOoA7FCtSq8y93grvOqUxzm31cmdZq0qy17EWca
6kXOgqEvhWesjhzJivt2p6HZ9jDIyvDid0pyLpAx+CNigvyHEsjwIIPuHjYd5oG8zYRK+r3yY6ZB
Xf0YpBhUCV0A2ZpDpcaySwysW7DR24TP8jbeGXcyIleYyeyAGRw7b+UIXnp9gcn6T7z5608Pix4G
O4vYwK8hGPOdh+yuFX0d9UMDxnUSQ8ulNcLkUlCTzgXSQ9xnZKXvZ1zxBrxP5bcn30Rw1o8Twfm/
UBBfWqSXcWbbRTZc3Y+nOLVj/Ix/IWn1oz3UNjJBe9SVlM+Cs8ZYWzoTLiLONTzws/WF3Mp5TIcY
mbuJndV4TXQlElajowyfQ2lNAWbaaPMFcxlxdlFTp1HitORdW6FRpaOK1gmfrA3iqKyXYfy0NsDF
coEpiVBQTbi85nxXUm8KKG0xp1PBOzjE995+2Cnb4bxWH1ys3V1Gmu3Locv1DsU/XF6Pyadmn+y1
WwPF/rcO9nENT750UV0EM+eHjYnAAM4PfLis/Sm54+9eHR+lOHj9eH8vrXycZhR0t1R29xytpI4C
rPGaJ60i4FmlWq6xTX0lOHnGZz0Ywo2p/x9p39Uct45t/VemzvPlXCaQxFf3zANDJ7VayZJsv7Bk
W2bOCeSv/xbkY6sbzWmeUDU1My7Z2gSwsbHjWnATsjGCm9Dk0uay8NmzO5IuBoF+66Nvl2SwqMUN
Cz7pANDzkRad0rVFXxRJdVkcuWkWuJflzjqu3HPVFIAqnM3RwhvSaK6jMAtaW7fy99lwF1jXVZc7
oAS7LGo+nf8uS2xEALKLEZUKMnfpXlsxwPdEBkg/7Xpr3WUv8ad8BcDUbbQvvva4IZi2BFbRuNc3
PcD12WdlVx+Wp7rmsyrAJTB4W5ChUCE0MItCzsq413BlogPq7KAIwxhhAgCL/rtl+w/wjjywxTsE
mDjAxbf1djG9OKfe5tEnCFYCCJdaqAf8E3rd1htI6kFZxvqF12TO4B6L4ebx6CnV216p1byc3AJ0
qD3S0qB0aRZknMGB8Jz+sRB+x46EgMZeN8DppbnhFo2UT8EG5HUO+Iyuy6tkK6379bhZsnqXt08V
sSdrmU7AzEGOVJb9fRH36N9s7ieTrC9r7+XtQ/7kdGUxS2WJJHg99LLf+kDVxJD/w2UR83fxpy6i
R/RURCcFCFNNqQfZw71a3ofG9CGWC5t17QqoNM5lYfP+6i+1AwnLqbQxLSQV9MK4jVuCwTsQZQWF
0zvpkw7uIrt6AN1Xv2Tk+CaJD6JpApiGAA5DPyuFD11GB98EegpoPLwQAE9f2g2gYhzeLJm49etS
n/S8VT0SKFxvcDShSTLFIk0dhLRhCXyjpCQgoTMCVd6RjFYuEnzFR4QLIImWjNpNwuivInjyS3H8
fgnnqvYGY1OB5ECKqUojNW3LXDdG6wT9goWdPVM8XyCBsNBqg4Lh6ZmWAci2VLg1b7URdPHoXrFu
PtUeOMjc+nrZD5i7e8fyBJtiKalvWEE3udlUXEVp7koqXulGX4g25i7GsRjBquhoOUzNDkRTY9/Z
SfVt6hv0oYCghN32xeryvZjzAo5kiUmCnLGWIYGvoyqJIWvArZE1B/hZ6keaMydHYsQQvzJ8NWpC
HuIjxWCjyk2dMCkT9/JiFs5HDPERM+RFMEH9rXZvJU8jiFwndcFqnU/xvqn3L6UTg/s+H6qxgTvo
agBNMHaGgxTCY7SWPwaO5nHQ0qUyxNKquNt99MikXV/mGWgh3UAByUHZg5Rec3M/9S5v3hnbydu9
BRoeclQctEjn33Ekh7a0xZwr4j1ADXr6y7TNMUF4RZ1iPwHqP/TQ8+pFNyCswf9b7DGfM5XWkXDB
culDH6LKCw+bl1rUR9IAVQus3NvcU5/7V/COL70Hc6H2kUAirLbUI5SIC0Sb4LteccNh7LNtC0YD
NIsuyJo9wPe1iZGYlQ7wO3MYRAvNeIoBlwqgMQoIvRcOcHZJcObBL2SBYUREJdCaijPyZcQ1b3yg
b/rb0iu2P6B0l16aWUfSOpLFz/NIWfSiqNuGn1e36zzu91gILiVwvto84vPxpIIcEfqzjlCa6z9a
zrdwt+QKzdquo28QHpqWYA4oa2H+dfiq5QpliZW5W3aaZ23XuxgxzLR8K9UDC1alSW/B/h0WS6W+
uXZRBGK/Dk4MhqQu0ImkQBdbJb5XDMMNWv8wtWQLeubnOguAdZNmD36j7wO/kWxp6qy/YzmPvkC4
DTkxQ7T9wqiNZbspGgMk4cMhA/nlZRWdfdmAEotEFUg9kHE51ZohCCwfxMzEDQJ1R9VqWyrFdUS+
ZdInYixFALPX7l2YJqwpwuyBXjEGIqqGbhIp/ILYZ1OWwAW5vKi54zO5f/cGvQZgQCG3M9QlQKUj
JPYlGQAm4Kzlk2kAZgmqK22wrsY+PVQt9QC3szLL7qb3ra+Xv+Bt1lNwNE++QHgiZP1naUG/ozfD
S7ntdtaaoydHB+RFXCmzt+Yh34BKOXWCb81tdlusZFBhmIvJi5k7efIlgl0IY9BGVTH2Alzsn8Zm
XDGN3U3MOEjxdN0VxUYOJQ+kMo8LOzBj+47koofjVLNGDRxZlgX2WQ5DQVGcBYPzrrzV3Nj9AdDY
e3Qnr8Yt5g7up1ekw5asEZfw388A2i18Qa9UtIr5JZaUfdHsYv1FRsmvKWAYLWUF7tcF123mMh0v
WayS5tMwaIHKnf2usmWyGtOn0XpNo1c23F/e3RkLiD4SgiQ/pogwHyIcKhn9YUhKH30QTWzXve8N
i50Ic27VkQzgnJ1un0XlghUcN31cG+vq8ANXE0To+97T/hRE44x5OBEo3NoEfL/1CDBel3XRS59F
H6YwfR6MfKlbde6YkKQEITUKJZiUE/SCqKwxRoZCSUKpZ0n5Rqpa3wa3I7RRUjeGXz3/9dM6Eijm
0TupLceuwU4aRi+BbtwcP1dZVizYnLmOa9QEUP/h00oKzN/pgU2hUSudERkuDQDmETuVZ4D1EwDV
oc0ZYCJzw7zCBTbVUlTNjZlw0Y4FiyELTXSlTAdlcOnDtNJWiMIO4yd/I63RB3SrL6j+XJcE+rrB
cwNQCGLqYjG9YKrmK35huAPBNJFDvnIaTA45F3Wovawo4LBVQIpJ2/CxX8SZmtHRY+Finb0e5TGV
oKVI103mxl9rmxB5QrQ5kuvO9UH/h2Fr8BR7lxWI+9riBgM8EgORSBKeY3xEDUviosUr3U6V09EP
pRnZDYpSbXh3WdAZjRpCDnosSXi3pDYqSqMAomIKHrP2obgDsBW4TSqAcKI4wne2XSeqh81F4fS6
e16y2XNP9/EHiMim4RDkuTJgg43CMIGkYLZ2PgKOyZC/tZjbX1l53DpGdNsH7T4sjA9N34wLrtfs
RTraBHGITJt8VYsapMKRjs9cjIn0TtH6yXU/jNauArOeQ6u69RLwZLhNLNmgrlZcv2jim7gDmTp6
V0w7keIPWWt4elYs9C3PKoMCvlJUATkiCjdvR45+Slnd6jWUoVOTVaVdF9HXmowuyFLsy8owp+vI
k/0hCIRzp4JYG/OEIFzQYpCeWNNfkZSzncsLbRHzR66iuxX8Tkg6ih3mrEXv4gSAZ4S56W2OZj7l
Lrc1EI5ELrm9vKSZdxMtOO+ihCXpox8MvqVTTL8zdPRr9iJxzeymvUt4W+zR6cRtOjbgIcSrWZBv
cQZ4w0J+Jnmw4LcvLOStPnYsRgu0JMyR7MqAtYKCYnjdgm9pQQHmXADMiBLQblkKcBfE9E0IvlMj
KKFq6bYAHcxg2I3DaY50e6jdbsvBtZcMwMzjfCJScALkKCpUq4YBSsYbNcXTpTLJidRyZRm3YVQt
GNa5hOWJOEEhgIluyUEGceOO8ymPr4WDRNiLBf7mei1tpYW7O+OSvotDF7CwurTt06msUIEq/Ocp
JY5Kb0pgYubyJzliqxg54Mv6fvkEIVBY36jGFmEGBGoPyP2W4IvsgRAAGvn++xABopwDWyymPbhn
ePZc/VQbCBW80zKgKtgwUXbOgnY3WdbHxFc+9BOT9iOt601RAd4/rKnqdFECBIEUTAuXlz17CZGC
BiwnHJOzxBly0GnKcuitBeK9wrot0bXJpsfLQmav4LsQ0esB62U3hbKM1DbVnhvWfB0M7fWyiLky
N0UrkPKWQAIhk2Dr9TGdpobBpQMlHFqdv3XrcNXakbqX1v5zuV66fLNLOhInxGwD2GQMOeX7VgHI
suGdfb2zsCR++GfK8S7jDTzqyHIFjcTUtsG2TdR+K89hNi/Z69tpB5zgVfxIF67crC4cyRPWFEmk
baSQF+/Heo/JmH3QWQAZCtaX1zUvBsAcQMvk5L5CupSNSTXR1DRcU3kygsZOqyeWPV2WMW+tgKDy
U4igDokf+3rOTNjjPbdW5tV0xVn1wg2SB0BA+DtpMKjfuzxh73o5iJtEsmAdB8CxYwSjQqN9QYHx
AFBnFcmKy+ubSVUcizvDrWiGQSYZHjU5SjDrWzuNtNHjDCxChUvxBdE4OIm20JY+++C8r9EU1gjC
Vhb2g46+H9UAEtvXfkBqYITLC8zHLjIW1H/+hv3aUbHskhApYqY8oarPzG+R7D/5HVvyp2ZXhDYH
4EfLIHUUc3qyjE9nIaFvEA/9h+4p2wS73vEf6quvrQdAKNf6El8vjSPOPzVHYvkNObrYLB7Ksvgp
1tqFDmA6eXDEJ+ra++ymu1rinZ/VlyOJwp1TAP0+ZSMcR14qa9Y9SJebrQwmtMtqORtxknc5YmA9
RHJPEHfwia/B67/VHHukfouKrK1c3zBHWkuRE3vdhi6aS/5An5nLI9nCGiXLN806RlKkJBE0sg2B
HoaODUw9yGlp66aSu50R+l80EhV7NBbtCrP8YkpRZo/5tNQQOKu9Rx8j2B+8qiZtZAL3hSapgx6+
COjr3ZKVmzWlqJkbMmiTwaUtSAlTqyuT1KDu6Fh38guAv3y3R+wJMEYQuqzrQ+IGALJZ8Bn4PT/f
6F9SRczQhmW+lsewA7UyuaWMjIlEPWJM9iCljqEktiqxBWMw/7xjWJEDvqNmToVMlGYiogRmIa+x
De2e07RL6IAItD3nkARY75K82bf3lzzMSJ5e0S4ulBhjRyj6Oh1IC3ReKYVFb23epadulkDL5y8O
RgRMA2EhJlcEkzBpettlpcQjuywCE1y6Ym/O5+Qow5PlduCYQpgHWy9/WXRCuSt9dp7vskXQiDSq
FdJTnOfkJ59qH1xZmvlAp2EvS/UOs+zJrkz7zqvL/D6vagC99c3jZbsxp1EGiD/gwBkU5BjCyyIr
FviDJ5wucpEhcLr11EmrAABWTF4ZWrjvwmDPjOTvhO1HYsW0d5ZXhJY6qiyh8U0aGtQ2C6dIPl5e
25wlOBIienFGVmmBJBuooOZgnLAYOoELsoRjNevvgO4IUHxoEARJCtfnoyelYEqUShh8QrYNJBuU
bjhHkOGOK7mSNgQdO+l6qe49Z3yORQqHVjbJoI0AN8PYyQT/49tUf0O+yru8e7Oa8b4ukVMzlCsd
qmwiyVXFOwuwIxjowlgQmHFumia6zVU62ERDD+RlsbP2xkA/N1I6FJRZYtZAq1icpflkuvp16wab
fBU9dp84UwfHVtcWci3/5fR+SRM71ibKrIKOFjrWrn9UpH03G2zdzm0DDS2+Qz78s+VpQnTNAisL
hgJK6TPQlCKxH7fdlZ7lK7+Q7LafqJME2UM59d+CMd/6NfuYKMbSJs/eDACtgI4HwDtnuPmtnBgd
5hVNVFTrh17pVdsH2+eCAvFXXzRuxpEQQUsZrYPGCCkf950yG01Qd5JWNXZtkNcpixYiqLmmSnok
TQS2HQHCYAQJpLWA8Q4dbYOkbPDZckvP+Jh7ZoxMML1dIjqb3Udwheg6Yk4Nj+Pp3fdpSEO/gq6i
I9o21NeIfb+sLrM3/V2ACCRnpZml6HgQYMKsXa+3BxKm32NpiflkQYzoV+Ql1Zme4hZoUxdgii33
ppJcJaGyOM429+LxkTyC1nuAn4khaOmXtCKkBMwNmHqNp2nDgf8VsACV66XDmbck77IMwUeLfFVP
WwZP4ie0TXbXX3E/wlrVr3+n2x8PKNLDmsmnCsSKXYakmTGW0AX/MXvy18iCAEJ6SAFuW7ih93ey
IEfSxHJdLEtjGnfIUMhxu8tosW9J+3JZ92bv7/uCRLD4XmvCrLckONKEOXCSvNCy7LyqPKtZigbP
AwgwxYGeBhYflCxnVcG8kwkwiFXTJTfhrbmaNrxApnyv7RhdY0sZg3Nl57R0KEjz2oSOptPTS5vW
GbhDUy5MrTdpX2/GPHtV9CVSpiUxfM1HfgGTe0YtlEDdcAh5ssDrC91JowUDcX5IJ4sRu0jyDrNW
ba0ARr9CFFs9Vd3njlWraKmoqJ+bulNBwnKCEgXN0pyAF0SLbaCjR2HslY+5qgOqSYqdBnwv5nTj
V50nxTsOF9rRx8BIPg4jwBeq1qEFdWqmHVrVq5TbWv1CDaBl6I2bK9dmjDRrMNltZ9la8KXDC6zR
l5596rXICcct2N7Xk/wtjb5mxkeCtWlauevMyi2a7op1qpvVwBspw12nj4+XL8HMKaIAjwQFUQHm
dMYO4bOa5uYAZdHLxkY/tGNmz362lHFZkCLa39SQVb9i6uhG46MyfMunF1NemLOaURSgpCtgm5IR
ymF27VQdNSsMiF7Gvisnk+N3mm35uhOYzM6L+8tb9obhc/rwmyeiuCodab5qVH6rMhXFb8e/CzbJ
oTj0kZevOi++Tb8BAnilrKLATrxsXXrdvr5nHnHKA1uzx85ND+FV5dth/Se4dBb2QAQF6tAtksmT
BotcPjFrR9nniI/Zakuu80ya6WQH3i7T0Q6kut5nVYaCJ3kYHej2gVlgp0JYOawsG9TtgMIMwUx0
ed/5c3a+7fC/UQU1wc8m2LXKUBjypLoBg8PWuToe1Hgk60Kptm2lbTulXQxfZ2wCDvpdIt/vo2VW
cqrlbY5l8geWD+9pX5LK1l0ZjOoI1vO1/xIpC6v8L3uLTlU8tQpgCgSfi6Yx6Kz0yHRNEz0/nCAm
Ge6qR9PDnJRrXMVsg7Es9/LWnrOOoVWFJyv/ECr2WhbK1NRpzw9Ukq+LeHBGlM+DGDAgOqhhWOUQ
0GPoJpCZLXRX1KrDpmwtYY576mQHozdOJ1v7pGWrUKFgUQYJe4vGsoI+ZSrzJrAKXP5esSsbk2q4
5iZiRE78Zp3NrbRTWrO2Sn2AMdGP9EbayPf6GimjVZ445XPzNWBXiidvfKdeNbK9tF2CXnDpaCUy
3vDMQTkn2hqQUY7ViDFvl7WAoGNgdWH5Xwzc3mTgAeeKrnHECsG5C9oxLBotA33aNYhD3O460u0s
d6o9eNjbdboG96ayFOvPrUvh8748quEgV6f6nnQ10XsCma3ySuL7qP6ryS++KpBzoJBtUqpaRCxm
+yOKQLEeWS4Dvn5cRqtsCG4TNj7Xg3xFy/RDq0tuJuee3PafiCZ9l/z2pU2WGEnEkaCz7xBsSZtE
8N75Sge0gFED9zvOXdXMgKNHXLVmq9q8TdRn4Pv9xet9JlnwM2QwZQ+Twc91jWYRs7fzmwBISQdM
Pa+MFQU03UO0yBEqPAxnQoXHEdAxbRxJMbJ9bf/QZrGnBtEBZOCfpFT7sHA1+QKOzPQPWUgUGWAr
BkCS2HMqUSXM04waIOPj0IwycSWPeCZozknngnpyYUMF1+KHOHQZQ2FhDoDpfqqzkqk32dgGlovB
3em6LTv/ZZAneh+rE1uoUokB1w9ZKCtaxLQ4fhK/P0fvgd7jzqAj3MR7QG9kYImOyOo5iaN+DTd9
4SwhogkP3h/iAB0MoHoTDdTC0oa6jfpKqU13GhRb4XMEoWFPAORhTWeTMX+6fHIztx+P3bs4IZ/R
62Ua9ATiwkZzkg5GlCTfLosQ24x+LMkEaQkBezCw94V75w9UGdohsfho6LpEm9G0rrY1+vX+chj0
JgqTjZgyRAiEzhlxOTRBp2cLnU+q8FYNmoM6Rs9TxbaXlzR3tdC6z0M7NIMB6flUJwqfAiCnI6Yr
DZVNEjRaNx/KGjh9avE3NB1x3Y/QDtlDYUGE+ANwdbEgEu8DWbYz+gg85qWXdeY+IaWA01GB3QsO
cOGEgEQ8+mYc8nII6RyrtidXsYtry23cMViDXBQsdXS75Gqd656FVLzGG5wAhw+cwdNdrFgghySu
kM7S5cdInW6DEFNBl09K9KygEadChOvbpRlYz9vaB3gcb1q1MA0UeJJTDbthFQNtKHK7L/7iNPS5
gpxKFR5VJarrklm57qrrcptA03flJvwYrqhD1pMH9P1xQwHVt7SjXO9OzTC0En4yJonRZE01wXgA
WWsq+0HTXYYKRJJv5TIGshLJUUpjjjz1z+lkPquZvlrY5LnloqnbRIssetYwMnd6ko0lFW1nYLm1
m6dO61IoUP+AGhfsJDMdZFpW0cdoteSSzS5XB6iOqiMEBNXhqVgDWDcRIRD7owydrDWAVKqLVJsi
fNSbDiHM/CnnzbE4egLMgTIz4HI4AXhluNF3HgD5lf02UeJIL+PK3xTbHmA16KSpSjvcFQuR7qwe
H3+DcEWBj9lUVjZo3Pn9GuJSos4fJTb1pM9Zt/sxF7AUfM0e69G6Bbcl6GUm5Ro3Pu2ofU5ppzU2
8adwpxc+Mk3A9l9IeM8fKDqAATiq4L3l/W1HG12bUl1PMjZa3vG+gnrTAsIZHr23oK9cH8/uCfrk
fsoRNjMtiJIjtcLH5TAt0m7RwtCvLFdb180KdHjrAZjk6wWZc9YOT+0vmcJm1mQq1HJ8U1bw65rA
hJGc4mPnyhj6d/I1cXNn6fzEMvAfivsuU7iX/VBVDVMhs1+N3tggOwEgV/wPQnZ91YJ0pNuUH6fH
PzFTyldzaYcFs1sGKtEmvsO1CzQq8KlH6h/c9Lggy77ujJf2Nkr3a3cFg8sYCQJfwUrbr+WWTzyB
ilP5zDtg4DYt9+uJJbazneVX50hTYYuihqLpButD/LJN3eAzT+9Kd+FG3qSPSyd5/kCfLk8w7CPA
mYqQb+cwXk+qTYenwX+8rKBLd0/wNKohQG10eNPPnz094WaZ+nl2JSADwcAxMLlhuE83DgjawNq0
gBNiSqgm9PpWSn2vaIPN5dXwrz3Tv3cxRLAkqPnHYzF0mitJ7ljVbt98kvPbONxL2ZWssQXQuYVF
iQhw1BpoEgNfCFg6hd0X1z6LNymNvctrmjXHBijyMCArm2gCON261qwjZVCwpl5v2lXfWYNdJLT3
SGBc9zpbeHFm9eFImqAPQKsgUmNluiuNt0XqpdJe6lpHKZM1bKc3lJXjj18uL3DWRPIogacjCAoJ
pwtUzQrs2YDnddXUWuUo2knMcP+ZCOHetlRCQnEc0RgzAEvABq87QHd9P1rI5CytRDgqVB2iYcgh
Juo/M/WxCpci4HldeN8q4XSSSk7MPFB0d8we+IMJYhZbHis3yKfV5R1bkiRcWF8vJiAg97ob6k9N
Mh2qsLBpWLqK+vGyoHkXBw2hVAaMGQfSPz1+Nso95q2waeA9UuFBcopQ4xNJbFTrbqVd5g6bZok6
Viyx/zDkR0KFh4pRddBJjY00AB9f2MkT65zxhZN4JoMdYzDmRV/pfD54QRFnTcaRXEHXm1yVR5ZD
18Os2JWJviKV+pj51YfLmzqviO97Kuh7EIQ6Sp5YHqPj556wm5TKm8sillYi6HqdRWrVakR3LZX1
a6VrUrRc+VcA2AqdfyZJUPrG9LNyHLEYrYzRlxy45uSN3ffLQmbVEOTQMhAQAfh/xmMjjX1iJDKC
KOUhOoS3nWF3d9PGPEgJquxxYwOCJt4tDVfObaKGX4rwCaRR55UsnNGUxDrU0Cr3WolAH2oBYpmF
HZxTh2MxgtalMVLMUYe1RdlTIn1upSX2oVkB6O3AxATI+84oCXvwX+kZ3zwD7bIDWI7MpTSuWLZ4
u7HauwjxaY8VUiVlj61qvOBevQ49DGE7vQskR1d9Nb8EHkAeCcDpQbuDgUXZHh5U3N+llOecWQQ7
AmbnkNGC2ynoojKaY2xwvDPfMj8BXu1FS6VdXPqTDUbL7WWVnNvUY1mCCW6MQu6modFco8d8o97Y
VH/4RxKo4C6l3PvzLbgWVZFuEFXvrclYSKQubJhY1Gej0fSjpFiuokmO0kE71GTfsVddXerHmd0u
DO6gpVhTNORtT98RHfXtMCwQKtOAlI6fXrWcFuXyhp3dVw6ZiJoGsozoisGDdSoDPFe4RWOCZjNK
vLwMnayPAZ+feJfFnG3aqRhNOHnZT+pYkQtkU8A19FLnNFoHfRiBvGyCh6TTYqnR/DyQ4hIRFwNl
gOg6wG5PF6aTEERSDYps/ufGctotWjw2IFcEsyjz3ma7JfvyEmd38l2g2PQTKllkNgOAWEOOkQYE
WNgPWx9f/7oUrIdP6asEkEBCxM+qLoyMAcuioW63ILGup89RtKDic0s5FsJP8ygorGXS1kg2T24X
hU7Zfw2M12C8v7yQOY0Ag62JtnW0d5/FT4llTllfI/0C4hRbnta5CUaj/iqyljqKZjXhSNKZnUUx
pPc7bNnU2SDzyYErFOymAzAvfnDBLGZIuJE5idmgescChTMaKq0ZiyxFWwqyW3y+v7eTbfwnYtAz
A3EqSGSdIWrcoplqnFyjqT6gWX2bBc3SAOi8Lvw6J7EDn2j1qNMWulB1yrpjxbZjzQ0D8vc/UgdD
ULkoz6AjDcQQ7RujGP0ZXisZFWOWuZcFze6ZxflDkC/HbKdgVGUlz015QPmbWjS9BvaS5FLd/Mtx
Ez+ZIymCWa2MvKFmBSl5I3mSknnKsBCqX16HJgvrQNo+SIcYkyaVpe+0RD6MWfN3zuTXIkAVcmoG
uqIcukmCCIzx2YOxsgjF+JBh005esJ3cGB/fGKSZUANFvAxHFQ0Ip8Qu6v9gHMnSU38A9SAwfINS
aRxf7UPHYD3b/I8fxs2oND0KsLV0yFWyp0m5SFTFL+WlTxDeixiY96bVh75bmEDNrZ+V/jkcr0Ad
M3T3cvi1AOlC0aC7ZMHUzq0cQ7FALgaeKMGU/Okep/3YU20EeW28rTFbbW1rr9lmq6VqrAjLgR5o
igLSuxx+zY9Mejxqda7H6DAzBrqx2i9B/qUF6Z5fXFXJk9QTW5JVuw7VO8Zewoh4zCwd3fwwWNdR
+VmaPuvVIzEfWKIuqPFZMwM+DN1QgGNBcRAMXW81i6MPQ0JeaxMK1sl422+R7VxFa3Otun+ZJpjv
wIkg9XQHItWMGlPpOtdKFGszJMHwEmKqZ3PZvJwlVEUx2qmYcayypEhwoPIu2qgheBp2vPw4ea0D
aD3gY0qD3S75HqIxEIXynx9tYiNh8gVdfZ1b9I95FHoIaP6inyhI0AU9HU1QI5Xj4LsxSHpH+WNh
3RT6Yj1DdApEKcIZJXHQR5ikxbTeR2sN/plX5Vm6T5xmxfG0Y6/e9Y/jZgk+RET1FjVD7DzE0vBk
RyO6Wu6mlQrEIwCyrBWXonutcVBS+VK/QfxGjmHnB+b4N/F94ACAfz1u0UXnoCC7hDJyVvAQN0I4
UHRxIPXWYyPIg7GWER8mG7TaeO2mcpMt8eQVUtq7BHm/9Zv6/u9X9v+C1wL5zTEo8uY//4c/fy3K
sY6CsBX++J+b8jV/aOvX1/b6pfw//k9//dX/nP4R//KP3+y+tC8nf/DyNmrHu+61Hu9fmy5t32Ti
G/jf/LM//Nfr22/5MJavv//2tejylv+2ICry3/740fbb779Z2Jz/Pf71f/zs8JLhn63ql/wrnOwf
v+rn3399adrff6P/RrcAIl/QMVKKUWcNL9zwyn8ikX8rGgIIPONo1bMMoCb99q8cAJjh778R5d/o
3IMpRXcGgeXi6D5N0fEf6cq/NSTrDfBwImIDspTx288PO9n797P4V94BmQ9cms3vvwk5PbiQaIAH
YRym/5DC0U0xNk8qAoLWEtywaTaMm15jhue3SgG8NjXcD1Eb7lNSa6uiM/uHwvLYkH/W4kGKbIvX
ys1pGg9sLId9MZWL8dWpX4ivQXJbVTT4USYy2XDhT02OnEkl0A8btIBlpWYHXQd+H7+9rcJRvitS
UFNEo1rZ8aDFaHedzD2temmT17XkYKKrg0vRWm7bkWQPmk/FPTrhPzbyeOP4uR095m8fRzB7Q/h8
Cf4j1vGLCrPMvpx0Ni0nZuuNBpySqa8Pfm4Rb/w0tHJ4iDWaeUnJ0J2PAdOHRELlkgDwqy8OXf1S
pkxfSVam7Guy84mhPRZ+VLimUlUgd4yRLmmaYAuSdBTmhrDz0EZqoUFcbtZAFnVMaTB2GguBAGNJ
237KLQ+Q+IVsKyXda8qArnv+X5QGdBUhz2VLOOuFTRBsCN8EjOhxRCSEchow3QSTrYHJ1W8DreZo
/BAtB/JWK1w2TMVzCBaYQw38ljTVP6g00B4tcIcoWYVx9CGdtm+ryRo5ugZnXn2XxH64IqFyf/mY
3tBr330ufCFY2XFNFHTNILOLGd9THYo6A806tVTYY0+kwhmijq6DoLgOSn26LsC3tCpNy61kq8XW
hsUhS5XU64nCQJ2XDCuWjopdpWpxiKcqc6dGa13GuvEqT0byEEbZF1obN2AevtXrqN7WdDSviZTe
akmq3FMtXAdDNl6FYL21kylobgafEYeS1I2bFA1yah7sm3hKDmUUa48IHHZTaZZoGm5VzFhMaGxl
fCY4Vb5U4fTYhHl/AyItD0lR1IU1FQ29FH2owMUON3qQok8sVt1G67IPWjdNC24kOdN4UM5T7CRw
09H5dEbdiwmxIhuMorDDsP7Wy2l735Co9Rq08hfTqOxAHnzr50p+W9ehZutJEdyUSfNdrvzhpjNA
tZm0RYWurBgvWk3vS7morzODfsa/NdbdONbXiQm41SlvrhXWaN7UV7UTDIlhF5YuXRdF4L4fxwBn
ZEvjNPfSioUPgGspV0bd7XVduoGbv9fgYd4GtZdOpDgQptum5X9ADrL6NJmj5nTNiM4t5ieroVTb
lWWh0M6bgDSpuTeN+q7vWX5TZ9lDNMlItbCoPIBv7Bv4lR5Tiym7gHTBQkMHinbc93hXVhAL8pZp
FfVKvLxEkw0htZhZkUHRw5/YyhBP7sgMzUaf+IEx9a5KNN1GoNTY2UjUdWE1rq+GaGmZDn6iZTaQ
5qJClx1JMTCZXyqfrQwNVH6fXZfka23q0bUfZpimL0zTHofJiyNqXqeNqtsd503pS+VLHagIihmK
Skaofg/5RZ5U/xMbUs80p+5qUhTJDkmyTnLwAZnyiNmdktZ7o1JRxZhGx4/Lysbf2hdarV51afch
lFTbrGXJmQpyb8XWY4+Es4pseiWDn6kEipbL6vixbuV1UFY7rfMSYJZ7CK01OyfZoSs9MoxeHcaa
HYX1vSkn11FooaKmm1d6oyaOpNmT3tyHoGQpwXHhjFO1V40mdXVf87TE+pLGMY4sfUjC4FkCGKkS
2aEEVAqLKqVdB8pjk9QPpvIwlWnuGNT0nVRR7HDqOgfJj7vM6F+K8b7J2nU3wew2icJusvB7P0T6
k6KntpkpNuoj5Gqiyq0lSfGWyhFFSivXtkM0Acy6IO11nfPe/1RLnLho8rs8v0brfnxPkhtmSe10
C4gv083APlPaWW+UnpLjI2AFFBTlI9OpDQvZcjKqnoLh4VtVDtalJb0MmUxXTT3eJMmo3sRl/sd/
AV0OABwEnH2lWmzMPps+qrTcmcjsuQxzDjt9ClKkfPXgvgnjwetQpLwxxwDz1ZVC9koB6OO8ym+B
4Gmth45Ea9KV/q1l8XS0mTbPSjh9BwTG/yfqOpbj5rnlE7GKOWyZJo+iFbxBWQ4AARIgCIDp6W/r
+xd3I0tlezRDEif06dOd/1kKXgV9mwxpeDdewB7++1JYEh/WDVeZQtMgCmZynQdCoxK8t7TBCwzV
MBKKy/wdchVbynEV8d9YvI+KMsipDWACrhv9M5L+kxdO/ewSs2BxRsVvZOjWCjLmy0s+kzqUXXp1
sTR3H0snqwyGVzN5QUnHIrxm5Bz06DBh4/oZu3G9B3OKwWGSl/0eXbJinR+tZ91rN4smTHX8LvSI
xSS7g3YT6YP2qPnhZcWb2ZbsEE87XA41Y4878n1R2ORpSuz+MFsgFnRVd9gBxZVF/1mnk2gQPvNT
Me95NeTJhr0/BQ/sPGKt28bwZcL2QgVFn+5HTOivNQvVT6LDJ7UFsIyNIGNPvbk4K+mCJrbTv/9+
ArN1TP73F3ooiVzi8w5ZZFliDcI7/+9L6N2heTAwxA4MGdn3Gdfd2J37TD451T1C+Rw1fgiBKR37
c6klK94Lcu9XUTT+aElDi/2sEjj4WpOmlSJqqeJVQnnDhDMe7JWOVTcvUwWGYX793xc0EhWLKs0r
N6usstrZ2/9/MSGciGfFMIjRuDmzIQcaiuWDGD89cryVqpMsPHszbJVEzKK26OP5gr31q2DMf8Ke
qyxDOrpT2Dtyyor4rQuevM7+zQY6tWsnnuSyTQ/ZoNNLImKvDFlwDXQQ/krnVkE16avTOYTl7Z6Y
NsYBOEyRL67jGCfnGBPK/36SzBEwa7f10UVJ6/HZPOVRF1z5nNwUXv7J6vhiOmtPnfBZxcVGW5Hs
up6cCo9Bwf+ZIQy/CxxV5Tp5Vx17GeEMWsk43j7G3YecPtmSCjvw31WS72D4M1l7ngNhz2jC0HAO
A9bkDR/KZF+eDV9zqLnH/gH9ttcX46dvl7/BZL66cDEPLEK1EoBk2XoQ2DlrkGcrMg7hE6DZ8wjl
zWfRpfqQTodiDc2z8Grf2OK5p+OzjGLddIWy0Cb17eO0MVxeEpIjL2Rx7iyn7UjzJot5cA7QJFX7
NvxWSMLXlZPwFALP8dXZ34IBGoRuLvu56z6ShMvKw5LIGmcDKbOFso9+xhC9nSIrX5PZ+s0eKa+x
3z+KQaB03/Psudi6v7PD3Rv2/RAMKz3lLH7x53G7/PfFATI+BEr3b5EtwHEYnLquU2+ryU3A8LJC
H+Jik/W8Rigslni2Fe9YcYhz8svPI3XbPYtKL+1AzPFk3KSL9I+4y7Tapnh+DrNNnafYQqEIc4Jn
j9PhSov+fU5S96w8556zAaV7F/vYP5lhWT7HTJ924ieXTUhaauhUIPRHoDxM83rYGNJ14SS/dF5s
VOl9f/vfz/99l0vpyjwQzaocfeyXrqv/+2jEiP46xe9TpOdfATe2yXNIROGWLnQKr1iVh5t0J9Z2
QPGCCWoQHiONehOnozgwEchqClavHaMd1SqSUTtwcLQJ1EGu0yamA0235H+1597TMu/DrcQ5buZw
D2+odKbD7oY3TWT25K179lT0OTTo9/jPf5/TpxCF5/nwmCGRVJmZfFg9Z9PTPouhjjU7BKGVjV7G
6AdTmMT30jUR6c1DsZxDDJ/bru+XUme5vM6bRdDf57OnoTYLm1kE2G0ZykUz+Uq0htxON/OKWkZa
mtGi8hhV5ZBG+oWuNewsg2cvkXm9NQNie8nN1OFos9d9UlektPmZ77s9DHmBpXGeP40rYSX3F3li
WqKE3yN3WIr9Po3++GRzejGpc9duSJud0xH2w+KcQDM8BPojx/wcr/nUWmxAtUppZOI86u8Z/LLK
0Rtly+z2UqBduOE0qmcq/9oxSN9FvGNHal17bDePY70PvnnxEkwg5Ur/QJBqav/759hVhl1e+l19
mOXLBXt31TrUL50Ifqqtm6+F7aYXN9A2ygssW8WBal2unrBPDhmthf/Ndx+7NPED59jg0TYtuxQt
MrLKCHz+987DP9Gi2GuULHPDgNJR7ZKz2eb7NE8a1m1jfst6oa6TQOpCA9JTplu6ZJ8dt5DICReo
Jsv5UQLNuOyjH5S7koc+mp5jJNIzSpTlHhrFIFYirn4xBmWS85KNXViuAoq43QuPK87in/HK6WkJ
c/zODiXiuNuunfOHaHFwh8nQaq2yqPkwdDe/QGnaT7eFcfFjs/PNzOrJQDoNeIPZESzghEd8VSsA
yTygydWguy5tJ2iZmPAl5dFbhKf+gms3732briSpeG8vOt668wjLUd5m8+gfyLbdIm5Vg738AWKb
81eB16EUKv9DXjrKetw1b2hW57VWzxV0UZaReLct9ZrCR0+YuWG+plMGSxu7bhDJ2B7S/JuFtXvQ
R+XpMXZx6zIrjwZcLLFo0q4mOUeFxxAaivXu6HPnAtKGhYciVnoo00LvMkb5elDqwe99LF4Y+tRn
w1IlOoGtDXqYyL2sdFZ4tv553I/auT8Tn0FIDUMMheKu3oRfF7tGFhCzB27b9tMXPn+OsIIKhlGs
ngECZOfQj8IqVHgrjmFjdjftOkbjxYqxtSHJz2n3XbP5h4K5rGSLfEArgmw4hWs9XTT05ZoOHF60
87UMZ1l1K3lJpYfdjD1o6ahsnRbuZyKLrEqG/q/b6D1OVXdfUZhNq5NtGFNdFnCXGKek6qy/H9f+
z16MtUeZf5XR/ooVdXXUCqLhK5hDxK7rsdv6q9uAzw54LDPYrpY5W9OS8OUV9CnVJMVnhtxSTt0Y
VgwDgCMJ1DvvGXguBQTvBEMZI6asXKafU1Qs+AyEIx9+orNGlFy8coaKdrv3299iE2sFdcdq8IO3
ZMhgYMu76QI/1Bu2d5/CxfdqyLqPx54PN0jN3MgU/MhsROtFJVh2+JbWxqZa04XpP4cg0rBw3vB7
Ua1twaeMQlsiw390mwcHQ5W4Fmoh5yj3SAsaRl/LeD/r1GJVGGf1uvXLoxGQa53uXdEPD5v48nye
H1DXrS+D9H/6Pxye+2OxrH3FdlnJwkStD04A6Kb79UZmmGESLAy5zMDiTKYPLlnVNd/A5Iz5/pXn
29FgUb8JtMlrOKIl5zWQzTb2GxAbtFDCVv2YiBYOS2vDbPQcbGjQBIN+Sh991+8yQbi0p4UFopLj
lFVZL/07F/nNBONrUsy6TXV0T0anzz0AQzfjcY6m1aA32ppeBkAa5Xah1K7XDKHeT3UZxktfLtv2
l3fiENJkPcU2JpU/YvE0K6aLiXRUahSTPPLUCSjfj26IH7d13MHxjWAorYq/fFtKt+mk9c1AD/I1
C/uoYjb8SZU/llozbF5yhFO6AWcxpsTgLz+P216Jec6OkL0syjClcNNBiwlNl1cq8GlJT6sxMvm1
GATswQIOmnTCDUr98zDM8HYd+Q/pkeKlALk05b559jD9qbYUDi758LXsMi4NzaMKjlzpGUKspV8I
d/ruibinVbn4GW4+jMzRHGMlNPDaJYd6/b7jEcbkyiujgIxlgOSdUvLM526/pBoyCcm4HqcZ8Z85
Xx2ywvslKdaKZLaXRaKHS28iCshl2Sugp/86YAuQDUzUxUKwOhP5VXn9jmwQXQgkPZ7kmD6hqPJD
T/0C7eVpRQcXqv59V9kTNykch7E7UCfZJA9bjmoEnrP1zmN5Mz2A2MHAf1EuaKZgHX/YdQ4w0AZX
NuvfqliQGtFQ4ZncSkzIVCXJNJbZqjg8H5y4pSCGNyiDIii31vngRhTL/Xpkdv2tfWgarLM+iYxi
yjWCZ23ye8KHuKSz/OMHyTMo/0kpd5TYaUTBrlQDcCG88yoJUNz5Qb1GeqvwhJjKFrisjIRVoBQM
V3aECCl4nfPhNH/jEXBchr8hZBw7xfBKabaUcOG6BZz4x12Ii5hFfIIDiCqTaQuOWPPCWmMSlvFE
5TmyySdAAXhD7j9NsIpD7/WutdQ7QW9mqCB6d6KGDNUS766RO4yFEiKepUqb0b2LlNJqWJRp8z15
ygnKZIo6rsJWCsSOQ4L+NunQKusAsTGAstxCXbkxs5UA7foyXAP4yPm4BoMZAHwHHdaYB172CrFU
shiulRlUOLwF7t/5egzmrj+wAS062ud6yrcJGgUT7sHWfUwQRZ3n8csSiXPrhW0Km5oqYqpoR1To
MGocTl5kTnmxfM5eLWjyd+sGiCC4SnFWpjmk2KcYyszpS7YztDALh5zPHJziaNjqMc1bzZbw5JJ3
eHF1VaIGfJrcHLiP+tWxvVp0N5f5VpA25fEhBLDwnI3bE+UWJawIRD2kCAmh5AmUExHLlq5hjt8o
nJvgEEhsmS+A2BONVJT7qqF83SuroqiiBrk79cDVMuhZRhUjj8W+wYPtRB2MaeNLLPWnG2HHkCSn
AChgmoKP8D1u6HJNznym5QgRrh9LkLWT2acq76Px4DMt6gUmX/UOnTx/GW+TOUB8zbSwQ++adShq
NAXmAmgovQEWnmYE0i4MVYuVWIBV/ni2OeuaLFjftwIJfpS4dm6CJGOOFq1THTy2MmyH+ztSSphe
95hD+ylytplAequFC7cmQVm7BDgV+Zi3QT8liKdqRILDtl3//VSmclgxuJ1/hsN8icP+p+ywHaGk
h3eQQOC81/GNxaoGayqAk/OLBYG4hVeWw4Grpp2wKjR7w5LvgAbQPA5NvUT5XE2Dheb+e5qwL9/L
QKLo7OuwZS/W6TcmHSnlLMcGTVKdbLjDyZ4FR/ioevBWRWogtxj5oc3JCtbAkh1jCWvfLZGq4Yn/
BQowWFtTQBuTfpd1PmBuGosXO5MWxWla8rTwbsKid9hRB5Wyz6NyzEUzLXavki6HKmsH5wlEBwR/
il5rXQGd5nuJUT2t7Son6Eboa87DHx4jWdmPu4fSLZM3kHOrzcmwDjynkIAy7wyfVA30KcAZ2tzF
rEzAJLUP8QEzryIRcurQUSytGlHhOfVb4eP/ePOPqIBMF6M4V8kewMnKiNpgG2HWc4l6Nq0y/P+j
gdVzJxasoIZ8PitiaLmjrL6aQd2ND5uBIolmDHPw23fl7U2y7s3g0zsqfcCBMUL7khGghqqrBgS+
ZUcmtMlxjADgjJDhAK5r8BtsilaWQdBo+9T58uiPQFcoMF0gMcmT2dYHlotzl/hYBvNC3aDe3Ih3
6EOWlSDf31LiLhgSJAhpAgZ+HXSRkriD/B0mU22Q7vEdMH6Ddva1CPIdeBpyCR4lrb0DhmlTrTOg
JOj3zNmLFJqLiY8IPzQ9yz5VlRUUVjlTLi/BuMtLkpEVhTkC4ARSCd3j6bg4O6GEcXVAMrRiIVkb
rnKssftT0fZ0Lf2J9+fY6k8s9LHbGrmTSLBO70l16DwW3lYIIM3bwM+TGeGOqT/tOm3nAATvckwH
HHp/wDpNcEYbub1FUwxnxDGIqgTtJXEIwGam3iPaS8hXJYq1senzcs6azKPBPZTiBD3JGSqHoAJi
lvS4po9iX5PSGfuPpqsrbcruSYh9/mT58pLpjuag9scGZe8dfDFbs1n9Mn4A1dc8uqPQKNdNtYW9
MRd/GD3+ygTbyrVNF5KUu2k4y36vkA0po3445ul2yt1ychsidapenU5+oxp7Fug9kdjnPv1LzJFh
MvA54gE3UdzkdH4zCQEPnGZXPUCpC2ar6NlX+YoRT1BmELpJlw3mOv4eIClnnxxc3nIK0B8n/K8b
+POmw2vAq5TI+0iSZt56wMoFxyRzLucR2GT6e1ziLzMHGFvSb2EWooDXyuftd7biPA39+h4MGzxR
c//VQtTlkGyncOsDaMcQSIGnQ81Rl5XpgI8piuAPi1fgicErIDA8d4jjUFtqYJoiq8VjQ8NSvEm+
sXoxSEIWW8hgPwXVnI1QvyoOWvg/rMLuSuJ/HwyYk8IgV45nAneccu7JXEYci4qZffCGJ05GVLbL
NJW24EnL8zk5Ee2/9EK+9ZkHKHkd75Mgpprybkfph7bCeVNU+rGJa0rsb6HtW9YNgH+H+Tv5xYgr
8wuRYroloXdksMNqoyyJkEhmzFCCyLTO60NQedR5MYyixQv+FV0afAMue+lD+GgxrcBAzUwr1kW1
wHw4zhzQb4rQMYPCAfmCslvjL9Q6UGphXxgnNfAUjB+y3yb5RlpSG58YYPl6gy4dKAl+RSfUpV72
nV/53aGKPXGw6BuJ7FKuBUG071Gaw9eH3LtB/bU7OaWruXk+HEGW5M0CP8f7Gaeyj+DAIgTJEarJ
VLHEVuug6J2wUDU+AtjTqElSs8fNV+7WU5dgTVwf7Ra2+LTDVaoAann650Kwjbjk5sE3IS2hTvl3
8QEn+OIXQXuK4nz9GNGflrlJgWJgTt/A6XI4LsDK66IbKm679TYBC69oiqZcRTvG8uF2GQzx3kkk
2iwyqMGI14E/tbzHC0xrs20sPcW6lglAwDqyz1vYja0XWFrxxHWlxQj2auYfyOX0aFTe2q4Umf2y
pvuRrrF49iX6K0rFm4ZPwGEP32TO/QdIrfaoVSckSYNr0rOVoctZseUPFgiihHtjGu0rmbcHoNnd
YWe/4gl4qpuEqDY2lZCcfMukRk9EFmwg7wA+XGj0Faz+eoBTfQ7yUmeXLx9CehEgkLKHqnMtJ/ZC
QhwcM/K5xPXOX7IMAmw5uAS63z94Ty6p2HMgtpdcnUPAiqVvsytkfj/WLQIcPL3YPvHrMBCt6jR8
0vZOlcahDIdL0bMJ3XyZlHxWIQYAhcllJaZywimttnlYzmxdD3Fg0f6bCBCBUkPrjWpDob6gExTu
DPYIr3WCByvK4qHCpT8X6QDUL1juc+afU/cDq1FLG4g9KbFIg+BJCyALOYql2dZ2olmJiMVbDUgl
d2BdYGRca4TfmIy/vueMJP6I6AiWXJyQcqNYWY+9d52tpBRh/10mhjV4O/8sK9Rx2LwfoczusE6m
Fwzdl1JKtAiyjx4m7xY5d9bOb+mcl3pcsYo+Zc1IsFowyHLEzK9MM7QeQ0ZfiSMffca+K2byD6vC
1RIiz892KScPkSVBpeoHT7DB/VDxjlwk4rUydqo9l4woADgqdcBnpIA5YzCBafNEVBE2PEAQws19
3hTAZ9Sxn2mG2h/vuKhmInEhnpWI+hKMno/YALdMb0EXf4tCwlHXRkCxdnnM9Qg51A2udFuwtKHN
34Vvf/d6ehP5CDqBMQcD6Kha89BgtX98lD2v1w4OYx3h6CxmVCfrIi7zzF9TYp5Rk1Zk9Wyp/YS0
FvO6dh4b+d0/RSJlbRjOqOIiTPqWJWwklxLlSD6UxQT6Qwht+TrkEjPP2KlGFb0sExsnmN6BTORE
tDzQUQId4ztuF7SE9hyYjETQXXcurpHhdyU1NNs36GZkc1Su66hrDHtLAWgVksYj5IdKcP0gV5/N
fdv7ut6Kd8ayp4wUwVEBkgAs4TiAWYUik6cL1sXJZQrCFxAg6HnwMKmMe/paoBmrIXwEzsA2NQXc
XOvAsrDqFD91fTSXFEQcnN+4mn2T1fiYfe0jzN8CAHseA4wrDJDGJVfr4yjNga7kec9GXCQNO5kR
8uo94Ooi6PZ3rx0MmCbA/ALDsgrtyLPxsp9paP8hNGQVgmRfzYC0ymIIPnrgylVipWg4vwQZ5spr
UEYQiDlr/3XLggPzAAWkWyzavHef/T5fk16Th2UrB74VVwChEqlqBycZ6SoWZUfIfu6+whFbLGOi
/qUzNL+d55MGGjRPDiHR9JivFlmP3RB4Kddx6p9YjuoVE9ESZDaQKkWHuDmcA28/9kn3j0bIwn4H
CI4E0EjniE4dWrGVWRgGj2ZF54rDr4cZbg376NB1YJZCHpeQfM0T5mWZAowmU1ACerpvB2qWnxwK
aG7BtC9PtD33u7iYrR+aFI/DeXXrGXu4IaxUO3LgoE6qDTqBGUWRsq3o/cNfznM4aH7/RlIC7WEf
oxaFhTFz0hLvZLO/wYCbgUtgX6nw3Q+Gk5EEqPKycAtvYdRfWa1E8q3yod7YoB81bJbKJfDjAwdw
2Wi+FrWLZrBX/PQg1g4jwgyBRmThnarguzb+1m6Tp/mRWMEPGzCucrXTKyr+GIk6nXE30qlKY/Cp
RkjJYMC04sWkd6d+8SCS1Ryi/Zqhl2zoUIByxf4pTJZMWAAyiLzSwHzvRcb6kkH3+r8/V3gyomxg
9TRN757u0YnFoy0txkfePNhzsk3poZD9S8L4kxBDhpIJ01FMWZolH4MmKKzX7pcdkHw+5BiKKQ6u
Bcco3YGWMxXCoA9SaWVJJ85meEcFJS9umc9D7K+wSQTosEPKZ1+8E5y1fiUK5iDUR9G+lxjilHSI
hw9hMAcW4R0dvZ6LW4/mMUjpb/bNBmbe2pAU9IMOea92U9C1mGITbFfnYEKNMZ5IrEKt8V+03LUJ
gOADClHek04/OA1S8AbB8rBuTx5W2h9SiDZufkfaAobLsI97YQMAoTQbVfPN4yusNEffIZNvoINA
sefVEtI3eaHmBlLxrEKHKuuxn/6OvQaUpuH6QzFVLIBI459/BDZXTSC8/eByeKmOCiQI3kHDG/Pe
0/Q6CjbewrE4iX6CJIaDYCGeJgSTX3MvH/M1Xio5L2i2sGpdihSnDRBmUyQ4KcIwsDXkmh4Spm/g
hXnXJf/QRtNrKCZgH4T2ldDuAU6n2GFI/wxGZudsMr9o8QK9RF6CVpqf+yn1b4k/vO0TnssuyRfw
M9h8jwv6xCYgHMZ3/gcPhzcvCY/9OKpDYTHxHR9j1F3VohasbhL1R8ia6fTdeKCkWFQeoN+fw3G/
+AISXFhbpMx90YSikCMgwHUM3xnS/cGGIS8mXtI0HdGYzxfkn2svUwttWsTqzkxVssX/JpazE+t3
aFBxv9IFTEuTbr7LJDmu2L1sqFseJ59Adzgd9jZbveBYTOQyugW+N3LFKBMMgCh5kHaD7JAARJZT
1FMwEqdPa3HocoR7DIj9s5i6+cwmSppoXRtns0uYFefBBaWaQxAjYvOeSmDHu7KVt9s7SHDtOCiY
yLougn2b9oFJy7SaJRDhIEfT68dYLRG5L58CUHRKCPinZZQuFoiT104e2g7RR6yJWXGzcP4uI4/u
2DMeSmMyXTrpdSeZf2qMGC92y05RgvZqDBn2Q7hq0t371/PuMdjYYcGDDaMJc+Q75mxq0Tgbe98A
PotKuwas3MNEnzCvr/ZlX3ERczDiFG3tdBnF+hPhKq/mPnySBWz9fCFEC8GfCJJweXgzRtxFb/FW
besSflySDruAKcoACNDqMiVI7Rw1rbE9lP5WceUQM22BJJDa/MDG7+tW9F9bQKGb7JJbBCSvBs0J
bClgxNX8jcp6wuwA98s1y+2JJdsPX7XbhNGcgAMJ9/KiJHljJCiHPfe+ZMCxKshSTGLR0jFdoCrY
cgM86ryKDoyIHvqrCVmfmGcfMTcOD6Hmv7o9fygAOwGioUBrQ8yenXpWsbsZJ7o68jXIJz2Q09T/
Wlf+uCnPrxd0fCAWox30I0hU8a2rie9ue4w6lBbT3ff8i8/dOWMxxldFOFy9hNzBlHqOoDelRIqy
K90/HG60Yr5fFh/Zdy87NU57roy9KLvJdMZu6hBOdfDdqloj3uAxetc9VK0VMKlwmX54+9k49oYw
YcocEtcWI8SzNNCySqyLm9VHsOrgFLdMtzguzrATnB8Nn5DGtpsNxs/Oi65dP0BkmS2v+8zlOdbT
xW28OKUi+6NjDj5cgEJ3AFZezkPmVyCIGDDD3HsabuhUNfIv73IYFEK7u0S3BDJONJ+kD1i8E9gz
YWlxALUS9GIvfk6Sa58RWm47Afg7uqMyw9EXI2ISaFtH9L9Qni7g9LxGMBNKQe3xt2EqMSWBanCn
HhO/P+ZT8QvFGSyN0rHAlGQA2QhFV0k18kCw+xBFjDOM9bzWgylDPcltL10c/u3Tzjt2E/iFU/G5
6G/u2TdyCua3bGJ0Tw6kPAkeDJKRxER6cMhTmfc4pcEhXUGDZHDGQ99qwNcqzhFgJMCN3sXE0zul
BR7agqJMzfLTtqeAT8CD6ZKtBxWInDoKiwuKKdtGUZ8NhWXgWibHiB3zHlTFQXu/FcvWEppWh5Un
F4A7BJ0AMpoGq75cFvUQAPYknSwqp5Kx5QAHsKXaveHmS6BfPmvCOX5eEmg0ydWvgJLHVQLqA9qP
mkBrG6TCnsOepWcHDEcJrFZJxVcNlaWlwyGNh8uw3BIHOkC6/x264IZ4vMF8JEQvJ34Kk73bBKLg
OY1OzKG3tAF0943WqNoHVIDsJY/pWOej/J0PyWM3QlBgNhg66Q1EJBHdtcefZujptcXSYewYA4Xs
vV0cAPEMvvePGJk+ApENdHYYMC7tPRTSFohwMGMpe6h2Q5J77g9JOQjMmgdkDsvsUHqcTIdNGhSI
4EOFZMaBz8IrTxZe25S26OBegyH/tbv+L0YwsPjwpAODpK/B4j6jj4orrLZnlU/lH7gnvWbriBly
hAcQQ88DY7+KGFSEzvmY5Pc5nKMz6o48jZo8ACy3D+MDYPB5S/Rh6gdweyICoqtYbfPXRWGbSQPx
lTTAtCJ3ceVyDvstoIiY/QCMKPwJqaaQDf8+rrHWuG2A1FIyNqCfI4fOpLIZ3nPcmR8pXaYmY4je
GtN1byFPPAzAtvouTuP8a4rWK/tuVwswqJvM7UflTxex9/86HWWtWWy724th5M5GUKZBcfkDX4AD
5pmfKMxAUVrgFBRLiQrSAE3TTyvnX/QbK0A66ssNjKaaTBqTl+IeduhbQfvB3EfsQ1OsHQfyP74L
wIw+jB3bZAI8TqlrXFRslbQxOAqhGo7x/E6mDvoSIoU0jFqQgwp57CN1WTuUpQMGSDbz55pQGBUM
LryKdHlWfuaa0U5bqZz+3AqMo8bNW6H+b/+PqfNajlTZtugXEUFiEngtyjuVSr5fiFYbvEk8fP0d
VMeJfV8IlbZ2yxRkrpxrzLnOGt6JRkP31EwKn16+K5rktMg+0+iv0Y7hfhjY0vvoe2pmwhMdzBWm
E/ziQbR3QewhEGa1tqogXVbalP5VlaOto1Lucqt/Kl1tDXZ70jI93452d2fLYKFLl7fLEmtZmb8m
J4JqcXmgyTihsiSmuzpo/dJ77ua3vI26VaSGiMzZ6HOyrMqv6paqjFRt6KPWiP50kXaa8bBAojh/
C2dl19wIXdsBGFslrILBcX5kc1jT9vVW1iIi68Uvq3iu33PrDzDTG5nPZzmgcRAGDWjshj9p6Q1e
BEebdD+m1qNUHTNQe5XGwO/MWO6HlI5GQny+Z6brxJQwtekJCWoTBi4PTW3/9CJKTexI+2SSke9q
8SVfBPG2SMR2aLuad2n8m/YRVFyQfrpZKPdbhzw+yPDa46DkrkpPfZPK/dXUobYrzJHyovI2yQiy
Vkr5ndI82vZyJksWTmBE5dJIwgcBSUoqJPGzG9unABSR4N76YFdQV8hAFSpYxJzJeisgn9Yaz2cT
0H7ppvG962mjYS1pNncQ589CBN4qsx3mio+we86I7Drp1hEtPr7GiXY3RmZy80CvZq8LPh798Eab
XkQ7/si63FmJxMk2elf/ofv/zl8tW7fwN76kgOa/McfC1ssAW0MufH98r0zvyUvENXJSZ1t4yHdF
ZR9KUxg0BbkBzVLPdrPkQEuLt1qz7B61kCYXdatBMVPSDtBZ2OY+Ohhp8l6k3BGRV/Xr2LW6lU5l
smv4eSgOIz+b5KeXETQzsvqVvf5a1OXvng2cOU3uc21wTO/Is1uW2tV0cU1il5reZlekt2M67Ydh
VdFGuO1NT1aNW96NFn2ty4svrexAhvuOSWEcumYjK3eKpeZSqvI0z45G6Kk1riuzY2MlMy8oyc3t
u2vihn8Jp/lGLbwPnT7z3MMW18yeX2m5qe3VRV8iL8mZT9eTLfEtymTjjGBJaYufuy2tb1u8Mu2K
ndtpnulodX7eDffY3dmWDM8MB90GnMlBsTnepQUzEYbizXHGm9HY0c5tyaev4xMWccZUpBGPip6t
M5KMUu0jL4oXtxQOqvPMuWfi6Q/UKZknGBlzYzn8BipnWVXqXIThAltmTCpp2n0dpievpiiuTGNv
VEytLBVnysZT3sozCjKr7Zs+gdbQfj7q/O3nXB51OYZbr4hR2QWar6nUW1Ob31BgLK2Rx95fF/Rf
c7pGkl5E4LGuxUm+phWEdKoZ42psSs3PY3XuoeXaPu4O2jIuNhO0YGrxPKZp5Ht5lOx0ziEiibtd
SPnPWBR5j4oR3SLgDFFK51bA3luWkayZVcCpwlNvCPBopjOPdS+/Vas4T4w1WJ4SrzgFqDKSZF2n
yR1LFpn1xkz9XqMizq+BYW76yg7ZYFFPcCldBnrIqz6gvphLpAaVhp9qjuR2GOdrXCXvZbqhP5od
8PPsZrpup9o1jiQXZyuJT4Fahc1VuuqUt8l6WsZ+JaNIFgNV7DfdXBEhn9Un7KMlmlL/VIH1b4HG
Wf60Y6Oonmx9ejV4X3RnBOYdlfDLsAivCw9dOpCvtfKeZlejiGEf7DlBTRFAP9t2Y5ndSqS0gwwO
lF7RfQtzlrvBTQt/nMDie6pQtvZMh7ueQiYTW+4PFXaMRNUKZO+0tH2y0gs/Ed3BRWc6kiFwscI1
gjW9e+URqZZE39IEb6mWg1VttDeiMdTKpT25CmajWOcNXau2Ojvm+GU447Dv8Ln1xEgdClt9qiC/
yswLN3NXUDeTb9w5k7hUVt9tXS3BSJiITTJlxKXDHWNSqX9UC9kP4+szhdFaSbuptmXS+ZHLmBRv
2hgMlj3OxbtlFsO2T/hDYzW4yVr2u9Tpm7VZ/G5w92Bfyt9sd35pBgUA6PKNZ732Kw5xAI3OoZ+G
PSfo19YyXua5Dv05pdAp2/ajnbzdGNdPscLPwZawCQbxHtn9R68UbTtdW42hVh2UpL/U92SMRc67
Y+R/I2v+QiNfUnfba1YOT26Q+KwU+RYLUeC73JDkFfImKMh3WwhGeNMl0AcKWVUfg7r7sB27v0BF
eEzBRvdwnd4XVrkv85kZoAzMhIxqGA3UxPcedpj/Pm3cTKdOxSPqUkKsJqtbS1b6VUV1QEk2flBJ
YRhjI6tCdtNeB95OMM7tinECkxR/abyxTMUpoJb1MYp6pUkzAZIa7gx4tFbIRcU5N7394F21mh6X
7HDf6d9RVjzL1CKLZ0Bl7FW6qqd68jVahkQfMNOvzrQPibtpaznltxdRXptucolcdVClaZ09xJS9
PdL6nxmlNLIZIyF5ue8ojyLfugwBmH1bd0CCjB1ihieVhuQGqqhinUQQscZRtbN5wJgvFaOTSoGS
hTWwBSWiXJ2rfQFIEDJlk57YcpIzzV9m616TjltaWovKeEJajFYgloBooKdrR1Eol00od9mya+Mq
TH2gUDQIRsRlBLn77D1o7nPjLfDxje5NvArQ7nzX87aeZhirXuRor92vEQ/rttCqbzPv2eT/SsdK
fb0RkV8HxAt5VaxtEifq0PUpnZbymUylkbuDTkaXxEe38uiDZQyACq1f2Fi0S96Ml4nz+x5e/43G
DY0lZ9O2KXBidouG5hq1NlWg7lf5eMWckj2nc/w8MTb3SBbeS69dR2+8O91UcgKKT1E6Mca2CHac
GZxDVcafA3DLYUzrTV6nlymduU3rSCfs2HZOepkEu8lqtFW5ID2a+ZEaUbGj3NxVRbvBYHie6Cln
DUfeyr5mgI0bO43eepl6rKtoMva7jStsl2Ws114c+m44hDjnxqcYtJPFqPruITTbkMdRzus6AKy0
ZbKPQ9GvLWyKZD4pHvQ4v+cRqfpOgpUtcn4kmbm30nxCCAL3mtz5Mg5m73fj+O0wf0W6/SnMwuOA
mL7c+3crDuNnlCCeP/dQjOdYdrvMSept4CHYdMn7OMfNhtjUxLBcP+zcszkCV2Xukt0NZkPTchNF
fXd2cwYCJ3myc3CyAZo6vtvEfCCy8CWEJ5/ktNaDaO0i9SO+R/lxKt/iudNo9UnGGkbqPAEBii4i
gLZ+GLafKuKJd5bN79rqJ/ieYiNl0qLzpZu4CahAZ+TYscoPkVXs+RoOkUlfr0rHRKdZ6GI1Kmub
CTb7xHUvimp9wWKsY7W0Baq+e04jiFmaqUu3lGxy1oBVr2GUMBs/nvDiAFcww2cUjDHrgh8F/I9v
afIL04sHND56fx07N99b2mtm4qzVwKClrAMfiOfponXxLdct1J061lc8hk9jZ69GM0/83m31reeE
L3mWyoNZUd+U5k+GrSA3CF3bCstSIEfxIccruknUxhjbcr2rsRlshkJ5PHedWmmcMVJ9m4fJUWvj
WzZ7MbtjsvQrecNcyR8aO5i4ltVPfbB/Zyam5QSJVAus7MTPBFtpG8VeouBzyMeQ4iIEjMShGFV/
gjzZFV7xS+FWP4y1uQkZKrYomL9wTtxbKrxtw9bq6xTYttb9rBi/0S+99dppwJpHsek9DXZ4pEAW
aCSrKX+lj4ZPf+llqqn+rvMSGNSDLTEV1YmZZ5s2TipfTN+uwaErxhu1UlAJdBOmL7uqC6CuWiHg
pcegqwBNbH1vs2mXLc6OEhF809he7SczfcakpDyzszg45VSaWPJBgCNtXYqWE5iHAgtMaO6KQWwJ
HAhXXlOBDhJvudXKeTs37AxVq7ArNVlP20ymfunwzUxKKgPe1NDLn3w3K0yoS+aUw+y4170Ghw5j
e1YR320lzPiCtyWrYBqN1Pithar0m+BYsOhwr8073byVqH3oS128hqEYtqQ8v3W1/Bul6gaAoY/M
2om1vr7OEekBrAraAGDqjSc1cIaIa4xI1iZqaGvIKNXp67QXvTG+qp6bR+fL5qQ7i6A7T5pRP2Wa
bvH2UYqlbf0pStfc1F58QVJ24Ka6iT0dsnF8FdR6Pjh/tNJcdTdoN+wCy4G8SK1X3Hl/EtOKDha+
Kc7Cxm4yENcRU3EfDoP7lKTmyUP+3+N4+NJAx8CJXCO5psggvjsJtdHTKL2GgpbtmEY3oTGMbq8V
WFvqxTU6M5d7xXhXgs+bOnoqJFtNGno7uy95X720eB56vCJtr3/3HDQRj6IjtAn5QV0AwGup5yFw
Xaqn9Lm0WjKlJ3Wqgrap2GCm185iEnNOT/FKq/bIFqv2WqDhKYETmkR7yrKoPHqFRgcpNOYCh17r
hRxYc+IK2+RPnjrxwfZmZrjNXro3bfCCou3vnHpqsICh8HHNxz9UOrSrebDGJ4k5/Zq25g+LtniR
nbmXs4Ob1r/gAsPDZI9nO/C0Gz2M70qOWGqWV73d+5NteKcyrfRLE3vhtkfZDmis7FsM7WocgCbt
CjSrRsaJAG43KCAQimkybfpZK45tWTYGJGeY7UHivS1djMkXqSqv5nJ5fNQLPTzWfXD57/O1ZuU7
jPjZPrlwympelMTiM0Pw+x3giwDCuVsjJFGqj7umt2D5WyPcoSc3RAF4wSFr62inPKoHKHQsqkRC
rHNhdDeAQhfrK1+H84iOS5r8bDzb2FDyi42GSMq0Hs3FpRgHe72l5h7d8UBCwprnOf+G+metA4BL
tUK+TvkML28u5+/GsV+NwvtRx/FS/xjzu5nRMGBceny1imp+L1jdhjhv7/HgyDfD3T1QPtqb8bNJ
LMfjfykJrDwPk9eiyxIJQ6bBzqjs4ujYUIiiLsy3//eSbe+qKee97oz+Oa8PZiiKu71cADrKA7DP
tw4oYU6ddQ10tzyZ07DrwxFMTXinTpPhtctb59oz/+taj8G2gMI8BYVnHVJDf83T2ZSrKHePQ1TA
4s9OdvFay4+VsE9iDuwTTzx/2JF1N84c5/TfZexT99QnzAEXTjwzt4qVwnSt9oApz7oXaSevwpF7
T+WGX+T1sI9lkb1VuNvTYDTv46BnRG5PVysdzCfPzaKrNPp3xcQo8mA7sa9bbbzbJLE8F8FHOs3j
vZnszLfysdlORuJcNKPE0ouZo+nde8XIsIpKP/gteHoJXMuPFvEyh3Rm8I+j3Gw7S6fdSNsN9ozr
iak0dXvTUp3skyxVX1XCRujW+QcGs2PZe/YuxeixzqNYfMWYxVdlkbNKYTNdTZ7w4Osaeldx85yZ
7q9HhgaA3mLzfYvTEqMqIQUORmKk/8kDuUwNu9irSCT7rrX08+PSchP9++jxUtACWMVxtWcOU7fX
Bs8DhYJE9vL+zZui8EKkHykJoA/rzmps8D093WKN0IFp5PBuqDqGie7UQVrtJuqq7pSbtrr8d3EC
bupCLb9vcVhG/sCI/O8SLnjq4OmXGm74UDws8pCxDUcj0gykZUY+RqqJowAWy2xo2zPM0qYDLbmm
cbf8utVJhrQcV3qJkYhEuHgNGpVFZ5k3eyzp4d4ylX3UiFB2N48P+7jwc/y0fuMRGCEGcsVYBNkg
bOJYmqp5njLwO3K58uOw5LRoMvgmRajaLVOlTu4wi1OifRoVyQkbjzSpNzZ25pjPU/vMgQ2OJVnC
gkCqqrM9naagKNa6hjirj4bul3aRPjkm2hmzX4Vgt3l0ElTcHnPcyls9q86A9d0fw7QvTm7J51Kf
P0tjYkpQGOt3l/UNPN3d5OOs7Qz76uAfeueXY/yXPQ5nGy03T6wPkXY6ntUMu4TWwR0rlFO38H6O
QxSfbGzjNBcmWoWBse2LeDr0WAgoGyKOMXlVLi6WA1E/4HajsJ6qqnD3Rk4lnmPr850ih79b/g6P
S6iD4HRq3DaWTvmxmIV7Q14g6o2DtXjAwwCNNo6x5wkxMwsVv8o2bb/+LRYZ7oF5TNngk+ydDgw6
wZICoyAK1jrzivzHO6/PDOrok1jyFpoA/liJ1IneVd3sjVq8pziTaH6Z+Y1Go7UpeCSpiCSxXqOJ
RzwtLomWRBt3jMaTju/GHxbFtaE9C2rinWB9g5MwcL3OSTGuE0PHIpx2dwDyCMjMDu8Qc4dxDNnA
vTm/lJEmfE9z4pMGVTF0TrwK610lr7IW9fO/y1BWT7FTgg8XAwiAug1oILeEATbo2bG3a+b5S1bS
3Ld2UOwMSj+UMueWNw5Ir94NEMNzdZ6HpGQlGw9JZWbvvFHRMTS0aIsnIN9nShwH09Tf11be2qcw
VvPKLYPkPJa1Ale0vtJqQCCU5kDfSb7WMuzfKqdO1nKmrmwt84NRVHgF2VKtwu53RAqUL8KmbURn
IW617t1hTqc59DnMS5Z/mqMp101TZQeGB77H5kwExGS81GKIrxk3UUjey/ecWbdl0tQhFHR33HRI
PyxqrI02NQWzOFs/nOfsZM5uxkHUxdZLwg6kOS9d5ar9PLR7azT9krCVwzBzBgJ3Z9Uu8ch0RY+J
ajLWqePYt1JZaMJDUyPeqnrXQYJfMyDPKyYSfpZO/02E1bzBhgDowhFhTcs8P9dRBZfkNIwQWMKl
0swNb8h6OEoRunazPdmvdTxK33WxbeVTnp6Vlnu7OnYolfLxZBHAteFxpKmVtNM1dd8xLw6XQrc1
PxvARPNUE2eewsaL3lu91C4Uov2rqTEVVVXP/eQaGwQjahPJwJZcTkO6H7tG+I/bXmRzR3Ot/Wlr
rf1iJb+HjuLXRpiugC5I98ErZwBCsk5E2OTyhINumVzUEvCAD9U4/Vt8UuIXuiWuCOHwFdEVKTEY
GmicqHxiopOPDEPyeVhOPyTIh2F62aZejhJjR07UTGl35NbMAr6kE/RjhkOUp/qt0NrfIgPLqkJT
nOu41KkYa/vFUOklwnkNmEVsA7nXKDk2bg9vTI/EBhS3OYmyjQZhA+mP0cAW7V+nMmGx+C0vk17k
l47EiH2dm/fewHbU1AV+obIPTtFgHmKZPWzICHk9YSbS1UmHKW3K+MLDRCsZNxJj/S9hTFZYyIz1
440N3P5u6gM+eJXPp0BO5g7zZE6V5pgbFuwAA5HHETjqtHNkTsWyOCCD6s10Hi0qsEQGIBNN9asx
2ORDDgGPFapjLdxSAf81ROyto8QlrmR28Bq0bnBgzKXm4ziaKYoHDBBTgxE7ir9CEi5eyhABm+LP
OTicT3y9NwWZD1y0PFlawqzQyb0HSnpyG48DF0uf5pkZTnFhr0WW6ccxQyGvSFUbI4IrBJLgY/Gf
ojn17YbnwM1ALUKvE6fHhenanL+9vECE8SiTUxHTp681exdZwycMB+awOmIN8WzSkaIWltk1xDGi
lbiZ5Difh+Uytm5zbJE67YB0Bs7RznRMFkkvNZOrRLuTGjVRSGfoiY2+WY26rI9Vkn9mZJRdcJcU
xwLWZ9UQlM9DGuVodapnk4WgsHH77bKmma9TuZTRTH4l7MfblSFjHB5nn4aH9K0g/GIxNb4TbmBf
eiGb52Le15Lq77HkjFFztLtWbQqRPQVT0B5sc0AYjOrxqg8JPDFL0a5tXXenwb3qq0U9Rg6jFRPk
6bpLxbTvwupMyD1m9ZY0vYqv2oUmHHpdFHJXKLnKIoqPpk/aszfKgbNY9pKz8KwxNA3vFDRqm9Vz
hDolydLppzNmF21XBY29xQDi3HuXBWJOlzO9HXPYlNFaSiPeGZlct0G/t+o+uhcB9UODu7hMHH9W
cX1uaivamkv6xb+ffIyHH+OyAoLv3mbboMZkKD0hWFFE0M5S4mngwSrB5FbUFcO1lkdGYOTYZ8tL
M+uj3aTFygc1CU58oGDW03WtioTYC6hmYTcdFV9JdlkTwG62iIKxzkBvTv87WQF943xOz7Q9k0Oo
io/SQqgcI9c8JrlMzvyLHH9VZV11h3BwJ2tHzED5u4tTbo9bMOPoTwyOO0HOE1MfXhISvDyZnfvh
a5g758ku0S90lMoQo97T45lzjEqsE6d1LsFgFcdIN97qxDgytVD/GACqtm1nvWCirZ8slGpDSmK+
qEpX/GjjTWZ5tlaqXChevCI5BLLIwx/5PJHh5GXz3tUVTyoPLIJgMp4fHzXReZTfixdolmH8hOtL
3gRl6U2mUH2qOI1ZIMB8/vdp8DiCmYhdy8acY/xob5K0zo9d1jOexrTL9aRrOz2W5lUSKIv/zTP3
CRHFN9Go7cTh7IKKtmtUUp2TJTMPCwIjUupubzk1JQ/ZFuuir1Pi9cL0osEIspytmeouX/Wyd0+Y
fqQfo2N/Tb2zZq/b5F4hn11U6V3XYhaoZUVG7hQH58nu1MmY6/7mJmV+cKnlV6IP+9vjooR5CfX8
j57Nz1bu0POmuPTEeMuCOTj1U0MOlQ1p403VKZbtqUzs4lQnnfdsy2H72AyGWan1v3u1K61Pss2e
DI3bQbRp+qpshzcjNBiFRTrNjvzP9MCoa3s9EgAF18wQurpmxGg12Cejy0jWGXmqZ7xPp7IStMy9
huKP9DxwSaO4J+WsfaF+0rOwZbiTxZz4QY6ZSjEXAfqsDq+PizRFeG1DazrWaX2g6aqvy6om3YW5
6uUqNkdgDSPRnnnyqCXS4O4JED3RwfqWzqxoGOKZThSZ3VrokTzex+ndtF4zAuMgvCX7IWlBLV3S
nVG6iCmVSimhU0ucOkHLJxHs1TWi05REZbCNJk1uHRbtVbTc03hgCW4gAmMjKTvqsG6Oczxm53G5
yC77YlEY2XLi9FQ5pdp61Yy5Gw7jdaJq6OyOFunoNttq6Lw9tptn2Yjg1BmcAC3Q62OD93QVL9/J
XCA85agfBUFzJ9vsopcYt7mvjJxhxX1PkA3w1A5kCDJXd/CxIzVtHSKAQF/N7DZI69qHmb2xI2/a
1kGT3Twhr48gqLQfu23c69Mp7oC2ythydm1KT0BmDRlrdfGuOsaIHGy7cuEqGI2ct1l5AhIL1703
D77G2WlVdW2/rVBOi9LIr3lu98/YnqrdEg0DOmRcmOj5jMTTvJgzWkacZH8ofYevFG/SoGUZgXge
OytpSpqYOHsZmTqKwfu7BHWf20g5OC7oW9HfnQ9FAGmW1yJai8lVN6vRnZ2OP/NYy4iwiyk0Ud41
X0uK/KkIbKZJJwaBXbXrrh4/eoegjUyZRevHSww2rGhFhM7bglYAIKVru+Bg2MlllnhfXfAcI7cb
3rocbOuUCqfEP22CwkoNdjowyU11AvPKskv0gyJssc+x2Saj1tz6lkQxM8TpUbXeu2lRVrSc9tZi
dqETFqLeN41aninX5Nk2g/gwRvmLVOU+Dbz4NhcifDWHiA2oSbSdyEAGSzHXJz1q1TaKbPrxrlx3
uhF/QpESTAGgeZ1G7WciSdrPmaJ6G5xo91hQNWInUyEHBIjnKgz1k3Tm9KxF8gLqvuipy28ZYzqx
2VPWpPSL7cxo0NdHupLKDoM3WleSkqwzLBg5E44VXiwjprfv0S2GSm3VdLNkaj6l7ldga1Qv9eA7
hib3WdxdhchRrFq+BwZCmi6cXpBUTPM4NacqTyTRkXqHyeJZ73q6oIuqxallhWKiXUXXvnhVkLJg
2p+NnOaDHeE65l/saZQfONcuSdzLQcsoan9GKMD94oW72s0WZtPLh72gb3kaDZdNjXUaMZm4RnP+
Mc3EajxioDrDu1WmHp7ywI6OMqNUDxt5MMLsj+r6dWgnSwQ/Qu3GztKehm3pPRlBnFy8WCeAg6Nv
bfQEM1jzvvGgcgDjy/XA0eX4yG2TpvOl5ppOIW7sDUNf2zOJo+8RBshrslxkI59Gqy6OijwRMxx2
ppPZTzwAAxFDi5CJjy8/qkYiOSr5uzFK4hbSIXqZvjvsHNus4Cs1JgqdhOw2Ts8eU5HDObVCe1cm
GhmZTyF9UPEetHl4IyQp/vBN9OaTqo1sawAdbPOE6KyHFbmYiujSsa5lxU+HdI9WwFb6jYjdp/9e
5srqjxbRTP+Sz1K993YVbVycPFmwi6RfdG31JgzYW1vTpk1HSAtvqNX4lt66O8Nj821SsORyKSj6
VIVEESS4XuPqTQ/noxYlUGHZy0KsXjH4x7fHJZ0oCGRamSc8ydobcNAq129a60TfBLbSgg2bP0aK
N7HXUnsvyhGZzdpFQ4h+RMYVKQLY/tZBgTdTap7alFof8L5UCO7z1PXH4I8ayv5Yq7b9pEPNs+p+
Og3G0yoL8hePSV5SjziH1wzlC1LPgvxW9d7W+/o5K9ajI5ZzyqR/lbrJ++XFdzenye80/Wua9vti
1gizUyABbmQ3x85VIfuOPV04doXb0CIeLpBdcAQKx4zjkGpoavVnHXb9IYCveoo5HPtZ5pGeNlrz
KY2DvyhVMOOeR9IaiyaLMfyZ6CMXdqgrrtp4tAddEctCxrKmMTkbEivRVpplnC2NTI9cyJ+Fo+a7
HZtXYlatJwHZL0jF/fcqwyBriqzc6qQTfM7FHQnV+SpsHTF1zIatOTbOV4c2RPak/Yaehk3V+iAG
r9+Uk2O+5Amphhrt8xMpBsTA0vPs4uzL1CbmxWPiWRes7wUpPy8aPqj146M4oVH4+GhA8sOfO2ys
Fkw5sWPj+XGx4hpi0IFiWj7VjW52XfqytXRpUqr2RLGY39t81m8xO3aXNASasoNTLdcTgQO9Die2
XGaPgAG06NanpngeZK5vrZT+Pzl2JYgOlnwXZuAMYuSsEouIBjlE3iGPZoGThhNBO5j0f7XhUrrj
WcwAnZZBOTR2Bw6nyclaqgk1cOzx6vRVknj0RQbJBz5jjWKAiIpYZO0lZZipP9Cf32fETjM0EILd
JCUFK4TzR2GxufWU0lX4G+kxfn5caNta+2j5gZzC9G7639HB8hlrYf9sm3gSIxT7Z6hlTpdLVZaO
5KuUYlwlYZL/SmFh0dib9ElhJlhzrv01lLJ67bVuAy1H+HQWeKSHSbnF23izIc+crO+Amsv1rHt/
xiYvzqYTVh9rq6OYAlh177Llj1iNRDqUy0NSpuqZ41X43ffUYzU5UPAJzc6xq/xNJXTuIQ4EGHUM
VEhchT63m3HUMC00jivQGS0SYGab+zQkvqCdwD+ynrjBHnJwQ/KqfR4r+PPUUZ8p7jbfjP7U0Myn
mgrBburnQsf/+6iD+7K5kobMAUDrPAt4q5JslBy4dPcntmWwXQfqFO0t2PSjnpzU6CXQ9A6g8cAq
3Vf5iZrjREtoS0asd4gWtUzMUbl/bBxNDOISUHkzTLU89tkwfVp60fpN7tHuoLhINZKam1mf2Pvh
9GbLAzzHWH7EgmXw/f/oiqCQYfTqVxtakmST/GSIXCOLeyNVOKwyHR5gmkrx6mBO2iRtI7aPl71R
kKFWixdiuMhDdOmm29Hofquqf4rNvnwfmqreNZoLhl23yWvkTj/NRtjXJrXzFf4z65pPuJsKmJp9
OYPsrbtyzDbppF/oBeMMWXRRVTbN8xIkw7mRz2l22DyPhsyOZBMRTBY7fEnYavs+5+3Mte5seONE
sCBaaJ619k89mb6pT9W9hWr25uaJ5a7aE+CZgxJXzRMDIF3MSnG1yw20cYQoHMtLyLjVcCAjDBkX
4oTyPMzue6KZl26W+a+G1KzQMrZEAul36nZxB6YA89chr5nQROFBxsBzXS4YpPLSn6Lsdr2iaNRN
ug9unc7n3nIwHS1/1twZT71LyJAJQgcO2xnbylTf2EJwBpbhgaWHwey0edfh7PQvOrpNjYn3gyYu
AIvAIh82iXFCYsk3M27c21j9cWmB+eSEDB8UAWRTO45iANbIGxyXZbftjDK+EHAUX9yAyUKr/16b
XfJSI1rsH5/67/OPj8qopaeiEavk5cGwJczGxt2kz9f/Lk5D0LYjg9+JFrb7x+cj2Y80CcQf3WhT
bT8hQp9G6OXTJBvjEHSWuJNB2r91P2sDQhAHAU7Nup1u/KXp1v0fdWey3Da2ZutXOVHji7zom8Gt
ATuxE0lJlmVrgrAtCT2wAWy0T18fIB/LUp6bWWdUUREZSKKjLIoA9v7/tb7lEqzGXa06+znIJE96
0ZcWPNIqCM1kp028/ErWW0xfW7VnaAERxbr1ff+ah8PwpaURyjhDAz5WeHdFjJRHN54KA19FoDbm
vR7zgI+6emtroL/m+SqSfJNgLWdT0LflckM1V3uUDOeiRKnC/RjwxNyWhiJvEv9K+wyfuvkhBq1d
6jHVBM0u0gNSCr4ONlzIllrdvOjUHs4GAls+8HvKAjuvaLxrZ1oorSrUVV/rL3wvTbD7eqGuXvfg
kL6qOxUj+K+jwX2N4AJGhiFtLS69Mz5R8NB389q8KEFGb3kcCp40hSawQ6Hlquz+YGtVsTINXJct
zl/kA5Wxp2x+Uye+eZ43zYu0CDUufnA7H3Y4vrzX7PJcCdDbrgzDa2U0Aogr6YM7ls2+VVtzzac7
MtDSX7p4KL/iXqL6Pwb2rrSy7OuwSqf+ZWHa2s6pxIXBKpVhRzdva6Nl9j1q5mcUM3zDFFXcR05+
O1bupmjE8NjZXr3Gqk1jG17fDjbdZsDRezd2Bc9ofzA28+g6zg+opJdFFBh7mZboHWWqLNKh8jWc
otzSqVU9mW7IDEzP5TYgMZfasvICx2oy3lUFdBujelBVdacEwLNqrbiDyFIvDcEayFGa3oCaaKGP
WMYWcWVeyMpZlqrx0tsPlP6ZmupOfJVKXICML5Emm7GBYL6N98Q+Tr9YtXcm9zEtLQ8dYTrdU9Go
OpQRqvAr0woVS75FOdhsHFQBBkoQf0WcnI8RdKw2SvzdoBO8NSIX0B2dcUQrq9CBpGrHuM89hpsu
mjma2xg6BDBF0CzFQTXqi99JJE11KJbFgLZacoEUnT8RA5EEW4qxGEqvX9BENpaoJYlHaiZ7GlU6
ZO/yxvZLmuHTiTnIT0oUydpT3B/5VP00G0T5tPiXjVbB7WBiuC5rxmxhyBy5C5566t8W48wl/mC6
NECKqzYvTziuYBpT3vO982AoMUBM192pdrKLTJAlNEDFPrWMKxemytKtShAl/ZEaZnvOMK8VsVku
SjFKjKmOjo4wC9ejxdS6QY7maTVATAwvdswAiifZt8CnbEMGj0QKMVk/zeGrj/xtkauauB4EUuXA
lO1WYkdOO2yhFCD3fW1mN6PkdhHRzxUmpbDJAu+ZJGT52bFu8mMZ1N1SMk5fjIYBBSPiGUn9bTWQ
x+OTOMKYGsBuEVwaxfCOKgEjwm0AqrTM8iOBU5vRDBVLtV9EDTbe0EF23hQ7Ijqvip7gE9OtlU1h
qWB9or7kho+py4JGv5RZ+aiqACTStgT0ogsixEzBEZQ2Fe0UOYlYhgEaVhuVdG8b5qOitkvfq+Nl
PcbAg7V6l6Hk2BYRDs3WuIT0bu/d0MZ3QWaWoSBdNxxEi5b0L2iFKX5PRNHRVybpFU80JkEbNem8
XdnqZ2ow6RXNyIUCkn/nF1G0a0tlVTGnWbnkDGD0Ar82pkBABt/9GlbZUpqGXHej6WwjsQrDZx/f
+K0P4bJrRLQbG1gBpsuvLLEH7nOJRyGItUU6yb7xylgS+xQQ2lWbO8mxg8hYBZJyKaajcmjAvQRO
D7iV9vOwqIq+Qj2R3EI3oHOVtU9g7B6BcAwgFA25EWV/7gUmOQyi6cSx1FBmrQan/+qaIWTEhBw6
VM5710ruEeyZa4hn3ItaBq6d9cwkaq3r1pONJmLl2SNDmn5jjom2MdpaTk3SZGUzCV7ojTCxkmUb
1Wj9vV8imkwBxtHpA7cIgpBW38ggzsjuE4XWcW4EX3GoUmosnsljMTdOpzdnAx2pY0JLHIV8xnFu
fRbcKAvPuBpH/yHOMItWA41KCyPmvo/0r4qDja6wrUsQaRmmOQzYSmg+R47DJx0qjx6F0k3eN1sn
bG8EVGGGxekmqfBZ7DXHS84eMyQxekeNaf+jEcqrWMbOWuPeCyqK75tZPtdu++wndCHJDGmWbUAm
hhjKK9AC30In/95b6QQCmcBIUNeXIWqu62K6FFzV0NYWPFlEL221Awb8MPJYbgmZWDfOJ0H94GzE
EPgDHdQCFPuNHhbmMYp8hNNVD0CFxBoeANyqdAHZxoD3VaLTtgccEWqbpou6IDOiM0kyaJe1Lb4T
DXOKDFtcIKtTM44BHFHVABRZJU/1BPax6SNSxdXKlVY5SLCtnVSVZt909nnIzaPQkMHTI7q4Opxy
0xujndTtaJJ3T35lhhxAQVEatNcN2VSLJEb6rbbZLQk6eN598diW6DCGEhOoP7blKtT19Vjl5h76
IaLn+JCDHp/UPKfeyS9eI6O1sINDUmovCqWfdd6JbdKRC10Nrr+3ufQo6ozjCgN/R2WnYthRdAi/
G9TIgNdfFOCPoL+8QyndCE26+sA36aGM4Baindu4NhwUs9YcLrUuB8/KJ1Zr1arQUfGZBYo0xYIn
0mRPMNdgFUbLvAwwU2s6uN3PtQAom2bNXVIq3l7657LCaY1PRCxRlaJCsuhgeAnIwb5zzmkJkWYI
OjRw3Hc2xkWpeXZQYwpuKw+tpE5DnvGevjNqJd1hMsTFH1ZHNc29E4FP0dp3CWswb5uABAjI6tej
zrWmVUN8rfTKS5/Ks8B9diVU4iOGTnsRef5A5QVdlJ+8iIY8vmr8Uo36yQjxsmPRESbyZ0aEE+nU
gHvjMclOIBlX5ddegqZp1O5LOdjOXqvxpnVsx1gL1zZlxDhqXDthMexvvLGgES/VfJs5XB+O3NJh
XztdpB24tO4A+jDLSGsmWQOGAghxiOev4kHp9jGSMDfO7R346aPtdCcb9f8enQJccD/aZ15PQkWA
00QqZb5voqjZZDnfpQQ3aj8wz/DL7JQQB4qR4WkM1ItsxVkLCv3arZN9WQVbO8q1B3eShyDTSZFL
R4+eF/GPipRVzL67jmhxilbc1tHM6ZRwF4USxZve8NWTPtwP2oC4NDxajoo4seAerBtYlHQTvQj8
dEW9xYeHdx039LaP8u8eHJ9YaZy1JbOlqupUm/VCXrk6I49S6dSlPwToy6S1bnA3X5uC+XsODsqu
dOQiSEbaInumRNieWom21SRDgQLW0pvs+IgsV/BZb0ab+IvRiW9aTGB+fxzl91wQIpHZ5qbO1CuR
Bo++Kp5yq0fNBBaB0jtcCC0+5aqZbGkoLBLlSlEaCrxKkK51/BdXdFpuWkX/DKUudovveiweo779
IXoLZQ2WnA3F2g4x83DdVSBinVS84Mh7iY38BjcUTgR6Alu3Z0TYSo/2vheJvdZXYs+YiRbydYn/
ZSE8CD9GRb4AQkRr49Kr+CR6/UGDLoyVO69WVJdTH/B2nhQ+lufxFnEtDuok3yYRYNKwdW/iFFG0
V3ggmYBRrHW3QwRmoSCzzGYpRb/LWqqzjkY+jM9A8LYy6R1oKjzLfpXE2MppXd1EGjiEhvLp0rKC
g6xqc9cp7ZVdO0u7csdjlSWoqyrPPluC6u14DhHJPrWdcoMBfN0RR3MvuXNVE4BStz/xta5PJTL7
MYXya7fupnuRgSbXugnUQaIiKVAKy9YTO6FjVjH78BjXBYsyuHKwx474ta49BlcLmbTkWwh7U1kZ
gEZF/eYGQjuLzFfP4LulqwRbD4bkXsuTDWoqhj7D+DkcIYxWZvKI5Ue5M7Va7gLELovetx8kbbtV
4mu3FBBsxGhWukVpYm2H2gWnQCSOw1WypVEL3VhAJvGNvjtnuFqzTBp7psv/J+xoDJnJhFCR+Qas
Zbcr8aLGAak+g0oVDMZchKldoSBidQjViYnJAnHC6md8sgtxaB1oWD3p8eFn3UDO22vnPg/jbR45
O+bSmyL1aK7QytwGCSkKxXhrJz4TeZOa4/A3UcLa+2RP6kOuoduQlDzN0S3Id9P+3xJKEV454Pcw
aFcjSTNuAzgnTExn7ZKoQ/cLXYnDExHRYJCviU5WUDejEMgb904frO9BvXT1yKBphvIkifrTXwfR
6X/K9nINS+UHaAZ2SJsW7Pt/HagY5j6D5F8X8NxI4h5af5D6N421wVzIR1k70cbK1HWWmMOtZkiU
DdGDpYXXPHaUTS2g6lF9O2Id0ECzcCfJdSrLmbIl/kN9GPHx4EUWfxNKZmpTQF4xZ3hOQZZ8qp6r
2q7uOLahqg5ltPf/7qq2Qf+kDei9uWEChzY54fdGf+YN9hGdVnbLzekbVtJ8OzLCetXEwMuBD6aY
JAfhnqNxbXXU4aphowyVve9cr95XfbtGjZR8MvXkU+AN2SZAN0zTqtlwFyfclgCNWyyO6m2DsUup
YdCNmLVJsYCMoJYukMb0c6ta7bHJ4w4vca3DfrDClSVBgmJWAgZpEmdQFOAFfDc6IvjODkEx9qsS
FwUDJWPd+GVxkY1W3/EBmIC7SIBQBKCvOhb0wjUqlKmaR4cI7uES/ZyFdbKLuGX3MGlkHHFXhNa2
rcFywZDD+1QK1+Wva0FlK7GhM9eShzaHTJRE2tTghbtZeM0aBBv3Bj3x9gGGQIizIG15Dx2fk65c
xYVRX492EV6Z4RAsw9SUG/T05d4SCgz+aTGvglH/HKNj3LxtSsM83FA7+wyrgb6YTCij8ZAgj2o6
az5/PtUJbXIMyI0x/TE829OizLEA63pzHCuBBaNgaqqB6V65Q057kzYT9wD9R9nV7gXB/6KciolV
0Ll3VIcI99CAnevMfpJWDkDSWaQ13InGQpmPge00l76EZgw7rUVKElDIWPdKnjIEb4giiXSqCgXe
3Hlha/Y9emTzCq9UvMbNU0BaKZ2tVys/6rjN8CFD+iD0stjPq2YSnQfaMW6t9vsxy24baZVbarXU
UZXTKMnFGg39uvWQgkIQ+6IxFtwNoQGxXRMxiQZg9vt6sG/0SiDdcEl6ADvhH+dFXqZAKpwarKkZ
KsdMLRgTq5LkGMZZN1UnjPsIoKKnxOPdmOc6gsJRXwWMpbQwcB4DT+/wbYFAMQIyevSeVpMsu6Ud
kVyTUvGmx4nCf+Bv4Y3mRRfXieu5Z6kX5qUeTk5iKhurkd7e7REUdJUEXGvYPVNqy9iTRgPlXVTD
8dLzrTziUa5QOVsB/IC6khtaIH6zGJ3IPErmZcrULMXqle5nHSYPWyow46FXgvxEoFhJ+7B6BjpK
lqmTSTwZYqmXnbbvDQ8vqT4ot1RLaItSDV1SoowpVBOnkJdav0ym60ROV0e+9gI73ZLkVzy0Ik8W
Ae0to8rErQlWEE7GSJTCBBKgo+QdLQwQ647bOYlaJWR8MsYA66pfXA3whdnq2LPgWF/SALdAkRfO
KrSnOUyUQuurHYRsY1YvHaev9jp22wXJC3VWQ5etXIzUMfoK2rHRfnCDp5onBOqU4TiOJkpeWPW6
XhKUYRc76cbVTvcEQ3OqX1tliOpT5Nd4SQuUZH7p0TGZtsXcb8gvw3pS1S5TFYbQKEDdsuTvqhgH
R/FOBM0l/GtFeERD8cO3kp5m9jWDBvPomxby1TT/Sh/eOjh+F0A7qjAEJnW2rkwskQNzT39KhDWE
yfREzet1RArXVZ/lCDAU7Rk1xfAlnHDpXpGZsAU7Gjgwgmurx2qMGjxDSoXO0/XCF1y7+pa+pdhl
UCRXHbebZT0oMD07VVxiYwy2WGYPTurVZyOqLAarIrlvQi4RRe4LM0uPiAvjTVu76klxKHO4lZfu
DQcVr1l01wYucCypBqEuRQzZZtgnbhx/bSaA85A0DjEGGlUN9A7Y0dFy6H7zffYBEfg6LmLlgbiB
HkbV3h0QBcGPtZrPqH0PFNy8rZf1zlWkypc2bLObKO3LU068/UIaRnNCwWiuB2lER6tLhm2rt1+L
lspH22EW7p1+lWHMHHy7fqjzL5GJZDcwmGNUXVowPoGAmbYnaTVTd0UprrBrtGfX9vZ+qF1HRKic
fd9UdkPuVgSKhAvVNxg7QM06MZaiIzcy69C6XMH/VrWbrGimD3RqVRoY0xTCFKj/208CttAx7qBG
ySDo9tW0MKmgLZtWt9bQTHiCOqW2pdmWfRqhc28dJhxkAzFUNHzQTKkOYwg05i4iH2OlUC74rrRb
EDv5gVpNeZVZ/rgMBtRK1PhRWmfZtcmn8JB1PkBT3+/3NGr118Tf/0sC91tg9Ie07g+r//mpyPjv
fUz3+7jv/7yOflRFXbzIvzzq6rmYArTrjwdN/5ofv0WH//zX/Y8GgDNc+/8HgH8Kn/9x9S37Hn17
FwLOOa8h4FhK/3A8hqeeYeFm0S0GUT9DwDX7D1en103d3TI9Q7MZf/0MAeckl0NNz3Y0Dz2wQT42
IsApBJxdqm145E677J5Txf+NEHDMm+8Gea7qeZpOBcI1PMNwCaad9v82dA7bqRYs0ptgoAJpartI
GnKpKU3Pt7WjGB0DBdAZkGDrbph3JLsiUw9FWoDOcWJ9EenGQ9iPz6V0bpklyZWpJdeGieI3pNpW
GMnF6OLrFDQquOnPSFfAKeh49+zRvQlr/OcwgxZZh6TAqEAq1VF3nUrsg2bzgmMW/IEbnIcyuVNg
2XB1UAbPRPYimYYvLLP7Fg8NOtYkucGpKItLP4Yx8GiE+5LSTi8hq+t5DrOg0bkEQ4aEUZybn/xU
QvhsjIkITN3x3NWYEqwkyR9kmmpP1mgW3xUBKo8AMf8rec4W8J7uqUwjciWKVJmIQZn3LYzzccTl
1+K/aOImfsm9xPoW9mm/g0pOBVsPO4zIY8TwPnIJnF1Rz4/WCSOb+3BSvXqVDjis757zWCcuNlVq
JIONS318gxtKBkymquS7EQr5VfME/8QIv8/C48M5UDhpbnHieIcoS+59UhiOVVv1wG779OzmJFYv
St0LqYcqo/W5NbNJN4L+HmYJUHn8ytxTaDKHp0hXoFhEAsv+iN+GeNMKoJxBUx8bdY94XxTj3CxA
TBjieqKnYOvqyUTbTWURTQdjALf7UTIJ8PDojSX3JDeANkgcdqRLf+eh4KEjnlQnKr5PQujW3Zj1
3oWHEvSXBm8rTW/bMr5IURm7MstDF8LFmG4LdOQ3hllHu3Ci1tp5WTwIaygvdViDDyiD4glJrr2i
6F0+5/Qodz1EhV1WmcaeEkJ66gJcE4PpdKvYsuUZnX+4iyn4UwQb0z3aT0csMdCJnVuF7VU7+kST
KxpWMRGKycbdjHToIar0LjjrOGNg34R1chhtHnWoDohxqayKSps9ABha1Zb14DgDvk+K4vjaYIUh
ziGKYYeAJbiQY5k9tJMqYRmKASytBjJYyuxuiEvnDqOe/9UP6b4sQvpE3+0eoOOky/U/9bpoduHg
Vl9S00APnvImL45bOScDBGhAyI9f3tSdV14oRIOSloqjfPHwTaDZB4oGwoe/p5LC/k9Qg18o8Rjk
8IbDjUJuY8n4K+wWppHEDPL9CKiMlU+D3xYkEnxW80fSNwS3dXWifO4qugCVWlq7uC+sbR3TiE0U
2R/62pB3ZAMgaLEmdT0Pu+HerdTwYKskJ0SVyC/aaNA1kkZpv2ALpqeamo9dZEXnwASBs60jGe27
auCKRZThm8c4RQGldf42lYrXbjzTtu+gV0GyU2kr1jJkYmgQgjACXTuouFdv7DK3vkjG+kMpKsrj
LVLOsZhsD4rqHUyYz6qNfTBXMTZjbSDcEU8XUVRL7l+HpKtW0oypnY7VlFwyuAvVJH0i449HCoIb
3xki4SN3Cbt1x1y/ChORUGgt+5fSZ7pW+3pyjjxRfSpD65bA2qO0sFungOg2WtvToyVVGZQ5Xjyk
5+1aQZCzjlVPvU91WguaoxwFEcZLlzbTobRyiAoDvUsq+cgGhMb3QguxxJqoz9yYv7IdEmJW4fwk
ycxCoyYzF7hmDQTXDON6/dsj7fI65f9H3mSXIsplzTPmfQVjfkiAlMIRaOI0pZZhvH9I+HJoK98f
buq1JNV7M26TJfBAAOsbsLgr53Wk8W6g8e7HeX9+Jr37cVNh4rdnkmvrZpcE4w01rnFZfRlujR/j
0WZiv45X3lquLQILmfABQlgYy+oqvvrrX/d92v2ff9sPj8QB8bPJmPamBzyQhujc4b6EjKezZJfr
kFE8efjrHzj9Pm+Flj//wA8Foqqgs9BrfLzlBZ8YbKHw7/6A0zv81U9w3n+ivucPecuvhMJ+pSsP
5jL/ykR8zaxglTy58X245VG+cf/mx/7d7zV90L/9HcMIL7kZjjdxxIeG1Wb0lvMH92+NSf97A86z
eM7vZPX8LK+/if8Fo05kob99h6bx7z+ecxnhpGTY/P/+4x5KwPPTP+7kN/lc/z7ynM/7OfS07T88
RzUoi1K701yH7/Hr0JMq6R+mZ4I3d8BK4LHiAvw58nS0P6iqO0y6dVfTOeOfw073D4/RqzYNFxmT
Orr9H//GsNP4UFs0bZd3Vz1bM3TH9gzGn++/GinpRrnWJdZzaRTXVq6iTgcVt+LBj/p58mpRktAp
UFSQQKa9qqswfJr2zlL2eS+6m597/9W5bwf/q3M17xvxVOEqaEV5mBdumpaQg3+tI7qDoj8tPmyL
g1H880ClPtq57LezYP1tkQqvOr6tRibqwyLBwOwZD4FIM9JbaB5gRjceyiGnCNKFzhXPBvNBdyRs
dUn8Rc/QMgzXBT5lZEDd8GgJMhal5j1gGMeyxeDBJxJoNFezyIunhX+YX9mToy33A0Ztb+s0C4x9
28Zws+ECgulFPVkxuV3N1vUeAFYJguifvv7Qbs5K4avfyaeItwM5j/ixKFfNNavQ7xHxqDT+P+yY
V+fFXODiAakAAJ9qXWLrTdageV+KKhXBaQ9nOBha2nIjQLKa6XQA0/jEI6zdjD3Uw8rDLya0K3hG
9WdPLZULRpnkKmHYsuhFW5zaaQF6jIVTDuRhohtFARQ08EszHt2iBERhSHnSAujas2FUKyBb6a0f
vHq0wkB014Go78sMx4MaUlG+Tehv7+HXzQ2DZvIO83sgM4+i6HXbvGO6VhiIk3I8r9qjHtz+1Unz
G6VWuzWqoth1/ZRabkUNRT03+X0xbxMQBH/bMW9jjnH/82/uGqchbrem1qXnyiBv3vexsmJ902gX
2eEd1UzYKF09Gfg7SeaVNA4aTJa9cLp262pldLL62EYiPsIJ7V3yzZQkfEhArNHQ9dqDyEuMYYAh
l3FXA36cXtEf/vmqhurwuu3tlWPoOliL0F6TPRjBI8ktsoR9JFTzeofX8wpXdLBtNXQ47Rgiqqnx
Wjg9bUBMeOU26FXsxTWTwRYf8FPYd2tZhtkjHChtFeLXuLYktqMANxk+n4H+UkNaTDZzMuheME3x
fND8qV6cgIWQMeZUxWmYFqVDhZZht8Bwxo7KHdC/zLuVkNwSPJo/nKa/Lv30ER8OEQ/CK5X9tJrn
LSYNnG/KHv3SI5cnv9CvVRQO1U097iBiZYfRYmSLqgZxepynCOYkxWxsZCN5ddPG1/1xrX23mQNu
ncyK1tATbCbZSgwSVfmhyKy/notlTI5QcTjp+BnxMzHzZRS4OQEG6KI0S8DosJLh4o1W/7rISR7q
MTf9tiVA6YDyYEQ7z6HMR5eAmwYgb4DfCr/QF/pQZT8iipB93PQPyLtPRExdJZO5cV5w1/MP1nQf
mVez+Wbyts4f8OyPBIQ6lRYfJcC/67BC4M3jZvwS+KCLpzJYGI13UPOjB7Dq3ZqQoPhYjFV2HXne
z0PbfDwimCsefnsU/qvhqjaNR9+GO6bt0TChQmJTIbF5YKkfBpCOlqE8s0P3ObGjdBd5CckzkE0E
RXO72MsEkSxCQl5+XP946G/rf3r58dx6QMfMdMiEzTGq900Z3KIP7M9ZFMX3+E78jEghvxj8NaR8
A0AgC4SOYIMU6Ap5Kl+3A+QPKQBPewHsgVFWENLPx72d9uuMt+2WPpIoPJ/x9z+jzKvrMu/yO6aV
TKZQQdxEelUdScBFimdL8S1I2j2K6+AzpJNoZ7o+PbrKFd/ag4yC5Bu5lGjyosLd2vijPytKtsti
PL6jvOup+V8UzAtQChv8g07zZbAwPY+2ba41RzZf8pbqRFbV4TmzMCwS5YUraMp+8KohfGz9elhm
qtof2xwPSwYZzZm214AJ1mpG+lwZWTmiKvBn0/bGi53NIGP9Cg97+KjJczf0zhcGvBR5m8pcz5uD
1tzJWET3gUedWaJlW1GEjx4NYAR/8+1z38+W+PY5jsEdD9WxwQiHr+L7sc0YG25tq3b0FGuJQcgt
j65YTcZHUx1twkN1xgzCN26b0eVRDntCTT0EbIGsj2M9GLdkpTwMXLDMfgtQurDGjrPlLZv85vOr
eZviZpckp5L/Yft8RN/YFCLm4952x3Z5qQwkNP/q7eZtKh5VETY3jmUWa7pK3VGVmTWZPeN1hiH9
i7TjM8wQ+8nyrUtpm+rDfKgOSOH10HbUfzu0cFLnqVCMSywy7YE5FQZPZKmrKpwmBlimlJHSgEts
JZfkpotNqu3TKzU1ISsETfjz1fu9H49TAI33ScEZ748r3Frb6xWEfog/+FOG8feFJ7RdjGx+92H7
27GJL9TjvGpbdN/7zN9GCXmSi7dD3s6dt1lFftY7wqvnU+ed8/aPp2WeSko4UqK+SBDNpcMnHp7o
eVyt+mIPYAwj6XbfAyGvyfsj2D1OiAymMw54KKKrAPLwVoOVSCpOfq/FfXzWJxjArzW8mjQmo/Je
b7P4PDsKpn3zms6T6u3I/9Z54/QTfr3L288DtPP603/te/t50763tV//MitPnV0iogYmJBAOF6AI
0dY6erbJ/jpvm1+9LZJ5R5BCq9X6n8f9q4PD3ve3f30lO9Os+LfHCHMnwzBp/xi2ZnrTpOf9hdyH
kaKHlaE8RbF6J5Ht37gOpGwsBO1yvqIZEvxocsO9YegTXZe/trtsr39tb0ec7UWpD9MQ4kdPeNdv
x8/bjcD5kfrfosq79SR+GUCMdAL9X9/a11fTNgBQVEEiG35uCEiG3iRf6nn3vJi/bfOr+UCejsCj
DZN3nDe+vrmr4aLC+41RrYCiUqaJgMbh5Ti1KuuOdCP1KlThqc6rKupNHHKENU47UR1bdwYMf0JG
s+IQWY8j+GYQQRZJTrI+d3onljJKsh+lFWJhsPvHjGHy+u0I23rCqgUxzt45BsXTn07YX+vC+JvR
wCyvKX7JWMzprzhNdtErqzqdmI9/RQHu1+Ee5D6hjMMTgDWi1NfzLLLQQLfqyqd5JUm2HSqJTyKy
i7to+EYmzsGv4+DatulMLH+tCl9lVEhl9nWvh87gxgsg3fK8sUbycA1iA7e1UHUgZLwypm3zq3nb
295CoAR5O25+1UXdrZaP0bFzPOYgJqlKsqzq8+wDmRfzDpwzMBkn5/W8mA/BrMfodNohrJS6fTWd
p00b57d5O9BLBm/x11eK/ecrxWFyaLqYM6B7Mqd/f6UEVhuRBxsaT1j9aUnPYL1fC7uO+Kai9dSO
ctJd2SJYGzLCrPtrE6Vb3CNEV63HyDJRmSUmAAAw3UZYX5sTW1GfFvP2KDbR3g+A6j/smPf2ZPnI
Cu2AbIDR7mjqO+kJOki8ivTsC8ocbWcVFi45YFNnY3o1bafgN+DYm45NEMyezYagSyQI96NeeBfH
iQ6z2MMgdeoy7UPx/Nu+elozze5TwfdyXehKuas7ER/mV3E3/HyFfevnq7e9b6+CzokPiV5XV3/9
t9Fm9dv7C8Al1YO2AZVGykGm+v6PEzqhn8aDWj0lMh9rc+0ACK3w7l6nbnkRSt/u5rXXTQ68Ndyl
zbAKDHjx6ev6dPS8P07oEXTEd9AjJxkVEHV7NXjFb28z75iPjajjrmQBG3Vmk8yUkglXgniRng8F
kkE6/D8wLr2eT7G/6DJTmat3ajgihC+Ihy+FGu/0KC939GCM64SH5hq7SHVnZDlCRTKSH6d3DBMH
EnR1NP0gwXoXVlemIohB68rsB/3XKwiqw5eozfz1qDjdXktt/zIfkVZ2d0qn5I83GGRvNnjj5u9s
V8JasYwgfUUKzXveDixAs6yMoEWJ3Bn1jdcTVlb24Z1ZeuGd3jXk63m08uZtv46QfZmsNEJACZys
bqwxzKeOfbSqp9V5G4TPDGEgYz8sjsw4g1/rsxF3PnDepnikO4xaDAVqcui+vReGK25ROdFWWo2e
g/DoNVr5/NQEPfPh6ZUzkddwysAYxerxYft8xLxzOnM+9O0kazqzms789bbzEfP2+TAdueP8tvOm
D6e/f9savtJff9vd95Vu7vaWbhM2aAFSsrnlGx+e2dKGr0gR3f+RDPkKsCSRRA3d0MOIqBC3IDrA
eZWoXGIyqhibwchEcDHv/nBgDF3dWb4ePh9EDvrPN3o7fH7LeXV+S1dYZzo62SaaqHiRaQh9If0U
bt1h3jJ2BrC8ebMjJssSqiecHHVJ/X06Y95P1bZZkNecXI1aBMxv3v3zXTSqSIuqAlBcBGtRuQ3m
L6WpjlpckB07v5wXGA4AYQfreUXtzOr428Fvhw3TnlB1PQKR1pEAPANKkE2vLwm95wHkGP4GyE1x
XedTajpj9oVD7e163jYvLCoL/WJ+6XbOUahDtbNDGf7c9nZgCMnh9R3mbZ6wvP1ffwE088Pkn2+A
p5pMv5j/c4cy3A+3u8AbY8sTUvme1MlaUrtA/Fa5CMeItlnNz4i3Z4nbev3JfZw3RDk8v8X8TBky
A2bmiF50Pn7eNr8ao7E/tT+4k0zvOj2lXt/r/fu//tAodl4AtJxABdQ32bRondtQNcvL65hhGjgw
BX/bErhZchHx0WwA0PNHuCFL2brzFJhzpNnjovU96y6n/XywS1IY57291lt30wmmz31g3kTFlRPI
6QQoNxE1Ib8oXtIQYuwW23k1yMpmpadasVWnvaH/z71z5f1t71x5n/eq08EfztXQ/d0XWZftRtG/
gKPMLqEa5q8LuAlPo0i03bxp3tmQcr+L9eol0+r8kqoEVfT05PlNoMI3m0nHD1Aq+xG3NdHnCLPP
5aA2B6e2YMvUfvBYI9wmOsL4gi1sFWCev/L7BuyPIOy8LY3wjhAYBIhSOc+bAEcVDGRFuOqAzeyq
hhhqTzb5JlSidmlNwJnSRG7pTK+IwgHgbpNv87ajB0ZyXaJ3nA972z6/SSNp0L/t+C/Kzmu5bazr
tk+EKuRwyxxFiRIVfIOyHJBzxtP/A5tuU1b3+VznolHYAbRaIoC911pzTGKF40yTJRYQgQtHhGo3
ohsRqznKie9lyfxWI757HdosXVmKMYCQy4dXt8lOZmN358j3//IgtP5MouqWQrm5rsu6oVikbbSp
uuhj8q0Bi06ufuzfKQtgc4+CDx2dqffGkXXaQyZwzRQl/9QwMYIbL7ePhG2rDTVplKxMTXFo8ydw
YsVZNNSA741uWe5KNH0FCqEXGg+i1bhp+9iCT4niotmrrZTfEVvVr3GuAVgxuHhpL2JY11hVTKXi
ym+hR93maSKKhXkXql9jIcU7sQhLHFbKUR7LC7Huyv5sOgCJKEbKV5M44KjF2aMAsIlDHiX3Xlvm
kLfZuLj8CZaxZuGdPOEjyUGZt/mZQvFBywKVWj10DeIsgSj2hHHBQTBCRT9YT33n1K79VNv5536t
k1kOhSiqkad47t9WcsaUFfu4klMgwehU44Pm1TWd+Oaff1MbtypkKWb2DmrVXqSuW27rBLOufoDd
jPyihz9Z9kdxRp10tTXL6o79XGXsxOSpORUJDjganmM5to5OFiQbaGH+rpa65GiFo7mE/9Q/8mZx
KDAIkq9YEu2jBjAbfjbUx7c4G1hYRKMyNu5UYoJHgvgpES57IK/EiqQYZduemfGQ3qNjxS8cM2RM
llH6UHv/QyWzuUgH8JcA80vAvv8cTD+oDkDgiIL97msxiJeVHvmGigLJYXlXn7PWhFlWbhK11zCb
9oEK5rqxNWJJe0FEfnAp5j1jG9Odw9rd8wiMnnPrZE1wLn6U6CDOxMEekZXOwhZ+XxUrG9FXOpSq
qaonr6/bZhJPT3FeuevbRlvszW9Nd9qli33377miS8wwJZyTjLbeVlQf72+HcWKzJbCLEeTgbaVh
EjS7jV7bls9XlPr8rRF2+mk0qahPE6yfp5boqnnr7OW6P4oWz5hf/W0mB6sBxs/81iemkMP5ojRD
te6I8ZbvoYaXelf32JGkJtuvfPDeEi3V5sQuh302JOmLAs1E9GeYPlM2H4ZLInP+m5ZhepogyTnp
CYRFRa8v5tRvECBZRU7vrlPJoqRaBcoKzaWgumHf9p35mGpZcKkzRK8ErFBpioaIH+l4Pk8jooF5
JKHa9sM0L1gV4V8LIzSZlPanW4pnI+lsC6GLbJjmdMt9qFHotS7NnXTU3hOf+4VqTfsgDkBewlUx
YL1569OhhaCMIhB+nZNCoz1w5xm/rxJzPzXFfEMeJhAI/0tWUT/60gg8dioBFIfBmEzJWIncusyg
koEX4GZQTGoAMeBrZrQyZfTVok/rImVhFE6xQsjTQwqqkq0CnOWpMCV5aWr4TolmPurlBsUegL9p
NBzwGVAyLOBFs7EN5dTK+lG08ADMnjzjeqHoScx244ahde85wbdQTtJ9YhJ0bvQeHt20ZxmmDcin
PkSXLEb+nHfrk5Dfz665tk/XNZo97A0qA2ej5L01URI9Vy0+6orq80oZPPdojhiJxkYkv+G4ssWx
xvz+51QARs1en6YaRYvVYt93a+r7LDIvrX9nTweMBzKwBf7cDybTA7QH4CmmAdHu7P6OKIW+leC4
yWCLmeO0hn9XUrMFFglE8ofrcNK11rFNHUCBGvWkjfWX0XLk5xAu7B4mYzwXTbQl+trCemgpmpUa
B0vN7tz1dXLs+nNsVcq9aHpS8WoZfnPCgBHTtQh5mmb8aLDInOmGZjxiSxscc1N5FW8x0UVubs/+
NjhZmWMdvEg/6wgKgD5Pmz0FatcsV4gl3XZqt22ZGFXBZKw+7dckV862PYi6nTO6PH1q6uCh6elb
v4feEqqYAOXABrXp4CV5RcKQszGD+VnlGDT87hJnYpqYIZriINdWtXddpVqTdcf222ug2LlwqTOq
4F7NLIMUMA7jMaIM99kZTr7VBq+yCxMWS8R0LpqqkwA+NGUcoaZRjIFQXSnuOSzDN7cyv8I0thae
SU081bDJhbrBfRm3wxfRDwKj3yHo/M9+i0fUDh/tEWEy6dDedPCgmpoiJyqyoWLglja99TVjvclH
eCuVrB1d2c/gbGGdJZq3gzON/poCQMoo9AA/Ovo8Yh/DdXZZqOERSb6bF9oxdMJi6fV6utRGzT6i
5IXv1XUFUAUdfxDfBE5LZPKSNy43e1C86ZFEmamKjTvArPytUPVjwJsdtzz858Xl4zTt0+VJIy1E
P0slfWkE4SEobOlD+YOWIZ0KE0vbifIHVgLKqQLHKlpDaqHBHVkl2o2HyQOOHL0LboJdOZsDko1Q
D6Ry2WIKOJW7pfcGbn0n1bo4TfbHNMo5I5C+aIRzyXlAGjkS3MOhBb+eRYRoeyXQrbJTuNNgMdU+
IOk5/WU/OVXo//GGQFlqUyJlyopmmAa7yj/fEBb8iaJN2xy6BjLphPXXXm4nJKYWKByv56YLK621
KNJWfdBqhhi6ThBD10Np5OuwQxVJ8rNYtwkaOLGpyqcm9KF4KbZcLuy4dYaCfik2ZGab/RpF/5Y9
ACZcifoFUc8gzpqquZT4nG9v/bdSCKrbr4NivqiJuE1z5O4SjtU5U9PZCALogjwV2mUyvqpKzD0V
JBIhrnJ4dbqxnznEeHF26q7TJOBdx6SX1LlY8LC6kFeuoVCaOS2JRN9tJfQpo3Gb/Gk59al5+2Te
UzgN/v5ksbxS+/ZQI2U/OX19J/KSSdA9KFLUveilUSzx0gBTLkXOQfIGrBdwq3uttPIuqAjwNyJA
nHq1d3Z5l84U7L9OusHat1PlHW/t4VWrjGRTDSX5gqkppqmUMsHMwKovc4eCsHaf3N++y6hyLm3e
y7vrlxksR7/REva4Yoo41NMX3zezS9Nl8u7Wf5srPvN600hGdv28MINUUY1+SRllDHY5oi6mxyxp
KVTL4qAmwZcx0Ye9aGHYad/j4ywa4hrfciFRgMCnWAal8399Tp9G8l+KQGGt/+sGQv5CVIYiI20K
y33atUQ9IjeXYvMvta8mO+Jy/jHWHe9IoRKiUTYf0H8MjK1E538Ni4E6N94qytr3YqNZO6cGG4+z
aERo8haqa/tr0ZT6RjmCUThfN7lRJP8oMguOcGkjkVeMYO4ibEAV4DTeAqUDXFn0fJsibF4Ctj7L
LPAp4BlH54TEBI5IM2ovdqqHO9EnSLWwLsjFucVatMYBP2dq7aht6iBYY7CbVVCYXIiRtj8iNWZn
nKhEHuTIBOg0ba7drPEfSGTPzczrHsWMUsdeKEsxlRLNAtjKrpsCPaKpaHBZiyjo1rE+pocc0+aa
1RKk4IGoYVETZ1R8sJ5egwUfNrEpFnHTUCXJX5zc1vE09hCNeZ6/yagFXnh9r2ALXLUAKGPl7EVD
u0AdqpzDqS9zbfUoiWW7FSkO78iAVHrs3xu+StpkOkBmqU6in03fvWiNgbwkj+3sbTOy7kepfROP
jgpk/qrNpWStlJ23b+rQ3Pqp+1DHfXUUJWu1mkZb34FCBiDUfxQHKXEfosiqjqJ1myFK3sRVvz9D
zAg8nBw17vjZ7bkoHnaqUvnH2v3+qVs0rVb1j4SqROP2yBTPRzHmNt9vD0txVujHtrJL8256WeV2
GAHuZPvMvpFimNDojrICD8mz4554nx/wSzXC58bHOCOpi+xrkdT3Tqy7P80au8/BpAoCGUVGBeH3
qla+pFhevnmRCUCahMcuV9lQoy+1jsJxS8D/A6PKtqkSPWBwrE2ctNo6ioHUfjR91oCtLE0b8B6r
wrTFru0WmuvTeJUB8uFb8GB7vv7t90nshdceeKa3oVqxTpLfRug4YvsooU8ZZ11JaLExpJKtCJ2O
QgXnoqjdfJV2VvAQhIaxy0Hb4ghXy/G8wpQOIGrkrMTigKdP+RAOeBPa+MaNxuH2/LP4baxY7yXz
66Ovrc61b0tLS6HMsgui+In5r4qrN+9NYKK/V0j2oKyrdhaG3ku88YovVoLt2jQja5RgUZdldEya
xgLnqOdzZOTqVrIzXrq2Y0DJTs19OR1E83YoCxllaIxr+zRNHBozgiA9lMH4rJRVsybgvST45t+p
ZCMBFmraPSoWky3VaK1bCw7wLLPDduUXpjwXw/o0Mej9kJ2HRyKzCNd2AJ5HazVnHSJ12oHfTg9x
VCurBhDUQ6vrOuJe13opLONbjy7nRx5pM8uhjG82esNGKsr+PZKopVCbyl0MBMVnNoDaxwxHX0dV
zYe4sgsQkU2A530UrcSgFtTWyZUclNwMii7M7PDtIiC5FU1Jjru9AYsXXV6EDHzs4ksc4sAyFqik
c4N63FVRyckySEiH+DHJFaQy5FDEqegUh2gavp7JeELMMM/6NV10iiaPWxOzuF7aRS48Fgwmy2Dn
B+ErwjLnBAvIAeLIGfBmaS5H+QBXlmYXZf3GLT1kNclo4WcX8FiZ9NEIZ9nJWC95q7p7r8+h8hLi
KRI9HJ+xd5Qnu+TwLA6edIEB4d4LF4MaU9G9MpRfbuNaqdvLDpYNIAOuUeXqq531IQsFqxv6dTyA
YUPj+7U2EhNGmpodgk624LIPIKan+sr/mJF7srLCne9VY3t2xjF9pU1xENEKDWgOv1vTGCsN7TqW
YXR6a01jg2lGPxKCuPs4a8L7hpq56/1WxAT9eyKh1+W6KDxOq3bv6hTsuXlyN0Agezbsal6WY/vk
SlV7lpV0G8eZ9AzYrT8UWgzQeZoV5p21Dgvcv8VoHPq4T1Y51cU5JQTio9Usju8VwATi7haHFkQn
8KHw108QeojCay8KZ1Vka4d+VM9NYo0xf5kgXrYmqV4Ug9VZHMiX3vUQ4Ja1W50MUbhSAnZgF14T
vJ8Wf9dO2PrZusVwCR/WkFeYKbE3U6MU5HwLY2yUulPob0XPrfs21VeM5F4MxInST1NlBPzrNkcb
sQkyWV0SI4fYaZrxj4riMiVzf1iJHZAhqOsL6DdK9pVmBJmsKEj/Z30zZ5GI1+xU5KPFAQbHYwtz
3Sp3rWd/6AdNGh4hA79D055MnnzMdDXnSURaMhtDkaDLz6IVutar0kJ9FS2VIOi8bYpsJ5qtVzsL
EnHxWjQDzQRhF1jqQnyaOZTDDqMAbG9tt1q1SgYoQnXIFbulcZB1MiulpZhYdtT+O/feQ6tE3kXX
eIHlagIBMciK4zBluNhNr6tSCr5bsZaA8I6bR9Dy0rrxB+ymAxMnVJhzMzElhOJPjZr8JQa7tBhb
n+I1uIR/iYHr/7GYtGTLgnSt821CNf3nbkyjrtNDDBt/CQKUl23R3CsaPOioVqNdXkUolsl3ANGh
D3CHwkMftyjRFAOjBqX+z6t6GC0DtjnSIwLmWTrO7d5Johnoqd8n1FYkD5gZ4F+KVzTpT62u9uLg
JkYxsSy/jlCp9ymExnymWmq1l6eDmCKa2MZynTi9XfzhGvE5/VC+/WX3Koo7sg/VT6rFewj1D3XQ
VKb+6/dVlXLld4nWvaltmqwSDxya8D9RpkWFOMv9mNc6wIUz5m7hVvQJn5SuMBggDwCeEQjB1Tyl
wbL6mKBrP0StxRYo89iMmsrp0xn+Zeq1r/999v8/r1PLVW1guCTylAYFwZM8NtyLbbFoenoY7cUe
WjQjvQ8/NMXobfLt2hq7IJguf0y+Nb2q5B+KJXcu94p1sLMsO9lDtEmm6g5xIF6vzRMk9WsCsP4j
PtzpyYTuoqty8V5GAyBUKqEe0GmgGwQOvvFtPWJfoGkYmbTm98iFxTKU382owfYemPouV3gkmzm+
xSDX0ldv4JEvoQqEcU0z7a0nKbPSh1QlGUd13h16/uQVgFq18aUGqYFohujRzc6F6Ba2w7OW/sD7
O33t4jTdazpGseKzUBrAU7HlCqcqRgcdGB2gNgpG5Z7tBD+B+DA5CbyV+AmuTd15yuw2fUAOXJyr
1rhLPAxTDCMMtg2FdYuytwxSGrl7H6DKn9lREbxzc7wFdqY9anKobc1A8VeVEZZfbOtd+Et8utBt
lJf//f1XzSnb//H7T4jKVGFugVOQVZAkn54Xo8ZTU3LM5NnsWXY864oNUg8jjGHlQUNsG8y/TA2D
vbZ48D1PX4uW6CezZpUTJBUXoWkeahoi7zB/NpgvJ9vBDNnj+XqWYMrSKDPLHaut1hr9ucBF+T4z
m7lXxsNZdKWTa0YrpfVCNMWArjqPZtlQMDhdZCHOOVT+eBEtcehdJUfcRVSlpeR3ie2Ot7LGylpn
jTsu+5BSSRaZ/ryU6/hgUIzw0gdUJdjJcKGSztvCbgjnftsa9VQOBQtRt+yFuLOvt7y4lYM6W+t6
ufcaGcIqr6V16MCUFyR5ccgjXZ3psRF/GBDYeXGFNV0h5qW5+a5okwuUk6OPa72G5JQTFfv691kp
RkSbRK9tYy5pfetzh4LvaSI+Zne1bN5/igOI5q0vGGYjVWwH0SOcTm4hA8ypC7Jsrj7zbXzCUYBI
z6DFvug8+0+i1dSnWM/sS6K6yYNs+SfSTtKziv52L8s69lSwYZ4RKQVrk1Br1Sm84xDgAO0meIQx
FljfSDZw1uAAIiubOXlYYOBJM8kx7KuTYe2GebvHZrzZS9nQ7p1YtfPZrS3ObnPsabZosu278wky
q63Sb66bOJ/gBUaE+UWUUYjCCXGm+00x6zOHSvMB7hhmh9WHeUaGAqwCSsXyQMF+JDAMGIisoLSp
KQ5y7RmnVM8fpore3VAaUAdrzG+PGITPPk0Li3qYXdVx8uhi2TQZtYtD2pfRnT3ciwbRQMLORJaf
s0bFNWLssEYRI1YwJZ90hbDtdKnDl2lv1+GRJ0547isLhkEX34tWDlmD/EUwPY3CszgkMSmuEX3V
1TtX9AEhZy0P4imJWjB55fC9clvtEpm5LVpXQ2hp/NAi53ZtXX26IvfDWIsoCpcqGQZ/bo47TFTk
nTiru368nok+dJjaTO5iCvQbLLUsw853Wqa4pNusJgUnIM5x8IrWSQgdE/6wurWLYdj2SRMfVNtF
jycN7l3TJeNSItV5zpIcz6fUry/phAxxO/IWfRv8CNlPfjNSha9zD2g5DEKQWAGbjqosZ1bk4R86
xM0hgUD7bvrVT9es7dfUycA25EpyyVCJLVwbMdL/fqD+S7kLMtGW2TzyUOVhyvCn8qrIxC+sg791
8WtXnolXb5c3BQrBMN6J8HUvoVTNZVBj4tUrRpOg+jUqK/Gv0du1YlQ1+m2jZvnDf10vPk5c4KtU
GBtlqQ77tOipa4EyOvukCDAbSu7ZDIMSvgax7NDpDrhrVXP2y90lLzGT9xyzu+hs2huKXSVJPel6
kL+MdjDuegtPV9EkUigvbU8beEgyanoWpfRFXRzHWsleDAN/p6GI141RO0uv9s0N2p8CvqxqXprR
OIuN4FADd7EpeH4MOwNuhicXaw/g9EVqtXOAVGrjGb6+0fpiJ1dZ+mZIlOYHLHOPupaqUFegRjmQ
556TynwWUe7fU5Mq/TXVal3lOtV2+pesyyVoiKp11G10yAslRjsVZs2+dnzWdM3g2UeVFOxRqzv7
XU2gc3JTvsta8WNCor9pOahyMJ7jC6o1JJGm2V56CxFG4qjNYxymw6JoCFLIUt0u7cLHeSGV2hWF
wf4dSA153Td6jWOubm1UqXd2jm0lO4xw+q3VdTIOx1iyDSZiQAcK8rrpc+suDw1padrDeK9SFkwK
sGvOaQhnKAzs+qkqVfbyato98+CCMp70ymtgAQ2u8k76Yo3jK/8n5TcWAEecCq0fRpes9CbDJpqk
zabo+N9p9TQ+DdlQPKR58d6HmvKmeDreKJ5S7KIKIaQSdzPRDzrIWoNl6Fa9Z8lvvofbe2z7T12D
pxgMpNEZwk2OdBqlFM5TJLWib3rRzIRj+VDYMMPMBoa5G3sr1QAPVxcp/vGekSxjufBeABw/d87Y
/JAwwWkaQ1+ZWahuBvY0EzOpOSeZq620Rm73FtWsPBCxRG+wbH6skpDHpa8l70YxrpS8rPdRFsRz
K8rtPYl/63oQTRPmKWsQuJhiQLGAwc/EqZyEnIpJ11NnulyrxxQDrA8fIybbwWT/IsPXUbFvX/Sd
XN65cqDuGjPFMIaqxScKHlNeOHr6Q/OxL/XHbyn7xHlfpvKDWozpBicqe6NLnnov+Ta3XmEV75WH
9fx0Db5UPxtVzi55okerhq/eHsul7gh336KE1+8JR5cyr8Uw2fE0fAymBQplngSiKc05if6yGR9v
Xbd+spKPotW5KqKIOKiun/H/7BMfIv6Fvo1fE40yATOwjQUyE++paYvqDtTKvYqN+pPoMo16B5d1
OMlTl+2UCQLKQF6LwdCwE8rJSAaIpqMOxOPMtW7JYTWvoKAir7vTsH4/mbVUP9Z40ntxRBhLaSH6
Koa2bKeoFtLpcNaqwPoKGHiPauN9mNYMVFomzosWWcMmJ0yXOB1VvGphl4feoHZNHEQziQb+foaR
YvJtave4R3j3YbBDmku8UnRJnfFFk536V99ocqNTBlDgg8wFrDLyv6BPiDP8uUC3EYyAQVNJrXJz
Kor8qQCn0PCJzsJUvZD/JBmz4lmb77rRXpvE3R4Ea3R0nDWyzV+taezWmsbEzDpR1Uv/x8x/Xydm
CjOk3//C7+uCSCrXMI7Gmdu6pFNcrAXvTAwuqpaaSRtXddEjDgNFUWvcQUAR/DlQmdApr4Fi207k
hYMDoR8ZKBmmlBs3eHZnlO5GtMQBvpWx5kEBJ97wu4gKRCD+rWMPaz/Fr4y6JTSAjXOycK3dBVr4
EKShcxJd4kwKSNc03ijxxvhngOhWuUoTb7gLMZjRYQHee9MKdUgKLFUiqaDsJDUefSWU96wfotmQ
qO8lcd6nQLF/wEz1L6XSdqshdZWd4kbGna5ruLrFXrXNs85ZEo1CvVUbZytP8scoT9cC+QmpOjwY
DbFB0eypV+SpZdSrsk/zl2FUA+xNd9CjmzspTuHKOaFK/f3kk6V0uAZ7JXZPmGgBGZW2LCXqZZsg
gl0P4/gVkSDGsdBll0Sm7UuTq2eNZOu3pCWF0mdIQigNwhpTI5P+HzOIbmb4SyvqGiEPTpx5TVJD
BZzIHjhfJrmcPPMu+45QxP2hqm9N3VT3McpifeNa0OpVHQiuioPkPSBJPPKIlCwRXRivMoBmvzeS
bwDPf83gp5d3k+hsaZmkr6ocbzh841mCTyW/hNSbeVyyV1ZzilyoOQ0ku9tfS+RcH7vTYOgPvezh
Y1iRRanBH7PoA88VDZ3601P0O8LM0XuJLnjWUgr7YudFOmdRGj0NbaAsXP5n7uPAwfia0vGj4SfD
pgeYtxuC1t9jw5NtMjuzgVa68SosQQLwFwPKoJFQHrzExEEXVN9RKwa0EWqmbT1ZGl4n3KiV9w4x
c7c89ugPoBbTr7vVuND8nmnTg6svsKj/PU2OsJQW3FJpSPm02vg1LYqQeEf40QZ29KLzKwSiUL55
4A6WsWn7hzosyrtYiVzEL436rkAe8WTzW4DhynysI4fKKEfdVXUZ8MOqxUuU4ZJrRua3JI5/pFJX
PllFkf9t6Wt8UhbwqHIUTVcnYKJs6Mjd/ow91n2kWHGTDRfZSBwo9M+21vDgBZexM1oHxcBkBJUE
YT4zpbo5tV2h4eymgNagPxqjZTt0Cx8dBs5LfbQVGxHRDLAJ+dAUo2ZW73HuxIvBjg+uEnQrv+zz
c4x187wn2vGmJeNDIOpyHXubG1bxszLzr9oQ2y8SEs950inJluTPz7qu5L0kVyRvGlynsC85VxCD
Hsup36cYH79VbfjSHorQzU6dTOhd7OizaJRX3ZjBoZ5etiIuQIKrh+uXG1sztvR6bWQyRuCGFq6v
hoYIx8lV2mn5K5hudcqCaun2YIWpxwJJ7ruDaOOK0x283mjISvTh5wExxcQmhNX2NLF2sEZJ7P5S
6+a9qCQUtYeo3OPD1CUhGnjwcysGMWF3C8SX8tG28My25GkzJMs5CJCg/14HKFdxp/xp2cU5dG3p
FaCAAZO9VO5HxOo8/xVicb8vBz/963J+c9fLTcPTf5ZBex61wTs1utttrKBPTxWyglnmmelrWWKK
altmspZKKLS+Zb41rt7dB8UYPDrIZkX34KT2ZC4P4me6KB3Y/elq6R50X65fgmyja27y6mSAGMkS
l3PR7KXhEf3NKZyAQGnp3lmhUTx5XR3vO0VrF6LfS+HY4qj+pNXDInVGZSbH+UoHNghB3DQPFI9/
PNz6ZKvGFzQrtZmYchsQTSpFuyWaJWuRdtWw6NUkfsCuwVmy3JB5UQYtdM2kOHjFkG0jloW7hMqF
vcYNutHCpoERggey7LU25ctjshySsD/jvOrOczutLlGNP0SvKM2rDGVxlmDV+1V1pxxwnv0o82o1
RC7gOxxBbYNa1Jk2uDM8OgKsmzKSMK5Vf2u84FEDDR7+bCmm2IqMWY9tSO420YM8ZdMyO9i5PN8e
xBgZneuYNonif4+JLNy/r3Oi0l+0Xape1QOOHpgUlTr+RlRgoo3FWSH3EWdNUoPas6B6d/hUuzO+
kc2jI3tblvHeT5SKWx83Kcy6SzioUh/dxU6s7WTQNiscg61HuySLHYBm+RGac+5+63upFPJsVFPp
bCtjtq5ZDOx6D1ySV7DeLNR4eMsKbx84eJ9WcqThCkp8gMCn95OS0yTVtZ8SENGM5PILSOF8UdjN
eNKsfNgAR8+3mosXExYs/h5SSrCK/UrZa6USHOW6iJcUfUUvWhc/wwFoflDlgomp7n8dcItlZzj4
9wgjeNIUqb/xylZ7sCb0azGoxrvVfWHJjNxAuCkHQqZg9nm3n/KT3aRXEANUBP0605Whh2+QjTN5
MMz7tqvfytzpX1t7GDAN0Yk1ToVYtaIv5EZynoa4Kw7omoK5XOvBa5OFlKvx9YBfTtMZy2NTed25
dOv6ocuiR1V0Z1q8SeoBKM3UJHhH5FPyv6VG19yRT+BXAaUcDN8/RVJjMFhkmgNi+VOfOEwuYCDY
u5NoWakVbHCZXJMr0PZx1CO48CxnrecVTwY5lhaV0jRPkYndmFy23Zfay7E9yYns5NIyiiIAu2mY
7wet9d7rUUHY7wX6BSPK68JAir7xoMZqWtdesJAaN+Bw/aVoOk7bzCWJO+06yv9Wl3rmX0wszH+9
+0zoxajoqeBXHPlfCm9A00ikzUJ66pwUnqsL4RTLp/Ykd0m0q7rSXSGXzJ7cjGWJribW95y6QK/m
Jr7NHdA1bofojmUB04M8fcoxkYEwqwHN/md6gtnH9aNjBK6769zpo4Fiwqpxa3V+FWqnI1TMOI73
NRHfH2UNq77Joi911epzXCfTe4yP1E3GvmPjZUp476EaneMx731J0GF7LMrFRW1nRURBqdMYqZtQ
pydBbiTBE/YDAHzJzvsAr56ijuTv9AQRY79bQzR+Hpuuo8rlb1BMSuY+b5RQnGgwDGRT4z8q0P9c
fRC+cXXKCa0njdTuImqGKH+JDXdGiVm0plCs2ttyhzZTnJYN6UhcMqv9dSTVB2cuOru4IhM5Dvbc
SwwqSc3xKEpcRDmMOPtUE/Op2XWYHhZjbeobxFKwgZq2ZQHe2o+WorLotNtmr0iFdagjs11WoDUu
oEowUJ5+4Qk+xlZmfBcXJVLARVbY4B7Hnl9cVEUet6Vvaxf8iFjqxydVzf3vTdctbRV7nRnY37k5
UAyDuu+rVZvjq6PU1Rwti3GWhwhZbBSYR0xHpQ36Q3kbyZF/NCgXwL+uk3aOrz/7LgG1mCIb3BQN
Z099aLiSkrF7wvcevREy/R/44oS1zheEejzqPdrw0kWOsQyc8tdFBMLhZU8XsW0tfl80iEqBElRX
GavB9aJw+pembdP1X3KBYD/JrkmKhAKgdas7yTKlsDN4Hmvvq2LYyqEDx7sbAVCz2CXKWLmsZau+
9zb6FIMsNDmbGcXgXGOQ4KVmU2HSJY+NRSdTvylJivmatz+rqc69bmqgvcRTNrYRWlN3oYXZvadH
r4mVuODR0OpWlfoCxtC9E13iIJpOEq8IvIeHT/16parzJsE7Kx3OUaOBhtbH8kAGBDHxdHY7iL7I
a/F4Sw88oeyWfZv8mEZTwXHsGgdlkqBaJvW0qp2aB7U11YsYHRrZOJTOo1f21VZNIu0lGp0VSTrz
Ue4t/6H0u8d4EoFleuVslCQyF9KoakvY5cEqy8t00xF/X4i7VrGHdOMMdnNtitHEzLeuMqyNvP5p
TFuznkL9FWEcky6aUqgcccCwzm72XRsA9FYOTGuxwPWVVWDJxfG65lVtsx4nw4oW77ua5UwE3a2T
Q+hplU91NUs1dpneAlyBf8hDP3k0xvBj/8iur4dH/TjNN5rEecNLPh6o8E/wYLtEjb/UxU8UJPmW
pT+ODlorb8zR4A+AdfosqWv7WEdYWEm1txT7zCFtcH8gPjzHB715HHo/X+e2Fq5EotCNEkjqke4c
In5lL2l4n8vK8Ez12dO1CIZaL20xapK8Ym1s7RK3kY427i0LN6yLV6OO7r0ian60Yb4zk9R466I+
pFDcCU6FGwD9lqpqHXiOfo7TWJ3Z1Kp8r1Wc4KufqSsbb2l2JhicISL850SSPvd8HEqpXoBi/WFO
CnH+TUbcJ1IO1L5MOSKLcOv0dUorUkZg5r2VGMWHkdLL4d22ZunAXt3lzzlHSlDfxXiKHhoDJ77Y
qqy3JimXVVwr32BZ4/KlRONDzCKJQkDTXsVB51ySun0SM8okYMMaxJc6j4t1Y6fBVomb4txMwTcx
wwI8kRvtcMToGvXMxBspp0MnI6aR/URZ2Io/sK83QzoxYZrHjRVekj6409S4uBcvn4wWF+T34ms8
jd1ateZ9aP2+znX5Iv7vrI9zRTx/yKPbujmV25D5UUjU/ZuFpBnS/9F2ZsttI1kafiJEYF9uCe4U
JVKSLds3CG+Ffd/x9PMhqRLU6q6a6piYGwQy82SCpkUgcc6/1JIvD+Pz5BwrSenbQ5iCSXIcvVt3
eYRa/AgxQpz5rccLkA7HaR3VngSWrPO2bYbsD+SU2cAFAWV8KW2q5/JzbOEshpsqvFm9ibaml5EV
nqHFAmQczRo3uJ2tshLCWoio0cnkzvrZ0p3PmR2rD6Il+8NKy6LnOCRro5iZd+S+Xa39zDK+wrj+
ZQGUw92rlu7jCdX6FIbZ/ehIJTmI4Ro0XQ35r/1loFT7tSKzBnahG18irQ3dsEou8ej393kECz20
7fy+cixvHyl9fah4O015h9yMbdk9Dao83SVh+02Z1O5pLHEDiprO35oOVYWCZ90vx0Svmu9uHyuR
tC+95gcWztpjquMBhsWntu4Vp/qu8GvP1MJ60Ufd20EHznZmWbRXbJvOCVDer9iJr0VdSW7QJRr7
PLhYUXntpSA6DENonrwMLoo48PgEoYhdL/tMeEIzr6r7o1d53lKhCUvnS5B7CG1qcnWyrbEhqW7y
KG3DcaMZQ7mtZhPtiruT2+NPvbV7EAUrWNuoNrWx9WjjX6cBg/uuAJhZ5UWerTyrKHjhGbe5bL8E
Rtb9sO0wX5V9VW+iqY12ZiUrLneA/sUxEfGu9KD76UOHr/wS+4dWe+4y3fnD6KQrL8X7huo8prUw
FsZYdZtGaVZ9GtjooDfOKR/qYW/a0tGb8myjjLDYkxp7JtDVL1PWDtsOXNw291rewLPmQS3A79WA
Dn+0cX+xKbb+puREzsZyXB9L6C1yQc0xARYj2H4E/EkLzMYJC8sxuRv8ILqKQ1nKykmKgfDNXbEk
VW6Y2samMHLl3Fsj/IO++DLYxaU0s+IZVO6zgoPOAyJK8qdcUj7nvmLdq1FRn0ejukAEANKfRhGv
cL8jGQ9mOfQfHXjdBx9rYB0iNh6xEgloZ4Ogf4oHOVnjopWrrWhKo/lgF7wemmrX37dmM6x8Kcu+
6lIUriu5DU6q056Badrgn1EREzSawOGsRLMpLgJ/l479a78YjElikq6ZQ0QbtbFv2O5ma1TEP1EZ
yR7KJPrE7qS+H4eIX9LUK8e+rzvM42d7VjlJdyRJfvHc7a+p3WnnYbD2RqIHoYugFgk9HQj6PCiP
s0/lYFnHYop/UGMkokch4eCE6JLd2iGKuLhAYxTm4YuwKcgsf2Yb026A3vNYm5uYAjqu7CjtIUOf
eYsU/+j2TY1zbWtq2el2auktr0nsuGy3n3tjnweUrWIP3d8XfeAcs3q8lGNkPNhps+PtE9dL7Vfe
K+zwouZHrxvdZWpSrLFyu9pW4depAugb8eoytlH9R68/9bbVf6rjwLkrvQnucJlAq8ARCYMQbulI
+Hl7ucc8ruDnfEmlFkum+czSlUvKTf8kusRgl9fpru813xVNwE3pvaRUP2JKwnltGc9VLHeHvjYr
VzSt0J/IvMXfIykzn9EW7h/TNsfDnFaRw9gM/a7dDPIg3U3zATTZ61kSa9hfBOb3pWsJW2IdGMWU
Nrj620zLrE+geLFAKOzjUNbRwW49B0ooDnyhrvjnPgzrXYBJxj2lRBwBC618mPCu2Dgp0h59718c
nsz7PM3TE3rEzTHg579vw9y+01BK3aqjPD0MZZNvPHAfSGbGSE/rvfxcJNeqMkAd2FN6Rdc62nd6
VR3wr2wexrANyXsl1VfVy85yyS89xpOlVbL6W1S1mgtSL71olF33AKnkfVe0Mc5tKnQ7sqgHBX8P
pOCk+ZHR4x1jacp3kxcLVa7M33aRPinsIdyapOKl16QN4iLFHzqksoB74Ve/4xP2QZxfjCxs99XY
3Nv8lHYxjiS7wQArI1s2uQUzUF9ko/6hmim+MeYZlCYCC/yYLya1569WoOEu2yn1I3Iv7bZMmvzO
HqqTE1ET9HypvsAwat2sphJQYoYd5FXyWw54zXIy9iSmrWPqmWb5aZo046yCI1kHTq980fvxTA7E
plDpKNyyt7Vslt/DwJg2vS2XR9KU1mNW97/hVnCjpGrPG3FtXtO6jU5aiCOfnXbjferMry+G8SNS
Ch9aBi6fStC0O9Nni4Rk0bUFpfvTASaH70U6Po6p3oMwx/CsyvCpIj1BgYSIcN4422WeXtW+zsEB
1HvZ8pODNTnmQZmi/I7/y3g3yo354Oilsw77Wa5qiJz9qIbjXVYAxx9Cx3s2dL2+WNVwjGGm9lqP
gw3lXn9oknOIAN+OCnKzEeAun+9ybfZheRDQrxZhc5AidoOoFdCvurVXLZqmz7LcZY+yl5MybYyT
UXWJq+kd9q2t4m8mW8m+QsT4TdVluJQO1I5cC36F8z3XiLHj6KTCDVXysKMjm4cu7Mbd0MXZo6/2
mGfnbf3TdPA9Clvlt0TJopRD61Mp69NGUeKv9lgVGN5pzgXvN+cCwb5fqRF/qJ4pqdKKRJCyniqr
2ARe5VxEoOOYOr7LurNa+lB2g99icGOZVxFhiTGYF/u29m2xxFR2PqiGrp9eRskPNnZeZGfJJwEI
P5D9c6cld07kfLNizTmHGu/XQf00aVgmq5OKYC3OKmnlHS3HVs4FBBV3Ql8b6Ami+E5Sq4esS8aH
Yj6E+2xMsy0vx+G+4E1hrZut+oLc6XetGoY/qM9NIJXZqPC2XUnYDteNk296ct/cLhN/OkoJN2pd
Mq4D95G9PErROilN5ZMZ+dbei6UMkcaM36uSfAEzk6wnu2bDJRfY/nmgR1LNsLaRqQ3oAcX51pZH
6y4v27ZDSal9MnIr3Yu+5aDU9p8hta2SV7OAf7EbQZGwrl/suq9XmaWHnztE3dddamiX2Al4RQUL
AZ57h88eFAEICeB7EILs8VNcTWFz7iuNV0AyVE8pdaYVpOzhIPqUVDNX3YSpJgwubPpC6ze1KFwQ
3Mbz7UdfY5ccqvJ3WZLGI8jT6ahjqpquPLSTw3FOTWBIzUYw/iLVYfK1lwMA68CBZuCyTQI8OIJK
7xBA00w3HuxqY4KhN4KQgqSfhndyMWSHcMr4PRTYYJYWHnJa4HiPo9U/+qZ/hhvtB4gDSSRY4nbn
KVV+JZ8GJRkzb3hsDbRxk10TlNrqk5mP0RlDLjZ5SVN9iovcvndi/Zm/H/N5wtF2pn7/yRC3ZrWY
hQpW8ha3LjsKwIIgLgaisvbum+KnaJhBIG9yq4/XllVNlxhprJWmNAPMBG263PpQ+9ipiQ32Yg4R
A7wtoJEioQFDT9FHsSsbGRvgWUBtcKzyrm2T17MEv58NspEGMl993VCHJeZ2yp2Iv6tE7rZI5qOL
aCA5KclQu1PF8c7iwJ+Bc2hhWmloi5yNyuQBkEbXppRifv7cFtnBWldlGhBH4Zs5GJVhXUVfY+dH
Na6nfR7Z+InqMLvaxKQKP6AGJ2doqpTjPVUn7SKPo+FqXuBfAz71brRG7Ct5tSxVf4KNNs4phAcQ
rOvOkHUe0yA3nUKFixPpXztIfeeg+zVqOYXWdiy2jk3itghj61h7NXux+UyJkc+5dYq2ODTWPVXe
cdu1YbMhbUqJooAJ2UvJVy8O4m+YCcyKKFLzmfu94jaR5z+BRQk3elR5DxhCnYcw/s7LFQX4tgK8
3xo8WuamOPSOCqrWcMgOwGtjCNdU85j1a6lP1ItWP4Z6DbFRNpFe8fiCkURAOVl2quTgmbjCZZOC
o2uBMxPZBiNZh5OkXcWhDKAEsttqt4ovv/ZVDfbG1aCWhyGp9Ftcryj3FPTMuzg3nG0RzThxS9GP
TUimBSOd/FkJzPqxr/uVjAjus251GyeWpeu8UffaWnnRQKziNx56t6ZRpKkbjX20TdUiqtDaxQGj
QP5/hwRTQi02/2l7UY5zQN8f+a2FvDHrw9VAScMdnWTaGY5nn+JK+hxEefzYw5DU26p+9sexwq7R
hvTUKPeFL1XPjtYbbodGNXdYmriweDulIzXjNd69kQOqgrrl3WeR+UuZpujFT3E/xfiSipDjxy8m
bJmN3tfhXozCiEC7M9AL0CuMYjOBym0sPcm2Lj/y/ADGQvdgdfAWg9xcmbxonixpAjDYGdre0Go8
lT3ZhDEV1wg2gR6DB25+Skkl4F9hy2vy+oyOsrIrch7vUmwZpFgC9DuBiWK8xFzV6fxdoRTt5ja3
BXTG05483xzMDq/e5hPIeDEad+T+9HEqb01gWjywxkHeiuCsT6hvDjpyhvN1ZT/ONlVLYuw2dxi8
tUVBeyeCta5R11Vge7fRxKxb9C3Scn+bG/YU3jpKQuKfEE+B5FJhjXeY8ewNy+keOqTvt2k4FXd2
fAJ9Ej5Ltdspcv8sKVb3nFbDZ1hUzjnXs2FfdpA38TPrH9oGCbqwc+AOSaF562uU7+WEntqtq0Os
4F6n2OzJBTq3EW/MAM2Do93b/YNYI6vCBM2TLNzZ2eCmVtazxQutNZDq5OT7EL9hvf3MSE59L4oA
O4hcMx5Sz4j24WAfm2ZKL60Rf2rl2H+Bj6wesbBA8doZ/JcqbpotufZxK0YBD9RYGifOUYzmevWU
1nl38UNb+9x+r8vU36tBLq+LHgPcKDWrdQ1vdVdHFDnxtEAGCevdzthEhvXnaTKf6kpaqu67gHen
eqoU23gkfeAbjx4kzM8m/7wnRwfGOzj+Z42/tquX4O4wtySj1x8if3wUrQjj6Psy63+KVsU/Gvp2
WFJuLYPPU4V2kD1QoxOrRs2kbT2QKevIlLSH0ZNfD1jEWlLvPyzdbPiLY+L5n0TQ0p/orbIJRirF
HwZyP5JXpQdbYAkWIeQjeNdBx6x/u5zX8cJoVIryCT78Nuyb8as9md56agA1j0omn2WVdBfY6bWN
1gv89ypww9nsRBzwVXo9SzTD5ued8Qy3cEYRo8rbWZKnzmboIJR8GBDBYrRvJf/dKGQfnxJ2X5OV
IPd6W7Wu7VVSTwD3MI43SbCMU3ZELuz1ELFVOCbzQZwtA0vcMvAh7h+ELMtPZgOyTay/zBPNJWa5
0j8I+bDUMvcvP+VfXm35BEvIh+VrfwbmfRj+cKVlmeXDfFhmCfnvvo+/XObvrySmiU+pdGO5bYPw
cfkniP6l+ZeX+MuQZeDDF/HfL7X8Mz4stXxh/9XVPnyC/2ru338vf7nU339S5B0qdoda7qICwtYu
nH+G4vA37XdDlKKYlSX266xbu9Xj/LbKrX2b8G7af7yC6BRLvZ/1159oueoSI1N3njbLyPuV/q/X
52WGV+9ej9idL1e8rXq7znLd973/1+vervj+XyKu3sCBMMq+2y5XXT7Vh76l+fGD/uUUMfDuoy9L
iJFk/i//0CcG/kHfPwj575cCU9+uRxx+Vno01vftEFibCkS8K5pBN0sG6FkNcodRMFqGK5e2t5bs
Old3SY2pX1057CjnYRE4jD6YOMArd5DUq6Oa49mEZy3DfrfR9cQ5g/mFQSe6uslJTqXDLrBQC3Wn
jpq11ikqufD+XMoMQC9nu7abmZvwdROWbnD2kPQUp8YwxZK7GL2p1uvEpWuxgvNwnEfluE6+e2Et
HXQkn90sTeMdNSnyUXKaP4LK3Otl1twjtpQ9SmRf7gynuYgxEVXyy906ZjWsoYVnjyJMjbESC0i2
HEWI6slskTK2pqwqApIiB8OlR8pqWegfXl21u4tlqB5J1P9wZWdEeUn1fviZRgYus/vzBBJrXJlo
f5xF21KtwB0S53V4GdDfQkxdIiQfCMn712lirjiIOOdtFaOMg22uQ95VChgtWhVRBRCn4kCWEJHS
pf0uKLbtM+jLcfduDsjTP8Pf9SKumNjuoMk9Mn1o+OPyZt53Smjdi7ME74quy9rzh342ROGa/Sl/
Qx8mDE1w18U+ag1/riEixKHg9RYVKLPbLX3iLEisbg8N8veHfrFIUdunqpjMoxgUXVbSb1N57A8l
eHswk9QJMXIy+IosNzMr59YvBkW/OFsOwOvMk2hOQgBPnNoUU7wqep0rptV66K1DrWrwPEuHLRCA
zg2jSXVW6OvVl1WpkCTB1EjirxYINWk7c9hGTt5cel9uLpVSWEers59F19KP/NazkTY27xqEikMK
HHlr6n7njvNM0Xe7hlhp6RTXsS1/vF1HDMjF9CXNq3onaLriDB2o6ytf9wN1FxE+p1jdxm7ngrMr
2LvIwoJ2aNYOupwBNdyj3Ghagq55mdZHqZRMzj1Jrv7lvFG0SnZFuNdU3XBqFNVc+XWXrutIe+VO
x1Lr2GQ3YEcvB62oEeskmy+63oV8ZF6LcT+yoWO/C9UkrxfTBREb+YJViM4/xmnkrHUNonSd2OYp
mEEROETK39IcdaDZSWOJCExFQTS4T1318AH0E6eAz7ei05otQ+G/GiRA1vkbNghNo1Nm+lSO5gwg
v5THkCoqwpXI4okDguwpvnJNdxPNK4Se9BzXUA27xQG16DeontRIxxX1dVYo2IZNFa0DpN6xvrDi
DDhIGq17z6muRT9WV9GnzH0tpO7ArcnRbkVbDH9YZ5Cjh7r1/ENn1v1dJxvdndNTIV6JNg7c2slW
7/M2H7L1bYDkE3iAwWp/BJjbULhXO/SX/WK9rNBm0etaH/qCeT1Pvf/QbcqhtJPU4dq+uYS+e668
uohW3uSSQ1DePWFujx1KgKdbjGi/m3l7yPReKLs+oCcXhh/6uBIV0zQJX3p4YbtsNpsTh+TtbBSm
cktbDHd9fJvxoV80eYPudiD/v9R9a08rEp+wphxIzKkeSuflkHn1a1P3m1ULTORODIr+29wONo7r
Y86+WaaRVffWXVEq7k3tVodwCA2qRwxQ18IQELBSbiSr/qqNbeofm8zq77Io48U0rMtDNCXlIdYS
W37sDXIH8mBnroip5sBYUBVGB2R0S9WNPOS96LIDNXfZjPbIg9SKnLqOaqJXPFjTnsec8gCZVX0Q
Zyk+oOoUtuelX8W67S5VDbSLCHVkQLUrZSiMncXHhuJH53Igrce/BNT3OpQQsb4Nh7qDVOXb1UR0
PV9yyCVKMlxt+QBBldV3Xa3frvauP0tK0DH44vWTepiSsNyRp5afnDZFqFLyzF8qdh5Bm/Y/7Cbr
3QpS/8V7iw01a/oQ21tfKi6TlOgp+wolgLZGHC1xatJJmb/X0Gvqb8OlGZKRBOnw2pdDrMqHEoed
ecZtslinD+akXhnYq3oeqdAxU9ZiRXMI9iLk45R5bai1IarvzBCjuVGuE9WyBvMBzHq2sWuEhvmv
M3+ZATwRJS6/B2aErodRJw9lFeP9i5nh1oDn8ixihVzLv8bK3WRQpgH6IKmVtLIUHkmCM1DjegAZ
JqY5w4hlDV01MSrYBmLUsgE6iFExN2+pQ8qOpjuV67GOq1MnX1WznxT5ejLwJfippSlGSyRIbqNp
jqtMpQNoqhVUfp12pXsJRB2KqQ/ibBlY+oJ5FASHsjMj2AoiThx61JhvA3A3fk1U+Ka+p4i6TBCX
+LCSuMSI2gmK0CwsgpdrJ/OHAn1Vn0tgTZqlFxtzBI4XmkP0FR4UdjDyV58vgGJhiNRw3ypfS0MB
ZFWMT2Pew8+T4oRKuK98tTLZovgpe2c/mWQMEPmDnaeLVbMmqw4D+d5/tqo3qGhjSBL+PmweD0Zv
GzvF62Bmg89aoR/W3YVq6L8ExXTwS7L9jR1Nz3mZu8MsjAZ/Lr9XW2yj/DkK0iJ7ZxOPGTHqxGrJ
P4UlxahYElZefydGQ11+t2Q2ZhSKWcNu8l+UFBIqDE4Ogt5qH2UExw+tHZhbzK7Mz9IU3ovn8BKR
APw8FKFlbIPaQHRZR52qX1WTUe7EPnmKQu2kW5n7Ya8MqZId+CTL2smIXkdf+8RIWFfvRsaBx8/q
tlWn4LPX8vopnu0btSRBRUevj43cS/39W5OiqH8WhynD7lEZi7Mp4WfHQvm+VuzwURwcAB5FDBZP
tNC2UM+l3py0TscAJh3TYZe2fcdNlgkTv/9HK00ad/bf2uVI0WES08jHommtswgZVa+/N+1pt0xQ
zSnecweFVS8mQGU23Ab59FvM7bpT/FDkeXBbREPe8SEYKXyKT2EBw8e23TNWIlYcQE0na7BN/Vaf
l58ku3AHXBGepGQtR2i75m3dP41+pbphj/Gt6BtA3N6BivrlzHqvoqvMdaSCUvlszV096PRtXJns
IudmwUvfo2Z8EWMiXI/gkToplJ1G9vTjmHpf0Q7pT47v96fRG0Chi1Nx4PYuSfhavAV8jCrfRkSM
aHp545cr0UbqLNyoxtTd1lxi0jwaPXeZLdY1qvH1c9yWEO0itZ7lvvJ3H0LMWuaJ6jufAqPCSaV1
9KPdSSHYwUnmVByWthgXkWLYQirrNVK0zSXyNiRCKUiMruKjMyKCxBribLkk3gSS5v7Hq4lI3lED
VAdBJspqPTxYCAyuo0GJN6LZOQF9nTY8dPZkrXo0KLYfBrw++RVQbzl87M+HY1CkyqnKqsTEToVF
BvtJHYv+3lf9BnBSam0d3iyviNpXK6+a+oNoikPc2o+y3kV3olVGkXJtjWGdYSD0kM8tR/f9K8TM
ZUqJCse5bY29N9ZT6Dptg8qAk35XoH+HLhovEz8RFbE/MX2+8KAH/bYOU3BKZeUC7+mvlSUHTxAB
wFV6T+KgRWYDgsjwjsncZ9cAVadJwtxlblKtbx8yXz2WuvM6Qe2AMBgYCYouqGjpxpo6ZGPneLC3
2V2XW38s8VADgXeZuNvNAWVXjq7fBeNeNKemaAGjmaErmpKdaI9Z8TmNk9eroYpUkr40rYOWNDGo
m1wjaWPPvmVoiUb8yyJ/jcR6fhZ9YW4AIl7a+kGDKIc4PwHePElEiaY4aKEZgaPJ/fWHgaWJd4u+
DQwTjOBnTbHxyRk1H6sUm2LTgI69AfBx3fT1tKUKj3S9HQZXObRX0Vik/zYq5upY8ojYRLP9JzEf
cv/H+SIiQJz2FrFc4e36YnBZA1AwWr6A0B2k/rdGgIZXXGGhtzIh75xtqdnAzPAREjD6n1UT+cdo
xlivRHRrhpY7BtpwEYcG1dRz4dXI2jfjJTMheaSRl+7EZ0JiGksGo7q7tWzKaLVkDKtYfB1vo+LT
pf9hNCEl9m5uO8/t568uk2NjT63ah+GUQL2Ji+oIXBBtKQCwj0PgJuFc8J97cjlyjuaQ/SGGbkGV
126S0g43yxy/z5PV2Pmv64gBxIz/H9dZrj3875+n7SbZ1QwUysrE0O7yWt11kWocGk9jv5V0nXY3
lizD1ivR7hJTi44DFGBsIbU70dWL0VuMCC8h5WyUxoFLMk8RkWJt0ZQG3CPWpY/gUxOX40Z0iuHb
FUX4AAlpA/mqWoV2GL/epYsRnM+q0LVxjyfGBve7UHdJaujHsEwNoNvc8xufRx4WE7QdcX8X4+Ry
RntTlE2zf93XeEN4IMsn3fMD8R/sNrG3Q95oaB3/2SfPA/jfwcyp1Ft/hvIOZslzCA7mXzrVKA5i
vugSExT+fNb8pSCLMs8XA32X2nemOkrbKB3gc/TFHViJ8m5SjOLuPzXFgAgZUbU2qwlq7f8eK1ZK
Qv+7ZaKIVplPhaRJrjjTAa3czrK5r0gkzP/eRv8+Dj9YCVQwyUw72XzQxhJNFRivlIUAZud9nOgS
hyro/Hc23AnQgsTTkG1L/bNi+ZDPqC/regrGedA1AMzRkzZ3e2kbH0fepV3RNEqo92gkSQCYp/xF
VUjCkwVCcHQOZkd/W2NiT3OJrODJh6z0wiHmZ6uzj8Hhwkzxe9vlhfVYeyZukksTcsih8xE02Um1
cxv1ESu7RqZu3CERPlwmZFKMUWtPiKCNF0/nUIcSKthlqK6truDmNURmfDfZrxPELHGwteQ2VbTE
/MGIo40FlGZd2GVCrrMdd7kSatcCotWmLciT6YaBpd7c50l64xa5Wd9CxMDIAiuU2bJjoY6/W99Q
jqSGtSuipkc5CuSz0jZ26OYvI1yxazMPjW0jnRVz2Dea5YQYaafjMZbUP26ROmQt0Ol67oprLh8m
8dH6joDFFGDYT6I/aZzGLbH42N2WWj6MGBYfMLKS2wdZlstfFCe2Dlmk+ggm8GKnzW+Wdih1e6D+
8LYkXulXS6cyTuBuxfuiCAfzTSSi9beYZYllYOlblsHtJ1pN/E7xuh8+k0J7gVApPTf5aOzyVi/2
TVolz9KEZhnAx5//GjCEGF5UPmkZIQU0yvBkNIS8hBigHJja2izT9019bopgMSqCl6YY/TA3N4Gn
N2Cs3b41tHMagwcaPPsL+FbFO/oKcumQeFD5qgppJE0T6Wdyu9pZRNdDs44rrT/lzR9JbujHAImn
E0xS/qtKCZ9KmKF5hYgYvfiYDydSQmJ0nEPEmThUNSSp28jHthk22tHsfmJpZsKLnuPEcqJNEqmF
Cl0eo9FHrt2PuxQaNAdtUgJpP5Qk7CeeI25nlJn9R5Lo6Qk0cEHqM0zTUw0iyo0tT3HFpNpOnE3Y
tiF7q8yS9DNezbDW+xEG4OyQPjdRjRofnMDDxRhTrNuoIXfVdcIa4AwB74W3zvxLm0bTSslD76Vt
gSMpXT6+eGVorJymzl48C9vBPPcdXBRqaSUZcHZbDUYTZQPnqOBOe+Np61Hk3ZqKkHpAhuZdcxkV
vLp/OjdJ/NC1el7Jm5n9qbXAY7QqVNgrONbZnNVOKJ+BYh+pGZ56v9yIvgHI5bS+Dc9T0i5XNtW8
gg6ha+MoarWxK6nYI59ib2Jou1/VOPpcQzG4yl2pPvRpmaxEf5Z2+jqVgZE7M6gX+jNbM+WLN5XN
kS+gxqkkjb/CbqtXte9492ABp8dCaq6i31fTcpt4ukFijIuEdbNtdeBEDTqbL+E3LYiGX/3kY1fA
be3aFc20x/2k3Mt66j/yOgiG3szMX+E3tUH/REQibzZezQhZmNedNXqTMJ/wdFwjYZHAgXqznxed
UA2SzThayRk0nvWQlZLkSr7B0+ztzM9IlYq+8O1sGb2dRUN+bjPEsULfvAbsXg/8LWr34gCJXb83
Ig/XRpwDVx8GRHOMvGtRpPZBxC4R6LyTCTPAnHaJ/4i4X/akVEm08WRg/3kNcSySisI1Oiv52QyR
O+nj8M3HXWwzVfH7iHoukfxthNCJSqLQTcNg/Kb7EoSPDKnNHeo2Kb8iSQ4ePOGzHDjW2pDRBLuZ
KAfi5cRaPJd9+A1SaJwcNEPbtTMPiFEnsfnRJNV5lIoKUsj8TvNu2rw2NeDhVFfnZrbaVTsSvlrp
FI8jwMRDb0vqdpgK6TMZrFuEBulnlY4ID5kRlKiM+rAya6vjAv6d0rNyQlm3eURHcbxH+3yvZXxs
V87HfGuMar8WseKgycl3JOyUk2iVbTjBqez26LnXF14u3W6qKEt6mLkJo9ymJg+Xa2RHproZP1lq
thYUaORReR3GTmUtWM62aikr2zTlMwRFNwmUTnoKvXHcoLqfmzBlkMUVh8CU5aNkzAew5il3EU7B
1uoqlIL2R8q9kUrBPCLCZ077X51mPiaQFXRYeK/lOFzD+X6N2JdBDScxeK2HuJD9nrwm2y6WnhO4
W9z9SrwCR2sv+j+6foqQLNKGUzIG+mpChWMtAsXAspQ48+N6F70t9SEsth8kR0nrcIfkihqtm9RY
N42ZXYwi4UVTj6NdpTbJulZD3jTlBOJ8K+Mzqlc/+iJ1tmonT1gR4E8tvKtFX+N0kztIQ30VA3/Z
J89zYfhBTV1ixJSkqnu3HQdlLQqPi0D0rWz5ro4Z4F609fr+k6ha3oZv2tH/fn4rb+oalnQ3zek2
b81tl7ef7HCN+OXKUIfk3I9dF2xiCaqnlf1bM55ZxllPhi7pmp1ovYU2Mxe5mg9v/WJF0RL9IuIt
XvTrs0HSW7y4pAh1vpklAkwF4pi8JXPIC8/c1F01rZY+cTbrZ57V3EHGVsQYNrqE8PVf5zV2DylI
RPZxiZVWH1ubvIzfxywrNgiv7ahG/cL5wDyWpXF/+z5EE9UraNF8Acu/iCrbLUx02ZlFFeBt6q0p
Rj70kfH97vlVuVLUXt7UDXc2oS5Q1NovAPXdgw+0GAyrshIaBLVfpne6jk6oiBKTLL9DfWGWMv/3
SU0dn19LJUqo4PStZ9DdinjEQ8rHKjIuzOEs2j72ONtupJQo+qQ55n0grOsNdyvrNlsMkxNWqCyS
fwN7rSE8FP3WqbwdpGzULuIwNZ21tvra3yx9FfQ6Soiyv0ozWee1GKv2fjYOEwey1eitVuS8s8FD
wXH2GQ/MWMOM+psIeNfddsoWOdvUFX3LGuTkwD3VlnVbQwyYmeKcVZ+t5nyp9u16oICS7TTp/ccB
9hw/Kb12h2Xx0uFnUOgtf3yOukdBCUmY2bQVUcPqqqk5PGtLf6gzDF4xh6yuc4DoEgHiEFnvu0To
PBGwsnGb+K9rLcv/61pj3nxxwkg52mqwskyjfhSHSMlxvFe89tXXpskRRVInRz+0ctI8dl3qXLo0
mHNUeMn0Pv6qnkz0rU3iilp8prxGW9BxLjmvMh+jl+uJGfK8vugb9cG5DKwvWm2hvIRp8DLEoXUd
erZ7ZawFB9EU1B1nsk6w0Oqz4PCkkeNfI+UkGiIoQJkeLqP+HM68H9FPtLeLO1BTlQEZzG2xzlsr
Nb8cMUPEwEB+vdSy1HwpiyQuttt8GKXJg6tXwfOb15BhXt31XCZ15sqW7GVbXw4AWYDTvwRpd19N
yXgSXeJQoOq0wxRbRcyRMDKPaMlHxMkG4IFYsspjOeiRhZMwttv7/2Hty5rjxpVmfxEjSHB/7VW9
S2ottl4Y9oyH4L6AJAj++psoymrZ43NO3IjvhUFUFdCy3CKBqqxMOkpk9IqjW7qAwzFadZZlLeiY
QjY6ltDdzXab8ZuNFnBQ9VuYQdWvORpAARmy5cwNNpOGoVnU37VmDiUGTSeGdtd3wrBKtWvXZaDI
HCAuuDHQP7lpdYF0yupigzaDbNPoaurNq2L212gBQYOSXrJEn5K//g0mT0Py1ig5zt4bTJ7g9KjS
8nnub455Ke3NJnyToW2I7Ba6iKBp9DLVYOqKLDD6B4PlvkQ9e4MgU3khZ9+xBUjy2FNTtOGjYnxL
Zl5AiM+W6MMdWeK9jJUpdqVZZyvyurEw1nGYoo6mPyCC9vH8AfOSo//bB6CY+OkDkkAEG1CZAvWK
Npfu6PJsiSHSLjQsXAD6lMWWeTbsQeAZHPtIJSvhJsn3Bo0cEwP/KYTgnI1klQdSiyp7Ho32gQIA
oPRBdhHbl9tMyAPy742FQ3AYOV/yqXA3EHfB18oFa30+FuCH0ZiVQYNdbheylRBeAb1tub3Zw6SV
mwZASeS5IA7221QaGgSm1HPRpwu9qI+F1WOa4Mvk9nFbL3qtT0EXr+qRqKLbNgUEq9OXm5tsaor5
apJIBJHj9yXmdeoWhWJkoVc2a73j7SL7QeyHGtClD3sMNNLRHkG0t/p5i5bDYRKfYqouGbdZF34f
4rE6gyuZnVpjQwNQQ0Pm2cN2fLY3xZbsZKG7Ts+RmWAn7G1u5hiCkuC0Q5H1l0U/rXez/7JoDEGs
oRRJ4C8ZOqf0mYIOIG4UeNtxzN7IdLv8dv5Ao/AXiH4BT6tnAl/GNkk6Ilush7dYX6/W8ORtPgGR
dz7PDI1cAdAUHFK7aJDSKduryNHAZxoTmlGKxgePcOM/KQ+d6SCs+QcSdsGzhecncnhWdJzStj0w
G0BI6BfZV/zO5YIbnfm30V1I50vPcRv2PieyjOgo4gTS3Fml1pZUS1VUOBUjo/3W4fm8GEDicmnF
ADoPM8bpixfTm/DB/QC+SLXMBbgcfamqFSoq6QXQ43HnBcrYMl9UD4EVNjj5oA/LDkG3rMnDVCLv
x0GwL79NsrrWANuqUz10LXgPAsX8nSNDVUB1AhtI9Ae1/iZzS/sla8dzroL8r8zO0EmJ3dsj+DVb
9Jgighum/dLK4Uz5sz9FfKzxHyPQxBYsS3QBr4I+ewYvRXFPQId+baK69eIq0aIBjD8RoKLiprcf
wbE1wxyK2gbUE2oYG3sEe1UPvt1tbZfDsqocqG1rJERaJvOiNL9b0aIKaElalDAUaOz050V7S/Xr
FKIlgBZjm2L68j42m/IIbQOcQCBONg9JpJ54Yy2YkDsBw4re7pBdm9rULI+0xMc6ZIKg59JPDQu/
ZtD3ewA9ovEKJB/xcfJYdhFaSK/nvPyr50BMdWH4piYzWuU4aM0RbmcOCw6QTgik3cYTKRqoPvKp
oAMQl6rOLTggI6cof3ozuuDBhsylgaMLzUbRplkwcD7oF3LsrapxQnpNFcWlqMElSrrmfZOOAFT9
29F6Bs4S2hEjozbPyIYQ32LtiNPaOTIbPMSnEamqohKmuL7nd6TtF5sRBWrSu1tFgzK/ddkrlEKL
v5DpM5dJqKazBXzTEQ3soAh7DyiHZN3mBvB8RhpsVddvXLPzD56KXH+FdEm2KUGkCJQRNObJnRjM
PyT494B+CHqVOVrvdjlDEzv9ywCzXttA/7/2I5g+bnZw46ydPOOvf4j3tJ0lYQVkowAXWQV6jzxr
8Veqc5I0NoO4XaBs7ELQDrmLsLbGheMVHSRjG/tVoPLSdkhCIjlw5m1fL4hlEzwroLQywHdIQ8dz
/vukxnIAzivVCUmqCvS3+mKApxLwQuhndNNPm3akkCmDIowE7Mn01grsxrUVNMdUKPXA9aUc3bWo
K7C76xFdAPh3EoFNp7aERW9eetSKaQRKR/BxANkHSeT4cDOlY1sc5GB+JRNdvD6sdoHJunmmSFq+
K1v3ByR6+gO4PyFj1I/ZAHHQql+CCN1FjUnWyLdrI3koku7mcBo7cfGjzE0TeJlsPOLIZK2baZAL
wlpaEt032JfDQ2OKoTu6gCUNvAXZ8WYGfS8AnHXfv09oBSS2m8m8ZMyHlJHRhT6eyQbDb65vo7Vq
4mCVZrZ6EgNHHtUNH5gJLBcfa7CHepZxIOckTRMNlRBaJ28A+qc7iFZHS/IGeNWcPOV/Q2exenLB
BX2FHEDVtm2/rFrj0khwi1Fk5aI7u1GluaN1WIs/HeFKtSYvE73cW+h3BRsmfiLgONL7lNV7WpYi
gIQEYZ/RPNIoKUFEiSNnc6TVkLPqQWLfKNBoedAbdaCH51oDjmETZ88RmllR8EhAEwUl0juJL/LO
Bo3uCV3ZeDS3cf3UgBxjYUoos1X4pUVI+MSQCxIrM07Huz4uAbjQOVUcp61lkvAGrHgYFqzi9gJo
huyElxL4WmoHzTaG46/SLrWWeVT8Esh9iABETbExywYqwLoEZ+gSXKRLczlyQOEwdmcykdMTILAx
Q0duKIIcXg8iJ5pPttsiltsDo1v0Z7KbwpCQpIFmFvr1rWPbN+VdzaOHaDIcUH8RpVVcMBBZWeBI
naL0rwLvcpCraA8XIW6hBZNtPGgHL8gI7maE0+0cCurKct33KEtBnnoVhq+86tTllgJQhoO2gCgx
7ihxQI5EOCOEsEW7wgPWvidHzgRq3pX1CoKMfO9XVYkHX8i2TtGH57qDrkHhJhBUiKZpabZ++trJ
oFr4UxF9a4LmLCUS8otxeqtx4MNvterQQTI0PzKneHFlVr71Bv5r0b+snnEeKFa8zMVDP1RICDiu
dQr4ON2p2O/3jRlKqPKyf31yNTqfP9nVn2zw+lyrCnmWKn9D0f7zJw999pLWhblMS2e4TEm5AYkZ
2Lgnx9g6lTK+2RLf87DPGMiw22ANiv/wiJ7/YY86urW1ZWreZyA0W/qiqb+4on/VoG3M/wfURqh0
Ttk3wzLM13jwsxXDH/19nEfGFv3b6T7JUnEau3Rau+FUPfk8AmE0d6zvENJ4/zEs/BhGFMffextJ
wN9+DDWF//oxEieofvkxWmxsTjb2yct+xN9zIyFfgSJE8QQq2OrB7vBY0SMnNHEBlq/0VXkmE3Zb
YhUKu9/SkKbzCVglGnb2OE9HX7cvlnoqGgPQYw5SZH9yktVgcxcC8VbxgKMWgAmde4WegHsdYp2E
gQjSgWxtHGvUr+a6AsnxFQij4sGL3qdDEgz1xMRFNsHpzWPfOe8Xoe8ywN89YwC6VI+8ZJiQW8lt
JE61B+Q8UO2xzJ0JlsoV6To4FrILKIFMR7DBQlPP/IvMUBeFVIyOIp0aiionpY51Yz5g3xItk7oG
H6aSTnscNIMKXVg3DNgfgww6Af3j7uaANAKizY9oNbbrqovuINfZL23kz3ZUvMszcF+BYSIAGSpw
1uQF53W4o8JfwSbI8Qagl/WiaD0DBybJ+SKKZLCtEqu1V6T3bmkjNBWCLQm7k1g83ZGXgcVt0Wlv
0wE708sOqusgCbtM3H5ixFKrR8ozn4jClnx6dPPpSPMj8td5EBieI2u7tdFIBlhYJF21zjpwKNEW
cN4NknFMauiE6M0ilcrpMkc7nY0uX5Tmb5dQGWqtaux+JffuUsewAVJI1BuAXas6D7NXlbQ1Wv1g
J27aLAnBZNHksz1QmmEsiNSbtt/iLeb8wPZN4hmG3MuoGdvp0mUM3SKyT5Bug+3mjXVc4XcTwA50
Wizzgp9jCy+urpPotFD++CUMo3g12gXbU3XHr+6nSYnX36Kkn+ra4j7HCf7BwH9ab3soXASJ76yC
kqPAqYVZpS3Gh0bhv5TKGgPDmY3Ka6Nt+A+5Y9pXsOysDbxvoJni9kcjx3mNlGpYbmE7xziaiAqv
eoXsSwloOhcH8na5u1egrXiMY+7QGmQeIC165AXWoCVt5MGAR8qKRcGrDApWPb/WqmlAvwOgUmMn
/FqBuB9kLcFyGsE+u2zsAZqGUeRvGsd792Y4VtNUMv1pvo4gp48Gu7ULTRr0DrR+V+t/ipgJzP3K
aY74p4iZs9x0eXsk76Qr4+RFdRzBHPzmNy/9NdGQ++zz3D8F098anmrZUR7KxB+XpRcaT0as/nWn
RvZukx93v8UZKbTcR9GOW1Fm9oGPAUh39JcWOIhHVY/q6g6dfah7lUPVEF/OFnTfNk4vn+z0ZY5+
xssUXKDTUEnPXNeejwQRSEwOk+DsoFjnrSAJby/IdnP8aYhcAmsWNO/mtsvJW3UcCtm/OSy9fo43
7qoLbEh8GRa/0KWo8if0r/pAPP400R143cIlOOXzdUV6mWSsUwHaFC8ABdqv0QkH2D33vt/MtoqT
2ycUfvX+Cb4L7JZmjQuXLOb5mmbcgj2juMay2BkGWDbRvZQummJMNx1UPqElF7BdN5nN2dSVXoMX
4cHsATHQlV68acWjQM4JMgsNdFt1BDkK4ews9JDNk9Be3K8ExM2UNUVnyJF2CyMP669djXKkywp+
KKKhfoUe2WxvFVSKIEjkrJusbb7W2KtaVlU92mUEtqJCAWms7YOejg6o+Da9geTqNfb6F4hcVCto
72VXaSLdQndkk9qmtI3u/m/ijArphdIE1/Q4cmsZ2hPo9vUTzd1Og+q+OIyrgzKBWSZrlhfWcpR4
otTchn7Fup9Agh1ChMcAQd6mFam1JaGLybfPrlWZj1kxZveJYH+TmaKCJDC3peOoLzrKDP2tXQAP
UxnOFXvN8mC5eAigHu9eyVZxvhrR5Phgu7Z7TSHUvPKBut5SBE1wFNKdWgD2SjY9YfDA3jrnAQIW
JwDxZWuwdvNXwKXbXTS0bM116suH3e3cz/YKx6I3Hf8nu5xyqM820YKPvD9npQw2GRuqdVXy4hk0
hvYddCnDJY+64lnyFk3LfuwvjBDDdIqQlKhBj0nBlg0+n6GQZ3JmdTo9ZiAhi7F1ktDZWhVxxZ5Y
L5MH6Xfybsi8wEQazuv2NV6W+UJacbRz7K3lCjH8TQ6jAt3VoWBjt5/DIdsHvRmIUAE91YCFZarH
s5NU/Wu38kZHvpqG6CA4NeYLGsZ1rxkmDcjAai9USWuIK6CVhYbFCAWz2JVXVKbDh6D3TmTGbxcM
RTFA7nXWYskAKmgFhGDuyOtb6i1yVLfJcpzvbq9bZEdytUiQIYEWwKfXML1tby/faFzrpt5PAeTj
pMAC5wSZl/ldTRMZctAJyJCODtjdcYa05GbQVbaiH7vHZIo2Xc/jC5l6M4DeMW//Jh+ZbpNutl8n
dePUHKxe/k3x/7+Tkh5oMbA94EfrRYA8qT9ewjQG1KMW0m6+qzY+GCl2m9cy6qqnMov+sfSuq/Hb
ZBFgM3kCnaA9D71fh+S9BSNjJU63oczQcWblcbMKjV3k6M7i0Q6me4xi6jMe/jiy/bJcyNxrHgEJ
YUu34OwhYJbaQFa6PYIIbthLAbGc0A/EBflle2UAMPE8NRDSUFXTfg8avhMW8LaLCnBu8BNAKLSw
v0N5h3/xmM+WGcpt85KDoWkf/fJ9STkBsNRL931JtJQfY3x3k07IL0bFBlAz4k6hB28BnQP5pRT4
TLqT2vbHuMqeQBMbgrB0OXYF35A2WIS0ysnzQXHRgDh5TcO2byEUDkVOUgrj4SQudcH804edpMU8
JDDwMs5S7AVPQQnZ4AVunAjvnwWkOuabz67/EmMC8LMfpsTexL3dr/jkR7skDNUXH3LWvazqF2FV
6SkHQ/RihK7HFwpLkszYgSMYOpuOv6jZEN6lGYu2HM2KKzQmO+tE1vi/rvOpX9lVDt0PGqvO6UEr
4jjrEaJC0AX1prVt+ltgmf6OXBXviLceoKvuQncf9puJ7JNrzfFEcU8mVwNGRtjxVo13ZCcTOf+n
/bf18R3/9PP8uj79nCEhOj7WlszdhOhq21iG5+AL+fMygMhWsf7Slxl43xsZoHRRpt9b24+yNbDt
yP+0PUhG9IQ5xp5SCL2kPlRhUjyl/73UzfKx3Dw9BaWvNxZQCNdqCE7l6m+RqJehFeQbspF2Qg/m
07PMzYU9MPBi41VqO7G1Q2nUnHFjMsidhSuC/uSDZf45aez3F3Bav4fNMDIdFnZVfwJriPec/Qyb
uvFfq/0aRtOrKMZ/sYdvvz3hYAwFpktXu9Cktxv/IRGJ8wC0p0T/ML7olXnMOzBbUKRw7O7O8+wA
XIkMhxId304JqA55C65bilGG6y1aATQdQ41ljtGfAPZl99MnmKs5PJfRdARtxD1F07JjiOeWPReH
TDHuRx+oFScyirscOpgvZo2SRORH8YmGoPrbtkWXXA0o0l0LZa+U7nHNcpuh60lUCxpOk2XfgYzZ
nL35yAGEGcvyjry0JIfgxomGekmVg5OPlixBr5P3cXdy4wi0KEaIZAVfMsqb6ItoC8DEIQd3pFxK
H9cTNPGSeENDK+PywExoFg0NL59i1I2uTj6nUiigbUD5fJsuRGMuQ79fW50NlcI4DR/GBq1qTKuF
1nIA7YTfAWjcD2B/+HeEDLpDO+JV/1sEkFNIi+uSxx/W8HF+X42JDX147FkKtgYSBykVz3ZwnTTt
/pAaGyLSn22zH6T6INlvWrDAuqVhbd3GQVWCgdUUdbDm6NMQJZN5SAgbwtRw6c6mG6bmYxKhdSjq
w0QjCv2YyNCOcOQxWqlTVl36PDtAftC/AhrsX33GXtDG1Z5AEutDsrwJ1shvj2tydr4RnhRSVp12
kqks83Pl5wystJidJW66Rkt9u6HpgSksnETb7/NsPQlSGlvA+5N7MpnBgE0ViJ+39BOMQ9AfOPSA
F+SlNRhqcKXJhgcyydpAB5H0szv6EaCu3exd5pkAgPz8iUD6A9Uv45EsnVlA9Wn6HqXJsKMEnABB
7nZq+npO4MnE7s540T6Qk75kqMZC9D3lD/QF41mHto9fp4uirlfcY6BvLrNgl+A9AOxusOvCpnhy
WVo+Fdgn2WM2XuLGxnfcZc7SZVzckRMI6enOBlHCkiZ8TMfzqgCJq/LXgVelZ9u+EmiC4SW0AqR3
AvsO+O6zBkXlVo7Jd9DgfvN66PuAaCTcFRxqjH6eW2+YSH6aqGojWLkpQDPlyjBTtnM1BN8yGnWH
sriloRfiAXVhdxHVbb4JwFogIYP0pc8SG2ynOSoYuVaS0lIu2g5kLftk/zUeNcMTC1ve79C6PALC
mgGpoDN/v+UAaz+pl3aCgsbN8SlZ2FIm0Jdg1SwTPMOHoQKXhoweoOIVPXgWqizYHofbATK2D+AI
QM7fQ+uXDMIjRbAote7H/tukXDdd5iH3NH34j8iXXrp0NTtwq5ekWFqDlnSbFpp9+hOagSF520O9
OxrQ9KZPdngueZDxi7sdDVtmrjhYYZ8TnDywbfl3GL0qBhcK2mHR/TGs0asRkPkjTJ9j5tXITh9q
9I64fSit1g9gVB4yCeAEhMm23ZRlB+iC5YfCMpytAgrhwmUFGHtlBdc+Quq6YW71lSX8a8Jl/aNJ
oXeX+SNf2CMg0C2vfvRh81UZvPxaNGUKaZzMvyqGP+ba4PkFAhXvn9JY4+dP8ZwkXaMO1oL++K2x
zXfWGChNywMwW8QR88kMbciZVuZPNpqkKTiC2ILERhisc+TerhCJqfYuSjYQ5nGdK9li8aWTzvAo
LbwOQheyw+0ELqxbPKSvAGkUJnaprdU+zJfXoZsgWlo5964avb2tN6sesBsbK1MpytjYsaLYPgLt
+qtxFo8no60j07WzH0UQ/F1l5tEEy8ntxves2RL+vPklpkpD9ZJ0zRvtkWm3TBtlNUBsXkTmjuwy
DC7cDoB9yKevfQzZgVt6l9LA2u4wiJ07XryhzgMlX+oYShWQirBWCeqMkJxLp7MdCXNJAW74knWN
s+QlmtVbEedLMZnxZkpc52wAcTtfrJDxYyic9VBESG+Rg0Ik5JaWJf7INmQb0P+3Mt0khjBdLy6D
BF1I52bjpioFfn9NZSABKdQem0b1Bey5PiQqXWPf6yFjmyYc/dca5DUHN4B6H9fa0VYx+ctegMJ/
8o0STFj1j1rZxpu+CbL6/cYCP24mIAjiWqgullZuvTRB1614L5yLtKAtkLVJsUfBAIwO0RSuawZV
hNSKymVeg3wn1vJ0pb7rA6C9AeTB2LRQ9EtH01r/5xgKpEuagu2E6+jbYnTHi29l2YU4btlHOnIO
FZ/umTEdSYYsS5m61z46YZKvZfi26MPph++/zQMfCljuR+ethSzDAsRH/MrtKNioABgbCRrDE0vD
ZN03wnqpjP5bUY1QM0/Ag4dd3V+ge7YXo55ksJ+TAL4dT2joScGsaZgv0zjOkyCrOk9qKyS0ADcx
oiE7JI1rLPNJpkvknLJDHI0gaSdPF6Xq/ZZcU2YigeIW094eUUArdVtlZaARPLEgvA4tsOQYRmDQ
MArRPhpOWi+rWvA3VciL76LXazHIb4MIuh9omfqHB27w4uc2eJiD0blkvplB90nwPX6z9SlTNlsL
J/CvLBWvSRRvJ10/oousVAhsDUffOI1zG+XizB33FlWgPsV8uHnA1Z5GnQnF+U6F05YgQdUInfKh
RUZvRghp+BAoWf5sEx4YKEiUmoIpbvyYS6gjWo/i/uN6bos9epB1R/BvoD3F9I3VLcMyOOYTWNKB
udFJmtIBKLByPVCVaXS0vtCkCNpO65ttSsOzZbw1OHbvkyCscUo2jRG/w3g1D0dZeBclixSdu0mI
dAGIkxJ9IQeY7KKF7ZZ8+ykau+VVq/LhdAt2fU3sndXXT2EQck/Wo1u04AJ/BUFMeBJV7dqLDvmA
XWhHrzVj0VkJnFtWgN9vPBsMZHMIeq6mRZpEBp4uqlgBTwRRg9vzaWR5DTLrNT2YOrI7qnfOZd4V
K6mDyRPlqMAtTAGAYCrm4N8efrR6wWwLZItoS9dsh56mR4xZib5MujWJ+PDmIqO0UgeoPmAz9BTS
wPsUxwer4isKdBML7UF27ds75sjZNq9gq/quhUybwxdFXUBuwrKc+ySbmjs36fJdabvqMkEIEhpx
afN1hNyjb8TGj0A2d17F/LfOL8YlTSq8tLmTuQXmkbBXFxtLzpMK0zvRE8EpuzvkiLx5UgRc232Y
qjWDQt+i0J0Knu5UoEs9NkskrcKT7UgLuBp9tAfXBgf9FVoPQMj4HodTE5hLRN0Ab46Uz+Jjslkl
cgt9NMgbo5xzAWZ4vBSZbE7Mg0K9YIUH8R1QoJhJq/ZVaD7QyNMmugNvSX7Xe7o9QU+lRchRGnG2
MWvA7/yoLd9XCfO8W7EemdTECqJkXTo4aI4ZAyHh7aNQW8JPAwTNHa02qvQuSlNxFiBVWAeBTNb0
F1XpPyszKa9QcmNHGrVR2J3KpgfvH3x0CRtTrj0gLtZpFb7b0Ln6EFVGMP8toqu2PNWTfaF4+lME
ebxYx1w269tCMhL3NmSLT7QOksOg31B+iiQTKFVqzX9lZck/Qqb+vTtAvFtEYK0nu/Bcf2m1Fju0
cTk+s5RvOxVYX3NpQcm6bNWWwjKU0HMLB/t2Gtj+Py07MaNeeBI0XLRsEclybxMssDV6+w5dg9G6
cKduQyxkNEyRW/805HpIlGVm20TrmzeSSEqY5T8xXgvPAzSF9iLDv5KGDke2vPICNCJob+pqjkhe
A5eoh2YK7KHQNP00RMkgOWV1l83DWEnzFNfGj3klVDzOaVx+o1EsXPc8dOaLP03Tc1eK7mJAR4x8
3LL5fZuHZ/KNQC7et8oGZwA+EYwazQM2WHcRCFaeE2MygClSG/IVA7MePRAG0rze7dur6pIl+eop
Tp684p8a37ytTIF176NyuMqizEDLlQ8HT5M7ATZs36XMqaGlA76oOQTdNI3tug80SsucAQOYWBsa
DhYw3GUWnmlEk0ps0BdIEAwHGtKSftA/+Fn6pDTtST602aOhs7ZlzZ0tNhgD5G54vRvRu3+mEBRl
+BkaFLvbhK4Q5haNAEBQ6EXo0heJmBeJi2bY2YAuL8AwEaKUXXuLtAmBZq4dx1gww+UQ2RLhyumn
6L7Oq+ge3ZL5XQJ5o4VJMQ1Dm11Z92fy0oWC1b4MY+9+DspaPFxafAfmdbMQTEmmm8V3t0m3zyr1
x1gpKGzDrHRXaLgChiSMTXZw8cv52AsUMgFam8af3v5jovJ17yMJXnfmNu3z4c5Dt9A15u7fPJ2K
v0ozROXAr54L0KX9KSBr/edQVfUcgBfvcFcrHLr0CjkOS48+eGQWiQdN+9KK65OfG/YrE5spKpLX
uhmb85jEwGlrc19Kvs0AHN+gGGW/3ia9D7FbT5HJmqbqML8ZRxbibyThFdr7II/06dJHALzxQUHl
F45Wv1vpDjLv/hkHnsQewxVZQsawz8mqahvlJdTwXCeErGsu1q5g6bMosBVMurj7u0KuymCO849A
Gav2VfrV7ZDUyIHPxkm7x/EQ2++9VbdottPTI4jdzNOnwGyfUfIY1mmO3X6rsRCexkeI1sHr0u/P
NPJNsClMXSaWlrKA79DePpDv3jhGu3zjVkBM6akf88NgLDdmCAbTBBTWyAWgEX7QPSq5DVoV/IFc
UbcPwBWFs8DgM/Otl0/kj8DttmJ2OB1oYq4ndtTcMo1PTZ6ova/bKpouKM+uvqNh7EX4O42GozVB
axssHOBnbCp5pDCKmIy42nY9yGJ3AB/1y8AtGlQ8lTH3BkR5Wi0Sy5T31hDUZ2BfDKBZUTr1ZF3h
+1lrcdKfM+w4Cx9ACAgO89z5yxeBONDLqW+T8AwZtG3H8aZftiweNmDSa1e3rZ6e4Mm8O5BJgqZv
YwY2QNJIj4rUG9+ivN6BeMf4YbnWEcKl01cBZoGlj37/C3izjDu3N4c7tJcCtakn+S76FlOz2U0j
ry5T5JSLTJX8lOuu1CwBPFpCEmgefdhd4ZZiVchiX9rgUryRzAAWCl0fo/fBrmqWe3Lk+Hqtq9xB
jZ9FUHLtTXVqwJD22v9TS6t/jdkYgyMXrGhhE9qvAvxfm9SS44aCwNr6Pod5jfNq/eXE+Z1syuSh
b2x+ZYUNYHxugr6qTZNrLqr2iCfOV3JOnNcnUFSfytHLj7bK8hWUcSGwqIdhjzfggm7pEhkpHmHa
o8YMHh/CnVqox1uTcXC/AxKXPzjKb8458KOLbgjNL7wdjVXVsHJHwwwVC6hjyufM0kcw4GwXHMww
X6K0GYGtMIOdz4P0gK5Tb4nt0KLPhHiZipifTEOFINAFDABCst3KqIJ4X+mhDhM6zIwbfkK+Eppo
cYtiGFBYK1DZ8D0NP8IsvRrAYuBGI1DB1H5HZwcYturqW+ghp64z5qnZSiCt+uA8hmV1REect/qI
QEkCLQCplEtPR0QdKOUpAppE1be4eV+DIgwozoGLCBzJeCCZjx2KaeupQQ/IWDXWI1rprcdchJsW
WcoLRRRJagNxEI4LZKfAs+un3rTA00btKNix0ZMtVAvMFabSjFaviXRku3YqORXL2jM24+B+ZdDU
2mWgY1p0mhnGnaL6QEOI1NjPbi/eh/Gokk2CVuXV2Ajvri4hGEZndQ//6jtRyWRFB3ny0pBO67dg
p5PRAUmddEFVrc7pQBWclsMmaQMDIOWi3wvHDg4mUFtzdSyLQMk1osJKE8hOpbNWjclWAQM0r3Sb
8PuayBRBlXCVcWx7WA6gGy+G7D7M8EYbJ/+hiUqYgCE4jCx4u5mG1IMkglPIZdzlfbr0eSFWqdFl
m3lcx5PmLE/s3Ty2Irx8m6o80xJV4WX3auxxPtSTgbeb18/RYguSunGfJ4ciltkRu533yxSkAPv8
PuZVPRyK9kB2mtFFoQ0aVZOoZuyzr8Hm0xBBMNhHL6UdGWxBNlc78N9fLUuAotY3GhC6QxodZVQg
7XhSXCdXuU+jAExGJZdeGO4TWWxj2oE+or8X2jTYZrNI694/UESJisSqFVBCa43Ww44KrZKiAYcU
TeWQkt2jGStc0BAtsdb5f3ySbzf9fQKIS4sqfNjnLjqlp6Y4dPqSjDbGveIFMENTcaA7cldOP4Kc
2B7B2/gxJ6Zw8lNkPdXg8/n9lvxGOzRrSGklWyePsxXphu8K3R1W43uyYq0pTz0A+Cc3z7NVbjL7
MHrVDxFl/dGS/fslTp3+SDYvAL+e6+QHck46ogdbA/JoHyHkGdFBB0pn8KoVxsOtTDUNPj+Yqvkq
PjrLHZQZyERlKroYHSgqdRSNKJQmTrybJ84VrZ9r3Zb/dS2yf3zibS328xNpZVaW9gG92Hh84mHU
ZOi8JQRv8DHEcYc9px0eKzcvthOfh+RFQZznrD05riFPIxPRDq+2fcdSIHbINt8GAKjsUsvak40u
pVejn1lf0GYAktJX3uEEAd4u4atnA/D7IDVe666pvpd28Brgi/AdVNDzDfCk880vLjMa/RdIZey1
u9Qz/8cS/+cxkABDlxf4u9du77rHZvScBRE9FDznmxY6tTM7hO1D2aWuTffc4Z/8woKnZGL2658m
RQFrZ3aIf08a09p+jW0nOcoSzZd9YYz3dOkSP4dW5vJmmZCIu/cSvSHPuBZ9NTWbZVlbWyvBGdWT
lvo0Ne+XRtRU0bzkYIGrwxx1UkJ/gs7p3TcRt7ZZBCJYsjmoUC7azi9BDVrW6wE99bvIF/mLMqZt
2TCAWrXdtLPwZpdx9W73wdi2a4Cve3ErnCE/7Lf4X+1Vg/41ql7NhS9dvQLlJTSZ1Vwsa0Bbe+zD
9ulWP8v/H2VftiQ3riz5K9fO89CGGwDy2tx5yH2vyloklV5okkriDq4gSH79OIPVypJap49NWxuN
CASQVFaSBCLC3Tu72nbM65e3/JlGChNR2Njb3JJiyg1fstDtj2Sa7dGyCIAoo5zbaATpKXLKp9tH
KzxwtlUVDcvbNHXQvZ+aOgYrm6emiUxQOd8rbi9HCwjBho8IDGYoSblkJedLo25y4AD64DL34Ak1
7IFrec4nG/nVdgAFRVSQbGmGeSxN8HMWDXYfAJqmSX8esDydZ7qZbnNWcbrF+0YcqRN1YA8Jy9Sp
A4x/1ecCK+5pITOvPPDiKwcXqdnJ5IFneldkA6i6piYtV5gMkWvTQXokG/dAcICi8DvqnN2meTlS
4ZubTdo/btMag/d+WhrkGwhmJbpJsY/CMoim7cBoTZ10aH9OGzTYKgwlVlV9a7B92WJlR+sZL0Qd
BDVpPUNN7nUaQCSkJm5N6gWWDfdLevJC7Ho6IIi3QT9+8VtsiUJhdicQimONR20xGemMDnEgIRGb
1lsaGoBlHa+NaQi1bzMEBQj+na5++M0+z/zuQ4bMjxfCk3qDEEe370X4aLud+VlAiNUPWPwtV0m3
rPvEu0Dwtz2BxgNwwqHwv1jVmRwYVImXhQCnfNWX5VlCR2RFHXzrQGPqK5SdqxWvdHz2ozC/RCNq
D5Dair9x+6krrfGLA1D6Cjq2clo2B1ukiBF7aCDciXfu8Dk33WYRp054LyV3L9SBLQCwFVOHAYjd
3FEa4F8ObOAo+uogrAjUimwqgeob/UA23TJU2Q3d8FAhMrhxQkPfBVlk31m1eW2mRW2CVBK1dGtE
GwOM+VAEhshjKIR9QFRlT6CWG9CFmlB3ZgeQn8+d5E92OgxILR1YzHe/26dpwQ5tHAqr3b3zn+z0
AeloREcAcubO34YDvYv8sanny7vhbcgNJZHyOJbZ9jatjZr6c+LpZWU0/ZlzJHR61OTfdQFe1wCa
xQ9N6qPst4BiQ1/7cmm5VvlRNDVgfLrOPnseqgC0lt/8FORJkqsfypWrNM0F9EMfkAxKsEvJmmXp
O8EPpM5Qxp2lX/v4FRi96tlValhHeDSeKlMWRwvZ1c3ouVhUgnxgEeZe+82xw6UxZvkPcHB/UGxw
P/pGj+A+Iu8XbpjmvnAB3RfYk10T6XVL3ZrW58Ht9ppb2Q9TjAc1+NVnFG1CoAvsh0I1i0h346Np
y2QbuFV6qEST3rleFK4sv9OfUUm/Hco0+24O0SeVJcOHTvcDdp+WPPmWck+4s4u16ETxUSiEAydX
px33sfCiY1XHbFmGiQIFNmuOsWeNj21jPYKng32GRjPUnAK3PUE/rHwATdtXsuMfg6hMV+mzBG3d
tW4iFFLH3srwAa4DAWZ4MXIZnysrwmbfcbqvNVvzJJbfUFwDmazJwW74sAWGMlondirvAX6R90UA
gBcCDiXi9Sy/t6C95i3KHFc8ZndkAobLQGZa+0606I1iFxptstFT0Qf+1MbV9rJ4gbCxPjjTe2/u
CIAWGIPinloRD4pzbkfn26CswFt/iGKQeP6cSCJhvMLNlGwMKhHBgvptYvIRkdUscq/+RmRv48TH
WaZqOLb5QrKJ8m0mfpuP5EOHd+2yD8djg1pXZXkHSNgsGAeLR5E5l7lmYYQ0BoIDyYZqHEJpN2cA
ND5QJ5l4ZJ1tp3vzb1DhjjRZyI5G7bEl0VG4Rf2piF3rwUbQ7PQHe1fJ9/bEbj+xrHnzr1AAtCT2
CvxuPvlBYj/0IdBUcyRLBl3zxu+KJMhJcHCDUk0CQdVy8C+0dQvuicC9xxdTPHeQZNq1gHBv2sGx
Po148IZKRF/xCgN9SpMap0Gx8Q4q1R6IMgBInkYip1s899PIpkBgKOTlPJIcWAAQGI10UFFxpxKI
jou/RtJnmgIlijSSRZ75qUHxETlgpQfsRbjOw9p9QIV4ssEfwz/pNAbfMMSrd07jlMgLRA7UwpUJ
PWoH9KqOnX6DdNFmKMUYApMYrcHRZX1LXCALUTGbfGCjqVe+re27QofGthu79sCrdjghzw7xcVFU
DxUe84DndfIFy4inIEVx7yJ6GFUNxrBSlJOqiPvSGKZc/unaRuX87drC0nx3bbFhQGR3wn4RdCvq
m3zZOFF7mMFZUxNV8+2BYF+NbTwAR9LsS52meoHIKijkKFzn1aJaOzEYA2YjR9p27fWRsUAaW2LX
2opNDzGzZdQH+NbJ2BQx3tEhO42Tilc/HaQyxaYJIXYuyn7r9EIeDJSEnDVX/ZnO6KCSAgxlAeer
W0dVBV/jxgwWeS36jZOEzt4TZfTgDROkbQDVLypPToB4lh/JY3AdG/lN5xnoH72EHnt46PEocW5p
/Xcx/vmUnEY4UQpAJDHb6D7Cth9sdAOCu0x4wKAE2bqayoobp2kXVovKwA5lQU+coUTaTcdP5BaY
oDllZYkIXIe9Rhy37aWd3LoQWL5p+J/cetz5W4lSRMhYCfVc5/kWUG7k9XDnbWwWjdt8auqsXCbQ
DfmYyso8pDaH7Lgxmi8m678Pie/dI9Hc34FNG4j1yd+xfL5slEDmapo2V3JL/kMi3qYtEDfejTmQ
7aDWBsPuxkPN2BLZxXhPW1tqlmaS7OeN79QLxEb8rolYZrxPKhOZ6AroUo8KV8OYdQvL6tjal755
YlTtipdExzeAZ9y/fSLUaY5hizhNNtrtCSAT0EvkIKo+QaAzsDdhCVB5IXq9oX46GCL+kvDS3vbS
VsCw4BDLsDsXTVUAyp8xMMh4vF+QMS6aNx+HK7UsmwbZ38mbOpQIe/BfQmkhLZG8hda6OisdoJgQ
+lLLtoBEo05RzY/UPU6x8mo3YHxrFx5Ck/2CjPXUQ2ceKmX2RSXubvbSskH9MfcqZ2WVKDTssTJg
eI0fG7rRcAtF5zZ1cc/RaeQ9lk6WQOEMcXM6IEeVaYR0/2q34BeS4PUny7uR1B7T2IJm+ZLmuo2B
kBBC8dPBzoWzdvuMZxfQg7UbE1zgl9IKnLOpnq2p3IsOZKazMdLOkieDXMdYqQjsQQLvNIb5klxS
sg2+rKHfE7nr2wx1bD5jdxKBps9TcmFAlezgTwc6C1PWSjApcBixn/PXZG3H2kX57uTFhAul82bY
kQ+ZXFb8NZqmvLXJh5pFkTN3eevhlihWFoegZK2RMNIyfjskiEbWwMujnfVeBcKh8Ptsy6iH3Fkt
ik2XGz8oAvkuSJnGMVR+IpCnt6hmP2Hv+D6a+VtwkwZ7LHw2YuMDqqCds22AH1A70QCl+CE5V0Mm
wb2kjCtAaPayaiMbMZ4sXIAxUr72YbpGkaJE7UcM4RoWRN9VUn0tQt5+qgfk7Q0emQ9Y8HjgnmxM
/B2LdI+XVgcWnBpofpGuOV6uuB+YxHeR6OE0nxqOMg5WjTWVTCsgiaYeOnCNyqwBtHg9doNtbAO0
BzqMFxReXiHWWT96Y+mfABasl2Q3FMgXizqq7tLAGe991mP9Mg2IwBWAjFHBji7wxU9eATldbcrn
sBjrRQ9GvhMdBm3kJ3M63GzUVFo1S5bZm2JEQbiWzbnhYfHsowr2ofGCpWnXEepaVjWX2TPr2+IZ
kVeUN5bqgRzDIrugSsq7o1ad1K+9rIZ5EujVgVY1i3AfTnMW04YWDyK9p2Y2snGFWiB3S83WK5Ee
RIB7Q80hDhrsxmpv5UwfCq7QeI/shrOkXmTijUNVgN6Cej3exee2xQqVes3eru8QMrhSJ5au8aJk
g7nLDcMZwbac1gBk1IcWiwOEkvI0OOO3FZzpzNDlJ/Bl651tFWxc2FXQIQA/gAneyrExzKHMPJ3R
IYQqwCGIcbg1/+R3G0YjyIWG3Zr//1PdPvK3qX67gttn/OZHHaLRat9Zj0EEkWUDKiHFgk5vBxB/
sFXhlP0CQgnZ8dYhYlDSV0X+1xBq37q9acZbk85+/4CsRUbSEmA5/OdpournhdGn0JXMxtunkpHX
lVssuGtdRxVj7zZdxG0INWcXOqUhZZl8hPJmtTecuLhvIQ3JkAo6yYmxkw7lwFAFYgTlcrCdN5um
syTdGBA1Og/THYDaaNVsapUCK/FzLI0oElTL9cI+3+yjCez2mOFJRJ966xhAr6O5Ti/Si7AyV1HH
12kZ+8v5E39OjCgVgNvg8Nb02ZmS2CVXVrKap6LBkXrJhI7u5qkyZZXrKDaq2cU3/IsDEqItGCbU
gStTHeYzkXVvZ3+wkUvvuSLDjY1xdJA/z242Pk1zm5U6brYKLKHLxMUdD3o3/6HsBLipIjCpUzNg
qf+gbEho69S+iyaPCvJqu6hl3ZI6K9fzHwrEW/JKm+d5kFZQCgSIB5EvlIhK1cg7z3EuoEmpXsuR
XQxulq+uEpdI4ETC4gVJcxJxBm4m3wz2ou6fqSCdytDDqRYdkYDZfjORB9nzarwDynxhDtgQZCy5
B4Gee03iRFzwQFpTiw7GCDbnzGlfuyFMkelrUZFX+lWz9HgAFgORh8c6c6f9fMVf2p9naWK92eis
y1z+EkVDtjCLXLzMveHWtPzHVKn0yhhLr+C95qemHY9kgjhEem1RiH8X4FkG1bw+XJJb110jkDHd
kxcd2rrZpU6hz9Tq4yS91rL4WAgJJo1pZjL1DTgruGGH+5utK5x66SVmuiUX6shUDtBFARAP2WjO
qIKcaNi66er2qaFQzjbtwUB9my90MnsvrB71WpaHC06K0Tu6vL3SMPonoS6iglJp+W52qwINbzJf
wu2fkGJHqcH+dbmZZFDf976ITrcrUyKIFxZoEoFJxRdGvg2vg4VhcPHuX1XZAcpIbdBVkQsd/BEc
II3VWPO/iiYVnQ/RvTxXy9vHmq30dkaFuvXbv7SrO+NgevrT7YtDgBS8/yrb366ul8y/K8IXmmv+
G/p9OUVdh7u5OZbuAQwbegLT6L2wIZJgFHn/JWnaJzvL06cEko0HYZqo0J3s0LNzjKK9jFiHo/jT
azYtqIz2Xl66zwpEd+Rkcttattysz7HDjJXBinyhIMD32PXWB90O8qynFi/9cYNaETAnV771WPO+
vvdAetV6qfVIps4CtVeYh/GRbH0Xlrs8LszlPIDZ4WNvbQKlLDBxokQP6+ou2dPk4MRND4iKWAtq
0gAfPxaDW/2VTN2IUGLWd/WWJgfaJD8ljvxOnXS5RmwdkcIN7+ZPbx2NarOYr2kyT6T6Yrrlhfzp
4CfJlyIV1olaPZaH20DYHehE8A8ajT68olJlRZ1kKiCRuXDroD9QMx1LZydiBOvIhS5BAxlnjo9k
MAQ0XvxqNHd0AaD1MA+h6rGVxJ5Kxx/N2OmuoyvUfTnq10D7/idIuw9rKAIOu7BHM1LGCqRbqNFM
fP9U1jkU+ICg/gSeQheUuHl7LLsYpWv2dTZ3UOBTVQW+EMRolm87blCo7eY6vVttforUx7GT5eJd
oZ6TNBATt5wHA5ddhsFHyl+HpvyqGlU8lUiy7VQDiR9Eaf2nyYFS21gDfnWbzwaCnF8ThgLIVLs/
Uie7a7PBflFJO0AP1JZX7sTd1qvs/hBUPEWcIjXBGuj2T+kAZVwJgc5v03BolLo/YgwXOYLB+IkG
m8DJ8NPITEASJhx57BlgtrBSgM+yqP8AjQpwOcN+c9MT+jzzBdKICKjNbhzYe3IDOuJttmFyu80W
J98CIjqA5PEAmm/AO4xFPrzmIkJ1qW9/hOxwhaJEK981fZt+qDr3JEor+go8T7YsUR59UcI2z4U1
ILXmDPHXnyN1BjEKGlnwEGXbjmOujCRBgiiU2Qc6kyFP5zP9B9uf/ELTMvHcLLN3eTaDO8MRzGC7
d1m9OcfGhkeDjXxP6bW5VyBLtmZGBZjJzxwdOdMsWdXsyN4n2UKOSOxeyq4stxz0Ax/tvJz5rHjm
WevU8eo9qpAgzpsVM58V1tKwJy0ItG3f+DD5e4iTAaWGMgU2FOBRtkttr6fa+WXEffBgV1H6b9p6
mahFEKvg6KeQHUGpTFpc8pEh4WLpFXUgT1hcYmgIOqtk7FeooQqON7dgYNFmCDOx7F2gOTUKNY4q
77qnSNtyDZayfjM3RxCxubzGJdmie1LaGkHgmp2okw5agDAMoK4rtWi2PrXeZnMt/TZb6BjhplOy
RcTLs9MFcWZBfuikPau+UKsxs2aX+Hm9pCYdEOQFMWfYXNzKR8Hm5NGAQGzpTlIiZPvDHLPHNODX
Of70KU4F7deyA/dkNLjlo5FaR+JmCKBOukuBtVr3000Bjb54ikXruwqi3Y+uHo8mxF/XeDiKY9SE
0bL1RvfUpIXzwQRd+kxbp2RxAAtluQpRNfeJ3IKsck+WGW49u+gAqudf6Y5pGghXVIhZXFvTbI9t
2HkrM0zjryo/F5Xjf+5S0K6O7RgfzDyTj9NA6q/TAho6NsqFnDjl+zTDPLyx+WuIgE8UtforsqV6
2bl+dJ96lgUx1xEso04xQkQ5ffNlUGRRkGOUKwvJ0w4MveD+cM1VT2cOtqpaKg/hApzNvdOZE31h
bQ8Vdw8woekAUkwVbhsU9G5Z6yIpq/AkarGMAL+/GLc+njPXSiC1PvGlzX+MqB1WDUfQlf6WWdQl
VyjLTRpc98w32ecMXLsQU9Sf7bE3lypNNLT0Qr1reWfsTGQ67zQg4Uvk5caXqu9PxKHtS7B3xoX+
bFYZ5CCBvzB0kj9JQO8B3cZZWJeQDcUj+clI1Jvt1ktn0jSbtZY1mIFcPCgB0cgPdMkBz7ITr+ov
8xVP/xReguyLPPJI7aBYkDz7eXkqCsN/SkD4dMATZboL9fB5smcm3hZ2FLkHLkCV8qt9RCJjUVhN
tcPjrz9jwd+fR8Y19KHdYpvaZbyozB4iBNQjonhctBWLtoUeoGtmQAfB86eg1tS82USaDTvUttXX
bjo0INZH9gI2alLHzVY0otlUgd0tqcqN6t2wB74Klwd7qm+72Q2RjFsTtcOLjGhab8pWvlNfkVtr
1lLh6REaln0nU2as4+ks5MPbGdn+1IvCUtDnoFZym+DXc/CQOtg0oyif61q+OogyvsZVs0EgTn+2
8iBdoX5quCjPQ2TPKpqNzARf2nI0FoGXWyePGBEoUExthogc1jnhgUx0EFMUmc6QpoCWazlCiBbF
q5tEKKCVJ8AdFXGRDQQA0L9x+BmBnOLiT49fqewXe2zNXeIyPJJLo0/3rmngLVGl0EDvmtCFmI6V
vAa4Kzybsy+lHyUri7H84qemd4zGoln3SipgvYEXh5rnq9vkP4aia5+8KG63QVDk+zBnUEqbJiOP
0YHietywLwjtJ6tAjHIlTG/YgUKQatTp4EtZrQPB7DU1NcB7D/zNwXXYluc5ysWH9nGUAaD9aZzv
kdMAwBAKD1cog7zZKnE2gmQvI77+k2ZF4OBVO3WOUypeyMhcoWRRG4+IruFb0HFYrgj7nyJ1tUOu
18YrDCpPIFKsrxGCMbONmtSB6vZ25ywNAQKEzu3sZ8DAu4NrlxM3tYfwYQ1piFuTg0AR36tzTpwQ
FdIe95fpxDAOqdYPvKnDR8Ha7NQNabAkRm/+l10VTnYqnEmeCRH4Nbh8M4gSlgvcttZX8G0o1Pzb
2b1QfADXC/4QGYu7R9OrQTg0PWqH6M23i8Bo7NgqeogskFerAIks7A3Hz64JZZ5eDR8hF/Nmp0IM
cGTOdvIfZRKsQ2MExqBt052r42iDJAfyet6I5yJy5WC3ASgkzbKdlebtJ/KI2tjdJhDnW2CxlS9n
6vnWMPvtH9tEPI98GVAyzPN3Ngc1XMQbqJ/RV6rq903qRcRf7+n7r2L9t97fxt6cu2mqyjPUdgzH
gx6QdIUUenXsEQHYyNpyHiVKwiBzLMfXIrgrex18d8bqh8M871llFnaWYR+cUAVez2NUXhprOQCp
RPebObj1NjGiArGnaQ2kpgWPng6ZPzpL0/xyw0zfcNUlyCT2eQVxHxfIa83zBgLFg3pDYt/8oMmA
tXmXP7tmY+J3qmtw0+TOJmMoLo7TqjwDBC/XKHuqPtTC+kbQRoN/w2Mrfb2NMeMxWhkBe1Ecf0xC
raHCuNrcmn7TVxvII0ebTIThiQ2AXrH+I1W/F0UHabooGC6e6+mTrbCRiavA+tKks4PTP5q9tUC2
oEKFCG6JAitMhIXd8kQyNPnUZFOTep0O2E7qxV7RfqbeP41NeYTMRS5BoGrIC5YJWFdCgNaueu9Y
KRNLzcmuaw7CgKF9qZRXOD9UKrwH6NGuwHAb5tconAAMKj6BqZu53yQwxCvQarh3RgnVv8EQ6XOY
FfUaSlLjGZCv7MDLlG/HsnDunaRky47x6KWz5UOeFe4PAPtR3+ir16j6a7iIFMo3utQGkT/eFeBH
8BGK8fMTa7sA1QP9B7r9yW67km9FWc/qQ/5g5/fAdh+lhDDSTZAoL6N2y1QEMtwRgkS3Dqt0Ifhh
3IPBBkxUJar2EVxZVCzWR2q2Q/HWJOgh3g7ve4dfm9SbmICH/duxxYganUrmK1Dbnlgj5N6fFlio
RoQim1fl0ZnadJhcgmKU+yQV8cnC4pP4DBKlvwesiO657t0Hc0wvRIbgSO1sUTaabMhryMfvQOmF
91jbzl5ktgcHXn0Gr2nl+nMu8FfMXrIp+UZ5jbNGhBIFwn1tfowdcMPhvg6uMmrAx42H/xkYGeSg
gi5C0EU75xGl4hBHbJyHtmjaZWHJ/lPiO186X6Tf7arF8CkPxbIKWyUzfeU+hFb7kJkQZAtxT4cN
uFH0gDRJZ8XnwDK+ZEbgzgvKLrXyU5FEX2iZRhsEDyjXhed06YEWa76L3yDA8OWa2LyI10v1QXY2
arwqJuYvsre9ArRjsrvaW95cyQ6ZzgwvBr9agLB33AI0k38UkBeXlhd9zQPAoAW42C5JFumLBwA1
Sg3a6GsCaQBmgnvDFnGw/XVkasXjvcydjxIrmzMomOQZq155xg4k2bHe+OA5cXx0kngT2nn1mGVJ
d89TgYIWDWXQHjGXZR2Y5o56jY61pzD0Ps+95sBfG4A/jlgcYdfCXQOSl4iQkS8dQFy3YVoad9SK
K5+v/vVf//v//p9v/X+H34t7lJGGhfwvqfL7IpZt8z//4ua//quczfvX//mX63uOx5gLDgvmg32E
cw/93748IAkOb+t/RS34xqBGZD+6TdE8tvYKAgT5ayKDENi0sELo1nd3jj+xKgBJ/9CmA2C4SolX
pM6RPpffOmM172NDHaVHIFa2Ka2wNGPdDqVmLLvwMcq3HvHKQS7VXURDFW9nlcE0bn9pA0d8iVAI
c1tmJClLVsjG5BAIATMRHcI0eG8j5yrPViZ+4wfIE6N6djowmfdnZzr0SVtvCjz0wMj0V29Wq08g
0893rDOxYmc5r1GP5HWzC40lZ5oAagrm4p+/etf++1fPucvxy2IMOWju/vrVgx6vMHQj+GOr42GH
JHCIqilrXOeuUb3UKZIm03JCj8BBV55b35MHB+YJUG0TZWJ/9qplYBzyyHs3jzYnmg2nVxArNg6M
NdFLFtf2KnFSfRaQxDxWJXgyBuSmPowgfcbXy18nV/BPo8Z7cjUDKI2E2XCi28yqhzsVJc7BdW08
cwFpEP/hd+k7v385romoL74dF6UhnHH265ejvbTyUDovH+dFOi8ZcPmF+wEZiuIKRdnuCqj+Mz0O
40YaG3rkUXPyQrmWvA4ltIrtyP+CGLBac5ZLsKbhwRTJBmINjLWfbFWfxbRGxEvxQSZm8ZEZJSSD
Sg3XoXCPjbiPjKK+R6H9Bgl79lhMbPoVuG1Bd5AGR7KBMizdtiX4H6mXBtRxv2ETLz+iZlCtrWMX
uD0nXyI4lexHIcHaH0hAHvsAnBmOTutlEwBFGLWP0K5nj7/5utZ9w+29B+WO35b2pDBnK+Yfpk6S
nxu7EOgkjaAHlr/myXLj77X286d2OiBSWNYsAQEYGnnMu0UH6OEh90v5ZCur3hjWWKypl0Zrnc2j
C5D33s3xRre0zbXttuk7cvmuFdNT2Wo31FHZZvQffhGu/8svgpmmZ+F/BsVsARiycKbb6d2TCk8W
ewCVTPjI8IqCfJzZX7QFemXCGcbVB8tv7C+0CHONrj+FLOgvRuRjiWbUkIJM0jOpys4qsSQeO8vD
0mntl2W5aCe1txhFgNDeqRKIy6TVkQZRBzX/rW2eLDTTYNs0HqpsBsfLdkKP1tF0PetIZ26fOtVC
xgOqrZAoMneul+xv3X/zmQ1urbb/4dnz62N/+jJBAMVdk3u+DSI6n//6ZaZRbVpZbgYPom8GpGJz
f2EBv3Bvx4aPou/cWneZL18Kk61prUsedR0BpaddDYZbEM8ijVh6wB535a5BnmF6ztbT0/XdASCj
c6cg3gYHMkPjA0EnK0I4LRzlsk4t0LvaZn61/DReULCFOszceOtAdiZGlAC07oar5DIpS3DZBH52
5ahz+edvxRd/+4k5rjCZsGxQ7pqu89u3ghWVG8o24w8m5HLPziSYAWqTFCVsk8otcaKGPElWfXmN
+Zit3lEvFxA0ILpksoE/D8BYD1TyRK0ciAF1cD1vV02dGODizpsllQIWDPQckEIOj2yqGEzCrVCl
+Hjzajiq04QJ6UY9hYbKIAEpRmyEO2qqyaY9IJSiwfmbjfzKKdQ0O09+ZBsaD0tt13ipJ3rvhQhH
9xGPYeiK2GECpi5e7aknrqCxFdSQ4aLed96+2zQQyHX9U6Ts6ScwfMbPqdwkdjPuJEOhymQ3i57j
GYGgIlhTsOMHYb+HYnzmLbrG7x/tCUBSAoiM1C12SlNr6tMDFJSyFmE5SIRFoQS9s7aCPcS9y4tq
Y9DMj21w9HLxKZOqfSBTgVfXKkMOY0NN6rAyQKhM68s//0Zs9rdbx4fehm9BXMBnLnbhU/+759Dg
m3jdDU71EEXWFHWWH5Omjr9KjaLDoOfmPTI/McrzUAAMfr3oawlGDOT3g5cSaaUNdFPBkiF4/PTr
SL/uTGxghpOfGzEwruBi4TqpEZMCXS01vXhcR6UaH7tIgFUklJt4UsQrC6M4gyYWpaZTEzuMdueJ
ieVmauY1yEcrj/U7agJo9DYlNSGFvI5Rarb2HPzKCREUB3azjkfevoNeAy2OlVFdz8AhBKrGfeYC
6jZDr1kOIgkogVkz9Bpqc8Vd4LB30Osy7Ju10rmaP4I+ZwAwB3XfdipebFuoK7f98C7tgH/tAeJ5
cZQNpXDTzE+oUBBPVljtg6i0XsAq0m7wTA225JYk4D8vkevSrYd6pw47CLJzt/1ym9YJR0SAp+E0
bamKEKH48tQod0TdKKQbh6qLnsC57qI+B9G6WjT7oUFGALACsQT7RfyK5ZNc5GMVPKfdaK8Co8/u
JGpDd6ro7D3NxFpkAG8zaTMPH/yyBzgZOlld0C9tiMYhOA1ssjcdyM7qdlg3zFFLi49vNuogvx6j
HNN05jm8eAsRq+bOCxFBka7KP4MA/kDKkG3SHlk/+i8oYuTLRAwR8BOQTxVtbe36GAF7y3YcXIGX
f/bi5tAE8hlghvTOxOPwOmBjBM0LCFyzontCniuEnF1YPBX52EAmoOy21ORVpvZNh8JxakKE2blv
GnOTKKe4IsJurQozEw92VWR3ZiW21tCLBzL1cdCuAjsYN85ks92qgXLH7B7oTF7sUu4pWAvRILAb
ZnxPAaOIMmSTre0FaqM7E4BwLJY8ULe9GNK6xjVDUK9o9k5QVz86O/3iJKMHzGsTLLFNd+8ry2m2
btYYqAcaQdcAFOemjFXx8Kd5snTf52W1RcCiW1cdJPFkXD6UExoFZZBQSZ6AKNIoINrYZBK3FGx0
YBAOIF8+4inlxRVy8v3wySuK1TgUw3OSAqDhVdxCrgU7dqxuXQA0CrxIJ3JDlpUrAIv6g67bGhk4
3en03CRFtWws07+CnzTaOl4ZQ3GmGE6pjeg8ShLFI7eRKOBF5H0Fpmqd5aH7I1T+sWuRkaHhKAfw
r24YxVsUNI2bf34SOr+/LbFqcE3HxIuBW5aFZ8qvD0KEoarW7o0OgvEWQqw6QHqJIAOgm7r3I2Xt
QBWGiAjZOmhHRW33NLa8guANWPK5KK1r0kmsB3SVfyvwq0Rxmfvx5oEa/hCJ6iDeiYlihXhWFEhW
sf/p/DWRqqhJwJbOIOEIYdxl2DT5vI5wUH28VO6QXlTU2vfUYSIDcv/PX4P1+7p0+hqYiXXD9B/n
tMN+9z4QfY86b89Ul7eaduFPSFLc8iaUj0HihTCAY4/gy7zd9FnorNzeqX5/GNCIMkORP939UQk+
O2TKkuU/X7Jr/bbOEZZneR7+ch4eHu7fdp5AmloQGoyTy7ygHwNRgwk9jD8jJpxNQXmw7aTbyg/M
7V9mesfXFkqp/m4Owds4m01HxZ8htXHzbpJWrFhcSXA0rSnMmQs/frYZuFyKbD1EDYiDkfJYydSK
HoywejuDEIK70gowDxla7mqYzm5+EhJ5/2E7TvuHWySE4Z2ObbCLjYXDfddE+9efsx7GPq5Hlu6G
AFAvtnQgytKNkNoWWGgigCQe9KghqDsBTrRK71H0Vn+4eQSGOyI/ZPcLHQZQbbQBZYj7HlJOEQim
s/9H2XktuY1kYfqJEJHwwC0J2iJZXlWlG4SkluC9x9Pvh2R1U6PpmN29QSAtQJuJc37DmgMLtAif
TZFVx2FplUV5CEgET9YYnEJD4FX1z/h8MBN4wqr6XQx3//s7oC3Rhf98ufx4HRuVEEOzbThZ//ly
oVpkE5msYH/lcOnl+hqRIbbvnrUgJ3GJhkq9HJI5aNABp76fcjhtCFSvEgsVx6DrEeYTNmHrQNN3
E1rOIc8LUHd/K9/aJSfMqf8v32Y+JH2JBvz2Ykyh8UpcV9eI8BiO82cUS+DqW9hR2OzSLjGOHXbh
a5BCINgGM3iPMhcJPIDnjl3DlDTGaCXrQQDZW7QYSUBHefjuiiLF7Mi0Lio5h9eMvKjslhdmfheE
hF1ksTCRpW7iQSDqGLFbHtvySMbsO2Cr+FdWXtg0siLlgU5Gync+FqnhNZHB7snw03abiao6tWlv
H0kiD7u2NuYHuNmBx1+59rbM07d+9GueP+fRFJQeLZKJZXlRg5AFBAXJ/gLQ/uwESXHU+HWrS3io
Q4Eq6M6z8lqju3GRvWS1LE5dNe9hP3+T9bJKNsrD1Fe+p7LtX1+vICubZcpGHftVl+fBTtb9djHH
bnfdFDd3v9VlfZ6dWlF55lDhNymHyEuZkL92Wlpnv9fJPopZF4sHWk/A4r/vGitqngkd4e7YaVWH
QKCCmMIcw8VRhZ/ppLkH208zT3GpEa5PVB+ZvE7p72S5cIpg3QZqxO522qR+Y+GqNifTGgFlVhSr
zZ7tLrTPs+HfW0ZIaanqUl9dNa0w8QoxM/I3gXGnGNmvW4/BFL8Qwbb5azcS9ouMJBFnH1obm2U5
h7tMhHA6ogWdeZY9jLRK9sTGCUAvjbJOT4wNoavw4XqlzJ222TTN3nWOiB1vPMf3dr2LmgSluGWc
1jj5RnVVe3OdofCrRx1/y9uktjpHHkTPcidnNebSv0RpcHRMYRZr6IA4UpT+tE/F9Tpt4BsnrFve
ZHc5z0haf9UipHmURT90jIW1A65zuQV5qAL0NFJLO8lRgRMo+7rkM5F3Jet0DToCue6L7B8ZEeIc
vhp68r2ZRv+rXjTRyUEbjv+YfquFhvGE0KPxpM9IYeEn4W5aywzz9agkKxxbskfZBYyBDoUNN9JI
04qNFhvtzu1RE27Sb+mQpttxNqKDoWjll3T22YDY6TcQkI1ntYV2h+vo+KT0/Xe18pNv4KLYSuSt
enECN7lnd2qtZENujb/6ylYeI79ITnPTpp68AJHxO2eBMxb9dEGqDxn7kY9CXiT1X4rS1VFfHdNd
Wg7urjGU8h3r7fUkan+rpQ3UUpc0jtLeDXFF7qEjGLjm3yU+qIkt4FjzlhF5FKtyjES19vkT89Ug
f5StqhX1nsWT/04WQ8UFz4Tx6nWqmu9wRYzm4rideMYQI9r6GoE8WazyWtxDadxf+7Yj/GysAoqt
3+g/5Gx2aSs7THbNNU/h6rOmjMZTpt/JtmtNDhMiA/F2vVVHafMjzyxYrSx3rqc8XyEiAm2oYdEk
Hvt5z0tMNCZZt5P30RXCOOlG/nnPg+XcAyfOr/e8fB22aBsUG3nV1ATBPts2mfTlAstB3jfx5uF6
X//rnuWgsVH+656DpEawn7zbfZuP20FJzF1Xu4eS3BwctK4E2KH0bC3k6ZR2NbBVciJlZJt7V7Y4
SgFbMU+xdbv2bCF1xKYT4Nq24EKWOQYQ1Vs/ct4SPcRIWtYJ5EXDkzy91pa9JlZA7fxcSbwwYgHQ
k+e4qeBz1Ki8sQVJn+Fdps9VhiPl4D7KDoAG9I2ASrWRxVIk2hODZUc5BAcwxxvCId/KusYhWdxF
a6xQp0PRp+vPYczbhC24nK5Cd1vr02cRmO39pFq7W4+smjpeZlfs5Vzd3Lpn3pG8X1dleSf7yaF1
MGLHJsbmIOvyUQynyYg/5mruDo5epR6R3XhntKN5FEmenYOxZqc+en5eHpykwN5K5NkqDcvpZzhv
09xufk3p/IMnaO2LU5BciGs/BxOO8N3cGDxYam3wOProyOS9ln3VVIdcMYMAzPKk02rfYlNHiL+d
syd55XEqzGMcj9YBacBd6VjIC2mzfdfG4U990CrSpArilpZjniNWja1RBipsOiyzp6Ry18IH86A0
m8pAmCMFZfHNCcQFCe0l/UnUxhl5k2OAAmGkFX8pXfCjwtn13RpFsjaGyX9u0Kf0sGEQ0D7mz2vD
4i+Pf1w36gLnET4EtLkwHL6AEobgrIIo+I/rYdENn69oyq07lSiYo36+rdEA8fwUC528V9lwT736
DWLeyu+15sNtoNqHqMbtBbGML65hHatsmbV21bUzY3Skj716n0cJuRw5klikH1bTs++q5dHGTHoj
B2T5btZi5yvUkhSDnKE5ANN3XmbXepDtsxUT01Wr4RKWhOdhN+J3vlwpcwOEvgz7hZ9dexhFmGwr
rfa/+vX2OlB3+o3WzcVRFUS4MPl7v94IqNmVkvPGJTwQnDXyN+timRDg0rGIuvzL7ITTXoMKvs3a
rvtIymklOyg6/Dy8+7I7xJeqJ9fBfEpeqjEhbzfsGh4CMBAnCwVMTzYoZrN1+dd86xzd2DlIle7C
ZFTeCoNPfrkmEneVN4dOSgoXxA8eydX17SowVl+BdwmeLAWHGn8xEZYj6hjED4Gkj3a2gt04l/Ue
F5Lpy1zgs7K80UmGrgICmNnZmhUXCF6srWaWpFeSVa/VhINHBJ5gXwQJtmHXxDfZbxPtBOJZFqnL
RQhGNqiB/ayMmHMuq2mtxOZTuRyclL1dpcfKRi6fkdvT4PwIrbG5LqhlFs27At2ftRwke/Wgdye2
k2dZssbOxXVjYBkuCm3HNlc9wqBa2aBiXlNDUR6ToLxT/T54G+2CNwey5zUWWdcqMCeRjRvZamVB
6imk7g4y+AiS9FdaOuIiS8uMGiiK13yZEXk6hNWJX5oV1/2bLJ6G+E1CCjmBPXVOndmzO+2rUdsP
dnevLQ1w3SCR/dasjOWeP33rMJcxHnbgspyTb2p/n06hhcvOPP4VqF8HI0Dsu+szgmCunqxDO2zX
DmvkrtKFkayxY9xpvaNfGvgmT3MtwrOeifvPzrlCwm/sMu9a1ogXwtCsWpxulsmaHB9SET+mkZs+
kRon4B+6PzsrpU3rnGyjtQ1fM3mhxih+dGWrbkCiiw14Zx0lLit+SwPF2mSKW2BsQ7EakGT3w6Q8
yeKoa3swaOyiCt98zudyU0x58haENZmMxdSLjXTyhluCs6uF/9kap2Piodg0HWRrL+xvRhHW93Ko
EmxmXcBYSKvygeDLq7xOlhvVUd5UtswPZfzfb0q2ZkQf5U0pKHyyWUiqnT/N4iRRnle851LMSYCv
fJ5krmIBsstVRuA3ZGig+ATYl062FBO4TXTtJOeMlk5mls1e1QYbHunXwJLiZ3Ag86sO2j1pYQfL
khgKtmioscuSo+oHfRbJtZSW00kPiuFBtvmte49el3MvS1ogniukJa8lUJVv3WirF9mWB9l3NTSj
q2q4wGGe3IgxnK+XEHW64rfhn6Q2OAKr9Sp3JwAhy835XYFmgZo6d7I1Z51fqZlBnka24v/ObyoF
adsF4tWy3XSdiXNr1cmB1FjxMlt2vEsUoXqyGKSiPTu1/24LK+JbjE9pMKE2JhtFy6UKvXGPeaMU
L2PSF9s8JkQvWwdfz07NxD/adWyLToqTvsiuWY5UOYF6Nu7LRcNu6Dc4PqRk35nIRYHhCPo/rYfm
kupYC6RJpnrk15uLWeHzCyiH0zgEYzHh2LC9VlahS1PVqA9x1hsHQg8TlnDLHAIgSKZn7/UQHsYZ
jDriiPmz6g7ZpYrCi1BUpQAsOvPApurYCS2tZtS0d/4E4szPquJZ1mF09dXMNIBYS1XkDpjGLw9C
k5xgUmEtaEXDvy/jRxXolB9i7iiLcoRWbsOkF0+yRg3Z601mmmxlWzglwwNhkGt32WMYMbzuSiJJ
sugQ9kS4v3+a7fErUjntSVa3CrBGvqD9URaDpjJgGkEXkEV5GGrtRW/T9Cyv5M7QKyJWLyhL3Kg8
CNPDe8Pji5I+DMYoNrro+g3/NNU2bwvbkwP7QlWehp/XV9tU7uxNkM2B5THLHOvafZLGOy2c8mfZ
3cxJzGpi1j5v3wkMnoHMNzfBb2oNXxQ+frDG2Qllb1vXHxJ7QWYrzvFWJc+S0d6C5BvPsnStwnCD
tOE47iDUfg5H518HOj71a5QODmE52pvUgOcwgYJ96GMnux78xlkMF/yj2xXIzGQNcnfjmH/2091u
2HY2xn5uWEbekATqmXx2ewYJmHnJmIY//IMMM9/ahdH/z3Y5nqU54+EvLbZkuWyvIkV017Vw86U7
+q0oRXRuRahDyM8snaEp0pnt9+utVY5tgGV6tSvGg0MG677R1V8yJWw5IRJtdW3tZEqYXdt5wojg
qWUXKnv5sf06DegVB9ngbq8eSpr62ndR++gabvWY6ukXiYQp48DZ2mXpbjuWTlKyq8mCVgnJuNjd
dLZSpc5OIY8tSRKFJSigv7tIja1kDCsPKZxxMw1FMq1sN39A9zA+SIDUtU7CpKyxbbyruRue3wBE
yhEFdEs4vGkIKYezAWQ3hziD7p/+KluxGMPgGF+HNBmC7RgQpyuVATVNVSvEOUzcjUp27EFfDhPq
Fw9BVn6ftDo5ypKsdzrtc6iskwdhKaM38dB2b+poHUeIU99NdtO/mEnXbNoqbLbDUjQU1T5YcRCt
ZWthxO59VRtH2Siryr73XF2oj7KEXw7yvFNW3OHB/vtsQt1GQW094pTdPinJudPy4VFd7M+HjBS6
67diJdtknRUo2FhFAwGhpb+sc5NzW3faqY+zy22gNY1iJYt/DNRzk7Q4g+CDDYQp5s8ryQFxlvv7
QnOc9JKzT0B0QSWEFdh7Rcm1u9wfrP86Y4e/VW0f9FdL9IhIGlGKhYUAPGCoevMkS92omHcYY3yT
JXkA8j+tY5zOd3o2INTdO8FTTzx1GSyn8aNWWX7dkdc3Carby4xtaJqnYVDCJysEJJXmeEDOXzT5
kmJkrT0jtBwkUHn75CGu67tU15WzLE0DPNpxUL/IUm0P/akunHmXkjk7RUGIo+RySP45MyO327VJ
9SF7pGr12UMWpzRdm0YZY0totEjQQgKasaxduahlX4Yqde/F0pAtDYUBmBVBWGj6xeDeQzb+HAHb
9ddcatB1zPTQLxAFXZ2NRwP1y1lrnrIFpmDz175vSsIosoOsGxYxIAUs7HVQUyjGo+1uc/tsmePa
SrQIsHRuXORhcEds2PDQ3fYYKvFAT0PoLEDnaWkx4C+OOiE12U+2Ai586XFl20tlrdy1sESxnDsp
rOWqaOyvZIMsL62KH/wA8wn/PsRLKHcH7fl2FihT6JVLnRLQaiTu7623fmNhnjC7+R4OQ/VBcJZ0
CB//hbyr9lSRjZT1NR70hM2aci/GqPoIeUzKxtL60ndseJDg5JF7qb8Nz3GpuauBZj+0Goo1Mz5O
bzxIIIC+nNVLnTyTdbJV9hv6Ovyz1XGHz7FF7ddrdwi1nTLrkOTaEJEklPiPAFA2supWL88Kqw3O
nWM0O9dM5hcj9c8KJh1/LSdAJgd5gin8tcaucfK9WpH7fBJd3IVHpVYfUp9niEh+cvK0cWfMepxp
IEDCZ2otB9mgz1p4dP8e4fBKL1cqkI1xCxgPffa0Ymx3g1OpL3yUym5Ig9yTxbQBaWwStlnJYjMm
PKaxUwjqSOvWuqJthyGOwQ4x1AXhuKr45d0pra6+yInruCKwuhRDi4ndnFi7T4QXneDJeUBgbFOG
2nhxF3JQMmIRKszA62E9kcr2W0N/QzEMScMkK9eqmxpvipUTrVXyCp5bpb/VZfMxmXr6EBD/fPmX
QYo6CS8vNOucY6utKHHCXskLAlCX/GK8SJ4Ms8eKZe0t3TK3maLluwmMN/FxFl9Z1BuDJ6tl8ZXF
Fj/V9ZyF1eM0pcZRS11ljQzU9C4QTVr3nZmdCLn0b2DScgPPBNkrLA0Fupk7vrsOor0IPmUnvVdk
Lzn433rpClyQXLVCoiFJ/2YoZzlD2Xafl5XFPy5LryYdim2lDKpH/jC73A6xjh5cKc63mkxlHV+B
yVrXtVmeZAPuIvkF8nt3Egj7vucZv2XWmVdcwqx9NlXmNiHz+d7XjZcumKXYxsQgKFvnFKMEez/2
WJ5fwUyM9Os4eU2r9nOk6mfXkbJD+s/ISsv060iJdsJi8nEq2n2EV8W3Jt+NCFb9qnGiXFVlb72a
qHRsin6IznWlJHe1Mmpb17SKZyIt5Lbs3vjRzd1KjkqK6aML5+itJRjvgSoLL6FBalU1id9Bgk2e
4sYP10GWVt+jwUHlgcxZ4rOiKmXzPkduhWZLE94jF9kfnLr4YNOfedVoEIvCeAm9p8n5yoYTTG0X
/VqMThJYbx95ptprvzCjB7X1tb3jJNa+0FWSRODvsekdxg/DKrCxYW1VFf+jY0HoVNO9+JVavPRQ
CNYlHiF71S2KF0GqCrqnO69LIyxfhmkQ9y1uifzuihfZwxydfTBP6YOssmq3WceOEx5k/znozV2V
qaknWwnitxfk0R7lpWSVE44eVjvdoyy1oe7CN8LHRM4dRbWytfBURhqWm7ECvQAEW36Vfcciqy9Z
ZML4jhQdM50oeyF0denTvPiqR2CkDSR9jrXjgK2dIXU0avF18ifUPDuDLwVeHu+l+C67KyrYpNFh
Yy+L6DLYRTt8FHpX7XHWa7ayGh9TrzXiDC5Fph0KLaw2ctJeMY8FP8YXK2+h5OnGAQxZ8pQUBr49
BuDuxu7xpyp6n6WwYq0mmvxUtqCMwqmH5JUPydoK6m6PipdCgnQp/z8Ovk61XO1fJ1ADXEDjtkB9
ZVFsaGH2o2fxGquIkXVqaa5kfa6Os1cGg37tVufjb91aJ/29m8Vm6SDYJ5+nSFqCk0T8K0pad9XY
Kn4J7Wy8CZx3c/SgvwjhhveWVYWrefkTZX/Q71y4GRtZtCqTPDyBgpMs+vprH1jtl1CvjcuYBQlp
TCbrLRMycYfEYdyvLHL+P2Cze0LLCU4AbLqLVdf9aui4yWGdKJ4Qa+m3Y9Iqd75bdXeQu52tHpXK
Yzwh+BbC8f5q9t1Fk+PnBBmoIar/KnMsKka7HVBoxXu49N38YpdTd0DGetrHftPeZ5OCqjBWJF9I
EP3M4j78FYi9qencR6Vqr07qjLjR8NtTFpJZHFfqDmZAd2zDGbfWPjc3EdqfL2L5o+DpffyuWA1a
1sTE8Ivs94ku/P2k1IHXNpr+mketsy8rghCyOAEp2ydKEl+LmJzqe81tkmtxCPiVZlifeaKIjddU
jGTL9TxnfaXYmvFI0SqunW3S1fsKI8Vrq1UH7d4mInQdGxY2+7w0xGpwGVtaZE+aScX+cbkr6D0Z
tnFKf23NTIiknSNQoVxaXbeM9oGqTNfW1PWVXdCr4to6p7G/I8UOGWOZubZJhGAJrl9bTRWnZ1ND
cFxOFUZC34kWHVVZZG1Td3PXIFuwjM3HYd5ppo9pynJdtdfGHfZtULWm5tA4Zbv3p/wV76FxXMGy
bM7ywMf7eRbr93Yzj6c/e8huIZTXFYm8dCeLTYnJcB6amCYt9pGZoTlnd27BGZX+PYuvbiOOYkXb
KkD8VFbKfvIQFPF3OwJZKkuy0VLQn+yyYRsv429d45RYVBqTC7vVybNWEy9ajqXpbe4GZ9Y7JzSP
TeSz4slufgzntkIrx5MTqxl/PqsI9ngGy/rudjG/wH6kUoqHhAfy364PhaNB5CiPN7Lv7WK2lhxM
pylPt/ouULIj2tVf5JVvc0e55qwJjKnXOexn31ahii52K/KgRDithC4u2dPCKvu7Ok1Ds13JsoZV
xj+nJqk09FuQHNCVzBMALE7XU9m1LVNlFbb48cmW/zFdm0Y7zQ9ILSyXnJZ5rKDjqUiWjUlxkBhx
tY0aO+zN0MF1B9U9VAHfclm0zMTmuSkszsJ0gy81Hm6yXh0d/VDVgm0s4Kt3tYEKZjXAnUE5G68Z
0QBZn2TueJjDEXKgnBxbHnIk4AqJgbChVUkFyEPZxu6pXg6y2LZmtRU+RHFZN1QVSWpy/OVKaMIg
MhXb59hu7XOSNl7n6vMdi7BBbGxpsHy73xD4Yl1JcvbZsqNsUSNsG5fe4TL2Vi/PXF/9HCaL17F1
YB6NAs3V71Xa7KZJU05AGlLHyM7yMBkRglXLQZ7JuoiEkQcOul7/0YDUOATEZazsHCv9bhJlcfyj
XvaQQ0mT+9ua7fL1iv92MTlWrd3vBBCXyByh33Twp61Y7BGn5QCu6/NQSgPFFFrJwQrEppbFW59B
D8RauMqw0xo7XpmqGWEoXQcHu8zS3RAG6ZfITx4lpWRu/JivRft7Dxcw+v/u4StV601zizysi4Ko
27UEr9ogP2nC3hg6Xru3KjuNEUe4lW8jai3p9npRnaHHZCdZf+1sT8L2+gxHO7Pr2ge05mG2GDh2
jMROXNJ9tb3HlqpYVZPZPlwry7zZAehbhFypK5ZDU6fRhmds4clprg2qjX9Mgpr2LBYbp8XbaVQm
sU5Tv1vf6mIntO1ruZDeTbcmVUVOdSVHysrf2mW5adDC+GO6f+04LncgW+RBzmipzmfdrcivjoVd
9nHyCkeYbQIBzXPJuIyrMpjK84gbI5mdohJ3FdwUoYcUZUvnN1rnBW0Nt5JPeSsrrdpaTEEmPfaS
Gu1TfWieqkjwX6JF9sFxE8IlQ508as67bJM1IE7jvU3kcX2rs0x8PKIcNp2amPVTCFbgqXiS3eUh
1V227cKxr9eQdUYoYkRDwmavFc6wVzMBBibL0jPBuPTcEPvYh6hAVH6hDnx3HY6yRfYBy9mCx+7R
cV56ywa4k+q26HUkw7JUOxZm0jcvfobhr1lhhec6wXNmRuOHmoFZr82sJQ9dYUqXBgAk8mY6ThWk
ejaOwQNCmhg0KjAwEx6dV0NmTH9BtF9DQhmCVdoNYI10F8ySgaBAGnUvik8Sr9drpDtspLdFmsQH
Zdl3wV0qNvo4jS9lA5g8slDWV53kcJ0Jo1OCKz6Cjx0/vzTLL/6cIaLalne6qZHHtae0JDv0d1me
yUMTNcXeaHTEnoLgbP1zILQG933kby2LHG0nnOZDNt7q/+g7j1W4YNv+dY7b0DBx+iOefBs5961e
nt3q5tKJThGy2csd/HGlW528mWRGetnBhfCfrk5uRLvKyhHaCszmjDAsRvV2oG9HJ2s2dTyD388e
XRsip1K0zkuZaw8l9kv3gkTqS9Op82q22/SuHzL3Zfa7xiPuYvMe0Go0g7XV2f5vtKXoLl66swIE
R84U97WKb0z4TTaaSAU9+fxc2HOf6sQssWEL+Knjvc7RX+RsyUCBZZBleYpM+nAE0brwPkb3NfPx
+U7H4SJLUDmfs1wM99dSaBDYcsaHa8my99lciEdZchMiJBa6Abluv4E/hzY8tPO9PGgAYTe5rwsg
CtTllfHZUIOoxHLFcTatMDsLhv/SgqjKKuAfan+boUIn4D4Owl2eRpjR/zMz5Hh3k+ugL11MOKE7
ZcYG7THroQV082AUdryfDBtmWV8CLVkOOlGRc4b1vObzNMKulLpOD3Z6PY9sTynJvnFkaKvaiqCr
Y+/z0GGaFCvjSUTT4GVEtr6jwlOp1vcapT1PJJl20pXSvkw9aTXZUME2x7dTfPSDCYdzbn9CyHJ2
U9MWxwyzBkQAb6cx8Owjad1mXseBVhxb1cK7a1T8A5YOxJwhVFpmXb6EPTBwVvj6QHCvfMnY4Oxq
rLA92ZpBLjzXQ/aFYHTarrthXjld1DyVS1IVlZl5Zdq4OPaBiykADClsRbpcHBvVn6+HJB9+L35X
ZitD6FcJ7ogKwUtZzvy5CH8ryoY/6tKlX+nkWNDKIercbvhvMfc1cKAxDMl4TFm4sUNRw4qN4kfV
rGHCVE31vemtF3cU+kvSjcY+sQ1/m5a9/6ZAIxiB0nyvZiRH835qL7HI9PNItnNd1WN+P0ahaHZB
ABMtB+WFHsbgH9QmwSuy0fwHbTnw1FRdhoXIFhPu34CBZZPeDLjG0Ci7sUT/JHwdH+Uc8hBaESDw
YAstFVxaaMx4myNlaOjTV70sUdokkY4rVBfvoh5EuN+b4SVGx+FSVCGar41vEYmgeGsIl2JmtECf
dEyYbg2KZVZnBeCmXeUo5+aN/a4HPlrLYW3fWRCL34buu7VU+3hAHbolOEiWoFqBYA72KlxXFLAG
BXdUSzlBHjY2Q5CR+FkaZJ1sNVUecxFrpw9w2GqNBuFKyWb73m1BiDu2EX0XU/rUVJXyUgLt2jez
oW3TKlfec1NZyw4TDtteVyXGSY70c6A60noFm5GnTBXkdz+tIFozZbVL9PvYMrV7IpLDNsgUHET+
qZNndRxW6yWcsZ3cqYdDyJNRP40OX0zGyoNZp9rFLV5kQS/4g1hlgP4OY2H/ZddTl2zYd6cbAwaf
dxtVLeMDvexXzeTbO9kgb8UH+4CFT4DI/OKKbUPFV7om/DLh+X7fl2qwIqFPwLmep51dNfZGdnN8
UgSW4bLuLq3/36PMPqpeO8yXFF3rHxAn6h9gIyD1oeOTTCbpdKvvopxE8Tw7PA7STTYkqRAnQqwH
OUjW83oRfWiHJcRl6/dku4mwD471JkzxLkV1YneH7oD9Uwka5PtVp/xiN4rl9S74Oj0I20ODY9Qe
ZJZ+b5bN52je0XfQw7/0oPvJdMH5qvMnFQDtRZomNHFxinwMPW/SgLKh7cf7PE2Ep6UqYODGOU8q
qmpSkSrutV0gIucsS7J+qZK93Dn0d9fEr5YXAP4MK3wuJ81/VLInQMJQXpbDjCWTF1djtJVF4KKL
jXI17ap4RtjS6U6N2k735pwhZEnWfQ2laj7Ixsgepy0uzPlGtuJ3O95lOT48srXOUPSawHHJRlkF
0wKorTHdy5LpE2Pwm5PP402ueYvfdLrYafQASr0UQPpaFm9+1VejG1kelz5NpbRr6WktbGeEG61O
z46DbKemYGTKlnd+VmD18DAxvk5LSVYJTfuCTGx6lv0bvrI7bOJZdZYeDjCixz40COAzmQuZApEN
kGIaNjpadMEeiy3gyL9PmT5OwmL3aERn8lLC44aGR2TtNDa2K/43H8e6LwFXasl6yib89pQel4Du
PWhN9yE5WvzZPNpwu9NpItuaZvbOILq+dWzX2hpF+l7GpQJI31LWIenJPenYA0LA0aPr8+euwlH8
6hDoNloUmlXN0NG4MMaLPFNM4EZViYCjZvGxxsqQYd9eLqLH7pr4E6s0oVgiZyzJg/BxO258w3MK
jShusiDJ9/b4OLnLjshF2jfg+khgTMVR1+p5/apFsLyRzzjy+x9XwNh+FEjsPZVCDw6Bk324ffAt
jAN350equ098hdgWj8OskhHfovnVjKZ0Zy1oBqcZD3Fd8lrRz3EibIoNczUhJ/VQwkTchsgeJD7o
80p96XT1q6tqzkqACPOMzifaqdirWidBJCaAP0PQrfuBXw9RghzPqRbbLjRDxIPrCuTPyROutDmE
AEQiYgPo2YZ4Wo6NR6ZjMwwd67JI47sR2OIqLNpzRzg+IGL/V2LmSMxWersJCrXalq2SrQYDgKmW
9mt0JQE6RR+q1c3f2qrb4V94aGbzXi9rcec2YFtZnPqNG9X5So2mX373rc5RX+bZ9ydS2LwXzQcq
g7vYzd/6DDCJVnZQcYsnDbTaaqgxl9eUtyBP1mZdsaxULfZjofEtzd/R/drqvDO5i2neaDc/BdsE
zzS+wAaojkCOeTrB7GVlxD0hA0UZ1tqcpwCszK9apM0AvtlTulERrunwAZl0U+YssFOG2VRVJpfI
Alk9B+TtzASPgrHodqBFvylDnr90/q8KCd0dJLRXhego+4T5Uo4EkLJoEZwaUxaP2faEql3AY/JK
5gpVJsILQCSHn2kc1Bd10jFDS1+6vldfdfvYg6BcK374osIL8QqUDbyR/wAinsYBe/GLMY/HIhQ4
cSXZZWjxfFKhyGzmhA+DRG+/i8CTHqPg4FbtxtYwT/SLGoscY3js1Khm89lWu8hCdLDvuwegH55R
TwMoZOOoFo6yElGUgbTrnu25IGE5FbPX+Xl9DOPhUHdgc5FaIjULfF3pxH4Y4JgVRg7wFVwXsvVk
+yMbC5WSNFHb4RbX48oQ+dbFsYE545oTdpW1a7sI7cxIrC0QkCHSC/t5hsdgYAG0Uv1cPfJY7qyH
TmHr7tcHYtgro2onUBziGLsh/PCqirRNNVXNsUsQTr+XpxW8t3T1W9usCSrywup3jegORUmgC3Qk
o+Qsqmy+ThDgERT72iob52EH2SOH7WzUK6zeR3Q05uYYupG2NTtxL7SyOgIkn/mFRf+HrfNabpVJ
1/AVUUUOpyCULQfZXl7/CbUiTU5NvPr9gGfGU1P7hFI3SJYl0eH93uASl8L+eNfNkEx6ff7DXGUj
k1m8506sbvKsDHxmv/hs65grlHEQ1Q4ZVLn7+4U8p++pywZudprEL/Wfuu3cRdT7OjW9U4xWNXTS
4Vfd8fUIb3mqTRsD3xrvZirwVbmaZA/eY5tnCf7BBK/a4rVMlibMe4jIbf+ncPAsgajrYJta1+Gi
JO7j0EanYnGVe4TBbzQnF83o30pLVnucS77LMldCJ+r48jB2xP1neFBtMVDCp1CtddW9S4Z/4taU
OBkm9iGzKajUY7+PhrYMeL/ZpSimg5fwgRQ1ni16YQ0PTcWHpeXitRip6+sNW5dIHLK02C8Aykdb
dNeiqLD2yaq3sVYDsWbDkFNJTBSZaVQ0s72somtb4yqRcTOq2vBUR9pHojtANV17UdlvBP0yDCHK
Reus6IoAs8/MUy4wuWhl81doVeWTSW2o7V9celJ/MlOiybucwNT4WZaGdsSht417a4cDcuV0dzUX
742pJr5nTGx93eKWOHa8b40Rf+EYbmrrFSddY5GQudmHbL3F7zN3DpzuWsvcd+3Z9oVXEvhe1O6+
otxz66EstnEnb6XVg+ZiR4KZGjosKVQ8Kbv+DUw/9cVgfRhVjCILyOlRqN5xzPE8cbtzpcx/PAf/
K8v7bo0F8Z/GeCqpPPmJoFzM5DwFswWdr9I9NwCGno7svHKqa7jZ5EVzSUfJGOxO5p7wDN3v16RP
I9feEXRPcFfbqzm73i6tB7IzMsSpYkwv22EQVnqhOnrJi9ZGOmwX0HiHu5shsABZ8gtb8XvZ/k0N
690a51+tLqmBJeYVMvalRoXozOCIpu02O3wQvnWEjYZOmb9iK27dJqZ7X7Z5e6zjrngqZnh4StI/
i37xzb7Iw4JF3U5HmIUpVkrClzbCpS3soNdIVm50YWAI5GbHtnDjK7E0EW4/RnJZvMI6RazUziLJ
tHM6Gig0k3K5VGk2HktMkK9Qw42DJsT8MCRFzGIWWSv0mGY/jAQjUmvSwjrNnKdCxkkYtw9Nj6zH
FDbFVAIg8c5gSVw25BwmmP8GKwsykJlK3dyEEm8JYb3ahkdc4CKat647DopN3kCZum+Son3QOlaP
236Cx3APDciYiWTCIl/9tjTsnLRmqD6Uhpqol8npVFumtUPy2vmS4fJjslD6JOhaPpAVS8jJcB/g
qZL61wvjgwmMZEWkWh+T3fdk+AqVbE2L/AxwkY8YQxSfYX38AE9nw5Y1w4fmRYNfwJL68CyskKzF
bT/iiiECH8PmAwnZhKk2Fm+xYpwJHNRv+E96ABJOtNuaqVj0W6mgIpqSj0VmdYAuyYTTHct9Y05M
sqZ5Tmz2xFFsDjeJieut43+9TG67h3DGXpkJaFd7BVLL3LEeWGuDKHlPytIqrzLjIxvNYLB5l1gM
ZVh5TyMeyZjC9LGxoqC4+UCNgvYbk6BnT6YW2FDG96qqdASndD/cIafEjDcIGv/qTk1n3g/4iexg
CtkBaViGP2hG/thYo+PPIjPCDAjYN6zhoFeZRyZ5Ou6X+jZkzXzsuzS6LfwvSmpf4Sy+5UkkngBS
ex9PKqasVlEfsULH0a9cnmxzZsKu2jkASIBdh3M3hSl2suqQ9gFiBrk31hDUvkwDFPHZoz321clb
SFrF2pEMlnr5p+orckaq5dCQyhfOtfcOOXjXt2OK8IX7P1pg/M6NK/hXbLghBA7LBba2Y4dRlsR+
lAO0di0+OIKH+zRFMiQiPL60MX+yleymr0N3nANc2UXf7nq8QxV82Ji4BcIHAAG8WCMr6L3C8dWi
ohDJ9CDTyH4Zaw9Q3Sr2XW/U/lgBalRe7O4yAuD8jspy2CW1vZvddjhj1GE/pEJL+dEt8BY64DLN
ZEAtWUI/OlV6LY0Gkq5xnbGmCwdrTi9oO5oDC3+Ld/aIb1pz1HDMEEoXXSS3KuZQ9S/TWXqC2IR1
HLCiSZIUCHl2tFDKqDpUscgDM33rbK15iudJ90HU/mH0psI8ivlcWv4wD7WfdLHyaNddf5vsSfFL
yvUPnRhFgGcz/7jqnROiN8oKmCeT7RNoN+SGHuJP1eJAWVoEaDuahjM9npc+prSuqmU35I17fhLT
TXZUG4lR9M5x5JKYWrgPGLkfhljJ/cFVH00AndCw59nXpHKWXvUmhO1cS6n8aSe+qMnSjAezbsqw
m7PfnQF/p8VUnOScp6pv02s+jJOvpLPjT6QMSOZ9XCGYVlS7OBPkHYVzRHqQGFBK91FE6BrWHcJR
/piTOV7MCPrWVCdB0k9W0Al+J32tF2dFDEhADYDReapO7jyQDOJWzRXPsZvasqUyoIoYRCLqRG5A
lmVFJgr70k4eiS4TiyetHboDItswmRQka41YjoWVd1Ar61fZVc+KCuENg+3u4HTdd03kemC0mskd
lnPzeebj0k+o5Jb45MakFq2YaD8kWYgdNCv4WJt3KruP2kvEGY2SSvVq+afrDLhyLAt23BRoKMhZ
D5ZpIn2o977nUWn60hnAOrBpmnK8oTv7kVLpdJsgGeJZ1O1zN353MKsJJ08nzVTk4TLFNpvhgQ9o
GMTejiM1FE7+TiDQtGuAzEIsV9UwT2ATVkqM0YpeX8sJP6wuYooqbNPwHSzh9ko6OIEsUhmIKDmA
weXnDOtdW9XtC2v8K2GXEhvz9MnQNOVQcyP50fyUQ+AYi1Q8d+xnY4tCs+FSNxHoSmTTsWNVW52V
Pju72oinQ1Hb2i6FYOMLFzvZ9DEWk8XyphuCAobkznKy58QTF9ty21BikUvdulD3A3K84+KoHopf
TE4Yw5HSDFmx7zF+X3q7ws4rJYsBP/V9NKth57itj1w530eexUgSiTjE5em7hu9O2PTdeNcKYKEC
9U2j60R9eR6ZpQbGX02UTjvCH+98VS4Yi/sD+DPfC4Wki9nYOTkcmRhQDra+05Jo0mJop0cFNJ9J
vCfgM+hcAwVuIKR22QYDS4p9Y+Fg3uAEATu8ki9NjoTLoBDoUfNvJxj0+WTOvspK2uyJBmP8+YnN
wngRaf6sRM0SDKoWPYjO+G6b1OGXoT6nfSZO5cxwbSrQuSqqGbVzcdhlIj29kL2700ihC5pGwxGp
ipDORfCUsu4s9RKS15Tj6Rg3foTB6kFV2LMMjdV+HqwFFoRZFUQj2dZz5GXLHo0mYRgZgtR+Udip
T0UKEcBrTkRe9udpFMN5e/R1iG2zPxcp1Ck0NczUDnA7/PbDXObugS+3Phu5Wp9t8K69XKrbjNnv
GUuk5ZwWbNo8dEnB9mqupBjQ59OhocCIDc0F9ML1gfpvQvPac9aU761bAKCU5tgel6Rgi+yhanbz
GVvifj6PRo+XudORhWtrReFbFu4semmeBmUNxKsP07yUZ2aRkk3QFIVWX73bCawAOcQVrw/U0pGz
W5hVoCRVwl7Kjc7bgeUr69Aku1nA7vtIUdvz0rf4ZY3WoWU4PLdqBncxYVnqN231mmbyVyfL/vOz
2h5tH1OyWHifz9Hi4vzSi0O0plFu+4ztkbs212g+vu9dW5cTb5qDPUXj2Y7fEDXVDHShhtU/uwuq
sp6TvhtlXGpBpzbZScqFgvuy08bsWVO8lDR7/jGKbxY2lDhBsILvuigKGKTWN9A8DlV3yxSGCyx0
gySbo8JP1Cg6LHlzHLsGY4WSVMQ0OY0SXaLCYg0a7GSct3eAmQd1YWd5o2xXk1dhuEuwPey0pGb7
Gxl+IiFRYhWC/Pu1Kj22VqMJXkMg1Rmig34WaMyD2kHH1vx0l/wnuIvLJxvhITfolsvumDYZWMSg
JuK0fVe1PlXndj1sze1gYubBz3z9Kv+/0xFB9P919eh43X4eBeBiedDqMSBs+Tubkz7oTFzhQlsx
MRgps+PQFB5FHS6Ia/K/KzfFLH32W6+FnymcBsodhwHG337+LciUoAI4aYq8RnmfnHKlwM79sScm
cN8nw3MZ1deMceCMSzYJaXXxAzu5GKC8Q6bVkzG76I8d3vDA4YobOlmr+BCjKSfE6fISNUXJ2L0U
e22Mnx2qYlFxJ3f9rVVd4zCsMIFqWcV5irGJbFv9MmtE2xwQIjj3vuUe9gYXvmRRvXqbDJL4gTJG
SDmMJ6WyM24dd76JGUM2y1E6Vk3gjB7mDc2QnyNV4MstFZZViLEufDQnvGAUy1+oOvvKBEnLNXQ/
82LzjuNRWdfZ2auW33zZ5NNAWj2ZY0m2pp7KXUKJTB+ldxvFYhwAlWtUY0HKFmJntV31qBaIGge2
UYHI69Tv87h6tFIqzhhZYdpfHhDaLzuqMB5XYfhsTDjbknGju0v2Aeu/vURlagZEIpe7Tlmaa4Zx
hqFVynvNMLt3ptY95eQSPZOdSU3aWuSvKRMHZ5Fkz0vz7jiiOnALlMcIHP29KiMcE1LlRx+ZdYA9
7QBjVOQ3RWXf03lDWOeJ+BHXyRtIUkACt/l9iMUzhqjOn0KApzEv6KViP+YRy5cyThu/VYltMzv7
J8i8CxbAGOWosj8ClrxQGkTj0jcIrUBLdlXcZScdx/mdU5jLERfT5bBQOtjB0jR2iyK7kOXjrqrH
9KA2K97hgUiVIK1S9PYNoj9xhWJ4KdGTGGmVfI+U2kYJTjFBv2e1Wq3ilSRUDXt56Ub1u+y0j3KU
De7kCCap9lOHIasldVMPH6Cx3OG5nD2LNCsQt2Yzg1Qo5yK/NEU9XqwVvZuh+o5G2xy9oVXeiL4O
hWcAqaLY20V9Hk5xGr/BFPwpCJp6MFtdeTVUSyE+Qx1Dty9gNlpVss/byf3egl+3ngu3vovmC8Bn
vMtN7JQGKshHHPl3Lk7uPzpvNAInc7RHdgDGqa2T7tChPbsnpkT1TiX8T4t9sOWlv1sCiVlPa8az
V+X1mj1iHj1jEM9GEwFtKKL8ldd/sBVIqJEmtb+0tneHbRzt48RBMNwsZGwt2fIIxPB71uVpmYW8
j510n3uMLZISPjNB0+0BJ3CGo63+nfNmz1vNO6OWlvtf7c/T25Vb59beDtvlX8/+6vt/X2I7bS/R
Ns5jVqacYpBP1B9rqPHnw2ok7nhrb4+2+WZIVC7a2v/18Ov81+Vb33b4n77tdba+WZPlzlDryWdv
l+P9VpY1k+r6UHVYwgCn/rvXGEwWBOv5XIGyG5LH9q/251M/j2KmDKhYyj7ORHPeDvU6zY5mhfnY
1ja7+d9t3KtZRQ7ptZr1+MXSVG4HtzACSETxy9ZXFzaje2qOh61vO6ho09VkjK6fXYWdPcUMY19P
kiQ3nkzc/D/7thNlt7TUd1av4/XFP/tSpfM1bVBPX33sOAPM7I3Hysy1MHHr+GDVWI1XSmPd1NpU
b1HhJUx9k/zRutp7ARH5rqvKdF4iUYQ2AUTP1bywfYpnH4u36nsC4+KQEgB5pDCCahl1IiF7O033
ht3Q5mApUflgV0N3NdP84DLHXkjyZIm0ZPkJ5dghY8t/KbFsPWDu8la2uXNDfqiGCtsuhpXYfhjl
lLLCVx+ySZ4xQykupPcKInUgcsOiWkLD02xCTwr846rlh3CwneSD9u4A+g+lbNXv+K2VOzHaZagu
2hPl5p4tZo9NY5VNQYe74cFsKyo9KoZMmo5QjqX3LhsG9a1xRgijMlvVFCBJOflQRFDFxkda/za6
vmOnDKGxj633ZTTrXYF27iVPMCmop+onWP582braWO9vXl6cttZ2QCgc7zuk37vt+q1P9vqbZw3t
dWsNSbVQYZoepJw9eGpS7KoiG19KEZXIYJMxVOJxfNn6korFLuSo29bySOW8JE3xBxuaf12wTFhV
g0rCQVlfYzsU+t9ktMTz9jJevSQnlehC/+uCoSfuwVTa/LT1Ndy3V6lEN6+jhj9XO/wS4ydtKVRC
PLN577jxCk8wbG99sZU8FyUV1K3LqgZYt3n1axvXt65kXOZArTX9sDXTuateZlDxz1coicDWISpt
nNeN5Aod9CmtU+eYdoyvWLb8m3T7eUm3sD7Xom9f/f97HRB/CR3S0Pfb631dOGjJfaIax86mGAMc
nKoHLAPNkzGt/jlNMvlb33YYKrV6kOshThXonPq8rJ5PSHP+c+LrYi1bnGOtq09fXdujOY+qh68+
Ny3+qF7L6qdNPN9tu/Sh0ikZC8J6Px999dmKhETQeuftCoUK0+dlZdzkR0WHDCN1XMfT2iQMRS3k
WwwQFEasGfZbUxNVQRpCj+7asbo3EUUryWfFCteLk1EUx1QISNVrcxR9TWIwPBOsmth7CfvN8HL4
bZUJwrw2TYrqR72DuS/H3n6bynY8CoUV23Y2n7rsKNt63sUmWvlB2s45almU2BnonKpoApO03H51
hpItmCfet5ZVaNl9rRNsrcSN7FfDtHBJksXz1lX1MauJol6uWxPGlBmQ4fi9wedhp0+N92olg4Il
WKKElue5rxpLo6NasqjbmhVWL/ivscjZLjYYLp5QMFy2kxGMjtdvOj/rIRhng/uqrp/U9UUzyXJX
el553S4klpg13dyTjERwob/1jcw8oehwofLY33tJPSCiYcqbtoltm5tc3YmAO9cyjhyQiwSGrS9H
J+/2whlyuJ9xcihxC3mNx+e6bou9pxAMnY+r7+Vo3wEJLIq/Wh9WsLLelGwAncrVb32cMbvPZfFm
adPMOp9RjtCYnLW44VyWBLkzPqL526BMFFu86B07aCI4Jsyfvd48bK2mHttXxzgxOiahTZalAyvo
7Oi6h3wrw4q6jMRbN4Fk5Q0lKWQ0+lErYycQ1ARWlM8JBpguYZKb/R4Ya8XGXJbzxX3ujTIw9SI+
evoO81H3yV7zYLaDnh8NU3k0yvZbrytE8bjN/MibxoajmsCrc/YuioEsMqV4HMR2jdRQx0MQ16zq
hyyHpyhq1FeSDDfGjd+aXnQvwLWyhrW6qjR8PrMGu2g9bI/EusawK/MhLuP8s0ubouSsGMNL2uW/
ats1jh0xFjdh4Q83s8S9FE3xwdq7++Wa4jZMhfaHmI195nUWm6XHbl58FuQlNWwpoUtYme9hrvwt
XvnXomz9mGyMNzPtTglE3l9agTGc8pQTY/Ki29UFZ95yX2ngtKWSlqE7pjVF7+Qbi77mMLgIGYT0
BP70mXwyh6oFCLCTX634ocaLffA6bWXnl+5uVsEIy1RUBGe7gLYqzFh70Z+XdCxfxz5d1YW5OG/N
vMFvFNLEFeW9/RT1M3WofmzQahjTU9Kaq74s7fawgtNj1+ARYinlkbgnQhxyuz0C+rWhucrK2Zkb
Lyz9+fMLNUgKFDtIUGGqUOinqJX7qS4TwBvbN/VnUgdf4oURyGCo3ceRXpH2XcL6UrT6TXcknrVF
+WyxW3sbFld7lp2+385hfepdejK0/cn+3TM4v5nC8e5FjT0/ERlvg2XMpGgTwryemzCCA2sm1XRt
qfgtvjQDyP3aGigWv5Qk8W4t/IDrl87L9iKqrTdZNYTtlsVhO9d7lvrsRO3xs1WbzbMcl5OpZiq2
Fvoxa/LlVqwHqY6XJZU6cA2tuu+G/eAqNl5Gun2bdM1hzzsXPogOngFbp7GeSS3mmHkuLoXe2jd1
1DgbzXIJzSQZMKxd29up7UABk5in4bY1Pl+qaDqLomoFjFqM4jgOBbBkJwhMc61WIBjCOWxrVusf
oAhg8+yV9kzVAjoRzUnqXL246nLqxfz62dzOaG09nBMruxX58GFWaXUqQLxuw9D864ADphOSK9cE
/3NiVL3pQeetfF0rDUcz/G7SGh8COdYi66skEjBo0lMMA8wofjQyd9qLATGllqvxI3cSIgF7WObr
mmG09W3XuUQDPW5NtzGfUNyBMqzP/+pfmg77otZW8GWMW5ZykbYTcyRQnHIoU1lCMEZiOeY1ReS1
LzEZPTECiqFz2PK1sMq3OmrEbWt53hyt1EoSydeTo0yVgzLaKRvpsn9V7VJ/sMn9gDEiIb1wRQMt
lc3xfWuIlhoTfvXLdWtqEioHYrz8sDXruUxP0ejBHF6fiY1n8biMyecf3rpsaw6SNo9ftpZVjECs
I54oWzMh+z20zRWIXp8ubKs+o8Ww/a2Z64711CLB3Vrb+5Oxfszton3a3nux8rwmK1XI01zf90os
mnWtDrdmTbg8P82StJvtvdkFNkgpRlBra3u1JBqe8hqIl8IypTVLK9VAabr2bFMsAEieG8Zqs+qO
qk1lKCb8882ZqtlP49j5AYH40vKITDrup85a/oJbvM8god/rHrkIRXlxJ+ebqZ6loU9GZ32DwZEf
68qOztJYxCWKlORIHbI8Vph4PupF+p5jz/Zbzs6LOZPX7rj177KobCKXs+ms1YQauynsG7Cf5PeJ
QnwHgs/GQIvd9JZPZQoTJ44vlEgP6bS82ktp+NhxQt+oc/tBLn21+EWj8fPmTh3y4nE7KLadP4KG
YpEd/XBweAyGDAW6OzbU0+JmgHAF9RwNnYrHZo+KxZPTBbL8cmq75iexmcrJ0or51eobfnbTk0Ye
/Du5a7/KxQ0o0OPcXUd7YYs/TV9kj0ma4FubO8oemb76XlupxqJV7jVXt9+EfaAkln8zlmXcG0qS
hq6SX2LF+8VyXT2bbfLHTKqf/SRMyjuNc9RgjFJlcwnOwmhsatMcBybED54wsn9GikT5bLlQkRqK
lQ43dtZM3k4XlJcaiAAvVXUAkU8p+RF6LsuU8BfciakSaN+aJfaOlkflE+J7HjYCe0zTgaw0woXv
uiG6Wv+4qL5vY6m9GGp3Roje+FSh4r1agYhZ2F0CvEzgvSpr89YxHqfpH53EE+O5krZ7nIse+8MJ
gnIbgDMqR02hroamqdmjndexB4mM8y+oHuotBwHb4a9k70q7XHNklxPTIxabdvy9Kdz2vuhM2nTp
jw6Fe8jdjgAx5aCYk7hOXvprLgldnEa8c4la/Lsgg6ml7pEGGHeBNQj5TPFWO1iNJc6xVYLKJ7W7
i0vVeIf5+XO00vqviQsmtaA/Sd83iL8FYH1VYw4xyt5XMak7kdw3vqiVljw1sFS21nZoLKntEc4D
jq1XbIeo1mG6TN4lQqzygo2KBu0vPcKNCFOyGB4HzVTvM6XV0NOpdW9NCyPFW5HiBb+eHGAX3kcD
MfZkD9ety0B9cHASu9l1bqbdvcGQsDwhEK2trUszLAzfZJ6dtyess8/JYGZm7ZIcKy1a3T7r/j5H
UFrNpH7eWmRSxWHuRkTorCcndjbUq+V5a3m61t8TJYch4GBJv/XpZIScBq+0UdHwhO3AomTPrUG8
6PqE2FXmMGsyFTYCV7CqTp96nerDelJZD9MI8KcgGjhtVwB1j+eowgXq6yVjNz9jvpp9vuciGasg
8eb7nAJ3zJam37uIaLSyFee8EMx0lUz/2tLGV5q104sj7Jd8/F2TifsKphnMhjURTVIar/VU/xIZ
RhPbOSBaNcCc0jvCGDVfbY08Q2XwxnC7tjT0+NwQUxNsZ0eVSg/x69YhMp+Y72vIMO1cnD3BCgIp
WvKyHTBHqcImi6ow+0+fPieFHzce5t22nrzM8QTLK/Lw/jYPuUiMu1v1xj1bFAZ9OC2nrZkqXn/S
Fugh2yXaaBt3JrDZKZLP68uOMvKES+vRXp/exO0eunuEITratkbpnZftkKUdo103TicnTp0XiTf6
bUoVZOY6BLTKjFFHk0hz2C4GERTPeMmxp4lkGcD67UI+oCmE2Pyv12v7v1WhRCHKfohRxKa8oKXT
ibjr+s/m1ifNdtdqzGdbixDT6rA0EOw+m3rEs5biEEHceNy6JmOhnNenKrEeTXzf+uYlOmslN8bW
aqUyHKXVVlzBH90Ogz0/1pBDHj67UEGSaDV6vuGUyZPjcptLvLPsWTd9artUio0xftkOnioOamUs
t601RW53S1r3UOl5kgVLt6LAbeP429kqYZbPLR3orMvS/Vef4WV/PFVl0hvq7llLUJX9ccgWnTr1
ZTvwO8LBY6Ba/dUXmeNbm6jTFUcf9WWIo/TaavbH1wUZ+xScN7ru8NXnElcmp88X7YYRwwpshAJr
suernqRPcvKKG3NgcaOEfh4QQZy3FkGZtupvD71cvGjSlKf/6tueZnXVz1ZG8U6rmwKST+k8bwe3
BSV0EASgUKevVhVIutRi2nGXoVG9t2lU36OsBl7z0uSw9RVJCVaZQjEXZVUHcxOpPr/96LRdbBpk
tFa4FBsm9J9aJQ4rZ5gN4z5p7+1Sv0iAwgf8Xtt7lWFyawolClTkoGQ9jBenNwc+AE4K6FM7Cqkw
pTS7vatzmz52qXvaTm5d5IxpgPedd9Lmsb7N5nSxWzHwfY7GW2eO9dmb2h5W0BwXD21ch2UdKupY
77rOaXeaFS8Qj6JubyqG8zBkSDTSIcrW+LGQHLdvnRFV6OGHa1QPD9YQ49guqEmhS/gZ9eneEhge
ZBY7nYoVgFdrzXFK7N+LW8Jga0/qEKOcUAScbnXQd5I1SNCx+ig98oX0wl9gCQdToiAkjZjNt2of
/BjU9SYcdFUZzzAm3rTWSQ4xEwIAtwolHZLyMOgXdcFrTmqKQXEBdZKrHPJJf2ffxWADe2FXG+qt
6PMTYdTKtelr5LHD6J6KAQGcYbyl3Ziy/XPZJ8P2LAbh3pfC0s4zFW3wDgmYaFR+Uc4SzZSvTiTp
4k5M+XYmDcCrh8yXC3Mkm+EHdXjWROc9rSZ8MyIGe25MdI+xcTW7VN0rBKP4VfK+LMsrFaFdIrV6
X9nSvQwFaTAAATz8OswjDvC20VwwLfsGw2IihU4O+9oR5LjqenQbyt+8jDhjt2L4+D6PgWMaVG4r
RbsWrFULa1KfjZxXHptiuVgYzsYCkkihELmY6Wjy5uzYaWN7bvuoDYmPHHed48TX3G2XnSr1b/FE
fgCMqT6MFyQa6lI/W9A/nhvdfFPSpDkWuDVesUmEV8KcEuadI691VYGS6CP6rSUK4mYerhAJjn2L
IaNss6Bs64NXTN6pNOZml7NuYGtlCt8gTStoh/5oNSsjMO610BztbA9B+CdWTT/WMNGjSZU84NMa
AuhwfYA7Gwgevxu7U6DrZVJeNI74JEDXwkuCHXtvMNsbNmob9WeT6TO6OrO9jBANTsoKeBjd87ai
1tZlNUsUfkY9dZBcYMxSZlhGJKNU3/Tix2ArtzxH54s5SpCnz7CX/y6u0Zypv6nMhFmL55p6nqtG
ezFReJj87Cn32u2Ywb9xmsAoRXLtyyY+xxMrjELj/p0FuTx5X2O3N66/3roAsnIGPCmc5I2gXhaY
GRiq3bTtQdjzT9dU3evkZjIACpQCKPST7EC2GrUl2znFgyARIkZMo5WEllXtipR8QwhQBmOa/O6K
mpTsxDwylw8ZjBXsrdo9H+jfNiciZgKGp/pAKIdsrCeAEd1PYZftorS7e26HxsztSH9TjeokWsbB
VDGDZRy6oO7BBNryCU9T9TokiXaV68ExCax0EGHmpS/0OArNHqae0HR2KIrTM/ZaXRhnmRtAyton
VfxbofKAE0OCoxBQxq/BGut3ia05k/axL4mxc1w0TXpMDUSdkKd6LI8f4g4iz/LMjkQG1D2b2rwR
a174pAG85akq+POOtVKodzPi4sfJA2Bv9X6mKhy/YKzC9CkbGEqR2sPDN9PrBPPSJzaLVQWbwj5T
0fCYEvB6yeO97a3us83wO3ajAoMyA3qjq+eQGMwS4mF0EAtRjTqCeb/XkDLJPyOiwQTab9h50Pla
2wF1dnyzlGqA0XQVqlUPQ7lXCGDRVAX7SPxi4jiisFC797mZXyZhd1egxiJY+hlTtEI+ol5+AWnu
fAs/+ZM367BA9cg6ObZ7VqLBOytZ5J6tlafTpP2PzvWudcIwa3YKw1jeNMcFhyUiVP8ZIaIemr7/
h+wDA02wHYdKnc0PI1lFVwfwuFoFxHGu33PHvcB/mFllTxGf4PjPxK4ddCOGvpSmoW70kd9ViCiK
tAGokLFJ1a22jo3bVL6V2fIAdb2CFOdZkG6YDPaImc//x9h5LcmJrO36iojAm9Py1b7VrZY5ITSa
Ed57rv5/+NAsevWe2bFOMtIBVZAkaV7j5GxK6QWaW0jHvpRW57LKU2iHJI7P5dSa576uvK+p9wqX
qVNb/+ds1wc473xLvQUio/yMjH6fW1lwo48B/oiV2hyYqXuXHuDZ2QIHCu6ELSnFZ/LWQbh3rIJF
D9U8MGa890ZreEoHNIocUojJJMfWDF7zTLFvt6AaCmdN2oz8r3YNRQybrwfLZ+zoDRY4RjcD6Fl5
3skPfG8feqivaXR9e6bMO10NeBV907id65htU0Yff6a5fsyDZLpRZ+SbEIp61uLgL2txiIKqc4du
sTRGZmd8iJdgEc8x81G7U826fR76dnpo46XnJuWVQftcRwx1qzo9l4GjhvvU4TGCCbsqLfOPrk8Z
eVjRW5Lq6ByaxZNljPZpzCPm30vgu/ez18FDa7X42HTPqdMkNyHTg5vUd6KDUUAAgI0d3Vq2+awH
BuwNb6RFYfc4gLhifS8+Dkr9PGNQycIek7NuETjTsotgwOxlRxqqMLBE01q8rkBg/idQOvaLerRN
Cw+7DCNEUssvQWqMmdeyzIJfg4Ps+bIRoMz6UfexdcVwC44EZqAeHOugB401BcPEjNPnWJZG7hCU
vtJQi9vGnJ7UcB6hdvj2YUSVZj8tSWQKpn1v8rDM1AVo5oQpvJIO6clZA13kmcUtiIzLMMFIAa70
0Jnds9Li/5SbcXLQMdGc94KZCxcCvwX+7OgMUw6nYHYfxlTTGAp22aPH1txN3FRvM3Cjz3htgDYs
foRDlH5Wc1xivPZPt/Bp3LJK4CxLBfWsM9NJaVCO52r3Ekx8wgBYecrBl9pogGOvVkqoAPb0QQpM
dW7eyGlwrXyN6iC/ZnFJlz12zgHDbuAhbCkAgivmfYFiWuQUNu+FvTfp8u4HDUpvDVAA/7XhlDRc
D8kR/z5mgfWSzOFbiBQc4qOnCWu5g+OMENwXvBEA7UOi8XTR/02VfdrXv5jXtLftkJ3rseYzCSow
cbC0VhNIQi08zrq+OuG3Ii+NL0jIo8g5ftKTwLqkg/JpZhFgobeq58pcjAfi72pnXGJvDNmtP3jx
7F3DyHqI2UrbpzqySq2aI/xngBi3b11Tn+60NH4dVWapYRUgoxhCGV5MmiofXZuk4XpAgd5WBYgg
q7uTzYY3WK7SXoUj0ulXNzjaC7BdF2lsZWIiYNJPawuuPk/75lCktvcEC8B5VKfXGQTfkwEYwc6D
5lTFyZeSgQHylRHQypLNVEnOqZ4x5iszAJqKck46N2T8ZKTAX6xDHnTGviqL/gI7onjtzLq5jLBF
9pLUE6cBb1xb+IUqzT3DZf5P29kHvQz+nGxlOhdxOt8i/PHUz4C9TddOHgOkXB6DRqvZGUYK0+md
9GjVdnUuoYEbAewMJUFiLuPnLUwNd0Aq2AnZZCyCnTOP2ZFZ9KPBOge9+CHLHrsQsNiP3H7FtKy9
ZgtmplxwdSEIi6vpPEYLbrQ2JvUKMCJckKQSTHr0piiGf4z/kyX5Uj1bXrv6pgy4r14LnW6XFSmh
AD0bHeS0VlfBwT9NOEJerPA1bkAK+C9jE6SnADqv3Rpwi4bxBaFy1A3xvFt1NQQjJLihzGTC4MYO
St6L4IYUdH4KSXL8Y3Kb4AZcljUfGazySyQqb7RVwSW7SDSZWUGChcXfG+oCtK/b6igIlcp5WiCF
jGWzm6IHbh00eD34u0TRlnUEcgOwWEd2Vb45Sn5I1ACH3D/NfgDFvNy4ZjmjxDZ8oq0l6nwUqKJk
jnM2ZRepGTktdwZZxOD38e1yEqmlheq0s50sPcivTNCaZgMW4bPF1e8cNOpZFEYcbw/JfbiC4fzZ
Lc9vNCPnkqNGLXvAEiRy/yUaM0VmSwvjO0lmWXUOS0XHf2b5TTm4zwDvjItcUn4GzsthVA2Ik/TV
0SvLP+W4dAzgmC+PcX3Ckil4qdxn18VaSKNb3ljq3RmpFTyZAH2s2F9pDdBu2aEep3Q8qnr9Q/DA
EgzAqLsafh3rqUiOZNVgY0ZUOSl9vNscZdN7xXmFavC9h7l49JqQJ2ojIXpqk+ZFnr2duI8D6z6n
uTbo1q0hQm+PoTvbW8VN6jD9a0M027aHBnZYB0LdBAd5XPI0JFbi8ZnsJCqtwAp1n33lbucVfX6D
r6MH+kyiSwARgbahnCu83ulbhmQGiADMGathjEDfReVoB0cKkMiukd+s0TntQUPZ0UWuNzYNa9TN
IW6TL/Oo38idW+8S1NJdYaXTQe613JWkLZj/txriKwsGQJ6JHCExyVubg6QlMFIcQ5ouBKKJ6OPQ
fZIHvzZNuTVba5CSmpXPXQWG/SC3Qn6k3tfcnzYo9D0r6IxyreqPdrENQe5yvb9m7vQzwCvjlDEa
oNW9aFXewrQNT/kM0bnVp0/60nXIZzuLbec8BzNIYOz4dip0TpRwG/SErCQv/p8Lv/sNEsX2CrK7
HuprzfXpoSaDQ2lv6AfpAuT73iE3frEBZI2fUri8681d4RTv3pp3oIqPd9BgG6+IYE3OzckIc20+
xm74Xeky9bjdYTrBG91xoXRvnYvaP2WYWJ7kt/R+9Zjas3pCo7Gf900W3rWDrgDzWPqh5bWWIyX2
r3leV84IB4TJQVpCH6cnhjBMXZaGoI9IO5lwrLfms1Swq5kKpr4fkGC7SAseO2u4TLnFtKQ65s6A
8ZG7gCv/9bp2kV79EKywlxvAFRZAytb25vje1RcAo1HY9SJvQ/e2dMvSkiS55RWs/iw9kqXPztF3
qgHMSvrkBAp9pNSXYHtb3zXRNSrlc+UNF68x99IS1kOwFTgrb23DBoH0hUzYmzMK3dftDd/asuRJ
Mlhaodr3pwaQ3jl0opOUmdLYpcZ2/McmKGl5ahJbj5H0Gv1QLskPeWuzLSvb/t31YCvHBn9qXgO4
crsUeEyRAnLrbRDOy4dD9yCaBjoT1Uk/4UPBPj3jAnnig61jDOo85nP77DA2YH54p7NiMasFHtvJ
cw4oZai7W2vBqs5j+ZwPbncyzZmhRKOrBzUoWLvpEZjZscF7Et7BlC92keY81IcgKh8dzIu3By9X
leT6Om1pydyayYdDiiFtLz32g9IYJaiX7lpiegJ9yYzhPMndl5MU4BknMCs0u96HVr+XtwRWO7kS
fZc7uMbX3EJESeYtE67BR0h132zhUoTcsC5W0ivr4FBD4gXfMCb656gH7o6MyVHusQTy2ONleIJQ
LnPkKf0jn/QbLzaykzqPt4lZIlDmdRfpZDR67RbObol67iEsgvULYLR/QsrPrnJCefISo6dvFzaM
HQ1/zoP3hFmcu2KW/cR+8fE8O+XSIrbOQNVU58px2+/T21E79BPE++0ulplDT5osn5nMzayDb0EX
ElIJvICv4JINRuIe8qNShb01KCcGuiijZh1XHTMZbIHXrc6T61wngDns556hR6JRHNn7DMewdXS1
zqIiLSjYc9O1tROGS/1QG4lxkvPL7/LtaLy2+uNs5O1JNY1nearbo5VY3nU/Y2OKdmNRoPQPhfz3
BG3rOBT59kt6HdgxPS1xpGH6AMb/qGV2Dju/zYd7BNnNC9C06kZYO0PUVTe0hV9lmGXr85UnsfUx
24PhA/1XCj3TnLz6YEGQRhbDMXA4KXgJXHrwAwqBx5JbJk9GmnWgsvZoAQ/2C3xD/tOZS4WtR9+e
5Nqgl/5+uwlbqcSkyv//VIzVRthL91tXLz9GkutYfEtLbM2cI2w/GNAizCADXaWzLyoei1JFLrsO
uSSKwyav2hplX/s3rH79UMrvfDfKWI8tc3cPLOCODUHsMfjQy/iVzRGWruU1mQvkYPbBZH5Ha4X1
5LBPLkUThupRqq9Rf/mCRoBBuiBdx3HSUmVEtwVb3jRnbDloKEVqwMSWQZj8nS1YUZKSfjeWXX99
OY8wce7HAl23nngDPP1ks0s179HrLdiE+sOVH2LWN7qrq1cZlsmgTmISrKdehoWSZCMIzesAAshW
WapsSYltwfYYt7ztGh+OjfLPHUId9GH0mdJxdgAB8ouk5c3jjidM45fy9cfPpVbsImVQ3w0j5RGu
LW/+EUC0v0pzjVDSBTS9PIOw65DckJbyz1E5eu2qAOU0F7dMDx+pIAFMkW0K94ETIgQPKd0Ktjmg
FEiw1ZPk4P8ctDq/rr9+ackr2WN7Z9bxzNqYJdfT8479k/+8dxJba0n0Y1oOWs/6rtbHC3w8StHY
2GjtV21Galb6lW30IMf+U95WRUrXcbZEt0Cex5aUmBz3r2d9N52R2lLxw6X+Ke/DWT9cKVg6fIzm
6i6E0be84ng4s1dRzetcVV54CVhKgZwJjYjJ+7LMtgVb3pzhCQr9jjpVaxBdK0l3Kyffqr4rkahv
BiCE2IJfW7S8LPKebC/L9lL9a952mLx3Uu+f8v7XU/lzvpD7ixi033hwcWhjWLuMheXDtQXrTHZL
v1ur+KfqH/LW+cRy2vUKcp4PddYrDIl3pynDL7Xzwr10DTIHldj2jZY+ZEtKbBuQbZU/5H1ISj2/
RzCg/6nVSCIkhQ2Rj5eTvXeGt9KE16jkSnpmKZtpdVZlJ90rXrbuHTAVtPEtrcwLjVzS0vMzFgpY
UbIyy12XjvzAaue9dA+s/iPJ2qAM/JuutnYatsoagvQuRTlDwkT87fBP3e3WFByZ9G91tmaw5X1o
LpKU0jFoUpYsXJhegzqbh87R03kv898EgAHLRcn4GrRDdFrfeLkpW7B2q1tabte/JqVge3UlGbCQ
8rv7lvSHM0jenCVgJ7SE12jr7NeB9Vouz2c7ssGrhMlbdrVYGDGWFZJ3M8etmhwrgQwMtqTEPtST
TnTLe/fHpeTDIYNXKcfZuAcV+FRDpcA1QGqwUm5oIDmWD1eJI177Il2XnyVZdpE7UyZ9nl1m1dk1
mWNd5GXfnuj67r9bzHw3VNiqSkweb1T0rOitldZFrtxB9MSII2RSdLSyh9kr2Y5BzUWbHuQVXdcp
pQWMsx43X+VF/r2qVavBEetstk4aNgfzPLsmSATDEoe0JkHdsFu529K+FSjon4XWrlx0h53ZwoCM
Dnlb+bB0LTibun8rnG2LDYBIRbtG7qo8lzqDyqRXxWsZwzMRPrm+POC5RXSnXdczP9x+uanvHtE6
dV3vusxZJLq+5hGbk7NnTke5y3LZLZAfsCXlxn7IW2d1UvKRzLnVlOLtL+lhqO9trPV22BhiFRfk
/ltXxOPZQAjwqMOYJQn1DAHS4orPJKWWzt6Z4SDTs5R6HjBPPUnwbqqDl0jLztpyDjWps/syqNud
1Jq7bLwoc2ke1D4DpDcMxa6JeNUl8DLX3NseAE8NTNFdmrgnNQqt/IhkEIbLzOyPrEqCGp6ca6MH
zSOcLPaaEY2FeJ45uBfF6l3qj68Lov1TgAzsJ/g39QHVuBFVDpKSlyF4lCVsT9QjKhCxXaWfYs9B
WdDs7qcYLQQH2MJJZ2//7Fn+/JRWzU/4jpfe1Mq3MTdx1Ur973nJkLzGB/7GD1SQ4lnz2nuz9cNj
tZ6dXT9gw0FrUccZhl3Q1PWXegbTy5S8/Kyrqb1HUQd4VYRsl1ostgAmS8lzblXoN6nqoUIiGGWo
Ehw3RozVw7iUsJSEmcCAo0CYaOemsMuHeUqqB4lJkBWFg+5ZniMszCK8VcTBoayQH/Kn4ZvJ5tm5
VRcpv0ytDOxIUOI4LAvAO9dn5hYXMarXKoRPw8dIVEXB8NBmBZggrx2YDzeFewNSg+01j8X2FtWv
qZ+ip2EJILpET76afEdWU7lKVplh0o3uIqpcBcJnhsVujRM8NahhP6nshD6liqbtp3EMmEFQENse
0KrU5l7mWIriIbubhqF70JLOe5yXoM6A7dm0LdjV1NgKQj1L91rp4Io2sDtjTpjNjaOOLoz/15RE
88OaAs2B8q9Dm9uOryLLe0RlJtpXYbtD99Q4OpplHqapydF4A0xfGJp5YztAnYG1agfd1pN2hxU8
Mhg4gJdeWN5VUO3umiXYkrTPc1KwhjogbWTDTSv1m3w2U2OvmYZ2I0ExBX9nFn2l7CcPlrsXpiw2
I2rw2vsARl177L8lQ/7VYCsdXDh0f94tEz4zyETQCkWFSkw//8V255cwT/RvU5OAVkAQ5zUYM2DX
6GA9zhp7ydaUWLeVm/c3eh+3lzSNiwcegQblv1U/NaNC48pS8141+tca1aB7N0oeB7tqoL4q9ae4
Z+PIQezxKEkpYCv0M/Lr+bEedz3GHbtpqR5rKaZ8MViu5Th2sMlyFGi39BmHdwdb+Xcnnc1bOVXd
mNqD44UXyGE4dWbIop344FSH7Re0QfIrDOdkPW9tzO1j07XHXEXWZu9jsdwH2QtGhTOL9kXDXNk2
byFaNJ/gnvcPLB1fJYXRbvsJ0zrIUNmIWNNSQ/Ico/x4UOK+qi56XLgGAtSG9sOKxRJVYNDdoZ/W
39UDy8plitqJFDgoWVyRwUxAs3ErdFNpz4htantJyu3JUnX5VDlgwpb7Y48jQJdqGejFZ3v8tf6d
NMn9s13UcM6W+4fqNIi8bPLwp6fNjIOJcopEJaiCGYb7lpbWNrZISL7LlGIp6SB3HIZHgDMg8IJh
B64LS4WyolPS6691HYSX3h4CNN7D6ntZnqQ8HsL6lOqoNlWz4rBgrbi4hbMeeG2CKLjrlmBI0D1x
Df/8rqDvU+xk3gLfjo9QGOLbcszwMFwCiUmeySwbywYbRbVYixr8Bv+lohyy1t6O7kbMAf+XQ1J3
AF+hauePp2m7ApHb5/GhVFkN3H/4dVJbLjIVpd7cpe3Co2Db0bRaGLAoUt5HS5AjMHEvycn3USyM
/AHyuhqzuL4UlyrK5butksRw0Lvlw9exj8zBscuqSlhWHp4Yk6LcOG8WUHyUpaT0w6GSlAu3qI5e
HITA10Plau+OyHTz2JUAND4WLL9qKmPIjs9zYX9NsScFuTS76W07VemtO0YATjSUN7uMfUaV3Ypj
UoTai1qGw52r13/koaa+DHahvuhh/dDRwT6wNw3TBdFBvn69gf6XU7f6rQ205M3NOBWbOeV9iprB
W1QpX+AjB49SaJbBvV/E9pOUgRQ+phDqPuVLzbF+SwbNfNX8qPisJVepwjcne1GbBvrlQ1in010f
aOn9uASI++nDzkxqonYz7+izQeMtSakD0ZSNHN/9S00G3Etd1i5hLqVvmVejo60Z7V6SRt8MFwPX
1ENpWiji72yr6z9hY4V0kTXqxwhC5VvTY4ugwtc7L/zKN6Bg5cHOfPMyYpn5VNrjKxCa7ptV/pjd
xv1iKW57k5UR0km23n1rZoAUqmPlT4jooKUb9r8Cx26/AdnSD3OMi7jd+K8a4DM0bNsBvCexOGyP
M9aw8IX/zoIW+bvwQ55uOaBis/muHLz6iF9bicKcU7xmimXfNGk3obndF686jOlPWL/vpFABxvYK
AuMLTF71XrJsv2F/wR3KsyRH1CSumjcle0nWsWs+zezSSUrO2A3qvYrWmw4j+jaYZnAJhRUatzVa
MdCiax8VNju/Z9E97g5g8ZD1RFr2WPmDcyMlfet7R1MbLNodbiezT8+DYEz01qtVv4fjE91I0olU
G5hC1N9K0saICB9I3b+T5KxMP1y++Q+Smvrsif46fzJi8D3+GFzCaFCe06xV7yMfGnHoY1c15NUT
QJ8jshP9c+m1n5O4VW8BKwzPut7yqsSoyleJeycVJB9dxFOp1NmDZElgonIU2RAY6k7HcLXAPTaz
g2epHkNHe8rN56YpTm7nVhgW1kdkzMtbe3KK26iDLLeIBZe3ikrQdJWLzKw6HWKvR3TcjprHUHOw
Ap+sVxTC0m+qVXlHdDPLiyTh6ACp14u30hyRpDR6sARLNa2f/B2afqBq8hF3ZbUFKF6l30BRZ2fo
+M5JZ+/jm20Zt7mrWC9mmDn3ZWIBsFiqtZP61wRa8sqnTbtnWKfhRkTMXYJZS/09K3gN+N2/87Yq
ErOU9q+q17XzPx2vtwBgOjt+rMe5eRiVCrh04SJ9B6rL5Ev0V676n81xsN8aZ0QfKNeLuyw0bJSN
qxRE3DB/6Sv3WaqORnpXR4b3tW5y9eDWsXWflh4GLHWNWgq6sJ+hI/1UEL86xsXeBTZ0p5a8VO4Y
/+g0AGKW4TaPntkFN4rtJOcoDdUXVFXqnZzemb+qpdf87Ng3AkZkxugwTsaFNdsS1d3SevZsNMd5
3R2ELbV8l2R1gTIuGlV3JX3qnV2Gh97X45sacfLfBWsdKS63XHgkgJ+R8T+oc6DGBykPwT3eydli
xyXTrqATVo55XZNSrHtaMp54taO1ZqDpz5aZWGfVHuBub6ewHPPWBl5+44SWcky1QseWanAuFnjf
K143zZ1mmM7JTrLpacLH5dC3avOZt1EF+uM63xk7P6PNo/xqvFd3SBiSjoV1en6x28L8CScRsUiT
fp7Wx0ubJQ4klWA+1lVVP8R6W19MoxpuIre1cPf1S2wJOgd9LMCqdHwwM/USWSy/97/Fwfg5iUzl
LwWk5XqhLNeQiiusP6d0+BEqivNVs5sMtWNtfglttMEZogSPUKjdc7aIiquKn972aWydWQ5IH12o
QGCcG4v1Mzoy25/Db3TA3yEfKn/qAT7IoJMYYTMITwLX/CtDGVnv+tcAa46m/dR3YJbRKW5evZY5
YddX2iO4jQ54Dg5L8K6cA4trvn/RdQMPqtFZJA3UFLc4rctuJeY4NVuASCDcdwmyLvjXfNKcwXvN
U++rNsXKvdl7HvcA+d46TOsbSXYGynO5E3dXPe4RptIYl127Eqhb0bje5wBC+q4aQvW+r0r/c1TP
33Qr0B8kNS8IcEe3HqWqpzm3kWb5T5IK++DcpmX6ySx0/7M/s5dYWM1LaTjOZ/88+pnzLeZTeW5H
tT077RB8L/RzPdT29xJEFpY5VX0ZgqH4is3dvrci9xPzyDtMHoqH2lcQzw8gb3R9qO3WvKUgKthx
xll3YbKMZ8SOJl4ihNeMyPhL7A4txNRCJ+g+bxUaozYOld1ZpwFLwYduCWgY06HBG/kgSSlgw7Z4
aGbctrCsvgXsxJWDrgLdgOHojrW74sFYAhsp3ltXMe5zp5o/sQrwtSuj6fsULUCPFj4HOlBI7qX6
13gepu9jHVn7ccmPlvz/ru8iubTV912f8wBP2zeBi+Db3+ff8v/t/P9dX66rVwPMbc88mrkV7wcm
7M/lMNXPumPqZ3vJQy6jfpaCnMnvmidVEIpsnssl78OxfDmRs1K8c6zzTZTAWtiWXtWoJ1pG9jtP
xT7ay83TVk0Kx9jzdnUN3yAoH5WstSBMwvkatXoIjg7v+qFHx+aQjVrxKMFo8ryK/k3faU111MNE
vQsqiHh0UpJAoV29a5dAkrahQLpf01l16JmuofX4d6nkb0k5QvLQtrvNIwBtW9Z6pi2d0unNo/tY
crt+9Nh/oEjmfUvgM9Goyvzq+XBJ9dH5NNm998NAgI7VQm94tFwXw9EEvZUiVSN2X2ETQzy+NqVy
MnRv/oIiw3DuOKsInr5By7rKNcIMOF9ftdY9Ttjeg99pbHQt58a84lHnrn0GN2LhOmAYJ71pxxu9
DtHsXgx3xFFnNdexwgJyLpMvKZCgR6v76AKygoneO1czNUvEdVr/OXMS5RmB6O6gXzxsxJJ5RtPF
QDsGEXLH3DEEgRcTj/VZqbL+zOQPWXzjV2W235EYGb5EMU7wSdf2j1HTaxc1brOrP6bmQxjoeGIo
5fyWhukvQIfZLw4OsYO/UUwTdSysf5/xkzkbYxc8VEXTPBdLYKgMD8MCucSlgqEvVKQGyIbVlg9a
Ci8eyWT1OHhF9yD1pRoGT0dMIycM0BCnSRZPdiDzeMn2yXOAWAe+ak36hOgQBhEWxmhGp44nfNDq
ByvoknMFteY+ySBVGKM53zkuyGLY8fatkw3RtUDK+NYzI+vKskdx403zcJNV43hV1Ki8zYwCYx+/
j+6SxkfiaXDcu6Sc8HqtWSSJusQ/xW2r4sCg1ifXK0aIroguIwDVP7E/UR7T2OmefdSe0A0GO0iP
Axqo6vuXucPqB3Pn8TWykEfuzF3fhSxKBYX6uWEPeh+OqvE2ui5a3uiefsF7pt9V0TTe+/hQIUGd
p4dqCiOUsNCP49sE4cNP5z+Sxj36+JF9Zfe6QdcmWrj2c/QClvRXZKvzH0pi/MHCL/RyK2ChPHD1
U9bycfYH89wvZ3Bj/DvAgZVYPIxMqOwJkU4gJn8U4BL1zvzhgTVgCpgNt2ijjk81RuqLGv+M6Fp9
71lThxQybwAzo/KSNRpCMoj3jQ8xai0MysdLbirRq694zoOjwaYVI/jQ7KHcWf5w6dNh+mrazJ00
LXh1C94UbcoLZAPU8WsEAPAYlEN/kaP0OLnWxqDd5I42HFhLLG5gBMVMVRdksOVhyOG3uzXLnBBE
lCoSe5dpLyWS+bFkqz5mok/IBbbzSF5VufDQ2MDbZzgGPlhli5Vjq3RvHQaWN6OvZshXcEsy9LZZ
txxgeixJFO2849QW+FwuSd2cIC2ZVnGVpJ/W2g52YrzD5AGSnO0wKVgCPQ/xeyrNqbwdvaTCwYKY
BFsdiUkeTuPUbnQgSkMOGut/OG5GMKqEoP5f55bku0s7+AhcGQnt3uVth8j1x6icb7L0azOF4St9
rr8rYse66j7cij43XlTP8c/GECr7OecxO14RP9lVcZGUHGQa3kvbZd69ZSkXpIvmB69roBS2eful
H51qZwxO8KMNlFcIRd6fpqadcpfuAB3wfaDlekQFRHm7LP7FYsYj6iDxH1VUx3x2mvbrYne/T6yu
vGed+1ZFxP0eokB1n2tVeELOdN4lplrdbwVSygDrdz0TS56idfZq9wZEBufm5QxyiFTckr09Ojtn
qNmz/M9FPpxaGRP4Qrr/loJRRTBzuch2Akmmg3ph8yu+ObiD4tx1Y4ABEdahOL4ofQiFRHeeTJQc
n1J76X21AoSBGbprHkxfLJVS9+KwVHDvqBiXxCpS/2tyycOpe7iPlkDygGBqR3zR2AVZSrcCqSd5
Va1mJ3PAFUCSrW3kxwhZmEMXTyzvV/UfEcQFr1Drb1owQX/ry+nNKZm011Pjv+Rz3h+AivXPehej
humM2aNrIKoSI+J2P1n9cClA1aLgGIHZx7bqaqUemiBLLz44avSQp2p1ypjrPqlo7bJiwOp1atUK
C+tF9plfF+5Z83a/JDYKKNZsmt/xFP3qN6n9s7T8G5WFzAAlHHhNSZ0wlP5clK2NfB+LDGxodL/G
ybvz87z4aTTxD8VklZreEgA9qCHL6nHDMpFasJD0zOZs+OzXQ4OmORMIKR2dsLwNM6iAUppj4Xnn
93Ozk9I4DTM8L9GUk9KptdOHWjG/J8uZ2PHIH9O6epGy2HRZc0JoiTF59Fi2qvIQ4yREPLDm6FFi
EqhZ8G3W1eq6ZUkMN9TwEOPjsx61lapO5pxjNqJ2kuc0IXKTbgPvFHHQ/VZvu446ZPeNWdg3/qxT
d45xpYKJ9DImXskWkc/miZZqt57babcqPCo465F2TmekYqRAgtFFNWivLHVqRZmq03aM5is/y7lE
2e4/p3lXxXJiOGRy8u1sPTYd+96ZysN6Xin205hLvKs524qyxw7LPBi2BxFsOb0y1FAEYbC+O1AK
1kvKDwwz1T95pvm25hnyC7aLT15CE/SdTr02YXv4x/+01f59Xu3PLEC3Yf0Ny12Q2Lsfu/y49TdJ
yXrRrsweY4RdoYqfrdZVb4ulmlTwzZplHolKiQST3H6Jmm6HdMPwh8eO0L3SDSdGG9ipjc19k0TV
vsbAIoigmgVN/sMqmgkNPTCNvXq1Q38+O173F7Dc6ZAirKhGP3s9wTrStPGj8NAH84buGqbtn3Xm
eyfGTLcuEqZRpUcHzZ4WKVvvp61gkR13O6WmI0do1kQO3/VYY2xwt3Lr5I155gUS3mez6b1dz2uH
rsf0WvsV4OLusxaMnAyaH4rYyUOvNndODP+yAvXEgs4xZXWrMPUfYTHcKex6TgWWiBMSDOWy4Vco
bDok8H0v8IiZpnrJbaRoz3WbKE9qzJS3xM/oqfJvTcYi2MstWcPYQ5NKk/s1T8PEZTcXQ3bdjgpY
yTtkNZJL+KYqT1IAB+1HO8O4qtoeKuf80lQvTWoOTwMDodap0ULPmZIPM5ARxMtifkjwWSkxWcEh
B9uDqnNQdmjH3QjV1PTAG1rpQ6+NOIAtwZT6z/UAjz8rbp1gsED9ExSsFu/hmI0nvUBrTPJyFBjO
My5rLJj+ndfNDCSQNNXPFS56hWv5j9kSIEfhlU711NrINaUtujgjY5ineQmi1Cgv7uRMO0nSgxhP
MWoUEIaaNWvLb2zzS2S1xo1kuUqlo0s2ztiFNsVR8iQwdF9nmwjNRqnyrgDFPGNq1gtLtqUX7O9O
RX6VC0ueHw4722uNQzvV7FgvP1IKo0TNby0bAcIly2JZ/cFxlMMQhPFzUR4LCMFPraZFz+yZ/xqj
yr8OmnGPEHl6N2JW9SSBO6P1j6yVddry0qnPMXFDmT9RlViB0ugbeF53N4mVWE8s9lvrsV1kH+fC
x/0obBtctFwmbX6Kx9Bsle55TeOQVJ3qIjX34HwpD0tLv10Gz3HjPs4eo4N+rtgrqjrzyfMS5dGK
boMlYUTx72C06m8dq5Y3k5ku00L4Prj/AczY6o0JKkfpTNcrJ3LUwsa7InrC8K57KIvpsLaouYwC
sMbtDlXk5rGos+DZZJHsWY+Ll9IPxlupJgFDMn2HLVB5kaTU1VBZP1gVyHE5SvJgVKRQEpJ75nDj
3lMD7ynNDe8JXe75xjC674FfoxKy5OtO1uMkFe/82IX5L9VQwLyycx/eSw1Gfk9qpBm30Uz7K6ao
vSiBZz9BFnWecBCrjlro4mUwzs6TFGgt4p5qyeaMJKUAwRTzoUoZMOK8oaAcG7ZsJRvGvo/of5Pe
utvqhqydYmbWOOdUr+KTO4GYQM4yfC5hQxywZ0mOhoMy2t5pK/9keAbK4ei3PCP1HD2bbQM31EhY
PxhZD3WNFFOhxctEAsYuM25ZuHnq88hoowyww1MwC/EXpT4f4eHfsSWJvt6XvMXLD28ND/zdYq3i
Yw79f2ydx3KsTBdln4gITJLAFCinKnmvCaErg/eJffpe6Ivovwc9qSh5FQXJyXP2Xvvq7xlxzSXz
6yu1uYSGTcL49+zvYfoTSm4PbGoRTv59EnTtcPBMJt5zBvClXp6S/4RXm85bp+zu3nRzpc2i2MVu
xof/PVAjY3X4+7j8cz2MonwVm/Fo2Jw03fYvkE2E80j++Y/sFrAbNEiaAnB3r/4ezFbNKwFH3cbf
+L9PzcL7SnMTBkZfgX38+/I4rjhE/55mYGdA/ucZYw7A+QztoOz9d8TchQiSHM5I5kpGiH9H8b8v
A3s5b12ZA+wT4g5wmGFfEDttsTQsdsPPMojvCFpEUbeHmfiv0DYeY3Idr+phfHM4rOeUOLC9MsRH
sghvN2+q2pxfU3tnVpxy9/d6/3e0/579vQPMsJKdiDlWGilpZ30wwy6PxVER1HYlrbo5STYJeZt1
vqYPh0nI54JXbdszDn1MHTrvMKeA0VGTuwDpV80Osw4T82ZKqzbFtbO9WX/PSqANuxYsCPfd0bjq
IVvErWTQZTWQ+PJivvw/BwaLMsdNej0IRccINK2M6PfTcGsT+0uUibaz7Es9dfNVn8jpvwdLpPNV
ZG5Hrlw+SsNsr7D8tlde1QId/3taud5o7P6e/kWv/j37e8idqEXt5EHD2LTz9RbH0lgtBh2Kjv/v
idV4TnVKS0AAm0d0e5l/D38v+H8fDqUFWcYgNzPaPEzrplH8Oxz1n+f076laaXhVpbOE/3tn/s7T
/33498wzJuKtMPCyeNdwAnmwNtnf/x7sQSSHQdjnfNPe/50Hfw/p9uHEiGO/pv3l71NNZBPuELtU
I3+xBuNfooHURt7fsa4fCqPvSB+1Kjxgm2vsv6fOYE6nHMgXJnmO6caHaAUxBn8Pfx9mKRRiI9V+
O0rK6UwwpPLX3hlJRdGy+ey4dWgR06XqefHjkmjdhHzqUHdbdjGmHh3o/Xx7xfxkNBtYl3qE3Nia
wDms9Auj851ZjvhG8+uybhMfRhmD0rVJLhItzHUcDQHz9t6flvKmNLhFVF5rhx6U1bPeqoAlo2GE
TmexaYcTuIFta7vq97jvzeM6kSAkXTJpnVfVqWovGMKgYh9Gslj6eJ8qgihF5WtjyXwEmWDIDZdF
I7sVpiGDxVi0XaQpYmFGcw/7Hzzd+myJ4lQ1Df07IonSXry3U0tm4VLswS+lOxujX62GSxJ3us/N
EWdyUtdhjyEjGS6AX9GTZIx0NZ3Ra5zRVMFLFQBlS/dTu2VEKwsVLi0KhtPB2pgT+cZuHzYgKnqX
XuM4//YOB8YdPaJS+Pl19C7xkmdBSsBWVGU6XFMiSlODdvWoA761Muj4hGa2428W4cjWUVIF82q7
hwjWjdaoozITDgIculRIjrRI8Ir3k0AXM7147ta6JAiSeqz/drh1b2uLYcCOceSpyg+WtmAE1tD7
D5N2oKJYA+aPHxTPyc5d8O83msxhEyHTcVdqT4E3xwWPhnyTFx5X3nLM3fsZBNKRiad+QUxLeoZL
AoNe8UY3uHTxzA8xwGA3dnWytgYBcwrXU6L9qohsmW6+3s4gM5PqukjWH5svBlXPjbJlk6050U1t
Dl9tCR3J5BINjGkkrGmZmDcmDok5eiZCGqKXOu9JwJX4xHBwhwXtBEtgCl9zvQik2pAisJb92VSv
EfeLEMqrTy4z+aAlIxyXvyVbL4UJsY4BqpwFopd9PbTavoz76H6BuL627r+mIFUv1uPPZdT2ymUj
OBljuBWAo7SSM1q5ve0l3xocVr+eySY25vXNa2lY0IA0tB+HiES4RlZ6sgw6eV6m30NccANrKcIo
GZ8Ww90ThIt8JEGKpQmdaSs7JC3/yltj2K/tPIRLUjR7zX1JtKry7ayMdl1R0Z8Zq70ttfqyJvzC
SdEZTA3jNp4zBZpyOQ36Jzv/JPAWZ9wN3WOfE9XakddFP38nvebdUCN4FgBJrkXosRpfUORawI6y
JCDFs/SpBo1ghb/qewSm+mqZSz9zkqMtNN0fQXbJTLwAEmsFIkkwXwX1UauHVUb6igsxVDeGo2HF
Nl9bXmNv/IzitgPqVH9n69tq5sDXiuQLcW4Z9uYzEYrPI3pJpi7QUqezBzJ1m22oeXBDem3zMji0
zBABy8j8pX0DwkS+Z5N9U88M7QvvIky+rTSma0un+mdNz3YjqcOq6S/ROhAgWy0H4nkl6bJVclz+
kZxNv/opr4YPYyBQXlfLncio/Id1w/XWNAKJRmfQJ1ihKyCTA5phwIYx50TQ1QNAsOxz5CD5XUMo
sGZpp2amyEqE0QbqwLHXw8Kh4U+kwNlq9l1pR/dkG6odo50smFvnWc5laFUDC4EGhrYo3si4L0LD
Y+Dddyr1+758RS+KyVGxh57zlLwk1JuyI0h4y4lFGT3veq14AeZ/DzrN9fvXUUKga9Mc3/10clPz
u9by7zI1v/rWIiywg8yvs4eiw32opmHZuyXDgtRAy+4W6IiSJX4z6ILOJbC/aakf9ay9abdGVbVs
g9gfq3eIXpj4hxOksv0ofLh33W7W5GZ3bm7HJPPTWtIt2YS6bTyfaoObQolGSALvg/XCqinjIDNO
XZneOggx/Kaob8q8/i0t59S28rNP2XjN4i5xizIUenFEqEI/KFLktUwRvnp3ulKkmcWgqsMWBfpu
sDKIPNOYh1Ijjd7U1OJrdjWHkaV9uZCNkmhEiJ5aO0GolKkceVjm7omYN8bQpTjQBTjYK53MpHqu
Zn0vSPXeu4lEP4xmJbU5zbT6zdPr7GoM4sTdGGIPo5VAGy9ellUVIfyZp6Rbv+pZvpr1cj/KwCxl
u5fxfL2C5swl5Lme/ElDyusajLVb93AGa5OJmuhPeRQh05aHKdVCNyXr/n1Jmw8vLp5kM1xmiaZR
n14SVRx7NDj5zDmRqX4Pkg00zXhJAAciaAOM1hV2mDfswLUutDquT6jydnFs+3qiibvAjIMPDTSA
7IrY/ljU/EE2dek7hfbcu4BsVGq+92X+NYHTs9r5HX/ZD7JddLHWYR3T0yDKpwUbeVDo9UMzAC9P
4TCNOYpqjsejIETsUDMGQPNn0Tvq1wMDSGBq/SkehnsyjcgQdOmPT8r56UUPmoI7LBnbRL1XAuQv
AGVfExORl3oFtqm4mKq6z0Hz+MY62TvheYdZeqf3sgfQB23oVM+2grefI5ZfkEck5GiSxn4mFKO+
wTeMhM8Bm25yRTYRnR26wsr+0kt1yfXpbeCfYuv3miLCgPRZvHiddmble0Rc1vjD4HDo4xuDZPra
Ng8qm45zHe37Yz9V+57DwiLBzp/Z4ewz20up/ydQwE5zk9KlOiry1PSeYLHZu+Q1rM/BypmnVPsp
5eqd3OinKIhQztGnVXP3Kgd1MT11N7hFQJ7DfaPiD7tk34iFjOiGqXh38NTDJ63HgNEMKQ+C6M+V
c4OJANj4irKhMyYqmnnnWjoC4+Eg2GecPHbLdXlD9GhHHZDq9Kq4XIZXqWgqr4U7+3B4bots7v3W
gQioCwRHVhk/1bL4adTc+aUqprD1BhIjMR12iX4ade/BsSgilwRydhWPZ6unym6G6GNQXHfrYO4l
MG+nH68tuneQU/IQxJ3UCqahbQRKFO0UyN1XGIQInWJaaBa9w260OMgOh5HIk5UF3SjDwXQ8DP+u
64/ZVIblY1/CiBpzTd+bFsyGvksfCIBXEWx7bnBUkvfetz4Pw8UARMZuzD66kXrSxAJ20xs+hII0
vmgpupfho+u9fTyCFO1TMoq93AsLWgQdA44CYXxY6RoXD0VYK7KgjekIDLpe0rHOj+U6uidCJl+d
FHgPd/BhbL4NRW28TFyeNXydLL0IrSZhboKhmHG6tOmDwfIT4k5C1UR+z5q2lzitfwkZTXxhDIyV
rOeodwkqqf4ZkOvctcMlYZAIFqUu+ZzV9RC3Z0mxGKvqZvQYGpIvAurqGgPRC7X2i8vQIrDjLSvC
nL8Wmx1A7o7zjetxq5FLmLvDljDI3VwSIJX1cFTb19xsuTqmQHarfmuP5UwxXuS+cKnBZIFuI05/
R/rZ6mzXGyHLnuG9zdOzXU87w7RnCitCM1IHtoMc7rRpbk6plt9ZMQU5mbSVaVcHi85U264TBW0y
HjBpW70sQxpCzzKJ/8G3gp2ao9lLjJYrgJNG+6Xp95nW+SmS1kwysGJaeVM2YMxA3Au/QG17XO24
C3uImN6UBdlqX3eDhzZ1+LG1K6KWLynBrBVNaICPaO/yZoeV8S4bhdjrVfsOZOFqqFaIz/WGaP5o
BcHVs2dg1q+T50Y4VEJooFyaBH6rx9SddQpmEgl65R4QLdlEQzpTkEnMPXLBFWJ/ZgMIyHFayGyX
5l5Yy5Opy0ubcQUmHOFcECrBVPLHdqIxLBTE4XKXGPKQyvljna9QzjwXKFJ9ckHaXWlwnIgSv8GJ
gWxkZb8u8SqpZWvB268aZL5N2xZAD3kz+7Nm7CWBR75na4+iFvsRwO22SNU+HFSsUAsC6sNGlyP9
I2dh06wz6MD3MbH+mVJb9pE5AkvGQgrRkO1pUYC3oyK0Pc7+WsM7QGFCbGKCf4UaX6UJjKTc+rWk
qnw50+63oSaxbtJCtMELmvp96uomVDknzEk59TWPs8SxzU8aLj9kKDfnMWdqbTK4X4gqyk3jAWBf
GSKVwUBpGaGe1/b2A7uUHnFomgz23fwgbLi0xjwfHWN0qQOyJgA110NPUW+Z0YKjVmct5WyrO+H3
RfOcFRV2JHkFGDNca+rnSXmk+tKk8GWRHCYSx6F2rjcSCXsjvhfD+2rKNQsRsjWcpsO9U03vTj99
QRI9rssSSNP4qOfUhpY8gejFfBHNnQ2fZKoC5iB6Ix7H3LkfehdbRlZej+7AAKXVGWR775mtSLQv
radIPQxCB9UNQ5QEMRJ3dCcK56S6LmxxEYbk0o0VeU7MMTrduW3YdYx1NYVJqt8ROPJsjqRiekO1
j5PlIYnsES2gc89AhQCXLILZvL653oMrNUQi5sbiK9UcKJVRYFNggq+Lw8yswwWKLTHn/tgNzBuS
g9ZU11XxDDbPY9gZHTkng65JrN2cGezERoNvNdNqp5nSCtyrPgbYSdMP7QLZ4N6A5qRydlOrv2lF
wahlMA/RDHNvjgjDK8Cgtc4QxKP6Slqk97Z1or7oq4ICY3J8m6qS3dd0q+cnKmkb6nBBSlXqBUY9
Sv4MeQiFpwUR2tyqtYzAdbPvxUneEuaUyzKUgTbCBsw8czk5y2st0mIXmYdCMJCu8KHiQY13khyY
WgxveRVvHWp2/lHGu+bJLuCGwKykM+i0klenHTJMpIvMn+eZu7dNqve+mSg5RqkYE/aMhxNCoj3H
g6H83URkZORJc6PiZG8RJLL3lvnc5Oa/QsOwm2SQ3zfeUKu+UCQ9MxCv9xoaFb/lit95msPe0ONS
mqb+plr2HhTgZaHdjp6rDaM8hs5WYwtscSIUTLWyHu9fEdELSdPvOiouuqMBNc8akoUim9FT2h8T
ABs+oiXH72rze7LAThXPhnSqQ1wbH46hHZ11pn/ioeaxmu+6BnUKr/sb3swnFfW0b83kZgU5DNk3
zwPSYKEQrLddQoTr3czdlEsRw2H1iSQG6ff4S77lTeQRsZyyRhkEnZej8+IZ83npgJHAmSNL3upu
x058VrxZIFHu09wzD9oWuZw0y6WwdajvaTXs05R9mk7t3zTTC9coMhBE9dtyKHddvBz4OabgQwz4
NjkRK/ScG6YWkoB1eMFIGvlTG6Ee+vbm19a1XultPznlQLWJMNVeUZwRXY114lzkHttUlqjIouDl
2kRkS6+37ZDXvOvS/GgNtFQlmgkatg81B8+vJuteK3JahsJ6G5lbGvE0hqT/bDwVL74ktniKV3k0
Cgp0ERPKx+pEBQBpjz2sa8JubQcLoTEkYRpWd14S3zc/LLwRk58JZ+WcjPeFYKcmO/w02UQsitDf
ko6ghsWsyYOangCQFns0XHeZM14YK2D004obUcQqZBN4mTZy62I9Gp9x5X46Q//S65yYuf1C9sWj
KatQxOQUEgEMBZwg2eWq77hasHWhED/2lv42KPuf5oz0lVG69RbZdZlOMybj/u+sqYVjYjy1w03e
wgFnAUAGt8Gbjfdo27y6WnxZIRWC1L7kplxp3PVfTTvvW0d7KYgk9p3EmoKppvDWbdQMEWcLVcxQ
1R5WcaH7tiiu6kj9qwQWimRYgVIif+qGR6cQZ6uUfWBqAzVVhfxeB1A9Z5oWii2fd/CMHVZwouiz
+ispkyPgiqsuTfZ6bn8nbkefqmMKSJIqUYrpwVyam1wSKNq1xakZiUwd9GaHKvwzN3rkoiYJ3Xa6
y3IGz5lC/xZVgIPtHf/CeUhunbRCJDxdKs2A7ySNxMf0GE3WQ6SwUETR71ppTyZRQrOskyct/4CZ
WNmrGWixjhprMm8W2GOhpYwvZ1An00sf64nJOg7AbxVtBzspPhZjfM0rfNWkLUC/qnnN6XSz5NN1
nSHPi+JPSohPglUT36nHvd0sH0Oz+fJ0buRa6aEIXGvY4yZqO2rzrVM5H5jiJaG10JrVU5MAeJNu
QvLh2SRS5H11KQvilGr7oXQnwQRde1/j6aK3IKS96tpkCReOe1B17QblBOSuUrt0St/SohPBb2s3
X7ZV/IuaBq2lWd+X0BqVU7K4yI60JVuBxzuv1bSLyI9H5YRX22jO+IweTW1EnI7zF5fFcZnAEiZk
g2aZTlNvqEbORjTnq7BCnZkqDK4YL0g1BXqg1jkjKTHN92vsnHFQfkrRfhTrejvC+WKsJq+5Ql5l
Dq1NG0KvqtFguvHB7LLAmQYExxppUdl6g3npCmrtemhta2eDN+D+Y5BHWQSuydU1rvp4JNMBij4y
8NkdgKzzohrLe5gdmjcO/RTfoqLjLK6ureJlEHlIgOpdl6i3ZGQEvp2C60LEFMISfR9LThT8Ezdr
ER3oiL9Fjrqhc3sbAcpnl4APrWiNHSlE50KUjyox38tZCjZ6CWUtfirXg/IkFDfGKn38kwrEOk0Z
msfNkd3YI6Hab43Kvtj9PuECVSew+WQqr1GI7+XNbi5dE71THqDHSChRIhr1F41BTmcQtjIsdr5z
S/OIyoi2XrZYlAxtTD6kdqmdRrthr/k6l/R218HZk5ddhbUtJ/b0s7cvV1A0qyjyY9VdV7XGgIBf
sHNz7Yt9r7/ghRBp5B7nVcM3WYKsJCQrnt34akwnNo2QE5jta0GT2cQWL/Zh6UvjSiuYYLU4EZhE
OGzU3ETHnmEclsVrT9jjUr9byGCaDat80JYeaLyT94e/D//7HBj6jOuyL6LQwcIBiL8xuVcpwsad
sibLYEt/mt9ckQLjJsBCOvMStN5yqh0s6ZicPiR9ZEOgP3WsQTvyevarQaE6iIhOHxB7tjYva9H1
h5EKvZu4h40dDchUPZIv/DmoYnN2cfdZtekkjNE7ONGvQ2ZnsBTGJzoy7jU9crdMFzE5x8W7NgBU
rS1KezkZP1HlctFQYZdR9M/KxBDQInJDsAHCs4A46xWvSbIsue1VOm0lW6KdEwcNX+R8JZ75NfbI
txcW4WiITpCYAaTTsVKe+erlQL/tfbNo1+3259JtAmNJ5FMT5HvPfYGfB/awIllirYJxyS6rLh/K
5rbJxOhnxfRYxUyfC9c9dY2gpenc5iZucsf97mYbiH/c3i12cZ9towNPK2kbzt1Z6PEU9J3FFeGR
Ao+r7Ip8jCps43Zmhq9CiuuJy9o6VaMgUMdm93a04kQAm0DZoUuIBIbTwETNLQdCY9ztMru57bLx
bS63oMU5Gw+RVf5O6dpfK0gbMe1t3WanbMUeN9jFYj5gWTsv0d/Sxbn24l+zt5jJduShuWw4m9St
WB6zx3J6iawUupDLHi2JrdjHYu3PCpbDXM+B62XsnR178pmpHrJUN15zj9Uadiy7W1osc0k+lJGe
xUD3RY7ihj32k9TL1750i53WiRShRfwGYwQLu2secDPpAUIPlsFNdOgQO0TnkCbVEGxtz91oYlY3
eY/Nbdq6agRD2nl+IMiUnzLPFrOwve7KzxUnfznRqoxGhisgVLC4M3Gf1MweTiN3ya0KN8ilNHA0
jU9GARBQt0C+jHWDrIqGld1851kL+6WajsVCn9kobO9kipMq1eAvMYOpfqX55Dj550CTj7tNrfkV
ooe+qJNTnI1bAW2+21hcfLqVMbiTubvTy5LBimn/q7fRU/TR0mEJjFyjdlWXnp4lMtnuKsYaOFCM
3EeSs7KqaXYOOr6T8WbEXxegUWl2XmVDSV8Ye8gtsWZo6fil6zAxL+OEgYyQH7oESgXlnT93+XDf
kpke9sQbbUD+M33569hug2KgbzND1DAm2prUUs0pG1uIH9wRklZEQTuk+rWa9H1JTekvDs7pdCWx
XOi3XiOsg9CHdg8h8rS2mePLvNolJoEta8zNIY5Ff57ot+cuAvcsn19khchUV89MzXj/qxXpDx3Z
KO2zq6Kmrc6+FU5tJoleGfewGKBItFV6UQ7z07ajad9Ys4YpFh5k4ZW7VVncjKf+DUTPrrK3+rPG
GreOJztnJS3S+qWSq3V0zBo1s6iXK9FvM6EOOQ3xG2j4nLyjri3IE8e7sRMJp4U2CQzYPY1ALjS2
WdJ+KYuuDByjigKQKxVaTlyvTRYQ2VYBgNouydti5k/kC5ewVXR2IITY8hTaiy2yVyU5tpGh5DFL
cwRMXPbYfF46yStubf4kfiI6MbFkWWMkI93x1fZshMV5eQH1OZ/j+l6nhcIZVfkR78ouyXtw333H
do+/bTTLnqCRkakzVZbDrGcn3aYOsng8CjbuxAuXRKwOojowLLZgxOy98bpOCG/BK/upS6EeSjPa
jdnyak24LkdnfO4jvJ7IgLpDRRANS7S6ndOVb9J+BSlBtHXif40lh9Bxh6uYGSqNQ88EjBIvtM1l
8w2/mUO0ZHejPmiET7s4YEaX2I0KY0LboKc16dCZhI0MJGxWnMl2BG6NCwnXf3MtFsVyM1fmCVBJ
vVJW2JxzojG+59j+1M3fcV6/Qc8QbgEo3G7v1l7qkHEi+tDRJ/AtflqYcq8XOCgYGUKv6TGZ0PfQ
pvFmYsYsSfHJknHXJ9q71wl3NxgdgWtpXl8z+XN2xeqSjieY6TD2CnSDSod9DuZeKlb2tQfAPiKA
iZGH3LZPmRUtVzLSmW2w9REVkhwnrue9BgseHfKj0gp937l3MC4oDPXlZZyN49rrdIXn7lmNTETk
pAIzrvpgnjyDQrFY+e/j66RX74VkRGb9mmN657LbZxPMXXEcZ6RGbAeGmQF04mnU7McO3/htTB6J
VhNmTbhTOPXad1eP71ZMrlcRXecD2koxfE8uDf0mowWPuvJJ0RQg782D+1tJmh/W8xixPcygN+ww
6Hxqm3stcZbz7BBdUGbZvSYa6Pn2wim3NrVfI0UJjZE9n7Mx8fum+tGt6Z8adSoWOR0N1p7DBt2e
6uIf2g3SK6GfMu9lZ2w63QOvKOOsSjLaL3ZxSEDgIjYMcy07ljqBzl1k3bW9l13VPee21YYxB9lf
Gg95IENwo/XsXaKm6aZxdxbq2dCdBWkbw+ey1LfcYTOqYMsXDfa5rq7QgTT7JdsMu4p9B6FtCOTX
5jvDZMVWIXs0dS8KkpbWa1LbKc9onBRxPdxWEmeu9kWvffrQ4iPTVx20k7gZe8Zs61x9Oc7GZhFs
jboeYd3Iu2Lo6yH21v423R5sum8lStqrv0/JoiXKiM5Dk0tebb9F0ETzsUT+iCbXZC0lWN3VPCj+
3biETcs6HDXGUzakGeeB/tqDlwgN03SC2Dq6UtqhWL3XOE0ELjd62nVfTrsuYiNTTvggMr+b6/bU
zv3T6DTrwcysdDd2xc2MZIzZMdM5qyvaAxcPwcbukMMRnpnVMomjhGONxaUPpoLu8M7q+uFmbNyH
ouKAVmvhl43R3ShPNWR4711u+m4Dk0Ux3oA6dttFC01+2owqmf9NgwFF3GEsnw3GiyVRFjb9R9NC
csHRRSlU7rzOuS2ZiIXNKvqAonUXYR0cGbHCzNmCNqafrFvCSI6K+MKrvBvmPeBvlIvRjbfG17Fk
r8K2bJ+bTRJMWk4/xpiuDPIHKHLmH5Zc4FGOe2dY3X075LRhZPxSLMw/BfelGIJ0py2/M/nBWWQZ
N6ltjaGqynivFSQjtIb769hoNEv1Mqsx8gUY5MBZ9MDpF9Zna/0Ws3vsLGKys19HcoKuZfHVznhr
dUdR+2mEGFVLfJ6s5rnLEVMoTi6zf8LHcfY6FD5xlOyitIPiMZi+44mvzXFCIQ6dpPdMK4hM52Ki
vC6Yv+zGWJ48JD9XGBWfjS1mPG40pu01B8AR332B2RIfUU3zdT9HLlCbrHjyJHNq0yGjCBbIlayX
29FiemCL6D25Q4HCqhJE07obTKT7Y3e9DHlxQJZxWsbolrgQrC/0InJjRqrj8DvjZXktK/unW+dr
IYZbqlSwxck5j/gOzk4NQVC/z8XA2b1VZ8xRbmWWCMrZvqRzYh1bW52MmRz0cn7UltW4HtACmeiA
93V6LDtKXOVZP2ZuDX4l+1etVit9rpybAcfNxJnZInrq3OSsmKXRc/s0hVIXg7DYLHGXvaaUF/Zr
HXgi4WxJ7wvIDEHMWl93B7BKJzST3Mpz3cTf33wUkjixaLZInNZ+Ynv4zEX+T3XJytlvHqaW90Wk
hBeSt76Xa/8RWzQhs2yz02dM0CwynszajQMBoowOAxNbm8M8duMe4RMr7FWmsmfe/wfnX9d0XhjT
L6BNS9O/93Rfm9hW2fHP3M8Pven8NIV6dZf+kSlEFJiZBiffITjLgyjVRmwHhLGpd5ijaqQGS4Ek
m8gD1x/KtWXLrzN1diLrDCjtnxFNbtBW6MS2aValsOezUytCYndO4yyBP1wt1nJwuIKquD6ULNyR
1N6sIf0FblbReW7nQ60ja8P+nnQ/ldO/kjNFN7qqb1uxNyLunKzp0JW9YylG6MfVPzN30abPu8FN
kdTpoiGXAd9ps8XPaAsCu8j4dswfBpruLlm96xlJWlgZoBGQXqetjqbXS65mezX8LE2um1ojtdIq
LxK3Wl615UEttr5DNmdTXUzBUMmDMc0xtLGmJYKlfTD5xRDWuPxzcdWxKY1xdJLumGC89lrFCn9Y
muwnqdsNOqVOVqXxuknlFJIuDuUtm7AtA22ZXow18c50NoK5J3vctVNjNzvVU9J0d9ZAEASYav6N
NJxKtK4u3XL83va1zNkKtYzLg3TRCa6y8gtMvXvk30D/5oaJ1cwQYybcCeXUoVVas5uaW7Xqxrkq
x/1UaXHY5hRlTX+sK4O6lZ5wWqW8e3O1c5P1Oi1ZgKKkrXZ6o65il+D2WCd2AcWR4Wn9zis07Mrj
WzF3u27sKQFUfKcZFP1TVX/HDPTajDBKL9bSUFvMT6naW6GrY+kVy04Z1LuFyiX9IAuzUAGRJZru
VGz9a8Q5tlg1yQl0GIf9emgcamFjcx+9HzJSPml+idZ9YYJymImBw9NyttiUJjFlxBybtxhWbpNJ
v02nAbWHcWriotwbtAdkKe9m09ukPJSjTUuQ4oLWtenM135On1BYUo7CobLViFGjkjfVaj1GVvYg
WFP2rjMc8m49eI1xFXEnxywaDDUDMqIpd1lGN5LEziztfLOdrRAZJR+5McVOgy6mL+ma4+VO6+Sw
jMbeUYqqhGajR2aB32jFRczdd5SN33nPrCJbfaN9KNph4KLB8hfVb2Yiv9PZ/hnGGl6/GVp60RyA
3zMvWwArtOzaZfKPliwD+6bqaJ5pt1a9PiW285I581E3rVObUKpqyryA38HuIdDoDNwQ7d4d/Muv
IbRdqzfcMEBDjJ7Y2y13WH3611VgA/N/whLksOUnmrr30qETV6j6dY28sFtWcUiU8eyRw9q23nsy
bIr4NLloE0IKhHakQJTzxS7JPa1NGtyl+6xDcRui+hbg0YjyanxsR3oxKsYMWzvyGuMYgXZR81Bi
ZPC9dblUgxemq02KEt/CxORiwUlhzOrubbd7sOzys+vJKtN0B9Y+gjR9fPIE7WXLw1Zgu4+TMijY
7JAllwk0jARkuOL/MHZmy20jW7p+lR113dgNJOaOrn3BmSIpkRot3yBkW8Y8Dwng6c8HyGXZrjpV
HaFAIAckSIpMZK71Dw8xBp3QTZAXM/XqJVPblQJKtcQ1tA/FjaXZeIaiGxgRc28Lbzc98sgLPI1Z
bC6MIIObDtXHK81LqdfXZtU7S3KNbLsxrVsopX5OWqteZ2B6pAPysW8OoiUb7JNOqZTPKDlg9Uhs
dSErFCTBpQqbf60kX54kGvtSe08Inrkx1Aqea+O21drHVCUEhirSxEjfKhC7a9diUcJCUcJWmdKA
6EmFyE6o/kBwgNWvV38sHW3TVsaxtW30UAqcIWPmbAQt7JyAZtucZGE0Jy0P2xMBiJG0nlR2wEfk
olaKfp/WRnEbGUp8y7Z6Op8r8hr+IzpFPDYtDy1IL/C1ZWWq9fZbMx2Vvltja1jezFXAAchDmMbz
+yCR9CPmcadfm2Nd3BKHKW+Bi90VKuIdc5WOvet16aq7tw5TrwQD0w2vNli9D0QgHZa+FMp+7gfY
ur/0Jfb106jzAW7JLoBQSdqaVzbX1VbdLEHYmci4/FGXhM5SQ9TnZu6BdtcA2iUioG3G8sbou28H
9nYXx8jk1S/1BmsDpHQkCa0/+mulhYqFcSRPKq7fqxOs1a59EEbzoHN9kg9YTwXmmb3IphCld47w
9LwvPYBTeSGbq7louXk8ecCN67CP2nu38pODKIklZr5seXI0zgUPhGUC/aZZZnZ/kiqT73zpULn1
0gest5+LUeJGW4gNxuptYN+TR7wKCZpNt60SVOdi7a3rfCvHLZ7Iuhin+U4yxLJx9ByfgATdZVum
O7bTynIuhjBPT9IVD2mp8DpU9UYvtfpuHkfjSkIZVXmcBzIzQH1l5nqbubWJzOUAphdWTZJf5oOZ
lNUmrvhpIZUVBMvWytG6kGm9nJtBNOcXbhjuKjyYmcWnPmk4BqCuSGq9jxPXQ89+INsSpBCbptHD
G0LswSaXfXImBT8hB4rigkSdvcr9sLuNkdRc1agq3A1VaS092Df3rL2qpS+t5LEh+sbvzpRPwYie
nZ2Y9oesN7NForT5R6MqXjGVhS5ZZU9OF6Wf+yKDNhjpX7IRIHvi5F+bnhVFSk6FDEe+7NSCiWNU
z17PimZRHYlWAclNUaExrAj4AdbELHc6eo/5NiAX8koi4qA3Y/klqeyLDcL/UyijZycLqheVPQGr
t9p9FuRuF3GUDJuw8LFGcbXygpk8upqJzRQ0GS7PdX5cQKkcFRY/XVle5gbN12wmCa9Yz8W5oQoJ
DkV+orDcYai3foXfry0gZqu52EwD5LZw1l3voKj3/R54PefAp8mjmbLMg+VY2epG0TVUiKc+8/gu
OcFtX5rd20udG7Laa7dZTU5r7jKP3ysqOP8uIN+fl+DZYKTvxi7GLpIU6A1uQemuLc0IS9AiOPEz
U9aN0kd3iBiEy0ozm49polwLs5A+OeLL6HjB1zI1XwB4u0/SEg4WyA20WWknRFXc8qBkuX6whXQ2
bF47fv+pIC+udx+k130wc6RcAnMNe4B/0BiPl8wurOfeEvnS9+V462phvnGtFLmdtO6uQPc7W1yb
vRtsTeuVXsbqI4jCCMGk4Fyq8W02CnGtFylCC7olSU2QC2zjoLzmi0OiyM/j65it01ZHa+EUx0ay
bUtUUpKMBFcay+EUm3qz1TNQBZlB8r81tPSktYPYomzjnzRXWFt+KPYxjiEC5Ey4/MquMkAn2wJq
/043o+DCaoQlnWZbn/3kCl0J60vDPnxRN/5wO3cNzVEhKvNH176rf+mqQ3O+VfH43naNyezbxneg
p6Ij3mdb6aFtitoy4Yy5joDntisLGawldqGrolLJ+nnykooaZ+XIG9ciHOVlPmAvay915CQ2c1Gb
+mkdTFxfL8xtwdSGcXdELBtVH38vwrJ/uy6ICCo7wquuSIJ/GXHzQ6iKSD9Y/3NTuMjewFNiN+js
clxUwFhKyMDwEi46qsIrQDv9eq6TueNdWN2D0Udxk5wQ/eY6W+orOSDPNJdk4KXXSJTt5tI8EPw0
dxfhngecmTHmg2mYHsbN/Ibe68BzVqRyLbFvv/cj/7ESSNvdzFWF62RIulW7vMJCvU+SZqUKCbqC
AEqzUSKD/x12kMEaNiJ8TGWMiWWJ+sbmsQAQYKokNhkv38p1WSHARxz3redcRDifUNN0eB9ibshN
v7mxSKmjOe0gAyPrG80b1N0cuM+UhBfBF/P/U+mblrpTNEL884Vzx/kwN8BDJR08XTyOBfDx2LX2
/rQBLYNKv+6I/9z4aQmsBdXAj0QNa5I8Zn4WBUIV5ggfJ29JOOp29pqJ3L2EPsQbtySePtentnuH
3Id6507L3bKEFqMELf2z/JAXqEKZA27T3pCV67m+DdgRybZ4IotjI07UY68akbpMTSxntUAqh9rm
27SYT5sB59Ks75AyN5XDXFVFMa1z+e10rn1v71yIa0mqfP2lfi7+UmcKR9unZbyWDjFUfK+GQyCG
bwdVrS9hy3sdDfDiaWCbH7QI8oFaxMVHknZfTKOwXhQ7e2w0rdkblm5sHS0K1m6qo/qBBvyjkWuk
z2B4ZMJhPvU1dJmqJHzC8RJTYyZMUBnKutaHg4PKljdE+gpUOPNf1l8PZZm+DgWinm0tPvhmrYIg
zR127FK5kk87oXXIiqqk7heq1P2dl2ZsrRuoXY5IXwpXe8afXLlFMDs/ZAKZwdAeAST07aZMi+Sp
U0miDUqibRQoXB8tb8kA6bp96iq/uNLKKtmoEMT2eeunj84w7AlGZi+a1HNYT553SIMuuvUM/+t8
u1E4/AfLPr+x87S79nyyDP10wfQ6QFCS04rABmaWb2yRk/wUIUl6mg961ren0miB15oOEgcKu/QS
gORJF6HRL+Y+cDmnU2DacOCMw7fi9yHm7mlRPKVpku/eh050YMGG0jXrtoQa0PfjHt0W93ouZTEE
NLtD9n4uRhUoFuCpe+nU1zYJwWZfEwEBHaaGy7xUqqehI68aZUb5bI/krcM+qV/yJH0C5iE/Y9F8
almPvtadBSUr83Gwz8dF7kATWChs5KdwtOvDb0l7EDKOb0x0+xSeeANPeRKXy+0ShTmhFYsQa+nt
XHxviBMlxQcZnGVHuPsmfFQ6bMR1BKmPjhWU7qYugPjK3qr3gd5ezaX5MHcxp35zsZzYRYb0iZc1
9iXsVWWfOfC6Uljq7NI7RBQE5KtVODXPfSrFU5dJQky0Mk368Fj9zJZeuXq7RGjJshK+efPWmf/T
tYazhFmZ9gXCEIN8v8fb9dJLK75Z3KMGUnDoi0Zulg047Fs/TrNbb9pyhGoFVud7nVO3zSomBAZ0
B0k4mCviXKmOcyxFVB3hsjyxJzbvVWhV6I1Z56K2kZSNwJPbfBGPc6OJqv0KHEixUwtwgk2nF9vM
Bu+aNLr/EHq5vS46xBFE1MOjgt6JeU4H1a1PrfsxAWXj5r7yuiG/5r1mHUtSvWrM+5Sx1gBk42Nv
6sGqiBIIRCAF7ohmrnvGOuumbt6NlUfg1BbsMCHZsTdH1F03mmgxt9o6mc6hsb0j6XkERsMwuS5q
q7q2QayRQq/CT6WdXlVZZD5WemHDqfCRAxnT8KlQCCBMHeyfrySXWhNUd4JP4EXerrSYsZbFUIsz
uSUi7naZ3MsEhhICnuEl8jx0o7QmJ0WS2Fs5WOIQ8YwADpO2ZLSj/Mj81myHVLWvDT6ftR3H+iVP
sL8LVcW+7yfJIvR4F2VpONu69cZhkU4eDK09aCdSnQmBS1S3pqoMBP+pmA5v/ZrKyPG2UL5dMbc0
w4BDsjQ8LAght5PjXoNIbG8tvQ3uCgvNihCht/VcnA90MGyrvWVlP7GAEB567zDX0UEzCAcSAZF7
z20NnGk7/2BlSXWSgUzXcZo0jyKMPs//ak3/Gpoy+BLxXSWYPmB0MV3jIFV0MKZrEpuYQhUZ9eOo
T+kD6b0a2ds1mZtoC+Gk364pLXApcZIdoFS5B60Z3AMpT/JbUpCQKKPM38Q8GyrcsGnK5qZfT1kE
6yulDTdJX6YtJgUGPD5cdRc17x6VZ3zUBx8RhoWpOhyzqeL90CQhBsCgXu9HiLTrtsdxvQ57/Zhn
Il6HZqQ8QZK/kXwLv5hhdzZqqT/BW8hIi9d/6uql7c28dDWC/ly44beuv4xqjCoe63kZE0Z8EVWm
P6heVdz73Q+FsHvROku8tWjuDy2/XlO4hdzWlQcIZSw7nMVrtecZC+OfhKhqrOfTWEMQIJwOhRuh
MOncqOh2Hap42q/NpxkatAqeqj/XzmWU4aurUSdk7Q7KVWb6BygjxjYhVXxFVl65mushvhM8nSu1
tHfQRZ56k/Rzs8Xcq7W01tzNHeq5dj6dD6Vjkiuz22hRoJzxrf/cMmj+x9atgsPAPH/2+Wnskp7A
nJaW2dnLtOw8n7EKfWxIpl691/eer+0cncT9fOnPfUGbfuvboN27QOOgRXbY8U/zwUTok+9Raqzt
MkW7pGnhfs+n733qgXTHr33mZks1EWvpMJYJgRn69wri74csa1Ti09OpUEB8zWfzofZ5dgFPChbv
dZ1whvL0Xo6tMd5EKTpm88VQHFFq+mUcwpUkaeraYrpyyJH9MAYLJ3uZDb0KvqaAq4VcX+eGZ4QM
srOvBtm5TAYbjrinr9xBpD827JoOAb/32kLX7RWZVn01XzgfkFbOzvWumnrOFbUEH2ax5NjC00hx
mnkaSTeeMEMoF3MRKlO+rXWUluaiMKCMKnA1j3MxtMIVD0hxX7hCnOPUuJ+rZYh2a2PgIRcN2fBU
a6R62ULY+7lVMdUbnDTHC0bZxl2djW9Du4nRHmTUFugpcREZj2GNrhD70ellaQlqgrmp6NcSX6Un
4eFM8udXa0yvlmVYsCGT1D+9v9p5yJhXm9YINJew9LezEnrK42LT5D646Eks/U0dfdJTfy+WdQAT
zQVCM7fODWOfMLPP5UTNnhMtyXZzaUjLA1MlFJ9EW7sRa11ogWF4RtutX9XEs9d9bQ9AmYJ06SFU
cJ2zFMI6yTNJP1TIZ8293y609QDsdOlMvh7h2VTq8AzezGdrIS8x/hdHBOQPrdI7T6rg9oPbwzpy
3XPZxQ/1VJ258GyqmHR608bOU9/o0ZJAfHicWxsrwhNjiB99DfR0Y2Cx00vFeaogjW2yKuo381VC
SMKRbRRdu0riPo7Rcb6lo3TqEaVXMoDTrbwoIpFbZcp2Lg7x8DziO4uGVV3c1763nm/pNuTGtBHn
67ZLxKMBaywOnVOT6GQ8VBVyMUZWJ5yy7ZMsTXIvkWZ54EKNu2FIDOSGvjf3ChiG90vGcRyYRJHY
N3m06iask6C784O2u8NoidBhAjjU8ykieYOBjBxe3ntorfcgIz05zf1xPam3egfRci5W04BTFnca
a75GVqm5RFPE3bq6uW3aobrpM/j2LACA2lcKv1YVkcxWt/wvwaUNuvwLHk4pOEF/8howYNuOjQPR
X0YPplV/cnUl+xJ7AviLVX7QhVmuG5QJj0QjrVMxaiUeSK79MVLK1dy1dMjzCak6t2OCN9yghjxJ
zErejoXbLeb7WZAUk84qX7wCqKJS9izGlNg81JAq13loOU8AB05z1yYSz52jwkEUlsaLIqIzv4fc
k+XSZh/1x3uI2UO9vYc8ZU01v4cK1tBDmJWfgO92G6+MjU2ixuMOcEC6Egh7PMzFroqzlQhU8WA0
9bfW0fX1H4pqLModSaN0A9uZPImuRI8qPukrdVCra8Dwcl9qcb1DNhkdUSVMVja6eR+GoXsCAm18
depDnSjja1MyTSBCHkEo5+rR9arrmnhm3iK4IPXsRaZlsEUvK0X+LpHFkcgcllHT2S/FFpFnbIaN
Zsk+gN5lKQfYEdhAe01qXSeavvZ6JTySNnKWCXHX9VxfOgIsEETn7Kib+TpvJJYRfssVuhti/OL2
ztsAcq/bBq5a2mSvZ9vq0TDAgk6lMvJB8eTV8NbYVYG2rqoORYKpYe4yt7qdyA8kEFDRj0hQoQS2
SSrfPBnEN0/WdJiLQSKtw4i55Fya6+ceWkr+iKSPjTJ1FkF9n66VOR5HgZluAlxvlrMAO0zXhwKh
/7vQBzBZa+AsZiF0e6wfLNeJ70inB2/1RWIvW03UH1HbgG3efUFtnGcY8JeLXxjezkc6aOsESXYX
S5IcjaJ2X3SpLhGAbl9UVJtWyDhq10in4oDWJuGmL5X6sVK1B7+KJZI6GGUNmftkRnioRJodH9ui
lHiA6AOq/YN/Zo8BGTvzL9DK5VEXjXUxp4MhwC2a+WWIQmtSFGtPQDAP8P/AWlZGXO3FyLLivX9b
1+FGbdiyzXXzZV0ACn8I23Q7F+cGNaxeka03r9672SCp7DpPbyBvWpek9Oobp1OW7x1QlmFpFg2f
34epdbvcNiOkvvmiuaFtw34VJ4EH5YKB5jqtyXrMrsN0Pxe73LM2WViAhlDxxnF988lhS3eQLiCA
uVgPQ7BGqUbdzUU7zh8a0l1nyFTeHQz1Td205lMx+BDY3Futj4wTqQsk+H31KzAsdRtVBVuauW4+
hGFWH+FcQVumrzrm+sYbq2LfdNkzWGCo564nVprqRLdyyMyzIT61xBYgzmBXsUfGDMrr1JhXeXyr
GqG6UskOree6twaveNYHoR3mElKK5tnNPs3d55rQ1NQ9i9Yfx4mSXAUV0Sjryu46iKRN/ezDoXob
g80FcO1yfIb84iwrl8x0ROpfmyagEL3Xu/eS572V5rmqR+Xiva37qfT9unmS+95zvo6ck7wTklz1
NAF+7/l2v6ltEtz5i+vc3gf96Mu9L4f4BLMxPpmxd9umQ7dDjiU+vdfPZ291ZU/CTIJsoPt7dVYx
0y/mcj12nxMfYD7+DCcvNfPTfDYf6nJAU0UkLQZifzR4mhr2P5QNO9zlqp9eRRIfyrdh3kfoamVY
a9Gk3TeNPx/msVgUdIvf/vXf//nfz/3/+K/5OU8GP8/+BVvxnKOnVf/+m6X99q/irXr/5fffbNCN
ruUajtBVFRKpqVm0f365DTOf3tp/ZWoTeFFfuJ/VSJjWx97r4StMW69uVZWN+mCC634YIKBxPm/W
iIu5/Y2wYpjiQC+evWnJHEzL6HRaUEMzu3cJ/V3F81o7E13HAwZ47dxlPjhp6SyzCrxvuVBC6bJQ
wSQg2fhRbFxXo6m/HdJRuzaYWq/IDfNZo5ZkXIPKL7aK5reL935zAzk3DDTzEMnkIiQoama7MnPk
yczS/jSf6d/Pph4op2Qs48CdBmxNTp7Q9k3Y5pciBErrGcMPJTdT92bgDpu//+RN99dP3jZ0yzIc
19QdW+iO8/MnH5oDOD4/tL9U2LieLJHm17JVk2vcLaZz2Ns1+Y2pplybA85kwDZ6pEOmw7fqqHKR
DSxr76SQ3FylhmoieNPXFze0KyQUqOs9ywROqnYBrL4/ykVbfS6TqsV9JngsgevfhGTDH1XxmMRN
+6BDmrqNwXLPtU7bRCfNg2I4FxONpEqvK4jnT9eYcA/WflJXkPdb8xGsRbIc7Sw5zK1ZHv8wfl/8
ML6iq3vZVhAtPQ3XU89rEOuouxPR57//oF39Tx+0pal8z23D0aB8GcbPH3TrZA4LVj97JSIi0Yvh
85s/YT91+VBNpCwg9qGWN3/G780yRxa1zrKrt35B3cIURkf0KjDG6khYBz5szBcutYYW08ypsnMm
/PB86nnGdGqLb70K03rtStZdpV+4ezSr9HXnNONL0yyGmnj4iEHMRk1Fu29Tw7k3Pe08t6fscoiY
iwImp2ddV8gbL+vOGV+8Or7viTHfMwf8MmAC/OBWdXWAhss+Qbd0NPtzZ9vBsZXFaS4hEjicv9V3
Z3yeUeDrisxbdDrKj8Bc9JVnvHfh0sbI3i4VilGtRtYnuzwC5REgHYKEfdjfql55P/SahsFbRyzJ
aab34isfbHs9tKb6rKL+vwMsZL0VrSG8zuCw3ukOJkFhbqYYpnL1X406XV7paCHMX43//mn6q+fp
8HNeDFXoB80vxf/c5yl//ztd873Pz1f85xR+rvIakMDf9tq+5tcv6Wv9a6efRubu317d6qV5+amw
zpqwGS7tazXcvtZt0vwxjU89/6+N/3qdR7kfitfff/uct6RFGQ2dluy3b03TtK8Z4off0DT+t8bp
Dfz+2zH89FqFL3+64vWlbn7/TbH/rVu2bbq2apB5cQydmUu+zk2a9m9TtWxT1VTLYZkv+C1miJ8F
v//m/Ns0SXW7hs10B3ha50lUw9Ohyfg38Wzk3XgS6cJ1dOO3P976tyfY2//sr59o2s/zqoOhoGsJ
ARvMQt5F1VXz5597FqFQMZDqm4i3Ygk9gyiA+FTXC2AYN80OIPgRKQiUCSRIsXtkOJz1Dx/WXz1T
rWlGeX+o8hIsVRMC1o8D0ce0jV9egtHio0hme9l5RtZtQidsAYOE9rBzEVyuALKFPWgZobb5Agkf
9RDrVvzI7t3ZIvPR7RKCcl8hvZX3Xq7UW68R3Re/FsWtG4jowR/K6KyPHqHALEcRqHCEu/daqL8g
nCy5dxxN30VoWT2CrUPNotHUS4d+8VU/hunO10PzunOcbqsDfT9LnNA2PlmBa0y79D0A7vxrXUX6
Z5E3DXpbvXYRSATCr3LQN15GjQcDsRyjuyJXg3WfJnWEO60sbyXQe9adHTxNmGKvg+Vi0BJVBm6S
3rAOhIIxWY6LlpH0AoMNQ/FORWuScAkr/YrkAQA59Fg+KK3m7mHV4OkYVqAaWxyGblo4XKy8vFZF
awRDFIJ84SZk4hkWnZlCKmMnRUJSKgFgShXguVSTY+K04rFqjQq4fiT2Tpap60xDQ9H2+/iKn2K2
RIUIxqvtjtjfFcOpi3L1EELOOSeIzBxCT2tXJl5gBhJXub82nDReN07lk4LKVHnDx1zdR42tf7Ei
GcKq7GJ1oVnswVydgONgOSPiLIm46uICwK8ChARMuQB5oDRBuYFlF35KKsw6icXY9cJItQEQgWgO
nWv33kLtZciuNvZWeelb29pCN02gDnJTOXWNOyYRKEdVcBu1RXfqHU25xAMInzDuxge0kchnjdLQ
DmklcK01wuHOcUu+JyoEgRF/pwOiOvUT4oWgYzMlHA6Nx4ZPGSxj77G925HukndoxjQHozNdkn8+
8jI+CSI/DyD6Kale3QJpkJ8DDby/NoYZqFV4xcuwEYQbeSgUzwqCQ7Cj4JQYRhVedxBrDokTV08p
actjEzXd2fOH4IDjiPgMPw6BIzcOJxOzwl/LyDFPnbDSbSp4eQ7SwZ+GUHNg/2hJYS16nh/HcApL
Y0FuFF/tCkSpG0nv2MJLXCR9XS+Too7WojP1Yxy4zZVjAepMAXcjIxj22UF4wJ/qQuqblEXeXQYu
nwBVUj82NVkrKC2jbJelksKpsUzltsZWIlgB2w1uNVKEJ10pu8/VEIs7sCrjNh0EPgCuq3y0dWPy
PnLH/KkAK/EQZKyRckdrccExBTsQX7suUDbdl14CZ1BDj90fI20b92Hw0Nq9ehLuoJ8iu043jQLN
F9G/kYWdfmfBnYKrXVr71FX1JRxEb5G0PiFON+ihuBlYETUiF3vJen+V63GyLsdbuHT1QUW8B14U
HI/crlDM7G0caxDbWWPxlG3ZHwCCx18U7hJk+hysBAbAZKGYsbGEQaV2209UZFSP4kfLTTtY7lb2
uS6Bgw0sq9aQlJyVYkFrcvO0ulcHYjkydMyLPjE/DDFgepjZZJQzU8d7kcwLihyoYYSBk616BZPK
WvMKYECEkdCFCJAuiCHdsHnLHX4w48QwQvOGmb9ekeBLinVktckjavXx3rZMkGWO4uRnonEa1HcE
nDZxCCsF8GN9b9ZN0i3ID7RfdMS513YBHcMVoTCWuQBAtEKXD/yvJ1E8DcH8wLN2CYUCh3YPbYJW
nJlqxr4IJrWqDBdJEiN5kATrxDXREcnqgWik0khvL1TbPrUeUmJLQjrVdRWJ/qHTMIxYKJFVb+us
Ke9A8gZHhNojY2c6hbkQOILt0pYQUOPmKNWZYSyvCauhyJRj6cKzoUO5etIBKAAf7Xo4hOjyBojT
VgiomV4lbgqw4fcmRgFrTdpyB8DdffBQdt+VLt/RhZSKcUgS3VtJIcOz1oParHrIoLU96Vp7JMFq
Sa5ZRaz6aXB8gHRGItqd2nbNagyKlgT2EKyGpkqfInW8FoHwH5pS13aGFrIfhIO/tLQhgT5fT1CK
ASCejOXaKdFlFFLji05a60mznayGTFmA8mVWQgJyBD9pLJQ6H47NaGZrO3HUO63zIoBAQ7zxYVYu
86i214jwiVvDRB8JQnexg5fk3VhdAUcolPrRacjd5UmpvBJjGdVlYUM/czxQJdiy6bUFecmtSGch
Kl49AH5pn4FxkdwPyTcQTAeBQS5aJhvJcj/c+IPtfSjK2tg2Tlh+5JeVrJt0HC9tKis2WSKUSA52
OLDh3dPvMylb9OdUv9KunKCJv4w8wzBp8ixY56mqowo6tmkIyy0CDSmB8SaLMA2Kc1MV+U56lfU1
6YwcQhnSCBn/loPtecXKFKbsF6OhFJvAx10ZlEuv3CRFWd42ZRo/+1Jx06VRgbwQmjtiVZynCHS7
IcK2fNOLJ/Qi0m3ZR+onT7j5Jkh1eRV5JQjYVCBSxLZwE8eAPgojqZCKFzq+aEJRL5aCczGGUkg+
grg8p4gogMAJSvMmRJX5Y1GkWCpmjfkUJZOKTt9Wzw7Uviu1qFAWBSQKC33MYG4opdT3ORimhU4+
FD3vQkLO8ROxcabIAXyjqBQ73cUnBOOU8EsR592TUyYNeMQiNPRF56Xhc8qOql3gp6mtjN73bomF
uR9DVURIK7XlLZKHWOUEaNYI2+KXnijqq9tlYoenpfHcCc1bic6xLoo2WLCQjDg82obVryQCemAc
FX09jjCSJHKFW1fTqj060ZIvmWwvbY3/uWHAWVmIsbPwd/GN4loaKKZC9Brz+6IDUrtwO91fdiiq
HrqxQki0TfpDPuL4sqrCDkG90vWGT6PVm7c1Icx7zypH5ItHj+CHjxfhFlAmCqau8AP2gk7bfm7z
HCEW9ADDml+VSXY7BxFEktZtwnXglbAvRlVoyDTFzfMABX/l6BFcHwx6n4be9PZ5CRsAEvtwNeSx
tlA9U//a5E7RnhFoMa5zvYMjV7OMfMb8NoYCBFlyF5KSu1EdZoGgGhxYoxr6nlUYMjcoVkjYuDRj
XD/CQnms4i5dp6kP7agOEtROpYo+ewPu4QmhjPS27xD6YS2KjlUTZdB3xKCssEm1FnpREihsNZ7Z
btIxP5Lo3XitZDmJ1Q3B60pLPzSgnj/UAtBzVFTkJLTUPDaOUYGONLI7g5nxVEcwOlQll1udaWjV
jpa/H2y0vhbEX50rHWmT1zFIvSfbR+fXM2REshps7auA8+aixoCSwDopff8pxKrwi2Prgo9Bjt0t
K4m2OqU2CijPGaQkH360IeoCfRUw2zx+lD5ZFmWQn0iKBHsJZ/yoYoiDf4/CCsef5H6G/qFEUetR
75gANynqsQ0BccvCPRjJmvqMOQUP9IXpKr6AGU0y8TFPiuhUNSnypmmMPJ7VgHFbKrbfwYaLA/sj
xmg26GezV68acNj5bZxgoQIitkPfyiZBrW9GJ2EBxc7L79mVR0bxWBTBACww7NutM2BnBXrbEDcD
a2/8dUzFN1BZyKTYeCYuTEMHreY4en6xSfCuPPapiFuy9RkR9BTPYm8ZIu22yjz29qrtwPCHd4Zc
RZJ3YhvZyH8jFxLGL+ghVDgHaqpY5eSdHKZ3fs4LT+/KYV0GHWqFvYy6BQZpRoTUaJA3uJvLalMp
FURkjKC9Ylekiu8vJbq/TwrhQlAOVpIjs2Wr5lMZljleqTxvTyw/4PInagCvxxGGf2MpDXItad3C
Ay+M6fmuoyuX66Wzrj0eBAsREVkH6N/Hx7/f9An1L/Z8CFy6hjBt22En+/O20xmCocgrfYmTVNcf
xLK7r5fjrvrkHMWHZCeJsSzxPN7km+HTxbuNln9/+2lH+cuOU9dMy7WBjelg2aYw7w9hXJNHSFCQ
oxXOdWW9asnrODz//R3+Yk9rqIaFXgHvz+Qn8fMdRlzFWGvBB+79dcg/w6//4QbaNMLP78FGONPU
YSYZSAQ5v7wHL64KXQv9VbCH33YVrUi8buwtCj1LHLGW7T9Evv/ydobluibUeFdzjF9ul5k9my8b
JvwVSAWm92TDs2Jfr1jM+B+Si7Ly/uF/pBFk+dMbJBTJl0QD3U0s5OePMNAGJg2c+MqvbEVX4RX6
MdECHY5tzlN4Yb8Ft36Kbf0Y2v/zP8yGv/H9bvr0hf3hKxHgvc0jmL1LQ/Zy7yvZP32A//B2poDO
jzcws6g2UPhcVSttYyyTVbcTeyatrdi5q/wfgrjaNNivX44f3830Yn54N6EifKPisyNssE+vusP/
I+/MlttGtm37RagAEv3jJQD2lCiqsawXhGxJ6Hsg0Xz9HVTV2bvs2qd8K87TifuCKFkuUyKBzJVr
zTlmv8JDuKE56//yxrg23v/6UoyHNc2gG2n91L0xISM6Tlj6+c75SBqP81efrpP38Ij3zzfEKg3q
R4ib/eu8y0Bu//1j9t/cJP9+9Z8GMgPmV9hGpR89weXjdOdPB8zGoHc84FUSaOz/9AXtH99ZztJz
YWqlb99DEoNU68OEqlfjmrVqwBD9q9vyV+/u9ft/+iA7xAZhv3D7o/s39L0UjxE+GOJ/rxpFftNf
vJ1/XRhhj/Mxag6cMcsSP32Y2jDGYokqX629fKcGHHycVeorrnf9MMVRPskNeFf9Fy/712fPUVXD
1lxSl3X7L7eQgjxghpHha/lLwpEuw7zyi9/rer//eJP++Ao/3SbNKIWhZ7Wf7qbjsMFKv+qDZtd6
2Xpc/Wpz+Q9LJcujoaI3Q8wLw+ynpWScZWx2cGzkWvUmv/TNb+FXw2dy73e3FIjp5he/3H94+3g9
4bCPXkdj4qdbEgfMKBu78Xu/3OVneqd33JO+9GRQvPUbEmFu/v4FxV9WF4dK2nBV23WE4zjuTy9o
S1epUAgG4kXdg+C5gQro5/fyy/jVQD/gmRsiXVYZ/JpvYQA/5cXe/fMfQKiapduAX9Rrd/zHpyIq
Ukn9vATGhvjgdReonrkmm2atsJgSNjSQP7vSN5oHhg7c+PfML6vX5hcrwV8elet7bQnVcQ1Xp9/z
03quLaJvkrABAfo9Wx6S6Uui3P39r3m9KX+4aX96hetN/adnX9LFwAvdkB+DfV49DwDeSudQpL9a
Y/66iPJCBg+eo7oaS6nz0047jKaOyqhdk6rbeEZQbWyoqSuAll67UQ+/ul8/F5Gff6/rGqNRHnEf
mT/dPqgnjVbnnUt3eHQ5rYL32MQ+8IJVdGAl3xt+H6SXZq3shL8EhT9vOwhQL+Phjyf1Hw20/t+m
Vbf1e3nft+/v/em1/l8wsmKb+Jeu4S8Dq/9TvoEyfP3zwIq///u4SvvNdlTdcV2VCTDzqmtl8fu0
SvvNEIKpEyMpajEdDcS/hlWG+I3twtZYw11bt3TBP/dfwyrxm6EjlucfwrDiMGP6R9Mq48dzgy3A
NEMbuN6s12pN/DydFjgee+Oa1dwooP3C6lQSROwhMSb8BTDmSutwPLcJLOFFHWCEt3m1M7s9HpDk
LlyUjbThHsFTDBTT2jOwq27Cpj6mrXPN/7FoiedKMBvciVF0IKC0PqgAO1wQsbYxOlcCFAtLMdae
YookmFoDH6AJliSdRi8iaopkBZeMj0l+L9T2RZftN3e5SRvzSSrzXVjncmPrhPzl7kiDBF84jVhA
a9lWpDfhaKZeXpJVVnFuvVNwgbZa8qIYYlNaxnpu3MkbESJU43FMN6qd3qlWrK+r2LiTV3xD2LQH
zQHB2BiE1NHoqpHQ3yxj+h5SCjXVQjRVZPhmrVckyCjWKWuMoBC2AvQBAZwrek68zLE2vO2jb/UY
pRTyaENn2sxJ+S1THGWDC6wA3D/DxHpTK5kedcKIRnoRgTtiWqGLeyB1eBPmjznK2Bs6ccmaQQ0w
CqS0nvqGzJ45khH5LSd0ELLFjBo49LOxP7Q40jRV37b25KxmZO5BbiBDDbs970nm9WPLQcrWnxLn
AUpS6Ne8XavMLDa4aghKIsWGAcJZe9SS9iPMMGKMgxE06ZDyFyaSOhPzYwjba1u+2rWuQtTDcI0Q
FiYER5rALng4zK8D/ClMlHVBbv0infLw+Zz9owXn/8sJ+vV8/98vSGdm3kP0mv95RdKu/8sfI3Tr
N80RbBaWZaFK4VjNBvXHCF3XfmNB0D91QcKwVfaSPyboLEqaYX4qhizG5FQq/1qUdPU3Jt2sYqbF
cRbdvPOPFqXrfvXv/cy0AJI51AFCENtzXZV+rveqMl8ItMPl6KYkK9Vvk36NhFqM2w7lJ/ex++DE
nRLAaLlxmYrdhdVgIvbINhJpOphdd69Z1c5yumldW+RX/um9PP/+g/xwsv2xUuHno4tH+YtejU6T
EJ/16p/qiLEmPTLWNctTJosxwZC2a2w/4ao59IMwCFPIia9zoVe2BVmISZXetZFmAK1K7iANiL0N
scIqkuqxAWnWQmvzrGawAuEODxlaY0+l53RrlrslmuLD0hW3jVPON5bbvuKVskhkiOJd0eK0khHO
brUqDJ/IFsCaTfLK5Gu6KfU8emry9C5CsQ4LJ6sYxsG7txpjhzYgOstRR+ZGFoUMx4ueEB70i7fo
WjD+8BEidjJ0jVtMs01Kk5/PB9ZMTvY1TSvlw17PMnMOnxeCSJwDqJhhZ460Ya2u1Qh+CfMvqhVZ
gSnGZmPN7eRVYIUPWZpuIszJh3jWFF/Lrtj1gSSPhMqwnpTnjrPyAdYdQ3VluIVnmz9UlnaDVN3Y
dBNjyRHI+ikuwbrSvKsQssbzUUt63xHxxi5aB4PmWDBA0u0DgGb7yyJVIPBxgifQsfyIKtVXIr2+
kBFqeX//Dtk/FqPXm4hGDCqoaycGocrPRVszQ+yOrqR/UlGIOB52GaOgVRSP4yVlVnYjyeReBjM9
ENbVV8Rkg3Nu1N7CbUckrkHX+uDq/amX5k09GdlaG0huD7MpQiJu3c7CyE5W3+WnuBAvRFiJzecf
9QmhGK6c4uBzUxQDSpT8OuVBWq9C0uFSmNCotVGFseESKmEaMrtz2XJEGlkfc96dzVLWd+2iHkGb
1od60qvfL6ZW//GlBUakrNmAPsWRn1pJNYXHN/btlhSQ6pSRt3pScMh5WaS7a7yuXupU2YsJWmVt
QHH0eMe07QQo5TjT6JZO0gF54avPP0J8MR1r3G2kJecBUsUBZsfcH3qAkAdYpyahJd5MYvBNbYft
MQRN8Ysb/LNZ9sMNTt2kC8u+VmCuzRn7x7MEkbxdzuM7eYS/qz4z7/wGxsaZt2WGEAd5LFKr3q8Q
RsPr681Vx2jpoejUdROrXUAnPVq3E47cHNxPyeTl0iw5c89kviG6Oz3Wep3ddNnMjXuTS9k81bOK
qa+yKNBE7Kz0aGG8dpWY1owXNn9/bzo/HoC5Nyk5UeWqusGCz694fbr/tMDJJUVHS6ob6onxm+HG
zNfLmB6JMSe7KOKRgrhJcrl5H4+cxOfyqdO05E6xwu9xAlldvYZ8f/7RIokvc61BB2LGn31eCsum
HJLkRcORwMeoJ09hN8Rbif4W9F2WPjGRtdaKmwSAH5mBSXO6fF7Q4e9qRQLkBaR7GUi92TdiSVef
34zbfL7odjx4PTvABvy4ZbkdSa+LerYY//g9NaL/+eXnxW5Te13ZTnRgMqBQLXYJKWC69crx+JzN
TvyIDkRuSr3z29yivnWd5CtzjK+wEJs7VRsojogRmDh3RYalpBSvLngXmr28SB0US1k95lWeBl2k
i12JYo0kFvy3i7oUh0V3Rg+eXr1WbczDpTBu20SPniJL7AcTgvOQNtETU6mg1krzMhr1299/xOZ/
+IhZgizB7cvna39qyP70ETsuPj+VNDpPOvB3eqhCpB5nD9VcMfbtnqPSNr9Gi6d05FayXtv73y86
glGoGjcZ4Yn7CfTRQWIMXiskl3lsa3emI53j50VkhXPUc6OCwuleEjiTjY/G7EXObr/BBmscC9mW
+9nuD0k7dYGW6M3O6nTtOV5u68EVx4FwWp+jlXlQjR6niT08Rfkkn+PZ+VZUpvFGQlbf6tueXGH4
5Cka46YO4rRT97GyI1a43We5SzTyrC7hPtab/7rYjfWL5QBt4c8bnoWWFrWdY+Dw55mhOPrzI4OE
RMxthXRhnILYMoZ9WsATQvtAFDkJp8TsKrPsoSBYwBpMk4Kfi6M9dEhfsLbY0c3gALfmXz78+wLl
za8Byq6bHhAGkkNKhmzcwDzXvphNma6cYpx3aNlXCZa4/cwwDGslGREFzDR9himOKdRxq+VC6rTt
K3qIn2Ja7JNm1EeGccYdBo/GA5k2eblufHE1HhHFJaItTBv12Ohvs2VbW0ooWgql0d5114spJLTM
zq39xnSCpodNg8cpIvKvvVPdrDkMZHeh5gDZwzu1AD6s6chPxZOIJ4LYOuucjnF/a9nDPmk08/B5
YSRtHnJSVsyJKMs67JTTkOnKqVvodetiq/R5eJ5nI7lDbLKZNVTzppmvHEz4yBobcbavl6abNG/u
9exmws22nmRp3hYx8+jUrYc7VZUqRluluMHyKiFdkvbYD23+2ms5410GmrWJDbaSxni4ish9lNHV
C5i956Ge2ssU1YSluSo9eYSVL3XePxTwx49dPKd3n5dqmTdq0oh90S40ykLbPIyzjgUrJW1Vrcrv
f/8Qo0z9qcqyaS+57D/o9wmoUa/f/9NDbC+5KNHQEQMGkNeUEPvkUm9hhZHazQd+MgdRHiAkEW0m
oHrGxSApKrMdicJEykw5wp++/MALR5pxXLn9FuPvl7B02drb+C1LXGUTK8ZdOd9VWeT6WQnvuqs1
5YJzZtz2HSEMaJWOnxdMeOM6TATal9iSj1iVvZZQiS9//ytz9/98OrApvKm8WL1Mk76J8dOT1rio
IxwDbZh63evn6uHzcvWbprElLqMwtFM0OV+73CTir48tEj+cYqehelmZMkuezFEtj0rojqtKTsmT
UybWfpR26n1+1wIQvcsN2/SADcRPUxiHG22A/wXVa661/NFJY6JsugChVXSRat5f8BKQ9k10/P7z
y66BF9bHTMBWUjU/JnopjMHZ7+beObe1o6wICwNhTPByGRI7V2It1eQ07uqleUpl+4ApELZ20rwh
mGEkHTcvMMB2XZy8OdlYr5RshvbvvoQm6gn4SJ2JEIPQN9I/oci+94rzUUrSjFC0eJNiEXKSzS+T
zoamE48E/wXU3DIucATn12ZMYk/V6VBaUeZNes7U2DI2oCYE6OWhJoCtpe4cnVtnZ4XLCyFsBDuU
yY1GAEZflGfAnl8J2dxmZFs4DUqSBk0gVIgcOg2RqVW6sIbrwM0InrhpnaLfmKHyuoDiT0YSHagr
khMxTClsp2iFjE1b1VV2j4NzPUiXKsoMn8C/P7fKg2U193K2jV1qEIuF+OwFQVjmS2v8ogChN5Uh
R9JDSJyGUil1NPicKsmKWNYfU4OAHfJ9k27cCLncM5Bdpcpj7MLDiUv3FM71HXK/OpgiuVE1pqFU
Az6bMW7PZATji7ppXbTAf1st3LSi/AIIVPeFmiyenotupZrNvMXOnG9Vt8u8gf3d0+Wq0dtk02j6
mtQOd7XEQxoojbl1U/pfcnCbtV5H39V2pQDDfmssdZfMQ7pG2QERuS/CXXQJXaNbG7ky3UCba1e5
OagBVB7OPKxOSG/s1HksxRSgxwwGg4aXM5TmLm8ln3wybLSWfNrWdJjMDwS2ComsSSYbUyoAIKN4
X4KPFkPFvC0mgNgeSC6x5WbAhCWAhq7MGhyyUmcHfjM7IPqiWoUCDvInx7ppySqY1Vu11j5A+qkH
KaJkHccZ8tylvLSD+oBicpCyXUGR2lqixpTKIXmSy07UJmFZOUl9k3V2auC3vJ/KCucnPF2XSRx2
wRuRLU9Li96jM8zBywBRcCP29tpi1duaoiOrJM0Dg8MuPEpzAmboKUn55PbOa1G5o59sw0o/EZDq
MIRW+800te0DWu+PvA0Po2nEtxNtA8wqrNIGH2dDAjX622siZKycteW+MctvHeLnNCa3bWEJIYB7
FUauga05XQ9Dg7AUYszkngeRVkFHnGOPpWdYiGmd0uxJUdVXMpvZiyJwTKTnxepWAl3JHpKYXJq8
b9zVUNm3/ZTc4qqd9/2Xwa15DGv369JaG5coKQiD+ECvG5X+kk7D99j+qindgH1gvsqctb2c3rMh
r1Cq6Svo1dfgL2nfFftIb9VbYEjOalRJWBAND/NsVheRua9wpTV6pY3r08cgrSuqaNAqDpkFjiHX
dqJoJ6lOH4D/mFpM5fxoJumWLGTmFy4boT50k4/KXezVNoo9Tc9Qz8XGfixbI4C0R+hzaJFzOZO3
UY3AKDq5TYz0GyrPcpOm00GfoSWHJMcvYJK3U5Qvq9wtX/RkbuBk5U9LbZ2LfbgfCeQO2pF8g4Yn
rXR0FKZ0LFaycd0tKVdWkr07SjDmOrEyS18GYVmoG9O6zE7YrnszJ79xtubt4lcyMVZtM4o9LqN7
UtcyYn4ieDxeV5DMbFS7IUeWVI0k01L8PVF6KCd31JTTZJtbS9IJZ99P3ITAZTU09qHTkEbWOkda
MORCNR9pzs/V1YmyaoSy+JC+q14Z7kbigFFvNyu1wAcyl/JkW2RgRKLmQ3Bx+Q+I4aQN0tFs91a+
kTZZzBAUlFWBDDQCo7Yjjmpd1CG6r1ityV2uVEJk+2vkirUlqgAdn7B8Va/fh+Tkapdktj7S2IwI
iSxJlWlBLmiNxn4SFqe2XsBshfOXvu4o89HG+nWIk7ezSNS18SN6miKuWtGeIeAYvml68Y6qKn8u
sjDA6AXxFPPrudTPZlc+KkpzaQXsjSjDGDbcJf0azeVDWYkECnpyb/cGkCu5rgFJ7Ehj6jZmlr8j
bqeHPU3g+Kwpug3tKSPt2ngPc/RRTocK1XXuBwS4W+CN1wlBnlwgbLL0mf1mENOh6ROsqdD2VvmM
KbrUoSzjEMhJ4hp07aI4lHsV2uuJaDK10ZzbxnjQDLQbqQRhsLhEbAFTxx3igzrOTnXXQFbIMAHa
5bYsAG7RAFI38F2u4aGCVJFdnLMgjthXdkbTHKshZCQ8VSqE2bRa8yjUCPHdiv+AO2MjJlC/xbXT
3vYh7kju8gc226cGSSZiTVs/tYlyguCUr2o1vJPCHm+MMoFwl2bvNSk7a5e0SKz0nYexZ0ZhzAHs
qulzOHKtC736rg+RgySkfASDfBfq9+AyI8+quidTb9IrMdCv0UGfBqEEfNTE/ygliVhMUUj9bP0m
j3zdLEEgwLbzYhcpvo2NTqEsPkCBfh7HyaUicb+pzbBtGSiswqxkf6i67zIZjvAJSH1sHZhY6CyD
KKGBVSeA3J04XNclH8qSQgscJXnhYzyZ28pTFREssphPA6dnT6BW3Fp9lPmDMcY7c4LCZYYXolAe
MnXeaNxjodVaQfMZBRW1txVcEDz66bd0sc5tqthbd85DbI+jCXTfOLhdsxzc4jUvhPCitE7JARKH
PnOW3y/aPLA1sfnVhZ0fLRgT51jPOIEOxbGp7+lClocISemhJEMQChaxB9ZEVAe0cNwHMG5MZ223
AIL6GH8LggGQ4goZt2xanV/7M2veahBEyoevgrhJSkyaNuD8UAjp8hlj8LOd6+3agRC3TcLpcejH
l9BIr12LYidJkvd1MCJBopik1qQZeaZYeHDqrfKYQtHVEG9OznNX0yYs9H1r59aBJiH1w1tCIwJU
W0/CdjlExIymgqqiVvdttZgrt7mzqjINJOxQzvdsfBZ7vZ30QYurvuBHXsl6xLqRLt/o9lm+YbBm
tqjPiQwI8ZWSCexlWRj6nQPlQoTZF/3ZWDKbmDUt99ERbBrLGANLwRJhKfXKDevxXAN1diWZjx3D
QmyTgEir+Gs0k21D4xEqOw7YujipeeLPbfQSW9x/WKxSSKC2oB4a+QuELpOxbdoHV413sU3Ucze8
JZG1VRDF01h+GJfsIesnGHGu/ugSKh9OY0Q6mROMFtHoPeE7MblXiB1yH6YtWSi1DLCtXDvwx3Jh
Lpf1pCEk0V646bLVpv57iPg0vobghGJ4nlSn3c3LvicEi9UVI08nQSTOyw6h4+OywGUgpjDtG49Q
s34NwR9wkIQTKfmRGJEg6nZ9rVYCJUzpX7XpuNFCcj6MnGSbRHymwRlroPIH4Hs8kuiRAuvDKbgf
IPYbxiGd0uQQXy8AULdQGuwdhDyvGKtq3aj4CYj0ybAXrfAyDAEdcJI7EE3FD2Jqx21WAu9cpoFU
ApgrXlmKNYpAvLVLmHhqZSVIuRYCDD9DaPlfu1Cm69kxbzm+UqWWFEdzf14m7kEZAbh0pL1WslQL
0qX5koTyOOZwbZPwTB6KCNIB45bZuclGcQnDW4rlNlPEFyJEqm5ot6aMbyt4ZZZDOImjpC0SW1oF
QyoJ1jajoFOhQdmZ6TUFfjdDaV5GyJEr+IuwDHFcMH29pjhWu1QxQFRk3O0Kcgd6OvF3JKcX8mqI
he4JvTXq6pWzKQsODGDguRS0ItKsPXFQa+InuvWSckzAnPymx1UG4RcqQHboScQ7hql+s2g2cYJZ
ggpzasRpIYWoKhH2WmwNnIJg0Ei14fjml/yQlPEEt+g8x9BpyRAa41jzs2W6S81y2etwjonqHHeV
CkImjV2vnZH/D2ZyaObltdBGpM8ReFHTDjq3Y3LdxiDJEeh7dsPZJsaTYKm1w+TY+DrPmD6ke3QL
i7n0Ag81dSzmI63hF0OieK4p++Ng5ETsdI81ZhFlTpZ1FjW6V7dkhhgJRptMfdGUMd8rbaEzJ8dW
UoqEFvWYeIVwsVe6xm04fyWn6TZtCKRVltj2FM4Flra85qoaBTiliZlcjgkRzWAC2YoE0VljH9/g
SCT2fVlGf0JP5UWFjcYkOulJ+5bM6NoLy12rekwEx0SMd5MS3TYWCQkHW+r6W+DV0Tnqp0do9fS6
QL22Jf+XY9NFC++mibQgNb5gYDHxf11kUhNaaMXGprCyeTW3nIDtzB0vZqnscB2NekZGlyZeRSR3
mllY7H4ygLGSblUDjSHryxYRgOQs2/cQVhNfm0iAChnaq5jFWiX+SgXu147xEjL08ZA7P2bC2Gay
M4EuGbdyIlGH4/3yHA42CNUsVRgxwtlajGs/YXalFwtI24q2geTyOBQ12DyxvOXRiB9IGQDkiDPB
Y8u2jKNTjVVmP4cWxKeTKgDUF0IhnJ18GH65KSfqjGBtvysteyf7cGMVLiecpQ7Y5p662njlCUv8
weU0m6vt7Jlq0fnxEr8CIKM0Hz2EhWFC0FZHFsQ6H8K9SZDu0LhsUJqm4J3vW2+In7M639Yj/4Ay
cP7u8YdSCPMc6Hl/VWO8pVH9TFIRmo1xOIINI5Ux5CBkaRrRSMZ9AX+gVdRxR37PQ8bMLE7jg5FZ
M6L4joBftNYYb5Yvc6U/TA/0rCpfsCHvFSvbJcy7PLJeESfh4fRtebWDql+1xrxhukuEYshyhYHp
PaIkhf0L5xSx4Si/V8ZUYu9pQatcXadlfyPOzqDWKzrI3ZrBxsIYZmCRZGS6UxSmELBV4ZzGYjWk
8OhVycEyMs/NogaOgzjFIOfarVjz2tQi3Y+whEZyxKoiLJ+ZjnNQFLqXyNYCymcfKWruQyQgTNVk
0I22DAZaPZpgXWRgYxLCNo7hfbjcAF2iPTAnzaEeCYvJ2sZnIpreZu34JselY4ac7SFIxV4m2VPc
VjtQW/fsZh+dMz42UyMPLaqPXrYfcTkVm5KkLhmqX7sqOShFn9DzYCmKerTcLfyJVeTiiqhNtw8m
MlDH+MD9SkdAwdAiklMaUvPnif6qz+WrUpcMGmQBWo3nzNU9uTCLZtiBDXPCmN4aZ2syFM8w+ZAs
sqn4FSDrWYtfOIvAORhd1AEqAgjmR1vvVRDs9RRk8JEoXojNzTLS5xIqhrlOllWC1WmlqB27FjQI
nRmWYZt+EzLX6kW5NsB5XP8iLyezS6tgdh609SiKr62xt+0CikNoLn6oQE9yImqzaLIDy3o0r0DH
YaZDrVa6zfdIGBjIHqjd8r4IieK0Bgk4mH9nqWh/WyPxtgr1azuSQcm59nqfKEfc1taOZwjuKdqD
o9JsXKU2OGBnJOBE3aFm4OY1Eh9oSTEQjEyZbaIZ42Q6g9DaG8Mw+RLPq5nRIsA3BLImKT4mamlp
PStWjsfeS8Ms2fdZc6s7+fOI3456JDr32F/gEmvvuXDP2EO42+bhXu1iYqJiBNFkrrxA2lu7xcit
Q6uOzzp7iWEJjLX01QxaX9eMGxeHK4/CE7F8U7BEskaTpB+nHqOMmlCMYpGWXqaB5LiSG80l/Mb0
Bpp5GcfHJg59hIX3Q74k50sNgntfD/UFB9hJEWV2mKL+lH8rYy8Pia5OMnMnib3zYqtDGd6mxCQU
qldGD1WrPeABSgZBvnXICQFSWDKUrwnp0+XQb7HEEEI4Zux+VbfH4wgnsyhul8wg+F0zOJdwmv38
KpuYIHe2cioHC3NwF207yY40Esa3LzXxVLaR7l9HR+JqRCfC46luCXka4vQhsnVIWQhMOJwgXcOc
0wfouiG+0vLu57UlxfvUJ7DKQ/J6stCbjbDZKCYSE+nUqk+RrCMyNttsWzlzkGc5Zh5BaW31ZBpO
ZEON1Wsy0hbi54IfPmmkkBcuJ1LsoKb1qsdMgGsdbpbII+LlInEXjQSYtPQ2mIlJryNYs0ipbKZR
PBpW+6Wa6BZo7hxtijq9RIVJJVeq711BiuNk4A4RC75mbNrrcVFRJY/DYzmHNHildZvBK3RltTY5
mG+jaN13d62qzrBlGzfo46LC+UvrQlpfN0lXPWdq9M1ySrnSlfyM1dvmdo9nDFbiTo37j1yoVN5p
9BzCiU7z4qz1zbh3x6yBTijDbRFZRzhqb5n20dgR4VIRi4gunpAyEtCZx91KkSwRZPtye8+BoXIU
qpskaIe+uCMqagMONwSBkQ7RXp1mByUh0hVJFF02gf/EwfiST1h9j6jb6eEbFSjiovXxpfHOd53r
xcZjWTQmTjY73tboYW+MCZuAS17fSp/VcJXtG6aLOLFJBdnqCh+SqdxrWNC8KclP9cjZi+zrAHZg
MLsLHR3Hug/76lgQfOiFjvvERsoqFWdPNnmHO0WvaQSq1NghLX57am5BVOiIoOkm0Tww6f7ijlar
Cfg7taCaEbSVXkscbVw8q+5eU8yJV3gbm05vbqxJ8yM6LissTp49xKcJ7Op6Ma6R8mFnrsu2HjAC
6qgE6E7owF75iekGaNmNkoZEWAHp55zVRFs7ab5XeUeLuCPKl5o40u71BfyB1Wq7Nk/XXZO7fp/n
UBumbKuxea0qIWdWtOVddchCRZdC9Af3IqzFdpfi7loVSk260DS9JrHcpTTKvYUeMITu21yI7TD3
rJNG9iUXJPPAe4c2N+3GaUl3hIyFELaaryO5Cbv+XgeGcII2Qb8MKakiN86Ia3wgdCPWtLOrgeDg
TnwnL8blw8hU+CTsuvZVsfXOEGPFc3KEusHtBHGQ58jpNq7Lvl8kBnXNK2sZL8xgfrHFfi6c21lL
MBcnQD01ilBuIDNk5STTm1Nhi3So1QbGLW61hbM/YXEEaSCTg2gd0tIm86ty/cwX5qKETykbONXf
2A5IkkNHBK1c8brOIVRscDcMCz8gIrzX9AB9jl6vmkaNXCSpyqD8PKOX2XdZsc1daiVIzVcAE/Py
yXDQPwBFzUdzIRNHPtuEUEZVelrcUWxiPOspB680gsLlPtG6psVRmQeR0qMjMux1sjktJ1D68XNU
wpsYf+xd2pf9jGwX53C3iQS7sRNXMMwYMTSxlq6zUFlXoWrfir7zhfYZVhRAg1iuvPBzDTm+IeLi
kmt3aUQiip3sWptSCHRBsrLbqERFBfy9e886k/cup5XFG7mRTnfXp7gqM7cXHJyVx0JJBB5+o17p
Q/PBBOLqqcz9yJzEeXTQyErD/ihgpaIIvsXDizy9rSPw4JTLjDbR/TTgAODArCLgauxl4RcK/jAI
qVeG0MxPdp18d7LZ2AxZSP/melhROmy7LlXniOdb6XXtgXRi7YH8to2gYl6V6sR4yeGMHilGhXZF
nc/2MO9Lq4wubB/9jmk994ARu0HYTeRNCzW8MSlcbhx1gSdWLshZ64pjDAgGBCT9jR46nM2i6pho
dnujOGO8yUZOWMoTMTwfUcoOpFVmf2ThHlbY++fNTOW2tg333YzTg2ic9pgW06od0PVMWh2f6yYv
6VPWlO001YNIl98UstbBI5Y7EcMzGcGG35SFZnogTvrv6bQinw4EBmiGTcRsdN0Dszq1Jj2BJCcL
sAX5ehqbobi42AobqsJLTRRn33TkrRWBXKqRHlhpMZZOq5Qs7Y734tZq+2TXR5a8Ta5JZk5vtdve
oWYd0teh6M1zmrbphegbktLN+NnplOTyeUmhja1jg0O77rq7GJP2TUjBfOF8gOzBCOUeliUT6cQk
e7AqS6iWMEJCrZ7vRqfWz0POUUL7KlE17OMqTO5gcqRA4ygjJ0ie2+s3x7ww9orSMY2RsvZlkzI2
rQ3lTK9rDICQElfSxETNjh1kBzfrLu710nYGz2A83gAaby9uNYcHfvnnAoPzKspUfZ8UwrkP7e9R
zZmZITkJiGxnR81UDL/VjeZoaYFijQOzh7A8CbLV1EXI+yJ/nJ26uXCmHu9jVW/9uV6SzeeX6mJW
K2EkxRqy71s18OB7qp+PDoQ002gf/i9xZ7ZcNZat6yfSCfVTul2treUeGwM3CkgS9X2vp9+fXLmL
ZaGzFJAR50RkEZVFwfCcGrMb42/0KPsRIfNyg9h0+WxNVmgUeu3D2296dcGu7Y3PAz6UcuHbr506
SaNgUnplj632bHT0U9tAPrgWV1A51HoEvBFGkAI46arHJ+Qtwq6MFPIHoTZokw6SfpegYiBjY2x+
ynpMyNQg8jYAG5Nb32hp7IySuTNDr7+z/cDb+5X/MHphRQNdfNVa3fxS0uHaFiWexJFuPeIw8gMc
vvnd5UU9HTo6i+ZrH/tfvFBuX/AtRno0F4+hJSk7JasL8FNNt2vKKj1O9VOc8orQ0SesXlKoN3mY
5ABk1eZHWarPQjLlJ0s6qQH1i9brPudDctDoEt/oGpVyXeqcMbSefU/D+1HCZC/BBintyzsR0lau
abpu+YkHHOv3VIDKl7L2UDrhpaRgCBwMKAorbgaS8g75rpjjIOkcZOu8rVKo3qnm3mSmsneDKBMt
MOPZQiFEEhkPZK0Kr0xJPNlSlN0ZklvRMMNmKZIi9VaK22tMn4NrJsXdpB2+zomhbAsxGuSWh8Oy
SVtKz5BCdXP31eC65chGZm1Bzueh7uGmnklPUVg+DwjAOFppRRTd0n5fa7l/Q3nlsQsDdefKPQpT
WD3eArdVdmUIJI42+eQPE2dAsFIMUEL8toyygG0kGY+DGaf3FKBR2q3tD2mTPqVRLk6tbjsI48UH
iyLSxp5AHmrjTcKvxT4Z6qdyeGukqLQ9rKy40cbEcIqGbd83YgCkydaTdchSNn2PVG3bgwazEJSm
noJUHr+w/7pXIhLSdRPArjdr8+ihEPKkDHV2VU49zMz8pFWdeW3kQKTzutdZCcEdINFPIdeFO3ym
MTNJ8UrDnw29qap4iGoAKl7p/+gqxbp7+yXtzSs0l6SrAYggVIq/K06rekTkYSzEt4gyghHjOWCk
Fq3YXtVvAs4iW2rKu8i29oNqe85gBihS2uaVzYG3j6oOdQKTRM0lIXaKa15ruLhNzGjgL+ZDJKX9
NWcdutO8EnMfFAzKusmVW1MHHXsMYSU9yCHp4twgJExgFDPgLVBMUF63rw4p6/g6SMQR31rtryTV
djm6FUiVyq+xMgxY46BL0Yd99MHIzJ2ihdbp7ZcsACctea9lm6SPIvH0p1T1pJ3VfPIAshxk2iiY
cSn+lZpVX2QM+LZqEn7XVe4RljeYjxaIyk1mT4WdkUJtJeqbVE12/VgBdWyR7o9U+c62KcUUueTu
xihNH0wZXJcwsOyTY4yqeWyVX1W7/m7fK2OXP0WcynqHoBh1nICyp9nQXBUxGJbS2vlDIg6h1wDh
S8sPSYIUTno1RONwr0Zm/uJ20nepAKsuhcNd0POosKLoOkek8yY2sHJTjRAzlnKTt5rxcahT46aw
KusulFAyQtD2dvSDFxwpC94VnvIY1SatOOxRERVHUCbtPeWYJrl9m7Zhwo7XUItuNAogQHdBRuSP
QGHGRw8F16fW6k9lJqnX6vRAiZTAv02F7t0KkIlW3OxN5Lr2Ee5ENznmVNTw1A5asNztInaoo60N
w+PY69f+mIs7r6+6Q1bF9U0YGtw74+4QTv97r6UlOIiNXkX6Q4ym0s6utJHafI0KVID5pBJiVFMN
hQ/Bh8qnl0+19VDvboZUFyfUNhVaMy0NikqXrqzBHT/GunyUfDX4uq0NpUMOdRh3gVeoWwXeEq0i
rBzTZoiuuww7l7dfYjek2JCqtFQ7ALB4xFzbVvjNcl/QPxHpNhG0y9nPdYRINPcJT2ibGweFJsWO
Dm3i2c+4ptrPWfFZpcuGySLa9ApbfDo28aHtc+zp4CJsBiQInVDz7njN8zYsiuCxusKYaOPFmvJI
XUy6VeTu0DSK5kiZq9HSLz+OdLmPvsU314SFlkuAOEVcpGiRyckV0iGI+4/Jc+Ip6SmlRLZz8de9
MnU9u3ejJr83mjC/95TkSq2e8a0qT1Xkgp+VvdeuNoY7FuljCxnkh8VDtKi8XZpWPW9Lw9j9vOdk
nXFNF/3tTLCtHOLt5MJMS32Hya2xM7lgObnlATCWmyN/GyrYiHtwd7XyF9HJ7X6UbNRtoXlCecIB
nt4Cnl5yLj9wDtXsb2n/bPdcUkoR5gdEjRxRU21kXaGIUBT9IZAb95jEYthnyEUe+APeKfArgcZh
LZ7N1j0CakiA2xjhR288yGZlOlpm/h3bwzHp/exJ8WsVKG6KfFgvkPGv8B6PGxndH2EmNNni9tbF
qbO1Ptg0G9PMND5oNvWo0gu+xn5MFdBLy5vCBfTSyPd6rnhXQyl/SBTTu+m4IG3LT6UIjEMuGuUZ
/xY2RFeiBjsGtkPTc1vDmtgEraByh8OVt41ce+95lI5AVZQ3Ik6o1WEhsR1hnxyo5dNpUEDE2UVI
X8RyC5xrx1y9t9GF24y1r13piddeuTnW1pjPRQ/A3uj1l/Xd27+pbqFswF5aiJiloZMF7lfdaBvg
Z6jNqJ2P76KPTwjgQG1LfTV/Kuw8f9Lb72BD03t0wdPb2Od5U43Gjafm/EKbaTsqKP0prdc+qACN
HqzIqk+WZjx4evMki1K5s924e+7CZ/TZ1Je3f0m1D7ktqfexpz4b3I8xjEKpCF0X+/Mg8mseMS0l
uyA+VkbhPlbGkKyQmOnxzFCfiKwg+qNNMiiGClVrxi4uIr+tWhcAUQDwBfRMJT+aIQLkQgv6vR7m
9cmeyBABEkobGYuHHdRyFpE/XKOcZ+2wukLYBGG7yR3aoKo6dpTRwKz42scEt1eKEgr6kaUKsjDL
URLs8X2zh1I7UZCeABsHcPdYlA1PIqpveZ9kD3kf3sNZam/ffpF6mmFpD5zm7V/l8Fse0KiHGtme
XM/a4ZmCHT2yWCdAOaitBH5wQj1Zux7SsHCS6ovRclw1hQnUUG5S/6CH9acELlcdWslDO/3iV+T2
qCk9ejAW92CSLD5oGpVNDdohmOX0BeEu44TvAWiZrAXY6pofEQtTNgn+d5Svo6uRK8dmNMGv8mhu
QSJyn+fv0T9rwr6SRD614OQTED5lk1mhdYzbrH7F8xHaJ6ZZdzl6TRTlMiRHIjd7aqgQ76y4F4e3
zNOCB0vU0m3h9Z9Utw8/0pKBv9HHnlNrrz3Amqe3XyydyxjMGlRDT4j6xXeZWxfIRfq7WkjZh7xG
hv0ygvYX0DC0dFh/QpjYmhqmakJIPgcNF2kgMrmd6iNoMG7dMshoSmvZ/huOutLnxqyxQgGGs2tk
/j9hWHcO8pT9RlWpUuXQbPhg4QFjtxxeRGjc+lZebthUgodBlOlW81uKO3rp3kua/i1DjoynCcAJ
3wUAlyufbHjOu7Tm/KqS6qmNo/zgKhml6YIOuaJoDz68gRV5gzctnXOyDkNGKRg9FbgOtqHPhywX
VlfnRV1usiZrqaKa2Q5/rJ3WZurehVF/SHtAjpXK81pxVflGpMZOrtzgvuZsvocL620zuaydADxc
bpvVax9g+JDh3rtDnTv/3HhTy6O9S5oIQPyQUlbM+HOeb95h0NzK7pcxzes7RS3pQ6IZtSmz/l7j
4vjq643suEXyakVYRSe0MuCguCclAcFJ1yo8URN45UWUfLicBdMe8W5GLBmpB6QWBLMCTW/G8PFy
VfXDllyWtDbaUEj628SaNFC452PJTYFeAR3QGojNssqClRScCXoYkBhkEOt8iEnXU9HkWQrqqV11
yB9yvA3611gKvvTovrZJaONKjbt9pEiOSks1Lvc0YZHe1fuvemzVW7T41vRnliaCAgU8eAUtaSFm
mhBsg1KYeXScXTX93lclN/vgOkJwhEZbczJ9Gay3PjZXWaH+Zxb+n3GXp0B/ncmK/xP4/6ewN+Lb
Z2m4oJNQfy3/qoO/vp4Tk9/+0D9iCRZU33+IyMr03/+hHnO3RqPbUGA6oGqtKhTE/8s9lizj/8gG
PX10L1SORpuf4Tf0u9/TMk02Cs1CrEdlTdj8I88OVx1rToXtpHdwy35MXPpurZhsi25apX04G/wC
j/g9keE/oTi/hcx6sE2IQ+83YhqfRg7OuXGwldhH5cekuc1FdgoAJrQrTJH37KR/QmkTMwldCVAY
s1CFJqou1fTa6YcMPcle+QzT7dRQDbg8pKXZ+8/NxJRNQ9dmcRq4QKGLs51TUZ7dD5b1F1cPCpeB
knP5GKoVouJauNk+woVsFGPk1k6X2MYNIKeSUuPY3Y05Ep+N7T/+u9HN9gpJFGk2jBazKJvZvpDr
F264wPO16Kaji/YHwUxKOjJ3PXaoGc1FrjlJszJoHN7e+8xtH0NKTCBewlPipZ/+JBZ5wbfjxfh2
fp7xiChGtpAHysqhnbX1uXyYwc2oOar1+XKcxTTk+vG/cWYTGNRB7ptd2jiRGdWnVKurfaEMINZE
/OMPIiEWiKDSpBz1Rn88G5GoqYemftU4iq9eC+VJHdzXMTKvLkd5fxP/Z1mdRZnGexbFRe87LE2l
poDdOHYirgX6Jf8uxLQEzkIEdHyDsSDnioGmWFVzHQvV6PZykKV1xDmMroyMjIPxJi55FsSwfM1q
gRM4qBjflxrtSrUrX/PGj0DjpCsjmhL359XjP5N2Hmy2aE1PQ3DZMCsnA5o+WtexcV/Un/0CEJF2
jN2/Lw9taZPVFHZYc1JEQ7bh/fx1mjTmnmD+LJoaO9D1X/WJVYhag5vSncIpbGUtLeW4pnK7mtTX
EHybcfJg4Negv+MGDQG4IMBG8GBEjX5TqsZKji9ln6bLFkUSVaFdOxsamviSUvsR11IazqhD3FO2
ebg8e4uDOQsx+1bQBNUaW/XWMdy87K+N0m2ftNCPm2PTdGJlPGvBZruDPqIp0xUqWVghlxcYRbPJ
e5wWMmUlA9cCae9zAmkRcsJVIOZSwynUL74sYTPQ7v7d3M0SgfbwAAZf7ZwY41+taj4j0XNQ9fD+
cpiltYt8k6wbiEJh/TEN9mzt9nkl+rFQsQiv6+9Ve5/jeLBBLqjZX46zNGnncaZlfRbHkGq7AKdX
OXr+l+XCm5MeTOXlD2Ig88qhR6uba977GMCmfF6EHkomHmLKUQSbKdcm4pQFfuxfhTJm0xZPbco8
5ciTunRfQ8vws+qktsGKtN/S9qP/HJExfb2zWQvjqlRDid0grAo33NhGRYNcG9X6fvQQgR4L/0Fu
B/1fDm76qc6i1h3AMbw74Ff3kbwpCmS14XjdUK38j/7S/1XkdTEpdM0GG40pD7477wP5lt1aIpFr
MEKnMb6ts4chWrl0Lc4gLAsNPUaENuYcZ0UEsVK7EOrb0Hiu0vgFb8abicQ89GD+6Fv8wVmom2jX
WpahmaB+Z0MC7Yy31dSUtl5q4MDiaBK7XRnV0t59HmWWF2CHad3i+urYNXAvWfOSfUbNaf8HSS64
AKE1I3Ty8P1YoLTaumS0bEGetMc/ZlOPyl70xsp+unSi6whJcVDIimrJs2ULGKahT9Q2jhQkwxf0
JMSuUqX4uuahhSqE4VRqCQsAnt9Kni/NoqGovFWMSbLKnJ0YcQjx0YyhEkCTgDxg63T2dLT+L8/i
0g5rIGuNpRRyzao1Oy5arY3lQWtbpzOV0xjqNIt7p7JMAEKrukl8kPnd6DzU7Myw+krBvCmoHW7k
wP6o5HrN9eXRLC3Z8xCz/E6ZNKuUROUYdrbl0rRHaWan0Gj6kzBCQ/FeaHyfWU60UtBLmF9zXBif
xuYHcp5y/9flEMvf5WeI2VNdVVoZG227clpxDSXPtH7gJ9Hkr5ejLM/Xf6OYszUk0YsAxsh1NUnp
egKcw9e2o7n6B1FYoqwhFNyR3nm/Unu1RrO3SmpnNDpImNYuE/pesdY2t1nl7T+X70nwxTCobXBH
ne07gJd77Jaizil33X5SzQZUeDT2EACPyQGVjpXzYXGBIhWnwsSiyGHNwsU05cYx54HuKsWnHHeJ
wVt7J6+FmJ11ud+nuQnA0xnkPt40ehBsQtNY+TxrQWbZjAFYY0NYbp3YsL4Ak6StKnUrV4XFdD6b
q1k6D2McIRrEZmYHxnUHvjUwwFua6SFGyflyti2dqdSB/vezzF8OZSqpaIQgBalDhwCGv8kArwLH
zZt7N1tZP4vDsg2ETjlQsQiY7TelB0XGqvOOVRrRcXroi2MFw7WPVlJtcZ2exZmlWjmCMTOhxjso
IujRNyt4GdqPl6dtKQQNE2rXKP8hSzgbioqQjdqaLNIQjEksI0IEUltfO27WoswGgrKDsPByb50q
iW9NaLWB651yI1/ZoJe+C74DMjp9KrZV8x3HklIJb46mdqpYOboNeOYy+KS53hYV5r8vz9vS6rHB
mCpCl2UZBcn3m5tFOxk1lKx2stB/jvrkpQYTcTnE0qQhhENdgUow3NPZTQBevmZrSKE5Uh6gDtQ/
+2508KN0ZdKWFg6qmYplyGygXHzfjyS2wqrJRpORlNRIcJxK7k1kIFLcis0VR4/FEf0MNb+7YS0J
YQt8iINoyq1t9g/lWB4GdLB+e+JsGRUhpNXpCnK9eT+iLHbNOq+T3vG64BsYtNNYgg6j5fX7OyiW
cIpu4g5Cp1CdcuTsSRKjzlh4CnUYM0EzxRVb4RUr19CFNCME/p20A/jHnJ0EIeynxBNx7wQ5JG89
l9NHKtTJHw3kZ5RZMo9xbeUcOFTt3ebGRFASu6zDH3wT7k2osmFvaswb/ErJ0zhJpk9P51144RVV
+2Phrx1qCxmGKvV/w8xl9V0hRBOpHM6N1oH3q3e1hZ+Yre4vj2bxs5yFmb0R4RTrqpQrPEIMH/iS
fZtr/crev7CXvRvJLIllDYQdrpEd2JPgHiYzXJTuG31UXr3R8fJoFifNQHlKBgYg5Dd1qrM81vNI
ru2a60bqRuifyfuK186QrhVJF0d0FmaWZZ5XCtElKErVhn8te/dta79aSXawK/X39xlaZrZq6nTP
KJHO5m6ITHkoi7Ghho2iRRc9dtJzYFvO5Wlb2DgpTrExyyo+TL/0uqTYNBO3Shqnz5/9wUMO/LvW
fUmMq9xau9wsTp0wFbwEOAkQEX6/0wRxboCZjXo0yrur2JOPlTxg8Q7tvjGVP8mGn7Hm/a6xKBv8
yfPGQWljH1evZZ/fxebaW2plRHNnBF4b2PRyJWCPDo/An/ca+qKqGW1zdCkvf6fF9D4b0Cwb1Cjw
mkAmlJtqhzbEGb0I7zrzj3Y46B2CKrlpGPMndT/C2qqBKzkIFJ3iOkEiLLhPbWnlVrC49ZyFmX7/
bLE2BmATuKKNo9nFQxZGdxOQ7/KELYXQZIqV6PsbiNFPE3oWotRaO8sTah+dZt7gYwNbK4SjeTnI
0urhWKNTrHJfw5/qfRB38H2vEUPriDSoNwnka7OXj36X7CNTfKrrP6gf2igS0ynGMVTT3vRhzwYl
l61kIc/WOb0wDz0MbAQvjhOb4PeHBU5YtYWpAUXSp2GfhYl8XGJHl2GFOnpSqMXJvfikZ4Ds4/YK
IYSVq87SpzoPN9tTE0miyQSdwkEq5oBT8m1o9Sshlj4U7VqFZ84EcXkTfT4bEZDKvFGNvnVK5aOH
dBU8Ele5UYaXqtdXbjuLoXQkerEX4gSdv+SRLhOeBNmUTQFWrTfq4ec6EsrfQwJXpFOl7rtsl/FK
yWXaO2f1KcLxlEfmnU82T4wSmbuoq4be8UfQOOb3JP4rbHUoxfoO0MRm6IBBNc3ucposbX86BxNY
CU5cNo33aWIPtuFDvea7hfIebtAVihNs6B5sknp8/oNYIFIMfJMQ5553QtGzsCK/jkenQ725EdZ1
qY8fvErZ9or+5XKopa2WCjNvYgFRFZH098NCmTcoOKtaJ+9Bmdj6DtnMq6JSri+HWcr68zCzHd0z
jaqJQ611JJGg4tPQT3NXQqyNRHs/Eh94YFnCqHMS3ziZ2GcY7t1QrXlOrQ1k+v2ztYXdI+dgq7dO
kxsoPaEjhRKI6q3sSUtRpneQxefXSYJZsvWGTwXA5Ks0ugvwVN5p+rC//EWWpus8xGwfsoxRy4bY
pJ6M12tXoWpjJwcLPO7lMEvL5jzM7B5UxSWqBB1hPE1CogpsPbpx2Zes/9uM/JXrnTIl63xjOAs2
ryYElm+PtSH3iHroWzvA1NN7LJADEkm0lUxpE8BzNLXmRiCRnv5B2xB88H+/mTVbSVFTDoNRitZR
7L8a3TvZ5itukStDXPlq1mwdxakKTc4n/TLD2NZg7xPPxd8lXtnWF8MY3ChQuLWMX9pdWtGLTIc3
4RidO2mWDn/XJkqcNYoHK/nxayRdBvZosPsoVBPmL3KrtkqhRzbAld50ghLAlCtuM9EdfzcN34eZ
foyzZSvQRANR6kEHTepPbhTVEI9rzBzcvW2OK1vqtHLeZ+H7WNOSOIs1ekZXtgDOHASdM6QDJ1sB
Cmie6PdH2Ue8UPnth+f7gLPdoo4V4QYWcwjraRtKj5EuXRdptcXNYn95Gte+1mzTEAVtyXpynk09
7VHL3etmKPdj7B7+IAwXF2PCWE7kgvczCJ0yQ+wwa50I1VQEU499o+0RhvztE4N5OwszSwpXK2Ts
5gjj2nd588Ovv4VgjS4P5df9732MWTI0VdpJ3eAhpcUjDeJJiq5/roUawpKZpbsbxMSjfCXm4lfC
P8cSQM1lY16GLBNTy+wUUackRQSkRXAasmOpvV4e2ZRVv6T5WZTZeWvarmhDtETBhEkny/o0+M11
qwc+cgnNrhuGFYTJ4qo6CzfLiRaFZKQjalZwhMi2C/vf1UWJIAcm1kGOm0h2q/vAnC4PcnEqp1qe
zX9ov80+H8xbopkym7qcQnURr/rU1tFdYwXitDiZZ3FmS1gzkeE1Eh4hRdId0kjaQU57KqP8uowo
vefFyjHy6/2CrDwLN1vHijHaQisqJtM3Pna+vGtT/eryzC0m/lmI2cGvZTTFS5PFNeTxVljjpo0g
cpR3VbGShyufSJk1LXEAUQo2c7K9s68tWGbIrj5RNdtdHs/KlL3dPc52dQo6AhuRrgWdmmxd0V3L
7biyj7/9qL8sqZ9z9uboeBYDdn7i51LDZWmoKa0ozzYEQ3wHBih712GEmliaSy9DYeyqLP54eXxr
0zhbzjXwviGYvpdmdlstMbeoLezK1WlcCzNbxhMdqGsr9qbRH/bapJHKjdCs3f3l0ayspzejjLOZ
9JTBRs2BpLDlEZFF3IVuaxxvkF5oxPPlUFMiX/posy1i1DvExN2C/NMHx8iRY006yEdjdfCKdFvp
4Y1ShteNZh8vx12eyenGSQ2YTrr6/pCUVBFLGTLXTordUF8Y6hUSoDh9dfJadWlxMnlwmwIXWs7L
2QpLla5OumgyysCUEUbYTRQoLzpS5QJvWvfH5WEt7htnwWbX6NEqQQirXGYM6UuHALcNWXSSczNX
dvbF9XwWZzZ98IkLSfdy1BCQQbEV7SjkNXTf2rzNllSiF0I3K6tx3KY6YcWgwtkLjlWeOTHKVtxx
8pVr+9rczRaXQFNFRCG3XBdh/lwKg20tYUBglZ+Gdu0IWTyPz+ZvSs/zFRZUzdBjX+H48EZ69WMM
4SEyt3Sljp44AubeXc6L5c3xLOBsnaVqBDa8JjF0JOG2bt2ZyJW16q7Vmu4anOuPwqhh7VbprZkb
+g5k7evln2BxwYHelvH9gJ+gTJ/7bMS12id1XbjwBqrimCsCSb5kr8rlykDXwszO5hDuIIx4qXGa
oEecyDwiAYCisjj8u9HMzucO/vBgGlzlXUSj4kjbCQToMN1ZGc2Ucr/sjj8nbV7KMtsqRLGOSWvH
eJ+Vxi32jSt3p8UQAPA0G3gh5Ovp98++y4hfq18iDuGoRXDFTeqYFNGfLKyzELNk76mIR25IUxfP
iY/t5ExUST9iN/heav6HP/guZ6FmaV67CoqBMdi+EJk2XZK3UHZPFvzcy2GWJw3wJ3f/6Z0w+/w6
qiGmJw0dqym8Lk3toNorz+DFPIZd+U+EOWQNjHgztnoxOGMQnWwlOQZe4LTSGvtqLczsvCg9eais
TGO5DOERf0IU/rItiPfd5fla3FrPRjM/LkIFUnqmDo6aBbuRXEZcBSeXIN7IZfNyOdbikKBSWBqI
ZtUQ0++fJXSfRHHvS7ysNDEec829rdDZDoNqfznM4g5+FmaWaUPjeklicQK2/R2Uqw1ueIDWUPPQ
EJKLryzQzZcDKotJdxZxtoMiiZIXRcFFAlb8DtHT3Vjau7YrN4g7jO3RGCOeq8oBJ09E6aKrxL23
i5c2+30SAa+fsx9jtsOKunQjVeXGpiPgQGfoOOgNwtrS2t63mDNncWZrLCpL1LB79j7Enh/L9HFI
7SetGDaYT658ysWM4cEPO1XBx3uOcBRlicx/xHvOUuKT6mV3iR1da028sggWLzRnYWbfr1T6ysh9
3ieuH+0sdCslZdslFvLEOzfrV4KtjWn2ldJY7brU5iulyDFH0P617INUuCs7+1IU2GZA6SxOdW3u
oFnRK21Hj65B0CQO1mQ7HcFh1M37H5dzfy3ObOqQbnDreGofGSA2OLGOSfgi6rUPtLTAzkczn7O0
lmSTbdeJfO/F1N0PCv2JywNZCzFL6kKzXb0zqIgUirrLPFQUY//3oXq0FH9+lPmDw+8bt407wIcG
svEW9sPDWB4vD2Ple4jZsdFocd8rNQWXFoHqfGD5t3RaxmFltpa2ABqxBhgQISYW7futPES1NaNr
T/1Ijz7UmI+Gtv21rFAmaoMVysjiiM5CTb9/fmoYLhoqaYRhRIdZqK1gPpyecmuNL74WZnZqpGGs
uHrEiNzwlYNqIyH11P59+eMs7TPnszZbLGbh+mZtQ43Da+l5steq5RLPOD27SyOB1VCgHy4HXBvU
bN2YKLFphaA9iU5VubUHN99Wtr5t4mol0Fo+zFYPKFdkDMHvOgXi1zvkIJ7VKLwba0SWJivLfzWq
eWUMhFjWhkgyO1lm40qXVAa+Z5y6seV+vRxpcVOAfKNDt6euOH8axQEXPVljNdU+XSK3ulKCNRD/
4sydhZh9IiPTkI802BPQjzx0Xn7TWpPoZMgj0Pj470Yz+0huViKvmLGLdoP9l5e6R29ori6HWEy4
n6OZP4uyCH1MDy0oJ0N3+kaTvA+iboYPiuRbKwfc9MPOH2CA5//306izja7DuqqI+653miy5QWN4
M8nHGDjJiNxEj7x+KaTnLPKvL49v5Wups+sy+vOloSPw4wiZYkBg72CcfKlEd2sZ1p9k+dkAtff7
XqjiwiU15J7X6N97P/6oiXiHjeLKPK6k+LxRWYx6SquG/JPL8rZJELw0/c9/MGnoVSgWz1hZUWYp
LpDEjExkTJ0AeQxtQOsMLQ4bJf9EWjmWpr/pl6Q4izTLcDSqKnTvp/WKGVaWlAe5aD75buAYZbIf
/Bu10l7+1djmCZ/jjyKMho2vD9VD1MpbBCWeJw8QM/JW1tbi6UElQEObHGUfdcrNs4MwAOVdq7LP
ttdlR7yHrmxMr3Dj3tSWvQdVtJLq01y9m0v0HTDxppPIpUUgG/4+nClzKUY0y4Ywnr8GeXVqMzha
keJ9tif6XDZSJy2OATy3yzP6yxYyxQUxD25xktGae2cbIdQZM81tDKKsv0Wn3+SSdtVG+goh6JfZ
fAtjINKE171uarOk7OsqxuCltB20jF9S3KZkBLoDJbqpW29vRr99QE7h4FAynQJInjb7eAhA0J1H
4NQZAgVTKKt07AgPU60cWQ3N4fIU/rJLEUzApmRwILosa3bP0LRQL/EIkJxAUp87/JAyA4lVKcJq
0dpfDrX0tc5DzaaxAVgYh8g8OQ0CgbpkXUWxdEWVcaWFtDQidMJV2VANOEJzA/Ay457J1Vo4Bg5O
XYUNLYoWjYVKWL+yhSzlBYomQEHB4Kkg496nfRwhAF8L33ZyDfMAQ6B1GH9TwugokuIeKvsa0nBp
As/jzSYwHAetLytfcjTZuErH4H7EOUXCMvTyd5r+mverGdSLiTMP2CsBJnjW68AhipZvPTAsLJli
XHSLRLvqcORwpRp/S33fD+pfl0P++s3eh5yd0FESU75KZdsR2oiiPJrKeoFYvn7INGUlC9dGN9ur
UJrgiOlC7zSkH2v9bzmniN1/JzmOKHds2d5WZvPXJGFo4NemFhX4/vkepYL6w5qUJDGLrgXaA+PO
b+8VjdubMDH/TVfi/ZokUzwqFHD01YmG8z4pLcNNMG0KbQwQfBxHffWYxhLOQt7w/fI3W5xICASm
guG5IcR0Wzg7Y2zEq6Qi5pt5vX83ysMWyUYUpmp9J9XBYZAgtpa4OF0OujQ6OF82MDOEDn5BebsW
DlqDpxA0ya+TEiHjJEPffg0Ws/TRzsNM+Xo2Nswlx0hJEtsJZZxIGFZlS680pq88lGRbTzteHtUv
Fyv4crJss2OpXHqARr8Pp8DXAgRjeqd0KqviFF7vBFSQw+UoCx9MUUEoayCiLQMZxvdRJD5lYQep
f5JcrJXDARFJaxfBca25YLmG2CTd2uf69WKgvQs5W2wDPENDz20WW1bu4vpKT0dskXGWwgfX7bqN
P9ms9J8uj3MhR94Fnd2Ge93NQPwU/kmmbnLVo7l25VdxvG1jd22rXBvfbA3oPk5NpZH4J4GFs5f9
HZQvEhCFJJA3SFps/P42wbLn8vCWPiN1OmVaBCZooNn2HLlK46pSSUxd3ehAEnmmHaClYmOEi5Ac
bUIch/5dyFnmZHnV+4ZW+adKw8C8FVu1iu/jGn+++mZQvyVCuboccOkTno9xljd2V6hQuXL/ZLjl
a6L5XBOil5Ar8+UwC8tc0fVJb5KNEprF7PNhQ1kg9KDaDhKw93aifPAa9Q7d1SsVyloUNGuFw6Vh
6SxyytMq1db51SQPYZO1neC+qj61ru5t/NYDOy/KlXEtHKfcU7n8ICFnwo+dTV+neUaEIaDtFG57
zFtjo+XZldcZmBashVrKRt4ZtNCou9MWmU1hmWqaD0fFP/lC3xreyWurrYb0eoy03D7tHi9/sMUJ
tE3bREhF5+o/rcezfbmM1aGW85R9udeArgr2FHAlIthdDrOYFz/DzG9AiG6XdWZlttNOoscNpu0V
+HYvkLKNLfzPuCB8vBxwaR/hCi7odkHpgIQzG9cgrMr1Ne9kCHyeY/s1hxUDyfmmtUFJiPuubl/D
wFgTu5g+zuymp5yHne2UTUl/UtKFd1KFVG+7MMuOdqDXf7BhnUeZpYiJQaeo5dg/9bhiTtozFVJ2
VYXGLP5ndvpN8/7gzgWWeuK0oXOgwhF9P51jBtBeqjlPET+/NvGgVfsrkyNHhCUmBWvKgEurjbUM
RRycKWTH2fgUF1TmIDOLsgrVvZIOatF5KNRjmualv43GhAuDczHKJOjsQE2Z7f6uobToDAl2RgtZ
NlkdtH2dD/B53S78/V1EU6HrIygkM51z9rOvcXIKLQkQ31U3UvMg4S3V1NeK+uFy8i+stvM4c/oz
NhmpIWfESXEftI+d8er5+bZDT198vhxp4UtRDtHZfcFwIVQ7mzyzbuQsk4jEa26DsQeCxk+Je8T7
cCXlFxYWBUcen1zm2Kfm0AJswa1Cki3/VFv+dSelh8RaaXUs7BjnEebQAhxCEt3GcOYUqPe6v7Wl
a7mp9kGuY8Nr7koVbxP6H5en71dyiQ3wjKOLYo+Mvu9cPwJ+Qtjixlee6i7aYr9xGxo4ncvfkMmn
l/2U+/hUDsBc7Y9BXa1M6a/gJ4ID05jUbC3kMeeI+P8h7cp249aV7RcJ0EQNrxp6dNtO7DjDi5Bk
J5pJzdPX36Wcc7bVDNGEfYGN/WKgK1UsFks1rKWUiesmc5GfUUb7mvXgIQPCRDGc66K5NLQLyjG+
wzx+YM66pKIgcFCsmaN3hT1mMCj+Vd6qatXJG8D5pyBloo9u1HvA09lpM2DrY9m0/N8TAutrusIo
r0WMvxGIom5Z5oklPWDQMZEH1g01TzwV+XMdP5COeG38pNjjfZNgZq/QwnHRPAXVUXkdQODExFJX
4FZAOFhYjbuOogAvsuemMrsz+Ph69awzSZIn/H0NdUNAhWCckR8nHixU6vKMdOdeP0XdpZEdm+C2
E/yz//197hVoZoYTrfD7jvtorcc1e11newYylNv3QuQf+OKGGgBXwrLa+g/ZZCUlNoUKvYWhyvSz
UQ4ehmAnciIgU2ldSQIkshnyHkxkoJsBphXuTIoOk88gB2ffFpAMJgoYb8o3t8xcvGFA6Ef5DKPI
APK51katB1RynTo/R+YXvX1RJxRhZJUzQfS6ksF9UDQr+/GUVOm51UwPbKMeARvxoqf+RO+tdNgl
2YnOseSYBMnjlVDOH9o5yuysRfR3kQmDbyqse7ALxLrErQVuB8ADgPkgI1axU8qJiaM4L3Jdyc8j
OEK1aQhy625KhyADNNptvxNakaDZiPdsrYlwfkdbljuAqsrPNP3Uqn5qe9PyMQJLQApGdBqbwW1x
QvttxK3XYOPmbb/EINQGXhStR0CbJl25TH6PjdYvpG7BtXBbmkg5pDm4Vi7gKv5CMLfMKVbsPqrO
TeTue0Pf1fbwM86Ww4huZDOhameaL8rSfrwtVnDB1uzqX7GcZ6Z1u6JFYlxPcx5c6zQqkndbZMTt
73PeQRvXULQJv08y0oRITEegEhdgbQZ3lvd2VfBWo6a04m/Y/Lq23YAlHNBleDCVPlDphDklWUdw
DTfcBwSQlV9FcOEIZC8ua5cF7E0tiYMaY7SVjYcqjUJKQMmW0jr3RkMGVyByja3U9e8bR7S1qo1y
/HemWbvv6Y8x+kezfLf6OUw/p/mYgfLrtiX/vPA39OSzrcKt+rrtlfLcD9XJBCVtXWEppbs3kzhA
v/9pmD7VrAYzHzboMDfx9h2sNSa/2pnnTaFA8rcxBQlqlNkB53vjjeQn1d+8389J4XwziuqRGdEf
u36to99Gsqv1H04s26WQXAH+e6lO2xXBWK3PWeUoKQjX4mEOeuwV2XdYwHZlUxMycevfN95STk6m
xEWWn1OMU2b3OqqBk2SXTJAAbIMG325FA20xFVTJzp3rAf08KDGoakzdfi6XvUklwkTvyyaC6HwY
1pg9xxFJz+pER5BoFhQDOx+UrO+LxCubOXL2pJ9d6RqnyI4rFAMWYLBv4/KpB6mmIgcBfXtWW+fr
NGVxULX4nm7yKdvfvm4iDbeSuPudMt1Ie+a059himMfV62ezisD2frGzx9uSRF80VyfHBTBTTSfL
Kd3i7FzAY7tLT+A/G/wx0IMKJyfJDEQW3J4cp1ee5UwjUVGek0r9pICoQh2yi03eUY+wNubjEzjw
ENLOnLvurAz5g57ZvkObc7O0964ic3yRRmsyCrgqvNAA97++W6TU0wz8zPk5nivFA8n552yuweua
yyo6MkGc6aaoxjUeh/zM+vx7woygGavPA5PlvkLPe9WHL/xRFQTO+YDc1wQnbUT+hFpSxEioZBUC
UcjA1yyCOu4SVte4PKMAwKNd9DQ9E/Wlbw1st+heqi2BrYGU7+ttL19PgX+9UKDCR7MJlBqgF12f
kpnXeqWBv/Ac1f/Y/Ys9BTEtPdr0ftl+nro3r9XgKwgfymBCcNAT/2v3Okt0p4uBbXvOMFeaTHag
OJiGAzXCba0ELoHEECjQKKWj2M2f1ZRlCwjfy/xcWzvwt3vLrzZ6M3THqso6WQJGKseEQteWqzLV
UBw1y86VPTuYCcI0pPY8GEzJPc1IDBf064DWkoybiBUDwg468ECf4LuB6Yhv7sqCYjZKluX4IY+/
q9bbHxF0hwGtbhr4VHEs7j7hYVoSrJJ156ZUHuqk2SGnurfbl5bJpj7+/HM579uK4r0vNmyMSRd5
c06m8XOhPDemEw6YzWemdh6Ual+WtW/a+eeI6Lse0/TYagtAg/hkDyb16155oLSXuI6oloRNdjTl
cbQu2Kw49fNKb8ym0tszK409HRki1vdM639qy5dqrkBNrO2tNAILdiVLfiSi0aLhXIqlDMBQ0Xge
SPLiguIUPdm9OnSV50Ta8tin5X0JBMVQQWXDU6tY1oMSBIO1zQCGGVxQAsDBa/ljBRRoQ8F3FXHz
dZaJ6I0yYCQyM+0PM4a1fbC6ag9lAVKWc03mQuYPghCLkSYUllAqAfAx793qSJzRrtoOP47e5aLP
npLbl1qJDmMjK8yIbhIuMILQCgOB8aZrXd3YVbpxcjGPRge/nJMDyIh9hl3a25FIlEWsEx4oYdkg
m/kLrCoq9Nph+N1zFU/fjaJ9qFMntPPhIYmmcacPLAlH40cVaZoH2PeXFGy8Eo8WWXVFWkUXwkTg
+FNU3CS5XQ6adLCQ5mdl0SKQaXboxSVHAvpDb0hzib6CtwsY4mj22cgEMWTFufBkjHVuOX2O4MGS
nZtbkx8pSebFxpz6szJ0RzefqaT6IBa65hk2Jg3/6p0WzeJUpoMMwDTnHx2xPI2Mu6Ionu15PhQL
290+U4HrOCaUXMcLMS3Bt5BcEJmpcQQyymhmrLsbi9p27q2mjRNUpkpM4N8WJzg/NDTRsUU4RsWS
T+oXba5B5dzl5yEZQL88sCIwOtSYDZKUv+YOs0q35YnUA3whqlQO9PuLiNN2kywF8zj8JQUOlUKT
yS+ZpX9UGhkmlODcgKn2Kon7qCS1vgyai1CbV49dm/ixcZ/H+2ZEd2z457ZSIiNuRRnX1z0zVYbN
f4jqhnMVgVEz9XN3X/e/b4sRRNArjdYS0uauqcxlWbPE/XnQQW1uNT4DAhCpXuz04HQvlEi+UYRH
9QcDEsEFNYD17xtxi6oDCm+t8qlKvDezEikVvv1GWRATFL4wFITGF14FXGue5q7BviB1J7s9W+V+
yi/szdtGLohGXYRIjIyhw823b5YYPMRThVjsxDUq5BQQTcneTJXd7cMR+QDQ1C1rLRuuTJTX1urq
bjAZ0UHY0dJQN3a9ke5zDK7I2Cj+JnCAPltBnLMVoDFvGWthr8sQpAftgEFnukvv3H0RVvsYrOzh
bc1EfrAVyLldTqYEVEVNe+5z1y+i2hvdB6AI3hYiMB/0WmP6SpaEJsO1+cDCNiMwKM4JzEiY4r4s
SfJRz0DK2smGWQW36EoS59aJNrl5A2DHk1mnmd+uIA2G8nXo54NG8t9J+bnNZQNwAgtiyhnQ9Pha
wHgr3/6d8R1CndZxTmqmf6SdExZkPlWR7OkQ2XAl9wRsK4BiscpwbcNowfB2gmH7U1fT5xEbBSt/
hBmPQV/IvF2kEdhwkMchmcPd5ZK5NklbRjIMe6rAhdW7DHOK2lNiyCgKBLFh5UWFThp6r+ipXWuk
DcZSz6y3T9MwfJrq5aOuxv+83fGQioNKHUxPNrrM1yLmGmlp2S72yaRDhtKqk3kTyH7QaC13gwpW
hNviBK8S5nuItmJarZ9oXAqToX62DLRVTkqSfgIFw73VuiCOLoDpa3ixLenaiZJ+iHMs4Ogi8v01
k94Sg7rzsM4tMWLeYwjoUtKmC804V9eJagLSc6yntdXXcnrR7Vh210RuYoOVDik3QOzx2l4b18S6
d6atQ/6ZHat+TsDwjSmIQ2ar4W2zCgVhpAjNKPSuMWt6LYgiz7ZacFABfVK56Hrkd+kK+1IfbosR
xQ57I4aLvahQjsq6NXYaAb57rLHlGVQp9gebAvlu4+Q/6Ki3IdUwGHFbsPAgt5K5+AhyeVBDEUxz
MzUGp73fN26jVt6KVmpiEpM6xvjU6kVU3Vu01tnvwal0YGVp6YLZp4haoyL5kBdaXEeBYqXC0NEZ
vrZ4jz2mKFUM56SlyiEp1R/OlIWN6769JoH39FUMd7Bj3s/lBK5mTC7W9ypIqmx3ucMotkQbUei0
geqlAWrLxNgzJ0ZlVGlqjNWc1La9d2j7QlR6sGo0d6Rb70IfwtzROiePC8dPN0RlFWeWokUnJ+qD
2c2CMfu5GPpF0b5awMjS374PuI5SAQAY2Q8GtDC7e31SJjhqjQiIS6fCoc9o933QmeGrrN1ZWnu8
7aZCM66YpbgjCDp85y8Z1Y4l6mCfVBXsaIRm/jhin24hzmNFXO//J4yL3IVZ1uagYflrIfqvJlcP
YEtIPFdt79thlFx8obcDgwuD/xoG5fl63JiiM5ChZHXSuu5YGV0wEutx6Yf9O1RCcRalMSTe+KS/
PqqkcpdUq7FlYE515hdl7oKcaXnSCxbEzSw5LKFOG2G8/WhhGmiluyeyaPe2Fv2sFxfTPI5EJ1HC
ClcH5gw+obEjz3/RWn1lxnTAFpupRx9tGp/HvPsAVot9UZXHrinPLu0OQNA/FCrgSBr4CWYanyvS
SB7DNSfh6oEg5MX4+oryh29ezrh9bCFe5QShJIofjEpnvkFRdWIGZibV5An1d6QxrAgXK5XNkF2b
GlNVEKuhZowZLhvbFi73blSpAu4ekIdfSs15UhydedSyEDWprG58HVz+KwgVIexCgp3K4h1odNpB
UcHBDhjf4ZttGN+Y2TzbkbVXe+McFarXJOqb3Oi/IoHhAWo5LGBaJvcQLHMWmZE5l5d4ueiTN6u/
hk6CPyo030YEF50jmiqgjVvKixp/IdPHov/YyNJAoQgkzlj7Wwdq/zjx5mM3qRoG3LSUXkxL/aBR
erJ6IwBppeQdvw6Q/zXWRgz3jAOQS6uruKcXCj7OqgsNIGNXo4IB4Z9viSR/C1r13eiD4RalshwD
gGxa+wHv6xHkcn6DcouXFGpwW5bMdtwDE5fULtOE0EudHfB5aNrf7V4yvSKzG3d3dbs1Er2aIaL8
x8X+vKUd3MXXLVkfbrX/a4z422xcTJySsqpyttBLF9tnywAtSSybL5KpsoapzckojGpsaaCKTX6M
i0814ptR0LeSxEmoCUb6MaJlrIVEztMivRnsOgEiH+tjDGaRhhwaq6h3t49eJMVEcEdEBcAKNlau
lckNbWDxpJTIuRXHr7Myus8ANSB5QkQmAyW09ocOC1037v5jzryagCw7xR5ILjzQDKsYA66/0vL7
O7TZyOHCtKpFRdwMIBSmlfaZ5E7YD5NEFaHBNiK4YzHxyYDhWYSyxt1FWhCVkmi8XgTegdH+tDDG
u37R8mTgkWqXplOBMK6qv9ipV7u577rMq00/T1lw21zcy/6f27IVtp7b1pW7lpZ2syoz7ay9vUtD
J7BpUP+cfHO3somWkoFoUaTB/hJ6DSvcIIq71wJbkPwmE1BrLymhh54UACFhnlXLJl1ERtyK4fzN
rS1kB1aGKJA4HuuVOVwW8zN4385V3lgBNnR6SS4rU4zzvJSi+GBkOb2MnfM00rrwnH5Ud/jIehuV
1H/ObKsb54CdWZFCGfTyMjWa15V+bhXh8G3qvt72DdGV3Yrh3p8m1TK9X8zy0mKKIXKfwBqNXfhj
lEgCkMxwnAvmkVsb5QKPmOb7ePzalAC6rr+9QxcNlMkrnxjWe1Z32bh5hckmNGShS93pc1jX/TOp
286rXKfyEWclriB0vo007glS1U5p2rwpL4bxkZpHq6l8An9o2YFaSXhbM1E0IisMw8pcBWo2Lnwv
qTVHyEKzy4wMYUzIXfMez8bXDEYZ1hqQig+Ba+NhExsofPOQXKp5Il5DoY6NMqU/lUAFua2NwBeM
9RMX4W8FQuJzuMqe0PV0XHoBZpDnAtDQxIB37Eo8W3A+V1K4C9QC+6EnhLLL3KTBbOybafLnlHql
Ekza022NZLK4W+TkCwG9WEQvSmn4rb7XjG+k/lEpj24qafZwk6Z/4sKVWpwrxHEyKbGFWbfloQua
Y7snpac+5Edz1+z7wzsCOb5SsE+GESSwAqpcIG/KsUQ/2aYXFdWrkYyfkmXx+py9w35bMVwgNyYs
ZKNjxi6x6SAunIBL7mlt4RHgBdiyiytyv60wLoa7ulFhfwHfXhWmMRXzECelP4ySGysS4gAAGQ0t
LERh0/D6Oi3WVOggKKIXYvyclY9L83HpJV9bgtCNYvurCM5oGXq0cQl8iEve6b5KgtiYggR85PPH
284tk8PZyxlchWplwi79ipmJbULFj/r9jFrHbTlCk2loiBANTW5Uo69NVqiMaPGiIatzvhfx3ZxQ
YHBJjkWoy6sMlyvrt7qe9kpi0cvkXiYGUN88bLOHoi3927oIAraBb9T/6cJP7y36EFEQbeHeFKHZ
HCdZeiqxFV+wb1hrTpi3xHeWfsyVn4nxIdVlI5UyW3Hn3gN/q8lMnEdnzV6dXLT8d+1+lx6JTBUu
Tqc5SYwhxt3PMnZnOkD8metwos3u9onIxKx/3yQHNjXiuKDwYpd8nLJnTDtitViWHsqOfTXpRsjc
GR3tqYLQglXsAczTUyb5XJQdCvdM23ObxN166UHpAQjnUJ+XIF/uHePtH/JXDsxlNwarpjnS8Ebr
xpfeQAK1WMwMYzCVeY1Llf3tw+EGpP7zqm3vC3f3R6Jg8XbG6WR3zbHfD2f1wfEMHyOvgfImGt3/
itLBGQcQJLykfI2vxURPX5QmPriXy1x8jrPWt2XXU+gHQEfCPqqF8M9//wCBH4yZrUovSYftYbI8
YWrnIDGZ0KE3Mrjwz2YTLbpigh6/xxDMjl4WdD+sYPxi7sYg9vMgDuLPt2WK0hyAD/6rFhcR5jjN
Lcwg0otjEFBmjvegKwym2ToadnoC8J9E3Hro3DcyRkJexXGRQXM7atQu6lUO6JQ7+zAB9zqx012F
zTxNvTOGyiMgmbmto8ysXJzQgWtltQRmxUiNb8Ynhf3shve44EYxLkxorAMGHoN79GQ3Axg6wwpN
Osh48IROiEHKlYcBDRE+o8+xtd67AwpYVXO0okOrS944YSgCDJ2OXoFF0F68DnbYPLbAK4A3SGtA
gFfhYu2XrKGHeW5+OGkaSTJf4cFsxHFGK2hHBmXNsXs3vWusF9dMQ7NQwncc/0bKegU2EZxU6lC2
Ex49m1aemV6cEoOhncRyMlW44AoOdAyiWQhBw/B5Lo7AvMY2psSPZafDRdQcYx800/EUxdp+jg9p
NnhV7nVMBicm9LJXg/EZVc/0KMsbXFJ7Lfs11pfJxoLpOw7FBdo1WthA4+GTacDMFREdUSQHWGWp
xh6xwBb487YMoR4bGVw4HYayGMoF9rLzqN2Zg556CUjW97eliE4eUEJA0sJmx0pccO1eDrCuY5bg
5EFD7hNavACwJrSs6cNtMaLD34rh7ko1Vk7ag+ThsliHPA8d9OtM1XO75/+fGO6yDOM0Lc4CMVoR
+6iR99kEKo6HuXl7ORFoEq9W4+6LRRQwHOvrfekOQ6N7bnW3uL9u6yI8GSAWaFiBwecaXyGnNMZU
RpGxS56TM3ztVxkXd8PQv0cVAIusFSoHICPcEzpWiaZ1UwcHwPY/1sz1xASrbHhbF+Hxb4Ssvr4J
YkWEeSK7xjutuJ2nJieGBkmq+24h+TJcz5d/oN2NHM6bk6qbsnb9QtDmR4U91AUN2uYQVYDHkq1D
CY9nI4rz6CjvUt2J8JhFWhu2Rh1AR68p35PAbzXiPFoZtD5bVo2M5TF3L+bbFg7+k3xuf5/zZOZE
NLEjRDKzLPc6SXaxUj+6mfnltgOIMqetGD74x4zpGkVTSSvUl6jqDiVhHxpzAJp68cNSk31ftgwI
dLMkvImC6EYuP0CpADZzoIDruZRGvivBHrsk8Tvegq0IrrCiuBnrpwQiptE4o5KYeqQ4Ok4lyTZE
PROQJf17UflJtaSai4S0uKjs9+zHh3aPErwfH9ndHOAyBTLqRIl/m1xcKBa9pYRA3EQfWOx35Ixy
5W2nkIngokIHrBOlcZF1uu4pSYMKZHjd7rYIYXVyazU+IkQqICQ71D2SJpiJBwjOMD7pz9G0U3cs
yB9km8BiR1+Xd7ClgJ0hzhvUAag7qYta3lzpn4oKS36mvlvrekuCcWulWDx9Uc95N0psKY6wr3K5
bCGfciXTJtRFyTD702QflsYIrUHxLNU+SGwqk8W5RlK7esQyyNL3/YsWwOsjf/CazySMnua7zGtq
zwE1gqz8I3aXVxU5d0mIwuJERb5tGFbYNqpfDVGAvWGJJcUh41UM5zEFsBBp1+AEOzAZad+r7u1N
oT+kZ//zEO7haJa8SDB9yS7ooQQmibGjQ0F+5bZe02IT//ZZyWzGPR/zBDZDrYbNqgkQDOphIpWn
OhKHkAnh3pBFB8laU0JI2u0yCNByz3kjoMT/HqrXY+FekIwZiwJmVXYZ08/zNwYOryyXlLIkemic
iLTF1orrlOxSLY/asGvau9GVxCNxgvKvFvwUNyv6Wa/SDj2g9JgST+8Hb7T30XJPpRVfiTb8N0ru
AAJciaCNrf9GfZHVHyomSbeEIgwUxsH3jfUVfjNzIvFUAlKBXTCqB/YaILn2Vu1HowzOXhhwXuXw
C7ndYOd6r+NKWvqz2yWelZ5qBtCDMZdcF+HxbARx0Zv0hRkXLTx5wtfWUuxm94U2UbD8Mtt3pQ0b
UattNymxOg2JG48tu0T5UwVnc5+kG4FibUCooGoYbjcM7vJHbIztoazBsY1+jGXtlO5lLga/L3ds
zN6TBa3kDf+VxcUADFhktIzR3NTbjybbGe1HlkrujjAwb0Rw13Ms4mJOHDw7DXvoFvxfEvjF3vyv
CnyumKidaQ0mfj+u/pmLAvRluZcYo8RQEi34Smw862bar1Lq+h/aO89j4Xx6R8x/tROfKBZRnBjZ
iNuizTur/FhNQaZJPholnsUnh3qsLlWr4A2zq+eme2qLH60be3P0kI3x/rY24rx3o85q0M1FQdna
nKqmQJC5OHszTD90B+0+vTNOBrbWlOdJkmfLVOPv5RD3dWa4yDKcfZ1hVDvx4uhkdSF4EyTRRqoa
lwqwRFGrNEa4yV+yZ7Jr94rfefMXdow8pPQ7GTyqzMG5eAAU4gSLwFBttJ/UMqDmN0WVpAIy7+bC
gNH0bEithV0mLfH14quiS/YtZMfDBQElLbB4h+GtC4hFfDd6Rr0Vw4pASt9PssneP3zjf1UTXj2P
h6XRtVxzMwsXCeTcY6j7rad9dgLj2/SR3SWHal98ckLZfIPEgIR7gdo2cbAPCpm5SrFU9t3Sw9v3
SWxATNVjKc4Esgrn3zMA4O16RInMcT9Hiz91j0NEAGt/BtuDJKCuh/23/V5Fce69KOWIIiYqmFFH
HjCR9ikqI2zKWXXAdD1QjCEcE9kihNjHX2VyPt6OwO4n7rxWzQ52+pz2+7Z+um1BiYg/rcNNQOrU
2nBSF8+qjbF4zU3DjnWBlWsS6wk9ATxBAFXFMQG84DruaWMTg9EGlZncaE8zK7y0pJKEVyZi/ftG
EwCgF+044i1ienVCe8gvDNn3sDjGbdTg/G2yq0rR1kma5gs9Kp7msU+unzKvPLIgCcHcI4nf4i9+
C4sTQOtQgVvP3SA9UUBZNeEGTX0dpBheT9vJt5wxZKV1iGvn4lT5jjn1ow2+9TjPj7SxJR4itOvm
n8B9jGtRVc31jEYUTfa2eRnyl9seKLxYm9/nXCPLhrRha1GjzZ8K8zvDPY7ar0Z7t0weXcj+tjTx
EW7EcW5Skjjv2ggWdQ868bRdtUt2zrP6ACyBcDwmocxnhBdsI493Ga3BQEFT4VOv/N0rMXgNPnay
WSXZEXGxSce41aJrcP3K+k3ji9F8um00mQ5cHOrSBVSlETKk1j53ZumZzkEHf99tIcJYvjEU99p2
ZZ6ooNtFP7rA6J15TIxv65DSrPul8562mruRxT28Wb8UgDODLDrYF0ulmPXoJF1owZlg2R0rAeuO
Mz5XOJvpNOv6psHnZFo9xuOTq+1um0twba5+nzNXFmNhe6Lo2ujYZomSAjxbn/XsG2vCgeQeayRR
QHRvAEmAHQrNIPgu+vP3TXjVy1QbiwpdD+sPVJ92KH3tvgmBwR1mYSydIxHlK2sfD/uhGvgmMLJ2
Hc7ruLXbakI9VYvD4oimZ+sVQRREu/yoEK94mYPOT0JZoXi9KdwrfyWVC3YR6GMstUZCkRV0X9cv
Xabt3f47cySnJ7hRV3K4oAca5kKdl5lelu5L5fZeUSdeOr7cdhGZMlyoG101WroUJqycB7vYxQ71
3ewoBWThINP/VLOulOFCnB0xI5/XozKeOsNHB9H0iyDZdd6oBW3vK4DkAP738bZygnBxJXRVfuOP
ucaIm9p4NoZiRxuAESa+Yn6hNIjmdyzeXInirvJQxzTXZugXNYUXN77eAGMRr9TwjgXJK0HcnTbi
ximpOaL2qH3ISdC2p8T2b5tN5hNc5FMWeyj6HK95TrFDZIGy4BMGNr0B+JG3BQnj3+v9NdTr86ns
vganITy8UE6deXQ6yflLbpDBxQeA9BeJQZFRKkN2UKYkKBXny+Qmh3eogQ11gGMA+gpEa9dq6Emj
jGPXIwGLmD8v8VGpTEloFWqyEcGdOgYOK9Pt0JxyciyJzJOfLTSw9efbiohSSXwivWrCnbxZUtCx
EzwY5h4NN79F5mp/0k7WrsJgkSdjFxC/F6/ieMzm2rHrtEoHiLtMhW+djCA6zo/kkoPEZ8928e4d
k4db/XiQ5l6lVddoExxC/+1WgPQkQTdKPtiFTr1Rin8e0mnoiQKlNPvoDrvIkCQNHFrjf0PpRgD3
LqhZFGO0CO42fmjDFRJX/QRca7QgAvWIN74Llb1+SMH+ISt5yjRb/74Jp3C7HJgaazidniLj4xwF
Evdb3euvl3WjGfdI1JE1F9GE+5ocow96GYzftM6LAtdvwjFgd1NYPxSfiD+81LskdMLb0kVRD3yM
oHoGfs7fC5pY6qBD1GI7W5moFUwg9/PLnH3HdvBnfSCVxEtETxMQ+oA/ZGET4q9OgmZPbjn0SP2Y
4XjVc5E92NbXiSbeNH+5rZcodGwk8b0ERqas7nr4Y5odtHJnm18U2Uy/SBnHwRSiA0VQeufOjbTp
CDYnPBj4PIuyHwZKA7WRepV571QyEDSRLEwiYatxJXv5K8eMGhUDgS7ejJIAWMbtZtMrM/tHP+M6
F5P2TRl6Sf9SZMCtRM7t9aIfitaOsKBXzWAYiwNneIxkvEeiu4WvDZAKG9YKoMgJqXMKRJCuHBOv
GYwx8qwZWEFemeSG5JIJtdkI4s7KyjSlQbUcffP4e4mHnf2yy4+3PU50kwBGBV5aQwPlHO8OSRtX
2ahh9qXTC2ePXbkV/tzPOmwCKtiwvi1MrM+rMC7Ha8aBafOIxEtRvlUGQP5yD3f4HTLQPsTMGHa3
QaR6HfjQJE2UZM25SDv7jgPe2w5woXUpORqh3TZiuEe+yrVhHtZK/BiNXhXfmepLszwsMuZxgcUA
LQs2HwcfndgB5DygGeLUqC27vAwN8VhxMLLWU1uJyQS6QAi2bzC/AzBbwj1SLmXNwiZ8JBWAjrOj
gNDGQ76SvWNJFxOpwK4EqCuQTvnxkw7bs4gDiG55n+6MNHD6D5Y5hHkqm5IQWg0wtYA+00Cxxbd+
h3YEYG+H1GFSf7PitMydl9Ldm/2MrPAAaC6DxApYYNd+Zo9Lm7k9tqkn7aXRQ5N9cGXwPILwiTVC
NK+BcwQ5Jnf41FJbK8nd8hLVzB+WYJkBFfK9YGHdyeqSgpB2JYq7meliKIXWVGj8hfg+XweRsmDw
pg/ZS/EyBsSv9rIvc+EZbZTj7FeCGj5Le0gsltzvJx/Mxy57Rx/7Si3uljpOp+gjYejK6kEa/xPX
zzN8+x2OAH8Cyp66AkZwt6dXVlbeDNgECeCmndBwnmwZBKLQVgBOMglIkIDDyaX6alPMed1Ajbr8
rcVf434PdqzbWgh97VUE304itDQqlTQrlk//i9Sd7yiFrwxflLK4Z7oMikAYcRyCnSnMoQE1nMu7
YzIb6tKUuDzz9KttQdJcYfrRtA4WLST3VOjZG1Hc8dig5DSGAQ/cPIJ41MiPSIwkIsTH86rN+k/Y
5Noq1heBowtXxtZNYj7E0UNhSJoh4uN5FcGFAqtWtE4HQ8mly3dx9Zi15+QzwCNtGQOFIKsHvsGr
HC4OkLKzUneFdAKmznctT1ovymKvI4431Ms5bdAdw0awp4yyUV/ZMXHhIO5z5T+1LSP91Dn3xq/b
7i36fIViQELC0wPkOP4hLVQQuY8typ0AOQuNIA3RHjOPnTeEepDvNIxCSkKq2MVfBfKWnBRFr0Z8
+VUpVubiHpSfLGyjh6iV3FyZIM5yxsLKYZzxEA3NsWJH7IL6bh7oee7fNqHwhMAAi1wWoAqAFbz2
8qnuMidfq4+MdD+w5exnaiubPxHqspHB6UIsYLy6E9zcssewKb/01l03fGqVT7dVEdVOgNrwqgv3
LlQxK0kx4+t49teP8jxMguhO2+uAd4kD9uO2NJlSXPTWm75muQ3DVfayp0ZgG/3RUoAbJ9lwF8aI
V6X4Cp1RFmnSmwUcoT2V9i4CFEBLWs9lu1aV8eaK79NGGFeuy7IiBZkylJo0D2TfD0uAlcodgHKm
UN0RP99F4W0ryrTjnow+HnOFREgeiREWdYAvFC9zgiS9y83jbUmS8+KXToDKVXRug6dwUj87+k/X
eTLye6D4SfIGmULcq9Em2TID2RvHVTiHpn5OmePH7i9dMTw3+n1bpfV54Io1W3831r9vXii3sxQC
6EGoRDQ/K2ZPj7/bZSs5IpmU1bAbKT1r4qyi+NxnmvpYzhj/78CYVKSScoxMDB8kSgDW6BOyIaO6
YMh6HM+JbNRSJoKLDylwqCam4CoB+tGzy12eDwCdkviZ2AGALkhAcQEOBi4u0CxthkjBW6uoAI4p
pp1rTB80NCIKZQn1bjnc9gFx/P5XHL96iIAXRxixQq3TyjyL/Iit/W0BYqO9CuBCQkmAutnDAS7G
/KgW+xmYAaUM9l7URoQnvwrhwsCSp43ZZTAa5h/zF3qcQ82ba8865imoEf3FX2efUGuSFHLFMeFV
LJdFjkmvU2D1rXlRfl7c+TFfxhel1pCwasFtM0pV5AKD2+TYC1HhfOMpBiqkX7+YfusnOytAQQbE
xey4piytxD1EoAJXll2Pd3N758ypCl1BhtQEU7CG8+ncnVb4fbq3wtsqyjyFCxRFV+d13QGRTqsv
un1nRSe9l6RfMhFckGhNhVLThjagtvS0fvR6LH4kuYx5VyaGCxRDix1Vi8AdE/ehINhTPZF3oCOs
ZQZsputAswJd6vW5pNn/kXZdS3LryPKLGEGADngl27HHymv0wpA5ovckaL7+JnW0O2wMbyNmdt82
Jo6qARQLhaqsTBQ4kHc5IAHuE2AKqV1/c0JN1X/dCg9rM9JK5hhCYzaaLneGCa0+Dh0wQ6WGsJl2
rW3IEc+BqGNkhTiUT/2+8YuDOLVP7W7alYfppOoRbB3NyphcS28rphtWjzbcQI6MfHG+T4MiKKgs
SAEvKQuIE+U4fFr/oDNEqis3zj5e/1S2As96FVK8A1cSBqxLpD1VHh/N72heHrv5gXa/r5vZzOfW
duQA14aciADfC6Q2DxhD2wPIzHeLdqOxn06YCCO/rltUbZ4U5SYM9U9VhM2bTXyg7RGqPF5CD9eN
bF2x61UtP2IV05hmxnmtY/cM8BOQ7HYCvSqUGbyUuXryBkzk+kN9wUheGcOQ9XjxTaL8kdX8R2lm
ijeY8pikYCCmfh5jToq7xLcOI0Ys96kngGX2xB5J9679IVTEroq4IGtS1iNNm5AgLmT1k+h6r9NU
XQFVWHCksMCs3LbtACV7eqz8YjefisBrMQJJd9OpTzzV2K3ik5KVDkuRWCZUVlEKaPc5+M6t2SXa
fa2rDkvh4TLWU2RJTKMM0W4uEuBmoEVZ7F6p//anwbx2OibFB1J3HFgPfEZOlyce6Cl/1KaZeFbX
zS7KlW+Am8AchIfw/gfZjMzI0EAGTZsFgmoPSuQ6fcTNdDTKQ6WpKKW33e7Z0HKIqy93tmkYsTKA
2wV39dIwF5+vh4ZtL3g2IH1JrMnNOACO/S5OkXEbtxMhrkl/U1VU2A5Bz3ake1VLQTWDbcMBkc92
8aFAS7cD6kjbFbbiOlKtSPqMNEMb8AJD/o2atxfN9wMQLrX5PlHpWv8/Qei/S5ILDbkJKhsMb8KQ
xgpfAEd/KiJ+YLrGD+LRTo5tm4hDAjXlU6sJ8WigEAYATDHswY3z4y3HCHoqAyPNYDuR7i0S1+nU
G0iWIzt19exkz5FXaHtL8/83O9J1FQ1VOCURgjvPZ58UmMFsbNNzph50+/TL/2ZLurXqCWuaF6hN
UcTHUZ+PbMp+9uxb7ryBGByf8/PuSV8Z40Pt6CMwRBbz7enRNo9vWAlIcCHBBxlgpLCXXzFYKJo0
iRci7eQ8tCDUsb/p9LdZfr1uZjNYrMxIQVAMA4vsAC2YVnvU2UNk7d7y70NuCApHoJOV2U5qk6U1
+KFwQUEOaz816eBBk1fVSNq+ByGPAZJXDKxSWeZgMlMcuA3wwnBmR7qPz6lHP+R47UX7wFMBujZv
p5UxKS4BXMVyG8CWuw5cR2S+AZGtVw6H6xunMiKFpKRpR5AU4aqdw+9J+o5ph5kqyt+bZ08hwYpW
7zJZI30sUdaG6JDjRrJbcVMW49nK3xJiVhakj6SYMq0fgBm9G4pHXn+s2JNTJS7LFF34zb1amZEu
pLylf52siD8FYl9UP6vwDZUzsjIhnXmfRg14xhG49bKaqTdPevOJm2WbnzrN4gpjqoORzj6C0PPE
wdNx15YxdxtQjYO1ULFn21fR84rkR96ctFqWEHwy3aH/W8ivbhxg0Fo/RwlaVQbavMxX5qR4tny6
QwjinjutBpFFc46K+xm8lfZ0GIXiwtnePgzCGQThADpnl6HTMiFoLFqsLOXGUfT2MSgUFrZw3hah
zyaWn7DKsYDTyRt9hmMHn7LYTe9Nr/byu+kJ9eHytrjvjuzeUeQo207+bFL6WmkUNDNvl8Yv1Jom
3QfNhNvpChCYauukDzYVdqklKdbFNYATdc1z9DcQLF1snfSxhgl1sia1MI4N5Zawb3yrrB/airvX
4+fyS+W6PYSBdcjMLxqpMmImI05S6ibiJ5/LHeEHtEi9wPxFuSKIbvr1yo50gdJmCNphQkEOI2eQ
1YsS2sVHzerEsahzw7eHofjHnpPsLd6wMiv5eF21IgtT+Lhu6DsbT9cgeU+C0/U93HS5lRHJy7si
Azurs6Bomh96/5TS20SF+N4OQ5AixGUG0VeAyy+/pDiZaamZWAiYP/q9/Xs4Jge+BzRa7z2CSfD+
1Cqi6+aq2B9BMmQKL0j+eJOMUExFPkrzY0FmkLI+TaXCxqb3rWxIXjFNGsgKA6gQNBCMMIQ3GY8h
/TyqWP62zUD/xMQzn1G5D5LbJB0jsXyu/K7Qd1kcQD4dJC2d4mPa3rL/2pEbIOFss3ooYAds1kby
YGi1O5mK0KNYi8xkTeLSGZIRjbYQw4/UQ//fCwF061Q1E9VapKNx7CzKweeW30HorABFf/KBGYrv
ZjOKwqH/Hov8sipjLY3nYMwh6vTdqT+Yb/r4V/++9F3GUd2VYYchROiI7Tt7Podjfcf7THHLqXZq
+fvqkhuGsDMighHfqP7YZO/y+m5WMc2odmpxipUJYO3p3DU4DF69Y+NxjhRZjurfly4bg5bhUAgI
0rDy3hkfmIpKfvvhAYwpx8UM8Vu5qsPDxoqTEu+n5HaBQ5BTeGfftj8x14EKXKSaJNo8kZU1abtY
GwxlmkB4BOrbuF/6Y0qtU9+Nu+txf/NOW5mRdq0cLLxsmIG4n98A1wwhSVcbe9dsd9DGVdRlNz/7
lS0psZ6hFfXv+F89p78LNhxLp9I9NhA3jjFfe31h2/uHGVTQeDLDkD/MaJpM0KgMaNRNj13gzmXq
DqrccNPl+LON5e8rl4a4QN+nRoRatqWNj6SsnK9lFCk5RpYw9SK/WZmRPk6UkbpRxAjJ9CjQcyx2
pad59Vd6KA/ZUcVpv31Iz2uS/M7WQivrGxhj+T+x/ci7Q14+xdnX66cj9VFxg1ngrgIpAj6lRatQ
vgJoOtkpq+vsXMZT6en5KQ/6M3pROwP/t6Chl0zWftFRrypINJrh/rr9y5N7aV66GUhEgwApdnbu
nPnQamAUoCoakEsHfGlC+rJ4zDB8NvHeJ0ZyoHPyLo1mNyCVAvO4YcbhgKNTCwqb9MXYTe5o8wDE
j/BtY3jk0+TPTXm0RK/YsG0zDGqyBkZvXnCO5IXeZ6B6FP48lV9ZPMTu2BsHy64UjnHpfn92DVpB
ALgDwIukypJyxMYoYm7VeCea3XQyw8idjfaxaT4LU6UepbAkj+pZs57k2pQRX8RDX7qssJL0MM64
CT1dD5Jip+evbIS/WJ1chjG1KOFWM2EXI83XdHrOrfYwgnv+undfBvW/ZmxqLrLbaD/IOZxWGmOK
SrDwSUvJ7z7W++Notuk+DvToYJYa9HCiXkUVs+khK6PSqz8t5lQDe7Pwoz7a10l8m5u/00yFz9k8
NZtjMh6TqVCgl76qrBla0bR1fl7K94mxZzMmPtgnTbx79RZiaA53vWkwKFjJ6bYhZtsayj4/T3bl
TmxHuseJUFebvUQFO9s4LYbCL/RhoV7u4MF8eYsMVZ1UIrPzs+AgGa0C83POLZBR96OrifRTJVQo
4o09xBzTMsmCDdSpLl1bbNQyzQa1zzl2smNNH7TZjWfnCEja6/dwbWfxmNX1GA9l56QR7DTGz6Y7
Db1z0KNPoXOux273BlMGNG/B6A2CCFm7ZqDMsFPNyc8zyDNs/rshsUcjEBTdC0oUmcXm9lmYmwGV
Bi4wXXLBtIsEYN4cyyo/9uCkiXU3qw4lVbwsttwCKtr/NSNlSwkIE+eMJsWZzU9N4DfVCAaSzJ3a
XcZV7euNJWHUyALuG0NUGAeSou4Awm10LIGWMeNyvM+y0djNvKx8M6V8X0M76fppbYQKmOMLpM/G
OBWTllYYcaeLMBn90pkmVw97QEJ6szogIL+umPsnFCJzAioITWBQNcoDSEPjCJ5o0YgJdnoI4vIG
dQK/KGzFLby5gc9mZOLBoUt1End88MvU7wMoWWtfA23hHzQUoX3Zmudc8O96TNQyMBSkO2Anvvym
bMA0OBkj6pdm4FUOdQMtvaGPo9n7dfMwN6pa7uZRmYiCBvQ+lqrNpT0CTDaku7F/dZndjZG575Lg
drRMBSp7e1kcLTCIdCGRkS6PuC3MMdfq0QdLKABohYfHIgilv9T8FM/DncM1RcDYSkA5lMD/a1GO
uoCBa+k0jH42NaeCdJ4wfyRk3vMOTD8224/9bUk/TS1cc/x13f3/XFIvD/HZtlTRK6zRSigQ/H7S
nIYM9xhju3jge4oJ8T763Fv1TmvswwjG+yI9t9OvINK/mAFIm7RTVWG6RKhmkMniNy9+koVBXeAW
oO4i510jp7RIg5j6MQo+jvG5qrkb1KZb69QdBfftJPFEbrh1Hn+9vhubHvZsWfZooZmkjfUGBxFr
sRcVE3EBZWg8zXEMxQNUtUq50xqzLqFJWo3IUQZcrsQTY+vmvPaAYE8wvgPApTsIxzc61Z27aRqJ
rYH3DnKXF+J9dDZTi0Od/axpHC/t2A2LHyS3vYAwLxp616LhDkoBO6YSg15it3yy3IYMPWbyGcOs
7+UXHJdFVbDMGH1iBm6SFACkVLssX7SBw10rKjcSzG0w23P9WDeuL85Rp9RB40YY5MYvzeKxDwVY
kxi+qYHDrW4BfnBQ78s9J3f2YLRNFfa23GhtT0pq9KJmRjXrht9Z5D4M8z3GQkNUltnn6+vaPsjV
wpYfsspqxoJ2LLGwnxOLQW6g7SyT7KOx/DCy3k0s+9R20W2T8e/oHqqC1rJpl2dpQM6b4BnGAQLB
HXppu+pykmdOSH3yYfAazJ+yp3o8xl6/I3v9xBIPuYhiucu+XTMpn6OOsgZkC6g/eP2+88kp/ZT8
yG4yd8E8Fsdx8FRF+5d3gYHcAJQBEKrX0dWRrjiDg5uA9LrtC5F8La2PRhfft/Ow76vsoefhU5Z1
lmKVG4tc4ATUQaUIY8RyZyJNbbup7dLxq76+a3TtYxOq5Ohe+idkadH8wHtMt6F6KqVYDQ9QPnSi
5sy1d2K8ma3CLVWzBS+zENgA1QIKlBRT9/JLojBYUoXQDz4b9qfcvGERJvcgr9qqiOQ2Tgh2sAiQ
B2A1Mmav0ow0IXXcnM3inuD1YAy/wobvizwAZOujVk2Kh8TGhYmFIVMEsRzG4k15ErYvIpI52aj7
bfsjSx+yJoO4b/PeBsIA2Z+rgwwpKZp9YTReyq1dNfeu7jyEzg8Sf9CCwNgHmanoykkDCEsmdvmb
lsNYxYEy1zi4mBIcKLBOzGj3Md859sfc7o9a8JGMzRHKYrczPevG91ZEQE+2uNhQaOD16fo3unns
y0MVQJU/ie7lL9HxnusikBb4tjPfdsHPotrRYH6vpSp1ts3PBOB6sLws/Tu5Ah5SPUnGfHR8fdTJ
roLQN2gJuCLAbq4GFxW+RMyF6lzaV5FpZAozDYK9+TEy9jV0edAcgpSdIphufpCcIeMBNav9gmdh
6ocpdcquOQ/pDchs923k5vPrSNT+dZJlbMnkNpJaQKMuj4Y3YwWdW7M5Y6LeG8MbOp6ZmbiZ8XTd
BbZOBvJPqARCghoMGFKUpmVESWiz5pzo5c4ygnsxqFSmts5lbWL5CSt/t7twqLkBE41zIuRH3j5Y
zX1ffXnDQuBhJr4uA6wU0g2XtPlYk6Jy/CnNTv1k3jU82V83sXXweHqClQmPXf3FRJkurGk2jLY5
2+UxYyEUxh4SHilulE0jYGde3p0UgDjpQCwKxFVNaHO2wKnQELdJ3TquFUZe5liGuVyUfx5n6P5L
R5LmNXRqdKc5Z5lwzfLY1R+6/MbJPjiNKuRvnv7KlOTITVTbcdlazTkFIS5QnXd8rG9jPXBriyhK
b5u+DCokHaPo+DZlTA+PApI4E4epFrAXVvpDnSiQHFung2oAAJeLXtoLGUuWY/5doz3zY3CsVBAc
bbT8UKV0d93Tts4HuQwsObi9CJPOxyLDnJIgadHYGN61erlfqMb0viVuHlhn0HYpoAiby8JjnQF0
bi70oZefaANlks4RU3uGxum9HqePlbCPolFJ521d/8bKjOTbfJ5mbiaIBG32eyqP8finOKUPH8z5
lwjeX9/DLW8wQCH1JyQ4EG69XNOMXgGJ47g9G7SDAu0U6l7PMlW3UGVFOqlBpFYyQ3junJfGYXZi
N2uVLHdLDUPKpJGb4b6hUE5FNUWyEc5Mz+cW1/RUV76Ymy/N9JuH428zDQCRbv0xnJ6QPN5DY/Hc
T53CNzZXuLK++OoqfJcp1KVsPW3Pganvy7rdjaO+v35UWzECpBE62HIBtXlBKFSWSaWzFPydWvSt
pHcmqLLK9KFqVELom27+bEceISr6LivnxMTX6zh7MmA0EqW2qSwUGd7m17syI+3YkLcRndOR+VMx
hl5eoPfKjI9GTGtXtyOv6xzFEakMLt/d6oggEhlMdoT9Q/bzuR+EixHffcnGDpMXzaEIileXYXHH
rhYoPUnmkWUpY7A3J8MPrj1QmkWuwxTbuOUVS9qu63jPMUPO3UkbWKQcNORZxU2s/YbWogs9E7NU
cY1tOfjajhQo+tikXaHbqO5249Gwwk9NWr5qXPbfbG5tQvqCkVdZdps3iK9D6rHwnxpkBNB/uf4V
vazXLC2M5/1avH/lBTwWJcsyh/vZrGNa27E+AXTuD6N5yBzU/sEr4wz2DsIMKhoo1QZK/p4UmQ2+
vob7aZ7uEoscU0s1mL51c6zXJnl4l2oTHqhBc+4biAXqYLJKmvko7HTfANuI9PLklCg4Xt9QhQMa
y99XGzpnjT4MpOC+sN7jTrSy1u2n20ClU7gVlVBEQOMa172FEYdLM1WEdy9regg9oDIfTMxtO+M8
EpWY9FaQWJuR7vipaqwmbnHHO+W7OvIJzdySfGD1w8hVY9sqU9IXJeqK1j2kWc5z/gBanrn/HdU/
eAxKm9C7fkTbeweyO/RcUSSReYfijEXDkESBz2l/LEMotLQ51HrYm8wwe2kRgiJMflyELIkLPoeB
P9BpV7WOX9fQ4EzmwxtWY6DQg/qVadi6VMAq82xqwWYb+LNOvLCZdomodoBw7a+bkWhz/4ajlR3p
fDQMb3c1+lo+z4pHrRpu6iE529XnPoi/493jj3a7m3VoLVbwx9Szg3ifR/2RGo7b2BB4VGKuNiMI
mq8WntXIAeRS/pwDAuvMFvd1rfVqXfOFPb4hcwcfvw1cA9wF8s2XX1kZ9jrKvOiHDjZzCwvU+Esp
XdlP3gzCKzNSpMfwXpDGJGjPg2C2G7X6mZqhZ/biWJfjwRFICKgN1qDKUrjo5hauDMvRv4g0mtec
+1NMTD8rQv1Ob1oVL/FmSLTxbCTYSHBmSiFx4REbsxihvmidnQEm/kHgDWTvkvnrdR/dDCEOegAG
xMlBRSxFq0ZkjtmIuT2P5vt5+swCtFZuC+dQqJK1zQiC1wFQDYRwgEMu/SK058qGDjoOrHe8ziH7
cUrOoi796+vZ9AuuO5wDxQ7CXsn90qqcHK0bcJdMffuODJXjFRzaqXMy/igiKGZGqW59apml3fTo
fitusq1FWn8KPDoBOkp+71Njpj2ZcJOxxridS9szHe22zZzj9UVumrHp0h7FfiIoS3tpIUa2Jph8
HB55FY9PdlV5s9DfYga1alBGAyUC7MalmTQr2sZqcb2UrW24XWZ+nOk87DRRq3pRmwtaWZIWlNco
IjYlijE5OU/khobvrVgBANj6bq2VicVxVkmG3kUNGMyR5YYiORvRTWNRRRF8cxEMiBDdQZnP/HMb
rCwAC4KXfSaYX+XiYKbhLqgHn9LudP3wybIZ8jMVJQtbR7timV6XVpJHZLSgQ0J868Od8ZOd22Ow
M+7phy/GUTt2Hnjzdr+cXaCIe9JwyJ/LDMQ6qJUi83UIk7+s3gn6wakq4uuVR74CeuIVu/Fk/9Iq
L/0YnfSTCrIhDXb9axGdbshz4clq4R69PDIjbsGabubLQhvcIaceC9UfrW/zed4v6wwP/OP1vd04
woUX4D8W5fZzztqmTyeskYNXcTLvyfgtGp+u29gANqBqSm2do3yOQRGZBrUf0xYvO1Kfszo+Uk33
AuTaNRXeOL0fzJ+BDVnUpL4Fy16tglRuHuLKtsyPOgUztNpb4IgSX/jpu+BpWeejdbQP0dkY3EVE
SfHdKU1KaXcz6VkwjDBZ7ebDvEv3Czg6OJh/9RZUA8EbFxpohgHSs9CIBX5ZutBIXc1WHcy2b+pP
ZvZI2eexed+JzG24ikpyc2nAryMjBtLHQTH50kGjVvRBX2T0Xwdt/OVLpHDQ6H6Z29R2b3FPCG8v
b0/0K/Q/Ha9VhIGYWhGIoLN9zsd7KED+EmCm3xlMRWq81ToDeSqgbcwG2AxIsMuFBVVkFlHbUb/6
KX6O4CPb2V6y0/bRl5a7UJ0c99RND+Z7xZex5MNSZLMMbqIyijUu5P6XZocgDkDS0lB/8ibYbL30
nbY3XdslXnWujrUiVZUGRv4NMIgr6GLgqoeAlOQrogM/3qSn1Gd34f0yMJJ7xr12p4PIKT6oNnUj
ttjYVIzEoze3KAlcLq5uugCcN4bjJ7OBzmd0GqbuA6AK++ubuJE5QhRhIfRHHoJ+o/TmCGK7D8xh
EQKh9k3KwYOUQmcXgEGX9a9H0BsXtqTzMq1ubCYNtgDi29cNiPd7CMYWqnfU5s6tliR5Y5NZDcoS
jePPZsT8ZsbrNirt8V3as0CR8mztHiDS8EIKWDHeYJeHZIEUlpUtepum84EIrx2/5u2JFYorfCMX
sZ2l3KbbNmqxVMqFsyBL0I0cHF9UaB2BTcepS7cenMlxrzvD1s6tDUkZXC6SmtsFr88RadwgGN1q
ml0RG28yAwI3e+kDAHdwuWvaRHLLSTPmW8T27DD2UkJ2OFBFCrJ1OBxkrcDNE+ogOl2ageJkaGkU
nQae1alr8R4Uk9a3mGT7mqkeYFs7t7Yl+VwXokBkWzN8jpJbI3HuJ/O31qpAZ1uOsLIiv8ftamxY
k0zoOIj81gyK24ypRAQ24FAQiNLxUGBoc0G/RHpKltA4rboRJT2MdHyl9nRKTfsGcIhdnrVQJbPu
Q0P30nGA0NsbOviY90aSA1ANfoMMI47nJHbKuQ18wTDEU+WH3sa9kaqoJjeufMZxZQAfbaOpJmdt
zMkh+9jCzNSF/aGdtcE1HA1Df4GIXTrS+iEcBu3x+qe1lcYBZkHspUsNOQgZtkcqy+k4/ueHvD6m
YnIDQ0BN2B/m6JRE5NgFj5r+jZmftPHrddMbvgkKT5wo3hgWpA+l72BM5z4nYCnyK8F3Rhnu26F2
oeKh+KoXF5du4wsz0icQlUUzOIPVn1HzA1Ka8K94vx+juH9gWeTjP/3UpcZeE9P+DcszbIqDBGsE
BFAuP3OqRX3dgOX8bA7pfgybE+lQi67T1wdhNPmezSy7vEqmshKFfAw5oyARj25TlCc0VBUmtnwE
dQjEerAewEXkBCOYRyuFGnh7FmHu9dmvmv0u+ecitT3ICe0Iu8ni2DMixx1LVZ1qcQL59ABtAG0n
ARYSm3m5vAFt/xTHFwBVCg1o4sfIAjAEvzOhwTPFrtO/u35qG6FsSWwICuvLfILc88tNjaa0ZYY/
Um0XW2BCdOr3101sxH/A6k2k2/jkcG9KSwK+xRTViCK0EWsnjY77ZoiIq3XW+4noiqbYy28Mt7+O
vNBBjQXiopKtsdGBqMCQv+9UwG8S/ZT33A2rRuHrL3ft0ox0QRe1Bb6nCgXv0Zk6c990hSVueC2o
Spf+5d4t+MllXsq24BPyR5XWcVp0yK7Pddn9LKPOm8bwPmzGY8peRxW3ZNVg+KDwuCWLp7Yhhade
hJExZpU4NwTK4NFXXTMeedjd8dQ84qcp4vDGwtbWTCla2LldWSxponMdjvvIiI5Va+zDmrp1Uu+u
+9/GVQq8EIoDUEdxllkLaWVJnHWB07aWP0ZQGBLc1SLrNMf8SdO1T1le5240Rac8tG66kb8eP42m
CMbBgBpdUAoyBDZPgGEpUG8+iwkP2jDZIfv/2CSvx0XBDLCjmHMzEMPlN23JNIEPMBLnIv5ud6Vb
RV+L1+nD/esheHSh+wJA+DKqfxmbGqoHJgSuxNmotAdba9y+Nx5oWB+un9fWN4wAj1YHen4M1bJL
M31I+kZvw+isFYlX1RjRCmuv71R8wCozklcQUieB2cHfB5P7POofgUu4SZPXsU3/3bTVaqTreLLr
MCRmpflsHj1Kk908mLuJx2+ISKtNo9LZRNgnhjlize+KNHWhofFUTaq7aSvqmYDdLRJ3aCia0o4F
Vg9WqFFo/hAnt3ad+Uk7K5KXLROLatafKjzQfcuhrW53W2j5LATT/LLgXl91hyJUTXpthoO1DemO
MBI+9DywxTlOaOFSfXgsDcPPUCu3Rkj2EYABTO2TSEu8u2igwKJsLpBBxQRDBgy57/L31QIbkYdR
72CBet/s4kRHd0i84fvBrDfGQzBgCzixdDlpuTbEWpuE5wrSRuVguk4X33Sd/j+akbwhFXpQ2MIR
54qErmN+D7va5e2318cCZAzocRnAPr0oi+hBR5NgzMJz1OnnKcL0Uhf6jniLZyPZWqiMloaJ3ABK
ilBLAYGLASeuDpgPeRcUkf/6lWAF0JxCQolGmhTVGjNqSDSU4lwbRxrELrSgzPD1DRnMmTETyFWM
XGD2S7pV2y7oggw5nV9V+anpogch+n90oX+5vpYNJwYt3AJGA+6HvsCrDwbmqgEoFueuDm6qCe3O
TFU0ePk4vEh85KRx5kOjYzgBHylgJYKCx+hzEJrAfnjk9e+yC1OyNjwZ6yrI9FLzwTjl6V22IxC8
A0pN8b1srQgz4diwJU7jcC6//BDj4aWguTiD9vckNMczwCbhDmV1rJzBr2MVvckSxi5fEii3rOxJ
32cgSDPYUbE4HANG+m4YhFdEX3Fir3eGtR3pgnPs3tBGrQ/PxBaG2xdVtTeHQNUC2XI5im6SDqQm
qhKO1I5ApSruoxljzA4ezYyW53IKX/92QP77bEI6IMeZ8zipcVMncdVBktY8JWP1cbJU2o2bjrCy
Ix3MkJhhG4I224+CB40/JaAaM+t3Y4TBDBUz0EaOgyVhFgPDGJhhkSHfGtDTHdNrzc9H6pEa7Daj
tWNMxfqiMiPtXE+7IAhTqvm9jjplOu8GQVw7qo7XPW3To8GzjL4igGAv8D+dWY8OWRLDIM59Q4cE
E8FcqdASr47Fj+u2NpdkYfADRNNopry4ETqjKFjbiXMwle4wOAeCXmaM7u1bzKCagaf3Qogu+QI0
caiGz18AdeYcnLh+5GN5xOi5SpB7ezn/tSNPlqVjFTRV3MMOnquc4ZR0cRdYlSLGbZ7QAlTGjBE4
2m0pu5kWYqLQqsWZpIdk/pXpH83gUGhveOxgEO/ZzLLaVRLVTuFIW6ONkBEQL9Obo9k3+2QUisL1
5qatzCyrXZkBGMSE2gFeCGQ+dMNPK/bC8ef189+KBcv43QI7wSi4vGGzxkUW9X2AIW3uVMBPZtaw
z0EJVJxmUCd1XtHN4XhnQO1VcVRbi8PkMgi8jKVNL/e1kghVSqcOND8Q5RFDcJ6ejmBb47tXL5Ci
V44gZAKFAFj05R5yMNBTcPyiKjhqRw2NOuK4Nfse97WbFe+v29q4I9a2XryBwzlIrXIExmuOb+a0
foiZalJvY9dwRSyebSx1eRmCKNBe6KNs5j6IXk6JVp+i2drXpFF43uZKkGcCJrT0qOVGblVP1eDo
jeGnItTa09RZeX52xqH/fn3HlvAi5Qh0yaoBRgL3BULd5emwujEyjDN257CJT1l0Wxi9V4hPE8YY
IhBya6bieXfd3osIDun1EYwIZnfOok9lH+/y+FcJ2H8ddO5Y/AyjSmHv8rhQRwXVFQFoEsUtTOo7
L1oMdllYVVGUd42JDpqJuSFPK3RwYJmKA1MZopcbiQedMdASrHikJqGnJzYagw4/B5YqL770jJcr
Mi4Nae0EJWCGFcXw70qIu3B4VWXuXwuYQIZHwP1Qo5N8wubBaIjIAkFiyb4INJgqMp/j2P6CwT9F
DLqMfi9MyVIOidOEDEjJ/I7Mj1H9NRqOuv45nDGDrCzpX3reS1NS/hgYg9ZFDkz1Z1AxitItYjd6
BL2Qlx7D2/I2bnZQ2SMedSuv8FRlXNVCJfeouyarpgjKog5m1KIghGb7MeSoUOugtIkUd8qWLyJJ
Bq4FwC+Gue5LF+mqxqzEQs4L8OY/HTIknvf/JIEK9L3liWszUuoCBRNcbMuO4sHrjZpxSwPVALaE
xP7PqT0vRfLFaEjJ0HLsG/lQT+7g2WcDJI3pkfrGt4G79EBP4Y6+vx4Ur+8ftOkv98/OeZmapCrv
5mi8icj0oE/WyaCZohK0aWaZYQVuASFezs3HHGBuPHLh/PQXtJQq9iHjb4hKf8Zk/5pYjnCVwKAI
NFkQbgbD9UQxwP+5EZ1LLQXFkASn+ntIqNWh7rBIVMgVbouOecYErAB1dFjIMxbx9tZwF6gYtLV3
qtbB5qf8bE9m3ae8DVO9teF4uZa6k1WhQ6bhmx0TfNq2p3H9/fC6YvGLNcrPT3QrZqMYQOc6kOQf
zqudkVjfq+kt9xVdLU2KE3ExzOU8QHslm5wdVFNPmf4tMrXTdQff3EBkZMD5O6jlytxdYdGCQZRD
G2GIeOiWAHR3c7FPitSLx/khmvD4NWZFpnH5Mvi7gSubUrSATFQ6l1BdvCvorVWe0kjfN99mbis8
fjPQrsxIASOIRFaQIC3vRpYeSRDsSmr5Qkcuk4Q3MyY0r+/k5jf8bE7OOJOCQnUtJeBeFjcpZhgx
59e3u+s2tr+vlRHp6rLLPNWbEQTMGXez0rWPziE5aFiRC6mE3EcJ+ZgcFTYXR3tODF8cl9yeq5uK
lGOIbxqTUAe6X+y1TwvetDpm3vSWgLtaoJTTVIOumVUKr49jSIfnup+NEF8DvOb6ohQuKM8JU0yb
lnaFNRk6XovmSdQ/42Zwaa9IoFROsfx9FXUnAebiycR5dSJ5P2qaq038VArVNJTUx/jPGS3CRsAM
Aqgj2TFjUoRtBefDIF7j1pkJ+inLDJbJ3WYH/e07vGLY+1DQX5GIqduN8Y/rG7qVAZiYDUEMAaDb
ljGLTIDmY6QCugNkBAlHuWOVqim9dWaAzQJUimcqiBgk36+ztnZYzxGqkuSJGeMpLoMjxXKLlrlv
WA1H53sh+CF4kV8eWzCSsoNKlPO70YvoAGzU/7F2Xctx48D2i1jFBBJ8JTlJo+SRJYcXlteBAHNO
X38PvUEcDO/gSr5vW6U1ewA0uhsdzqnvAhskfdelrCsHnCSqDWgwEfesHNugiR0c2hAkLmc3prHR
2Ic/kyGsBIKDxOmAna9Et4WO6nbhddrTn8kQlC+gbVLHHVDnreipNT6MiGCyURIhCY2+/2r462bN
2rG4SYwm42h1ULAy3Y03xQHB3646smk/gp0RRMsSS7umz3gO/3c2QuBchZYxMLwX70hdbUpmum0U
SVzvun96FSG4wRKD7ykmFhG7KJ1XsZ2Z3ardk5ICj1n59Y4TAuILIPFQDETP1Pnm5UAWjPsJHney
Br+vjL+cnnyoJi6xqrNHFT0FqDOAgIDzghUQFAGwX3yK+x7RX2epO2LXJ5DsknuMTea3sRF/LLSg
c6kCsALUxL68fYlL2YJ+NFaNl44DEvu2iSqgS/YnNMw8F9Ik1ppimJhJwGTYXLYVQ3WdxEnUazUu
rfMwmZjClITQq1Zu8X3xwmb50DoDtKJ2HrvgGzrMvSb1k0Fyn9Zsj4lRPnTEAQ/0ApmpDAgJzQQv
e9LsJvOhtf4izs93nMhCxBxXLG4sKs9I8JgNTE/RuyUy9M2vPnjXbr0uQ1DsAoyPeIgk8K8se2wD
5ZmZXe85EfOszNpeX8/6yb/KEk6GW5g0sIF9fFcF9iExwsY1Mu0d4Q8ad+DkMICLPun5hi32TGNJ
ZNozA02fHrFlKYR0xfP1dawGkQshF48m1mqkAs7h3fih+1zBkgKb81B+H7zwcQ4gicQqrNm5pTjB
b9clU3s2VEi39Pmdrimq3+u9m9mJ5Tp2+21KLf/6Ald1m+L9iYYhC3N8gu3GmwYsfDquUJ7fg+22
yKEZEhGrt3QhQrDdFrIC4B41szuTG18q1Xh2cnMXdcoNZYPsIbiqdwtZgk5MaaKnRQurmsfFY0dt
j9BRUrdd3zH0oSApr87skudqx9QCbS8GwuE8zLbVmByn6jsx2eb6uawrHoA1/xUj2Ggbo7RDQBHB
2Zk7M0va2+E4hCC79SwXvE4b4ETJKF7mzblwSQuRgi4AoIBMVQmRUzF6xojmMWtrqj9ZY7uR8ymu
DkUuKR2vqvsidhT2Mi6apDM6CnKPnPvOcCyHzyOPvMB5sNTn6xs6f+picQtRwn6Og5ME6C+AtciP
aXrKlZsk/0MRwv4FGI9rbG4hC4GobmCbeBzcVpE4o/UtQz8k2pwBz28LQuo6s5o+goUwjcLxkqZy
tdF4qUBk17Lgpa3fNvT0dyyJXOh/8oTb22TloJERRGxl+y3BgEFefy5lIHtC4/jfQggS5/DlGPiD
MTq/U3QYwcanoj7p5jbdcWNGAQ6mXRE6/pi2HhmzfYqf0E3NLgA8YpTIWGbW7MbyBwh2I8lQ/2IQ
c9fEZMdL9aZveu/tCrgQIXYaWm3KeZeCurrIHprupXVgAzfXRUhWoQveI0UkPmDmG6nR1Eo8EgUE
XqOoJQ++1efFciVCsIISeEP7zpwZb53v+qbcKV54KL4BzXkDMkDJtq2vCRVDQGIC4IAK95ZEI+Iv
pbJ/BUOfuFmTgoanqcf99Z1b81GA9/tPinCrWuSK6t4s8CQvu6PqaA+NrtyzsHh00M19XdT/sn2v
sgRlRx1PS6MUPsrcGdxNN8Oe4hlD3Mkr3GzT723uX5e4ZvqWixOUu1IRnGNWCrRz9CFOUSQ69bLO
AskpiQwvtl05PSuwpog+B+GNYnz8oyVc0DOFxKiqEE/zAZQkNEXoFSEzU8vqrGvGlaCnAGgxgPHD
rNO5HXJa2vcFmcCtquVoLjKPemkAF1lNt2Nptm5YdpJ1re7bQqCgC/2Q9qiGo1AzGL/q8MRlTbur
R7/4vnD0jEyA1dNm05ncpvZtW99ZROKQJCJEu1ZXdZ4Fg4IMNaAQxzD70pfKvm+KN8FN/OMigNuC
DBPmUBwRksnhBQ6sQBQ5Yu4sKQDUZcwgpu9QM5SW0GEM7IwLUHxQZMxjI1iLDVBc9t1Of1DZFP2q
pVmIEIynbrS1oVcQERqph2dL4XSYGgGu6M8/W4rw2qNaiGS0UyJMJd2+nvKDxoyPo6W/5/QXy5kV
fPEI62s2qcqcmMmyYBfz1E/V7kU1EokXWFWyhZj57wsxAW/rqZ4zCaCa3PSjujfr5lBKacllYgRn
kyZdN7ASKejWhp8hTfoL6BW2aw/D83tOh1poFwDe0QXmLwdozsQTDaE27Y/WkHg0j+5r8E38kRjR
LIfGoET2hNcrZnRmFLMRlMQSEasPlbkn/5+liKaZRtQIhpm3ub1RWjfYtTu2xfzwI3vRt8mGZ26w
ub6o1RuE1qiZ+A0ZfLFOn3elnakEtL1Fmrtpbt6MKr+JACriNLos1pHJEuyzkrBqDAmeRHkCX22x
/ms5C2FtY7kgBZFkaFbdz2JlgrXuem00ObAo7kaFFxj6N4BJWHx0GHOtENRzcLKSrZw/KD6KgKr0
z1aCbvn8WrVNxYA5jlRDy4sD+p3uACfYI6Vq7Ot09Jw8+2hEaPupe0m4ter2FnKFQLUDtwGG6qCX
bdWYN5RP7Zap3dfreiITIljaVjNAkO0gJpkU/XM7Bk88l80Mr4og4KdBvwgSg2KCU3GiRCM9Ynpz
eIjpxgokTk/2/fnvC7MXKlyZmghGfOhnWrn2Lq6sdxQ9yGIJs0lciBiCCO9WGoDMs+SFW4PdkmRp
6DZckRiKVeVeCBJta1lUzqjh2jpFuQVtuDuZ1h69PVvSGxhgnw7XT3/+3ReqvRAnhHKNDcp6lefI
qPZ03wQ1MkGDZxoyBFHZCQkGoh/HtilSioIvqTZ91e4D6bz//IlrKxGswpCCC72r8TYNtQ+dcwqt
rWN/zErD5em245LXiWQ9YmV+aDIKTCgE2mi/eS7a8WiC/+j6yawaHaoivAaayky4eq5xoYG2rokb
I4IesFXkRnoThrmnGf0277TbsMYsNVhc4uhtk0T/RJALuYKmGygVKCkH4nlsqh9Y8cU0yh+qFHNS
tjpBzZV25gXR8diKDmRb7+JdvzW38k4D3VjTClSvZ4Akgt5FwXTrnRYqjdpOoRvW3LPVJ5t/VFow
uhpPpTH6RntjNV9mOgG7tNw03iTG10LZAGjUq8Zx1+i635jDUQWOKgltLzTBuRjetUQ2mLie2ln8
TsHUKyUQOMMmBqFzsok+xvthrz4alm/v0MW3lTW+rV76hTDB5Dv15JCmxxGH3eQSex9HmOjVJEZ5
9T4uhMwns7CYNktyK4zRKxNkSLAApviGVGXkUi12qd35SdDdGU0nuTSrgQiAN4CPidkKjKScC2Xg
Vi3pgEbZmIC2Af+Dn5r6tinsyCVGt7t+Q1e3EaOWAAQA7QVSA+fCWgzPR2OPMyvH1C3Hz4mquGUj
yxnIpAiHFdq0C81idp7JEwv8wq69rM4l+7YmBMAaKqb00YCOobvzpajOiPFvpUQnJO+2YZKAXcO5
b523DXD8bVtgyfAfhoOpSxGkkGodD7IeNrosFbKpneJTPZiqS5SE+iPVJXHi+qL+kyaG9bTO0qKf
bHSwKDd12rrTtCHOj7frwGJFYlhvF2mD2AzNRUoRABGb7IeZsq1K36FqSzGCEuTU6AH8lqZ3aceP
eaD4+dA9s0F9R8CJdA5uDtCBgLQmRANow86G0clQ+9R0vB2haXkg0bRVS4du+XkyBHNjmA05V7V8
sLOgLZAWBdvT3M7JttmnYM9Oc8uFzNCtuWkAQ4FLGYMfuKmCOWgLxaKYhM6R6aWmS6bGby0kqK6r
wGqn1FKK4KnNseypWeM5nBvlRh8ANhynHbh5kwOM4H1sFfe1kzwyp/pmB/r2uvA1K4t6DM4KrDjA
fxBsEDi/0XIW44UMQsbdqIybMHS7Ot/E5HuRVX4uC+RW79RCnqCI4ZilOXQP6XnlRh8/s/hgy+pD
KzbcwWg5jCogZjEyLSypLEHQZ2RQELWOdrx1bp3S+ty1lq9FqczvriznTJawnKhPm1CtGRo6A8cz
x5sgbP1WBj4pW5CghaQjXR8MeDuYw9cEjKX2x27mFdK+XVeFFWU/W4ughm3Vp5liIytbAulvN6ZO
iLFmAIZfl7K6Y3QmMALUFGBjBBMBzD049jCCW1fZXYYhOdVsjuhRlRi8Fb12ANRpYq4UWIwX7esj
WBnpFCOj0CYATiCfefCzLw9p4fbaHATLXqhrq1qKE/YOL+2uHC0bPaJDcjJI4k02OsIK03/75gHB
HtOL1sw1ILYRtFMZmWOH11YWUte2uaeF00YvmXddzOrmLcTMf1+EXqUypLTS0WkWg9vPixq+A2LY
S29+oH20LbPaVQgInK/LnM9deH6hCI/MM5CAtct+MGtEmK0XBBEE/ZYUfmeQGytzY8gpQep9Xdbq
aS1kCadllg0GGU2OCwWEjSbJAGT4MASyfqa18RAsCVO6BH1nwIoRDFEzxnGCItfvphZf9wIMAx/4
RvG4123oU556AJM70nuZuVhf3atYwSahV0uPLAvlyak/ds7XoWu9gH65voNrJmm5NMEkZVXOU7XE
0nCdXDxjdZi/QHU1XYbzO//YC7VAvGdiCBUxslgqqoca3Udzp3e37XwNOL/dPry1XGWXbpPdKDEa
qzu3ECbo/VTENvKOOh6V/ZPVPxdd6uayoH/N24MQ+HVFQp6h491Ytk2ODgldjY+Dwb28SW9RQzD8
gDI4qegLQJ7/KqJffHIkC5wV+8puikWkcZgsZjOE6WO8t9kWmGrX1WItS71cnOh78y5KM24h45j/
0n+F+xo168J2yc7cxk8U2MXv6ImFPAe1NeD6YRRV0ENgXCealc3DZCPHa7egZN9VRv/p+rLWt+1V
imAvkC520O2EG1VN9wPCpLeBMEEXMF29XMWslwt7a+aYTW4mKHmA9lSUwpTSM6XvwNUrO6PQApkY
JlZ8oqHinhmBghoow4gLuWXZD0fbK8rh+latXqGFlNnML5YSp7nTcoqHxljbXsJsn9RA+rFbSXJA
Jka4qUD4mjiykggjDT8MYq8ubzrQ3v7ZWoSb6hQsrQDBiaSjrX5UzOCeOoPfRKHk0kgOxhBSTKEe
Dah/w6mzGpjYWeSCvKXnm0DGCL6+Z797rUFVZDqCFidN2neIjfmvKY6j8YXYI7JTwENh2UuvcXCq
XN+9dVuA3CN6u3/LE7R6bKup0CtsX73RtvW9sQ/8XnExSu2Z22ZXa14taRlc38hXgfPfF7qXjoSz
kaOlvFQzv+7vIsw7gcPCDRpJ9la2k4KSN7mNsc8CE2p6EnzWAmULCMzYL+1G0rcnkyNoOWFdY4Lj
c269ZTtWpr4Vo3lPC7fXT0q2b4KeJ/1Q6OCPxGUaNd9IPtRI53Eb3dcv1+WsL8cB+BMegCDyEbYN
J1OoU1RhOXH80qMSqwI7ukPj2XUx/4vivcoRtk3Nhgo3lqHqqyt3dU9Bz57ex+V9TDtwcAPcqi8n
TN2xo8aoH7fIH9GjQt7nC63XnyFsK0oJpVnMBVQbKXif7gq0loIMWnmeL0C6DbexxE3N+3fh3V8F
WoIhiXPbSEkJ52souVc7G914LHQTjUheYUk0c1UUiH3AE4PxZ/3CZtk26yIFjQI67JVj3+XtXVG3
nqqeglyyqlWtWYgSouge7FJh0MLFa7VxYwbqI9X1ecZVojUyMULU3AzgVxkmtKaBY/XLBMowL230
R3XQZJV8mSAhZBljIEEMNuYD8MzbdCpQuoPulOWapGNktuYXyrDYNsHao1pKMNeNVFzJ9022G439
9Vu2ajQW35+XuTC2TtHEoxqiZlrVqJmqnddWhdvEO+pIrLpsv+YfshA0ZuGEvtkou7NQgGnB8k6d
jcVl1bL17QK4Kar0yCmKmb481fIc45dzVjEibs/iv1AQ4tvre7bWkzgXFuaJSMApATX3fC1TCK5P
u0vjnygAb+tMP05jsI+V/mAk3cZM2vuwUPZZTrYKmz7P7/oglY14rS/09SfMN3uxnRFNkW5s8GSL
J/ITzAc/nUj2jJKJEOzvFJZZoI7oCNAz365va0MSY8q+LxhWnurhpDYoP6UAe00q1LhLSkaJPZh/
5MX9wUynPXM7zrnm831SmjxqiTHQH4aCDRpSNjxFtAmYp9Z24KYab2N3mDAl2U0k/nBdT1ZVfiFb
uFtGoE6UUzwRS41s+3qrpRVGRn5eF7K6iwshgi4GRcDAhwD3xAp1ow3j96RuP18XITC+/POwWcgQ
lC3lThw4LTxSs6U75zMD3QvzGze+nU6t/48TlEXtsnUJ2hdSpYlaiptcZ7s+2Gdsf31R698H3jUo
bKAaF1RAGRkHk8Ef6ax4LEvbp6rhXxexnjkCE8S/MgQfUSosyFIaZ3cOiacbK5m+YzLO2QSdMRwt
NCr4hJg70lvJFiNbrdumU+mqWq16GR7Drm1U5c7WW3urY/DVzdRGlvZedf+L3zfv0cKIpC3whNBX
BGfpdA9Nwb5PUXYoC/aj0kGRhNBesh/zei8v4+t+CBfCVhSOgXs8wM07/mLdFFtMQN9qu+lm2OQ+
27wrq7BYnnA10GlrpqOC5cFZ+Nh0P4xl8JcyLRJuRkxiFJfmScSqPozksW6erm/Z/BOv7ZhwCxi4
2ju1QAp3GO7r/AgmPF/XAedZSd7I65oAXkRMpRNgswsnA67MulDHKb+j0Q1JtywHiKN+O2n7Un0b
6ti/xuRVlHAqQR9qGKsP87taeeTs2dbeE2jA0gN0BEKAoHau1GMdGCxQcSSF/qPR3ClmYOLeXj+W
9bfJQojgu+KwKQ09RKEAqIPgYz1kM8STZzG33+q/HwUyZ7l6QI6FTntM88+42OerakY1jcx4Li4G
rT8UNzT51pu12z8UtuRNsB7dLEQJOt1moRWZBEnhyjdv1E3iA04cE1pedo8Mu+kqkr1cvUILccJ5
9WDUm4BvMpcubyLtRnnHmA8w5153TjgqJUrBB9XPCbMEI+J243LrPVmsVwm/U8ULM+oUPB2AcoY5
iHA/6vet4sXty3WFm3+kaAcAZIeebtVEKCNO7062OmP0oQ+ehWAth/qdaF9t1M7ZtlM1uEGd7zVa
3LR5+3xd8NrpLASLE72A39YaOmD4Pel2fX8MZTDi8+leWZgIedR3geOAlgw1HFKX/jS1txqt75zw
awM45rQtSg8M4DI/tFaNWC5KeCQOcHkBhj3QKAqYGa85pGCSAzoh81GF2zu+7EbNxvPaGme3uNCP
EYzf9lAj/2MzsusiJBCU0OtzWblPJkbw5oDTwwSghfzPaHwIOMa7QczTJ5lk82ZDc20xgqdIgYml
6/MDOxx130pt1xjJNiu1XQZk3uu6txp3Ls9JMHoDmcKoNfEC4cyzn6atvQUHtqcWbnhQvurbyo19
OYqebIGC+WPlEKW6CuVA53pkpO5Y7ZsOXTDvaOgCTeN/V1oE5cVbuMszCjnU+EiD7xX1affj+gbK
Lq9g+qKOxhEI3RDjpnxPhtKvFOXjO0RoIBREBRTj3aogQmMVs+IZBnBiU+ZyE9kjc4je3sHloB/p
XyEXBjbm1EiR4L4zkXnOzPqgAcROG2WUxms9SQ4GJ0EUBsowDRyX5xe1RB8kwwow17qdYWDCm2yf
H3RXdRX/HViNZ6IEr6faQYA2ISW5s0u8b4bUrfLBZ0Hij/1RL5rN9VNaix6WCxNOKZpIh3lA+Fie
39Np18ffwyJzrfzB4EQialXnXvdQ7LYLCloVVYXaZI8hUTimlrvlJImKZTKEXGJLAClnBmF2Z0z3
pH2eht317Vq1pIs1CP6haJx0hBvO7uqq8qP2xajBvfeO4sPiSMRMVWJovFCUBMmBEYhanenlueFh
dlKyFIEQ+u9wG4U8ZMMoYJgBSnCu01XRhX3EMeDmlo52ouFHkpono7c2Y1kg56t+xxtw2zfJUTXC
AlMT5XMQp9Mhp40HoIsjxUhSGjvHUStPev5G3u25ERutwcCIAa4jEL7EOjMe5gnJYk0/0fxFae4z
RdJ3cH6QwArD9ynoWwE0CzqECzoMtHTUUQI87JPRtvuyn0mt2nureiP32IWYWV8XDj6KwLmdKFbw
mNd/1f1DTpAdKX7FxttGk38vxwGSJx42wNtE85Bwje0B/YsVcgYnq0Be2/KjfvC46l9X/vkjrw7+
QogY8dl66gS1Q4OTZvwg1say3KEOXXQy6gDb6e2b4I2e8FKicJ2HsOiNLAyCEwCTMVWFsjmN3hSi
X4oQbrQelnxkLVf+H0UIUZ5NAA/dpP+JMFMvkpVrzoPly1UIelY4fVkG45B+Uc3EDP24IU2CYSBe
gQQ5bZi1jZTEuhurOHtCVSeQIaWdR0b/ircMPP5AWwias3M1z1q9abJKN096Gfh1/TWe2MOEnner
aiRVj3N/dSlJ8I6llWH2JAisEw80jPU5FVrIMHG1MdsM2JeUp54VxW8kJJ1vMW7Xf8sT0SgtEjet
3hnBCS0CRR67ivahqWT4fysW6UyIoCVRCvBTFeXEU2oOXuQkdxp4LLOJSTykZANFFMo05mwyujo4
wTL9AN+iVWgvzOgfdaQorHR4W8rg4rxMwcmUdl2mlBn0VG+aWx0pg2avPrV4TgGBxEs/XTdQQoLi
UprwLDB4MORdAdTJWdrcTPb/Kk3Qejvu1bYLmHIatvxk+NE29iIbtOOTZ2zGval6f7g6Qfe7DD3I
oWkGp247ry7Zxrt5L3+n2X3743Vp6xblVecFj9LSNs5jECSfmFa2yD0jv9jzpH1uWGC6ZQfoYaVr
iDvS6fsfCRYHsoICCJlh2AQnfXSz7Dl1buMo8/POy8tP1JBY/9kuXrq0/1ZJBAdDGO87NdODUzUe
jf6rZkg0UnKpL5hc82ECox2OzK73VX3PMr81JUuQKf1Fi9zI1bAZ/7liUAt/VosaalHtQqlaSCw9
ERxNUBkVMHGwoChQMb9tNPsuqp6mHhl7Kf+J7HAE22GNOdMrAhWMS4Xv80lnld+NkRS0eU2OjYY5
FIbRZQg+63PvpVNW99FIzVPWqf0mNnm5DYJGUvJb2zgMTRJQE6OshKTjuRCgiMY0HxlIZw1jZ7If
bH7c95qbmm8bdr4wgkQwgs3Is2wK4K1ssrGdR0022irTaWG7aGhpOXBFgpNT71U024ApkQWyHIhU
qwVj19Aux+P3t7Gbjeu0B8ArAaY7KBL8cZ+9DVXqctMEc5cNzpSrRqqcOMY8/u7QpNI8nGxRYgMP
Og/Ay8bImjdEcvHjdUMqOSdx8kcLgaruNNCDKX/QQDSOzAjvZcROa2q9CI0sIXxmcLfoRoeQNIx9
u+xcJcesVl35/aht/2w9QoDUZG0K2t4W7o/uC/YQJXurftPT+0ILRDqksAExWmgodDbXpn7Pudxc
y05FMGoaaThRWaz8qQhwBM22Br1SYohXKEFqDB207O9X0//lvfF7uPzCcS5kiMtw0hxRuI2Xme//
HdgpG1d9ajbTZnY7sshuddcW4gSblhRRpJAJTyhgYLoFLqZWvHSdLPW2+sBdSBEs29TlrULNSDk5
LPtgk+IxpNM+CAEVmVifCm6nbtoYLtgaN9c1ezXWWsgVbF3akRj8SPDgUWPe0djc24ru0/IjYeyk
oNqR5I3kLq25vJlG6l8VEcydTeK8tgbs56D66FCj8buCklcBYhRHaTCxAmnm35E4SoW/Y9VZO2bG
lHdZuoUwwbciizRF/Wj9tnSR8jmt/cqQ5ItW7dxChGDnhsa2ulxpcEStdms2lVfE9FNb966mykgd
1r3EQpZg6Ey8BMGAVf37iuEYiXmN82U9pZKbJQZ0Xa+OCHZgLAgpdgDfOJTkpzFG/nUNl0mZ/77I
gxUk1ac21eiJpyz5mVSmsydjEnAAb9aB5AEh3T/BWJQ5GdrYgDqAU+n+33dSs8GIyvbPdU+wGUPK
eyVkOKwuPvEw9Xprl/Vvg+P9xy+hhoLiA1hTLLGWwln0OzxBem/yqL3ruv07juf1+793dHE8pW4o
Ha3N/EmFHfIQBTdebrfWk47Wj0/XRa1epIUoQbnVLoyTEcnZUzB90RBAKo3Ho2c6vg2C7p8ts2xK
MSEKUgWxFz1OBtLp9WieuuIhR7Im5TsMfrnXF7Oq1sh3AVITET0qdudqDQIKhVe5YZ60ptzmDgb8
U9MbKtnLf3XPFmIEHYsMrVVYwRBkkSPF6BDi05LevC8VCrZr1AMoqmqGYEYdbgU0B3nDHDdYDeiN
vLaX5YPmb4hxw9ymouElRE1DF+xoZGJ4q9Wq4nk0et8xTrqVYwa0dWnr10mzJUjl1VrmFcU2Sr+9
/bAADa+bNjLlOpZ4fli2E0OltdY8JV0PzB+6S8DJZyf54Y/EiGUuAqomTMXE7MnsbmMHKaH2q82T
NyseOEJQBDHQ8gGaRrFGVCnwR9E0WieFg5Qa6q0mzyF/8wNiFjJLwbvYuIAOaJyJEEB/mSfQMfm2
qmHewALAoqwZ7/ISnYsRVIJEmkJoGVsn0kabIjMPg/W5Du3dW4/lXIpgd0zGuErHwjrF9ugH4XRI
e91No9K7LuYysDoXM/99YUmnCOn33IGYod4zep/JkL5lmyVYnL4GOCwjuXXqwshPwnqbOaATVFqJ
Q7i0OLgiiDgdHVjSGpZ0vgyzKIAkYOLok650FZDRR1Gz0cFpFWuJxCHMxuvcIpyLEo7fUDIeovWP
nCyG0n39IR2TW6cy/aiOXctoT28/H3CCYJIU4+EA/RDUoItpm3UV6ood6Nw9Laq564SDrJ91bfsM
lBdB1WGqM/n1+fZ1LTIwtOMACG7q1Kto4nMFcUE5uUVW/3V9RSsagRkdEK2YwFnVUNY9lwUy7ypv
gaQyp2M4v0eutJENYwrtNrMzhY9byBDOSDcDp1GY0n+arEJ3ldKqXND1PlKab+10yF2lsrajSb8R
qu2LtG7cLAXcp6oMTxooVmNDjV1nNGRtTSt3DVxCFDBBgEAzHdEI6lWQlfnooOoEvBvMPPoql7Ug
/vZ5gnaeyRDuW9kyE1Oik/GpBg+34/wV54lnKLo70cRNeO3VAEsIFMttE9U1QNuOJiGwKN9NpX0o
jWKfBrlvTdFeD+/b3gJPOAJSHtxaebmdwsrLABnmhE+DYXhxTjdlXt4ocPBc5z4ZbO5e1xRzRS3B
qIAuLDheVNdFNqtcMZR+MCryKQRUQVqDyY302ybjO2J9VScV7bBt5mqF5QbDvmtDV7ceYzv1CODq
Ud5za55vNWtL6ZeqTb5h4w9t+K2yqw+dre56GG9OO5+PwWM5KBtmsg+V4dvxnU4AhKCAVFV/GpTS
beEMWZ57Y/SlBN6Orn9XkvYw2f3JYC+JFj4U+nCME/ugOeX2+gZcXJWZN3mGO1V1B5G0KUQA/TRh
QL6v4NAIRzqsPmp17uVtJ4kALrZ5FgM0AxQqbB0FeeH2B7WN/AFHVIg/f5yqYD+iY3qw+w/FMP58
44rs36QtloE7ioaGi+bfIOLIvlGARjvf0MHt2vqHbvx8XcbFNRNkCMupNFRxbQ04bT0Q1zcR7vi2
H9S3Aazg5wtShBxITNCUXzXoYy2z+yD3Gnofy3CYLo7/XIT4ysEiyqYCusqdPnzt9W1EPtdvDv5s
Awi+4OsBIAjI5n/PfSzcf9iGGPRnenvsrB+kalwt3kzt5vp5XKjXLANUPRbYoLBrIkEyxexrbecj
Zk1blbvtpFW7jFUPZaebv7SE8+/XxQm9b/PJGBT4BaCe0jA2h/m5cwfT5CTqQBqQHxWtKgnzkK1K
08wt9EYH+W3Ux41nJ1T5qOXWcCh6dLFmY82VJ5qiy/EGbZqqJJCfVeHMJv+m/AMNOpAO5kljcQzW
rvKIkqQ+Ji2514JwM5RkZ3TTJhuKk2nykw0neH0T1kTqGOrDY3IuEf22rItz7eJCSUJNzY56lHdP
dQOzzm1jT2Pt+9Bq8RFgSpHb0UEGHTBbJHGpS7nC3XPGemROYw1HnjQ+SR6qWAOkbL+tR8wU9Pcd
515hMomZvLzwaLhaLFa4irUDPkyW8OJYko918E2LJLk02fcFM1wEBZxLMWbHqUOu4QZJ5OuHpa3u
GuqqGPaczbBYAVNZktrqWJXH2AQPigs2cRCvt04fHkyeZrfMitQHfSBK7kZaAfJos9dRWiIjeZrB
0g6Zhn8UaGrxaYyVqQZNYgFMbjpmO8tEoiyfRm54oDiQcRVd2ifsOxRMI8jLIjM7X/yFklHQsYAx
0y6PbXaf5szVwQ7aymg7Z40RNcoAhAL6/ubpNns+nIWQJDRjNQu04lhF9YOZBVuts/fEjn+xvN6o
k4z4fG1NCM0o0PUwdgO7dS5uwmgFzRuin+w02CXfm1TxGjbIApuVNQEtS8dDGCh3ML/nQlhnhNGU
au0RUAq/zKD+FThfrqvUis0FbDd6slFPsfDwFlQ260PwB6t2frTV0A2sz1O3jZp4QwPJiNJl7hK2
bSFItG1joAU8bM3qiJ5LEDQSv6QvVn3oJ8NrBl+xbs1s8K3c18rYTaK/rq9y7bDw4gNth22YCI+E
w+Ka0YEn2cmOsGTxDQ/S25ix9sEyw1/XBV2aUxMUMQYwFy1KkT0TLExY6EZtTrAAqtG5I8O4QJwe
rMj5PJTNS5mrG+4oMuTXla2FUOigSmDFUYQX/Fg+9I1dcZ4f6/o2O5ggFY49gEx3xFW3xkb9RCV+
+nI3AWeFtwnez3NzgUhwRhWrIkWA3bSd6Og4MeyQeRuBge76Xl6qJsRY6OC1wINr4g6cK79jAgcg
aoLySI38Q6CV7sg7H52sh7pU3rEiDEzrNlDcMGxmCd6o5LSvecjbozIxz6zB6Kn6yrC/vp5L72Cq
SyGCbkzgJdFC2jbHIPtRgx/cYZIWwrUNWwoQ7nJKggG5rgYCkh213KrY9Y99+Z6tstDZCd5gzJhd
MAIMpjKCaNc8mWWxnfLmfgT8azqFL9c3a03HMM8IsEWkVPECEG5sHYYmZYXZHGnzDGDP1PnJZNwG
K/EfDmQhY/4NC4/BeGNWQWtjv77iebcvdwYQREdXQ6E38GR4cJfuCdyZgBJG8glAgYbIYKbHhQ1w
KdrgwjyEmula3wgaLllbu3X05qqKDVmI50C5q1rogRfUmYfEZlUwjMeag85JyXriqY315lStIEXQ
Z2DAF/EwWlhR+oUpsHjcNd6eoBGECDodkbyZ7I5Ux2kwxsKzLDXGux3M1sNdZWfgoijCMb0xwRK4
afKSHUENF7UeT2he+P1klc951lkHBwCX24LS9GNCp/Ln21V1sdsiIn6B9B4nBu71ZKAK6PJuH8kQ
xVduNhQHiPqYHUDcZwgWvkpBYkuQW/iaTU/B/5B2Zc1t48z2F7GKIMHtlYskL3JiOXaWF9YkznAD
V3D/9fcw82VMQbxCxVOVF0dVajXQaDR6OWdOfRp+KKKfFE3q11XZkmOADdyy0fqC5kHh1NGhnB3S
pS2IJKcHQFre403mT2p7Y9SFxBsu1nEergFvm6D4b/1qHLOWn7I6fHmmhzMtEdqYjfOdWd8aVb2v
OqAaIZCaB+dmigeJclv3JHK/dEF/RAwK/ONzkWk3TbHaQjswOzlfosmOAxXI0qoNIsa6HvcZndT+
ew+GPL4fq7Q6OXnWZ7Wns0olH/NaS9mJq7lCZL1Gm2uxEFdZC1YzAtjzH0b0Fvkq2gMhi5+M/qFr
VTcsP5XdbT68zlwS8QkwjsuzFyu/kibkVfseHHqlPox3C3KW69RNQGjitzVaGYou0OjoE4ISVpcE
g1P51w1swwueyRYMORprFsVdxO+m6UAyryxO0fSx5a7V/hmu+28tKXLVS2sigvTzNU2NTstjFfal
0V1kPIXVozF/ua7M/7OSbzKWfV3ZMLHzttQxaH03TukuzOogL5tjWbOgmuoAeU7PwlktDP5pUEtJ
OWbjfsRL1kAFAyeImuLx6bQhs0ZV7e5yzAemiW86DjgaDtcV3LLLtRBhDYexUqNhtJEgyfhebT84
OdLjhAc0vs2NFv8r6VLbcD9QCkj89jK4pOqCs+9LrhtKP3V3sxMdWjvqA61KvoSo1IC58u/rum16
g5Uw0W2HJY3Tic7dXap74Z4GsW/fpN9N4oIJLVAPoYwpatNakNR3FkRdQCmJ6SZzgDvhmIEAdFK2
n7MS5c0HDbnyEgD9rE6AqpT6znzLh2J3XdVLWwH3NWrDNgZWl8excOjaKmu1JF9GztTJj/LXrrd2
ffbHk1pAdsYLz8LjZyFCF71rT7tw1plFTzNAKBga6IuvLJVl+i8tBHlBA1DLy5OYADn1/MQNLV7D
g07NU1t+qjHVGbYeMx+kBeItMcsI3fKYQ4bwgkswn4DKWpnmCSGO2+r3eBzvUiQueCqbLb/cGwvX
OYrd6OXC+1QscvEimUm2SFIBjA7/69LoL53Irr5NKeDS0Q3LBnyXSEOllhi7JeVonkyyd5w7je0S
2QP/8nUDRVYihNAhGTp0zDIU7vsw0fwmjz85XSMjI5cJWfRcOdymN9SEcehROVN7qLWu3dUkHSW8
YJurBc4J3MYgBcEj9FwK09CTQsbaPA124We1uksixXVmGeXEZauphSVbyRHO5ZTDrxcWSt708Z/3
R7ZvUo9/pU/OvvSHQ6u4mSUJgrZ1A4o9aC7wehefBljAooo4ZM7mgaKiBzx5PBT+oxDhXkziVst1
tUATx9wEjQacGLX1mlH9j2KE62LUQauVLC0D9YiaLBh1gBfj6nyQxCySJbu4KLRsThMGc2ii3nZj
RnI/AVwrasNOLrnVt+wbcbeNKx3uGlH4ueW14DeJ5yEy0T10p7SvpSYpMGypsv7+xe+tzo+RkAI2
je/nqPaGkXMY0SugJY4kEXEZ5Vno8nxTQ4gbEl4n1lii8UWZ6PMwJH4eFQQzTxNYcscdzZLTn15w
kAdjRuUEeSKUJs/VavDMABAsMU5D+jmbwM7RuL009765N8j3OhZBmRVlsHMhptWkTjSrxgkcQcaT
vdeC8mg8tKqnfgACIlowHd94/XO9gNOGioW5kCyJfQBFkc5momv0BE+6R572oHJnF+oybqJfl8z5
Wwypr5WcRfWVWSQDoAVAvWegJ1tlu76N031s6kUwjnPt5yC2RAE/SX1twNtgUkqUiDCY5U0MnW6F
lgET2UDaBO3lo5uMXehhqYog0Rjf104SBhUxv4f2oLqY4JXhUm4Y9BLcI6cC1gDdEeErIidpQysx
6MkC7lWnVYeopzvKZJNBG/HAmRjBoeFBWDVokqSnRANpQBsQTKFXIzhmJFnyy4Abr2FQ2oDECxlW
lErONwJTYSpXYwzvh7RyewBA22PrYXZnDlEwQaunlH1tc/1WAoWdt1stK8seivHyI1G+GHznDPs/
NuIznYRzg7ETkKZoGEKj5LYud6pzdBLJsm1uz0oLwa2RSlcsqqBTqNVTl86HMSPepN2z/vG/qSL4
tagfjRScNvSkRM99e2uGOmZFg+syNnTBWUQvB3p/4GTECDfmVV8VoK89GYChwLvSNYvnTntJ0Qn0
54LwGtHBMw8it4s+Yg2p7iKliKXqnATWlN2GuvNzUIbbtODP10VtvLWWfhEK10mRVbogO+iaqWF9
0pqnaKCDRxF7REk2/lXbdvNA67q8w/SlgTG4LN9PcfqjL1i3p3me3GS0kqQ/FosWfR0qCigr4IDh
hAl7CIiAoalsyzhhEDjIWfmhqmWnWIDKW3IPOMZ4nKM4SFCUEbvaSZwQM+owEll8af3mptvn+zFy
k/sJTI/5Lgxmybt5a33XAkW0oFAtarVJIDC+x5OrgsTxMD+0jQsGQK/Yx5IjvZE5P1Pw1+erC0MZ
eE3UMjFO7W55Oo+H9ra+SYFNNbi2JCTaOA94UKLIhO4EpAXEOXv0tSQ6KdBFaQHbHc30xnBvE7Tq
yZqoN+ziTI7gQ2IA4mZmAzelWDeZ9RIZksGhJQYR7O7s+wW7i+K6rwwVehCWekYe38S0P5E47n3M
QDyOWnxgPPqO98j362dvc/1+vTOQc0CfkBAbjXVVREWFhtfIeZii1I3Kyh2/xZHsYbH8/gv93uSI
c1GK2uhzr0BOgakrO+gK/ZDzIlDH1o872dNp89paCRNeaGhCH5KoxWaR8aEChl79PbMkMayAZPu/
Q7ySoZ3fxSUjVk0jbBic/AGkqAC8VE5ALPP1U3jofDSNH4zBlQHnSbZLjABq3YrmKEF5TU25a2ho
v4y80fYcWR/01uMTIc3y/vxlF+J4VDpizssE5MFJf6L7RbnQN07AmZsfpp25yz6ouatKwnSZbkIk
QOq4UNMQGaKm/wzE396oXKv26m533eJlxrH8jJVzqhMVjcMzjCMe7xz+N1W8sJAYh8zYhcOsqB3K
Cz1E2Nilft6hF8xrgYvhkDvtDzm/fhviW4wrLJtRkBCZSnRdoj0DdXIvdPZUOsG9vWhvQoRFw2kq
eJYitFFRbbuNp1Rxu85pjxH8ryTwOF+8S3guQRReOqGec6UGh3jmPGR0+Kop4U1eoOhhNH4R2hLP
K9yOlwKF3bKzOTOzCvC46X11M97UHrCqbi0wO+W+4oeS++p8IX8LQwCA/g8L00BCCK/34P3KCnDi
9BrGMIZDn3wOZUxc53fVpYzl85WFJ21jNFUCDgtaBC25pXT/Jyfo8vsFi4tqbY77ARDMVtc/511+
T8rWdK1Md6/LWXb67c64lCNYgk4rojRjB9oP629HQblkmYEeqNtxTSLp/GH1P0k6APEptgTJafHC
SA0OPHcQ7KgqOjuWAeRoF1knu7HcorVctDFc12zTClbyhMuDcmfEHMECt2rdZsmDQfY98lPXZWzb
9UqIYGoDmLmWvlWgnz4uYWaxy/fl4JFv1n6B6UGuXyJvWaSL7VrJE8wuB0IPmwsgQIdUv2FD/SMM
VS/Mwv3gREheO4anlIoajEX/WSehp+YycE8h7rzcRsEwK7tt9S7BsmI0CLyE3JsP1WFR911M4Xgk
vFmMaJtaWCR9A4tJuO7WjZc0hsv03fUl3TYTpORBiol2DbGhHvnLplRV8KMiWevlVb5TrMpNwyK4
Lka47H+v25scIX8BivhozhYUevOYnLTn2gOk7NPsTb7mZrtyl/iyqH3Tx+Np+VsxIepMLdUsCg2Q
mLEefqbVELSGeei1+LFLuttanajkLGx6xDd5YneharV2OZcLaLySdq4Wt3/NbJas4uZm4SWCchDa
qFCoP/e6oTUOTEvgrZRICRrWuShMemUsO2abqqzECKcsBP84Iyq4pvg8enOsofLwnitqJWFRdHV9
lLTryoyBG5pHozuxUwo8CFlibtMAVjKE41OwITaHXAW9IQe5GKDr/LqP/3IYWmStCnBHBDYhMfJt
kWidB1Ggis5BwccbYdOi0d8ALYjjNl8wA7Sb3dgPP2mf6qN2g9kft9xN99pB1g4pPPf/d7rA6o66
JN6n1BIMg4BYz9EakG8Ot10w3uOdEIAtq9sRzwRdXBiMf5TC+C3PQauzhiDDFqedGFOmsBzgmvLm
41xmtzBWyTTzlqkvczcoGS/s2uIrJNT1rCA2ZlZY1rzWvN47mfpEqKwsuXUrr8UIpk6GXBvqERzU
lvXBBmXpWB8xqA0g0RfkErTn6/axqROlyKg56C8wxZH2Ik6jwrIpMP7JCypf+vy1jw/XRSxGLV6Q
qLNjFMsG/v5FdTquCr11Yhxdm7WHOI39xiw/prMC/P3w+3VRm9qsRAkBRtM6lVqacLBqCbxeXbsF
JOYTKzG89w45FjifUNqHUhf4qzPrQSBUYHoppuktD8nXJp/anW70khzu1ulFPfS3IBGDtUeSOKeJ
nh9JdUwrH2mepnzJfvDu9T8pJKLvNzzslEEDF0cBTItWS13WJihJvcu0V+oI+9NpUT7UPYf/6+2n
TDOzQ5hXpcviodlhiu4xLtM5UJmMDGwzJlwvo+CL4lRtUOgBdaVyGHfGbqGxDXf6XvURwUg5bDeN
EDVyXIggXMLM1vlFgmaTZihqvcCGFX+rzN5Nefst1mREIDIxQvQSlprRJA4I23rEYB0lmFNIgbB9
um4Ym85opYwQsvAQNcsuRHRrNyiBdbt0Qt3a/J7bLlOKXYxe/uvytg3+38UTy8rVPCqYGAU7XItE
fwEa2FgB8nqk3KfG4JW2JGMhdB/9c2mAlw9Tm+gIBmz9ssirSx9kdANVFzpqvVSQcqwOY5/NIEso
H+fZfsJ1uqvU9hQlxUPs/FmTy6VsIRjQ8K3j4IDUoKTkLul14LF2AdBtJS5k006A74FOGgPDmmKq
mKOmNhox7sUWrciTXrsWZy74FCQucbmVLrz8SoygTVZxAOYvb8nWngdvmNrC09rsHTEa6Pb+1UU4
WmBVBK280eMBGSFz+5LOB9JL8iKy5RKOlWOGvW0mENEZmHs4gZvOzSNJqCKTIRwqM7WmsU/BA9Ip
vZdwivQ9mMnZ4/WjtBmBrVZLTD636AGvSYV3Yev3PsW7sHx2PO47e81X3eFAbq7Lk2glgqsOvR2y
0sTKzW3Vet1ITk2STTsmj5A2X7xrzYR7ZCysNKQ5vFLVhMqjDrQFv9O1wS1nRXGNKlM8zR4m1+zm
V9XsdLC+t44fRYUsDpAYvRgR5mWXkmmGqycotDM7vdc7GS/ntotygPpiIeg0gcxw7qJAXNjCQ4GL
IuTVX6DIeVYZWE+00QMuyEPMu10MT4V6NWI3Q3KmNyO3lehF/ZV31EKLx1GByK0PM7/5WvE80GK/
lKHHbRvOm4bL5ysxdFSHkpdIDjJ+YPpNWgSTrK9+S4QNGIAF2xuzbrbgnbpczdvKiufIVemXsEK9
/ZY677D/tQzBOSkmGYAQBw9YNz/AF+Ml9KB3kjMt00PwTvkQceB543pUE5q5tJ0gZQDchP2OTN1a
F9FDDUk+ZculodsfzNodyD2XBWVbN/1KhAicVNrdVPQcZ4eGVXdXoa59r6ZZgvwLV4vEjeZ+APzj
LKM6lKygI7yHe1IXeu8gX8GbLECw8YECyiOyyP7PneFaO8FDRbkaxazGRtXg1XWV6FuV1o6b8kZi
dJtJrLUgwT0ASrK2yhxZb8BU0lvAkvuhr7yYX4s75VnZN4/8c3m4rtqW01tLFLxCaw91xuYEzld7
GbqvdSMJymQ7tHy+cgeanpvGHKMwQVlF3GqOP3cKCFOROnm9rshWbLtWRHAKpEwsUrIIrEhD50bV
s8KDXKsxZ/slaYPRcfzr4mTrJviHiYRjjYF0BOxIAIZPI5X0O2x/P3rigNUEzDWxpo2htrLkSNAe
y4gdSjt+1u1MEktun9l/RYgRRR9yJRsw9XTkNPQKeo+nsZ+gZ7/UXcb+DG3vn/gYECe/9RHjiXpA
DoQtBGMxsLXqz0iYDea73OmbCOGU0mRyOlJgSyzr0Og3DchfZR3gW3foWgvhfKppT60pUcDuFbdf
+6bc6+zjABTE0fly3bxkghbzWB0bU0kGPNXwHqTpoW8CI/6KapjLh9frYmQmIJzOok7NrC9gAo6W
+42juGY9uLlyaygHJmMF2vYEb9sjHNAUMHGT0aKUMyMp0b8oxi7PJKsmEyEcSsWc4rYbwMyr8vsx
e5zDz47szt7cGLTh4u2FQ3k5NqFmkZ5QrTg27ZdRpZ49PtEpcjMZy/Tm+V/JEVYrH5LUaRSAA/XF
9AWE5Klb5rN/ffe3dQHny9JWauumYM0O/KXVj1MTI9QufAbm7CHyDMLuehmg52aMD3TKf0UJ9pxH
qUNypkIUt3IwJdK93t6l5iOeNO6Yv0bR8zDtQGx3iLP9dSU3bWIlWTBxLWGY8y+R3ePkERBebsVu
J9lmbd/bKyHCbmm9HeksRnq89S139okLiudT+KkKOr94YEGxn2SwoptqLQM1wMTSTPw7dxB1Q3QG
HmQs6NTl7gAiaV11S1mJY/NSXUkRDlTbKGWG7AIIcTU7SM1jOR+N2ef5SYu5p+hfr2/V5uvIXkZs
MCEKDCYR5RNVm7lUygFRpJ2Ah7KYQCE/YBDLC6sqCkzK2ufCJmFASBUfyNg2T3opm3jcXth/f4MY
yfYdjSuTIWCx0Piym5IR/OuZNgWG2f4ZzsD/7kQNTGkLlxk0Fi6suUw0a55VMG8V+S6K0fg3gp1F
4uK3j95KinDKmwJoyrQD8W+LOZh9tQMg9SvQgVETjXZU8tLY9CgrWcIxjysdwFfDjOftyFGzKVx7
ah6VBoMYvYzXSSZKONfqSGxWLGyvA7lVlZeuouje+NyhZf26UW7Kwby4CYY2wE6KNZV4GE2zwqTA
cdR/JobhxsaXYfp7iiVkmL++R0y5LYATaGDE2DYG8s4PNFgjm06dNRxoK1FREFU8nSgAGSxdFSjy
EcZSaR/U9rhPhiebfaJOhszmp0j7WdIXx6ldzDbr8aEynxP9gKSJS4rDOHl95JFYEppuBg2rXyo8
J2NF403SjqBSNdpdoTCXZ+gyBtdl5OzbVBKkbh5HapkUPS2o4Ys1Eyt12pnHHE8vFsHN7ZPqiJme
61sskyG8IpkKnisH5nQsAXxpKhiCGsGi+R+FCIc9rOiIaxi+LdUSbLHLOTzonw1x/M+jrFZLOOtl
yJOOYILzOBbDTTFjSNW6qczeLToZsohszYSTXjgaaC5ruEkQ0QJEk/hjiXqwqQfXt2bT1lYKLT9j
FQcbNqbQ7KUu4hS2R3Of2MccKJYMfxgyMJ7lJ1+cQFBxW8CfQFlLnCAdbac0eZ0h5gZ99U0cpcqB
5nbkXddo05+spAgLl+ZAri7mpDx2Xa34xkQ+VhH7WFrhU4Ub4Lqs7QsVYBDAAyfgGBfHPHkfdmOK
GvRx0PMPVdwXQYamOg/wF5nHbI3uWRV9saMiCzjPZ28YGlnXyqadrH6BYPazpYTazHEjAFPTjclD
ni71fImP3o6/VlIEu2eRmgGLAI9/pGeW0YDkUfHQg46Hf7DQSVcLmdbr9bXdVAxtdhpZwMvQdXFu
mdrco0xOEFdWvAbSTUJTl7zLIlcyFltaWT8d89lsEzg/UxsLvx7tKWCV8q5QciVFCPIA2NT21oTE
8GBUnt19n9o4MGXQdZtmvxIiXG+a3fwCpYYlNqfR2Y/67NLQ1UOJl12+5uIMr8QId1OnGUxVsjA/
ViD4btpAdf5O0b+cYA5G+ZFnkktbYgMXLVmzMiVcYUhqsB6zbA2IkW9H4/N1Q9t0S28qiePzkeow
igQQ3s3MVkFSmP4wE3q6LmNbEQQ31gLtBgS5c0PD29wJaxPLZpJPeXHS5o/9e/ptwE3wrwjB74G6
PtGUJaFO1WONHg7ULmfZ43xzqXDsNLRx0EuqjQwki1ZMEOqi9qAAyPk9DNLLyDIAqzXUmUWyuXHU
MwB64swnPdgHYt/gf5WqJITe1uFNhnBQitmoYkxcwYLz4XvF8k+aHEt665Cs1BAOyZD2Vm/nSJPM
zU1kf6ilVa7FqV+cwjcBIk6GkmlW3YKx48gDsjO9dKfqYH8bfA2eGEDnkgOyabwraUL4VlKjb63J
gWsZKj8n7JY5d6opw2WQSREusqrRoyHMYFuAIGncMUm/EwwVFoCzeMdRXGkjHEVVi2Nam7gwex5P
nhH17hh3n+Jhfv1vcoTzGLd2jnEwuJXUyj+OZg8qF6c2XJ0ZWnBd0qbrX2m0rOzqFmtrqtZ5j/0J
QTDcvDqjeZ+kH+q8lURWsh0SbktQBqRjGZqI3wAOXX9ryTGp99dV2azCrzyAOIxNwilqUQjHA/c5
PC796PFO+6g+sZd/GDtlBE8SZ2ALziDXM2ImBMaATruviVp8mkYZeeLmjQkc5gVeE4lAsaOkRm4M
vVSIMZo8+gE60gc7H28xD3830OhDE38qDdu/voib+7SSKOwT1TvUm8ISXUhj4dKfGlBZLRmq7BKz
XHiglYzl85XN1XNo9Jh0zI9R92zwL2P701jGmFiQyYhWNrdoJUnYIrsbMQ2T4k4Yl64BQKIWsuhW
povgrknTx/bEJjSYhNG30DL8GA3Z00iPcdX6ui4DCt228TeNxLpQjYRVVnME0zwAam3iZkG80x/M
p/Yl8tp9+nOSBB8SCxRLQ9y2ZlYrKKqUUxl0dr8fqHVHgI+X17MfNfXO4ExigpsuaaWi4Mwpb/WW
mngna/NNbO/A9WA/6817osOVEMGTt5SHecMQ8SS4EB/bxKw+TKnau5rDZFNGmz2R9krWYqUrex8z
ta/ihOFK/8Bjr7qpduWe+rT2+6D04yCUuHSpPMGnN5pdo5RTINK6t/f/MLx2u/Im8jI/8mVXotQi
BY+BQYvRBuIFGhieJi86LIOcVjA/jh7dpYHivytVA4g23cSQvIEB0vPFNLlN7dxuyOsUZu1OC+PI
62aQDphTLXvhbWdnV7KEjaNFUrRqmsMSK0C0FbtlqD1LMNQOBJ6dKdm2bbN/U0zYta5NgD+nYR0j
sNogq6iqbZCQj2b/nv5Be6WVsGGdQRnmvm2kbcbiRjErv+tk7UzbfvdNF8HDh7oJFjIbN7EFYOPA
ZKHiASrtPcH4Sg/BuU+ttjQAI3SxuygAs/krGdR3eQnbBggwQLsxj3BubDNFk/vYWRAxBV3LvfZb
Lx1cX/b18jZ8kyG4uzTUFVr2MLIsO/D4MCofQxnvwPYl9SZCODNVTcemSrFSsaZ48WzdW2S61eto
r6VonipqSVvJtiW/iROOTVxX85xNiPVyVv89hxPek5gydu0oDmiL18b1iOX/cXdv4oSDMyRkKIsc
xQZEyDbQIFJf8ZSX6EbdGV61t/zr4rZN+02acHqizujDFmQHx9n4URhfKllwtPn9joFRU8AlwOKE
o9OELM3GEnuVVZHux3QwjlrXyKrLm9c6CBFsJFSByugIa+boXR7GBQbyEpNwy0tyiz5z2oAgEM2d
5iMlYf0D2WrnpE0dl5zbLYOHggaGvQH5D76V80OlF0aHEdk0PxbKt/RHA24nziWFiS0LXIsQDH6M
rCHsOBaxQaVrgJNT3IVqDfHSdWPYlIMmabAXOOg3EIFW1DrMs9HAu3PIE9dGjtaiGKMEMts7/NDS
jP0/Ob9SyasIAo+nDFirE/xQ+REUV34OkpJI1ia4rQwQ/IEuZoGKRbAJ3KzgkA0VhtuO/J1XMzxF
swefZe+WjuzBvm3lb/YnnCKzGEa9IrC/AeQyYdD1u+sbs+nxVvYtnCI9YZOF9imErfbTwD7PYeSD
LGwId0kim7TZNGcVlmwuZxbjf+fmDNwyp0xRpDpyc3g0GuOH46ReYyqH6xptrRhw3/4Vs3y+MoHO
dlqOTApST8p8yM3psRzfM2C6FiEYABsM1lrp0g4Yk31kDq5qRgcCkJH3aGJisg90B/ACwqVKE80Y
uIpJq6bMo4ekqWYQw6Rf/5sQwckMEeZQSgtZLhB5uRkgkdH0ffPfRAgbz8Z47lqCaw6g0j+sDFCZ
hGuSQcjNM4lk6e+1Ena90GaajARPZQMsL1YcjBbb9+QxllnX1nkBCNe/coStN/UMrUUjjDgpE58n
cGLPRlT6Gj/Q6M/YAf6pg65lCWffAfXJiEF+5LOj9j4MCfj+YkcyW7J9WjBoaZvA/UJzwPlpISN4
FSbWTa/oAzxY8aORWsH13d9esTcJwopldQV2TQuuHw0o4G4Lou5rT5mvlC9K9e26qOWrxAjRQa/p
b2WEBZuqiUZhASMYMu4OfNeDQJgXklO5aWloowCypGle0jonSRSROsKjsZ7jh4Iy4Mkwn0cISCd1
f12fzc1ZiRIC9zYui5HwkB2ZfaDJfSZz/pvrtfp+ISfjKABBGZcsfVZ8bEKgk38GtvF1FSSrZarn
9qW2oEPWxx59O0mgaU/aMsUWgH3Zuy5m08jeNBFHynOtxAT2hGtynBt3aMwX1Sjve0cF8cl023TG
e56GwKX7bQRi01MNfvoyBkj4cZx+qIlPZY002/qAVHFpNr6k9QbTSpHYGXYmjUKKCo0+HGcleSk0
1gURR5tz3CqtZKs2rQHQ4L/DGuH0DFULticH1w2db2qAoLQJ6qiv1/dJJmPRe3U5k16b4oJEcNOp
82zxGpR1GEjNI0kMsCkGrTa/l09QpSh6MPQRNPfw9IUM3+oYBMUypJpNy0Zkjrq5DRYz0eRqVigN
xxjAMXSeBvvFyiJwLd4AEFKyLZttAQ6gRk2U0wCWIILm5uhHySsHOYLxA/By04/Uq73xTvuovOT3
yt6+Uw/vGbVxdNgdBQscNVTtfJfaGMjTKLDiXYrhJO0BLnQYJPf15g6tRAgxAVExZ2pzGLg93cTk
IxtPpQw5bXODViKEqw1dLyZzlrCjZIkLulXQlbsaDexK4qVlqiyfr2xaqYlVqChFHssssOLQbUrP
nJjEwcmECBatKuAKDAmSXpruMFdhhTeiAVgdJomczSTBeu+FEwpIaA5uGYTP8c28s3ZAlPCcdtf5
k1/u2F6XJfO23tegdkeh21AdUJUJi5eWcxMhuYIYx0jBve2N+Z1Kn9LxxGrPSWUpkG2TeJMmrKId
Ry2rI1SiOpDXWf1uQhebHe1VKomqNt33SithEXnFOqD2jUhV5T8rfkOHm8F6MQHomHUyN7RtGKCN
QHMFSKvEfq8ZxKu5raLpIcxuuxA5V81n45frXnszDtHfZAgnCShf9YKBjwHkHDzT5bhzsk7yRtjc
GTCVgzoJ2BVgrDs/RE1InGkwlpJk0fiheVfmtjdXKWYjJVuzqctKkODb+q4fa2Ii41FXNr/VQZUM
jIxSkrnZFrIkQyEJQLqCENtukyQ0E/WnNaAd1JsM1vW+2unhu+Ie0K7/FiS4UVrMaO3N4HuYFd9k
hfoKtxou8y+mVzTVXxF6sa+bwqa5rQQKpmAqmhOrOcwNUOh3fZwDJChx3NKQldNkKyj4hbEuGoD2
obZVTCiPZDNIxGL/v6kiOIPUnpHEiWDVMwdPq+G4icO91JTNwMlWTPAFEwElgbO8TEetvWtepzzZ
5+Ff11XZ9KKrXVk+X11B2PPCiUK8FEnzBSx/loHtuYlb5g5JEKGj67q07bP6ZnTCs6GmPO4JQUzP
lNkrm3veF15rfSmGx/8kRyzhWpWVIc/WQU6U3eUxrlWnuOca8UIjlNiCxNzE6i0ooUD6h/n9o2am
OVxc9zdKDf9t2UT2z7SfqkplcHEZZjvpz9bIgvYbNWXv0827B9Tf6P0FShJwrc9tQZlA/K44fHoF
j5AS7xoEP45xx2zwv8tO0LLRF+/tlSjBaec6WLXSGlUfpzdp7bGoAXBX6dCbzBwwftmn+l7plfwT
oDbHG14Vzu66gZzvGkD/gNwJRnDLBkqdQ6lIV0yqihtjbxqnMkQPf9g/qJWsinq+mr9ELFcremNB
3wXCUWE1YzDy9Hmkld9UCyCGRfKJ6YaX9homE4rbxuCy+EtUCaU4ACqgXgsobUxQUOEkK52hT4YW
KyfW78P4PpQNeZ2fXRPQheBcRCnDcMAv5SBgOLcOzEnHHVW09KfF8r660eMyxJwpHHn8EtJpbj/i
XLfqz+v7dO4CTd1AxtcEfjHYMRa8fLE6COzEGsytNVDPm8pNhtpTql03nq4LEXdKFCJoppUZ1woT
rHVuWBAQvOWuHWc7y/yYhvlOG2vJA0ZcSDAoYf0A0YNgeSESFt26E7Y1CicznpaAlcPAhQPYxMaP
FaN1SyrLOF8oJ0gTzEIFGr+J7oEJczWcmC+tmut+4qA1uOH9NLqtpg+eVnbD4Q/XVBAreHqlaosU
A5EQa8/8gY2jD6JfsA3a35QRw2S2LnHDEjVFqKXRZpSjIgV5MWtubbj8nKP4ao9ofJ7cLh0lcdqm
PBglOoYXVhrRMLN4HAHgo0PeNPVHQ828akqOdagex8Fy0bS8v76e4umG0aBHbWGlWfp7weVwfvpY
V0y8qZdt1Ehu7Ic5UXZWVXy9LmVDK0w7Ij+JS8BQAXJ3LqVS7KrtkaKK3ajJAz00XY3rB8e0b4ux
8YZY1jy2KQ9AMAuXLRgrxb5rNvOpVPIe8hq0/QJWokxcwpT4YSIZ802emQ8g7/qzKXY4lWUtddAo
LxzHSJMJl48yh6XeNo1xspMQWYo9d2I88Xs3jV+vL6fQuHMpSfAsbctVEqYME459+Vg14063YYzK
g1WbuxxSaVEtV2wIZkcgInJDd4e0k1iO8C7/9SNsXAm4z3EJYc5Z2FQtHROn6yrjxIP2nvjgAN2r
T52/8FQ4vvXpusrnF/ulsMWOV/GkrgKhFcUahh11bm2GnkM9sMzHAhAycHsu+WkoRJZ4WG7St2Bi
kQmUe5wLtCsB/fkCFIzxGmChSYJV1lVwYlvKLtU/2hjl4RmK0sTYlYR4YzXj5m0lccSluhBtUDzW
zGVgV3QDCpDOWN/yInaNWHVHbrhOQzyje80x3RE2A5qXj0Mrm/K4PDZo5jUwTYBbBIP4Yk2ccTXM
ZivM4Fz7DoRMz5jS3fPmSwTgJCuUudZLHeF5cGAcPK4RNYnFxGQIaVF3CSYzw7J1na527Xxy57Lw
kJT1m7kO4vlRsSP3uiVdXP1LO58GhjGENAtm3/KzVpbkwANkXai0Mdits85TR+VrXM6zBwxgWyJq
uQPPDehMlDjzPI2sIApd1hOoWh6hdqDyh0LzLcBuGb2zBzvJn0u0NYxpUKKiqeHC8YFAkSB3oKtQ
LgdhW+POCohlmWunqNl/wADeRH/o5ZDGzCtr3pDIna2uk7HrXV4qSDJYy42CHq/L2d6pUhMzV8Iw
xuSiZbJjDWLkJnWrtjVayTtT9EILSvQvInYdILqY9xZnhTCgVwwquni/6QwtjHwf+1kfDD/Sh8hr
vO4zS/3r5iNEWRfyBCefmnHDnFYrvvUYthna+2z4Crgad+aSCFU4i7/kYKrn/0i7suW4dV37RaoS
KUqiXqUe7cSOHTt294sqdhJqnuevv0vJuSfdbFWznLPnincFAgmCALiwQCydzlNEL2rsvh5yFkMv
oh1BKu1atHYtawt3TqJv11VaFDW3yuNhHfxpcgwwv+rreTdkx5DfiZF6Fv9miWRFxGYcPhaj/tHq
RNS8uieHr9ez0aBZnx0n/p2HXqblaMlGO7uuIp2TtgkODC/H4DJDqoQ/LmYpgDrYSCc7MR8pHl5B
RFw4a1PfES1QXBIqOdK9JCK79Z1Owzj1kH+12b0BNBH1Mfh8fX2PZK81T//FwGakSLNJXMRpVZLZ
cM4pxiYxz2o+B5Vnp4q9+d1aeequLI6QE0yXGPgMLDo6S843x3H6kHasCAMkyph8rY03I9HcYHwv
23xVVN9ET1YpWHlSipuwBMXp6MO/WF7KqRcUpmJl5ZONLZw/B7EFYji0qcvoHIFwtWj0Gp/DcNca
qOx1fPyCMBVlsWGjiWaVFgYmgkXroGs9WrziFKm+4XLZ8Q3z0HOClP5yaDCjSai1Ay3QSsG/m+Fj
gT6RsssRTGbHwNQbF9WgJyvIN3nzinKX62jmyqnR6mMKMOfaTOF8Lj4H/H9I7kDGirgE/5B2qMRb
acKd2HzsprtIew3DVWV8MAGZE3FQAGLlCUYlo63w3AjKSidFYvow6CC7Z7mHoY2rCFRzmOAxWSpE
pqyPLExKIsewNZJQTBCmVbuI2K4ZbStb4d7kOGMWgnlFNp5zcDdeTN80nIx05oQZZy7H8BuXdK+a
P3hN4HhV1KzysNsMyQ8Hdn39xJJLuQiLMSwOy4gI7uLIFhH3i8AJcgEKQicEPeC4qZ1y7dvpDbHb
L1l61KLenQDQY0VueoEwH0jBb4LGfhqr9oZE/l0v+tsaQPLxR942Hw2EUKJC/zpSJNg2WJfkJMlO
NOoTPzMfmbbONIxPifeNpgLiS3cLRgWfC5H8o12UrV4TliHQsJCikP0w/jCLlxCMsXmgGh2xsOIz
xQDeN/CGYV3cmTTPG+b0BoTF4ctY5B71R48YYlOgvuk7byIM1uWHr5rfKv6VakgFuZ4GKUEfHng0
UpK7WrA202HlF9jVrwqLkhMSgIp1hOcAReGu1g3ZQSPFdpreGVDcAcRv3KDdd/QMQcjeiku20YhW
vkVlnO3LCvNy7c6iqz6xyg9BmqyZwmHGF6D8qONvQFvPHUQTizIVDQYGlskONxF8UNMqXsQu3AJF
Eq0j8UI9y7QAMD8X0TaG6VhgoXnM7RxwjGGVJczrhkJRS7q4YTC6Fk8UmA1IbXAjXWQgOShyC+Jj
kNmfDDZcx9vhoV4Fu3gDYoOn67snJwOzMI7bG1UCGzTact5BqmTKuxHCmmETNduQbjWcA/9xNH6W
ANJdFyaHJZixCDMB5xPGwqPMKdcCJ5FmtHA0DP4iN4XhmtYT0b4I9lFTwLQM0Ew7DLVbAI/kLLUK
9fw3yfAjiipFelv/SFWPbheWgHG2sHNsENJggNukC4+mjZP1AaalxXW0NbSVEfYbe9peXyxZiIPf
GNPsKCbn2tY8avTc3IBnywurwLg+3edbvJTv8T+6whkUF8KiGFCKEc4ZTEDOrvuCp2DdiRCStv6m
rrMVqKluI6FqA5XtDOm0zZAxEEAXHNTbpPOJ2emCdxR2FoLxvv6Sdqs0bd3J/1LqK6rsSLo4Q4gV
wXCHoBQk/nj5kKc8GKU9aD4iuJMqEP1aowpUzeQgHztDf5IvjguVIw7COC7JMcyz5UjmC7x9VG9W
9jVpf07ZD4vvEkBrVRADabv+IwvKAW40QxmkdczFlCS9ZmbHbLxNwzvmbLkKUydt1R8RKFD+J3eV
G0YEG3s9NuYcb/qSdbdO+FRnm2lc1+U9IR/DblsXwuaPOUm9SgE+2jEzsmOZ0pkIfJ2F7OH6QZov
85ME4kKEVFrJI6sTNUMi2dcYXJINW3B3fOxq+C2CnySQ0lmN2NjgPoaI+cmSxokbNd91/e26HlLQ
ciFEWqrIymmSsRZZaqxjcvZL1n5rGXA5GPnn5wpPvWBmDKfGMGbvg78kk3aiqk27OSNOw9gzMX2a
UBQUlcVM6UKYVToTI8VhosuA1gbbzbGz38voS5feGtUP0b9/eOHOpMzKnthYkU01ybN54eznLH3N
xAGNiivef+vjZn1d1IKtnYmaFT4R5bCqClOzm23tp+2PGDOvuhYWTueZBMnUeEajPjCgTNeVKzQJ
bxrQcI3wqmCs3gYYe5VSqmi/WxCJG5Uhw4M/xb0niaxZNDho74TI+mZMdr3x0jefc+3Gau+M5PH6
Ai4Y3pksychzoulaFyOPJTNYAhjoCdmQn6j2SSVG8gmDP4BMPItRXEp/2dOqNN79VpGyLpjCTFgP
2PYMEL1ItOx8Cizh8/Q46ZgV1rZfY9P6GGr8t/fEwxVBKykK5AjDpdvAFBG6SQM7PUbVkx807qh/
s8x1ChDVP+zKiRx6btY59MxCvOIei+GrwzPXAnH01EWKUGTBG5xpIzkd1E6AoHNmbbTUTSuPlPmO
N3hkUI6qWdobYACxaChczFSD5/pQYELTemxSWJm1btEvwBoVtHrBW+Pp8q+I+RNOPEER69rUjnV6
TFFJtCbfMwClnEIAueOXLvuHU3MqTPJwSZg29ZT06ZGP9TruPyUgdwaxjMK5Le3PqRTJufm8qio0
SKdHx3xrjBXYl1ZB/mvkmuLyUe2O5G8MPdYmYmJ3kjFf1fawi0uiMGiVKpKbEeHU8Snt0mNucHeI
n5yKeo2zJsG36wdHZQWSn/FTu+JZ12JjumZrpK92nns1+pfFUKy7VvU+tywNxJIMFKbgeJHcAe8w
W8XOIG2y94K+TsHT0P+g7BdvBoUpLPlPRKDocQOiEhG9dIC6ruppbprJMU4Cr02bjV2FLtP77fXl
W7IEBnAWXsW4geKvJAawChRyaJEc/ThemUa1suyPAcb/uNBTEdI5zcPSD1OrTBDpTF6akhfT/4Yn
3Q/12/5HCmIpQCjmZgGZS6zEL6cgtUiOo2VuAGnC0IIw2Gh9rXAES3Zt4uESrLyo4wKKfO51cuGb
I6p7yXHQNRQTt1NoebnxKVfBvZb2/0SOTNTaFCzj+hQnR3vSZi4cjHQ3A6ALNIU+SxYNwBLemjD7
F6SW83eceNGsz4emSLX4WDTbwbk3ug2q+uF4x/P9dUtbVAgxugGyNzxUypZmYGhFn4JT5Vhnd2a3
xUxAdzC//IsMhNN4ukdyL6faE94ke2HY8bFsDLc1zU+W89zYqhkci0s215X/SJFxjR3XAaOOeXys
rDd/vNGDd5O/FOXdmKhGeqkkSe5GDzTgckonPk7ZgRA8dOIxENQ6lfajoSq83/L+/NWKnhtCUgM9
gz6Y+MiCeOWEbG2bLWbw1op7YcnhzA/w/794ksPx684q8nnxGv5GgvDLUHGFJ1g8oQ4DIM7GfFVM
hzxXJG7BBBtGfXwcCjSRbkA27hXDZ9t//wdbczge53B4APqZ9+7k4LRdKNrJYfHRmeJ9ZKE2C9Bu
M/xDnmiaJ2Kke1THW72IYxofNdJ+YiMITSIHo0jHj3Ws/vGfp3KkVWsNQAXiAHIC9JIaR5R3E8wM
+5+WTH6zp9zP+VSNWDIOvGfvluFKU5L0Ltrx3wWT62BItWnNyBAf8+gGw+6pE3twcv+gCajXHZgZ
EraLN0onzdDUYDXxERycLm02NVhaJpVrXjLkUyHSxenXzUQSq4WQ8i3BeIfO8UoLXfEf66T4s/Wn
cqQrIAdBTj+kFbwMOjaiLN7aEb2hmB94ffdV6sw/Pz0wQYnWxxq7X5eh52dvVh5sRryLfWymI9RB
IINxlZwZAFLSi2JhHjqj4aDr6VjzOy32DLRDGir21QtdJBnS1lRlXhc8ggwzfKbdZ2Jh7Ia5UlLD
S4TTl7pIW2MENOF9lsdHf6rXBvOc9icL38rhpTPuLfJJj+8jqiIVuThAv3XDs4VDQC9wUQDtHVJr
QQLbjsVLajjo41pTBIbXjUElRLpt7GzkedjDtqc6+hz5YO22w/sW6eg/iEEAjWceIFwAdDm3udEZ
mjrs4/iYFZ/t5DUsP3eRogqxaAonIiRNYt+ckiqAiCD6FNpenD4O8V7LFCCNxfUCJsHAgwueAeUK
0di0adyZTnR0xG3dPdjRHpOmPurU5o0/kSFdNUVr0rZx/Ojo0yfR3HP7efJ/Xd+Pi4BGEiHdMppf
6mHna9GxHfd5vRHFp4IdG+Mm+TC2CYLQXGAgq4ELAIPF+cYzyykbNrHo2INCMjF3Rvxa0Nwts43o
vl3XackA0HaNKhT6JGZC5nNRgvG+Cds+OgoU0qJ2bRfUjdHlS8iHKJL+OINTQdL+jKnDq0DroqPG
3qmxKfLAq4wnS1kdUCkkbVIwze00DdauG79U7Z2wh03Y/bTCj834/Y8+mEWvw0uDAlpOcRuDBuCM
bKIjqqKunma7VjyCm3BzfXvmrz17nJgt4USK5KonQ++GTrTRMfR7N85tD6BB1+pKgBK+FmQ79E8G
L73rMpdOK+gLHKCH58hQBvHFogFe0MBOOfXrGH2jFHOauIrGUSFExh+QhFf2UAzRMUUqlQ8PhS+Q
uCn8zuINdKKKIR2kMI64id5oSAHk2symfWuAaTzc0wjdJUALGvhlw8agGFVvn0o9ya+KnIUW4InR
cepfSP3VAh2sNr5e36dFS/+7T3KV0hejHbJMhwx7O6Re1YlVNeAFS6WLSo5kg7lfGchIsVU0oK5N
vDJ4H20MnGlV2B6VoHlRT2KswQQyX5hYtDxAklDckBYAJKDIwS2quMBVkuafn0gygIUlsT3bhX9n
jrUbNJ/M/lGwjyZzOL3I4UA7BTQXoCeS+dV+4IMBosDpRQ+pSG8S+2Fir6A9+vjdR3TIMoBq0AG1
k3yeBsBBI5o0OrLwcz+T9NarCbOnP2xuwGcDpORwi1w+Y2t1XVfOVMEMqsZtgz1h4PB+8Juv18Us
nBwUcoAfxqKBgkhOgDN7tDNiRdFRn+7LInNHvp8wuvO6kN8tjZJfPZUi98RaIwuCTItxlaNeUPmj
W6dvxBhWg4lx3X3n6elBWLsaPWF68uzET5rRepb9rBv9VqA97frXLKo8Z+FAPiCEkTGjvuEAIWl3
4ZGN98QGLDv5qolf12UsXCTkd6b/HxnSIW4jO4gZq0M8pGMqiv4Jt5o76Q9mWno6jz1u3neGis10
IV46kymdZ41WMWlNyIya8CbhD4bxarTfQYGw7rtAsaMqWdKJTscOdeIIa6iNX1o0EJFmFTvCpXzn
NMn2+lqqZM0/P/EetuCs4k2P/aK6mzFAfceHWIQe6cW6UL3dLGwcoBZ4vQMiau78lHyIM/LRBz1/
iAjAXicsXOmZ9msg9HPD+vtu0D2rgtTcfPywjmdi6bmOaRnYTYMe6GOjgUm1uB3DOwtIaj5t+knF
mLTgjdHagu5jMrd/XBx54s/cOX4SHvHo+ogy/5deDLuu+BkEH6PH+B20zW9u5vwGAo8sYxG7jqCN
r9GCI5CPQBc9ZGngxuRLrxoNsKQRA1rKQHkFF4BcXksjPFUmkR4ca3LTm3iamNzIvCtVzKZLYhB7
ovMJPh/NT5IhZoFf1m3TBMckA9l29SXLBlcrv1mqOGrB4GF5f+VIsXupWX1uWZBTpNHKApNNeavp
2Qq0cKUKXaQSJV1leNJJ9GGsg2PqvAzheshvYqN2ywadPx+/aICgnFFgeD4AmlLyToWJWJBPJuZ3
N+bO5Nihht+CAe3j0fSZGMkxZXbLw9Dm4qi12Tqv9RXR8i9BOOyvn9eFO+RMjGQKFMPKgI2YZwLE
L+i4I+W3LHj/30RIVqAjwwZwHCIo2emjtmbphpT65rqQpf230V9PAfKGyclA3TAsBzPvDXFED5jr
9zstetDn/3KeUhVL9cLpQbMXxlxw7D8Qm9KSYRJlYU2Wox18dL5q1ZYNxGvNNVdxdC2oBPJh3AVw
qHPbqWTSftv1dd+iYy/M3zG+uWjn2RM/NdwXyaS4BRdV+itKfnfr/DKog2rSDkn4XJovGt4sLVDi
o3Pg+i7N0YIUPkEl7BMAEgwToqSlY13Roneg0w6xqa/GNLsNom53XcRsTddESNZmTlE12aLUDh36
/QDBL8ptWndu7yOStm9oqAoJVfKkXXKmBA0zWaMdsjR6dIjvihZ10RwQ1Nrczcjx2FEBpxbO7Okq
ym36lA2BVVKoyCex4hrfk07s8XKqqPGpxEgRBNBZHfxfpR16q1+btFmZtHNNzJ64vmEqMVLEYMaY
sGK1WMAIEZHJk5dgaNywVLHwL5k4CrsYmgikuHnxEsu0AiQEms0ey972HCfdUZo/8a68raxBUbJa
0uhUlBQzj7FhJ4ldYH8M3SvxqOSQccW4Kvxf8g+nYubPOAknRYwYmVYQE8dfAWtyxk8FEl+HPvWZ
6klWpdG8uCei0qk1rKHJtUM60eeQ55gAMOOO7HFUDQVRbZPkISgZ6iqoMihVjWCAoC86SkhtTve8
Sp+uG95Slcc+XUDJVSS+3moo8GkHWlqrMRebkrXeGGabGDkcugHuEnA2WG2/1yNTVbNY8oR4qZ3h
/gjB0PxxvqINa62yqlNYfdCvRmvYjSndXddvaSlPRUgHK+DD1EcZ3EQRcIzJuzULfzUluwrpzXVB
S9ZxKsg414XFdWemPayjdoRnAdnbg/9MG1U9kkueFu8ZqDUTsPIDsXcuxopKk5U9lqwN6Y3uR9vS
3jj2Q1joN6kzrayUfbuu18IBmwk1AFEF+T/+JR0wgIz9MrRsftDMH2zY5ujOL8rbLro1A4WrvZQE
XNXMwAj2IYabUbpEpqIeMQt0Mg9a92LbN63luDp5YcYbGM4VmyX3MMwQAQBe0L0wz25A8iRpxcch
Zi3OxSEClcao/aLNo2FP6J7oth24+jHysrW2Nd312n1eMEVl9XIPz4VLjiTUaFvqFYTzKgSCiHtG
s+ZpufWLh15/0fNJ4YqX5JGZvx3VdCBw5EqaLVDo1CPIy+1qE47bIiHr2n8KzceivUdWp4hvLvdx
7r6eiVgwafoyNGympA3LfNQPtNPcSNwCenpLzbU1vGdEFXioZM2qn/jkTB8dXsREP9QY1M0FjgLH
i0XvptOPQtUG9xukcB5VnSsmGSicZA1W2kk/6Nk3yLJbx2WDy6Jxk+fsJupuC2T3URRsTWqiZXvN
2RFbGqcPeA/ykV3aI90ZyXuO9sTrZ/TSyeHDTCD+AVVGd458RvtE9KYBFu0DqNkDUMI3vgdmsL54
uS5GYgGeKwDnciTDpf5QUSAusbP9uMu63uvrb6WVrCcEe3qO7oz2geV0bUw3TqK5o0ZQALxvUxVM
XybD+fMdKOngLW+pUYc0nIrALvRD6JdoKrUAXfAw+sytEWlMgxfaw3oydkV21zqhZ/XvXFXgWbg1
sRInXyBdK0aeFwm4qvUDKT9nyVMYPLPmfizLlW15gh86AOwNTXXFLGzzzPaNUjibRzHIrA1RjIUJ
nJ4e7O5lAHEsyD5CjJ5SpVwL7uJMjLTL3dQyo8GUroNRYR7zPEtpU4X3vRG5of/ZwcjO61Z1eXFa
KL6joR9VEnhiuUYnWhsdRJNJDkHV7K2A3GSMuWasyroWFu9MjLRjdea3eg/E6yEax19a1rmGYO9V
T0DsqerZvwxrzjWSQgGD4wnVjhg5iCLd9n71VJiJom1kWRsghDkaGUFcLLmiqkyZicofOQz1qyg3
aYOkpHucnF/X92ZZk/+K+X0MTtxr3msVqF0hBpDktZ+Ye8u2FbfF8vb/FSHFgLizojTKsS8YYbEZ
fe2ljHVPpCo4iEoTaftJEVvalEKM3vJVIsxVH6vm0S/cRYCGI7VCdRRN0zIOGaki+tsJth14qrLc
CH83Zb9Y7FFHcZ8vLhmYosCTAdaOi5CsDJJ2suesmnafGvRKl9r3kIeb61uvEjJb4MnWE5oQECma
aCotvwRj7Ob+95DairO/FIdhzf6qMq/piZQ6EqKmNSGHqc43YohuSEPX4Ez4QapoFbT9jRPnz0nQ
3Zem5tmdsx4DVYa/eJROPkEKITrNjEgwjeRQgtJhlbbO+0h93WPopzVipsIkLBvJX4Wlg2sN4BhL
GCUHX38ywlUaYp5z8n0cb/vR+ZeT9Vcx+ZkOjem0YsVADtT/qg+Fm7WfRvbx11P4uhMh0vGlVpiQ
qu3Jgfl3voi8+JW1vsJKFDskk9Ymo6EXk4AiYXITxndFup9Q0sqfrxu8Ymfkh0RRoF2SDZAypIZn
mutOHHzyQw8e2fR4XdKiPuhuR48xcIogvDk3erMpDd/vqvkqsjyCKS6B2b7lol6ZMyvjdVmLWp3I
mv3iyQGLh97HO01HDkbxGb1yLH8e9NwtjN7NasWD/aLHOBE1//xEFEjIBhbjMB9YSrb5YN+yMlp1
abu+rpFKjOSYwLFKzChrcbuWdw6acwGIm8DQd13I4nVxoovkl/hopoYIG/hyoW/tqdsVoDG+LkKl
h+R3KmblU22V5KBNsRcy89NkPGhas78uRWVrkr/J2yyoBYGtZc7nJN9beJ7ngLuM/3T5YToIetgQ
xF1wEARd3FqDDzlOj0lU5Q89uvMJ2ODyzhOdotdjcXMAvcewAQtEpnKhIPVbozfHDLIKvjNE8Oiw
QHHFLonAnEuUPIB0uKzRdy0YioY2hIiUoEfSvsNz7vP1nVkUAX4XvHT+psie7ePkuFSjTeO8DQhS
V2DReLybybWui5g3V0pYQQr8V4R0VJqhB4Ul6hmHImleAS0FSZm217pqFeb1pwF9PpFjupqlK/zb
kmWfipUOT1F2xOJtghMaJXehjewsferbbn1duSXLPpUinZ/Jz0Z0k2g6/PV91ngl6JzGehvrim1a
yIbO1lA6QHVodKYeQZmgCNa0fC+b+yJDoRm92sVDqxr1qVBKDrgnIYJGjNgxzsAim7RbbqV3WvG9
TmzFJi2aHzj/Z7IqkIrLxBq4lrS+ibl+EKQAx9uwdixVX5FKxPzzEwtn7UT0rnf0gxnTzeTk6yL8
dd0GFjfnRAnpDIWtNWVDDRuItdJF+iii2yj5mSadqw1epPeK87S4Oyfi5p+fKJRmZuOnxNYP4DBy
w7HYcZO7gUj3Wc7frmu2eIZORElnKCvy3Ip7GALe2T1uR2snQ3UrVl2mS+EB4Bzgf3N0AtpbKXwb
B2PsMIJNP5Qg10isLao7bkEAtHNL7fW6RsuL91cUPV+8LIiTyCypfnD8ozZtMjNZtZrnkK/XxSwv
3F8xUnA1VFFcEND4Hgibdo3zxqxhTZNaEVurlJFMO9VEF1QjpORontW6bpMZ/jsjKMiMqoxhWRSu
upmCC1V4yQE5ddLTMtRR4hzvtWIVc7TQvjuRij9qed3+K0bOFiaSDphXiUoqNa3nKQe0N47eMPf1
n47QXzGSweUclQtHQw0Vw/Lcnq8GEONG/kvS/kMwiql1KHYDEkUvQEQ9HTOEnlg1Ptcmh1WOYMRQ
YdmW1uxUiHQFtbbRTVUKkw4mutNAVyk69jmy/qHIjecQhoIfHmAM0FWdnxzTKuImECh36hHAec5W
OI+B7Xvmz0Y1rmzJHZxIko2gZonQaJnrh9QCvrveZSbAAs8jeG+nXPEIsrR2MxsJ4GmIPC6CuJpn
dQ0iWP1Q0C8WsuDB9z0wpq2ue4OlKwi/OcggQZ53yUscaCNw/3aiH1o2rvSi2zphoRCxoAiwcAQT
M+aI9OJ1JcDEFmTXEFGhQloFyZoiEiHRuL2uiSQGvYa/6XwQK6LzcCbvPzcCQ9g0S7lNd3hKfa91
FqLULXQvyXoVu4Zc3L4QJZk1hsj2OJYF3ZXom2jaYZvybhMOA2humdfaGGSnvxK/9hwlZ5FcD/oj
Gh1b6LDnDsZWSe7Bt0SKEa0V3YHR2gtAlOUWabALNQxjCLjhWuGzhm/R7UentlY6thMMTdfXWXK3
F18gXVNdF2cioETbAQq0T1K/cPu4fxMVHr95oL9cFybFLxfC5MtKj9owKqCuw9KVXWMYeQvBGaBU
DX9MRbith3F/XaRyiecjcxLEsBCEshhag6co09rU6EoIk8ht/QGkJsVD1KZuVZY7Y3i2pjdUbfd4
RlVcAZKT+aO0Y5noM0SKhfk55x/Ap6EKaN3SHWmclRX+cpxuW9ivYYwwXnX+Fxf4RJak7FA0QEEF
kKWz8aY1Don+w47Dx8S/G+yXsVRRHy0YD7JfgPw5utxnYsFz1fzW9Hk9DGIP+o5NRddC3NQNhnoZ
igx4UQ4S0xm4wRC7SUYaV74uOO/F3vbzXReN6D/FnLqKmW7aqV6P5de2eb/gV4DEBfUF7iG5DyhO
RhSiyzTad3V8X4yoIAC5OHp4ftg0UfNZI9FXzCH3vToKTI+xKtk3AmMGxzTCBPckUjHYzGt4ktSi
x3fGPwAigEkCwCPL8Dkzc4yWdXXwHOuZa1vPtnbraK8t+TTxAsM37ntT8dYie16wDyL4Ar0sxgah
wYBK7nDCfFJgjGK6n3jnb9OwfG2FaG/FWDuKkzFb47lqkIR8HUzPM3uSPW/7ydE07VK0XZbRfQTu
a89IHOcm8gdjfd0DLEhhGLCLB0TDIeBAnTlnT6Sgf10A7lqF+yjI7up8+FyPKk4r+dhhydB4OTdh
OhxADlkRJrI8ExaHCJBZNeUTTzV3AispGY8YdufqxsdoSWETDmbEgqEWz4gGYG3Swk06DSKLhNHe
xhQpLyvh1WZKzBVG+Kn6/2XvBVGgckW7CZIlNJjqskehgQ5CewOngb1nzUM5dhit+EbIsbY++DQ2
a4WWIcxLmNsXwAQvGV4WTlGRIRTYm0Od7SuWsx0pgmQDoh7VbKcLG58pjSDHgELz+5XkUCJMl7Er
Fsf7Vq82SWU8lyPowJnq2fJi8WaEzwxRMEENBvZdyfQ6Q6DYGebmPgq1nSOSdW4n684ht01EPQ4q
zOuWvqAVhMAPz++xyHLnzzmx9K607Qgzgcp9xEV2KGvDeexCk3wOHMdXgJcugiYwvAIQQADqBass
WrwkWUEekKKKK3iJbMCpRVbToCCVTm5vj5/8OlizLlppiJhqka+uq7ks2wHvAQYf2HCNkvmPZmfG
GHRn7DNQhxWAWrY/tVaP3ST5lQ+3AfpBUPfTP0rrgFMwTw74K1ZSWRNR0KVZkO+Fb+16tJ5gDAgI
FwZ36FVzVS581pxm4XCDHRootAvgagmugqGrTbZPp5J4XUMx7YNpwfb6Qs4ffOZ/IeU3+z/Hlcrp
79DpxF6qvgF+OYdCDi5tNj7B7btWTbdjDy6ZZndd2NKuYRLe3KoO6n0MzZUOQ9b2XZiJOtnXGdlZ
ZeiK4IdoDwLUCGGtrXj6bLfV3cQzhf9f0BJTxtCgjCOI6T9yHw8PAkFjO873tH6r+A2xbgIAwmna
u9EH39RmC0G+qgPewWEn4Is+P4CjboPkwenNfWV1fJPa8TdbGxIQ4gdox6KB+dDnRaXYxNnYpU3E
OHSIhJLgDJZf14CuIqw1anM/+WJXJNMuGTGXrmxv9KxSFBkWrBKawaOBPQFqyu4sy53U13la7Jss
S90+D1/MRsWhtiRjvksRFCAzxxDI8yUcAKFGd2pe78fyV+/EqyCiCvextGAWsWHyKAHirUPyHlVt
FE4PTpt9WVjbGIQ5Q+W8hCJaa8rZekvKoIqBtiGUslCVkUT1fdQUZRJ2e16L2NoYfWIPe+YIlJuu
H64FG4fTx5phXxApGtJ9xpomTO3SCPa6qPdtJlYdazZR22CMx48Gd851aQsriLjYhrCZOwUNh+d7
lA5xT4oM0uxiwAy47pNml9sBHJFtrULwL3kNoPxAa4IIEX868xKf+CgTYmwTrYz7uBM3o6jczN5W
DvXQeIvuQnKXsp86QiwBAODHlTwVLBlixWMr7NI83OuZ/S3y0flVfA7z5lcGeOf/Jkmykmgsi7EB
T+Deqvtwx6ym2gyI0TGYZNK9OG+EohS1tH1olkIACZp+0NRJ24eWiNwYqRPug+Ip1T09GTBG4jlW
YiXm30fyTHNT1n/lSNkhwRSpobAQOuZpFDsYW6wPcfe575I0XsU1yaxbzL1n3YvJktj+WuZanaq4
OedNOv8ESpEvohYGljwTjuvcetrOdnwSTta+M0tjX+s9iAKqxlyBfFSVp12KQq36r7Zyg05B43lk
mT/sowoZY1hvSEHWLAwU9Yylk34qRqoYcSxS7STYPGK8x8Zhot9bByMDMWet7GpFfibPS5rvszm2
w7Mzrk4Lr5jny+fbOa/GKE72AJ2GLXrBiR9YwJINdTA6iJ2NRjuC6zBuD0NC7VtNEIDJG0Ix4S4V
pdFiOqQdaCWIEJshaW8Kv/VBs9dEYyruQOckEsVJWvC3+FTw9YOkxraBDD7/3lAULGR9Me6NclpV
dbUyzUjh+y7ScdAvn4qQ3IIN1nzW+EG05w2GVjNM9wIzVW25ZXoYCvCW8ptJ/LjuH1RaSf4BDIx6
NZFq3IcOd7V42vp6r3B2S1qh/oU7BAzGaEWWrKqPOj2v4vmoogRpDi/p9FTRxLXx8mt01sqqtn0Y
fzxwmXsCwWQKN4ujIxkXzwjGwZegFCyiR4KWTUz0NPw7qxhW15dv4cTMrLK4Q1DYQcYsLR/Yk/Me
t1i6t6nDEzS0YajqhplRgl8JwjH/PExx9mQmnaVqfFiSDMwTcL4INihmVZybo97Fpj+WSbzXw3Qv
RvBcYyRTmhteR19zFYx5watbp8KkLQTBS5v0mR3vQSbjxtaLpj+M1RNznj6+mqdipEgjt/SYE9C4
70XdeqHvuPXUg4f6JgkeklaVBql0ktx3GiGgyCkqbO2AeaGrKtb00OtA9dKhh8TJyts8iTHO77qG
l44cGReCKKTu3EHOLtlLi0AbgNPc2vcx2faxDeR0fZuWyea6mMvbEWI4XgZnhl0T8e65cZQ+ZRGn
nbV3MhBq2YXrg8IPXZfZHklvdseAV1k5XSIUMfyldhg8hGoOoN8AtCKWPxfb8mbKy8wh+6AEHx3Q
S41X4d56DsNwXF/XcMFvnYmSFnK0yKQVtYnqcOQL4C18x+siW9WmuGAjQAVbM4MCpildrGOllzy2
k4ju7YSuiwFsV6az4mH+KRs0hUKXorASGD4KBjQgCEB6db52CNFsbRKYIjaBVIsBgy6MbyN/yCxF
gHbpN1DGQWZCfnd7wG2dy0kiEbMqChny8mhDyXFEu01svNv929T6Cmu/NMP/I+3KmiS1me0vUgSr
gFegFqqb7unZPDMvxKwgQOz7r78Hf7abUnNL0TNhR/ihHZVIykylcjnnWpZwSGOhsMkxch052OU4
KUdLHU8Jb/w2Qj5FHTw0Akokrl9/HZNdSxR2sSagrgbBeRWU5cnk58XxyCuBAdZ8JThFV2JWsO5i
+kgQYTh5PaoOq4MlGeDae7BXegNhsY0BJkzduymlQ++niZJxyWWzoyJIYa70Peh2Bceg4LHKMc5n
O0bnYY3WZ9AmG18mYud3bTsnuLaNz7ctTJxQWhd6JU5wIs3CIwPoYXUwgR47Rk+LkS6HSfGXCchv
BM+/wfCn5h0xfqq5eiLZeUC6Ku8ryZHKVi0orFXXhIPiqwzywUvJqRpWBsvjEL29vVxxIu3FcgVl
NSN0piGlqgd0BSswU49o90YfIpIEIfhbNErr9oOqNF7r9McGYGBDy/2En6ziXVfNKKle+kZzkQ31
+lzWybaj1ZgBRDFDxSPcAbnJtc3aWUHsNjfrgCV6/JRUOfXQyMK+kRqTcLe34aVfXccNn0UJgVOW
ZIwma0Ir1YmXJI8KeWVzzN/7DM3CMOOaHUdB43oxQxzbNTrdSyThe5CSGTAYze2KSvKW2fE9CDbR
5IFMLvZNFENLPsVRtyBd1qaNV+S632cUUVK9kp4Ox7ie7w3SS5RoT1eRw0JBDZyryAYKa4Nn1fnI
eIsEMQbprB4w49/z7OLEMkKVvWPaChKOaeYmHVGVMQOjnC8GWncHtXi6rQl7SgdcboSsyIwgyBVi
Pr01nGnFBg8sK7mPG208LxYdgzyKxl9/JkkI+/peMwaHZVUw5+9652Omwo3IMGN2TwZxF2aG8AQx
RSxJk9Ydhv+JGVSz6luD9cWIMFMYUwt9RoMmMaKXLx7ULjB2jZ4cvAkcMZfJMYSn50pCg3npQOXG
iONRpCM928nzswqWIBfGUXtRqWUuaiiKpH6ye3Ib8cLJTXNMIrRzYq1gPupV49EqzEeDjsfbxyZb
pXBsCFfMuhtNM9CG+KgY0QUPofcWOH/hDKnvjNM3rWoe51aG6LCzPIAcIBeONiEHJYb175usna0Q
w2m6Enf8VF0WNXXbivjovpbcOzsmdiVm1aiNmCqax4qiAzKIlviSqPZxTGWN/jIRgrvQAPSiVXTV
E1xyGNDPsjOiWvsPFyL4Cp4CgYLOGQ20uAHMYGOAYjWV1c12DwUdlX97Czy6hdikd9SmahWeBSB3
8Uog3WXTdJx6Wdi/Y8Z4ZuuY1FwZJ8Fkd30oib2ks01hxnwip47YBwZ3BEBVzY8y7bWFcLgKcHqg
cRgJfbRQCacT2fVYq1OUBp2+Lit/nOLiiGeV5KLa3Tn0uAAxcy3viyWDXmFsKmw85LWuPJHFuh+q
xeuk3Ts7ugYicNB7rVX9Na673jm1Bb9v3DdNkE0Uo3LOBz0dXu931lrf30QLiFLEsu2ECXGNDab1
1mrPhvYAnJreeB2BIYKH65yr4HOMCIS3k4KH7TQ4rlXxt2nxHYWY823P9vJI8BBbQ3t0o+BFLoI8
MJXn+myQOogr/Yi5eL9P2KXiin9bzEtlBsOsCVUG2gCKa+KQa2U3o11ZvRU46H8PQcE2+kpcsnNh
A1GlYcbP2+JeasAqDvymyvp6AOjgtQYM4EZOp2SygkShZdjNzHCJEneSNOnO3l1JEfRMSVZ2HDZ1
gaFeHP6+nB8i7dvthUhEUMEJ9BHrFNAgWEHdd28AhWS4edWgWK821uk3JCG5j1Ih+lEBwHG9ZVNb
aYsVOXXAC3auWQ7Ua+fMe9nDbqcQhaPZyBHuGtan5RzFuhVUWXSq0APvxVWFQluOPA3PtB9DVjKf
aW16STEBBqKhWRKx7G7p5gMEXwfUUsOONCwUczIAVkwOnAyHuJA9ZHZVEFE5WLgdTFuLLakKVF5v
x7wJaDVMbubM5tOQTqokxbG7mI0UwUmUoBaySVM0eKFPZ24U7ojXRh81knt1Xww4ohGJoJZhCIfm
9F2lEIJD40Z/GPLxEJuAX6WjxOXteglURP8VIxzNVNYNXxvqgmGmhzifDiNRmZs36rlbm8l/Q+E3
wgQfQXqz0ujAmoAYs5sX6d3MdX9Mqt+xq40YwUlMDeZOGz1pAgU083PeXvRRP9g5PfzOaoDuhGAc
DYficKOSN0uqFnET6D3xrao6JXly6plxvC1m94TQeI/7FSiOmtiES8xuMYCb1gRWE52I7pw0pAjM
DhZrJJJH2YuOY1yAOoDk/5O1WtgmKtXjOipiCxbUGMNbQIl5aAI7sTFHh3Nxbo3ko2l/YmXsE2fw
uqx/X2nm75zd5gtWs9h+QU0qDDbAuqql9LvI8Bnw6zsi66zZta6NGMG6FHUZzCq3rYAAotM1ahA7
z3n6VDujDKtSJkkwsKrtJjTiOlZAp+lztVDg32jlAoAzU5Po4677+xsZHTBtuPiFw8uHtq0tHTEY
05UT4ZqrWJF/WxdXA71OgGJoGL0TAMkFmgk6Rq9Ph9Sxo/ZZjdMpUL1FwmOsSwB8xvEd/nScZ/5r
MNnrNcIAh58J/C9nBTAQnIYaTeZA5rgLCFoDD06dPerOVJ9ZA6CE26tbj0JYHRoqMcqA+AxvDDGI
tRcWVYyAY56hR8qbIpV+skilPyDwND0eOYXPlVFW1djZUkyJYPIJNxZaOi3BWZFsSuZKRW9ZYX2j
tXNWaeTXyF2B48knVfXYMllnwfqL4jI3Em0hwBniykGeHkaell0wLoqvoBAVzbiZa8UrWepNLH3X
SQHA/q7ECnIxGAN4OkDe4j0i6qdjpJSbRBmDslrq8suc1Yl6zHMtNsPCTNox9kfkeI0PfckddK0P
g22Sw2wm/fKxVWnP3holM4zJX3o8bU8ZgRmBnowOiJ77iC75A+16jPt5lZKU3LXioj6wklZ89tAO
ROz3hMaEXLS5bnpPR2dF74OSdBh/TBoKXcVBAbAJmOF4zvX5BGS0PuvdZVLL7CHpMj3/lSjT8Btu
6GpLRG+XtkvKFhy+1lnvLQfxpqUE5iCbrdjxDDAfWC56n8CAI5qQkk2zEyWsC2bMErs18HseBjYo
r4rN0flmI2GyUrcBDxz9XGJPZsGplg+mxsOleq/2P/TRbzPJBXV9F74UIeQBtNpKFFgjDys9Rw+V
V6iN36EASfXgtiu43rGXggRHZyXFMuC5y0OuG01yZ2VKohyGZspkqB/X18NLQYIG9HPWDCNbeOhY
KLqgJUP1aCQ5mGu/9lKGcNllOjfUzFF4OCZ26eYtOTfZWHjo1bHcJe1BwKrKBsplyxJuvbwB8Ygy
4qCIQY4zKtFqYh8bKX6XTB+EuyHJSnSGqFhZoX9XilPHO2+w7tifbqDgo1nVqYUFKmZodrkcCEtm
jGFFdz2lXmvUw8VMZY/3/f1DGzWA20FaJRKxts2i2WyqeGiO9R0qGpln9CZaJLPvt/VcXbO1z075
X914FiQoerZOT3RzXIQEzm1x8gJY0JOX9fljyiziWt2XnFql20bsME7lx74xJNf7vqU9f4BgAOZI
MSgRwdI6u8akQbskF7MZmeRq35eC/AQyu+h0E6HrgOLZlX3XQFHm42KEeXK+vY+754VsHhhdUEQz
RQ/LF3SJAUAhD4le/+BK5ZkKAePKlLz7MzmCJiZjNyuRpvOw1Y5dcVF/Muv9bQm7zsLCXBPK0KaO
zuzrEI/3k9H2rEpDdfirGC71ENSoUdLkRGT3xe6ZbCQJD2kLaEd2Df6IkGvZcViSp7g3JG581z9Y
NgZyMP6w8pddL8YYkmKawBgU6s6jmj/Z0wNpj7P64faW7R7+sxRxFjtqtbnBOAL8q+KgCdZxy5Jg
gKT2/0yMcDLKQpx2wCslNLXJJ+kRSu3FsjlX2VqEQ8HZxxMSh1nY97qKoZ+Z3ycFnmCjzvQ/XI9w
mZem2q751jys0+wwOsap6ND5rcueRbIVrWq4eVEWxNQiUP6moQLoYACDHCuV3iu8kXgAiaqJ3Umz
Ua0v5y4LRyPyUEIAgaI7gXh26CRtUPtm859OiyNENJqTRouyNESwZR64lnfneHRS77ayyZYjXOAz
AIkqa4HlqHQ5R/n3vO/wPHmcGlOSgNq/gWCfcMro6gLvzfX5pLVBxqHPyx8WJgDNPEWx72G2QaOL
9vjqrE3f5/xec4hbmq9rl/vn7ttIFqIHe4rqpbUiFg4k+ZUaaJVT9cskfVauP/Piit2IEZ1QisdQ
2iVpiGl1V8su3XDMa801qrCkh854c/vgdtX9WZo4q7QkxOKpAvUw4gSDqYCty0D7McpKZbtaiLoS
yhdorkbC4frUMhCxEJCKsNChrQuCh0NnlsfbK5GJWFV0Y7gaB4CAsTrvhKLdYSn8bpSBw+xv1vMq
BN1T+2Rqp6VLwyk6FTBdUM++kuv6Xy1bcScAn0ExT3m9DO7kS6O1DMGjkfhUj0tXydSvnSUrK+1v
17Oc9e+b7YoUZpkphRxGZo/nlaerr8MDeLkU4dCRfzErPtIsnFDvO9UFJhGiSn/qVGV2rQb90IqW
xZL+7l1HhCn9f7dP0AKjAWDH3Ed5qACCfdHe1EnqOdMHjNT8jrY9yxFVYUBUl8QxD1Wj/p42xaeo
kBHFyZYi+BvHiW09xXqgZPqTNTlHMHz4LGm/pnYkWc36tS99zvNqBJ9jK1FpLjN2DfDGXpK9X/gP
Uwkn55BRyZN814QwnW5qKPwBVFCMSkoFI2lJnYXoGYsCGsc/SNPr3hiNr5t++0f7NpKE0AQ9NktD
2jLHLFPs1uOh7d+X7GsVp5K3wu7ebeQIBqtglMlp/vag9l8OPzbDEZlVIJY/sP7nbZ2TSRJNdmEW
ry2YbLGonr30rmWezO5DX8WepUrChr/r4y9UYqUAQwIOuRqxzW8qgYewzq/8SKl9KKz8aJGL1dWo
pJ4b5duKlQByg0YxXGVunhpgPrHmUA7jZUr+aqp7JZXojVCV/Pc4n79HsAalSpgBFifEMaYF6jO9
dxNwyIFAz8f498W0U8/g1hOxR5cQ43B743d95WYvBPPIOe2iheFqyfn8yVabv4DKL9EiiQiRo0pb
gJyScFyQqWGdlshE2uB1A6cvdtASTE/nwHTAqabhstj3vFPOmNmSbNSuy3reKEuwOVIPU7modRoy
+yHC6SyfDc3XZNQv+3bwnyqI2Y7cqWcrLSElqU03qx/s/Gs5N67dHbLifPvk993VsyjB5DI68Rih
eRpSfbhkjLnAk35UTBnZkWzf1s/YXMaVNiFNOoxYUfrFLu8VO7SWc6q/e+1iNMx6rPM5qMes/72W
YqYW7cyih451iT+yX8jOHOLqdUTZq5pdSxFuYNZagGRrOQt10HXYfVN7DVPvNEx3Skzm5aZdC1rV
ZLNpRjV0fCoHCEo+tPURQC6YikABV5W8bV6q2yrHRMMF/sHGCQ4+Uu0+SkfWfinqwIxPSv2lGL+0
7KB0suzuzuPmWpSgbpPDnQ5pjuZLAUK3WT2bpeoqywJe+FOe3um54WnDT8X5K2vob23m8yIF3ejz
OVdWZOQQ09vOcEeqA40LVzUlz439M3sWIyrHGLU0NewkNMqHnj1o6vzUR/4cOZLr4qU7XTcS/Zjq
CrQCYJdr3UhbMpqp4ZRfGpN6CgpYbtzWsgKgTIiggHo1OTUrliQ0e+eoYxihamWE8C8fg1gH+p7X
XCHeArqgEFU55zkqz9UXYg0HmmQHksees8TuQvX3i2UdRk3GifzS5V2LFDSBFO3Qp4qehB1V3s8p
+2shracaxem2M1rvzOv44lqMcEKgspk1tYcmVL2J+dIoBe7UEqjVJxUwKug1Os6p6usKkYjdNzG8
DgAbiHlfDFRda0aHGepFJzCxir5NgGYF1ohsRAEqceNmxDDH2rp1jghxW03Wo7yr/BvRgiNxrNKc
tChl4TIoH2g9cyCz5pbSIZrB7e8zarwO8+4fX7yRKKjPOBepwxKahOMIxqbvJG/8xvJU7VW9li/F
CCozDF1WZzpJwqx4k01+tNxpseTc9tXl+dgEdelKlvcDjaCVCn/TJ4N2lzOjeq/b6HIxeGK5ZpyQ
S8lI6ddWOUquANnJCZZeT9xRhx7SqYM7rfkWmW9m1nrUDm4bxb65OwaA5kBrjf7Ya+UkJG5ohRpv
OIw2Kin0Lh6ahylSjsANCNNWPY9MeX1CbTXEZ5nCzrbVwssSo/VhCSJ7NC8mXpxav+pMvXAVwQEQ
xTGwmXj4onclr0EVFEk65PY39/kDhM2NUM7Shgwf4KCVbEIdJK+IV1P7zOdREs7JRK37vwkZakMn
uj3XsEDAE/fap7aPLqSojlb3uob9f03ieVHCkwGDLBiIURA49mbhsj45NACfuK0s+476PxHik2Fo
Zm45LayuI6WXkBCzTG49v/szIcKjIQZb5VxMM+ICLb8bzPntmBiurcsGpHYPZh04NW3Mm6Il/Ppg
8mVxujq1EmTda2QgVO1XwvGsTSPLn+bm8+017d7bYFhE1coCTqXYuFMTsyZzMeZhwstLnICfZpDs
2v5y/pMgHg3VDeRTDORTNKU79WifL0d6ITE7FPNw/KPFiK+6rMxZW0xKGhaKWhwnmiknPddeXxCF
k3jeMvFhV+dN3Ew2ynx8KA9j0nmRTSSOSHIq4qtOadEHBFhW1EQn6lUoIEe8kAS5uxazWYVwHXYz
t1PVTHhIy8gfl8Ht4oK5dTx8u30msuMX3DiIcTtW56gh2XUHzLSPdgcbfVOUX2+LWR3jixBqs5z1
MzbeDOCCJWIKJwttgDrn/FjpX9Ch5NU9YheJ49y9mDaiBB892iXwENuRh0qZuaPyCBY+hZUuYx8m
22+4jHxIJk7w07RMjKZI0c+A2sTPNO7f0MnwuWYjUY02q7Ks30AhT7d3U6Z/gsdGsSkBPgx2M9cT
TMgVJ0bVw20Ru/qn60DGtUwAEhhC7OksS0fQvzD/KNrpWFm665j9Y0w1Se5udyUbMYIzrRKKmWwH
NZ160NCIOB0HYNHcXsnuAW1ECJY0VLTQy67M0AdyR8yf86gcG7Vzs+qxiMtTNv+6LW5X0zfiBIPS
MZE2khxnUy8hWQCV9n4qPtZ4cEk1b9d00cEOgAUNYZg4LdkPwLXNWd1/SePKG1e8qOoQEX+SEfDt
q8KzHOFerVLF7tQUybiGREETfVcGVOiZLAqRrUZQOKxE7fp4ScOMW2B5BFODq3DypDSlH5Xsd972
m60T1K61ULAFGQQaDnQNCfdg4D/V6i6rJEYkW5Ogel3Mc6szijSc8+qYTEeDj4Hzs+aSUFx2QILK
Ya4Tow0man3m8C5RM7eN31a/9dTe7Ni61K0DRwnOsRYEiZj6dVzdmh8Hw3ijmcP72+azb63PyiZ4
7w7hdWdGHBcFf4hp+VDSwcWudRxzRLw8Duof7p3gvntq1KzUkauPFnJqleqLg2KFIoXMky1L8Nho
63ZI2yBrGg9feXLJtdKzjMs0P9KmcYEaK4ke9p3Qf7sojnv2aKbiSoG0s56mnrK4pvrBSlVvNO/L
QUbwtCrxi6sdU9MrvsJaKRPcA2ryJkjHaR7OIHLS6tEvxkbS5rmr4BsRgm+Y1H6JdIZgiJTRyQKQ
Wav1p+Y32pAQOW7ECF4BtLKlidnCHBn0PuiZ7SuW4UWx7DG06xU2YgSvAHXLljTDakolO47N4tKu
+FiqLRq049/ZOOCQUn29JYDAdm21rbIgYpwR3VnW4Hc5mBTQ7690rwO/+OcFuREjGFHeRYqzQNXC
LMpPzBzdvuPn3/ALGxGCAS0JnsIKqnxhjEYWdfGGkng2ebLoQ5T1p1ZGFLRrr8/ixEmCnLFcG3SA
MTHgsrnpnACikIWzWhw6jqwzn9zKdvzbS9w12o1MwZCWpJ3recHDBRe7308A1/xrBW3pMEnfSrJg
MlGCQfHY6BL0jqGIkytuagJUDgUCGr9lw50TFd7tde06CDAtYCgYuBeAp75WQkqSxJkTlCQHgG/4
fYEUAG3RDf5nUgSrGrTWRII7YyhHxZ974KBOA5dc57tuaLMQ4Z41oiKyrBYiMGbi0p9mz1395+1V
7Ovd814J16zGJyNtJyQX7CZJvLbrvne69TkGr7gCrH53iMe7pbCfbguVrUvwErzVMQdiYl2Fg9HP
9yPxNRlwqzB/96+LeF6Y4CLixmBjzCCD5W5/iM/tKfEdr5nd2e88drQktrTrY9cGeQtz+ytfzbXO
KaOuFfloYh+Lj9F4tiflkMz+KIXH38/RPwsSO2Trwekbu5iTUDvZJ92PL8UZGEBu5jNf1rgoAEv9
s4cbWYKDmIiSmXUOWZXjqseQH6Zz8s3J3O5Aj+fMBxvT+9uKsWu5gJ61MDoGPDyxFY5mhQkngbSd
YwfUCWdZfLyreJvfF7SdTWZbZQ2UIknxaG6t+IShNOQgI/V1QLD/bB2m+hCiAMYB/17rw2Il+oJu
RR5q7T2tDBesb3P17vZu7a5mI2P9+yZEbqahBDQTZLSm4hXA8Cur92ySFV53z2QjRdgzMEVrQ2Hw
ImSWcpwiFD5jfrq9kH1j3cgQHMIwoK0YLIM8bHKvCnQ/PTqH5cH5Mh1Knx1fh3j/8mwE15DPpTr1
SVKEqUrwiOVHoNAewENyaqMPJXiIbi9u1zNs1iZ4Bh43UWXlZRHW9kOl0wPCCndio+e8jhv0xbJE
7GGrAuhLWjdFCH4cKFvuFVXkW8anUaYR6xe/CMCfVyQG4OncsJKNWFEzM+qCPOqSN+mbrpsOGKnw
MeP9YxrTv8aKfb29kxJ9F1NEaNLnRR9nRbhES3+us/EXPO73kkbG70SxmwUKAUSaFdlCW0whmMob
o/rAtV80VSUvJolZGYKDyJjSF4BVhhKSb1M9pq5Tqo1Ext7lDsIDB+CiAGlHlfzaQaRaX2F4WbF+
APfaixr9jP/FHUjvG4ZXYErVqH6niLSVKJgWyJ3zdGEZeFTqrjvVyY+cvXeUwjdlrft7VrUVJFjV
qNSRARbxAs92lbpR0zyoSfS1oe1Jjz/dVru9k9qIEtNe6YKmzHkYinCoK/ChVeZn0kjSQ3uavRUh
XLSDqmTob6vgI5YCeNKfi2g8RJOklrjTJgiyg2d1EKdKs47GFuvg94CJ6Gfn+FKdlaN+YMf6fHvH
doOUrSTBgDo0zltshqWWlJPxYDdKfIeJ4rF2Y+QIYgYSq7lO8xDjMdRAzwbq/JwObVCQNpKlY1cl
F73VSmeNwAxj70DUuTYCvZlM3jkYy9Par6D1cu3W8pasPBP0Z06yRvvdgwTeFZKjwKICMOe1MCtT
I8YcjOAt9occ0JRonRiT97d3d3dBGxnCW2ooTaTQTRWX5ZwBGlG9JJH1gC5yj/XKuZIlzAUmtP9d
K+pGnHCWlrmMEa0xf2qc7As/lKcW0zhPk6d6xaE4qSAalbwVZXsoeMaiBazSYOVFmCnnLgGGaRU5
D8Y8nv5sG9fP2ERPxDQKPuQWCl4KUNa8pbacMygCy3d1hBhK4Qr5VeuyJ/dupLO1DGFxc9TXnNoY
sx2OoFXDbqbflqfxOB1ybGYhewnv3dRAcdKBVLxST4m11qHBzF6lGZBmP4KTHLlHVx3vSfs2U/HA
6y9mJLH8fbf8LFDQf33UtBgAATzsW55elEZL3dEZvqhKDHnUiSR+c981P4sTTIGRZNCZiUgkIu09
xvLhO2Wl1/0V/ec+xOr7aJtR6US4p3WlCIYUDyEVIxNR+2gySZF3vRtvOCrxyZDlScFStPCEWaUP
btabn4wkLQ79kKwviKC0k0tZ2h9vW4FseYIVAJimNTITxlYXP+hPyivXWjwum0yWSVn/vrG1yYh5
WWPmJcyWx9l8UDFcTkZ/SMrD7dXsuo5nXy/SJMZLN6JjEDZtTo2LkG2sMTWoHf9MyHqOm8XYTtfn
bQIf3wDViXf39dx50hhbthIhvsmgbfHMcYPWymc6fKWNiojqt4z1P9UWHwyMc7TFqChc1xwOj3od
fdKsQMsk95VkKeKdqNHe0Se+wNEWd7kRcjswZLQHMhGCH+DUKfK6LhCi9SdmHWh7UBLJqUus0xCu
QRYbIwhAoVoECPM4EVX5kCpeVdu+bRyKVHI5yRYkXBPW3Pzz6I4nk/kqjd2uocnRmlhwW5n3Peiz
DqwfslFmeJwlHmc4HSO3/7I5YiLiTJIJKon1i/hrHR5ojt6uFzo4hs9ZtpKuoSDlava03Nf28PP2
knbjIwP8cqgQ6SiMCydVtyxezLTEKJBtH6oqCWpGH+ZJdduen1pAzt8Wtx8gbeQJZzVorGtpFmEL
w/6gH/Uz9+JTdVi8yF0zjTKs/l3V2IgTTkzpVYvPFLs52Y+KcjajGlM9Es8gXZPgsJU+Y0BRgcNO
7v+XPCVedWeGeDIes6Pjc8mDWypvPdONGjoNMkBAOoGPyFzt6X8pIOuhHN32EzkVF8c33t4+tf1d
BB+zYttocxOxGZhTc7uw4cTr/Ndi3hfFA4u+3Rbx/yzqWYbglXSG9tF5whu1+26cmqA48pN9Hwfq
ZUFaKz+Z/m15u0sy0dq/UqeiriheGbROHT2FOHCansqau9yc37ScSBzhrjU/ixET0OqUNRw8HDzM
7YAZD0uBjqA8jECocHs5u54JiVPguoJvEHCy1yqBEeCclP1chC2mr5XqA6xaImHXUZjUBuIgWKUt
Mdu8JjYBUA0JdfEzZ49LobhFmpzQO+Oof/3GYuja2gQcWeDQCHEx50ZSqbWJkdj8uODmGN/f/v3d
s195xQFQC9JQEUDRsLRCRcEDcXfTPkwZf6MngBnRZNwnu2fyLEbkMrKXzqlBEYWsi4PmU+C5MZP+
vL2S3UPZiBB2aigBbwDOOKA4LQmSVAZQiLJ3gASxXSu/01sZ7Z5k40QO4CIdMq2IBryQ+tPQH53m
OMuCX4FA7X8vaB3j/eBOW5H3XhTFl2x0mG0X4ZzF7Xmpjc88b0YvVZMPKP73rp6UpU+r/H6Y2ncx
0ecj+uAyL27y7/OA4b3MbBQXzE4fb+/03mHq4P8BUzUuSV005CRFs9CkrYXYxoo/p0pEXSsD4ctt
KbtFpK0Y4UBzI0spGTTkXzSLhKB0UIKqmT/rFZgesl6/d1o/idWHKcE4ZJdH/MIKZfT0uVkOThTP
h7QqmcSF7cVyWDDw4oCBqILM59q1lEYx10h54NnYvC3LOw53yb/yuUaLjL+ASO/2Duw5TB3UDMBD
B5818BCvpaG4YQwLictwbsilj3/iVpu8CQMLt8XsGc5GjGibZqtqXWoBz6ipuy9jPl+aLnprjblr
9oU3OZJk4rXdrGTgGLwC7DrQ/VcWJHNVru2FnZWT0cTdEBQqm89kbsG1MtHE661m9G8vTMhbvpS1
fstWVjSQJumdHhX2cT5n0xChWUZrShcUoMOnxJwAwGZnlelyUhkgY3ZAusPVQTYGeG0vLz9jPefN
Z0xzr6f1iM+Ipg+k+h69DpHv5e+vB7z5fZ4sQ0YX/D4IMT3T7tyYnVMO5KDu/e0NvVb/vwVRChp3
A03+gNhSlGtBZjK3KOpGXbDgeZyVP4lxLq3kUC94M8++xmVZqGsD+FseeoEMTC/A2ayGcC0v0g2i
pHZHglgNG+1D3yo4nreJFFPjpU4CkdEGVQ3SvKBTcwRDU+y4M+u6joIKbMguYW18zCihPqCsZaB8
L7dwK8oWt7DT585m6PINkgRzPwDs8O0SjU4OPWiOcRiU2KexbNL+5TZeyxQcKbgH0mJZgUaVuXya
IwA8WdVDZDmY37QWiYrc3kpAdF8fGW55s4yVqgtYh/IAwKTmZro4aXa8rYl7YnQVFSgU+3WMhAhL
sjPbsDtbjQLHTn4VLLuP4vg7aTJJmnBv57ZihNUoACvVSnuBmMpW3YjaJABnSXPUpii/Sy0mHaRc
f/A5lbdqvI42red1CU/QCunVbtSaItAxRamp1dcqqnwn0++renIbrfHjtPLmsnTp9Muyan8qqSSJ
fn0bvPyC1ZltnAnp2szq9GEKekyuPVS2NgfRMGXHdtKzEwaALT83clm/0u4+o/MPdFF4V+HpfS20
JCWpE4AgBiqIfht6MMnkNUBqQkJfcqfuLm8jSTjRiTlJz5OsD1oGcIOBH0e9ddMJw7Lj4OexJRG3
eo4X57kRJ5wniSclqua0Bz656Q/kMco+GlbjAt3ZMzog50a9i2qXd9s4ZEKFI5zj2CnGGmtkILfI
jcQ1bebVQGtRuvRQkHfI3Hls+XZbqOwIhbu2V4Zo0ms9Av7Q4GJQx41BO9hzw21sGRq1UCX8R0c3
u7p+y0ZHu6rpxoQ5ZTBf1KPq16cEUxL3o68ekgvmjW8vbN0t8QhX1HcVCA/AAXWEIyyrltJIi8Bm
1p7T9kFNJQa358oADIyGZIBWYohfuL21KspTO8tIEHVFfG+NJjjmlKgB7EbenW4vZScgAmfnRpZw
oZbJlCLqSUkwM71xS518URQ76Erz0jnmpbLNA6jmz6xIjim4WW8L39tHtF2voN7gUjBF6Gk9juxK
52kdOFOE2uYh0mXGtmfbWwnCNd7EbZMq/Yw4aAmNBG2ihnZk/LNKj3ZGJGGskKP5nw5uhIkYb5GZ
zgPyaX1QzOqD5twjhvZ068kx7uIIYCbMS2jhttmDpVwouZCeS4x8bzvRnwE6afSJOSgaX9vATI10
smLERprzbtAfR1l2ck8tQVIKBiZUAE3MTFz/PiU8zjojqgLejcdYTX1z/Doy2Sz9Xji0kSISvdCl
V5esnfpAKx8I8G4b4hUaRwBbuLrxzlDa4LYS7q5qJb0EpTuI28Rxg3gYC9rwmQRceyqb2tW/KrKG
bOHV/j/NcEAdul7jyNqIUStj6kh0ZekDG54wqj7O2SmxeKAy4MOk8dsiqt6YSwNkpebQT/nZtPML
oH2PVGVeZcvAg3YXjDIuuNjBk4i36/UxWnG/dG23kCCNTsvwvXWCwv51e093NXEjQvDGTepUowas
3cCY+P+RdqU9buPK9hcJ0EIt/KrFttxLetxJJpkvQiadUBK179Kvf0d5791YtGCic+diBrgIkDKp
YrFYdeocD6oOhyJPJKdtZxUa9LnwxYA6t6mlb1fBtD4bmgxyTQl9rijESZsvEbQX769j5wYDffrq
7JBrAnujcKLsrsErpIF2gzY/8/FrRH9o89dSxrm1awUCyqBVhZMYYv2YlICVqDYSSRWgbGCDnPih
YE/ZJOkJy8wIO+bwttPtwcStkrYu2NOj8Qspv6oyqZCdb69BO/I/qxEux2bAQLatGkrYZM15NpeT
vkg+/Z4F+ksEEBgzeLFwZUWjHWFqvWGAHNj62Rn7zk2h2u3f//Y7DoYwR1eoD0DYllhmzZy2LPO6
HMO0ao+krY+sVIPRkAkK7YS7jZl1sVeJS98qg1J2UBuc1DnzOqWePuWdlX1P1cz6y85Rr0N+ZrIO
NGyK/j486a+4hCoSBmXBKw0GZFE4hORKMxo2SBuz4e80/ZbWuKOqB1s2F7e3lRoYgjALBv1z3RE+
GJjgITAL7U2IN0aHZPkLbwkPoyiSw7rjFqhDgGMDzwVzLUVudzLKSr02o2kIy45+sCh5pI0sHuyZ
gNgJRfEdupYgfNmasFDrq/MFgqhxbh4btgRx+e99r9vLx/BBkAuZ6Is4ukhN0jto0uYj4lrBvunJ
G7enI5knF5OE0Dx3kSy5yYQipy3JHfY+EfxgVc21yVrR2a5MAWPEog5QGybQI0xOqu6zRDIure0E
IPC8myYaMZDvgeDw1sZE6lqPYqMOld6t3tQ8AKWMZ/zt+MQdtGPkRg/JR9Vvjv3p/p7uru23XfGG
rye1nGrLGMNipL6Bt1XHuT8yWc9s1zmuzAgv1gLuPygRtlCln5PloPUf7y9j3R7h1XG9fWKlmZTo
xcS2DufDXOTYHSIye4n9b0lP7SKrtEs+lS4EcSuFWgyKtWOIfr5fGcEI35vrL3T+dn9Nsk+z7ulV
9LP0Qc80A3bq3njW9OyUMXq041Li3XtB9srzREY+3S6gQJ/DA3r+s1Y/NH0w9T/HpPJ6ehp6yT2r
7Ty2Nx9q3dyrRRna0LVQOqvDNohfFp8Hqkc8DOL55qX1Na9xG089MI/71ZMM67H73SCVhETCwqtK
EyKtkfZohcQIUFHxYuYH7jTuAuEIYI4lO/oLIH/jjVeWhMdAp1Rcr1SIB5r1FzZcBnPyqzEGFfDP
QsP/64KKf0jNi7HgZadAHXgwgyytPaObQ7Kop2ZWQ4iKYbCJekqWItmnjzOoitPqJ7OnLzogqCxq
3TjrIUjeHNjcHKNe9+cOnKTqv3ZlnKw09hVOHoqJPDGS+LXaBnM3+NqguhF7jNr2D+4XpIH/v7di
GIHYVV5A+gxq2EQ/xVHyiF5bcP84SD6fmHPk6wTvEJnQYlqeaBd0EdjECHHZ+L655/+9+K/XIoR7
dTYtSDvh6znGx6L7xgzJud6NhVd7JcSPVsnmsaDww9myA7uoT6ywJB4o2yshdExj3RjJgM/h9Cwo
jArtwPIw9rXfMl3WdtsNvSZuflD0ohoryvVqTk5JT9ImnPTmZMfKI0l1v3Kc46i+zkwK2Ntd2pU5
4aJkaUeTniOARMWbZqOd/DNqKuAJvt/3tr2iGQZbfy9LiBY1b6AFNE51aHHwAKLiqdYXqzCDspg8
RrnHtSbQI8WLUyNcpOUKAb/8f054ZV4IIUBFp4O2QHfSeVI9DIwe+Q8oYsdA9x7qA96O9uH+evcu
GyBAkNwAPQFZZGFbB5VHTpTGU2iPygfiQAreqUpIwRuf3m0HU3oO6ndrYc0Qs8SFpKZaY9IjNGnz
Meumx3Y0T8qUv3859jp/qAPWAuk2sXoGmqg6gypugzs6urSZcbRSJ1zeSSzw6ysh14VIC6RwbQed
iO1tlmKGVx8sSD9OGcTlF/ZYNOMh15rj/U27jRjEwJAmqqkWOPnglVszecqp4lROGVoYQOyKxs9b
CTDs9hBvLQgBYyz70VY02oWsSQ5dewTvka8D20ubZ95JKrg7vr01tvriVQ6gV2XNZ8Uuw3ZGmlsc
WNDhze2lnyErfGAHWQv9NuXYmlsjypW5ugSHH6rJXTjEnxJSugOYOdL+B+ZkgIzkbsxeIdQuCcDS
NQrniVv2Mqv1XIZj5pPzOmlJXown+o96ML3qGEnuxtscbrtEIVixzNbQkEFDiJffs6x0p4K6RTW5
CjhMp0l1zej94XFrUYhPhZU7mtLhG8aPIKAI66N5AUzSb7zEd/7LvRRjhulE44RXJySLTbcK+2Pp
5Z7ymbhlCCHIk2wv946CZeGdDG1LCs1HYS/7Ik36okXXPmn+Zfk5biafpP/M3cnSZGzoO68+yIRe
2RJ2sa61GKmGioXM3nJAB49dQPrqRWF31l/L3mOJqxw7DE+7MnTrr2x3m6NuTIsF+TlbzDhzEFP6
c/VoHjDPl3raxXopTkNgePglH9Jze2p8qFhIzv/eebxatNi9bDJ4zjzBMjmudAH8aBy1oDnK0v2d
G3y7QiE4E8wXjSlY48I4hODxY+pHfnSix/FVkU7w7wRossp3w2ss3UEqtA0xrapX1FZylA+Z9tIz
+mwzGZZq1wRqEBSFCHR9dSGKxdRZoACgoRAKhabUyB/YvEiumfWvEFyCgK3aBMc4nuqo7W5X0Xdg
guIxiqC2+qIrP4wB6g7Jm9GWksfCTh0HyknAIlCkjJqli7M+s1GbagV6l7DvvmEAGE+S2G2J44FB
/6taDC4SfZdY7VMGjeP7N+mO75F1A1EEwxgUmg7bJSYpZ9kw4y5w+E9N/6zaL9Xc+YWRexhnVcaP
mSaLXnvf7dqi4IWD06tTbCJQ4u3pmk3mGrJ59D0LeNFCPhmEfnBCIWCN6dAmxICfo9o/tS+qzPN2
LhdkUXgwr5BXG4K/2z2zk6mtsxi5QZP8o+Fr5UrtYdy4137Q6qXqZanb3ie6NidkB2ne9j2GrDs8
d/E5XnQbB+qtdn5ktHKr8Wuuy6rM618ouj3aTlCeoUD1OiJPe62SurE1HN6SKV9GXtsulDBmd6h7
IrnJdiwByAfHB6oP1XlbWJqeq2xSBsbOxCifdQw5G311tnMZU/TODWaCVhZtTvQjiSq24NFkWIZ6
rSVqkEyNjKeZvNrLV7vL3EFW19vxjY0pwTe00uyoWkK3vsqZ56AJnpbsYaTRMepA25xbeN92ktRe
ZlLYxIZh1h5Ugig11LM356+z+aIn/zILk/1KMJkSSNPO4TJRMgcyCwqZFnCfW+dPGq11ihZdLuBX
iwEiqhihvh+S9r4WnM7GwwvBF7F9a8GeJ1D2ExS1TTsGtkDz07j0m+KNTklgERn/+04jHsC93+bE
ZKpK+UAjHQ/LNmhCHqC3YrtgU3brj6qbgGqGyND/e0mO6SCR0sDag+Mlxg8z1WwONDus/Rz85BJ7
tacEdeEl3lR5C+abS388jbNfnu5v7O6nu7IrfLpZoVYSZzw5d0XKXL1p1DDJzFHiIHtnGl1/CD2g
BwqWPGP7+RonMlniKEpo1B8hzuJBTLXpB4mP7BjBHAag4yq+HWrlwjEr24y0i4FeVESsEzQFXLvS
cdSW4P6O7ZkB2xQxMceAWQ1xjJnEOa2YXYHLstEDO0pDaH+5NWGSE7zzYXCSfpsRLuHZUnS2VM0Y
ThF7IGbzoi+9xMTOoQLBteqgCYpUCSSq268CufYK9DO8DivdcjvQKpExPmlN5wLdAlF1SVV7d0G/
rYkDnkh1WmpNGjsPvXp2gO+f+sS//2lkJoQ9W0aHNlE9jWGFYSNqVC8YXHz/7YQ9I6gAAVoFvL5g
QoWC89A2KBqOdXVQK+sZJIM+QPV/4mRXZoSEaASNrj6lWXzOi1e7XAkpwol9v79bu58fZRmA5yHz
hsx8+/lno3QmAlK6cMDnt8y/7fZn1fdeOz/a7P3tIAIWRmcVkIfOiyH2iWk8ZHQy2RSa7ZlouAVH
lCOd2asNSY9wJz23DAc9Yh2yISgErS5yVcdYLJpZmY1FMcx0Ds55SjsfpLBxK7Gz62pXdtYocWVH
N1va8hqF9mGgvtVk4WjS4/3vsxtoUMrC1Yqs9UYFSiU9cHUTRS0f8Oqy5KdyiAMMb/yJq2FIC/oE
YMo0HeFqnZe5TArI+qHSbhw7Pj7kRevN9R8k4JCC/UX/sNI1i1VAaimE2xau1Kh9jPVgsd9fnINO
IdFtlBipbtrCRVYDNpJqMy7QFhJ3tXZaTBYwXqIaHKDW+AdRAM2JFSOAoiYSku3XX2zGyFzBnflC
fGOyH6G/5xZQz3q/B1ybEdbEF7NviqqLz3NNTlVbnwu1Phmp9f4cwCLYPMfE/IWN1/N2NRZTYksx
HRQWgUcYEnfUM8nVvJdQwQQSRLyPUGo2hXimtSlD5Q0p8OiNgeYnQdW5nQuuJFf1u2P7YEsQPnux
7dqekHC0Rq6zsUWlXh2+1fTzYEa+yZ707Im10x+cn2tTQsSxi2KqqqwGrXExHZd28HBZc7folM/3
nUGYXVvr6PhI8G6dWph20sTQplp9WVZxDziy4bFTcYh99oRGvvJpCJwDOa0FGy6Dv+7FIIKiuoq0
DcFbnEjsEgV4gSSKz0MEcUmt9AobZTCzl5ynnecsLtPfZoTPpWTcsXVo+IXZZHeeps1xwCelCegy
5B+yIb4oraN+JJHZ+4sjJfDdcRa8a5E0rtk3ci4hArZ9N1SFNigfl/ZE8y9598FxYjcvoZwpy1B2
rqeNKeFEN206L8U0Kh9Z+28/PjErDtgcu1iY5MTd3k8WhG2Rb2OkHJqnYh8fwLais2oUaIuWPUSk
xoCHLKLfrgUpELqZKhJhEGTqQtgYlU6Zs1bNzsbw90g97tQQ8IUKzJf7fn+zEhMz5CtYyrANAIfF
sqFiYu7aAfzzHDtK6XYJUT0DrPLv3S/BihCg6NQXvNSK5Nzm7LCK1g8o4NxfyM1+rSYcjGFQQHiB
sRb2q9QoLasaJgob8EmsBQ0410y4y2VDvqsXbYo1W0tijbJT66ZpcRmGFR882j8UkXFAbHYTk+H9
/5Zg3vf+0m7jO/ClKqIEci5Ed4j5ba+QGOxVTl8ruN1r4xBpedDZlU/s2SXGc5M4AMt/A+4cyAvD
jcvITeZHvfz7/m+4CVX4CescKPDIaJqCr3X7E1Q7S5N5HNPzQFLXUn5k/afJ/C9tCMtUdLWv5zpC
0T+lHsl0TM6uE2mT/18txRLCIXQErR58AOkZEBjSDa41/sjyb/dt7Hjjqv9qrBUbC1mfkP2XdgEU
odUOoU7KF9IXUAoew6Z5rFIiWY3M0nrAr1LlsU2t3kQf5RzBEcxadVlRwPnBl08a8/X+qm6dQEMS
qK3tX1xWCBtbWxW3tEkdVDUkIC20GA9MOp97TUbaKjHjCNHCmGlSYu+GUC1yMxiLZvGyJksf1WGR
3Rj7phAzoGmD3jkR3Fprpn62ukUNl2QOtJw9LHNyUIlsNOM2ymLjcGgopL4xMyTWxzWgnayK8SHU
ytSf0v5YKHpw/9tITIjSVKmTNIsRRdkZw9pBFEH/b5IdHJkJ4eDk1aJHpj1lZ0dHi05THhiTDdve
ejM2ihqINRRAA0xAbD0M/CC2EhlFfq5SyCpNwcCcQ16dcpQ972+XzJDgY2ULbkXb5vmZJmbIx8x0
WTUdGCY8KkimSozd3hiaqWEOjRI8NlEQEs4o5iCWHpJH+XnMjkPBTia3PCWJXEfzDD1+0Jh5uL+6
2/YWMq5f6QPoYTR0moTlRZWWaVPSTmGbEw9qm+7SsIepUDw7C1UAHXhpBc5aH+d/3be8c6BgGCBl
dBdMXFhCA2+pBmayCgoDNOuoHw/NcprToXNJncnUsW67q78WibkgtDspADbC4S147iiD1U0hmL0f
rLF8yvNTUyj/Kkhi0PUD4DE9qi2YOdNHO48kLeQdBwJSiTgoh4J28SbCdxDNK2ilAN9Wc3dBasYY
5kIy30kllb01qG7TDW1jSPiUusbLolBgKFpYMDL6VJHOz+Lxoeb8IY3br7kK2rCplE3/7WwvZv/W
Kumv3bXEMLyMmsLjXpnCCWcxYm2YQcnabv7Oqvo8IEWsip+29uRA+WOgsmh2u+iNbZHhos8czAXm
wGglqh3o2hP63a7FJ6+Y4qPBwV6SA3rJZDMlt+d0a1WIPkqzpOiiRxOK9NFjXH+os85NWOrqyXBQ
m8HrM8lpkRkUvq2pNsAFldjiRJ1AIMtcpOmupTG3WT4p0eeFMkkkuvVarBA+i6EsEzV8kTfB0rOk
4JmBiSmMbfMlaAbuz/yfTlYh2P1+KBWt/SoDhXxhJ4EaJ1GnkCasx+4ILqEAaMKgp5ZXg92nXr6D
DSZUjT+ICOvyfpsV9rOfyASMP5Znjo07x68kU1zVOg084Pm3yj5reAnOVbhUMhrxnYALy1R1INzp
4NSI5V6MhExq5fTJeY5L081aDQiJVdFZocX8ucKUGl68NA5aK4dwIMB8QY/88Hg/9q4v6W2k2P4G
YfVT1xUa5RT0YwrxUD7Lyskly+KTBS5c5v59a7fZwNaakA2kUdxGKRmSs4LUNuPLEfTL3n0TO8dj
xUigLw7hb1wowoKismuTqI1QdQQ8nViHwbH8sol9Z3oAJNqcmcTe7eWFGsXarsYdba4fc5t9aJDF
5Ck107MdHUv23XFOHCPB99e0cwI3NoQc2iqcOBvZlJ7reLT9lvdJQAq9O2pK0h0W2yokeeGeZ2IY
BEBUrAcF6JtqqlHrmlo2S2g4i6e3htvHP+IZ4IIy9iq+eCP7ZubMBzmkZDd3V0pgGlcH+D7EGF7y
OImSBs85xV4+6In+OS1a7mUOiInp/N6KJFAnMPUfW0K86YxqqHQTi2wgiDBZF53Nhz77Bt43Nycy
/codz4cIK3o6uoW7EdFm6yYlCoW53cT8TEeGelqpt14yIsf6A0f5j5WbVFhLlDTO84KfCcd0BYi1
Pixkmr4jeFTBFNX83/vm9s4aAasc5FgwU4uccbsoloCly6prfp7nelwLGQsqCijRz8dhAA1qllfd
d2gMgAJjhh7gJFnsXrKB0bbf5ldnunrGWr2WOhNfunBCUWVYtMcomi555HzBJLQ7qqg5dOkB44We
CZqAFhns/dXvnnwQ04BsAfU8kAptzWOGxVy0VEvPzWKdy6HywJb62OkyZoq9TUZnG0UBCHTcNp00
2hv54mTJeehqkDmc++Evpn22tfMwfs1kZaO984eLHpxnqC/j5AtuCq5sMkGBOTnroNIaa+evuaCP
yRKHcyXTG9jZPrQ50eRWLXQ6MOO53T69rQonqyzQTCEJhjDEAVHuqU5MiZfsZBXopFsUNHaoh93M
w+IRrS2l1qXnPsueIZIMjpTYOSg1OfZG+9HIcOnnSNXG1g7f7R5QKnd0cOOjBIYh1u36FuCZFKsb
+XkYWOaR1ugP3ThGZ7N4PwISboGKL8A+iJsmeLu2psZpnulS5fwcz9OPiHcHsLR8yNq3PG4kN8Pe
R0MtD/yN8A84ibAoywKCurMdjqIsGETH5VunIt8djeX9Zwtj87/tGNsVRWabgMSB8nOxaoynb0Qf
Pc38ev8L7eQ+GyOCs2c2VSJ7JPwM/R1oXy5wkeHM+fg2qdYz2F9riSvu3AEbe8I1XkyK3pX2ws91
Vg8uSjt4HvV1dri/qp0jjJYrUiC4BAB7IkpV0+dI0xRgRWv+qs1vKQFjifVs1ESymn074CuFiBVK
5/b651fRV2sRmEiaZOcaXIWVGT2MphoYkfOXVRuStFFmSvTvxrZAJ8PQ17Bmt+Ifm6TzVXowZDSs
e96N9gxx0NhTV0T0dkmVPveQ/UBImqPRT5vcL0l1HCt2ev8XclARRQPPgaC5LiyHMX3UOjBUhegH
PaP05iVJ8TIVhotERLJzey53ZUp0hqECU0cOePS5K8cfah3rJ8btWIK82Ps810bWH3HlCQAntxn4
DLJzSljrqkseprHmO4leHk0j6SShYXdJmG8A1AftT7BSbK1VWa4t4F7pQorRb4YGdt5xCSP5XmBA
Oo/Kq4PaK0AFWxPJMFszRg752Wye1Pi7UU2oWnsO3p5ZJaOv3Nk8lC6RQ+CsAognMvxk1jwmWW5k
Z7v8YCQfIrwEjflMlT/IVmBnBRcZFG8VKqwptYo0ZR1YaCz+GqXPqfaX1bze9+ud47Mxsf75lR+g
7z53vRLnZ+A0XVPtTjOI6etONumybwYYYfS/8T9xrEwH1kPVWpBCMHZQtVeaeFH7cn8lO0mDAY5s
EzKDYIgxRR9Du59ErZrys959yozPnX1JjZPWfcqNnyV5NIf3l3TWRgLQ3OsgKpjptxtHm1qvMgof
SPr5VDnD597KX5Yp8SEQOfi63fijPf1Bqrcid9fUCF7u3MBziLOki4LKfJwmn2wa4TWnnwEZPo+D
LQl4e1/sypRYFWxQ71mGhvShvRQf7EF/wOvvbJFO8tX2zTgG3o3IHACc2W7jODpzlGhZH3KzetQm
x8tp/TJn70YCYqIRgGfwldqA3oPjbGsGLx58SXCknq3RdkGWNXpVPpzsTpdNp++FhnXeBKkWEP6g
0d0ayudCL9RcH0LQ+ev6CxSHnegnqOkb68D7vKpsN1WyyGiD+86/t40onCAWARy2esfWbNYPYw5h
WXCegSi+RUEDeqzerMjYIHfiOEhmUSfGIQZdnCjGMvKFscnQs3MBEh41Sj+WQ/bp/kp24jhMoImC
DvSvmvR2JX1S4tBxrEQpSfNQjZl2YNT+NqRd6cfmEHkRiDcladHu7gFTBRAaEjCIzWxtAqgwNdSO
VlrG8Zj1yVM52H5vsM/3l7Z+BKFuh6X9NiN8JAPafO1o99mZQwyoGo5WcaH14OfToZz/7UbJW2bP
E6+tCZlrNi6kjVfuYczU6B6L2zOIIhY3s6zTQjPJ7bu7g2h5rgRG6JGIiWWPcjM0M+YhJJx66qwe
I956Ck2D+zu463+YlgQXCZCceDVtP1TEpyIe119vjMnLCnY6zVFRSWpMu58JLOImsgh7JfLbGuEz
8E1mjA6r3lwWcF04gdY+J/RpbJ4WGX5gd0FXttZ9vb5+01HVGWQRzjaHTKDaZNDu4zyTbNvu17my
srrKlRX0d6qlyzFhaqnDs6GNx9SJDiiP/PPurwP+dW1ltFMhwCHGvoGbg57beX7OdMVTKuvDxGUg
y51LHvglDLLi3sVxJcJ+xVnOWoPpU0gwmljG6TkmiZfms7vwvxWIhQHg68XTuxkLTLzO8F5B1QMU
ZJjq2+6fo2WqPafGEFaEe1XRAKG1uCpfDvf3b+czbcwIJxad1K5F+wnMWSM7s2kEQ3P5N7o7ksxl
J8IC3quC/Qn3IfjChdXMid5pfdkP4bjkZ7bwp2VSqZ90TlBzKM/wWRbSd5wcehywh+MEcISYLuNh
0UB9ptDCZDBqX+sU/gyEpmwOY2/3foHVsYc4oWJRX3VSrqQzGcK0UB8mNrgYFoMSgR3c/0g7YRU9
CkyTgo4OuGVbqHLogE/mlYWEmS6Husn8aQkq9rbIpt73VnNtRox0tZoYCcNHGjAtSLLhGYxhAdpc
f+ByFLQV4AJb8fHigHTfGCo4Csbh1xhOZptnruh/LYOMh2bv2CK/w5AM4DEoPAub1jQpqdCQhBAE
kmVS90FvJ5/NiT+mFoLRkuXeaFdvpp3KJt72t/G34fXPryOfMZVtZeJrQSn1o2UkR9p/j2YoEt13
CpkZ4eQi0er7jLbgUlqgbUTU53FKA9WO/Ptmbns8wJbYwCGss5YItSJhQGOlQ00VPTozVFMg2Hxs
yxb6q4s7FqArNE/RZPo8+5r3783SYRc5H7CBlKCjLBLv2OpkDq1txj9nWrZBMk/jp5zR0WUYr3p7
9xpX8sCVBRYyBvBIIVXHirSi5KZz5lP5L7erz1OiH9pleKbFELRp9IAiwysUiQ9aJcuib9wUq0Nj
AJQ0oKdBJijkgWmiKGThCXtIlwYJGhDhCfMH0HQOIOVJ7H8crXOLXna77HxVmLVgkKLyh76McDq6
MtG0tkxhFogkxGIXfSdX0w3QDDLfKCI31kCYYKCfJh0Zv3FcLBbENeiEIJJhpEC4C6hR9zxXYhCE
QSnJHoanESxKDE3e+x/15spZzeDxj8YkMgOwNm6PoYLuuD6MMT3bGH92B0P5Yk/IRtL+sSjrk425
0Pv2dpcFYWDEm5U3VuQIK5sEQllarJyttj4NTRck3UpYUkmWdWsGXQKkuziKQAYBwL1dVrHUpZaQ
1H6r0ZcIijqKnzV1pm43zKMEHbRniqAJuWpurDBuwVTcLyohETMvtK+9ovzSQQjeUmVx7OampuZ6
FYC0GlT/wKILieKimFPGu3R+o5CgUGnzYR7ry/1Pc+sKMIGbBo/9X4xJQnZNWsVWM3OJLv0Q+SSi
h6VyfDuxTqWqgexSk4TM2yO9PvpXPmnwEoBSQNg3Bq4HpccnvDhJ9nEq40NUBGavQcQgfaYroisL
WjZKJo5ucgS6pqcq/rEx44gH5dYv+LRkzlzUzkUbMXLcpUBsg06mi3wgvN3723nrF9BmAJIStQ38
9+aLoT+sGOjompe6rXw1mtzenjAWJCMZ2jGDU4sBHYAlAaEVsx5w/fJprBZyGdMT7/1MO8+ybvvt
poH1FKga4N7h6Df4BUhKmvVczeRiQSrsjIam44N2cHjAVIcNcL8pq9SIjrgyswP7gRFUdODw77rk
q9SgdkZe1Qo1L/rsaskA8JfX9NzXomdHJrgt7h5Ai+hMgMEYFwvquWJ1Zlh6PZ6GxLwUlTu0zFUj
N5Nxfe/aAA83RulA64oQsV1ObNCERs2ovVlFQf2JtombYuzHKmSkGbeGUIJEBYhaGs4xqpBbQ8vU
9XWfM+VSJrE3dM2hqF/sSTZPeft1MP6ASjHEjACvR01rawXEwmocjxa5tKDRwrvYp7VXt8/G8lRW
jeQM/QoC14UZPPLRCwMESQVpMT6P4AoA4vGinWCMfc7ClSgI7A6qN51H3wjm0yBTARE9HcBg3Ia/
nAFJxo1uBcZJ8rZKdXLh4+RFP1toZHSscS1ZI+l2D6GOseLR14bfWl7d7uHiVLOTOXC7clLDoutP
oDopXA4MQlEvnqKNMrD1DboDKwPhHi4RQGXRtxcDH2Y6bI3lvXmpDDsJ+TCVYVW/QiL2oe4ny5t5
1vuVOidg/IMIXp3nkdeaTIa+EGM+QF2AX4M0HDf/KpAgHAWrr5CCFxn/Eavg/2WDlxfZkUOaZ0pq
bykekOKU0/LOChiKAwgnoMTBoDEAc+JFA6KQxXHwCLiY7HGxFNdRnjQq+6K3Zw8xfp3PBVQO3LZi
GK7spKx1kloXllCs6nthNmEfseB9dwq6aIjAmP5FMMHbUFQdzWfAPDDAQi7xbPgKJX7PMn/gquRq
vhnFXLt1q1siD1hHnkTgipFolTnOBf/RqipYE2wQI32tlsRNSOvy7NPc0EOsfhjSxUVb0rWtV3XA
yJeMlvrmNP4SVkWtGeSKqE+IfaPeMsC92ePeAUQi7DDkvKigcjZWsPe7Px9MreAZAHMBMcFVuj2Q
xK5yx14M/VIWpcf5W9wkQW3JUoLbcKZBM83A7YacAL0A8SpQExRPe9ywl/In/bDOuEY+9Khibwqy
oJBq1N4eerDXoQcGxi6kjfBP4UIwnXgpY2VWMOw5Mh/KbK6uf1X110o1XDD2uFyhD6YFhCyDcLsM
QH5zImB8ZYpazetr3rDd0qWKxqoxSnJR8g9OfplyjBye7h+Hm/cZ5uwBMEBIQ2cAPV8xqk2gsy9A
02fFrgZ8EEiUc1tBGWv2nNo5YjRiOvGmjIPUSmhQzlHvKR07Sn7Dmqdurqj1NwCY5KDsjaeiOCZa
gte/bZLMuCy9qx2qw3TCk9TSPcvVvCIYT+z9vorpPxDAQFMTlTskFduNJfbQKLTuSmCrl+LYGXQ8
FfkcexSjOp5kcStsbLs4TEWjMLj2G9H4EeejG3PE26xHwCHH5EK87NCd6u9dgJbZYZJdDrcOA7Iq
B5aQoYPeX0RD2akypTQd6aXOT7irnqs58nK9Otxf0up22xWtDU0LODk0A/HphN0z81Iva41bl7kv
XEX/ALIOU/2K9zWdA5bKEoqbNYEKBIkYTgLCqQYa2u23snCbtRNL6QVI3PYwjp0ejshpDk5MZExH
N3fr+t5db3csC3AO8bz1mJ7XjLEt3ypj/ksx7S858GS098bYeAVniD9Gxj9TKhOOvonR+E5YFhgp
UKUE86GQyfB54nMPONGloIPyt9qaauM5TDPAHLsOq0xVpMs4Hdc923xBCy0MQH8x+A0ajJvnAZrF
dqbGCl48NEuYy5lSRV4B4uL3lijBBLfC8pA6QXMSRG3CC1WPSKUNekwvdnsi+nOS+D2RFA9utg+U
X8im0Z9DNog7ffWfq6eO2RXjlNkVuQzDw6L6S9e6VXvIlLf7Tn/jhoKZ9WdcmWlSvZkWwGYuuWZA
o9aE5jtpX6ZSRs8usyNco81U5uXCqHNpc7Bh0858HROLhTWAjpJjLNs44XYZmiRifduU//QlLi/2
FZq/Xj3NbiRjLttZEsiwcXTX/OD2GZ/N6tBbek4uPTL16rXvglKG+Loxsf71yLbQ+cEbnoo1+FQv
obKLwjKChM9TkEN2j1r7XvYwXMJ430KnFVVqcHuLCWo3GK1iFgq9lOY6/2N4oNactNf7fnabOMIK
RGFhAIhJgqfU1tHqSEeVFInrpQ2wCPCgDKf2AMZ5Pz7xA/Prk/SGEq5foJBR+ViVpUGahzzREoDP
RuvMask7cjGiqnuNLYB09dYhf1lJ97Mc1NyvFN55llp86+po9lMDaWzZQLTSWGwuyQWEyGSjIw2C
DTTSCLJIFS+d7epZOkW9gx7UJXYmMGwYQ17PbteNeXh/mwWHQZhfW3YqAa+VsTY/1z+/Os7TYKud
FiMxVkcaGt3is1L7rqfJx/tmxOWAZArBCbQNCH+oW4hm+Jywac5xVdoR9xcAN5vRlCQYOybW5yCG
Y3Ajr7nqdiXKnGRkKJFfTFBRWcJUNgX364K9uixQVlyfDysCHwnwOqK6NVAZU6yUSFNBMZf5mlEd
jeEYJynUg/WnbvzM+qeYdScIq7gxeTK4R/qPpfZz0FXf7iJ3Hh+mFMGyO2AQxavtPFiGj8T4Mcgw
a8LljZ9pQkRNRSEKzFF4pgpePCjQDZ/AkfgGqi23pH1A29iz8vZUWKYH5vp0Tj1mRf79D3zjR5iA
QDBAEQfHCNNJgr9GzVxkZTKpD0x9WhzoV778D2lXthw3riy/iBHcl1eSvYlqSbZkydYLwzO2Ce4E
Ca5ffxM6M+NuiEGEfN9OjE+ousBCAajKyiwGyQEnXLe4Y+A0AUQS/wu+ieOORY2j3JpMLcLx+jPv
6E5JqW8bynlqi2BUnEDNv2879dZCuP7klyYh33X9ya2KIRIUQ4vs+pmZhp93bojO1bF10sDC+OE4
5oAJ6IAjExAMn5P2KxcKptqzu9Coyv1ehz5KrgXA5OybWKaUIRxc/1sQ0LLyDghqW2L5bFZyUEUa
sxoB3nuPoa273CZ7YjLd7wzjTxYfHLAgpQO6F1Q21ythDA5zY0zURp7NIg3Yf129N/Kh9s38CT0+
v69kI4nr3v22KMSxU09ub/eDGo1JHqqoDSTpuYfUpiNjzRGfflhHAIpxh0f4gqoAle9r31I3oWVd
xNbnuEujqgdbuV1CwZ2Emqk8e4weKWjLHPpjGAcJCkl8xb+Zxng9JCw40u7ds3oCOzU0deJ/D7l8
x47TJ7Yz9+0hCZ2n7XB+nyE59hJHHICYmCUSE1i9dGDjju36sZzTtN23c6xaR4z2Orq/bejdTkXx
GCqzqPhwlUW8v64XtDD7RO09LKhZJPsphVg9TXczyfy+IHuzBKPN0Eji8120cNAdnnyo9Ru4/Ihv
MbSASrPqq/o1Mb5l3relulG0AyTwJJ69S64G3nuY90IJEHvgHfdH0bMCpZ16jNCuMc+DwSfnbUjG
sZk+GL1m3Jbx0n/SJqMNOXhYcil4u75d5SNuHlQtmHXABQ8p/nphHVJ1Wuu1Y6Q9DqH1lVPfkjAP
aoTsnktd2LvtD/kuYmAPdyHc8VBn5Yfetb1sKCqHac0YOX00kbN04GJlOTnSAckLmEINVfnrvz/N
1VIrVTFFpqJCo7CgjnrwxnkMsoVCG7xkieUzHaOuVAeLUOpJ8UQrYcOxbGhHIbmDkllIMlPpEGeG
5nvU9IeMHlIXHAGan0hJi1cWEhsBwBhMI9q41grHo22SHAXSbowgIUPiaJCVIsT6HPp1uqcjd2FX
oyIIXOP1SupGZWmUdUNU3eoBdLsQF81x3hu75vBBRp83U2jr8tlK1MnewUAhZ2FYXaO1xAfluOk7
s9HtMdxNwxwFYMl+e3etgFtodmFXA62BPpEQgEppdGnDmTbz4Ys53bTNcyxjAFtdOl5WMfB1wKsn
dhIIWtVJbBZjZDZBfCh35WHOfI0EJrZUvCslbeP3KR9zqeigAJzn2GihiGxSzIVy4TjCXHbCcP9+
iMhf2kHdA4N6tE7Jy/YGfn+2CdaEG8xMCsMGRzecOwy3UIE8aQd9bx+TUKY98n4nwS0MG3G+GK5c
JByiY2LU+UjhVjJXfga2tsTzdVw6UwlVi/guRPhdGxJyYNmUdRJPyEmWn955IAQ8oFAa2U8xDfvQ
3qvH3h++SVZR5pywfXXQtWlkgc3lftnPOxviKjpUtNKdEsR7897108bP97Lq1PvgxzmGFzAf6sSd
XlzSKYsdapr9FC1x+71Ls3um5i/Axn7e9m7NjIVyHyYZAP3Co+E6ddTUG0mbWUbklfouMeu9go5F
U8k6QatmgOZ10e3F/UCsGtDKNe1kSudIq+6L+qgot1Qmh7yylbkiOzqv6Jxhd4lzgnSpHTBB5wui
HW9zXkBXT7x4PnwiOyfcXjYeZ9dnMT80cOnABdzDvUNITXNnds2MOfdoMn94w7OV4RxeHtK/J5xc
25ben5LcEied+ucMuf5Adg3SR83C4VFP3wv92E+fkOeh36grt7N9X1NZzliJdv5eR/X8DQQrvuVm
UykrY6ydyMpZGS4FiYZs2tuu/S1LFyjGjUQJTKrfAp57k/dAvZBYa/zMrj8vcX8DxetjDc6YPYY8
Csmar/wyFNpBIIK+s4cSlPDG95bZyKjussggFZDhju9MPVAWu0XKwr0SrbDEvyvKCbia819yURdx
S2ZASMHuItLfePRxnu9aKaxnJYIAreDDZXzXAZRwbSPxmtxhHrxhkHIZ7POcHurxZYQWJZURlaxl
zStbQtZUoeKdmbPaRspCAsv9NVT3bTdVfjLlX/v+QCxj1xdZ2PX+4iyf4j670WfmO7os2ax+wQuf
hUxqY7TDTmaPRQprP1dO+2I4DIRiqf4Yq7KKzcq+4RQwKAtwJDyuK8L6As4Ut4bW4gV5LnRtBwrZ
kJZn3Vh8z3ih6jddVgVZO9wvTYqYxLmrcreMYTIhT2h27DVQI82KERrGFBTJr0X5lBZnDcDT0VD9
cc4kA79rUQtsBm6YvCjwLv/pseOWpACCS9FuNX03pl8sGZXtmglUZpFe8VwF+JLfdC82xszGqrHR
j0XRQdlTFcpp6vRJyWSDnm8Ky0J6hQ30ZHDF5DJVwuaoQdzXqN04gT4LAnRjBVnu70Mb6eVPkzk3
vZH5GHwjxklTnzL9ycj+yli1c9UCnf0DyWmQt0eSBJWC4sv4nU2H7ZS8snUxoYThJBxkNteevF4F
T6lBTQBADseVeSr1EyAKTGNnQK/D/blt6v3TgY/CYA2AcwG5vSMuuJoVnqogS6SKt1OK4YlWpeTx
vJYdOKYHZQHeQ3r3PKnKccTUncOibgexVZDhaj7NQ1xOj3xBgyQYigMzfdkFZ+U9a6Byhbo7Dms8
jMSrh6Omade7DcNdzj5o+3JXH+aHJXB9BsVm75RJSsQrsXtlTjg+FIzy16pttKgg9nG40A6KjT1Y
xby8SSWm1q4iV7aEz6Z5KSFVPLBovuE31PLAteJ0vwnkV2/pMnK/L/akbfcsxVQjA4NgqO0riEPa
31jpQ+odpzU0FJsvOJ+3o1K2lML2LEyXmpkeI9Ex08T1N/5ZNv0MynFH9rB4X0xC/QHTEEB/4Ar8
TkakitsuzxZtiTJ7YL5ij+CJ6YHwqo/pMO0V1b4tYiJ5pK2cUlc2hSuxTae4tCAcFtkF8dv0m9kV
u8EOepR8P76Ml84JEWk7xZAPC+0jp7xf9IBCr1Gm3by6fjj7gRLEBn+XSAtM5FhNjfVb7P6T07u4
XUAPUhu/tkV3cqD3bZJKMiO4kh0xAgBYBNrdaDaKg6ItkKOE5hqNJnsI6/iui40wcZaj4T5rRP34
El4ZE1MxlML1NBuXiDXlc1bXj0PqfCmnar/9pUSlef7uvLIj3Fxqr0aWBJFCNAbePdear0LH3dNX
G8/AcfRp6B1I6Wc7/SVB/jqnmiSjrOy4K/vCbSarMxQpWNtHVvNEk1NTpX6lfN52cuWsubQhvmkw
uwzObg+xkhtz1Kj18zyXhz8xAdYsHTUQ9OuEils/soFCp7qPmili1Z1Wy77T+jr9NiDsXbZ4lNSs
7yPvaGmAURlFYLzlRC+YsuPyywgYauuyoYqVjAEMFUqZnLISES+4Nat4FbEZyNAYRJxTbGUh6ph7
O3YCm7gysdWV/YUnNDSPIKAIbLu4vwDE7op5iqEFktj6yfaUm6xrjGOv0u4IWg+ony6erHmwsqwo
BQOX9kbWBRLb6zMmGVKwt05OF/XLsbTvpuWcV1+3Q2PNBNoGHIfDYSxifwJ9+boBp1EdMfd+huhV
9ujImJ7WjmVcizF0aaBNytm7r90gzVykTupVuOlAhzeoQl4i8A51mO6J5Fa15g6+DtB1vFkJktZr
U4qmtb0b93Wkq8OxzMdgGofHdPz18UW7tCLcM4YpS3UjzepItdi+7b1w7KrPqnnctrIS3riDg8IM
CAmOaxWsgJkYtVNQfkVJ3ryQ2PAtLz02WfGUFkxy9q7kIBvIapSzMbGKloDwhcqujGt91rpIAYd3
2tFDU8n6U6tR4PHLrssbp+9qsG2J7lTeOzQip+akfsF9KRwsf9jp0H+ePgjc4wcHHPptTNg5o9o5
eY+sFJlFld1qVvMXUZJkV7iVjLJo5ajn/TZUwNAkQhtMOAo1I03HMrM6qFicoX7jK2bqG8Wnutd8
qzjWVEZdtJaHLu0JR6Llll5pTjgSS30OW+2xte77XN/R/sYtJJtpJSocTIxifhI4PRsPz+vNZA5g
QG/MtI7iwXipoLDTNIsMNbpqA3sVqhgIiXeoUXA5mrGjkSZKqvFujKujOUm1imU2hHMiVrXWUMqh
i5quvSVqcew8ttveq2s1f5ysv/0QAi4D6aCWLeMUZZ3mV/NjN7q+N2b3o6ncEiCKs+mMThI4Dsjf
25ZXMt6VYSHjNS6zm1ZpaZQCrZw9t9r3WvUk16CVGOcQdN49QTYCS8h1IFT2wlhWqFXEETh6p4au
BWg2UY4YWj5aJh4/pYyAf92t3yaF9TQcMhDMgOK41ZewweSH0/hO/9f22q3sJUQdf34DjoXmrhDg
AFjozqipXQTn0AhFQqrsoGLZYbJfWO193ra2HiMX5rjPF0/G2FK8AiNZHcgBi5A27CEu7GPm6k+g
z/FHxQoNKHPFeRIYRPuybXt1C1yYFhI8ZvUmiww2jbI492nzpDeSw2qtnAFkxdu4CUYjcFG6ds5K
s2mihdFF1IlB6TtGMxAqShxDidLdxfOn2eqCWs1CiyJZlfSxt/F/sapTkXo/tn1d+6pAYQHHx2fd
EULXv2RQi8zxEpSRQV/4ZTS806SpD6i7h1VWnoZeJra3trRvmhuomIGmxxQOAHUZ4gIZuYmUdLL2
TpvPe5KCb3fbqZW6KtIjJlH/sSKk/SEd7VpzcxrNU9t/6YcWWjUWCEWcmMa3im41zza1u6BKYm/X
KkyViUS/h2VhbvnyBwhPoTbvtTHtSBclNptPhdvXuzip4xcbMJCb2unLwm/iKvGzopjCRs8a4s84
o28IBf+eDzwx1zq0IfecNSNeURNrdkzzhmCJMxq6sTsGrdvrAWiuncftpVuNB4uj+Lk0qileP/N4
jMuu61hUNAAA630EIrHIAW9/2ahBBQaQbXMrmctFGID+HNBWjsa5Dr9iKDpTYVTFSwvFGdqkkz/G
qXI7KlRGQLt2p7qyJcQeUAB01hhqefPN/2ZX0tslaHzdJzvr9P9zSwhAqx2h7tjqaM5Yf+nGNx0P
7kJG2LDypUC9BxY+NMIwzOUJCbLN47hMMwS5oZXxTTbEoOqEaitYTgtMjRouCWPi/EH9/sqo8L0a
U09p3OFK7WYvQ7q3HUAIZfTOaz0KGMHsP6pBOEVFeqWiWxo96RlgfCChuKtv2HFQg3Ff3dV7Xp1s
FUm6WEvHVwYFr9C1dmq3RmSkz83T8JCFdYBhWMufoNUN2emdo/h/0Jy9MikEIzUI67q5Z1Ge6QmK
2Snrb2aQYu2L2iF3HRmBgc1dWdF3dbtdrKwQlyTH+Pdko1Q/DVFrfdbZOU8lB/dK7gX+CzAVFMv5
40UIS0jvzTEu3R0gRE+e/gCFZb8BqZimRUD45s5T0kueY6s+XRgUPh6U1slY6eoStWl1SOY+UO0B
YgofxqFD6fjSL+GDTa2eN5mzLFHpqqFSKl+rQotS74OqGvwtdmVG+EJ6YtPB1lFEMwgk40+DkfpW
/Y2wcteou+0kpclWTjilsga9xzqFLf1cnezgtTsnuxQbrXy6ucvDJJTVkvmXEDpmF769e754aaK0
YIlH8miSZ3vKkxSEaW5/APLN/dWknawguWYPUoi8uYp6F0pf14eLngyVV4JlDMjAw6Q+5XhkTvtF
1iNaW8VLK8JdrtOBVdUprIzpaa4PQ/tX6u23v9TanuLsUeC614HLEgfPoOtt6nGP48Q8oFKIppdx
WHaQ2j1um1lNvBd2RFgsaqqpZuew06JLY6Js7J6qqA852NcLZTiz1XXjUClM8GHeyBS+DlviCd1E
s4/M9naydiQ/5/Fh2yGZCeHTDGZMS6ca+wjP8n7YKeNrnnzbNrFyoeX59D8v+E+4eKaYk0eWrDGW
yCXeoazVG6Dod/8/E0KCSy2c8yi29pHL9sp8j5bW9t9/02QR9+WlD0Jqo1NWoTSMu15sYpBt2Zes
QE8pC9r4R9qlxyWjvtOCYzzHDAG1/Lo7takZoELlG3nYytDuq7v2YkXFDGgDQDwY+hLVdh0NWudr
4CJcNPehS6UjXDzG3nnOq9SYuAdJg/gcid169CyQ/0bGwoKsBymDfQcyMX+BYg2bzSOb6zMjJ6PP
Aq/9mY3f4umDegVvCR/n5H8/QXC3HPVlshJ8Xcc5KuVJiXe0k3zg1RW9MCHkeQwOVKqL2bHIqRt/
aY6eAh4gdeeMEvIJHicbq2kJb0ljynKv0xzYqZLAUcMOInyO+q2gINv+sh2zq9vut0uWUGTxkj6z
F9VAak/AQvHcK+H235csmTgOWxlqOgC+N0cuMLeaGcRp4Sfznd29/IEd8IQApAxUDEoX1+mjMkEh
V+nxHHlJ1KT3mvdSar6TyCaX16opIOv4bUfIhLE+13asAySv3iQRZ5YpnrGLgyrwJAMjqzFwYUjI
hyUEU2o7aYeIdtBLMb6iouynFOUoI+pzScl19SNd2OL/fpF7J6ZPAzRxcfOLrZcqbzHjXiTHNAZw
kya25JHAf/jv4MbsmIspR7SokSkADsXQ/rWxtE5phSJ6eW6MBLsHk6vaode/b4cD3+zvjXD2AUyK
YT5OCIcmHjCCWJflGfDhH1Wr75vR3mvO8NqM5uPSPiyODCd0vZH+dQuxh/lyj+Ojr92qLTOr9LKr
zoZzXNQbQ3Y7uo6H939fWLYyi8FUOyY1aGim7MlFno3AB0RCm+j2PgHF4iN1C9ls6vq3+u2UuIy5
ri91imWk1UM67np6MmRyYzITwoYiytBAgbuvzm5bNqdhGLxdAsp3P7HdOtgOCpkp/u8XYU47qzLd
xi7PufY0vxqx5VNXcosRADrvP5OwlQynMSjTWHWe7hngVSBrOWUv2uL/j9ijOqgyKjdZ3PG4uXCK
FCQhjDvlZRVaTZWW74rB/Xt75VaNYCgTsDEUbVHgvDbi5DOFdAUQlf3Qo47qngF1leQgmQnh+HaW
pIAmaV6eLQg24QqhWDutqTRJ8lndRReOCCe4pfZozWJs9lymxAyBkLV81UlOfdsOt73Tf2ENYfvt
tVtNRZhZw9QJ5vEsUYKd4L8bUzsxAj2OX933AqqOk/plVm5c9kCm3bax1VW8MCb4N6cmHdTerc6a
+6oky74imuQOtLqJ4AZIRtGUQQvjOhTAb2Q7c5eWZ8zg7SpvCZHt71kuCbjrE+mfbQRSSdQyMYWN
cadrK1Pe55jAB/xxAbmvQncWgSzLk+1+2l6uVWcwlMkVCtCBFsGdGe30qmsNxHUZg9WRHJ0FAoSZ
jEBSeA/+486FHSG4Nca8osya6tzthlsOIyoD80S+k6N6jAP1Q6Xgf42BLIpLEwDDIaQ5vaExcA9j
de6L2E9BgYjpcOr8yXY1fxsR8lw1THbaZgY8cqKhitKPEUG9d0LIOGk/ldRRTJw8IMKsps6vyuZ7
RozH7QAQatn/s2NyVj3IloOrQ5ymW1w61jSjyNf7+FABvNlmQXk7hjWGtFIZmmct3C6NCYvmsdGr
NIJwY40RpOUUqDHzXf1PzrlLM8LaKUur9y6Gs/Bt8uQI4ZKvBi0nQNfGz9urJ/NHCOsGdQ67tzXk
bN05JNAe8wbvXslk80RrSfvSHyGp6dq8FH1hVWd1Gr4C4XgD7bYfALHsnTw+z+Py5f/llTgK27hd
ojozMpydsE8trW4zi5xJOkkQ/EKx/J/QwwwBFDbAaIsu5nWOAziA1BNdeFJgt/b3OojD5JCclgCx
8RUPilA7/YFjFwbFK+RQUIC/6+rsmD/i+NmhANk6Mv3x1Zi4MGJcewWGgGweDQQfZi39uAxH7XZW
H7YdEV5h75eOH4MXl54St4MMRCfluQXS1eq6A4T9djnNzyCIP0+ddoid8ttAtNfaGWTiZ6vRCFkU
Pt2GDyfScHqTkkKyUqvOS2YCaAjpvQj80KVPhqk6udkYH7pMl+F9JEbFmLQKrTOs3MQtuQYDrG6W
uwy0kUqiPrp2NftFTIPtJV7/jJz7EnQSAOIIOYSodIiZi4sSS+pxnxnJj5lCXamGbsZu2xLfveJT
zXxjSuKUSehVXX9LqC/Grps42c+sPQ5Ot287cH1Q3wMF3hAPgQUhM2Zk4bbRtXvSpVHu/kUAJa2d
28oy49a8PJiYMJmp5GCRGRBSfWLEWdoCaXBmi36k4J0HU6XkLrv6iS4WTvhEmd5N2mjjnGd5dYex
+ih3CdDJ2SKjVl67jCFLvbFSg9XMFhZrSfVZYdaA3Wb9PZj3FeR2mzvWf9v+JCtWQHiPPcVpRCEp
LFghXtml8+iQc1eYIdr3u0V392oyRZTYkmvfyse5MiV8nLKvWBL3CznraUP9bpke6SCTKFt1B2OV
6L+6wDiKaQIJBMLJ00jOmVIH2kLBxENOg3rSP9ZPe8uFfDoVB6QLqo93d1jIAKDkrOvkDDTsz3F2
TZTZVCMyFEUGuF4JOD68CPZItGnARiOkdqqAd0mLYamp6Bl0WGDJKr4q7cdUTf916LcZ/vWu9mac
TJyqCsk995tvxQDRc2W3yIqsK++yK2+EeKur3LGnGFwXXmrdTsSEJESj3050bP3ZeTWK/GhRT0Zd
JVtCMfI0tW+piSDXi5dRHZ+NDPRCrkxWfdUKWj42GCjwRDOEe1nNHEKLamheh1kLHKMOIF8fGFMn
OSPWthGn0vjXjHAvWzqcCCXQ8GfQsYNHb7idcuOwnRQknoiNtKYG3tadZ3Kux3bvOOdZ0U6m3Ybb
Vtb26oUjIjeIOpBuIF4PK+ZXikkqB6UhHVBaXf3+J4agawpYK54couD2qLMG3CAIbRfTRuX4SR3b
o64FJvqq24ZWDlWQmIEdkoO3UN4XzoZuYSbnjyfn3lpu07YNOz315/akWZ/M7LWfwLKnS6Jh9VNd
mBSCLjGzocmaDgnP/Z67oR2/Qgli2yuZCSHgJrUrsqpk5GyyegcaOF+n1jHxZJ7wxRFuJJyBDOz7
wAShoyAsXj6hmz+nPOjQrLOrW4uEU3dnoRLuNpPkEF/dQ9hAnL4WHPwiObfVlHq/ZAM5K/3BUG4b
Wdl49e9D6gfkBSAxeve+bYGzxnCviohTlagem6Mef9n+KKub58KCkNKqmQL7EOMwHftypw/0karW
r6pR7hLdkcHQ170BPJyr65iAWV4fDbRnI+urrnlt4yFUs+5WTdrjtjsyE0KMAana63WNDzLWDyBH
tM3T9t9fX67/XBD5yT1tbOJuxAfB8+X7NNObvjJHX+mWXdp/TKjin5OUd2QxFAi2IBEUiCvdrIFL
uHnN9XTvEmsPnQfQD8gYtVf3y4UZYb+0VE1G6EjgXgAUutrtXeOOaKYfs92fVB/BfMQVjjB1CE1C
wVRGMAyhlMhran6s0E6PzcDNvm5/obUa/pURIcoGFByG3KTkPB/sg7XvDmVg7YAZxcO8DchOxka6
tnxoiKFrCY4R3sG+DmoH/Q9jKpE4Mcyk7FniPBi18qWo4yksrfiRA1+3HVwLQQxFYdIW4H/QffE0
e3HBaqhbNdYA/7TxkdGXdJr8NPOzpP+DE8HgzNwYaX8TWry2A61rSjMVcYGZom+p40N25jA12mHb
m7UNizYif6Vy2ihV2LBeyhSzafktRLVPSjsV0GqoHrdtvD94ACtA/RaJB6xz4E+99gT/rVRcGyvW
GMq+r6uQdO6jleaSusb7SOBmPHAucGLTd7I8hUdnZylqRIJhBe4ULDQNKt30KS4L3a9tl94v27Ut
/u8XQVABVZ2MgPydY318aNQXCBm8bFt4H2awgMofPj04OcCkd21hzGg2kbrBXXfRcbkuM99wIL4y
TE2gmjJatBV3MOiHdQFGDXBrsUMFpnG77gncad371jroVFLvXnHm6u8LOcHz7BxaYBU5l/Hol+Wj
WffHPg9yW4btkzkihLOdWFk/ODBkLQ+q8qmTMb7zH3p9ueF6P5xv2QIXJoAM119lJoptJg6+itJV
u2Z6Sa2wyb7GpAvocpcO++0YWPXmwppQcszAnATiS+Rru/Aq32m8cpfW08c0P/g5B9gWLrn8XACZ
vXjOlbm6eGaOcy5WK3+se1/vbrLsPA8/tr1ZC4JLO0IaKHorjyE6Q8759GraQcI8v3d9VZfkZ/6J
xU90aUaItUqFuK/W4RN1btz55fxE8+kG+kmHrASALMXjxBwgt+MyCeRkJcuhE4JTBrUJsAuKrxPT
mStzHgpyTspfbv5Xkcd+on6MH/+fb2WZwGUgBgEnFeIb2gYOsXpsVGL+bf60AIVj+h8EHZ5XuE6D
AhVDQULQ6WXDjMWkzWudK8+NYqIwFstQLGuBfWlDOLTnwZ0st8VatfFZmf7Sqs/bobbyLUACg6yJ
gii6kyKAhZVNjvFpLzlPPTRASbJr1XrnJB8jFn77Glz6FnibNyp5i7t5cQoMvctc1tnJOdP6wjdj
yOw6/YPG6L02y4hEVk63K1vCtQN03gtJWmS2WLt3yuVb3Wdp2EzGc1uWdG9RR/a2Wl3DC+f4dr5w
TmOQS05zONcRXBO/114eZnn48e+EaS88osDEjVa1EM5scboWMmTJ2UiGAwZ17xyjY37HdNko1poz
uEWh6wAFIAAxhNxTJtid1J6TMy5v+yxR/dosP+WYctv2ZyWu8Rz8bUbIPYXeqq3OYAZKHCF4EA5p
JUOTyzwRlszArEoBfbbkXDESEj33VbARViiE/b88EQm6oEBssrjRkrNSThgZNXZD/dcfWMC4N2b+
EbyaSCc6qlpjDgNLzp653E9dckrsn9sWVhpdYIrGFDTELvnNUJQqN6wiX5phqV+9xQndKTkMtrHP
vRmirlg3MjzYFgY6xyaciWw6f+0zXZoWPpPlkQJYeWzXhtKzbaf73vR+9cz9su3imhkU/KFvxaXQ
wI19vUkHTc2apMxxpjK7DVim1kEBHYSwSdPhsG1q5fiGoiZ0kEA1i3eW2HB1ptpiDj/fiEtBzL/Q
wV8wrXSLF9h4SJNZpsy+6tqFPeEc0jTWLraXkPNS3Xvk3qki8+PFf/hyYUJYPbDetWyIYaLUh5ux
Le5VK/Vb1ZDspbXUfWlGOCZm8E403kzIGQTKWDP9xxx3LxB1/jovlu+SXvKh1s3BIBBnoBYSm4/6
FKPlbsXJOfGSQLf2WfNiGp+n+IHUH7/yYP1+WxLSndeaxLI7JTkvRYciHwgTdQid2DLYsMwhYS9p
U+X0bY7PZBmf89J3IRBAy/tsCqdeJtmyaoqfEWBDxLCOeL8HrQ9REwWHHqZBfcU6Z6B+hMK4MoVM
SnGwGuAXtoQALyen4MThBChb9giF+0cgw26qOf4QHP5/lxTUR4Fm4l0uFGavU0ReNbOK5JGcTVAa
mOTZqe5YV4C+u/DLj7cGeXJAgws8ufxOxJf38s4wuDaLBxfnX5ke6+ys16oEQLf6gbioCGcchb6F
AO4v1ZyWdmnWr3P5KzEf0FZ1yFMSHwzWSHbtar67sCQ+9TDzbC4d7pCm292kU/ZlTq3Dog53Q0p3
f5Ba0bVF3YxrdYpPBy1vaBbzqMuZomFeofVxxoesGPea3nwc34RvdGFMCLux9qjaVTBmGuTzlOen
vs4eenVJ/A87xeeBcRnCVAm4fwU7ZIyXSbWs+jU1VUzpBGNj+pr3KH2Sr2yjKztCEq+nNm+VAulO
mVmQJD/bpP4xLfnXbW/WrODlb0H/BzEB+onryPaclKU9xS6qk/M8nW0wxpBegmlauT3iJY5GNCqL
qMeJ0EOomCdq7RgJ4LVNNI3TriXxcduNlaA2NED6cU2E8AKkaa/dmI2qVRYXF+65Ld2Q5dZLz+Io
0xplDwi+rBUksyaEgJG5bZIsWDTNLR/0jAUaCn9sAXW8JauWrq7dhWNCFEwpS5jmDny3VtONXsVK
YPeODL20GgVgkQK9FwqZ4A66Xj410du67mDFYOrNUi8HXC/BmmtLkhw/N4USBi6uoHaCEKyFFjH/
GRdpNIcuCPQULbxWiukh95zTMpgHzVnuxoEEcZLttaz5eOy9kUWDswolQEes0XI6n45piD0MEvhg
jg0VRzZrvvKJrkyIt4V6aK2q05OzXUIC9UZTJbG9gkYFWzrEFgCx1yHKLS4brsJDnzQIbqoMkB0d
feJ4N4n+CSLEhTGHTE/CcjJuWH6yUskXW8EoX9vmW+Hik3mZnbj1AOeaIsievH22B/f3Uwo1nofh
UB1qib21tbx0VThowdOSJqUNvmaXQNwE0nLKKIPbrpy0eFRgIlYFyRPXcbn2KIWA81Dk8AiQsjPl
3W8QFPjD2J9oZeyyJN1tp6ZVly7sCcli1pKU01MiPJixn3XA2AoZLfrK9r1ySdi+zO0wwsz65JwW
xRnj0oGT5c+uMe63PZGZ4Z5exILSKSTXEpiZq7s+99l0b/9BFeDKEyFDuJgIhboXPk5qDjfoj/tk
qo559THd27e7I1qCABMBbYGZ77cH9oUnhQKiw4Ua9Wtp175tKyGoPf126cLtBVs5J67MCKFmMxB2
Gj0G5grgr1I80RVM/1SHStZTWQ2xC3eEEIu9zErnxlVuGbQR/BH6RD7V/t72Ze3jQ9EeQ3oQmEEZ
VdiZNI4haQ9mgXPax59ttb1jRfFQDrJRlbXdeWlGSKbQGqJxOSJfY4c+kbq/c6skrOd28qFQfCRN
cdh2a80eYIV4QqC8BSiEsHXmUVmKZkJM19WS+wXeeETXbxILCBIKMTUie/OtLaMD6sm3K7GOx8v1
HlLzvooTCnvjYhxcrQr7vL7XzY8/YEGw9Z8V8TVhKksyxBas5KN2z6UAvemr2ctoFNfCDrd6yGFB
jgp6mcJmpU2S6i2vcqII+dkw+h9DoX3e/jxrywV6CYCqwQuKTp6wg9JMa1WWVHh41eixpgl0HtAG
t3Z2ps3+H5hCPQ1nrIuyrfhlWGYWICOHN6n7GGcPidH5Q/xz28ZatPGa3T82xO9iODi9qQF32IKB
+NGvGORy7F1CQ1bKFOJXl+7ClrB0rWq3oMTHhvWWLPGt5ZdKoGs0OLIqkMyOkHwMpcC9TqXoSSjp
g7u0+5gYB2uZn7aXbtUMpwRFXcuxIIB2vXGwRVG4V/Hs6rXatwjG3nPfy/7g+gFi4v+M8O93cS5A
onmcbaXEWZ2BiG8Bc3DJJGfCagjgLgreTDRaUSG+NjGSdAAzfI4LFbOOlNIbpXBPxYxx8dj7rtYf
H7wAo8lvc+JJ1ylj1bI5w9cptJcqMfeoPgRloR62v86qV3iB8ds9Xivi6WDTEePiI8GLyAOgqFKq
e7BYGX42JmNgt659b43L122Tq9nnwqRwUhhFNQ6Ooyq33mTvcrt66Pt4t21i3Ss0JAHBQcFdrLNn
XT0lvTrXr7Tbm+6zvZwAOIWI4VOOAfVtU2tXBRfqmv+aEsKCUAUglRLeTMrNqLmBPj+o7QEaxJLw
W91Gv+2I/Q9cFLJ48RAPNM2yYKyIFeDRNYV67MmO1vUP9J9LYmlB9eIOcFPAF0n1f6R9V4/cONP1
LyKgQKVbqZM0Y48neBxuBHttU5mKVPj135H3/dbdbKGJ8XOzXrgBl4osFosVzvEwU2RVX8pGFWGp
ZEjOp9JyeJwJy9Z33oFN7Rce14r2G5UIKUIoCkyIo9RD7o24OMYjGMDiRhFYq0Ssv5+5HQLqND0f
F+DyTY9Lt7zMhvh227w2LNlDwRHdQziexlUmLs/Mkjb9RO7FkB1ykHI6L4Nb+Lb5ox7ffmguRElb
4ui44fQM3FTV3AKl1ziVZfLPVCQYaxTvR31QrN16MKScwoU4aXtKk5Fl8HRyz7PWj5uq9kHS/Ip0
0I404mUSLFpS8wuhTAR/s6TgBDDh8pDflE6siSbTPHdncl+OdaSn0+ecz3Ew5rm2N1zx1Bsggr4t
ccNHQFWgmKyUle4Vumc99Sg7poJ/ddwT6T/U0xTkxaMTq+I6lRzJs7KKEtEsA7nXcuNjvrgRGkYf
rPqbcPibh5LRAnamkbSGg24KkvQw/G4Qz5RYAZ7+X0Ss6qXcOF/nYmTknLnUliaHqHs31YB2C3jY
/dLoqsaCTSl4IK28rCColhsoXWERZjVYtqmbg9JNIrcsFMa+uTNnItbfzxyFa09tXJs9uSephpTF
a5lxfygPranYl205KC8DkQUwy3I+0NJAIM0TuIuBmSQoad35aSvy/QREQh9YJ1/+wrCRfAbNLJRz
5Z5AqylzF5ObcLF4JA+mfafTKchSfqgaFe7CpiPEFmEoaiVDkU2hB6iA3U4jnuTF9DPXyyhp0zvg
VH1vEa5QriKxXo/KlXc6EycF4W48jTr6p8h9KuiutpY9Ze5jNbp3SLkftHw8dIsqaNncuzORkv/l
U4rhn3UxvXoOgDA8VvdIyvp9/vZYGY1Ia7cw6OaRn5Qcb+UZS2t1NrnPRLW33OYEaCqFi90Yhl5b
RP/IkC5GPjhTGvc4uLqVleCX5eluES4GMyvyqcsS/ThhZCbQiaUDl1Vn+0EvCr/LhvFu1AZtJwaQ
gWEmWEX2sRFE4bMwKYoBjTUtKx3DYgSdThZr/KuLEcv8mBWzjwepwttvupMzIasln511bi58HADf
e08KS49aQGSFhFaYELp99raaSS6Ukbw9aoFJ1uOY3/dZhQ7Z2XdLG6TdTRiL3A4aMPM12nc9LoTP
EAbfFq7SUfL/lsenzpug48yK94yh/UJ3jv+TCHlGWrTGxABViWvaq4k/ebO2T5n1FwWU80WUkUmy
OW1LFmMRbSOxdlndPLZLn77Xp8xShFfbSwZOZHQo4PkojwaBeA51mhHhlc7gnbvXVOTf/2bF/pMg
u8gy0+KBCFzKZI6fE2E8lFzVjqBQwpLcIhd6LTKAudwDUCYqYholyc/bSmx6QbQY/98yyXhinVaR
ss7gBUe3C2jWhiAqAbQ3f/Y68uu2KJUykiNkcb+Acioj9w5JRNjUJD0yJdamSsj6+5k3iIGsXQJI
EldkP2WPi63ngcMWVRl183Y8W7XV8Z1J6WOX4LWD80ht8koND/j8M8gNQRbRafGnHuPkKu9jbF2Q
ZxIlV2qCUgujpA2CprZPo7TR2l2DdtBIr5Pmiz1T/q4BbHDAlnGITLf66eWl59Nu9o4EdRzF10hG
AzYltNM5iHo8Fx0YiHwu1deaeBkzJ6dPBTtWGP0tOfGt9tUuVBQdKkGS1hraeJGeNftQy5IPnQD3
2zCjpQlrjQmc023zXD/6LAS5Ukq6R7rerWaa0z40U+u1dbx3g16FxFaB8ksGeiVGukayxUvSDrnA
qCtQKZwx9BdPinBAtWrSbcFEHxdz6WZRkTiHxkGVOqjroG4U7HWKBZNv9zlZhhZ0M3nUkrg85Uxv
AqsUKVqnmIqQUjpv/y4aSNOB/wVwQDQzXRqcMGYqAGEEg8O71TODEd0+uWb7XnWkhO3+whDOhEku
pMscnYwUO8RqU39xM6fJAkHAmOe3TaKrGIelyPdKNeksIc42y7no8shK9ZdSZ+8bh30xS+fVKfP3
Bp0edKaFtxVUraZ0qnI692zxvCxqpodOD0fvF7KfcBYnVwkru2ntf9ZSzkabmWhmo6J5NHmL7yTO
K4hmVY1GKhmSuWMkgg1jbeBElQ2ISvPsvTGo8Ck3j9QfPeS7vm8BtGalkJGlHymNsmYMEuuLW7UK
z7p5plyKx8LKSnJVx7G8qR+sDtYQa0bAHLIbXHRV5ipMqE0x6IcGZgxoG64m8oy0xc2QQsw80J2L
kZ8YJMWIMRTabK7a2iazsuFdT+RxaxlAJNdlkdMBNbIBXunJGR/J+Pnt9ozxAQCVAoMM4aUUJaGJ
e6lmdH+FdK5ONiAOmBEsY7MXeetPzRsBNn4fWIz5YLZkHfy4SuE3vAGrBu+zSDShN0ROngc2RQ/G
Gx9PshwZ0aV2U1EBKzWPSGWhqJs9mEsdVIP1ttG8KzHStRdzr4vnIc2jxhnChfJgctP7McOgbq2a
+pGQ/sFWibgBaVUMYVjIlgDo+tKNt5jIAWZhm0e8c8k7tD3yELjXUxN0RUd2plnr+S53C35ykeya
fIIWcFDb4e36MmoG+1QBXDP2W28qVj72WfR7xD31621jurZZcM4AnRFdV+i9cmSPRSeuZ7w0sL3V
EiZl+QExPmhyDILwrsgVN/XWObT01Y4s01vrXJcLQsyhGFo9z6Olm47uRDXfQna24Eg5v1WrdeX/
CJJWPmmmciQop0W9/pqYOyBe+ZztiKqHZ+tmORcjXWZD1i1LYbI8SjSABINk40Uvf/HEd3RVymNz
5dDWDAZ3tM2iMfNy5cA1Vgorxulopmafe+Yjm43T5LkK17J1t8CprDHuypQlN08vDBUBVB3oU+t2
h4Fo6Bqy97e3ZmvNzkSYUkdzQeqeA/Mti+IlFA1af3XUu7WXnuAAoAv4trBr69YAk/GfPqbkKmcC
SJiGjVmUg53UBOcB95fyRFXj0Qoxcu8v0/KZcYtkUV81rx3pg5bMEQb1fXRW/rit0ZYh2NY6wv57
9FsODdfBt9YxtT6cy+Udxdqtu6Tjz78QYwNlAJ3nFExHkpvETN+ysNKlT3Tcj17iVwsmN1SprM1l
OxMivQ0ErWtu2U0WWeShI3xH28YHg3gwcxUUyKbRnUmSYiaAg8Co15t5RnN2Yfo5/TCBm9Khfq1i
N9hUCnhXwFDBfDmGyy9Pqo12eVCfZXlUeR+R5/G7+tHojk2vCgNVcoxLOZjl0LTZgu9Zqm63mPU7
nnwYveHo1fnbsv6/rzHAC/ynkeS1h7ScUavTsqhLwy59p5XVTps/6dbf+DiMA7iILQHOcIWk44m4
rRyN06dKK3Tfc/spKMd0ealL03q+bd5br5BzUZLldW1vFGM34RTNbFeNH+a88Hs9DRIdtTPqoIai
mmfd9KxnykkWWABSOOvA1RBpA27zzNlnJFZk3hVKySlNi0+2NszwrGWZotrpE2Pfoa9Umz8YLcZG
VLPZWwaIUBf43q69AfTXJx1jqYM15Pa4r2jvG07rs8Xcdegnur1dW04PBmhYJnoh4M8lCzRMUTWc
w9aLDCQNw1IeepK/c23x8X+TI3k9FpeObhZ4Cue9EwyglJlxtiZA794WI3dP40Qh6FrZH1fAKLSa
Sj6icBbqghmiDcf+ftGsZx2dFkxYPlYUTCHPDjrNlmnfxz+t+LURzdNt8dereRHyyb7dZhN6+os5
iyqUiGcU+pMu8dGXdLgt5toc9RV2Bz3ViIGRP5M2bUKmWzeKaQ4bjNOO5Wlpy93MKn+OH0r23hWv
t8WtB+gyn3UpbtX6LEdZ86TDs7juQgqWHLv6xZv5Xe3ke934YlSPntHtSk3f35apUnE9ImcyGeYp
9bnFPtoi9w32PMQnUv007XtR9j6rTrelbe3b+YJK1tm05SgsI84iFEsR/CWLuBsAer2jVqkaO5PI
idany8VqepK7SnAfaGODMGOhme+J8aPZmhHNrbsuSYOeAAQ14/mdPjinaiRH4hHqm5P+IW+qu3nJ
Dk0fgoLib1YbgzzgyEQnJkZ6LlcbIVbZgnp5Cdk4BRgA9On8QjtvX7T82KfvmqFSjBJe+2wsAph3
EQAB/+RqJGBBh8fEbG4+1U15Kot5tyzfbm+pSsL6+5kBGaOGXjUOAyq0f7j+flSRTCn+fU9asqyK
vaXWkBqt9eqgldoBbDWKc3cdWp0vEhDkL1VYlrzqxxKx7wy2PLSrfcxT/sEReua7abFvY3N3e8nW
M3V1zv/bFERZl/JajRqTRqHSmD1n852eVYGdPnn9l9tiNg/bmRhpZwSIUbsUAMbRNDZB79gBBilO
2ajKrmyLsVZ6OYw/XZXtSiubMFvl0Cfed1GL2c5qaYOWgr7nb9T5T46c0ItBt9XUc5lG7VyeZlM8
mM7nah6eb0vZ3ps/UlZtz8xZIC1ljG6Nm6V+SdOTV72S4sTcw20pcmn6X+dkACkXLzvTvkK3WDIz
1arZpk9GCizROinnHUP+xQfYXxrgKJvBMvAB9T1DLw4NGH8fl0p7Izjr74/AUCGaYVZoLLySLnU1
K6vL6hS5jIRnwcAcH9d8EA+qPratE+ziGQYYAjzJdfmyHkXTAHtS4ASb/Z6x/mj1qtbjrVsMEy+Y
jlxDObQ5X2rSosnKqYcWj+T5a2Ldp+mPRr9P6a98/CBUNHNbtzSm/FxMZ2M9ED1eylqyykFhA0Fj
nupHs33nJV8GtLiXnedr3rTv6ofKU/E4blklUFQBaamtrxg564SjrCWLltGn0fvk/uR4K095OOaP
t61yWwpgpXTMEyLQl2x/HIVuEPTWYxgTCcyMHJH+qvwcYxyYUldEcFuy1pS5B3RlAOrKkAf9XJoN
rZAB1rp8b+V1wL3p/bwceN4o/IZCkgxAqbGiMN3OQXoQwx5AqokLP7OFODUtT469Naj2assWzzST
6e6R4yoKssYdZmuBghDI7svPJFneWfRFm16ntjne3rUtX4IhH5wtnGIk1C1p24q4BMBVQdvQqyiC
YXrXg8wsE4uP1mu/BeE9yLP8nP9wrOn0N6KBvOC6QIRBcUJ6BdSxTvJkIFPYDvRdOX0spzKYul+W
XfuZqwV2LvxRHJHFVOzpRl4a/XtngqUrFCA0Iq166DyAcrKpEZKLb7MLeLIcqoL+vGgD1FSDOv/c
EBObHg35Sz0vu8Ur9rfXYMO8MAGO4VV4hBWgU3KidIhpnnhZGnngOwdsUsA4UKv6DMB8qkL0upFS
3HAhav2Us7up7hrMBrGsC60k4yP347bIM7z6aU10G5CqhgBIzm3trp0dKk6AhoBPRd3EMSXtEi8X
NTxCG2ZheuqO6dE60oN2UqEwXUdgGJvGuCLFHWFbAIS81MwuROOMbZ5GFKyJjfmYlsA56PwxfdJU
Tu56EVdRgE3EpYdAS8apz3irGU1m0SenOPTjvZMGsaoTUyFCzmKIuhiQHS7oE1K2enMsslCooOmv
79RzLYCmerlgs8m9wauLNCocD5CZZmjWrsKv3Nbiqgsy5zkflrFLUNgMK+dlqY5eqXg7bGQRLtWQ
7lK3xBR2wds2XB7mYGWPA79fmL1i8jtID6pp9uuTeilMehDqzlANDRI+0ZQ9LYN+SMuDW9jBqAI9
V+yNPIiitTPcQQaPIGbjmJp5GDNVKk6hijyAEi8L7RZ7xKOr/dxahm8uxaNOXt2OKoxgWxBYz9D3
jaZQW/KzcTwDjHIy0qjssqNb9HyXlczcoV+qDXDtpAp3I7fFIiTFHunwAcC3WUEZpT3KdZuYY25M
YbXYd9ZkBxp71K2HkXhfG6rtOQoTmfgo6Atu8D1tNF/n3xZ0bt/2epta//kKueYy6jpQB0jXouXN
+6cejYekdQI7qYNFmTH+HbpdOnVojJZtgFMDNlaT58swlqlXFU3aMP6o/SJ+EmTPwCHw4yKwgvLA
diqQgK1jjdo+UGohE/hj0pGj2rLUVuWNIQLpQ7U4J3BsBzVGkW8v4ebRRhMxwB2A9G4gdr30UO4i
apYNZhN2e+uzuWNRGnjvuvsegNJxoLoZN46cowPyVrfxBsWbaP397GacktoZGhO+SrOrHQUJxFIr
M57rB0sbhXHq33SQgMlHHf9SBjpSK8NdvCbswXFu7rJdQR/SYNhpu2zvZbshDvS3zWethwFojhQF
drRioMK9mumZVmg5a8uOdyzqRn5c9PEDJrnffr7PRcjWABh7bVnHqaMCY7uVc3Q6hmL2TzNR5KFk
pI/futiYPUYzGJhwr7ADzS6fR7wEQKhqzf4k3ncTQQuLGSA3HCbL93r66rm7wU6DaVaN8a7Bg7xx
aJY1KfgokXkzpGVE4sCqG0Rlkaa9zBWA70KvT4GYovt5rarSbRniuaz1W862bGZL0ugWE3DMay78
Z89V5EQqbaTz6wnm4rmesMgY8kfaguswQ6XT7wl4oxIdJN2jVruKsoxKK8krl3qeGYKjBTgfmr1W
TKfMSf43EXJNHRyOdU94DVvXS39y3WPX5CobXJfmhiHIDeZZ1wgn5k0T2l/do3MYv3UB25Ng/kG+
jjv7kO6qoPXznbczFQdZsWdyU/iS12Uzuw2LiHHP4leNzkHXoyhd+VPPFXeXYq/k1+BiWwUALXrY
R5Yc06l81OvubRgM/57lPwfKkg5UkmugkBzgl8b0EZhLkclenOrteV8kdM6ESCcpa7uMVh4MonW+
9+PwmizOs+KKWj22bA/AZEFuHFevjiTE5WEF43g9u0YvQos8TtMzhpj8vPhB0w8DcME5vbf5qeDa
4bbUrf05E+pIQnu03todRvHDlpNHdNgH5mgfb4vYMrdzEdL+GKzXDFK6Q8hNLx4Cl/Skxrx/0wVu
7+h8b42InHbdkpUKwb9BeaUVxTW19onhrQj0Qkm5lvCSpaDsC2OAHE3T6+zUT31aoXb2rdasPdL4
aPEbD14NkMZJeKExkV3ctHtiNr3voKvRbZunyVKRq24c/IvPkhakErykdPb6sAN3oDvtnAo0vqjj
OWhG7u8MQLDe3oCt2w4CcbOuAB/AdJDWYXCYAeAAYj6JA141O34EkCO75+HKstpXKmkbdgxeRtDM
4+mMAFKGSs6bOCs90KyEBmmOth10SAqw+aWrsJ7mr0b/RHloj//c1nFds8utBvY88qCIUbwVWF86
n6LteePpJcprc/LNhrGBnDFakNoNeCMUUGfXstzVnpAlhn4Yu5deu1zME29RFH0alnBOX9MROiLl
Y8W72zqt23Kp06UcyU4S8K5mxBlxz1UJMmkfC9BcMu/LbSEqZaQLPDcaamdtxqKBpphAocAy5s0O
jPAl8pKW4jbYsHy0JSMuBqUlkBDlXYIrbzJmIFqgK+J47et21DeGX4BJCFMnuIdu67bpec7ESYHC
VE11jigQzs1IgkL/EPOPTaH5VfWcqtKeClFXnalV57Q98v5hPg7+3Du+gd6X4rPmih0lL7fV2tyy
P2rJyeq6Fglj0yRCD63wVen6pvHAhOfny4/bgjYN8EyQZBtFo1Ngv+JGIu47z7wfUKT2XMXtvZEv
BsIn+rrWXKJ3Pd7amrj0HCdGTbhkAQLiQXwB6meYVmZgio9Ns6e4CDMrVVwOGxcfOj9X0hpg9SKr
KB1i4swx2ttmEk5WfqQxAmNjblRFwg2rcJGtwIzT6gmBg3d5pefURZGphwEu6T3TAqf4TNsHLbk3
ssc37xQIQrGOEGNfz7dMVSM4WNNIWBis8/Xhc2M33zsAa90Ws3F+L8RI+rSJ3g2EQUzvPnhemJOT
lnxAuhTvpqCdVSyxG+Z3IU06vpbGbVZgBCBENTcRP3MvrFUA1MamGfy+OXAvYl7CvNyhlLIia3Or
RuGHlaC0qwVKbHuryzvvJa0IErc+SzqePVloKSoe54aT9jMTdlG+Li3w8h6nOS7iwS+9lIKwvHN4
qj8s6WgZz2Lq1vYjz8TDkqK1oiRL6psCBcPsfZYlaCnrPM4YaISrtN5ZLvjidxrRaXfgZrvUH29v
3fViXlyQchdlPjVNPGRVHzLNACc9CcB7d6De2+8siAF13+9QA5extJ566naFYAg1ZicLwGxj4iWd
Kt4v13vmobJqOIjskJVDMvByz+p+zAHhkxtPk8ezHWI1553HalWdeGPBzqUYkiZ5EWe09Upkwmrz
oI9I/yfiYAtV16m+WvHlLb9qgxljGx32GGyQ5CSEY5YKEydP5vSppScgIe3K4hnd4ln7bNrsY9rq
ft9Z31GAP+XZvVW+L4Tmd+ZX3T4s8+e5tT8jIPl021quD/rFR9nrFpwlDlxjzvORJ32YYuT2RFCO
2Y9T2oZtKpxjs1iNP3ilGfIB0Ae3JV8v+1q9W0O5fw+kJJnnbUet1ZPFY2+/N2eMceQmGx48pJ8U
0ci1HV2KWj/lTEnbwcgm5u9JOOB5AASDPQr3+9vabN5uZ+rIkMzcYnE9NxoJ3dZDlrPEdfTC9UKr
/UkHZvau793m2czLBWGJRRMXvZ4DYKjNem5VXCnXYcPlnkrqYsit0kVsOEi1jnelVZ/0eNxhfOSg
2SpSuOtNhCigSwLsGuifSINermyOZkhz8pCcRMUGJXtnCma3QHRpUYW1XG/hhSDZ3XBQnmIKTXPC
wkONxmxPrqbiclXoIldU46LDFH2HjHju9Q+ON+3inj17pSpVt5F5X1XBkAhWDO2/MvS9iVpqLhra
hWwJnWf3SPfZwd3l7cn7KvbGLj/8RZXz/KTJVc6ydo3U6wwEJ9Tw0b7td0bi0zJIxC4hP26fg+tF
XI/a2qC7Uq3CKC4NokqEZ03EJKE33g39g1ke9UxxK6xe/9KPXoiQ/ahLmdeISpAw5a8pSnbuy7R8
0djdoi73X1vdpSjpJGn9aNiDJqZwsGPM7pkBQPBNrd1rS7dPpl+Fi3hgWr7OYEb0+/YDqBl2+tj6
VtkplnXzQ4Cyu77uMYeprUf+zIPNFNjoTo0Iyasfk+xFCdp67TKgKF65YMhdYevlMZymEsbSxx0J
S3vYJzM/aaL4R3hobChVraFbyZoLWZLPGAQcRoqRPsTK1XHuDcuv2fyZIOu15BZano+eHVlVE+Vi
2M0T+5mOQE1gYHcfXTH6GAw82Sif2p0qw319FV6sgWxXGZusrB902FX+nCaPc31f0KONdL1pv59t
RRy/seDr/CkqVJjgvcaHb+EiSjTMk1A3UxB27onxsGjv2KJ4dG0cxwsxUgQ1F7jt8rIiYT3r92VP
/Irbx3JUgQZuLB3ErBkSQKmBX1UK4Hky5rU2eEOYO+7RRQtQlRw93j2DNysAiKVfDj9vu5nrWApt
aRamLuFDneuhvnwAsKPBkf2xkzIUWh80zVMvCrAuUwwMjT7NX0ZbFfJuHMILodIhROfsXJAhI6Gp
9/vCmP3OVmHrbPi2CxHSfmUm8UZgdxFQXIEMl2KS4kn3PmTsResUhQ+FJDm3AMS2xkCHOgkd67Wk
yQEQ6mmC/r760E+fb2/WphFaLt7GSNth9lo68Lae6Nyr4bCHmqZHsxRmoLupd5pyR4UOphIlrd/A
hUhctyQhGOROsZces/XPVLVNm2JQPgfj7srhJld0OG0qqIvFm90RlwEH7LARVMRVxK2bTuKPGHmP
2kqMTpylBFZu5QAcTn3G+F3Nnfd18faZJDzB8TIGmRFG/cFrdHnDcOEIZvcJbpjK2JNhPHX8RegP
VElLt+UrzgWtp+zsKvNs9D+6C5Sayiwg7XPbvaf8JTOPBj11oBq6bXtbZ/Zc2rqTZ9I4R8ds6jEY
BE+RGSTHfFZVH7aM4VyE5BYMay7mNNV5CJIF5r5a1Z6q6Mc2YsbL3ZHsumVZ0eABw0P2WoTgMDrl
R+O5+B6fxN49JJhAV4Tbm5UEDGHaGK5bC+dXddGiMDqTxDwUh3lvopIwj35+P+7M/XwC6tftTdp4
GkM9jF2uKIIukJwl9WqHVmwsGJIzj46/7ARC/L23TwN+P+/K3bAzg3JXHTO/DdjuL3o4LmSv9npm
IVNTxK0FKq8w0w1foIwRV254W7+tc3xWnpKz4chMmyzTxhitudMxtsnebdv73E4AG80Ubv3SGAFr
gOqljTWEY0JrKGoXl9roA9qLHAEe26mjezdND8nsneqRKzS6PFa/xThI7WOCkWK4B5Pil2LaobPB
BjwMUUxE5A5eG+h9rkJNvdYFHZlgrsWNAXWuhoj62SkIF6n9BCCNQ++6kTubu5GrIMq3xKCnHi20
hofcrTwiWVdgUzMw7g7iu54cM9Cl+FA9/0CblqmO1br8f94u67qhH8SCf6WoicDape3JeIIQCjOM
T67DAnPmQTM/m87gE/suHr8Ih+7m+FtZO2GHmJdqvSLqlA7ab/kULzPgaiCHbOO/l/s2o/hL3X5s
wYvnfajm5z5x/TgHYAgJ2vqdIZ6c5KmqHyf6sc06vzENIML/09LP7hhpuIK43h2S4vX26ZCc2++P
Qu8d6ofYAQO1Aemj4n4oB5AF0Kd+RyMadAEPSNBHhU+OxZ4diCImvrZdsKXj6Q2Dgn3ZciduWtSp
J7rGe3LYvF/i9L4Aes5tlbZE4BwaNqpfYHmVc7CkqmuPJKaLyNc23tFaixL26baI1SVKlgS/sZot
JlxAoye5zBHo/WzOKkAXW/808eTb1cuynGYCkilVMW/jgKDxDDYDfbA7v1vuzjxkOdmOQ7ISRAH8
nxJ57qZAr/v+7epgxUCUjj46dGJLL4jWYNOwmJn9RIBo0neniQ4BBSmSPtxj0EtxDLcUwqYAgd5c
4YZM6RQiOTaCarM0n5rlOBWpX42PZaKoHV/J8EBKAYwhx4UY/L/kIeMUZQaA4tFownOWO2LH0nEH
TEuFpUl5RxjxKmdtqARqEhy/rIuWFNPi9rkXGf23Bi54TqOGIZ00i6DD8S2mb159T8de0dR0GcX9
n1isHfgV1w43Tbo1LeC3sbrV3cjq6SH2ysNYHbsi++iw/DhaSxDHKsSYrQVFZApM47U1EbDGl64L
jQhuC6h9OwJFKvN1ugCHNz4WFVFgNmzLQTIES+vAWUrGgTRunghkWyKrTgvfGMt/GCtBwaFq9r3y
Edg4iiYgG1SBDmbxJH26LE2LBH8fZUAP7JxpP2g/bp+pLU0oblBNs3BoAXt1uWK9lTdmnGZW1LYm
TT6j6Smt9/Fgcv3eZShj+bfFXXkkXKJ4i5uOZqHg6sqV8awScBTj7EQ0E8CMn4u9ZfYn10h+udMU
AdLzcFveZQ5gNUHIA8E9LuN1Kl8esCINmZoRpdgfAnZe1cAUNNkBk0HBwMsDst/uOO2yof56W+r1
okIq5ifXuwrtxXKLjdW2TSdw5KLKak8l13Y60SN84OkvxOC9bAGr2cANIlnHNGbQzEhsoBZZeyTL
9slQYiRY1aG0pQ2esCDmXUcKMYx5aSIlChZDEpdxlE/xIR97fwZUqUPJ/rY227b+xxKlM9XZse3x
GKi0pca/p615B4vd3RZxrQmO0+/YCjOEgPKXNEEGFtTCxeJElUAjpdOfDNCRA8JaEV9vakJdkP5i
XhGZWEnMYJN24BO3caGL6W52mPlJi2tNsV7r5XBxua++4UzKquzZjcvdZMlF2jmRkwC1o47dryK1
nvu6eCltU3FRXR9bxBC43dEcgXUDqMalrKIxJzBZJE7UDV5oIsNasuxoCQCr2+w7zoIie795YeHt
gJk1+FYLYEyX8nBBYFyVQbfaHcW+xQnf55revSZDOh6GnvzQspxgFrmhh66s5x2Z8HK/bStbm4hx
fdA2YwoUKFfy4XLBpzwzzYk8Q+hgfJgxq2h3i0LKtUVikER3cImgAcpGpedSUUCN9UQjmR0JQXa6
3p/QEeu7WauwleubGGOzGFzBOCvSNmiuuRTTlQOZGZmtCOAx0SgKNJ8kn2p7jqa+fgcA5Ye4bn7e
Xr8tzVbyWbwx8ZTBmMWlSOJNeT12bRy5E4tEqd8n+fDJ4/3L34jBUwnUkggx5ftrtrnWcgeudhh6
Hxx8BwcVq5Tlirfs9fsDF8m/sTrIggwEM5fq4PJsesMtrIh2NWDilnLwMUf1iy6LdxB4LwbFkrfH
am4oOHemz6isYnSYlDygcTodHH1QNdJeH/+VOw9xgUlNwNjKH5Q6bUnWyZ1IJFrru6zcixoDEh2t
AtGVf2GmuEoRdZug68N7+1J7XvWZztoacZXWRU4cli1wvjL98Pa9XAuDiPARq15ZKUYjK71nLtxz
i6jKAUZPS+i3qVIhR24tHYIPhN7wZAgXpb0s4CuramIk0uP+DjHjqeyLfUNb3xal4iq4dpx4fa1X
AEAZQePoSufbE17CRyCGR0Wbhi0GgSYf8MPVO24VQxOYpJofjKJXQThsnT08jwxjffqtRnK5Xe6w
YFrBcuOop47YIxR5rXQr3bms/nx7xzZX8kyQZBcMQX3Zex7U63i0lMuhcMY9rcqAF9qbkEX/jeTO
dZLesnlpcd6k6OhHjZ+jdtOfnK7FQG7FD1Ztnm7rpVpAaduEQ+wiXh9MnVnfx5X9XsviQCTO248V
sJtwgCk6/fEuk3RKuDXRpWm0aOKJUwQ5oixzbznT3AUFNVu6u63VRjAMiFkQquFZi4BRrrEsnpGC
U7iaganx0mT5LtUeGEUdTAf7ODiOe/4rJ7VCpjQ1+Xvf0PGISUycaRQO5P4sYyCw0LrSASij75vY
+eJMAEIHm4jrJntqFIcs6d8tsQis4m4e2AnF9A9lht7m6m1sEf//S4DDgc4qnEZXOvZrLWup3FqP
mA6SEv17RlhQp8+313jDcpClwvsTeRf4mN/IT2dRmegLvbcB7RTpybAjHRv9mpSBa6joIjblwHBW
8j8TyU/z8oiPWtlnjh0vUcrifS6Me29me26rHtSroV8GmQh/UK4FHjUm7WGml2LmaYlpBjzkKCfQ
JH3qptPcfJ076+Ton0dTxbu+YaGGC9gZy7WwhGBQlMTZ4KDtjXKOaub63LKCkaWHDgACS2L7MdKd
GB8zgJb99j07l7p+1dmeTVqyoot0Kwd7eWIFqnR9etBLR/H23YohzrWT6yV21VF7QGNp1KJ3mqK5
Zsq1o5OWAaJQXy/REgUQeoOR/UjjvYlqYWJpIbAuFdfsGuxd7emfRZabnbMWTqJKQDlvFdWxNbT/
R9qVNcmJM9tfRARIIOAVqKXp6rbb3e3thfAKiH0V8OvvwTN3XKUiSmF/8zgd4SyJVCqVefKck6YP
ilOv+I6y21RWU7loos1hB2rgqE2DBr1IvddR6vxaVs6+135E09fbX3HLVXHiGOjOUW66GuoF9wQt
wUSMMmrWvSEYksi49Y7atT9o1UmDwLiRuoo7aesQnptcd/rMcUr0+dNFg+NYdPKWyr3nFVTACxVu
cNMMDiCCKFhC0bC5NOPMFZ3aOV/Cvkt2JWiWBXgTa6HSM9/yC5BA/r8ZOaPUICcrtHU1rMgf6TB+
hNbe8fY32lwJMNMg40Lxx5YL0vmQYcSkjmkodM0+xMzuu8DKtI57hESxSu9DZU2KJiSaeQN6NhKa
Y6I9prM+hR030sCe61bh8JvOd7Yw6RN1IOQukgJ3C2Y8fL5kvmt/1ufYB4NswMrP1fztf9pIua7V
60LEiQV7omp9rp9AAukDKfo3RlDRBxIZRMW/+r9n7k01ox1rMJiHzFlOrBm8Je6PTfLnxTLkQL+t
SFeM5lSTqRfVEradHZAm8hIneuyHPxPI/HX7g6gaEH0gTPC+kPOQsnYrp3WwmC6LPYFZu4I9t7ie
58j1kRT8+daBLwGNg3WuGyMYUq4R50PvtCB5wUST/r7BVVICtYwSm+JK2Tiy0OKFeB7Uc2yXydOu
CzgSGpbOJCSR7i9NvIsXFVB40wRqmIhz6ESg4H0ZfLQqHZYWXKOh08/tYUzYVyx8VMSFjXcEZMZR
uDeQnmIx64848zQy2NoUFTUJadcEc3bPU8PTAfzJlbS6GweV4lkEkglossILpBeLNWqW1gHBF6I6
+IA+SL504ZpcZKD5ykQE8fFKERo214aKARaGB+BViYf0QAxGiaGj6EiDZNR2bZa/LdPM7/F8+eMD
C9LMtbSJMi2Sbnq5jeBj7ewSVf7QSbMEgms28VoBWhJiLaq3+pZbnJuSvtjASDmlMRzcQCKR2d0L
ZgHubq9m4+1M8XLGWiyMQV9dFqPT0HmcGyMsuySw0tdO/2h36X1khwsyidu2Nt0CRSRqYFgFKEXJ
yxt75FEZtQRSA+a8p/lcHRyzMnYlK8Z9U2Lun8TpdASCH+naX5hesfEoYkG5QSYRnWpaDFa+Pkus
yE/N0bMiCIBFPyI0OTntdjVTNK829xWZBIIgthWtpUsvKbKs1OsSBuem90b3tZ9SbxyxavGuhbPc
Xt2WnyDOQd8EwRcNYslPisHQoQ9k6WHndI+ii+iOJ2l8uG1k46Kn4KpE9xnICNxT0hViRosTpQO+
Hj6jGYIUyHlsxWT6Wc9V3DGb63FXQjWUheGXkqk0Iz0QiToN9ThL7mjXOic9T6rd7QVJ0Kp/bisL
1VoQgSGcovQofaNhaKANjsXgEmn9yq5Hfy5sO4ibzPZL8E+8AUQaVGTg3eRVj3k7sxKebaX619s/
ZCt4nf8OqULRQAFuJoOFFCqzH/N5hXtoezdDBg/ZyNumtj7iuSnpCKakAyIc8vUhqjz8yCFsH+Rx
n95PGjQl/jdTUrYmGFh7O4HEULDmY13UXlz3H41OxRi1FVRQagDmGVU4MJnKH7GzQYyKl25YjK2x
E7Z2P2XxERHaSxhoKWZg5OpF1WHdclBETNT6MT4G9gjpi7lusUC1FWurEblamibeFOeqObUtt0An
AQkLtDIYep2X7jkLPqTLUNOwLSbtc25VFDzZM6x5RueUqTdFuqqfsLGZaCSgAM1ATg2qVungDVB+
jRzgVkAePx/LcfbTJn7XJQyiTB1ARyx5EoQ//7mfoClDLEBbALmSSTjsIeEoceZmWJFC+A5wT3as
T4Ebs/1fGFqRz+D6QByT38s9p9DWXRoa8gj06tEwpXsAxHpQgReq0LL16VD1dn4RIwBaIAVknrsF
yEUI/ANP5RyyjiQvPAuoUeLGiii2ddGAtACBEo9yPPfopZfQdK6XqsMFPqKCo+sPgADCGbNgMT/F
lWp+b8M/8OgHczkmJtARcaV1Ga42gaENdUZNQOpkfFNComFFIY3jlxr8AoNKRHArXJ3bW/9+lrJO
tpO7Rj7p4citQ2doOxcwb20sFJ7xq4ElVWsu1rV+zzM7sR3FwplbZEF5dyi5dWc63UPkPvNMYOgk
9UQ8ef30swO6gMWD30fCM3i0azGVmRNg9avvpUX3NdjDW6b7o/2YjH9G2/bPZQUNLuROyJzgv9LR
dGjeYizf1EMosYIklx6iiRxQof8Ld0I7kQLBBH9CSfJyJ5KJ9/NQLCTk9tfc+Fq6H0b6ROiRtgrc
0sYRwbgi3lUAX4JHWX682WOEFtGg4TRSC5s70ndLVk1eN/Jd5zQvf3z0TZ0amOhAeENGJoXS1BFW
HXVIkHJU4zIwoJtG81Q08fG2ma01IV/HilZc1NVbvsrJKFZoXQjlYh5UzmztJzFkgd6XNrRZRPU/
2pM+1jSUGpSGLRpOcVr66TDvyiZ/1xjTaWiLP+MG+OWAiJk68ktkmGg4S2cxxVBW7WLUMBxG3u6r
OsF0Qtcz9BA4U2QpG2EGCuS489apTJx/6Tgms520bYzk2YxOtfUNydHK9eINzYutv5lUsOM1EZEO
P9ra6/DsCs0yZCSJXRiRDXVeEg4MwhDtRDFqXfPKI1MfeU6Drkkqytjvimnamzq4jW47zUaMQwcZ
/2EAjTh4Ml+euFg0SCVMlOsijGyJvg2iMXrRsnl/28yWb0JuCxTsmAtDH1/yFTNPpqRoMhoyM+4C
J8ueSJGXvgUqqn3VGioK3I1rycT42frSA9oIzaDLVQFTV3Hm1mYIbsF88JLJAPot68gD8DYTpk2G
ZJfU/OftNW5t5Xq9437CfDxzJRcddZa3SUJJyPLslYP5Ci67byYVwbfKjOSelC2kjCkylnSqQ2x3
7E1FUvmt8RcVfmBJgFoFHh7FDRmLK2yQodZOiW8GaUyQmnwciHaf8uWRj0PitQbxO9a8s9n49vY+
bvkKc1BVA908mngyYEYHDF/Us03CMXcemgjSX/kQatrs641qtGAjk8bgAsYXGGoQFHTMkp9oljnx
zqZhPuSpr8V25ecZ0RUBZfOLnVmR3iJ6ijGJpY+NsO3toAbn6UrUUnNVhW3TDAqFaE2iN2nLVYYk
nUTLMjh9m6N3YFU+mTFMvtj7259nc8/OzEirccYS6kuNMMPIGvX3PbXa0EgtVcNu8wT/ZwXol8sv
Y2oirWnbmKFIkFk26fwps9Mv7Tw+dJlVeYBKBn+zrNXdEPvhd9KyCN7ftChcJGFGfy949hhxFYB+
07GB0P7XhFzRZzavI5T1SRi1LLDZEgjmftZYHbpRp0DzbfkClI4AAQAOFxDZ9e9nKWVLOKYeJpOg
4o76XV0dhbMcXV2FvVWZkWLRYi8JDjLyNSaq3SygKlZZ9xii2d3+NttmLKgCA2NuESZ9GyeO9boH
ljBsaBmkfAhjdowsFY5hy7EBWv5/K7bkch2pMsOeDJQMUmNflDVkJ1pFXW5zIQYQw2iPYYpfHssa
R5vbJYmssOHlPo7apzgWuzaeFF//10tZTioAgFgfthjDpo50/5HO6FaSR9R0XKf2+9FwfQzV0xdS
lSUgC7XtF23uvM2g5xBodeyCBdLQAtC6fk7xGFEM2my5/fmPkYKsiU60sDtOw77mD7k2e0ZsP9qi
gGqaqtC6vb+/1y05ituknQ65KTQZ+uIocnbUYwviRvwvMt+zFclczE2jRWMHwW1kM9znzg8rXd6T
KQnypXr5C88/K4lIPlmCdVxEAueYRvFRWMn3zGnfFbFKcnPT9c/MSCMCrTAKPsWoRSa5xl6mHGJs
6Tj37/9mMXhzocttW5iEvAxKgPsCcjVWcAQBJWyCwQDN/c6Iyt+2FoPzpQNeqKOxqUtmSpNVhajz
GQSD/RJ0uTFBq2bK97cXs/VKWNFOgLAALEnl1AGgLztyezqHvIpR0/9EnSiYCD3oHeiFai9XQgQ2
DK6vHwQOnaBhIhfkmpI20ewApxMXNfCorUdj8OdBWXatzOlGi1kYFXX1xk4iK8J/wIUjSbraSTqx
yapwgyStBsJWbZctP2/v4saBhQW0swDZJ+sow6VL9Hj8MGtqUVdok/0cJd9am51AG5t4t+2sB18K
iCgrYjiKojWIa1HyCUHaCfpgqFNFdNi1enHsSe1DS8ATsxtUovTz+CdwjorEbwPkjpneM7Pr8s+u
YdDtUDEZMLs4C0RhLC9ln/p23PHWwUMLxLRg3R8Tj0Cy7C/Wi4ImQNnIb8HefmlY5CDgmfGwwkBH
6aXFglLq26L5stggvq0qP+Vgn1WyfW5dO4DT/2dVvkGBiAaR9hwZISHaYRmhcALhdbRqvCxO/bQf
gpROQVrUvjnZd8Ns+rWlIvLedKiznyBFMlfnTq+PI2p2Vr53+3FXQ684St3g9v5u3GkXK5X8VocU
DmascTJKcwniZPCh5XrXWbkfabrC1Na5R2sU+4pS7nXH13ZnrTUMoBqipQxsXvhl+qkCu1CEIFrW
vmYrh/7XS+XqsJxZlA5LjH42GA1hMe67R9AY+ln0gRbLsa/MAxTqvGaY/dg6pgZVnNL1H5YNr/Ux
A5krdF3puutnx6Vo8KpZBLrNZTQFBYbjZ9Irru4N/0ABAuMK6/OSoux6aQLTHii24MSGGUm/2ynf
cdvBoLeWKQ7ghoMwgBsR2YB3QPlKshPxYZjMCbAN0eKdzD+k1W40I38BE/NtT9zYMzyW1zHFdRQA
QfRyQcTs0X9KSjOc07Y/WRogwKgvmmaksLO1IPScwFIEFAcaQ9K3aazBoSl6YOG0uC9N8mKBjAS0
/+zkZCAkub2mjY+EAXwMeCJ5BWEMk9JX5sZmIWKkcS4vDyLnCJv5rh7m/9HMevLO3K21MWlcOWuV
yKqZN5fz7LVTS70kFiqh9o2vhOsTYGFMgkM/UaYdNRM7g9IiWhcg5OP+VDsgrtZKlQ6hysr697MF
9U2BfNEZULFJYm05uDrYOT1Ii3Yi+IsPtFZiyUrJcNX2NMa+x6xISkOrJQfg2MFi6HwGY+P+tpnN
9WA8y0Y6t0Kt6eV6qqV0ozhGcbLXO/1ANO7smFMqHkuXjr1CIREFkIKsPk0RFCRnm9IRmN3Y0E65
Zt+BkHPm+j2Au7XqSa6yI3kbOHzGaZ507YSRgCIAQf7RnpadVufWIW1SxUPzsnzy76JWXo51gAhA
dWnn6hzohr4ftJNevtWcO0twb4ioN5FwdpjCGS4vqGtbktfZuR2Zi7ZoJwMzNklyIPPHKV/JvmYf
dcJF9VbZNIdxegdRHMwVsuhf1DXFPE+zdhqywvb1EZK8trgXaQEgFHB+hfGhyDuFI14GpH+WCFAV
FHFA2IExSclH8nZhYHZeotNMzbfj8MxrBo6fH3/i7ddGJAep6qGsGY21k8n7TyC4/xa5KoadLR88
X4eUFmIqGne3E0WntIEzRAfhuj6zdsUfCm3/OlNAHpkW2rR4Ocjdmm5uIEIDsuHTbKfuLikbNIcr
13nDGBzx9q5tefq5qXXJ5zEPAy9llGfaicdjd1fF2sHIsi+U262foxhVM1Xqt+0Lv9cm+UJrUqur
QRV90hl3vMVN8oPe0x8oK6qI5ra/1m9LkkMIp81Zkxaw5BTPsw5SGJxjPx/IK2H1otjHy1j7/973
25jkGnUac6SaOFYEepJ7d4zcB/THetVDTLF7soyyHXUUWEyunRB1d5jqCtEw/b7Q4eNtr1CsRpa8
oeU4NAUXa0yibjAVef8mScjfRL4z35MHYC04mLAaJzo1ZvQ48hFjauypd9gJHalPkDsFlabisrp8
x159JTmu9xRCSL3AAaZaBqEBLSwH6hPa7wV9cMjylLbsOR0XRYTf/mgrxwjCLQTyJEfsU2uou2Wp
PnfVN7e+a5fca1X0P9tf7LcNyf+I1ZaN1kYuwrr22aztL/ai8Int4/SfBTlTLgvTnTOKpi7eNu+X
NL1bJuOutuevzaztb7ufYsPkkWWSEI3wWI9OEyvFbubdE2a55iCjKgCtyhC5jH6sijA+Vc7RKY+r
vTv/1IfmsSWqMv/mzgGmSFA+sdAtlh7VwjTK3DDg53w0B2+ymnutzB8TNrzJePRHyIx/PRzD1+tL
V8dEoeRro1tAUYPB12bN8kr3LhGTP5IQw6e3P5GEv7w2JDlcwUaTTSJmJ9MUQTd9KYz7Rnf8TkNv
E2RATfUpm98n4smNVJMDm1cWGo6YNsfIvi0rwuVTOY99l2onh1b3c/yRQ4gAfUHtvmKFh0EW1cjd
5tE6syfdWIndR3wuK4Sp7puOhH1xp7/xdwvNcxAdQC5Q5tLq8jk3rQ5R3WH5Ibffjen4oe664+1P
trmO31bkt3vW63hpEzi7Zc1PHMUWkurvbpvYPE9nJiRPB3y8LNusjk6tKMExHqZO8Qh1KMVdK03M
/ut7qwgwhLMhYSSzxNcZoMx9P2mn2jXTZT6O1IUGpjc5ELN+5SDdN7ogQeVFP5qZPmdf2dxORr5P
55wVj4PrDkVQjDUkjzDXUkyoluZ1suTPnHGjaxXtm+0t+f1b1+BwlmDpeTEPVZxHp550Xqlzbzbz
vQZeqb/Z+d9mJCd1jLyol6SMTiYEkSH5d5dl+4aVip3fvD/PNl6KLrTW065PHetka30AsQ489gI0
p96UTsD6t6QcdwVRNaXWf/N3Vev6Y0uBZonbKNFjwh8c3j2AcHdXGcn3irE9EI5+JdKXOFW9V7Yi
DLiegJhalblA6HD5zTqzgmhu5lqnzDA9hppr70B06edU/gQMVJEcSFXff9Z3bkxykBxjHdZcEus0
zGXgdF+HZPHL7MloxmAU+bHH/815fyS58IYJtRyHf7vtOlsbDKE/lPaxXFDOS6utzWaIo0WYJ7M3
A0E+O9O802DdWgbPbEsQCEyKNW+dCZQKEL5XeC1GWC73NwVJelv0ZnvqMDPNpheROl45Pd1e1tat
e25kDYdnB2/IZrvQgJW+t7TPen1PqzSwoH0+Knbv1xy57J/ndqTtS2d7Sppljk/5TN4CNW94FuR9
8obsJv5lbPUPA+9f2sLcV1b52vbxPegOjiMr7gWrfkKp+G0+vC7d11gIT1unqo10bxZdQEzmTwzk
MPVyGIXYJSLH1P+bRJv2WabtK2HfiTQ7tNDCwcf9eHvvpEHsf5wS9Ta4/8qwecVwyYU5jALllnuj
3ZV3ZLcc48ZLwbXpLz4yZg8jogqfWD/H1TaCgxFlApCegdH98nNVejO3EDPW77vsQ589s04RIKVm
0r9LQtcULAuYMbdlKonF0K2ckp4/aHmKohuoOlHqtcm042SHYkmwjvx4IEy8L1sVA/XWCQNK8T/T
69/PXNEs9TRfWts6ud3s92blF73zPVkWb4x/AJzxsJSWYrW/svGr7cR0JQb4MF/hyiWEpajAqKlT
69QPpT/0PZgtZ68XxmPpvOJiThK2452eeTTvd0RjXp5kQQmAmNk8dXHtYdDvbjKOnbmyuLr3Fv96
28G2Iixyt/9+nhT0AEbNqRg081TrJzLqh4wK3wV+MzaDZar2t41tbj/qx0Dam2hayKweWdxjejKH
sUxr7y3iWXWLcvXwsR5f9cynpamgtFHZkyKPaWhOJJhtngAaDgq2p8mnmun7Hkra8Zuh+EPyyn89
GxKL6GK4mCSTedRrB+DrYcCtrBnfqf6c9w2oQwJ0g7Msg0DSc8lzv3NUeJ/N+PrbqlyKcLhet/UA
D1usxLN56VclD5o6TJXXxa+M/sqZz0xJaWVUW6hPZgxpB8BsxhhyXns2SmEQTvS49iaPwjgxgipm
XjW/9vaXFMqPCxrDYyeOWYGHY93gtQ9tbEyK2eXRhc5I5rDdWnGnE4CmzvShEipC861cCSgN3QYM
b22XSQHNEfNi0Ek3T5X4DCqq42IuO6egfqItpyF+nMmrm3a7256++So7M/orCJ5FGp53PKsREE5L
Sz87Cwni+hkIBD9GTKsKx2dkONRs9Jrl/VyqmnZbh/rcuPSZXNZMTcUbJBIVePbBgcebaYf3wK5j
D+6gAlJKLMz/uP25OSmLqI0hK6duNk9Na/ttNR2y/n2D0arGeoyd0mdJ9TZOuGc3lqeByyZfAmQy
YK63gzZ5buca79TKp6AsGovsePs7bCU4EHWzQHGDoI/+y2XAb8RQmK3Qq8+i56BCA73rfJ9Fn24b
2d7u30ak9Vd6uhg5qlmnRU9AoKN9yOqh9VvofrXuciLmrCieqRYlhTXGkszNCI1O44y6Y5Panhah
gju5P26v61c9TD7uINnAyjCzj2br+kPOnJiUOmmyQbgnWrn7ipreQvgutrN9nP6I+8jvMbOAeaI9
MYsH1uWfBqM+TCD4ZPGpFiYF/byL910fGNb4FzkluKhRlQc6HqVVacuTIUmhM+000F8l8y6rGPeh
TFx9GguR3lmtY+0UW3GJJfjXx88MSnvezk3c8bqLTk7pfqVzEbQWfTDN9D213WfC5ieIFL6DjMbr
RHIVCGYzY1qnYVBJQkv/qm5lkXIWjkbGU29yD8S0fjq+G/v7onolSwIyrNlj2tcy+q5Y83o4rj4/
UAaA+q6qhTIPhW72FskYnrKCAFtAZjp6gD76kHpMoY3m6p6tl0fNrAAAbvljabseTv1H3RxU03nr
5l79EOACMCuHJu1VWQZgsSlKK0u/d9rvGKXkiaqav3mCfxuQKzJdUtedwXP9HpHIy6p30D7d9fOb
+NtS5Yfbu7p5eM9MSbHZyfosaexMv9fMr8vyGIFUPdIUNcErG5gYWdFSSLMw9YA2/eW5nepyrKNl
QNRLHtzyWFePufnhD5fxz1AK6FDW5yoeq5cm+qIexqTLYaI4EuNDW+30/sdtE1fZ22oCMwDQYNdX
SnDJhBCO0ZelQAV1FCejiu4yRw9iYL9JzT4YZgfYufGn18VqEnkpGDDQbQas5nJVGIaJILxeV8AA
7Fuk3Mi8I/Zye1lXvnZpQ+YumpZlHJzSqj4vIA4bVyot8dSQH/l8R8nzbVNXmc8vUyvmEVht8DFJ
t59FtDyayQSm+/xHkRKPxeCv/pabR4eP3uweolR4ty1eex4mBKGfCGAn0xGsJO+OrdzSImqVsCj8
rhe7vKn3Ih4UtbzriOhe2pFWZg5NbFS1XX6e2ruhOhlu5+nJ+zl5NYq3SfLdmgJWKzbzOqW7tCmj
eZaUuSnkxTFMN6ddOGX0XtjiTWJ3zq6xtcLLGEKiLqaHxMUVQEX22A0Iz7c3WPkrpFPRL4lI55i1
JzPpg5lafoEdjrVHg7waU/akQwFjFNTjaKyaVEEitrntNoAmAISBnRo5weX5yLTUMKcCJRYrye5B
fuRBesIjEd/1buxPruWD/vjA+mNG/4zjGIBhDO+jIoE7Hy8rhv7NpWVMtVcFTdwujJIoIAPD+Ln7
+fbWyu+o1QTFPYe1gT4XPnxpglnos45s7tGjYQ9ZPryxZgPwj15/nTWuuAXkICDbkr7iaGmsgUT5
EGKP/di4K9JHmi2A1QXdH+oB/9o5vLXR3wXIBBOa0rL0gdm1NmPH7PqpFW/z+ltnfP3TnTPXWUGM
aYB6wAIn4uXO9S40YZciHUAuV1dh07TlHk245OS0E/Fru1OYu948mIO647oicPPLDDg5mJQhpji1
YVJAR3iZvosouePW7E8UtK7Vn7adbFBXnpmTh13AsJhzfYI5dIzurCn7OZSRIqOXExzZhOTdEVtA
4bo4fThkSXxEbbgPxpoQRdIsB+fVClgbVhGPdURXnkqfKuEuI9RyQt4inS+gvsVNjyjnjrc+z7kZ
6RLVDDb2U0/NMKu6Hiwbyb6k9R2du6fWyn6O2qy4DDaWBSIp0L1j7hf+J7ch3YVgIjbHiF2fLl6d
1XsDLBsz5p9uO7nKjHSObN47ZV8kdZiX474k4sGKzYPeJgoz11EI6Gh8IszYgzngSosPzFtVjbEr
POwS48Ay4rt6AxaWzAwKkn+4vaTrL4W5WFSXMV6yosGuihTgWs+ariJhD9QjIMqD+9LFX9CH8BxL
Rc967eIXtmTV3jqppnl2qjqkQLRrHjXr5FPW9qp2uMqMFFinvnB5VWVNOLN02dEqSV4Kw1D1Etd/
5fxBAkj3+cbJNXIkAeNQN3EbxmhmuJUXU8cfae5FCLN6/8z0WoGDvHa+C4N0/fvZS7xmxTBllijD
snkqu3uCUG69ve0MijXJoPUcbBiiIJiB5M7RIq9mbXrj8r5Cfd5yWjCiqu4lhfPJbQDRk15Uw1iG
07wEiXtXgNBrpLVP6qAt3t1e2/Whutw+ySt4XOjCJrDVja8W/QL84B59jdoqD7ftyAn3L79AsQD3
xSrGIMsIuVpJSWE7Dca8W7+sM38wX3To/kKGr2ycoG9S1LxrxeWx6Ru/jcocIEhnRoxh5lWolz/G
5kNsfRPi++11bZ6qMxPr38/cry9R9TWNrAJOGgS1y/gw5tPdbRNXuaW0d7KL51aMDzR0QPbWGQAz
B8t5ENmdoX2ytfSYCoiLj3c8+aawuj5Irk4y6KfQdgWxHULu5craqi4zpmEkV2/3o/tC7PeRdrTs
r1N8atJDX5h+C7jQrFJE2Txsv83KL3QIlCxmHWFKW2iNp+t3UfIjtk9GeifGw0wz7/YqN93yzJr0
KsNwh95CIgmLRO8JcZfrlc/MXW0+Ns1d33lx3iieKZsH7rdFJiU02WyiWpbbONxpdq9zQJFK6xu3
9cCMhCI0bvrmmSnJN5u8jFJdxBXUJfq7yRkftGhQ3MlbJwxPWsgjrBM9V0RlGjUrPWqMAhpa/JEl
P/ikQ/tShVy9QtOsJ+C3GTxwL30xaaLK1bsUFKkjCfr2oUhSdAqf9ek4jeadZi7etJSeCwpis5+8
qv9p2x+WVHEN3F4raJIuf8TYzONIUlaEJf2RYJIkKyqvVXKbbvnH+VKl+yyuc3DNV3YBEuJib0Rv
luZZH/l+sp5ve/6Wc5zbWS+hs8CFWbQaqFKrCB1ePpc5lNb0zlQEfcWOyckAMlMdA0UJuPN08PVD
dDXb9ZA5ur2QrdvybCHy7by0pGpFwsoQNYddrbcHKBh6mYteWt9+aVtWKexdoWEkZ5Sv52YuGqtH
/glKkcMIuEM37UA8ElbFF8a+ReO062gaFNFjQ6nnlKoyh2q50oU9o5AMLAf2dASF0JLuKJqIEKsK
EvRVlMRlW8H4fG+lO0DEPYWuJc5dA3bdGPiKqWp8LWd+xsWuaB7ApLS//TU3XQbMFdBqQpIPcZdL
t0RF1chKQE/C1hpOTfnNYPmDsahKzZuH7MzK+vcz50+SusCeuUU4govTa5L0Piurjw4G/B19UbTa
t64YME2BcGSl0AOe4NIWdo9pVoUrhsa1P3XPhWm/TZPXhXwaauBnSANMjYrYZ+twn9mUeUimuTQi
2uJw06HSoTmbP0TxogiHKhvSl7K5AWi8Ad9IGMQZ37qaakZwy/nOF0EuNy6eyJxm4JkOK0GCOX8u
eLxr9MTvLAgsON94rpIQ/8XlKac85xYld4eOIPD+FJ+KjblHMYnhcAO58LdaYHjQmfaJiD2q517N
76A50kaxZ6GNXLAEwqLHVAll3PLSs58jD1tjbrWLzAhnwcyr70P8NGqM45LbJ+Pdnx+6c0PSp7S0
iTfCwafs65e8ebbnNyJTFEgVH1OmAXAbp0dZD4PjOfuaJR+oA6hb+jL1p2hsvQKD4v/biqSEAYIr
mekKmLP6Q2Ts43nPVPpM218HsCWMjK38vlIgbiH2A7pYnLEciI+xqT0rNXZR+po5n/5iLbiPXVQp
3WulKw2Kydq4ik+20Zs5oV5s/mTIeG4b2VzNmRHJBaJmNqOkQkQURRI/cTcaglgrhiDBSKYHkWNV
GrwZFdF+WSW/gXsypfQjSfvJrdAzCEGM99B07fNQWu8wCPrUZd134Ij2Wcv2UzP8vL3MzaD126yc
faNbF2XOrIM2u/4W57YnGlV6sHWBQan0/xcmU6AMGTClmEQtwmXgj0taPBIBaZGsUtwqm+fpzIwU
qpZ6pqIp4OADMb2OPljddGr5xxjC6XnFjtwtd7d3bjMHP1uYHI2mpeFgC7YRHF956qFsGfCgeOhB
sFF5c8A9gPN8FT+r4nPZkldCY91lOQCgIV3SL3akgxa16FQzXpsJHe4R4KDAKYNiqRQs6JinFYI5
KHia2RfTXU5tj9H90H5O+/yuHr9qYD3/3ozRcRaLYls3z92Z7XUHzjKR0Rw5J2iohmDg3SUUN0pq
BAKw8YEqLG2WEc6XuXrumalq4gNPOK4TYU3kO8dsjsfc3vKKBqgBqOY9QtEou4sTYNS6ki6AsPFZ
EZY3vyeaAQBUIxUC/8PlT+BzxZFPUtCHGGFiPRC+v+2k27v5378vs2KJOM+jScNuEuu+yg6ukfpz
/tT2ioisWIYMinAqLU2z1inCqIiHYNIXepeC7VqxWVuZPqhdVjl24PstWVt+LJx8EpgRAfVaS30j
I59trXrbOdH92Lp+54qPtzdv+4SfGZS+ThZNo9tkNR7zFZDhGBwm7H6kX51S37tL9QSQwbsyez+y
0p/G0eMcOZL2DCylomux/RH/W7fMbDPE6NXwwoKHlKYbmI6wj/U44RmgFdHOjdFC+9/WLUc2aDnq
kagNsE7fRw/RYTho74DcpJ037AEO3JUH7WVSvVqv4OvrK/Ls68qhrdYhCNUy5Jr5QsDhmPma9iU3
sFRG/FwjSIpQ+O2iY2EOvkG/FWbuLVRRIFpP/FW++/uDy0kZZ6lItIauH9x8F+nLZ2u0vbpXgY23
j8t/H1Q+9XNlQJxNhxmnyyDXx10zN7wu6aeX2x9StZz1d5wFuEkvgb0QbhUKMfjorN23ruO1jXO4
bUbhnzJVQN+aLZocuHrn/l3B30NZGxqg3/t+VKRkm1f82deREsxOAwOd48wlEkzgYOuePZll84yo
4BG9Otal/tyXKj6OTZsrEwdK2mgi/woRZ1soIA7V0hZeWZE5iKw9Gzq/4vbOIk+ZGINENe28uZdn
9qQ1YhC0FgsbyrAV+c5OyHGcq4elgy7vrIJobHrHmSkpY0pKq9ftEXfDAm5gnrhBFGvHMVfphm+v
CBQwGJdFa0VuwbPG/D/SvqxJTpzp+hcRgQAJuAVqoXqx3d1uLzfEjMcjsS9i//XvoT3fuErFV0TP
c+O58ISzhFKpVObJczrQrfVIk6KdJHu9hgsmd266xQq0bgfcCwCUA09kLX9/tlNgpUKLEPLlp8Tg
nkj2sXjl/CCi1//g7O6/ZqhypuxpAhSKIU8vDXaf569JHoVGASgDpJFvW7rC77xFxDNTywaerWgc
dT0zSVqdBCYzDVsLyjIJu4YHMYs+jhY9tfzTbD+CMX+zUb6aAgIFBpHfBdsGUJ1im0A6yI4z9jT4
ZM/8eGe1QeuhPbVvDuPg0+D2Wpd/Tg285+aUzQO12GR31pCfplk8DhZ5ybLqP1Tmz0yova+yFGSM
apgwhYmbepqZfLatQUpvHpjx9fZ61pzx3JiSpxtWUTmWAzK6yXTAa+65lO+M5EnvtmpC6x/OBeE3
4K6oTCopSsZN1rQ6ruo52w9gppIbz6rVfx/UwJj7AQ0jhpIu/SAVAB9VMHBqjfqujnWvoEbwH74V
eUPMoWwA7p5LE62JTTFjLGEyPjmE+03yXNRPg3wf8/WCC3sTPFlqE4sd9eRaBS+1vsJSDPOl17/p
89PtdazEU9PBxBjgTZBZoCrOVeooG2GSPceglvNVUj55hvExgq7FbTMrrnVuRn2xV/UkB0BqCQa1
n835cS7HoJYPZAvSvbLx52ZUKJNoppjxZiansXlx3IepDP+nZaiOVVDodTWYPD5puZ1ITNhZzmNf
d11+SOMmfYGusrlFBbS1JOVutWaBQWiQZZ64m4Ol3vRY6WxszpYJxZeJAMf1MOFOzWvQkE3i2Fr2
xom87Wa46i6PC4kmQkG0geRcPDnF/Vj8laVbhd9VGzjymNOHkprNlHDMAY3JXFlBD2JAFzH2NBqh
8PX3bQ9YSa1MDGn+a0T5VgnY7aLSBG8lKSqvy45o6tXu3zxPwHq/K43jbWtrt+m5OWfZurPbVCu0
nHICSvqZBPxY7PvjrPsyGHcZyKC8LdTmxuJUegiDlppwLQFfK0pfljtQk/plG1juQ93s2q3398Z+
qe/vau5nPB/QdW4z64k54mdcAbWdze9P9M8/oavcalmd5nmexXC9/MPUvBpD49XpvdO/bmzV4sJK
NgCM3sK5iJsHj33lUqsNe6BQS0ckbWlQl9XeLr9qaRlU4GbiDfIdyu41EeZV9F+C0plhxUeqyeHj
uFwR00B3YF33ZddWHpQvPA2sVBvPmdVAfmZs2dQzhwQlOGVDgQgrMEpvFrXXTMc6+TyMG+ds1Tl+
21HBykPW5j2m6ECMq9u7qr9LZ9NvnS2tydXId2ZFCa5zCb0VR5Pk5HZ3OuiMMBKx4RXLrt/wClWu
oMUwBJU61jF/iF+rsNqLIPcluA4C91Dui890wxnWcmC4IYDKGKiHpORbRDnboJlYfNbpZD3xV+0Z
5c+D9a37Rj7V92SnH98pvfWWnlxYU3xvgvZIkRCkjI6sgt79DkrQu2HcIgBdq2ldmFG8rjdJPkQV
nmPz8+RnL8KvfREw05sPeViH1h0Pyi+3N27dz//9jCoJFamLGUBVWCT9l3QMImb58Q+SbWRf6/73
rxUVJkUm2aYyx83LTOkbSblvMnMj/K1fIb8dQh1ZgVbZICtR56fRQXEf4tStJbxp+DD04BopNX9a
Rp2dxGezFkTb1NrG6gH4vcTl78/8kccEzMeLeaGT+7iQXkQ+NO2AOVrNt6cMrP/6riGjP+TEyxh2
1916pm1spRpKOoyrxG0McF+jpyCAHsWhMziUtszOK7P2nVkIJEkAeEBVHNXeRRtNV64bsxn7CExV
bWizJ6L/KeVDVX++7ZvKNf3LBMWoycLpCkFX1UTPnSpG5zLsmyn3eSRfm6KqMRpf5n4aZ1FYmFBs
yAtbbgQX5Uu+GYbAEGYsGEYtQJ5xuZejntJCywb9idcf7aLxeno3fm/eqQ6B+YoFOHJmZvkZZy5T
Q8+v0lohUaKI0ldei+gb5SWB1oEm7B+3v+XqkgBHR6EMSR3m5y9tmf2cilTr9KfS+IRpiyT+QoYd
67fYL5WD/mtJ/5rBs/TSDCkKp86iqAmJzlu/o6zzKodtTXKo5eg3M5iJxGlDK3vRg7o0E9uoaLYF
ViOar0AKxl31FQzXuzxuf0Y6+OunNEjYHLJ0uONChCIGOGIu/dufdG2t5z9CuVQLCKnWlOlN2AMC
9IWD2bP1rBgMJLfNLM52drMqa8VQ3uVay8zFFzTrNNQbqLdCA8vys0yGtatvdDJWDQEfgElxNISZ
Kj2qZ4CTNHXFQjuXjc97+jQncfZgWnG28UoiV6aQO2L77LcX+fXJbsq+0CCt2D4Nw3e9iQNoQfsA
kYPfADQ92ame7tp2ACcx1DL2bQSZgnnPjNnvtK+3v+3iJxffVvkdyrcFrZ8rI43S0EZu7jUseemS
uAXPl2jCem5QweMR5t9vG706iksBAp3bJbQwaJQqzovZNK47rVs8Z1HyYDeDGyYOJiyttnjQhRG/
3ra2tsRza4qXliD64hNS9bCIm09mNGUeafJ7MusQQRju5k2p77WtPbOnMjXoPBGZMDsatkkmfF0D
Vjgzmdg1w5S/12GXD4nxJ6jBYZbQVWtTCNOzmRuShqPMdj1JPAibAzwjN/ZrdUVoMliWifEk7Jhy
ALVBDkAopGHf1vvaTbCU5DA3w+72Rq26BTRvFhIhaC+qORIDgAp0+ikLDWeM/TL+26r1wius8q52
7eNtW6tLOrOluKBrsMGxuhhLAqsW5DmPhFYo7U0bZhbfUo8XCEUwjYkbB+ySShGhiCYkXbZgoYyr
V6j4uAcQM2WftWGu/Com846bJmSHSS0O/2F9FI0GMBpCMFCtX0VmiTapwWHYLBp/qnoRjhgY9dC7
MTa2bfVT/j9T7lWSAimpghttWYV574bZIvAhhgMdt9prV5fN4uvo04C0H5/simW8sXo5dVFVhVZD
uU85AxlMs3V7r6/lt5Hl788SkrjV2tqd6ypEV9tPmh2lIKyjf93em+vLG0sBQJ5BMhwruWKB0EiD
3Bc6EU9N/k3oe2HxPbTJdmaW+vnQ7PocCsPypWooltlANHDeFSzecBAVXoJr9OJHqEUZnSblbHOz
faJAKfa9OCFGeqWUvgRfV/bSM3CYyTGYo408bG0fzxavVmlkpmtJAQBF6BZdG4AWmhkHjczd8N4U
VlmfcvTqbOwgbdU24VC2IHeKaJmAcqS1E3Gws4LuDUwpbEFA1iIYzjo1F5YesJwo7lPncZTTgtDQ
1PnPAkKgZtRVnttCDLTcUlRdc1W2EHQhAwORirvUI85ctZ1oSyFEW4Vz3AVRkwVFhzcP2VKcWrs9
ITiPhw4mlNGZWLbzzAwfcspmO69CaHE6PtqIe7eLgMNDgmR39dGRbOOyWfWP3wbVpwdQLQ7o9LAu
gzwM1Sfb/g935tmC1EZsPCVmC1AhDSma5xUmA3PtKIDtaEBfwfuNgvta/Ef0t5BRYrAH5LKXX08n
g6G3AsbSyn4pbNCbGuNd78bfxDAdEQXudXOrb776/aBvs7AJgRz6Cr/eOmI0aFaF8ThKj9rkWLna
y+0ItrYsFwPrePUuBJ9qQlBAOkBGEOt6rlL853OVarW7H3lEJzukcVsJDF3qDejkaarhxS86fZQb
cPaVo8YI+BMw8AY46hUZQNdpEuPLGP02xpCBk835A88tuanPsPI1F1UVF29GxGkADi830Iam1KyZ
GFoCPTnzTKdvjoLl7sZDamUx51bUijI40Lu+tEUZlmX2YrqfIE0boMYcMG1rgE6tGi5hH9DEpbGB
77bw0VwuSJczK2ISa09y172aQXlI/YJ6loca7246Fluqsavf78zcsvKz8JG7wiYto3XI2vsyvrON
jYfU27S1kmHZJiR2Ma2xsDtdpcBsGoQs9SJ0n5sw382eCEDdFqa70td85mdB/Nn1s1dw/AZItEID
f7YHHohDc9hiw1584eqngAMTM+h42+FRfrlWuyB2B5HwLGzxDtYi4B7urBH4qehjY74IGjjJFip7
7Q44P4fK1zXSEaTpWY9lIRIEaL1m9/U4EjwFimIjkm2ZUhLmpDZELyDNHHJd56g3FEbQFKAwGnA3
BLejy6opwEoBPEX4u5LKsReZLig5iOeB15rXsr78AHD2X6NdbUEX1y0tDLELaQAwVJc7RhzZUZBN
i+fO4bg7H6FR6dXR59vLWQ2W7LcR9Yk9JKwSRk3DLLP300JyJ0pwIDjxMYlBRCc4mCu2tDBXAgoy
g982leSADmYXgfkdiYiR/eic6dGdxcMIihsn3qpRrppC+wFBxcXElJrzdOVo8imt8NwdXQv80jEL
+nIqAzce5IHISW58TrXM/Za4umcGFacfU7utXFJQXHBW0AzjrnLknpg1Xr8Sk+nMPNpuu+9G17fs
IRBV+nR7P1edBmtdxI4sHZ6jOI0cIbtOBA273goIMNdaZ0CpN97fNrMSOTHL/dvM4lZnkbNtWUWl
CzMO0seM00Cf2IaJtdwOUyp4gUDRDZWoZaVnJnqTz0mXCxy0Kgb50U+SQh/jZwFkZFttkTGvfrUz
W8qu1UQORjXHNOSsfLWtFFO/yb4a6cZ9sPqsOV+TsjuYAChNyTQrrAG+xmS610fdXi+Sz4nDDxa0
js25/tpP6VMkhw0I1+qO/V6iyilFShCiGREOXdwlPyrTFoE+j2J32y1WviNAFYvqC1I8dJKVS8aQ
STSxGm7RgxqsHvR9yiI82+b3uwYmzMBSiBI9yiRXml4aJLz6TOPPidQCE6zOboop0sj1S/4qky1r
KzfnhTUlRAIyngqzkGY49l/M6MGOPlV9scfb0AOAMOu/lW2/ccesvcExQILao0FMNPHVUzyl4PY1
oS0YatXgOdGXsngezAEPG1RBu+y1M8Wzo/+schCQlf2xK9gnTun7HebiNyhHvC4npkcYQoXyoKj9
CpRTO7eAi972mNWPe7ZSxWMwpDKMsgC9HK2FOxyaiDT2sYhdzfwJ9ucYgBZjrg3oZmNkP+ufMkdU
zV8acA3RRgqxcj5Qt/k3P1Kz3FbkGXXnvAmhicT5lxhbXnxxRFR1W+OEa3fE2ZcFou4ysmVmThjP
azgUN/aYULNiBzNQht16dkr8XEBsVzZBQ7S/WTEfjZF8vf3NV0+ps/Ch6+gRWmqWLWSfVSArt8Iq
j0+Voz0Oszwkyfj+d8PFI0hZZu1Ke6gqPIJcsPZl9Miq+8n6K7Le/2R28PxHQQV3PIa8FTNx2qIp
AEBUWGVuyt19wyNN7GY90l3zaNGua7dUQZbb4DKVfqPiBFWvQQ28YZUobouqgGJBlYasnjy3COvu
GNWfJmdrjHLlOQQq2mV2HUw3SytXSZSMCdPApWVHeA619yTIgvSgP8vAAo6YB/bLe73i0phy3t00
bdsid/NwQAn8ZyNcCNQVwirD2YKk8IZvrJyBRQcdWppYGkMbTk1ue25i4Jsn4CPiB7slnjN8Btmt
55QF+DONfSsaT5hf5fSj3uoqLQtRtu/C9HI8zhILHuWOJV2YtsvhRSfHLpo/mvlfowUmpmHYt221
sdjr87Z07Ew0JxZaExQlLg0mJukbI7EFBCyaA/bzToj8+2Car7c3UF0XqmCYXoTGiA2iZvCNqW6Z
pDPTi8w+aoXjU/akd7pfTH+S7Kc13o3tVolPzc8Uc+rzZMbJzjq7sI+xqXt9G7bxN0u8NlPh1fpW
yFyxhW+HXivog5DMq0sbu96lzYilNQMEy7QPkxUfpjI/1nrgvJMPdykmLvu0qNfpYJVWUeFuWco4
qUv32NiV4QH02PjxFPujVmPOSJPmUev5nspNzfmVC+gijiknwpzZIpeWldAFT/fCyHxXbFWArx0R
3EsQxUZNCg05CJ1cOqKdC9OCymsdkh6IOX3yMj74cU620pcl5F6esIXjaWEKxOSyBUuXdobGcoWg
hhkOY/ycxUjR/iyjMhDxfDTBXU+y0Bl/tLW+cc5UL8HIBQ4XTBrYOMQWZXmDkZjDpNUZeqnfZzZA
7wuTW22+6/L7YZOCdy04o/bmWGBmNnX3yk9a1pC+091fwdnY/QrO7c7ag7c9yL/cPtsrS7swpsSs
MjLihMdAGTjd7CVdSMzQ0cFHm4G56NttU6u32+91MSXdHQwjqqwJpuz4qes/FYAmpfUuYhtm1BUt
x2yhS0ZhjODiVn2kzPtGSrBlHSeWHs3chYCZNnvSLo96Ot6ZiWlveMcb7+a5V2LEY7mtAYpC1rO8
0S+9so/1tuCd4xzjNh/8itt7bkELJ3b4p2l0Wz+LzIdIzE3IKkjWlJBya+PyWYvnh2rOOYa4K3GU
Cfg2Y+eRtZ0V2JOTBDPY7Yq6IJACaSIfeJhs4zQtt8PVz8blD2EFDHnih1/+bK7PKWboIudo6fJT
F9tHWWp3swG+kBIwkVPXT/dWh19D3JFvmFZD0jIUo8PvbDDOYgJNnbUUeQGuLDO1j+mU+L0l75h0
Ni4tFVOJChps4AAtSDUYU5sQzpCWaaMPzjHl826Kxrt2MltMC5Yew//tAbL3MpFp9sy0i1Az0feR
0TwmGa+DuGB3td1lG35y5ZjLD7IcsJAZ1AK9guImtJwxVk6xaO5+YU7v9VJ4aES6KcbIPt0+alc3
Nkwt5e7l0ga3qqUctRwKpoOVapD2rrPd3NHjwA3QxFh3fdreg54PEjDvrUC8zTlhyA/9P/CvXzVH
9B5Ta840OkeQUD6loDKJnQ6vzDxwMgmhkCo3vDEeQFsHza5mno+3F6xeQIt1CBha4EGFQwF1cOnL
mdWzgc9D9KTXmY8aSDCCLp0nWxpza357ZkadwY5SPuZVSZzjrEHDq66/uIve939YCujyITiFtIS8
PeHPssiu63VIvbjsmNEyoIQdnUoGc8Y2pqpXTv/SikeUpLi6r8TqIMQmLV6X0VNdZak48pF33O96
KZt9U5egBmcN1eXOaKVEybG3galtobD1zrWiBGfBNtp2+C1XeuZWHFNI3eBIsHLYs3g6xY0DVaEt
0PiVdyxmGBApcA0TpPZK2iCSTgd1UMWOglpZYKaA5UJ/d9pT1ny/vSBVLgyQVZhC2QG4FwzXXjXo
6nIe8epCMLXSIvVmFFw8mZjzvaSz/lcjC7YHBAeU+nWff8FbXhx6PRs+dxrtPg6l/kcG7mU/Njqy
8OGnPKjbAboCtuB3TIzsY6zR+mmcHLkRLNdC07kzLFf3mc+hdypovYSmjMyA3xXeRJ2jNNJ7XUt3
Kca/bn+lq/3AaUU7ziJUx+vlSlMtb+zJBGkUO2qDFrAmO+TgNJvGKbxtZmVVSLhtlA2xKcA3Ln9/
tiq0bNKswUjpcYimH0CER+X0YKcW7rls17hbok0rB+rC2hKTz62VdqGZ3cCOkTWOu4kJzZvsxPpo
Cc3YT2mU7zBRiUHKsqq81t3MjVe+6YV5JQKiaj7gX27ZESN6D7Y233GDPM6Nu/FNryrNiLTI9NE1
sjCted1oLxK3z10u3GM+U5CQ/yy7P1sQYyVA1hexfHBZtytB1JJvNa3U7HE5WCD3twAvoWD3V1MG
6AxOfC46GzMeIvWg/zX4U9xGHw2W/z3Nab1xg66ZwzMNohvIj4BjU3zH0LpYQkjRPk5xXx6kmaNp
FTfE8se8yT6auAg2LtBVg28ag7gnlyr3pft0vdGkZDkTpKM59Awfy1R+Lqom8waRf7x9MK6eGMvH
BPk+mP4B0wAp2OJMZ75akEGA4LWNnvp9FS71n/44fRh9De1hHpANa1fJiGJMCS5ywhwPivf2EUx8
PGBUvmiF/eLW4/1kUGTmueuZiZtupJhrVi0UuVG+A63h9TNAiyzQsOJlX2vOIQbZKxkJUF5p+tT2
OZBlX+hci/3t73oVcLBSgEVdGx4D1S01C0njpDDGobKPA1jsqXMSlvgEMYWftUN2QG5sjZlfHfnF
HEZwIfJp69hHZRfNCazO+ZRFT3NvB33MfDex/HRsN77klhnlKHSk5h0ZcDnkMRrFVofhljluRp9P
TbRh6iq/UlakxNApqc2pNnF7Vo7zkoCR0jfddEvFUvF+nC2wFAGB7UKNxEH6owrBxG6S2kAc9iCV
nX3IX/kJ9Au7qvR10EnZnSdrfqjQ3cRYm9dVYem83HaTyw96bV9ZJddI4pDS1kJLDL4OpU7eUm+M
tnqPlyfgHzM23ndYLOgiVAxb6jY96Z26PxnulxYo6cGZw7Z5WpS90y7s9D9ur+py767NKW6S1WAO
xZA4P+VLEhnWuJCaA/gctC2+3stI+Y8h9y1+QfkADCaXwUvoliabDJ/PqX+O4G6g5WMzvdj8x+31
XB7mNzOL6BKOMh5RUENSzDDSmlpCjRZEH3cNxq3ZDImcnt+75cGV89fbxlb26sKY8mAzYuiK4SqC
MR1IHkp20vk7H+4W0iMeBTq4bG/bW/mGBlSAcJdiOhQFNeW2aeKMW+boWKHopTPf86lr9G9uL+3o
Q5FUiZAQiNNIu5E8rDg+eg0O3BHZn4v+4+XODSBNLxyCLjWt5MHAs1vDC2N23wfN/rVzAB8udQ2M
s6CFc2kmZSShWc5pWNndnrXRaSgfRG1tbNmKv+Ns/baybOnZHerk2jC0reaGxVyDb7X/O+nn9wGz
31ZiYg4Oerv6slmqq9uRTeaFAziMwRVFcwHxje+4RHe3nWFlW1CGQctkGf/BI0m5oF3W9/lU8fhU
R/2hHHPfiKxwFPmGmZUPBugddGtwVxlQSVc+mCRxFMVAzZ+6eDjItMH2yOD2ShQp07cPRiETioQf
3TOQvStLcVKWiW6sp9DKegNz8BW9B9kLhiFpnwTEAiFcYZL6aOT1X0mMAaNWI9Gdlfag1bedMkhb
7GXp8P4Y58OLOQ3WcZh6FMSYXXrgeNhijly7inAEl0kFF7/6CimbdzRCzlBMYRV9n6sw6eyHaoJ4
EIc2GBqayGvu3PlgRwX6LnPlOcb4ruTsnw929gOUI5nRygDSrJpCSexdQb7YNPaXySvdSu9HgLYw
ir21Ryux7mLNymucR8ZU1NU4hxEAmX0SUrTmqt7Tc8NuHpKepOyb6WYMHLIZOhYu6AwSOcyaB/R5
gr5oWVpWJzyntgdjh6HpsSiguzVHzg/WF7J/1EfaWMzLZWo4X+yOF+knSkvIdN92tSVC/q6evn24
BX6OitPSiACm4vL4a3Vi5gkan6EsmsDgsIS+gESxPjb2XfY57ge/FVvDzisn1cHI01LPRMMKLOOX
RtO2olM8Oc1pjPpAS0UQx+ShqbeIx7fMKKdoKhvWDq50QkPT92PEAt6LXbSJMl65hC5Wo2QMXZVY
7YgNPrVU07+liawxAdsNqASUricEmD9vb9mKvQvHWwLUWcReXgt5D3hRaOVd56Fz6oFI8k8k6Q88
rw63ba18QgrWIYobAucaZe5LW1mL5pXbVASf8L4GZ6q81+mGCaXC/evs4k90p5auFHLZSxuzUw7m
1MJGdt8HaBTt0wcGPe9dF0xBHmjfCn/i/+ETAjSHl6MBxRUwQ16anLSKLNNIJNSGwi8M3wJjXGK+
WPGGJs7KVqFYB4oHkFsBaq9mCkZBRRNNtD61OvMK9iNBGDK0E7c3sEgr27S0fSlw4chMUL6+XA9N
zVKiE2CHBhMPmcHQwnF8x37fu+ZtpwAgwasb4RIVDJVGM7L1ZLTL0QjHWH5I3eK+jD7d9rc1Z7gw
oQRyLY4ykcS5EdLnJvb4sTtEgflofi/v513rN767SSGxcp/D4jKz4oBEEHf65bfT9dEZSzxM4Qs0
qPr6VJTahouvBFnQzQCzz5ZRTySNlyYqCDpOUIqdwlrkYax/x0DpAZBKX4v0TxCO9mL9z+G9lA6/
dstYyA2W7BHbpcQJDeC0OUnbKXRyEPkBboumvV+lDJJuQFJx62ik5b10/0xnDOMNup8ZzvvTc3xP
FNggd4/yuCrikk+oXPLWIWHXyZOo4yfNwc0yOzsQO/y87ThLkFXusUXw4W3aA7UudzkhZ0HRiO2h
K6O6Ps36I3ELT3ZHzu/k/MMan/4XS1DjubSUc4x48wR+kkMlLIq+LM/sdHrk7bEouo04tZZYnS2L
vpUxz5Ylo5Y4ozuRUNz3+yYsEBvb07CfgtYXO2d3e2Vr0er3N7xK01kBiCHVl4EEnnyj+XgsY/sv
Jvq9UzdbC1uyo///fmEM+vIrppgzMsq4qU/gGf+IYrLXEDuQfYlWIlo08ttgZXuQgXOKpFfbFePo
d1tDEQqK9NcBOV+vksEhUdNQb+eINV4fzIH0wbHuuzvLA+dPUBzqjdLoWqA5N6ecR+DazVHvB8D6
I35nZc4holusJgozwa8l2SBCRRwDzT/6N5ef1UCRlPdI6EL6AWCx4sX9IP+QYNjUfPIYWbs88iLP
ODobTbi16+fc6nI4z7wUCBmztaWmh1qKxilZGM7b6V4nWxjULTtKHJXgKpUmwzWH9rQ/NUOAnl8A
0Nh/OAeYTHMtdAZwb1PFN4t5bucpw40APmCvyb+2SQTkaWBu0SCuLOci91aSK6HZcqy12Q5HvTrY
tNpNsnjR2Fah8NoMUB3ga4CgBRqHwBJe7g6Blpc2iZ6FpTT8XjN3lPRgwBcb7n19ycEM0EXLgJq1
gLIvzdA4z/omBt1NMVa9nXp621DrhHuRQawmEVaFfoCD+3X8FBWkL5+zVGvIK1BObNp4DF7fBaiV
g/4GvPfIhoDjvfwlWmzR3K7j5sTIKeLHPIMGtf7TLe8zfeulvvJtUQmwgU1YeA9MVUW9Y06W59Ms
T6D6CVpdemgT+Fb9vob9cqzxbwO8wQAXQ5tBld2quVZxMQ5RmOUYKXEEJKKyDadf+WhI8sHbAI1m
wOrVuxpTP02BIpo8adF31/1cmMcoLr2WfxXR0+1r5joOouG2KHcjGuERqOYlOqYFNFIYoBuwNObV
01R6qZ42wW0ryyZfXjAUW4+LBa/bZbRJiYSaq/eR7oxRSLVuX8V/lBb1DEvsmN3vxumF5tOGwbUP
CKiDCSrbRdtCbUbFWuSIJp3dMOJx7AtZZ/da1dQfHBvq0yJKwfLvpF/fv8hzm8oiLRe8ZGUNChYU
8O6ciR1aaT2WpvXaWRgPKB6zUd//bxaVUI/+4eBE0ELBKkcvTyZAPp/ASbuv7Mc5eXVGsmFvWYG6
jTbQMKAHJkg+1AG1YmwtTF5ihcwyHrJC9yNeBa1R/dHM/buzVfDaAF5BMOSAc6CiP3k7UCHQJz1J
3qBKA127sQTi5z6N3idb83acLywpoRJPBEmAMuInu07baDfxiZO9VgI1v09mPR02vuGVZzoL4hP9
NaCfdfcK+Jx0Q2S3CegTu/LVpB8KcIpYMnD7T2az8d69CoewZBpgBkLDEsdObUmJ0tCKyi6MUwcN
L1egp+G75MttD7zyCNgA6xg6QpjNwJCp8vHKmg8myPKKU5+/gB4oqOPPWfZnTchGQLwKU5d21NTb
Moe443NdnlrWeo3t7ojzPpVo+MFiAtwMAI84QLqpZV5W9BY3K4gOUAL0r57uE3OLAeJqR0C7cubU
jpLjumVcoYEo+lMROY9NVR04ZR+LdIsU6toMOFVdQPVQEgc8UMUZmLnoo4TXTag7/alhMSp69GBY
zeH23q+k7BjNBhDQXnjnAKJenOMs0wQ7x0xKJ87DUrR1QAbH5xibwQv0Cc1PsKkCCe+xnmNOQmQf
Bjp9RwDpgM/tX2oHXd/bv+Zq0YBHLQQGuJDRDwCW5PLHJGCUNkhlWU9D1Ts/Mz0hO2SoE/dNmW09
Hq5sOQhJ0D5DEgDgCFX3UY8IHW29Sk4FMK2sKO60Sng2rTcusWunB5YCb1oUdzCPgeGayyXJbHbT
LmnTEyB19wlzH6Jia+x95fxiMHyhMUeIBfmJ8tW4VWtjXenJKScvtThOOtoX444mf97enFUzwMi9
Fd6Az1Ky3mqI9aYVRnIyoyjMs+eqecb8ROpD56fe8IOrzBdxFTOdS3NrqV+qFaSsnGYazXNyQi09
yMGdaSQfM+AXRkBUY+2zZj073evt1V1lN4tJm4I74w0Boz6fsYXJ2Ek3BYsxQX/oRzFMXuN+qYwX
Ik5zWmy4xdv5vbiGl8EZFEuRIgJ/COCv4hczs2sWadlJjwWTzGdTQvXvTaoXQwgmAX0uge+RnH2V
DsRacs+IZc8w/j8MMd/X2J3ShG6GAWgkaNL74qUYc2BPPTsycRX6faJF1UMmYg3qjnHk5LPY2KIV
b7iItMqlQSCEBYITVp4YShtC/0KS6EMZzYfeIhuWrg8qYroNGgmMGSGNUBOWSKYAznGnOCXW9JGl
ozeS+mszDhs7smYGj4IFA7I0O1X3rs1+yjAeVp6KmZ3a1vgudPlo6dXGy/46dVio6XCjYxQS84Aq
eqAsccf3M4NaG4QmkN0GpiV9UvzNJnFg1la563qXLq0Zl15G5FjMUAYpIT/Q7vsOwwPZ/Fpb6YfR
2hqvuP5+iylqAxEBmDeYDy5NUWG4XQ5I6ymO2hdZAmVttg85WnG3z+lyLi7PjUkMthgBISUqaorf
mSUrizaZjRMabX5SN/7cv98TIKMCL8DbG4V/ZHmXK6nSivS5hpUYHHKtGCclwwcc1/f7G6aiIAaG
EjaIe1S2gdjuxqKGevUpb/iO0d4fW+cO+r0b3+t6WxBnsB9oBhEkd2ooBaF9D0hRq58M57Fw92L8
nm2xOl1vCUygkgq9UBRFrqZ7tSSZJzotBPCJsZc8ekQz7b+sAmM0FHogQGqrEIGGoBPNJz0/VTqI
5at+J2wQAKfvrlMtQfnMjOJcDQW5Z46Te0rn8qHW7RM00I56FR8Sbdi4b67jwIUptc5h8tYCjxLB
vizca4lnaBiD/WDWPne2YBxrpmyQWkBRBTneFSNhQhLw8EygYi/t/YxEz/jGHehgD8FMtI19uo43
mBsGKgU0yWjMAFp/eXTqBvMLzmjqp6jZuy26jnuSLgLf7xoPeEvzMSaDqwDACDRB1BdLP1axS0xe
nDST+LMDcb3u+4w5q9uhRhkZ/scMurXQodLxhlWBcrJtSJUASIpalL+IUBR4tuSeebD2+Z4X3vvw
sL/MgTd7SeNwNaDadvnxiDuPfTzjVTlpTohHTFDqcehY7a6cDQFBotwfMGiy8SlX8h4EOzwv8T5G
6q2mwVRAx7bWIJmmz0e3tA+ReI3yhesQHIFufQRVz0ZR4LohucyuLBc6AFgY2qSKj+ha/H+kXVdz
3Diz/UWoYgDTKyeKsqLtdXhhOawZQDATDL/+Hvrut56BUERJq9dRTU8DjUajwzkii01QwI+78QC2
QBCxoiZRjUDdGvdt2O7KO6IjSVS4qCuZ0sEmGCjvBTowIpbeOeZHTj9um4rq+4GiB0RT+Kd1KPR6
6xKGhrWAVlZUTrelc3J7jSkqzhUuCjxYgK+Dphxb+v1sHM3Y4I0VcbRq9jsyf6/7o9VrYpN15a/v
VtynKK4HsEJcSFQywAJAlEFlgRqwpxYiTbqLzb2Z6sbdXuoCF46mhPWNjo59f/384sXZlhj8WnhX
RUXXHPsEt7hwHwKk2oBBoTFupSikrIFYh8scseO1qMHBhCcmSiqwNGQ7K8nCwX/ox29z8fm127/e
SmDcWlFt8QaTTHpq+FRWfm9HLAFmacr/Tqn1fVvEy72xEZGgw3NN2q2Vh2tVYqfzUd5L6ygmw55U
/Y575DhPi+Z0KsUg2+SvuwNfJD3yAOBhkS7P6mgASkJeG+HE6h+LMbzf1ual10HTA+hirHVQBFOm
kjYYvEd1xq9o1PC/i/6mzs0wG9+n7tFM3lujBq9DZQXoSUHpyUYBCvPT10vnoiWlMypqwwoGoIon
+9gvHyfkkP0s/bSt10s/AL0uRK2fX9h20k7W0PZmFTnwAsOSPnSGq8kI6kSst/2FiMJpWDUKx47a
IQDHTgu6Hd3j9GXAAC3QJon4GvN3L0BOi65NGxPV5Gix3s31NyAShKR7hwEpDFZr7E2xNxigX5tl
wdqytgBfa4PUSVK4OW0jk1Tnrnl2MxFOwgbzjcYVKAwb2JyAIoT7XFknJYtrAQCXgZa3jkxODp07
3WZlvsc0tqbdRiPGkpybUTCkKBmto6ocT3lh7heaPAVB+9qCHHIiF9r8hoG8MAIr72wrCVANDMQt
pkCtCdPSrn0g/LvFyXHbpnUqrWf5Qla8VN2wWF4dgXp+n8XNDrnvQz+/ulggqSRtUB40lsFKbFDA
HwTYIkK//QVCha+F12oUUtqcg6z6+raD6Um3ApwBZqBLdLaAUPVr3gRhZic8zJr4pit0rYXKxcOM
AIbagxX1XFq8oqA12MXQ2yLQ2d4BIFJgFMcRwWF7jxQnFqMIqJdiTgb5TCr5HSshQY7G7Caqx0+F
k4TcuTe8v5a+2M2jbrpI4buvZK0qX9gDRodZ6RlzE7kpWvDE45I/8fppqm7b6WnONedJsVdIK8Ad
WQCcxQJKwuw4xzPAY02UTtOetgULyVjsyeidkKzRhD+KRYRJrIlHvGBwL0mLSHmAd3KJDhrQsDx5
C21Dw0VJro7PpC6eAWWnIxJQuPIVbHAdfcBT5kXYkC7W4pUi66PSnh+9EU0ylg6ARbl+CEpA8PI7
qpNui3gE7RuhNbq4zL/L+pxjbHC29t3rI0ekti/ESGbuFJntI3HaREEe71hq7W3ehSTRnVzlDqHe
hh5+NEW8ACildW11gVWhU6zpwzI4EXuJ6GidMAx96INfrz5T0AkpYdMDZYHvS0tHgyYpPAo3kdNx
x4K9P4aB8dHuvzXLz21JihOFVwPCIQymACtXRkrMBuBtj0mP01s+MCe0M4z62Hd9+8PMf+BMhNvS
VFZ3KU06Uk3SBYs9Qq+WmjvU9D8gOf3pDSIQK6JbYD1L8i2IBgI/61K4CF4lxzIHVCIqftsiVIaN
iUoED/Cuq4u49kKcDEWZxJUTATWlKHcuyJhEdpNjIOINcvBWRfIZwfeLywJ0Pk1Fu7qPjHLZVeLB
pPGu4WA1LDVRqsq2MeBrrhaAECWQ7j8wdfmimGonsvlD0B+G6mMxlaEwzjkNNGunsgDkHD1cSWit
eEEXnU9jgHmWAENlorljaf6YtOQNy4ZzCqNGNAxgpHX7Li6JIB4BWLC0TuSVyJ3eBc2w48axsjKN
HNXRoZaN591avgTOx7WctAZHMAgj2miuQefWOOJhcOp3TdcfDRZ8ZNMQlWas6Q1XmR66jpEVQicu
kiaS6ZWN6NulxkweSa1jOkRDZ4SW/83qP2+bnlI31PXQo4TqB1S81g0BifBr4vZROxkfUw/1L8AA
AibZCPpTTJvh3sLehbwUOq6I1QNc5wFQTvwjWO5vo9xdnLpo+qgwpuw0ANv+VOdg4XC6kr7FFDFk
tuafcPPKXca87YuhmsceDybeRzkzjL1bua+vJ0IhNJStqIb+mg6/Xsl8dMo6A25JlNV9aKKVrreB
9DH8Bfqjw9w8sfTLqAXdVB6yC5nr7l6cABd0A6kwoFlmOuOBUEQP/YKhpW0bUW7VhRTJRjwUqvIx
aNrIrr2nwMnfV5l4IkP1vC1G5ZwuFlDmIvJBgIeCfe9EYih3RX/2+vu8Bxc7izJdKk15uuBp17o8
Lg+ZEKUKnII0RtViONO9E316bAjce1N9dvNgv62VWhSmXDG1gueuPH0RtC0Q3AYsHgECagAgSg8o
MH1VhENVvsVnwLH/T5R1bQ0eEH3RPeeh1dy4K5fvg5lFnD/1qamRo7SHCzmSb+pF79JuHFq8ogAw
Q+Nbu1pCn2aH7ZVTi4EHXKd18YaSGm2zYTKzpIFrmoD6evRJUu4n0gFG99UdIeiZQJvVv4KkdWvy
2RqtCvqA+jE0h19pBwRirsM9VZo3+g0cjHZgIt6Q/MMcdzaLu8aJSvJ18G8LEYcl+7Wkn9va0VxY
64F84VsvREluwTCtDryAcx8FY/J+mctj5WZnu5uiujfr0Bq9fQD4jcDQNTYqihlYyVVD9BSttSBJ
MM+ARieMbIjMtKM3bG4IMOmHk9OTKDPqc7og80I423c+PQzJ7B4sUmmsRnmh+UjHonizArzJyUXu
NOZgGW0Eo9ktcXKoq/ihsIfDHPAwEdUd6V89sbjaDzqc0OCEqTu0+1yfO1a6YGHxYT9TfyqCYzbe
OpPmyCkdPcIPZJXWgFQ2HtamLmDVRAt8AxuY+wHQeXuNiBfHDV3gKLEiEF+ZhxFRX2uRA4lAwBTR
/D0vI5g7OE3SuyApU3/nukPvaB7CL/ZJEieZShyA+nGqE4okFgue0ZMy7yzmr5AYBTkwsUy3BvPY
zeCl9odtv6KWDO4SlDpQR5HrHIi03SaOGYXzTw54+YfIB96NzC/C2BpOVjXv+sYmmjv0xTXwW91/
hco20oqsNdBS70RVikNRxMsBdG0dsidL/JiVifd9W0elOATFgG3ApoKu9HozO/TsLEU/OFHHnfQ5
TqsqrBbi7fOFgHGMWTruO408XzoCJRgYaVDZVgT01DDxkP6e8nNiP7tCl8944UbXhVwnxtBJ6q8F
2mvNCjToVHmJ3hafsMcJPG14ghxKg+Wht1SnJK41K6mWB2fq4xmIwtV6Mi9CLBC2xQktqYWohH+c
KaaaguJ+Ntt07S4N+7bSWKfyGGL+z8eMBcJjeSVJ0KPPc6zsyLQWzFLxfdMZkY2t2zYQhVoIUpEr
BIUlntDyjKsYaQY+Ruo903JP3Q+lOIkFAMDGuQSHwrYohUZ4WgDlD/4LOIkyHqQzF4llLcRBpO9i
WMY4Yhzo4FXD4Q1i8IoBoCBS7+jmut4o1g48nwpuY37EvqmzOnSs4WYZX+3sYQOYof1XjOS3xtFr
uJ8mdpSL6ViaAO3Bm50JXSy3mtXVFb6KAUoQwDeQr0EC71qbxWGAgHeEHQGWCAiyWT7l90bW9ZpC
j3JvLsRI2oDUuqacpHYEWLrnuv/E5/TWTHtNPKLwDjg9SD/i+YVMgLw1sWWRMaghJefjjZM6O07K
W/B2HEdkVbatQC0KuR9EWR56haTYNJ47DAzbIzrE7OGmNd4lBQI5c273tTZtrFo7ijLm78mbALNE
11sUL5Ybg/AQLn2Mj9VkwO81RzLpkHJVGmEUF62JmNBC04sUnWaE4cO+jZ+TYGf7XwiAWyfrBEYJ
zTF9GbzB5JDzdBG8Yew3CCR9ZlCi8Q4VnqjvpnNGc8Bax6195HVpfZxo/2B7JT/nVRdlCaY9c6+d
Q28Yct0OqpYVMw9wfsjFU/QwXi9rl5R2zczGjTqnOjAyv8szOPnR+LltKCoHuE4aYcgIVHMYa7oW
k1kGT/McJU4SJ3NYeoC9C2i7c+p23xj8dmwzTcCj0gv1YXRvAD4DhQZpeZ1hRLOmG9uRkQ4PJU9v
aqM815513NZLZS6AHUKeHC2M63G71ivtkwSFOwNiEvPJB2kgik7DuavbAzeab6+XtY75gKECvgr2
eS0r7hPP512DGK6t0x3GCwvQuuQfEs7MvfCn87Y01QKi5xP3OQWH/Yu4zcnphE0L7Kjp03va3DaW
eCwBq7ctRbV+F1LkQM30e5eB7seOgh6QIFYG1Pp4/tladB8nOg4epUaozaBqt4Jgv0gsesTDUDxM
wo8xxmxatzQb93TqbrZVUopBRcNF/gTNmfKTCKXidOmyxYnydnSBjeZ1D4NdGPtBEB2rourawozg
v6Ik6/PqshmbAqJ45bNd05vFGW9hHbyico8upEhnV/iLlzZ1TaM+mO6XeAnHwvgrca3Q84M3HKdL
haT7xCOxFwc5pjesoWySkNgAdbILkaJk1+eH3NCWqNczI1/8lwLXFb6IN+u8TNwu6WjUku5Xa5gf
MJe6yzP2flgHBDngcZGOfkMU8DtliQ4jhB1yMFikxYBXMXGjpEjDLjs7yGBar0Y7gZ+4FCKtZDY0
PKnrxInGmr9rB4DTNOkBY6Waa0zl1wErFwB7HZET4ujr9QMgUpIFS+VGtjPexhnL93MSfGYChzlu
/TueJBqHoTpdYPxGsAHAHXQmSxvWlo1jAlLfjYTj9HvKmw+xlfKTlXzcPsWqo3UpZ/0dF4YxLUC/
SYfAxYU1O/vRq7tbS/Q6IGHl8l1osx69CynznCMv6cOlg8rmiVXiPvXYuWEM5U/AAS66crhy8cBf
sDbMAEtUvkHquGtHM4ndCEwzeegL9841YYMeJnC3V08tCOVcIPogNyU3DU8EyahxgPWJAl21VdAc
q8q4BbeGxhqUuwTce9RyQUcCCtDr9RtMe7KDuvPQcV+5Qzg5vE/CEW/9z2/Q50KOtE9mYzUlUiVO
ZDL/xkBTmyjin56t67VWmoMTIC3vYUYam3CtDpaTkBkDPtFkP3dAALRPw/S5KG4s8WNbH+W6/Q5x
f8PnybPywMLMkFMGzM3Ms3Nm2Ad0071lydCjsMIOA3PmBQWCP8ckNxcaOUVwn5rBrhH5fT5yjQWo
Lie8qv8VI11OvgfuZzEZNMr6/t0CvCA++oBNF2Fm+prLSblooOLFwxrDkhgout4dHxWn2s4nF033
7VSe4tJul/NUEvqG0BVVBXQGO4hcPbnzp/IrWHrtepG3mOA8X055a55GzItu24DqjCKwW3m7ESJj
lORanczs0Wa/IMBDrwKAvayoKry97WanbTEqmwZ+GOrsABNHikXaoIVQJ+WJoJExJPa+WbMR1M37
x4HkxoGWXTyEriV0xWql1HUSD/wQa1uJ9KxZOt+pmxkOyAHIUefx7AspRbHz2pbtMpAi3iW1jpFW
sZ4gk0TEh9HudaZNMo+kjwezsXOwqWTeL54Un02THetCR2mqFoO5RowT4L0mH908b0Ua+zhXvHI+
pyx+8oPxdix1LYKKcwVt/ohZF/jiZqrnUVR0xAJ2lD5i5HAHHONns/GPc/XqSSBk+tBOh5YwtA2j
YiyJypu8z4YFMVhPiwlzjuVHErD6xq9MI9y2ReXaXUiSohXHH8e2s0YnMkT9bFf9gRXkwR3etEXm
2o7xG8RDhjLLjMmI45ijkaUdj03Pj/jfm6FhmhKCcotQ4QKoCpqaMF5yvUWNT5Y6TRsvEq19KwB2
0vrVY/A3D15dGlw3CMkBlJqcdeRZOsLw7rNY0taLHGt+pE7+hH7liFU6k1PuDihsTNj1OnEhndmm
J47wBEIu32fntGFoqqwOefFz2wYUXhzj6Ot4/JrVfuGPunIo0ho3VsSnjO2s1ox3Ysx16VHl3lxI
kW7yKeYsn5BgihKR7YaMnKyUfh7hy3lRvv6ivVJI8uN+Y7K2IcyJQECyQwr71AHXMPGH14d0yHIg
KFkpd9ByLVnbYNmiKf0cZ6eKQVluRqT+ZpDm8Ibd8ZBOXl8UGGyTTI1xf5hmzKtHaewe0Eh+TjNd
yVK5NRcipK0paYMHZQs/bXCRh3ba7c1FoBgdRGVgnLfVUZr0OnUKfAmKXkBJnXy0GYhaSyQtE/S6
lvN+YguAbHUOR2nTKGEAVxy1DLRZXHsCEfesyQlOzthherYsIyRSXp/VwCjZHxFSqqGbCXHHEiL6
zjoN/iPp3JuF6fjVXpTSV09zIUVaL7FUPl49MY185gOFecnrA6+bIjQcoAZnxGZ7sTAzxN3UfkDP
QKoJJlXbhfwyUH7hVZHRlk0DPXSBFxPUKsv8xs4BiuE3j8kSh9tWobJANJqBvB5miEempKXlsgbQ
G7YbBYVth5Xo8tu+RYXZI9NPW5SG5uSqrAO5ZqReQRCGWo10643oMh/RZg7AmRFRnqAdenmnRYdv
rVy7YK1l40pCQVuyQdKm6YKmTitaJm/POQmTpQLhj9A4COXaIfRBVhKJZADpXJu6NxdZWzWoO1kN
UIfG7IZ36WGwxjOLdZVrlSjEIwZdRzeRdJXWjeCNJ4yqQIkrMXeopO38mgKKC7BOiyazq4hWV11c
d8XhQsV1/SUXwVaVGF5ljpidMtBjnYjmfeWTJpzK7jDS4K70HU1j6vrLpazXmj8GGxNFzfPFCEMd
O3lt2sjoocNC7Kjb9SCRjyc0i0zvm34me57O34aU6NicVTaC5Cv2DoNIGF+XNq/y8tE1UN6NUjM/
Z025H/vpmFU6JDjVxq2pIaCpIjgCssD1ctaj2/eei2aHZhgBKY6gcoj5J7bkRzt+NbsCPNalLCl4
TWlH3CJOadTN7Lgk4LipnDvT5bsynk6vdxto4sR0MoIxuA9JrQYjGqgYIX/dAi823lkln6dwoHX+
o+EBOukAxl+/IcTEcwYdvz7ApMBLcL2SaeogfTjDdUxG88MYi+cRhbd2sj+5Xv55WzulbVyIknxv
BSoYX3g4bRiYPS9GHtKM3c6VDllHLQa8PSsnGd4c0n51vJ2Wbi0ojxn7q8rNj1Van53BeMterZU9
ZL/QpORKQRnBuQLBk2lHxYy5J1Zku5Is1W7w40OVEM1xVup0IWz9/MJ9BPh6jIKDVZSb9ae+pIBq
He1jPudjuL1HKr+Bxmw4RDzWENZIPp6PBetbC8nXwcWscuYcUj+/6W3rdkjZLQtQ/3Xcv7dFKnW7
ECnFHWVcB+NYdTYSzMVx5F5YoKjSEx2dk06MZOgiTWjL/NaOKrM8m0X2tc3oqUjc87Y2qqsYyYEV
wh21SVeeCBjs2WNoBwI6VWJ/IKb7jjS//osET35EGbklmDcE6NI3AT1DRwBq+OOio15XLRcwGtCk
hvQRUC9WQ7mwuCooBrOyC6TCCnc8VFn5pbDy+jyTadSEZCpfTlFbxar9xuWTnF6WNW6TokiNNGL1
4IzFgdjiWw4CJ4/Px+2lUyqFWewVbw5TG3Kw7nZdR8wUzq4tRv8wseF2GgEOEUyxrslAKQnB+vpA
tHAJS0qRlvAiZwy11TLbVyU/0Di9WVAYf4NCF2IkX8cR2rDUJwj8wIsGwM29PRTPg69LD6xfI0cT
0ONfbSRjqGFogTM0aAKZg/LA88EJkReZAYHUf585qUJqYRm3VVOaxYVMqeMupkNSgdcLbjw3i102
0tuKtFVoNuljkqeat49aQUDU4PJd8SAkt5ekKUePAcKWpYrLCXQVcfW3ldQ/S7Ay7GqbGHvRcl1l
TW0jf4RKjs/uuYmrA32TlZs3hzYx3zclp3uMbmieB0pBgFwB1AXqkeh5kc6y66CbZrJhjHP/V4Ih
mFNqp7AXy+i+bm+a0vtdSJLs0RnagDcDznJNyXFMsoNtVqdtEWpl8Pyw0GqCtLPkx0cAzVeeBVtM
QaR1WOIas4sW/+IiCNxvS1IqA9pW4D2tqDjy68BpujjD2BD6dwwEKU0rjD0X1vImKaA0RclhZa2Q
lmwq3ELY2Yzrj5V3dZK/84Ze4/aURwkQef8TIR1fOgnmlN3gRqAHQis1vSnphBp4H3+MmS5lqVw0
LBlK0yhtvJjH9ZdgaoMYD52F1WeSBknoGLXGypQmcCFj/fzibiKt0WcxUttRMsfHxBnDVNg3Vrto
LG1d+Rde70KMdGyIydDtM6J8YuMtk6Q+mCNAMjmCPY4O4zmdLd2rRq0XijXoIIUrkhG7yxj1tLGa
gEgimji04zQJe8+sQswUVppLVyVqnZZGLgRvRFtm023ArNULvPKjpHKfjZZHXZnk2CrnefsMqeWs
jXaIiIAQKsX8GJD0HAEyBQD0Jd8Nxu7sjkR2V79FHWSUIQL3FICfri0iLgLClqlH1MW624Xyk9uX
zy7jGjwKlXEjePhXjOx7WLnMZok6hlV37qFoDeM4WIkmVaBcMpDYANcVBxYwk9e6GEtrJv40oJGu
miJzQju90R3HTNdArxSDOidmLJD2d+SaTGJ5wqmHFpG+1z+bywphPTxl3RRuG4DK9wAw6F8xku+p
2gRZvKJF9TZryMOCcb+bYgrELscTdz9jqvWwLU+t1gqzgdFSvKQlef1sF47Trqg+eX+uPHEE9dR7
f/bO22KUagHlF4NUqD1iFO16kzojLRYbc1uR0TSA4EJ7nuE/juybYxGNJKXNoQpoA8J4HdZfP79w
dnWXG0PRINWRld6uW+oDaHOOb1AGU9LA70FFC1WtaxHZaBYxi/G67Cty8Dl9Gmh6I+h8sAb2ZVuU
cnswmY9JVUD5vsi/CpJ6fUoQaLVdcmf1+Y703b1npD/eIAZuDSA1KqpF0k7FItZhmNILxjAJ+Dkt
8jwUafX6Sj5G6f4Ikuyg9sBKY9bEjsRYPucAce3J9NwVjuYUKZcNFMQYsTQwv+xJYqjIkVS0oU8n
lpA0y7Go+bMzlq8GiEWuC2BLK7IcEr3IG15bwlyCDQbDSW4EtP5zM3s7u/VIyObprqam0CiltGyw
aGFEH12omAW5FmYHSc291qcgvzEwKhHTLESneay5GpQn9UKKtHR1EoB8qc+QKsyWn6PVHDJm/EW7
4d5OBo0o1S6t2KPolEM+Ge/Za4UAnmXM09pQi+GCz7YvPtYIknZdNmvkqBbuUo60SyaxyOQyDIDU
VodZcqDwnJDg1jF8KrUBchmSGEBR9OQOL89vy2VqUHW0+upUpPTQ9/mpYPFx+6gqlbExJYeDigqa
HGUblHiswHsdA/P5fZaVj4BM06yXygSA0LCi8CGwgue53hduiLafc6RVLZQBF+9nwudvvvcL+OL7
bV10gqQ3q1P6YBHDKHxU5yAhtTvu7mef1yGrrXRX+B3TRKjqtUPjLsIrIJ7IKMulbRPXzmHbTu5g
dJglvBJ7Ny4cnV9Q2gKKsv8TJFnc6I1zgWZNPMbj8TCKeAeOsX1QMo0t6MRIb6FsdJzUnjxc3sDK
3jFe9cCuWqxdn1PdvJZOlGQTWZ54cTtCo7kTt/MMeL42v+mILspS7hBMG/CguPCQJr42vTJ3gryc
XHifYIZWmHACWci20elESIuGHsDc5QZ6UcAek+wFY8nZ7wsd5ptyvS4UkdbLZEk/4AmJ0BcXXDwY
YZNNZzPXtayplcFvRjECs4HytMAMJgGHlz2N8qSl9JCQhOIlBMz1WrNqSn3QtwjITLjrF2OBbKF+
RxaTRtPc7DCTcWoXa281yRuiN4B7ASzqd8XUsq/33zBTzGunphsxIHR6s4gwl6vRROl0LkSsS3oR
IFrDgkGj0XIjh6bfMBmGAYH6XSH60BhfDTSJsADjr7gQUGYGbZF0l3JKsg4JU0By0PFpWbJQTP3z
lOnARlV7g8OCeWJUL5EUlrJxwAOx4kYA+zER897t6F1Dq52Ve5rXnGrh0NmOP9SZ0YornU2D2DSN
QSWFgnkBXNa/LGd55uaPxUkP2ydUqQ9aDtAqDRImZJ6vdyiIjdzrOBJ9wo3DaqhumJP9NWaoBP83
OZInYNyKUw5toyWtkBupQpdPpwEgvf9NjOQKkjp1sDsocXS8N8JgHpbDYJefC3fQBVTrffknA7OO
zSM7iioeuMzB94Xx6+uF82YnHkUCXI+ldIFk49j7ro13XmYewWNwFGnzMJTk3C7xh20N1+/dkivd
4zxhGR8wK4Khxy8Vux3JQzrcF/FjP+NB/nlb1rXH+5+OeISjWImCm4wjRtwBOWC8IqJ+SH7Slv9l
2PGr7O+FCBn7qEqzmKV4p0QJMb76jB2W2YL96cAgr838pRjJ/EqfszJjQN42yuacJZ/MGv1jDT1t
r5c0VvlSjGQUVuNzIxlsMxJHdl8fp/PyNOzjkO+zva7sqpUlGUJpe9nUNxUHYNljS3+ygB5YPRya
Jb0NAH1R5l7oMu+5AXVLXcz7bU2VlgFQMXQCYFQeIEjX1l+2s88cCuuflgFNueLUGK7G+NYtkQ19
bS1EpgQYlOBhuhaR1VnPEqMGQaCIj41vhGZpvyvwjO14fEs41ZAjXnvc/9+6C3EyxFyJ99BoZmy1
9VMdf0itD954lwzH16/bpRTJDpcC5MllZfPILGvwpdogS3td9PiPImiTxFgvniZomr1etyRucI8T
bkaj5T/6RXvijfveao03HNyVz+J/YqSLA7yYtKYzxIjk2ULfUPYVxBbbiyVxSb1URVqtuPNsXlmQ
0R3E3jgU+2pHdvGxCJsbAOYfbZ289fJ+YXJ/dJJRqRKvAoiIIQx04FU7jLAdgSq+q727IflR1Q+j
Pz/G9UOcPW2rqfJNFyspD0FPJitQwGxNoHY27slOM+eOF04VBn5sazZNaeR/FJQTdkld9TlDzBe1
ZQ2wrQ+TcTcPN76OMF7lHS41kkzQbsvJznpoxHHt1rN9N7axZq+U3uFCE8n8rIJaGGXsELgW3R4w
A+FErCocuHPMFv6l8fvXTZL8Y4toW3PBSPP76r8+Vo43p7O7uiOj8JzbqqU+WuSAYUczdCQXokGp
vl2Ixs0qtbwQKvn4hNi4GisYpLDfEYOFOfvcLZ+COAmbTpMtVJrGH1Fyc8iYTH3mdtAPTM4hyuZ+
0R/ZZ3dimghtWw6qSdfrOJmEV2PfmFFj0TCmReSstG8L5hQwlaTD4VIerX+VwozetTCfA5M+n4kB
Eq5TjHd0dn5lUl+2ixcjoWli2SB8gyEWM/+I2gv53JL2fm78SVMpVy4cmp8oZtqQj5ITKm1FzLa2
cEEVJmbMpu7Akmafg+WpiF+HK/CPTuvwJMBD10eo5HcTjAL6E5psIjSSndESv0/d8RFNDzvuu2+x
cAcxBErABlJsUqLVi7NsHpCzjIRvnQM33rv8K7oA9lNs7KZAR06itIcLaVJMMQlT1BPAwqLJBbgn
zSKAsuyCKjlte3Tlsb0QI5ndzOZ2LpsKrDUNC+3qxpg++8FHyzq08Xlbkk4hydM2vR3EeRUYUR7c
NcmN2T3n7LAtQml3f5SR4aXyZcq8qipx0Y/NTrB3cXZIArzgZ00Apl405EIBqQ8KZZkcB4AqVU/H
zH1u2uPADqZV3xv0nYE24GUYNFanvKBWbOR/ZEnLZpdWMaS5Z0TgcQk9Wt8MVa2xAfXO/BGxLutF
6kOAyhupO+wMY8gUevMOTHPnwtPdEDpNpBsiD4qsbIAQElFh7dDAuifAv9k2AM3GyHmvbkqX/7+E
JvNdyUWYzsDDop/N6lYL1KLRRoaBnKjllALNG1Ezfq95/DQ4waf/pMyLykFDuC0Q60d144S++WRZ
R86BCerCnX55gyhA7AB1C9kCwHBfW0AJFMhyLmbnuQUO2yjuUu+Lhfam+bzoSorKI3ohSXqNpcUk
XJOk7nM9gS6m/+6BxcPk+xHQFdsqKY36QpBkbfZU1gVzTbRkkOW942AeM8s+ztaiafxWWtwfMXIc
PhOULft44RGoncLF/gVO2dAwf5b1vQmA4v+kkiNdQDwxs9JG93A04qlk98PHoEh3dhprwivNyjnS
lUDdehJDB7trzPOIHukuOQW9DgtUYwcy4YBfembpORAyTF8Je1eUN9Rc9kupY4HU7Y/k22aP4noD
0ljU+ues+0rzaUfpuwzwUHX5vL09OlGSxcWY2e1FhwhuqdKjwBi6W0wfROLuDRdRIwhxtsVptkl+
i/WzQ4k1WHCndhd1vTjlABr0Mdi/LUbp5/4YuNxHM2PGHgEWNop0AndqfyiYcbMtYtsWwDF47X2s
ILU5A7hWBEj1XeocDP8Xab5D3LaY7QUDdP61GGDpGlkgcJPG/feu73YTeyyzH9sydKpIUdsMHt0B
E5mI2jyxr9jPzA3uh5yHg9CxVyu1AVUVuirRb4IR3WttOgx3TU4PWkjhkGOVe7u8tkEppqvFKrf/
Qox0fjCJ1HgLaLkiK+2+AJtkV5RM428kVrx/Ynh0Y6CPBQ2PQMe9VgVjtJ7H4wJP/T2GP3fdLjlY
IMbrwmln7mKw4sX3hJy2N0q9fH9kShtVk9rJ0xjG4AqGECHbj+R7Q3XxiE6K5Ep/017k4IaN5qpL
wqJ078DBeRpA+fXftJGMgTcmTXu2lBHaXm5Qc3pv11m4uP5bDuqfjZLbHQUGMQo3EXgQB59S7+S4
7DC5R1/Qt5zUCzlSkJAsiS+CNkPBwpnC2UsPyVwCKNnRhPHKw3ohRnLYjM9LK6YE6rAkHMynmb5f
ZuDQVk/bu6ORIz8ceQEwOuEij2AAkZFlP4Nm6lD4/eIl5sdtSYrTijQFUqlr2XdNSF+fJNvJp8lJ
4UnBxWjy21L3wFKlOa8ErAZ/8VSAItzOBgigJ0AwHtJj8QkTrPZp3peH4CY9BbpKtuIEXQmU/I8L
Cnlz7HH9xOIbULpCp/zVmrq+MMUGXQlZb/YLrYid2AEwR5G8ZcmR5cGPaixMdATBNVRM156s2yPJ
uEEuMS4xht0ja/Zv2/n7Sv/4n6xAnj6zGqCmUhv+NB/LWzqtlOg66FSdIcjYbJMNAoE6gYzlfb+P
T8MJvD3P4xfrYdybB+O82BoPt71qL3BquhKs1Ivo8bQfgI40V3e9o7OCbVN7wbAUMLt3utXr9Llz
Klb+OlKcsrQ8bO+OTox087Qg1UmLzCmjBL0sAW1PnrDvPat41azj70v1wqbRXHtt016VBq0RwOnQ
Ignret9ZaWjE+21d1AcH8IUAewKMnvz66YzGH/wat2g6nMD8OKEBsZxPHej4tuUo1wxdUy6wetEo
Kpf+iegwsdnA2uoWFewkDr62rvUBJGKf/pscyRGkjQPnkuHRSLP8HbB4jgB6feoAM/ffxEguAKC6
1WjXiwHY/CV0vc+i+lFUujYG5d5crJl0u+VFwm3mzWWEVuF3nsn2DsaRfacPl5oft/VZl0UqRoH6
/N/tkR0OYEKLEj2vSO3FUW3sF/FXQd6lxq6jrxtn+8eqLyRJFxywtIljZFi5eHowyf+R9mbNbetK
1/AvYhU4k7ckJdFy7Dh2Yie5QSXZCTgTnMDh17+L3mcnEsRP+JznVO1zkyq3Gmw0elwrclGGL8c9
dT9eV+i6vWEE/vzyZNQuzV6guOMuD7b7ZU52PFNFves9//8+tAvK60FnWiN0vAPFZ7Ab3QwHkKyJ
QH/sf1l7I57dv3GggDTEyB/K14BpOFfJHRjgsLApAQ6MGWBB6Bynf3VLf4u4mGsaqtrK6tRCm59Z
MaqKK/jfO99RjfJvfpx1FhCE0xamm6RLumRWxl0+Vkd9aPbMNEMD1AXgR1QY9eb9OREjXdKy5pVX
AY8ZnYUy7LSfLBdBbkY2fbxua5sv2x85cplvrvpqzDKEVPaif3fs9mhPTXxdhOLE5CWVxU2pSRqY
mtUDZMlvQo++77Vf14VspXFoW2FAj2CwDa3H9VecRFF6bfvenMHC+kj/jBb43nB3TjREK2U8HEEf
pnvVZMmmYicipW/kZSxpO4y+HbOaB/2YHx03edaSXOEONj/RbzGYqTvXTMPcZOuOSIIF0+/p6Aee
pincgUKEjMOnmV3j5OYMj2M+Z9ZnO3u+/nU2rRlTYCsmFTJsOQcZM8celwkZYuE7t8JNPtS6fg8y
+ki4uSKtel1vuPBsJ7Kk0MOgY1JjIQ51ypCERghIvPfjEIGald31gROgjL1vxxsWTV/eruOKFLRi
Lqzwk9Jn6hbH4V2PaGTWurCYJhISln6fSP/iEZpE14VtmR5cKbqbAK0CrKoUxnFsnaGbCptoOpSq
XkgbVe7uuohX0hD5IE2M1QIdw/MRwsnm7WQu7brZeiSHZW/v9VjzI4qSYtBFY2REyU7HCbOg/YtC
M5DlfsuVjYUYpsZSDOYcRZ35H3z8jD1mJMZQG0aVa9qyS3wuUDBg6RD46dKzNDrV1GcluESs/Fgm
QKCc9mzYYVNLEXK9oolfnOW6EoqFHMDGylRFU41NWlCd5kdQhAXCy4OZV5GLdD9nj4WXhbM4cMLC
tHobTd2/IQsYA/4T/JpJnbjFqiubPOWedqOTZbHSsDPrel6Cqch41UbdbDJNcQ82TRMVQWx3g2oH
KIHn7srF7kTOtLk8lnlxV+dWtPT+D6PyFfd8K+pD7xOG4gLmBFs552Isp55L4gN/2WyH+zJN7qpy
OfBE/4pUA2ANpmrWfNNUTuRJ737aDXnfCKM88nr8TqoXBlKQtiweAPevqD+t9+rCVgDDunLfgsdT
5pyytdaeh6mCI+nepcmT1hx4/eLzHxp/5xAVRMi2Wn+ESZe8G3uaD3OPOIM+6MPDSIuwnXYkUwH6
bL0wGP/9Tyk5hzKx7T00+JTHFDDgCV9Q8hoHheVt6gLCAGAK4JqBWuXcJFIHaMl+DRmkzk1U7no3
NCbhYbN8/oXh/rf33rAA+UeaZBAAw81pZcF3AEHyfqR+yJsySmqjCUDiFvKWqDCUNy1+3bjEbAv2
hOQYuuF9QcepQfbBjECARK46Yq800Pl+qfbXff/m1/ojSn7LSqcaAeKy6sbNcMn6H1WjP/+FCPAL
rtDGAOOVRSyCWVbi0hKFiDFiaPuD3F5xkTY9ETDoMK6PjQdXbh7RZLaTRLTV0faBhVl2e+qXkamp
SmrbYqDFCumIDU7J7BaqlZql50jbsbPRdsWnqhwPwlQxfWx+E7BV/CdGsrc6EXbm2RkmYml5t5Ti
tlpUNB+bmpw8FpIm3jzrXuqW5XEo1tE2Z2+yBqTYtsK6FGLkjgsb6nZZ+FAdAQm+x/jKTWZoQZfw
3XULU4mRHqIUoDrAntNhxDPfVXYZuB26oeCfvS5m87v8OTR5jBj8dcPotYg3wc7XgXHD+HT977+C
h1y8B78fVKTQ527Naw0B1jqeY/VIj3p/2Y+cZ8FYPnFhBO2ATl+rBwZLYmZ0+xwTR/04B57xmI8C
ODReCGxew/yL3hKWzf975XG5zn8Ud7SFAYqrRJXXjqo5j9K6i5JU9RZuf8M/YqTnifBqaRLNQoDW
e7eJP7/XfQGMqb+zyN9iZH45Os4DmXK/PDrZeJg0trPRzuQOj69/ys2X/c+hyTxcoqyruq/xJQcw
5dm9dWM24ztR+OHo7IDjfQuSHUWbfvPN+C1Rl9FICn/A0lmGJtPkDCjE6uYtBzsbPp4eJBoJzSVR
qLhZmv9jGLq8jVDoI6cFR2ayPOEVRGGJ7dqYPIlQOxQ79Sj69u3778sBLeLcDhkwUGZSQByrxNHP
pgA76ofrX23TBldkRbS2LKyZSUmCcDTUfzsYh156P9PB/8DTKgQ6sQqadb0y8j3HfhlIRoH+ukK6
nKtS5bPd8SyBv2rj2dmP/ZcRuRdXZQTXxVyUE0pq0TG3SHa0Gi8q/Vtj/NiX9hOozRSlpQ1BmG1f
5wPAoAN8T+nuLpUNTN4ihbm130W6W+qjm744qSLo2zCAEyn4Ruen5iD0LyxgrB9nOux4VUaGteyu
G8DGtfWBNrciAa8jArKIlW7ZGnoHe2NgmwjGtA2xJrVrC7G3uvZWVPSz3TBF11YhU64Bc6ZbGbEY
Jh/G7253m6BH3NOHsQ/BlhCJv8iDVxp4H8xoKJ5hjf/8ELVcmNSkNEX9JwU12qeaWYAsjcXb6N5e
s1FfB07gmq8BokReqyiNVjOW2V0wxLwcMA9z0wgXg0qW4oNt3NgzMeu/nyS9ZHSGBHHnctTbG9QK
sVnvxoK8jQbmUhnpCSyMcS5zB4dWVF/8PPTsJuq9exBnFMbbFrcvRUlXyaSFyDOWZkeNfW8Hfuct
z4RwRUa9eV//fBwZnyTLaodirjg7Epq/jKL81DZLRJPqPp1T1XLDVkHk9BPJQU3X5pNfl+ZytOp0
59D6mdVzVHpWkIJOiaUw98nTg7Y2w/GN+/wXpykPL6FMubS5DisE4tELgERGb3q47jG2DRD45GAZ
BkY+kZ4Me+ITIy0e+lLPsHhTR3ql7wr3bbxK/ynyW4wM1AwCbCpYCUXgix66Oj0smYr6atO9Isv9
nyZyI9ccc1GOIsuOQtejoQFD+fwX8zYwBfBJAGkOG9xyXst77Ag1JS+OVYt0wE0jt013g3CCv/gm
K5gQvqpt41U6dwoLXlaLFbiuK8GfA5pirlsPWOZW3KLNT7+Sveu+D6wNuZQOiMbWnTo47r73o9oU
e2K2O8f+i8kUHzuFgAsBPjhWjiUXN3ecjladkSPYFyJH6M+lCbCSbLj5i0M7ESM5Hmr7qVcZKcKr
hUe66J66doiGSSjEbLqeEzHSfenMrC9aG2Is/pxooel8zNzbOf/8F8pgWgAoK6hEoSxwbgFmqrVl
lzXFcWaaCE1WpcGIyD/I++Ivpj1XqHj3tS+NjrEkyl56QO84ZXEsuiYqQcCwGHMED767rtFGeO8D
+gLMMkCGXNGKzzXKUO4yABxBb3Ig7Pu36eiEab9zq2999em6pPUHS8EpCAhgbcC/XzlZpJ70wLmo
3E6fj0XxdfLuuPdFr+41+yPjcVUrZK2/+kLWylCwgsNj+FeSRdArrvTCBbOaJna1Z2Z7ysgX3lbs
7am7D1rY34Kk5IFiyyqpqyY/aj2AY2gNQM1E84XiMdhaQF93GyzQfmB9C4Mb519pSoySUZrQG6/L
DpM40gy7NCQ5zCMHAX27o+wWiIeDS6O+UWEYX+ZjzsrL7WE/DV4CG1tS2aj3ZqudclMcMfVzmFJt
rzniEfTJB9dJvnRYLTQ4Woo+Td8VyN6LKf3hpc3NzHQV4sTFSyL9EOlK+O481k5DxHEo23D0iz3X
u+i6kb4ml2eWsyLOwOuagKFGG1iOY1Ms+nv9PFiPvI35Dd9nUR5qPwFy7B6MiB9UlFgbKp2Jk1Qi
dCLu0vSoSOhzUNhYmvRbhfFc3IVzjeRXqx4wQZfn6N8sprMbfXpAOTUAaeP++sltiTHA7gXKAtBq
4+jOTbTgQAFqPUO76ZIGe0tFXMygqOGqPtiFv4I2p2LWAz0JzOumGetlYgwjvM2BdjOQz+vHyqEh
z6ao9VS94G2tgISHPTmkoPKaB6+dqmd1khwXUPRleg/o32JXWW+Ozl+1+iNm/RknWtlsRnUl6bSb
kVQRmbyg17vd0CcKb6XSRrrJXWl4he3A2qw5jQFJFo8m8NyU/BWbYkC7sHKJIYgxpbfYH5bE6qtW
u0nr/NmewNTpeM39aCSKDFchR+ZPxNiMEEXbiOPI26+zMT8NpA910n/7C8v+o45cnkW7k41ZCssm
aXJwteIetdCA1irCm01tXkknwZcCqA8pGdRdEI+SxdJuqE0eat3dDw75yDVb4eG2PA7w4AkmKVwA
ssrauCB7KcBLzFDtMO4ys74vq3Z3/cDW7yv70FMRkibA5QaY39TYN+VQBhQc3BWxQid5zuzPqPdG
mQnMnjeXeaHNqUzJtLUsnfSScO2mL7rQS41oSAFP5zKFaorTk1fYqGGPDS9QKGyH+b4Tw63naQpz
u4hkzzWR2QlKTTg2XWuRVvfYzEem/zIw/WopUK8U30hekiPuxIuh5+IoeHWb8+mm1vydM5GD7/Mw
x/LP0tN91qs6kNvnB6hPEA6BwEwutpZdWcFxp4hgODDBK0t7NpiK/HH7AP/IWH/DiTM1uiI1skqw
IyhMvlE+tbtpBs88z3gSzL395kX31+/1R5xkeS5aFyJJM5xksoAPAcRARA/9TMUootBKztR5UxmN
7awl6umFJv/49XNT3bFeMca1bRa/lZGTdQzc97yeWvsG+ErRjCaRl/0jBEaWsXdYlDRIyT8sb96a
V5+foCF9MF0TK+sCVKv4DfH6AAjHHjhNrjsl1fmt7vfEKmozHxtwvoAAUP9SjXtrAXmOiIz5+3Ux
W14cEyU+mJTgxIG0cC6mT21jaoU3HC32gVf/dFa8qCgnN0WsHKorvDUYnKVIC5XWRhSkZMfULyK3
dHbTMu91IQ5/oQniHqB9Qh9XZiTg2PJaZ3z9G3SU72rfjjy3vKu0Zn9dzKZH+CNGtrhGpB4DIQHD
bKL5NSts96Yau0Lh7VRCJAszRtPOK9CXHJ3SDChPdtpQ3FzXY9O+TvSQ7MvgOlgL+4HeJJkICk80
h7rx5jAd6BhwjHRcl3aRTK9X5kTa+mtOrLnihrbkY0fBGK6/78jNTO1oJsueszGc7KiZVeXWDYEY
IAXkIvAi0MOQOxhOj/FLSjTrpsAehrvc5iJuisfaRxK4t8Tzde1WlykFEGfCJJeKLa3EJTPSXd3o
hp0rOhIlFPvpbAYwT5GVTpAi3Fcc6eXYJxL5UxXlXMwphiqv9QFMyPYQ+nb+znHoRw3lEL22umBI
p5t+hAlNZGf0008rmeJcc8PGSp7BG3KstPGnl4qP14/iIvXHbqoJICRsDK2sNJhNPv/SQH/T08Rw
SdxhD8agT05r7up+jy2ifrBCohUA535g9BtmG6PromWLhmTMNNpowAIXE+gsUm2jmKwksRif4pH3
KXYYDZ/ZaMWaFNytu6RhRftoVgMq/NfFyk/Qq1ikDStCJlDIZYUBIdT6CIRJXJllVLLPVep8YF61
c3QjMNwk0LSfiT4/XRcq+9RXoT7WDlEtAgyovHjIF+RfYNtYYk9ziyOGAL9UllV/MhvuKcxs61TB
qAUuZQdlZHBrnH9Pl/SlphnWHGuzj1mMcZ+2goUadW85VgX+j8Ikv2e2o51YOYS57fiS9Tye0uY9
T+0PxaDagpZO0NTXk3PBeIatBiC569LtMefS15qqcmLRD3GZGOG8mO8ZU+UWcoHmf3LASIaxePAu
eJKfnQBeWbRLTh+7Xf/OCot9fiBPAEXAULYfqfZoJEd0IUxys2CfLQvWdU6cNfoQCpKHCTaRwhRw
2wFKEUHray9vMsQLiZLrM2viC27hGCvif2SDe+zs/o41niLO2/pa2EXDKL1rAV5VXtoQGNevNUxq
xX7T53DgTv5+4v6HCZMyiussPRyvCgGQZQVI9EAqLueb6DpqyGeoHTt+Zodkcu6yqgMNKe/uyrz/
7Ir6RltUqFpb321dFMBcNuqV2Bk4v2Qjs4RZU8TgFXg7H/yxR9dbb375bZtHDifjzpo8FUrt1pG6
BAhecB/I4GV3CfR8IDAXjD66XWwZwLCPBlXSJvmO17M8FSFd59qGTg1ei7iYqBcIv7vVRv4RHcI9
oyrghE11MEayDsKC7Ea2ELetwT1aJ068FBX+fm/paA6lfjB2prG7bvObd9oF7ij4BUCmQuTydpG3
U5rp6zWznFvfS4LM/940wy5rjZXZMKy9G9rY0TR+a8ln3VYtZG0eqweunXUQHGVuyVqwxDaUCzZM
4kpku9yrwg7NzGAZeFiOvmoKXO5b//sRAWeMLUl7HT5fD/4kdJucOgFUVuPEY/mP0I682rtguh6y
KqJ+HSftvZYVQaHZ8fVDlp7Vf8X6mKjHK4IejPysWmaW975fO3FNrAA0ds9zEgPIGyFF+TIXZlg0
78iimmzcVBZPOAZfMEALWjPptTMbvWOO2Tpx7wIIQ9zbXf7FK71Q1x5045aS9mAl7S43VDWALQfg
oYaGsa51p8uQ0jBmYvZ4EAMOOXXmGywpTO/4QESUZegFlWnd3zjD4h6uH/F6/U7C1vWIVxYlEG+D
LgN45ZLQfuk1ojWNEY/9HGPbOEoxNXxdxIaprsNd4O/DzsmKeHZuPKPV6w6IF/xHunwZ85saTPOJ
+YEMquXbLVVO5UiepuF2mudIy2O3MJ4K0h1nSxVvbzgYqILbDl0wNiQ37bUuWVIH1zGuqxTgvJr+
EdfQDwpaf7x+ZltGiF6tjcEkH/fON6T7vfRCdKzGE+Sn5Lm1k5u8iro8+5VNzbva+GXQPJgwseSr
0CY2PxY6ZuieOZhQl7EdBz8t+pWWIbbcbtj3/Zw+eYnXBei76ywYc76ogkt54+rVBNGW/i1SisI6
QN1YzQQ6W9LSx3T6SvR4El2ANka4sO6ON9a9nTsh6ORCbxJhW7WI0/aFzuF6TdWLuKU/RmFeCQ1R
RpDPfUxhPOni2nFZTe5uNs0WlUVa7+0RzKGa2fSKy7ERaoDbxcKHhjkZcDjnlyNtJwGOJ8+Os+xr
nuAV0YDx2y/YE9k7yxIafrq/bllbJoyGLFYPMA/iIyE/Fzj2jHIAAhmxWc9fey1/X+W6E/hogL1d
DuYHCQF/D4Y1LsbdgT+erPznj0J3D/liHwRIA1wlfd7W9zoVY5yrkzPBZub1Rqyx7CNb0h0BbV9I
liZgfaGocm8cHR4hTPCtS14oK0i+0qtNjyc5VKqLuO3+f0VLKhGSOpgiHtqlhjsmTb5LUJx1/Ol+
aFR+bOvOnakiWcFk0knYTDcwILjySfuDH3l9WezGOSVBB4y7aBqSJiw64+tMSj1sqD0EgFT+Zx7b
IqxEih5+431dLEdVKbz04h4CGqBO4MVw8O7LF8KkFZrZuBBJltRR39YrAZpwFLfg8tqBPgOj/Ijv
URdCEeXcbBbN1RyjxzXnmL7Skm8k6wOvqoKGZLHOAGCp/XjjdVgX59EGxiSWu+aAkkCjH9ZJaw5q
Mmq0keZiIcOvljzw00q1JXtxgq/Z7Low81pvlaMmW+TzYGJEJtYay72j1HO+DW6lGsK5uHiQshYD
4LQwhAO0sPMT9POx1tMlhRSkDE1mxWUG5J6eYJK28hW+ZFOWARZODJOsZILS4RV52bmNm+DwbHLT
zxSMBcXdbK97pM7u+ne6fHhXvU5kSVFE4Rksc3VNj8VC6UM2mEagk9zZ81x8Mkpr2GFR95tf2EXI
rUHbMTCkhNd/woUPWH8BeBkB5gDDRB3r/GTr1MaQVunpMWL8+6l9X1fTwWmy6LqUTUXdf4GVMReG
0ftzMblf1CsWhhGnnjvEonWBuOACvarqQGBe20URaDbrA7MpinAmICvh1TwpTnvrw65RDhbVdB0Y
M+tRnOQVlVVVM7yc/1ghnkG0H/rlbevsdatRaLt1J04FrT/kRFBRTK7VapkRY7CEh1mtiWis8rfn
Sfh0ayiDwAmsSWionIuxexs9qH4kj2AS7gOuNahsM2yV6oAyoZ2+85zll89L7aCbHLgjSsSmi4RJ
ki8Zr2jNbnAGR4/nlrMQU/0P/iIid+yOA5C0A47/MOh/N5mqGaSt8/Uw4Q6q3NWxykuoYBSZ3KGC
YDdx9xjWP9ROqrgWW7ay7pAjWgIhniOXO5upL/kAnxfrbRl7k7uvau9YG4+z++YQCaforWy8IPFC
9dqSYu8809vOdEb/kZCY0DSo/JD0icKnbZ7YHyHyiBNjxE8hX4+dYjmWU/NlmSzFGtTFI7fqAZh2
EG/aqO/IoC2D3YL5kllAlB2M5MWyl88+o/ZH29SXwwzwwtAi07CrqKma2dnSzSceEuh1wtmVg+jZ
nJ2MJBOsYc5IxBMAIzKtVEGYbkp5rZX5AL64eMMnUPb0HXbx42HRDoaWRPM4Hf7CSeIaG4jPCXaQ
5VpATXVzKVy8pe7UhBMx9olNX+Yuvzfm/H0LhGNt0D7pLrDLWtXU2NZdxvApgnQcoI2F3nNf4tRL
jcOtDNRx/XudJjcFdaJpEXdVDbin7tO4ABHf6xQabz0+p1KlZKwHfGY7lrjIbcZjgeJ+g07Zolzr
3RCz1jgQoeBgUUOTHH/JHJ5PA9640m9v6MA/c4G1GCv/ef37bfgMiAFYCF4X8ATJn6+bmeENIDeN
B2rd4jl77y00LLv23i/mT/83Uau1nr4wQmDYmZt6zIS905n4AICBqO7yISi5aj1hU611oh+lOGxf
yQ6K0nmah/V+obkYteQFHAm3OTHAYfFG/q0V0AUdNfgPUIejZy4b4QzWD7dfRh3MfMkzmdiO6c53
sOy93bevjbt1Fh61lYs4wJiRxHWV0FHNNN8PFkdymn8T3m1dvI3VEK5tVQjjfQg6ANd5AclFAIfP
bQcKTTr7OWvVN1ao5qs3bBsikF2sIxUofUsX14MZLKYHIO82xdoFCghsyuIqq3fXDW7D/WGN2zKB
d4/+Nlhnzg1uLHx3mscFRpBmTeS4yN4q4SmeEJUQyap9TdQ5CkG4pyYQshjoZyNK7ErxFm6d2Kkq
67+f3J26xrAvbFqP7Vm7y9t341L/mrtKAV2xcWvODmz99xMpWMo0+7rCi8t7PfA7saNu80zYrZjG
L9c/jUqSZAGlY42U4erGk8fisR5DBu8UuLNzx2tLhdK5fXgAX8KIPcJ4eXqnJVpndRzmlifjr1xr
wdzk3gMP+y+uqI7/ravAaADIb3q/iBrBbavHeCaRFfD2aNbu18IvDuDsfWunD5f0RJYpLS3ZA9As
vVd7GBoMSAMmYQJwlp59uP6ZNk/uj0qmlGjRfjLGzIVKM6kPtuZ/WIDtX1Gi2I3aCMOgDSBTVmZt
gEpJ1mBMAE3xHYjJbTfZ9x4GNVoUNUNNtzg4Qpck9IvxczMKVdKzaYZ4X+GPEc9etMNSRAhzWfYI
MfP+2QWze7WiYLeZvqdt8en6WV5WlNZvhgImIEkBJ37RSMg15lS6gTtcOyhwEKa/92mXI3a2Hsua
OS+ApHG+LDTvw8oc9KDDaxCaVKuPiZ8MkUmxAKWRZQyWGss113/b5jkA8AohKTor2II6v/h5RufR
W53YSOpPM6jhG4tiCN/vgoR3Clnr3zrrp6zHcCJLip/Ksem1cX1f9Nz+2Joianx2O2bLZ7fKnk1X
BTC0acLgW1pLZoBhkeOovPdyKyWD/+gOxsFt+T+ti55nTxRabcSi2CH8I0ZynUPVto0G0sA41fM5
aE3zzqQjwC/SF6/KQoYFSavpQ9SWn69/uW31fFSZnLXMJOd8HSbX67T1SayP4rkEi5YQEw3gh9jf
vEDIIbCcve5Kyvkr2M2AEJFpJB5M7cAwllS4CBRNFcLQZdd4NY9XgjiUeNDolx5taiUcCOTCf2x2
5b0epbt1EmSFa8x2TDkJsmn3J8Kkx9vws0SgBkjQECNBbht7d8me7Pqpdi3V+W3GCSei1g958ra6
fefnRlrocWY0JGxr3uzFpHzqtmpWr8UiBFdoHVwkllnvDnMFCI/YFk3IWB5iEjMPetsJ7RKlTsfb
6UsaamWFoUl/d90Wt07TQDIB6/AwBy4PF5AGbAnT6k1XL8JmIIZ13pNDsv2APs11UVtmj1IxJhiQ
tqAxJJ2mjyp0kbYFbvX40jofSv6xMp6ui9jU5kTE+u8nHwwNksIePYoRvaa4y20vNGb9XZKnu0lX
ESVsisIs4Bo4wKvrUjnF4tPY53aHHGL2vqbdt2mpQ3+ov2M7MLqu1Na5rVBRkGPjwZXbs4VYdJu6
UKpswdvm9KHm9O/NpFJ4w9WHyz4eQ5e4vS5Uuih2Gb0otXnJyCPQvoug50NUu+nRAOdI6OfeEtoG
toVNoiqWbmp3Ilb6ZAscsLGgi/A6cYKr/d6Y251NJ0W4Ik9vvqZINsYB0LDAs3LxphTAwrWA8Aan
a7U/Gx9DO0BbKhI/aNnwUauzwOBZ1FWfkWTtTVsF1LL11JxKl7QcfHDW2eC+iU32SNspzK2Xkn5t
XRIy4zspPmudCv9r68lGymmaiJIIMkTJJ7OpS11Tg8Q67SNv+Tay7h6pLvoz5h1pF4XxvA4VytaD
xhYg1bEqjf+Tok5nbjWLYcQgHvrxXQs+uzGeNDNo8iYsS2/vdlEBIkpRuDdLOoZdC/6kKoLnC4cR
aKBJGi6+QFj1eP3qbB2Cg0EDD8NTiJTkSvzQlGXOplyPSWKFDbA5y+SpLCYg+vXBvKhQCS5dAgAs
EREj3V9DMrmAQRrN1ky9m+MCE5iggkHoW5Jh+jCl4m4BqJwii728OeglYqIBARKu7MWRg0D8f/50
Nr9wgY+s3RlMBYh3+QSeCzHOPWriVx71DIEh2ZHyhya12DciStV00uXJrai0wLaygB6IHWfpaZgz
1825p4vYaL9zoNKW1Zcu29tvz1nOxUi3EON5k2EspojdLomGKiqHOrAy61hqdVgVu9yaFLnYpf2t
ArF6ju+00fTqCGNj7vUd5pC+VZj3Lftdbn9vCh72c71/q62fy5K+lM4XbapQ1ojb3g6SZteQMWD2
j7ncF7MKEmFTL3BFmQgdyOU8CUmb1puqoosbRt81YgnqLA1sXG5ntHaCKTS7NHRo9keanDg3E+Ag
DUyuHHygWhuLe5tpw03hqtbHLk39XIzkwijAK9MmhZiM3tD5nnFFpeZSjdU7At/ZAcQD4MekiEEr
s6Ipsxpq8A/jCJiHT/SN2zV45F4xEIAnCqO7HMlmDeJ0mkCELR7q7FP6RtSN9e/jdqL1giIjrFqu
zuVYFWgqBwtOzDrmybMwDsiOFEnLpS84lYEN83OPQwtmLq4wxAFEOoHe3xrpd9CuKkumkhiULPDi
AvwCJ2bhq8iBb+csmF6gLT/Q8tZNDqj/BZ75jnHVyy9Z1YWc9XechKQazdy8G6oyLp1bgz5WpiKw
UemxXtWTvw9Q3NRojbKMWZ0GGFs1DR467Us+K55SyXpf9cDTtk6VwIiwmnEux3JQEEt0rYiF8eww
4FOyYM4V7nJThoUPA1oJ2K9c9Gua1Gl9Jy3jRpTY3DqmWDSpFxUmuUwv8K8qJ2IkT1mPVOcly8q4
m0PrOEXYKDqUB3awnsgPH+AS6V5VP1EpJgVjpWhaHCCMral/8jkLuAMi9b5+28250Gs1xRNT0Aaf
1WRs+MEy0Ib3vro6ph38F29QdUKlVOFC0KruiSDGu3lKLRxgaz4LFDKN4r60p6jsPze2ufP4y/WX
bcvEUWP8bRbSFQLQhdktHgfmR5EEiVsGory1xzLo0lFxglKY/q9icNIYVAGuEHLxc8XIVPg8ETo/
lMYX1kwhEi2P/SinJ518ds0PmCLdXVdNekj/JxDOFMNTGCuUvVDTDkXSuH4RY9YgWux3GNMMkaRh
y/dxYW+sqV8Ik84xqRhGDWwIE+6NMOOSYlNOlQeslnySB1zIkE6QUexKYiq6iOndyuWFJczvXgWW
gWlX78d4ZoGtGjlQHeFqrCfGuIBWlGs+wTdLX3oLvNn3o/+ryb/26f/1/CQXqLXNYNo1rMOrHzT7
zko/ja2igKFQxpV6BP7sY/kHDJaxYc4RcR787qHkdyI3APH6z3XT27xVK6w/KttrN1nySTWghCwr
9Yp4pA85mrpAAbDHT3T8cV3Mpus7ESM5paUldU0bt4iH6mFIAUDxxdLDvxEB5jD4CMy3yEN7ZZmN
xGGt9wgeJ7PMAvdb3avG8LfV+CNDsjK0/IWHjLqIU/EDE1C7eX4anPLmuiJyu+Hf24Om53+aSBZW
Ula2WQIpo+BHfJuoSfi7piwOHjL3rmZhO6RBrn31mjsve2+n8O+MR16LgrwqlNy0xD8/RYZRxpPV
iaaHefSz/4wuPPGeZy4OmiuQxRcKv6sSJsV8mEEeNAuze3FKsbKl3/mVFtr5uMfYFdFUz+Tm63Wi
mfT807xa7K4f+KG3/mmnn7TnoV6AU6h4Z9RNuJSq2V+VctJFK+y8nxoDyrH+m1UdkuVx6n6VybdC
GQBsxZpAO/zPfDzprglzTLK8nPihyrwAsB4R4LUUX0ou9MgmKqfqg+mwepnhoeYhO+rGz86uA7ue
jgAwGQcSOlobuv5LNmjHpP+pN0/pqEei32v1GHk6dsYxL99W3xT3Zj3Ci1dn3bVwsLuGjrFkP2Qg
o5VaBT90O33vhNmek2CiYRqK3cohWXZhPyqczqX7RDsQPUh0BTECfREPVy4bQWet14cpKQO96sPB
+4SBlRJ90OvKbQjCoWMoCj0CRCRyzmXMtoshujyPLQTFS/nO1r95c/tYkept0AyrEMyEoX61Lnxj
mnu145OHFDtjls29LI/Lpg4HM7/VE6EIDzZ0gQjUI7H3hs0sOdwZyyUTS6dliEC+md0dwOz2RIR0
UrUaLq8cVEFFDFj26BFjYO9cFdcWGQzOyWJUAN97kz8FBVZwGjPUMha4NP1x/ROpxEkexRSZ0Vm9
n8V2dyicIZjb9xowAjzwpcJlXpf1+i6f2zq6NCgvoo5goictr7rw2vUYGcw0JjYN+9QL0qn4UM/v
q+UdybVAK617Zmix4X7PkWkk9YtmKwhBN9Q9+wWSm+mpO9DCt7FTAEQf1uz97id82aHNg0bMCn9z
+e7ijmF9eB2/JQBaWX/LiVHmmjaQISNp3GlDZPTsweHsR5E6H6+f6qUYrGag9uj/P9KurMlRnNn+
IiLYl1fAxi6XXV3uvV+IXgEBAoRYf/099Mw3ZctcK6p75rGinUhKpVKpk+dAFxQEK2IyNBDN6Dyd
ZzuSsjdNYYcz7d7VvSXZy6tm8IgDsC8gvzB5PZqEKgnNC5jRteypm6fNXFqHqZBdY2RmxGTFS4xE
VUm20+zymHT1diRKDkakTJKv3G5nGwqqGpDLaP9YccW+R388BL52fLQfXF4E8UA+ohq/qbTp9aZs
cC+jcxCwSrxkCzPHCCo5sRunO7cuTk4CrTK7cZCOgCer7UC9cd8dVgZ2ZU2YQLT/AhxqeulOo8O7
GKhiH42Dv8ZcR67lyuoRt/kI+CcuhiYkfRCiTUendFNAYt1z7DYkoG0e2A3klu0uB9K41M6KU0pC
8YqPQHoITzZL94l+07pDVJZWxK6sc1UV74bE8T20tvkmLyX1KZkdIVjoI2FKDeV14ITS2DegVlzV
WhxUBg/vr9maIfT6g58FJxVeoozrvdVlA0HXb53u0so8T3PxpCfjQc9tyXjWVgtNjXjGRo3KvCEX
sJsaAnYuSXERmH09Zf6M9umRTr5WRHOSoVn9lZ0zOJfRe3thUZjBCtmHU0GFedey4oS7hwY6dRKg
ZVbWqi2+kf5jCaBiHP/oIgNo5HoKmZln8Tja6Q5Vidzvx/KNNqaDXxmK77L2gwfMtk8YGHhqF+SY
uf6Jm46EI3Vt56EN+b9PEI5SEx07DdD/cBeU6PyJzJssBiFrWZCgQKJ+32WWnXV9lGJmNaQHoPcG
fFa8OHolsDAKGdPdCNEWm6VvPKp/rYuvGjcbHN12FcwWDfscT0WvNgzEIWhTEDZBUiHmQYox0gTM
YckuQ+ttPGzSejhw72DXRxNqannDUL6Twat/914Io0VXPIr3APCigVXsDjSsmHkZIMm72Gpa3x3i
c513YVG814pnGzyNU/HQl33gJPqEqmsJ3K3t9zoL9BECUv30rjbqICOnpjgMdrshcxvNmvFA0Y+B
XjIalFOUOFlEteadUS7qafl7DUUMzt0HjZhROmV7pqAEpL23rCr1sb0CZtAwJ8UjM9nBg7gbKRSf
pq6vFu3BwZuc63wGTaWPkwd8gfTYNB9dXNTuL8Wye25mBUFjEWGDpJ3YV9i4StpnRmqfu6belnH6
QFIZ8cptvgQY24uJ3/ifixzGMniRN3OlRJAXwWn1hbrQr429zfjFdWQNjLe2FmIw1HSABkd0urme
6V1rDCzzopSjh7HYmHHixzq6fQArysZXJ4IQR0VOhnYHtIDekLswilZMZcTAaE4jyDy0hhuAKWFr
cyUsNFlt8TY0wBqwbEs/lrcg3q+jkzPo4ORBq0M0j8zvk0jjO83CjTON7nvE7fuAtxBPodUUIJgV
XhCnm/vOcBQ3cqp3WbEneEjt9R+cvJ/GzzypNxZqTKR/H8fvPXSH6uR9bUqgwjeruHwBoCoaqAuX
65gQiJOs6lWg493Im2s8SzcQwkn3pP0y28UmKz7dH+/NiQZjSEdNbyHogQ6BYEwtBlcbmOZGPFMD
Z06f1f4j48kGgFDfQhJSNLI7zM1RvVhExdtCB/3ShSQc1VnTgp6oth34TXrQ2+rJoOcsf+11FgQL
gL+AjAzkj97NxiYWmT1amk6keA+sflBdSQJ1c3hc/764q1svQXNCrDtROuZBPeh+h0fjciIhj0+k
nkJjLMISPPD3F+tmEyxWgS1xl0Y+pN7CJpjGGhqFUF+PSnOKZnXemMwIsskI46mQDPDWCa9NLZ9y
EbZqVruV2mCACoh/ssSfm0grlYDj/SCR5cArtpZLHrY1sBJoDl7+fmHL5TgTDHc2ozGv/D6t/VjV
fUs9puNzqv66P4U3EX95X17cwgWN+C1XBLDjDnHT2IjaIdvOuhGpuay1e8UEWn5Qf0AWBZJGEQ0V
FwOp8dZi4jRkmzpmB00Zt68eBUzgzFrKHAiGwowZk2VlHWJY5CGTXohum7yL/s7EEjguFkVv0TYH
niIzcpzyK0iLDIRBmXTo7cIvzVEvwxAuP3pKc49oGIYzVGGW/nA8rH/+MOmB4364P5xVUxraN1Gs
BwGaeEHgXO0Yr+Fjw3wsq0h3cIqQh4S8hyScJKm4DXAY1YWpxT8uZq4HmLIdIEEXlc03O30YwTw6
tZKLyIoNYG+QwCJ4r2AxECeUpOJIXPr6qfNSP+O7UgrGWHHkKyPCQMp6dnT0Y5mRSmY10tXMDe1Z
e/XjChipgFFEPwku9uC4FJygqCGKUFPXiOZ4ODjYjXpLjukgu0jdHnQwg6KZBn4ANHSLlTOXTni5
xpkR1QpUVuIO/O50VxPQ9k4WC4zubNTGq2PotUlh/jrHja0Mt52IVvHnth2/G4oWxSx9LHn7RFMi
CW2rPnExQuF0gDjqXLrZZEaGm4fcciKrVB7muJcU5VZ20tVE2tfurRm9Y5kcZhTmocoZ2f2xBZWv
1m418u3+pl1+6io9X1zjYkTLp1zspIpYXY6M0IhoQ5o2yDRm+0Vt5ue5o93HzLTL6L7BdSeBFtPS
GoLivpAN4YEhwQmBUwFtIDn/NjcfbfVDZ3yY2FuZP66v1osp4a6r1RPVq8nANNocV81psEN74J84
FNclC7Y2i2B90sC9gc51NL5ezyKNNUrAdQO/AKYKLdBVhrJSscOiSQLfmmcAO45WAnDcAAErLFcf
x2Vhp50Raf3HBJgk8h1wbsAQd6MhSZHXItOlJeFwquA0Ke8QmZKi3CvetCleKWph4lDCk8fLWISo
pJlcb/Uek2b3WZBW6OTq3LC20u19h7vNIy/N4GZ+vTZGHWfQjQeUDqJ9VsBVvoH6k8vIx44XP7JS
/9glX6BuJHHzNd97GZwlunlBGkbAjW1G3PEGYOCn3k8TgDQsT1LQub9OQHFeD4/qZTY47aTDyb9m
UDPoYkMygasWwPWCFUckxVxdW3BmOqsMkrtR4wyhifckVacSt16drQsTgrN14HTXc6Uwo4nH4Zhp
m8nYGOXX+46wagR1KMzR8nAlIuwqfXTiDjTF0dxOlT91qDqZufNNTwsZJnHNEhJTVEltG1o64oy1
bqUMDL0DUdmnp7Gat449n9gga0FYC6WgcQadJ0TTtBvemKoh7dyCzS7yOnpmpF144GLDV9Tc8eO2
/Wo65BOlsSQwrMW6S6vikdt0bTc5CAx6DZbgqcr77Vw7IOjuXTz0j+2rr5lgSkX+DSk6dAPdpPpq
ZsYuz2YjMrpmP3j00KSTxPvW5nFRakNEQgC/6SsoUzpkVhFb53zMKr+ais7vzc8cLRZTbAYtGATz
fnj7eme8sCkSuXhDp5cLtCqqZj1oauehTJMgSWXEVGt7F6THqMEupNXYvNd7N/Eg44jD1sBiQVmT
1jgCB22UsfbJrAjbN225XgAEbyLxmwNb7Y52a/5BPL0ciHBYxFPWkBqPV5E60105v6vKLMLdRnKO
i52Wv8+kheQQptZebYwEzD54frB+c25rYRG6+/n5H87tJNTPf+ADF8aEncQRS3lGDD1qU/7Ym+85
GbagnJeMaVliMcND9+FCCQZxrxv+QWXSHZ6VHjI8QIrt4UnLU587tQ/Bjj+AyOJMB2GdA05YPGGD
Peja3yYj87TcqXUkxtajxyHqWnubzGkeKkOm6rnmdACkqepCnbUA8q9N1TZrULdWjIjPqKEN8YZB
BPf1C3RhQmyM4IluZF3L9IgNaahQ0Lk1PwcpmGItoC7SB1B6xjshRMCvB+KimlGxpEJOB1EvaAYF
dd76bfuJgQXp/niupwwvEuB7QCkZvo2EBG1kwj4twZ+otogT525Rw7Lig618+zsLwqI0rsWbqnXM
s85JVHnukbkyfoLrw/VmELaQz+no9fNKBYOo1Hfxrww3cyKjs5WZEO4oCoOKPUVh5mzGH11QeXn1
B7P/fn+mrlf9dhj69aonk52MFnXxlFpzPyu/NXoZjvU2lV3wrrf/rR3j2o7tJD16WrEiXb5zcB8p
6x9z+q4HuZZbyAQt1seEyggKSjhLxU5aN7fyrh00Exf9o1VD1qv3G2tDLFn5b31M/9nxBBfIIUxW
KZmB9QE6DpR8eDp1xrOTJYc2HQ+epUhybMm4RJHVriiJHtewV9fHuH6c8fw25UFsv07a7X9r9TIu
wSdmomW847BD2a6PQ4M86E103+3WXfvFhOAOhq53BZj2zHPq7LXYV9gjVG7um5DNlnCszQSJSG9j
FKUKlNSjPiSBHYfTX8+WcNYkaAcFHN40z3ZGwL2qatRHZT9kjfOqxrJ/lgVN9cAi4k1loaa73kIW
rw3alxqgHINdhS2r0NSMq32IptfxD+YOUimg8HNgCU+m16a6Dpo7OR2QfyjJ7OcmI+HMNDL71LDn
IAFX3etqg/8ODuU6gBxsACHEOreZxXyqBwwu1/SQQZJgU0Fd2jdSVxLw1jwPA0IqCuEUvDMKQZXT
rqibGMFh0o5G+7P9kXS/7jveqgWgHnFTXQpLYkYAZt7B8ZreOoNKyW9c7R1SfrBPeZJTdM2/l5oZ
+tpwKwHI53qNUtZ4sZG01tnKt52xnXBA9M5BAVj8/nDWTmtjaf8EY8DSXi24neamnTX12KrU/p7U
R5ts/+D34WiQ/sXLvC6+S5YtnplitJWfp+pQW4eu/5PfB3cWYgqwqIb4VF6A0ICOEP0+U4f45fDR
ZZJYtroQFwaWv1/ULge7U9u6VRGWky6M9a3VdMFE3s+yUtgy0S8Z9D9bBKyD3rIUeBkXX5uSXidI
33rz7LnzuYQCa26mvyDP/GGeXN/tpHQvSwy+sQfRA8CE0Hh7g7Rq5iInPSqzZ9RDNkZYRdmRgVIx
7Dd0M+2g0zH/uO8JaxsHag7/GRQidkY1NzPV3DqrDfFVSGX02VGVNR+uuvOFESFcj3GaWWWGUdFh
7rYQqElPaMYxJD6xagVy8ni2Ad0YWCKvfUI3e1NBlRTZIXrZkszxU/NV70L/esOFBeGQBvEm1TBf
1rlnRwt3qawPaCqJlbJRCKf0SJuqZiZIsHKPb2k5b4dJVkleXfOLYQhrntpV0ejLRBUKOXhjcy57
LyRMDe671nVt5Xa2hFUHHorSgSDIDN6bWvOJuW/byvfyt2YGMQZZIWLN2iI5BoQOuA5uAHYE2Bza
JEjcR9Ijv90lBuxEpfFjyh+lx83aIi3BGfU3RLibKl/XdzVvULY6d07jd1YaOnm3vz97a4t0aUK4
sJmxGWvjQoY26e3zAM5iP9e/5bYd/oEZ3KRBkIwOZPB5XG+ago3EgxgiMqn4pEMutBg3rJLRNS4/
IkY1wLL/Z0SseDHwR1HPGMzzXFjqI1NygstBzDZun6QnlqZkW9i5E5ROPR9aqHG+vT/GtcMCYH4T
HAG4Y98gIGw2etqQdLiZ5g+UPLU9BQNZmCqvIyn5x+Ev7QhLpvKhoMxscQciHj+3bgoVEKs8s9Lj
u9zu2B8tHYpVYO3Hi5p4yNolLxNlaMwzT98j2o1Q5cUBdX/qVr0QVR0g3pAh3hAkUQuam6AshaP3
nU8SNMV11SblEiurC4SrI0gPDfwvlo46pSyQNJZL6QAdyPnj2M8bYm8TyB3cH87qvoU0FAThgPq9
wSmATTDDtAHETOJjYXxhRFIgX52ui99f7F+kJUppF57e11gSM3DaxCfTQ0olyECZjeXvFzYMaFkj
94GNvj4m1VfNO6VcQn+zvh4v0yRkV3qWKxpOCfPMWGhPn0z1l65BzUqXrIZsJEKW25ojHZQcDgye
iLTaV/pjI2NmX11wvJEAg4oCmC3iEqhuMqeaZvOsmXHxtbPd9o0Sm7KGtbUscdEY/J8VYdlnrgKe
m0xLXeq5mf3EHf3E/G5VW+a+jsLj3xhzYUpYfdaWKs9amCppZHPXH8ZTbDz2LJYc3qsucGFHcIFC
16uKjNj4A8fTudn4bRUDKWzxXZUkf5BWXU6f4Adj3Ki2VuG2EA/12UuAduityS+0Qrb9Vx0O72UA
joF69IZytGz1WPfGEbcG76tF95mRQWj3wx+EGHQUekiwltKucKCWDZQfa4IbgzWfUIrdpLZMSXA1
03mxIDayz3E3lo3D4dPU25r5g1Vv+rnwAe4Pmz7QBklavTppF+aEtBowfQIJI5xqKXnshr01fikc
SUhbdbYLE0Je7RkpsmmKEZXZfiwDg/9qlQetlUS11V16YUXIrItsgORTtaQB8Zs4e1PbxtZR30GG
LnDSJLzvBeuThvVHZykKLGJhP0PWmA45tmnOH+N+X9AfJgTm/86GkG7g8TpzaxU2rHGb69tG2dqy
kqHQEflvuHFfxiF4s87dOss7xE+gkdge3W47ND66bDMGsU83w06rfePdXw3LFCq8njv1Za1hkzZJ
Gep0Av6JBEZpSip7qyfDy8hEHLhWxyD3Rifa2euCrH8u2Z8knRe/L/j0MHot6JvhbQV/mJTI2jjg
HP07LzMFj+Y5HfWEwQPs6qRpm5m+YcPz363GMo0X2QYnRVHqwAKdDR6hDaWgB04k4V/ojbpxMhF4
nWSDMYFZyzwrekDhZFBijZjlq1s9zLfOX86ZcLBxsFGj4xvxubEOlb71mq3ebO7P2Xo4+2/TmMJ5
likgWxpGzFkG7ksl3Swoqvp7J8ttJDHGFPa/04I0w85gZmjPRXci1RujkgRmmQlh+ydcRyuaBRNU
2YLXMyW7UpGshyzEiJdDAgG7sqcIMeaXKWB7uk3D3kcj1HclKrfxZpIcZ0ILyr/etjS5OGB8xU1A
2DQdQ2W1YXCA+Gd8rPfmBu3Vh6n2GZRw98aGRu6pksERVz3iwqawi1imeIUbIxi02UdnDuvagNog
xCnP9x1POrZlPS92azc01OxKrJd5tJ/1oPWNQ34EjeD3OVAiFiVP8+e/tChsJ+QGrG2WMGcenbc1
Nm+yQfGSB/2Duq1C8GWdOlkKvO4xF7Mp7i+SLvki0oXhIY5wJh1w8413tj+Ev4+kN/FPySBXt8GF
QWGnVUap4hEGBt33HfPNhyVE6Yr/3Xxb7rMfSZCHNNAlV0mZywhbjzCbpxxSeWenOqKncLC8cERJ
S9adL8BebraDSEZDbCsnrIHLaJq/rF+6TY7Tj/Jx3vBIzjAumUnx4WEGdj+uOsxkn74nPCjo6Df6
V8lyLUfrTbnpZblc4eht+NjabMaQ+q22XYroMwtsfw6WEnp1kPV4ydzRFQKKNrk5SJ8xJv4JnMM7
bad/drwAmeyG+XkYn9pJEjJlkyhEE33qR2ikwzUM99jZBxsiAfrw4S8ncfmIi1AyWWoHwRiMCvo6
m2zXoAPbB9MBGssQItPIfi+xt3z0vUUTAslcUjOjy6Dc4xiaATQo3oByY36u9rpfB/HJeefIypKy
eRTiSGznBmcdTgJj2noK3g2tJ5O8CsN4u72E0FEnZtFryzZu5s2URfWw/8t5E+KEmzRTTEcYiN+3
G7YHL1zozT407G3f9dF5fOiJn3y7b1SyViIIw1WUcSItbOZa8tAa8zMDl9Z9E6u7CnBdNL+qNlht
xCfQRjUqN1exONpv/yuQFjjB/NyF2qbceiHb3re3rIPgfq6Gdv+l1XapRAqbOBuqNnHnDKUBaGlu
LHX8VTha+VDmXnYicxP7ttVkaDykhWQzrwVgXEqBcMWrMrgIxAp8AnkCaHCkyLF6zwdNPNQI6s96
ceZ27TvJgwvsmek8Tzzzy9kLUjyh3B/5ykFzaV/Mv+YZvLY584yzY27c+Gc9F4Fmb0v2Ojb63zvh
yo5QR1DjsRgZqtnnjv505jMUE/05+XF/LCuOeWVDiPyMoQeJGIpxTuetnZ4qmUCi7PcFL+lHVENq
XPfP+rzpOvDdSw79tavQ1QCWD7iIujRnqjlXcEP1udtY2zZyToT5FphT1V0sw3+s+vyL51lCiC9y
vTZj3IPP3mAHKT8mQGul8DrbfhjpL3WSRI2VcHs1NiHCu9kiBtTAHG/3Ncj2iAqu/te/JKCuj7bn
5b0CIHwhpAMTNmbY4sZZjT+m3ra06Klv3aihr8P5/+vNF4aEuN5yqLQ2umWcMyUJUpqFVheq2bs/
cOcLI0JsL3p9Bg8AtkzfPhT6V/CG3f/95d+LQe93Gy1g4OiKF0OPmfM8ztoCvz/Z34py3jPD3WcD
j+Dn/uzp57F2P5K8/nnf7LIIN2bBJAMWBcCEb6QDEsec9DkpjTOp7LcWRVcJRAoskFtM3ryLuSM5
Itfc3LgwJ/hdMrRgJPZyBJ469zVro4NZYCq/dlMTxOyt8icv0Wh/fhme4IOGjrfNwoG9ZHoyGQTm
+Tbvd17bBRBw8CdZGUBgtvzHFR0goR3VdbVb4DW0X7oY6iz6eQiM79q2i9LU7w95MNbBtE0CECp8
0WD3fH8R144N8GyBOwzQZXS7COG8LKHIMKIlDnxAx8LcE7cLwVLWZ7JK6lrIvbQjhHR3RPmP5rCT
IYmvvsxgz7k/kNUD+NKCENQhzpp0c+Jp5xqtQYG1NXZZNHV+F84bXJlDUzJxt2EQgsd4KgKsCEwx
N0R9xtzYRgyCjDOud0Gq6FBLAKNiIeNouPX6azOC1+f9lFXTxO1zVTsfdPvQF+8I2OwMpT91ihPU
joy6TqCvXPwQFoHKN4FnRzuG+PIBcUmkunS2zzUFm6r9faSfGH0yaRqM5Au3PjBwSquxFiadF9Ks
gmIW+BCt91b8yyLtxkp/DOO3+0t7MwfofYHwkofvWWCOlug7RowWeMXFu0KlPBgNP2gVAStPvi9d
yE3Z3t5p6Of7Jm9im7tQSKDlBv8BVCXSDzVm1ow1SDPPffk0Nscmy/166I8xqv9ESlh4szcgHO4B
uwVI4tKnLqIe2aDqPFcAQwFA1HWiXsYpebuk1wbELoh6cFIXiof8rIwnk9i+qiZbAnxNBsobxocg
s3cG/dh4xx4X+dHVA7V7Zq4dLRSNc4ytZL6huB7cn2JjWbar82P5qkXqHn106GsXH3WTUgGvQWLx
s+OmD1B8wAxtSgizOuDO94pNZz1PY3fQepAQ4FaHpq6n1qOgL536nxlv9rGHwoO6ayyQjJEnpn4u
eUBc9pmqm6xtfD2JJqveogla850CuQNXCr9Ui2cQwJ6mWlb9vjmDl8EYgFAsWgl4oBZOi5ElEPeZ
NEyxe8wNUBNPbeDUb3NNCfrirVbmfunO/v0ZXPUbE66zMFaBn0aIeC7P7ZYvYHNoT3Gyq2St+b8V
um5W6MLA8gEXaaxFs7ou8pHDMcf3GaRG9WHvGV/6TttXrRpZ5i896YJyPIGPomfUn4u35qzs5vxh
6MeQaU8Mok3ogN/cH7cYejFawCpxwQOoFrRKupC0xWrVJYrGph/6NIT1UEbzoG4bINTvmxGnF9iS
JRQuXCvgioKrXo9+gHqnk3K8mLJ+mV4u25Y3w1hI3MDzA2Z7UDYB1nD9+2M+DY1jKcnbwZmCOkkj
5DV5Ge/uj0KMZDY4kkDT5C1yctCwE+GUSdMoAx/BpeAM7RNJ6UaNzajPOFQOhx1rZPdgMVaL5oRJ
KwyvaJhmdU8F+5Sn+7h/51nP5fiRnYbBDO4PTZxA0Zbg/4PhQBa9cmFrth866202T286PG78lRWR
xSjJm2F2gPt6KlUXUvPFY2zqfjE7b++bkayTswSYi71G2iSn9Rh3T9wEP3vsFx6aLpTWn5LPRis5
3SQTJxaLJ22Oba1L+qe0cX2HDZBT1B8aXkuKZjIzQm6ZjLNJZ1TNoBCRg7mmiuxm8DmREbqJKew/
bmBhL6F10QLE+3rmSszboFKXHjuIetDkkLJDryMHVCTuJsYD0Y7g2q41m7iBOBTE8qMPlFMvOxHX
XeBlIII/W3kbD7yO6XEiXmDme1f9kOoRXw5hmRTWTYVCHIwQ2jubD3OhYjAIBo9LcR0FgwKshvvl
7YXKmEdlS7R4yoVzG33u0ppO1bGO58BpNq6b+q21+Pn5/i6SrZEQUysr41BcV+iRJQeev+UyiIvs
94VjPkXpCLyESXWcySOI57I4uv/9YhohLotwtPV9V9iQ+KmOk/nJwfO5ctCAP2zqZ115KCFd5P66
b299i764nBB11DJGo2QPe+CsLIcH0HhUr+3pEYZkCSbm3kmJBsL0Y4ESQW3uIIUb8FQSpCVbR2wp
LVAFIF5H6mM3Uj9xDq33s1efwTNXd5KgJvEA8cIMNU4n0xrMmFE9zfOR5OFfrYh489BpngNfO1Zo
GHmv/1SN7662uW9BNlfCHukLM7Vpg82oTtTXRz/PTpZ7sottFUsKU7K5EnYL6/KsdPNl21dPo/mp
kPFdSrzXFnYLOpWtFISN1RHkDjN0yUb1iOPy/mzd1BUE/xXvw0ZODAP8jxiE8RvXgIeZQG3Cabvo
JrQHRTJnkjGJsMCM0CkFHqk6xtYQpuo2sb4xXNnuD2rdBVCyA5kOqNyNZeEu4nHqprNX5GX/xECy
O6InIbPpfFJQsTb9Iesh3eLlvYdnULuY2Lv7tlcHCE3xpaUMbTaqcMpVE0qu6TRUx1Fz0GDO/KoG
/lGb/+S0vjAjDLEifQuufZhRSBpSnYba+Nr2uN+ecWFCiGyZVrdZGcME59RB71qp+6ZrvfZ5U7Ai
5p9FRaaiUPrqOOhWMIADuFr0QuI0/Ktl+Z0wXLiE1Vg62NVhxiHVA621oBuNp6Lh2/tmlmm/vFKK
oxGSKLXI24J6vDpq+qPSQeetk+xXiXuJL4BK7jqlgpf1Y21+L4pPE7JpEktOzSVC3gwCLP3/2z7L
N1zO1QySo8pG20HbnnXIqyeaj0zAHmU1zdWxXNgRInVnxHmSOA05MfRfjmTe5s53kjubP1iSCytC
lIYIeDdTEN0f0ZFw6Fxvm06OJN5IBuIJmzGH+gve83CH6qc3IBrqQY8hrVbIbCx/v1iUDvcDp0f9
+om73DfTY1zi4VVGnbRq5L8tj+LgtRFuZ0WfcOR/nWXvzOFrPBi4sEmeD2VGhGMtH4yyTUuPHqsy
KtmJeCc9/qttiGeH63GoxPOoaeOqUTfVY1tpH10vk6RkN0//11sdpZRrGy2FKMbIYCNnvh65kbkZ
d+67ofPLR3PLojiYJSQPknkTUUklqD7zjONOk/Xv0T+eOHu3/Lt5EzFJcK3GZMtdM+8eLfdtIyu5
yYYgHI52Bq42JcX9pY+/jsqnSn0zTp/ub/fVs//FhUUJrGEqMiO3YSKp4h+Zle9pk52K5nudAuVa
2BIvkA1o+fvFrgSbbJY6KbJ/1TrEPMSjJLf/6qTHE9C1id6udUqaujqm3gjOxio0dFlVSzYKYduT
IW4mkiMHnLVf05fG+9Fa+/urclNrFXeLsOnVts2Nacay6NG81TfZRtm02yZIt8Bh4hHL3rJjEVS7
ZgM93s192/dHd9Nx3XrDqPbZjKOfQ3mee3MaWLSE8LyuD5Is4wbaej1MVyQ7VAdqpY2HnCmt/PKD
Gw0AOplv2s/Jfvpkb/MtOXoSCNJqxgHmbGMhUFsUuq7dg5qm4g4aDutuNHEgFGEm5fRcPOwmH8D7
FEgxQEmPDtxrE0AoKwWedOlRKd2A45gm0dB6fuVJNtN6SL0wJDhJwXt0pmqIcCwsv1rbJkrDSvHH
B3C2bdWDfc4//oFnXNgTjglmD4NW58vW0h8LJRjah/qP7rsvJnQh4s3c5LhfLffd+kjtI1izpELW
qxFveUbFcx74H3QhQMyVxarUmOhTS53J+jQnJjjHLH02NRekM5mef50NSB5vbddR2rf3Z3C90PZi
XKxOanNZmXGGtCSvvSoybPZox+Oh9go8Yc6pBpGmdKsZyibP2jObPAAMueShbXUDAMoAVSiQeqO3
/to71dlM5kQH6axfmuOcbNsK7BdPrOkTmQTVaiC5sCRsNc9g9YIOosehiUOF02Aa6LlioySIyMwI
6wkt01TxXIRK1+p3CjE3dMYbsC273v0/S/cyccK2zpI5o44BO5Y/bADDD+advle3xibbysL//TXS
xFcankItzu2x0VzvZPZvR1ml5Pct8SZE/bc0oHS5dgJukLgfp4qchpp/n9AP5lOe5jsoOZ+oB+2H
SiFBUis7WlI1TPJZBlJbL6NcfIDghbmmxo2WoBbk7Wjlx1GJhg075EAVbHiQb11JUnDjIyCIXZRB
oHS5tPOKUijTkM54JkSknEx7bxndPvOyEHvu/u6+WTbBiuCJkPp0GTUyFGtcu9sCa60/qY2UIl1m
RfDDwZ1SShd/T5phm9dKyCaZsNVNiLweiHj7N5RSn3u2ROGJbVTnUSF54JWRZr/pJFfBW0fQfq8K
GAJ0YEzwWH7tiRrROrdTE5L4pXNgjf7FY95hQPtmnjkbyF8es6ze2HX+0FJ+Yi3deC7dvHbZrj9B
mNBcX1imapMex/Gt2+xq9mrnu/594Zg2yqo34olgN0P1rKm/Wtzx2+K1YV2YR+FsVssRxF8VctLK
PlTjSUskycat110NQoRnxDxTgBhDQYjYESP7XlZI/73QVyFJA8QG5A04mEHWeiPENBjZoJfxbGY+
bz8p9gz+awa0wKe2PGsAcCAN9c3irE3PhYtgQU4j+ham7JDMp8o7txrzm8TcUhpCEnxnxB9pWfjT
QHxWfu6rr4X52sul8LWC22btnFlK6Uypb8/9J12NH+LEekdLT/K+sPjG1azYeMaE2BZoqrA3btLV
RO1aEqdO9cXlj0lm+G185gAGGBDDisGwIHvUFOPkIuO0aJ6BfgS1WMsSzoURYlRFzEpcMjx1O+nu
3hmmbZsNkqr2tTO5GI8J/jAosmqgKQOX7fL3i2ugjt2GI05VzxZoXHyX6FnQ0VniscsSvEzdYsQC
wAFZ+CL54YDr79oIS2yaFBA0OnOQGOtaG+SJySGXVhyy2jnfDyFCGANkCYhXYP/ARgNKQSyYMHGW
rrQD1DCc3zzDy30tj9S3C9hw6bd6XR7+2xguFkjdIJMG4j2xRzT3ShcvNqDYgDh0OLdDABBTaPex
JDZfOwPMLBimRTQJVOTg2BFLA7rKkLhpABQ1tr2LnfjAJhKZbbe9P3erZgzMHshuNCAnha1ktKrK
Zx3AGhBEhD0rD2ZS+mkpKzULiFrkuvA5kIipLrj3TMCyBH9Is9Qq6gWgDJo/w9p58zcLRB6gWmB9
eRj4Y06+efbJQEvGZJZ+q70lxUeQ7EnitDBa4Plw/0MiANUWSKoAuyR4JVPrfAYg4YvTPCdD7Vdk
S7JXVQyBHwJhIgTtEEyBmYfOrGDDdPKhRa+yd7YBhkbTXxYk1qsa7WECdxgc2UuoBqsl5LWuh9HR
XKlB1Vl9ySqAU8D/pHeOJPRdzxQ4nbCRNBD6YMkwCqQH1yZwEljT/5F2pU1y4sr2FxHBJgFfoVZ6
tdvddvsLYY/H7AgEYvv172DPTFepeKVo37hL3Lie8KkUqVQqdfJkUmD/5nO9SQYLJ1sR9LZqnMR5
mADRUgeMAe8z4PBgW8rux0WjJSB+/8jmeWPwwcE0RXrfzOmHqlf2P8lgy4gMDNMBYQ2IUGmUwJp5
9mKvazgmddqpdkimGkMAizTwKv6jpunGZSjtt4bxUpbmz9wqoGKQJBi61ZfkwdHENy2l+zZv9C03
cfRc34fLJ3uLl786KxflSBcaKrhxQBzxfL2HBJzGWRg6dHcNtKbq6VPc0Je6Tr4UTf25os1Ww7ju
65jyN4bK97IVXDgS9DAhyXqOGYGuyDGIHrRpvYv8JBrsbaLFXycTxJDrSOcpLayDfNzCpgV5HUYi
CpwjQc+DxZZwq6/u8towHgftQzo+JTzIO8Xuk/i1C5RjLjKPOEoRm6EveQ4FddeyMudW/+gZs70l
KfcO4EfGEPKwmk1b5Vt0jf/dNxhY2uvFV6eOjn3ijuBQCgjhs59oCOPB7HrjFkJquc8SamBetKnS
Jr5YEGQTDgTGDJRBKPoMpF9ZOXmbMqhZfMwtfUNIAiEI6xsYjttiokFuah+vr//Fl6ZwKXiQgzMS
e0A+jbHxtMmA7OZHXdOg0GOkdUz9snG/Ehwxii9wvsuwrwg67nA8godPdaQBy285SS+gv95wavP5
UAx2tiVuZnzAvCwMbc2aYd+Xo6vYOedLueAtGwbehdZGNNzILw2j3hZj0nrjoSyaBxGhsXXsPxZ6
e5za9gHVxi/vWcrfcEjNlukZCLEXOqwxNLEzwu3x0M3RUwxxtZJ0d71eb/4AxtERrAC06JaeryLL
h97pemfE8CPxQDXybAkRsNx4V0H2tzXIY9ASCk4tuRDzmnWXQdcJOXw6C9+a9FvUGBXp5nL3eYts
lxBSZDONBnpXvBsPgg3VBrLFf5d9vsmn7mWqK22TTaD08mjgPp7zPl9fROla8w82vBH9g/YyhkK6
lxUiJyCJjeOhyYn9jLTavpmSIYQmM243jnYnrHoOJm+Z4Og4G7Chnsox2nO0Z/FkuJnB0q+i4n7G
uEy3Sh6RHm0KdPf5UwPR6iql6C9FPLO1aQp0o4SkjiiqPaS3/rpuxvnuXaxA/oQjH6qEhgM6+7ID
TnYUqyo61Xk5Hsa+OXIS76AE/LcHiZLrMJcb1yV4cMDECcgwY5yB5HJ2hpYg5GjDYe6TTVHe6SAk
8/gLGm4Up4H08PDboF8XEFw4QTqRJYAHEdF6RhHsMMfDhnlfnOFHRLnpexi6Q/h3FBT9LoqCKoWW
f9U+xejzyox2U6YqhdNL33SRWyP84cJiGchAzld2htwwix1ULivMbGaO4Rfs2NRfrexzUR46vfaT
WkUhkS4rv40H2waXI3QkoZVGWmanzUg5uAmuzdvik7Vp9hhX6vmYSh2gtfxQvU9I7xJOOuSzFgXZ
KXH6A8VkBByGJuV+qX114l3xvtfMX1CIVL90IA0c9vLTC4YHJpM3YTVdVHH08ikuv5vp9wyNLfGk
iFsXQR/hnkIQjqL9YOlnlxYxo33Rw3nE3qv0oO6MYzWSDbeGp8FM90gMVOnZxRY8x5OZLLMdeTUf
R7HX3b7xHSeLAzLH1qYQrUrjV3pYwjIiE8OBBi1xjI7HTUlySt3UsHeiVOz5F7HFOHK/CZz7+BZt
+oF7qPeq6uwSf8/iswQnLSUWDSPCogRLqQW2+5Cruhql0v1ij4kAjAYR3FUgIiy3VOV1BnGosqkP
ldZtihrBmI1BPFfPY8L9OfWCuv8+pXhKJZY/uaMi2Jwn1hfocr9V0lQdi4a2PrhFvMv10CiTcKib
jW3+rKnnp9w4Xg+jl64Jc5FaIxMhuLnLZ87cmmVsVGO7H+2/RJFvSINUqzvQ/kMxqILJRcheMoMl
fhkuroO40pzHL4/PwiZe0e516HMXmKmkN76RHxMV1fpiEXHdxAgid0lVdTT7WOc4HRuLWOiChHqK
Uh+pfZvdeGURWG0apMUtL0tFUrcK6FFcoilSLfQXnQNWri76loou7CzUI4D/VRPerujI9zTWjgkn
IZ3091G84CqLlW+gcg8Xpmw4ejLlPJwL9hDn5Tat+tfJqRUJ8sWhI8FICZFRTKVdWzNMQPY4dIjK
5nMftzu0HASVKP0xerG9+l0l09+2GYiV2I2Yv4y39/MFrfW2a5Ii5mHmuttBG/deR/d4vdtfd/61
73YKIzmKYHjxFc1Iwr560Je+Qc+vE88fIt9E8tRoX67DXcQuLCXezzBogywt0/IxYLCkLeoOcoCM
ej1KjJBRRg9Z/XQd5WKXSSjSLtN54s6VzbqwtHRfUF+rqgcL8mbxO4ew/PuVUHhB6FiaMaWvFKdG
VtZa2oRNU984dNgNmvloO82n6wateSAemf6DkTxwZiVUW9MeX2l0oD9oBUV5y0QWFEny0TI/NOkr
eA2KOKzClI4ZbZ5HdIhN+FQD35V19pxiBDTe/VHDd+iOzGw7jwXOgHpUhJKLoxtfD9c0Gw1+FoQf
5DUdc27kuF40Ia0yXzDhR9pXTaWSsgqCJkgUOYmnoyZ3vr2GMrFNaN824Ww6B61Ol85Y3yIqdYk1
f0chFVxtAxd51DnOYXg/RM68+AcqcZvS8r6aNO7+YL3AQAUdCEVbaLtLobc2B5bnU9GEnIkNKcv7
fqQYvakiY6yt2AmMfC7Hmu2USRPVYWXSrUHTwMjLozATRUBa27tIDyGqgMnzi+jR+YrVkzYXMy+b
0EvLQNj1YTa1T92o+xZNX67vqjWLUMdEPQ11AQs53DkUWkWsOSMMHyd3D6z+mGEAYWkp4viqPaYJ
f0Y1Hd2qEkjF87IZ58wO09YMbP3gudAn1u/UTWmr1pwASQuH7no7j0dih53xo+3Tm5Fua2fYZx7d
1M249eY5MHB+MT3buXPkN4whAXmC+XsSt9vrK7tuNBweBQpo5svFkB6NzBPCPwuT2dhQMvgVmvSD
SQeplMc/r2Ot2/0flvzUqpujlhAztkM0BPudC/F8nTx2Sav4jmsH5RLv/zFJZsLZOVrwMp7VYWy8
kgEn5HDXaF9FEgXEvImt43WjFAsoq9LMw2gibMx12BX6Fj9rX9v1s21OftKphq0o1k/WvqrdJB/1
jrZhbrj0I6S2+C7jln7QafHtfzKKSFshz0aRex6M4tO9yO/pmG2gO2toKk7rikU2xASQYGDLQf5i
+ZQn5ZcyjQkrBTyixF2lTSa/tsrAnt+nPf3r7D+BgdTtOYzneRkcL4U5mqf7calpPoWsh5kLRUi8
bg+adM+BtEIMKEvkdlj0+UPZlL7hjS+zUNFYVs4qKNBjfhjqs+h3t6RzRO9BwdFKg4Vd+4mb5DEz
2KfrDqBAoNKK4ch1RjeK6xAD5fxqnD9V3Hi+DrG6Vm9GUGmtWpsl4CtOPIT+vC+qvcaizdwr7FhJ
jU5XSq4I4R2K8VzADtLaOzYdNS1+trT5TpvLUJQepn3VYZOUimvISkw4Q13+/MStR1xDICSS2qHX
f27tEG8pAYbnJoVKGUOFIx0kTkebvrESO3TiOvAY32pZ+kgK6meuSmFzFQo7CXPeTDAsifS1TKND
KZW6LDRwrdqMjSb8dI700NKy17IwqaIIpYJbnOdkBQubZjTuERgYSmtj+5QRgQa6h0SVWCwrdFah
wfQlsBr+M0sKQB7lcTagHzAs21vP3Dp4IM+bYzyEFV6orvv76pY6gZI2rZl2mTMUgGoTcpMa7rF4
Hy/1d5jDsxcKoAsRBVfq80XT+gQV9I5YKMIUQTuJTdd5T22R/7huyNrGRb0JvRXL8FRUzc9hclrw
GZoUVljPOFypexj5i5VMiod4FYrkAT1trUTQwQpbEgX4ShsDUxb6VPUYtOYAJ8bI7/1FJjAwszNZ
GI0ck2a18abK5lfKyWvZeNAq71QK4gpAud5Tcm12RzwVhjN6nq2d0EANrdG8Nxw0ppAXVCyhvGfb
bKCZMcC2xmoxtr36Pk3ZtjZiBZ9BZZH0pabWtXK82tuhhVE1gqKo2rh7dNvsxhQD+uz3tT/94+U2
Clfu8kho6pKXC+qOFUjgVkhy8NqdfMtAtNVic3Pdy9cikGsv06IwiRqT0+QUiE6x3RhuEw4E81r7
rN8xc7q3veTn0KtYwwosVzKpxkxDPObCpLp6nUa0dDqBzT/Ms4rHu+oQbzbJ6Vaq54YnKttCrbHb
dCjy0dE85K5KqWQVhuCOi4oUgSDPYu5J8KY6foIb61VYWbe68ZRbG1G+P+tGj/F/EDItzZ4nQcFV
ZGHr1P5QFGAT2JjFta/Kj3/gBidA0rln5cxJpkTn4aiJvmO+O9NpeMnNsuysoMYUZPYTeppJ8+E6
7OqeIuD4mRhmBtaotKdYXWBsfFdZoZnGu6UFIHc+sypxti2eR7Ky/4Piog3+GKZJgDaBB13pcAK1
PE1oO1dhanzq7aDTbhLnUzI9pNbGct6nRvrPDn4Dk198LIO7E5/sJiwLL9DMASG+2OUke9cEnQsY
uS6blG2jM7Nuw8T9ZjRxYMzDXmRZkJPC76mqCLfq9G9GWdIXo9Bsm1Al4aGTpUhpk03jdDd1mipq
fSoYaW/V7dTGUB2zQq7TbSr0gGleEPPuf4SRIhKGdfAhiWYrLFoN/QTlfSYsEJHNw3U3X8mJUNZZ
HhkXdTCIu55Hit7trLap4eZGSvbcm++MVt9dh1hZsDMIKcNLDIydsVhqhZGhbyK93/Fpemjz8ud1
mOWvkRJJKPUiJ0J5D/+5IGESzDf0WMJCl730xmNiPbf0No1Cs/yKKKFIJRVgsq/lsxfVEy9YSLMO
+7PaDWn3wUSVmXXux4zYny0BQb7rBq5EpFMDZRm3KtdJ5LqchXnnBJxvqwYyEAZEe8jBNRU79xc9
7spqypnsXBjdzKO8DUFfLBf6zPCI/jk/p5+15CHCRMwmfnF5iYGVbRCPNy59aB38U5aJHqkv1+1e
XPDaT5H8x8kdTaeL/9C4uLec1sfl+8ky8SCo7K9cddU3H5Kv9bGWVFmaljzsvUZPfNcSzotT69ax
1wZVh/eaC5kWCAUEZXWQrqSqel0Nw+jmDXLD3gzGMQ+K+IbjrkUzfat596PqorW200/xpEsDqn28
RQ+iGbZG84VH1ncW14pdsfalTiGko7rEkOaRVrQKteHJsm+r5nNXtT7P/rruEKsrh+QTL8NgSLi2
BNNVRhaPgjQhWvEaVKE1X0+Mz5Ej9pUrflSj+xlyU+9PB9Al8Ya5mH6SUfEkmyww/6oQ6tpG/YrX
OD+PP9rOX6PKujUfBLNwocrajgMW5TlShcRbjJNZhQT85OojUl4mFPXZNVdAFQFMbtdChv2rRfzE
mLkZ2oJ5SA+TUmyyeN4mfakIVpeuAHL40mGyUMV1aNyeWzGN1lC3tEa1oo72bbfTIQBYgfaUmbvr
zrAKhPcc0LtQFKFyVEyqchp6XVThmH4t632jFcGUqqXVL78KtTEBktgQ0tSR90r2jA7vHM0jVTiz
dpN4pPVzLd7Zc/1uP0PCjtc8OJttG6jLnq9bnBRUGHFthHn2eXQxQxcvIaa+odaDlhSK7Xp5oAAL
6S3KSeBYmHLKCYFjz+Rok8Mh9jm3H0s6+U7ui3nTOap3ykuPO4OSbwt621DMjJiN0NMgmGF1ueU7
ds8UTrfykU4Nkpt/aK21HLchGBQXh4I1QW30oSe4gvQp9bguee25NdKJxOem58tQkLBpy+NoipsY
MQcFpW9Z1T3HJsgwmEqZNeROtMm7izLn0NI1gUITdCwjmFjRQ4upQdNjq5oXuvatcOMBNwUa//gf
yyqfRIeiEF4PPrsejszZ68MUpE6t2LSXNDCs4CnGsqtPMKJ66RBrgUGeik+LvoC7KW6MD/hyizTD
XjUca80xTuGkZLqqRVM5ia6HjnFrNmgHyvyu0RTb6ZL8eG6UI7lFgeqLluOGH/bNhkKFZoYKDXd2
Y2D8GiWVqNiPK6EP1x0w6qA5ARo1lRYRTPoxHsG7Ck08d/v2UBDf6zE6cnACa8rf+YSDcex4Mcf9
FHECIRBTJM4/Wd6CpmL3dhyWdru1vPJYZENglEThGpJRCwxBAg+SLpr3UOWWDneznMEX5mN01Fu+
0RK6pQYCUvxBw6iJ6yeH5BQykvyYRwtS5xpJraOpd/sWo5hpRT4ZEfl5HUZhkPySF4FTn0LWugtz
9iNl37L2uzYGpSomqVCkc2Ms81SMWmEdc1GAdOV8rCkuIVQQnxXe63WLpADxa+EwwgG6emgTBPlA
+kQFaV2nSTwe5ik2UsKdvzWCAup1kBWDFqI2VHZA2Ua/hbRlmzKe2sgV0TFiL54d0K7YRHbrx1G+
vQ60Yg1FmPPQJA65Q+pJJ7uDgbyVNkTekbTNJhfGPW737/e0M4jF1pNol2fE0Bjpo2NSoYGTVRva
FlsaT+87/pbvsiQNC9n7VyeiBNNCq5wNpIqOvO4De0wOfYMZbOD+X1+wtS9zAiNPSYiTKXNNbmvH
Endfqs3oTHXYj1iPy8SvMmt/He1yl6I5wESKYsMV8C/J2XgPjuI4N204a+2u7qe/zAzviOx9Umi4
fYGr75hoscUaojFFnsFqVeDKlm4ZHY0220baeEgL7TgZKsbOpbMtMOh9BQEOJsldaQxDIdtxcFAR
G5KNUeg/yDy8e3cCAndK9Lkvc41klSreoEhSO5l37M0mMLRm2wnVmOdLDziH8M79mZGS5HHF2rBl
7ue+Ipj/Mz0Mmvhg9appY6uf/19rFj3+c6jRaFqiVbV3RFq30TWM4ciTfVcPiiBw1SLASIfbkJet
wJAP75ilt4mzpzr0w+NdQxTvQauf/8QayZn7ljUYygNrSn0Mct7vK1v/E0vQBueBQwU5/gvdK7ue
HUiItSEHJwyP0nk1bZh1m7N3Mkd+75gToOXLnQQ1ax7B1zO8NjQhJf0TsjJZ5ptt5rIgtSfl7LG1
lUP/Di5EBnq50Wh5juboBZwdV4jjgFaxAhG6FXR3PdKoIKSPk9No0UJM2tA18LTe9HsnYu/L3n+t
GW53eDpDuEGOI20csy9ye8QV81iwZDeY+kGb401F2s11S9Y2zQnMr371k08ziswaTM3wjgx/vdYN
B3C/QZ3XFTCrC2YiH1yu30tr1fk3yWhjag3J8U3otBlNYzsV75tY/jss44r6L4TcwV+KJOeY7YEN
k6BKAck9YZebVqnhu/zSkxLj7++ypNKLwgIaUKSay2i3Rhy3rXO0s6zysxSdaFQXPintACLWT64m
3n1ULy1ib4DS0sWmPXdRj1OtrFuka+wObB+oIjq2Iota9QRc8JeRHB6IT9K2mWkkYqcgHCPlHwn9
4Bkf+Dsbo36v3QmEFDox4ZKXro3zZm7JIY+yD3EM7t2Yltuir44Yvqcgpqx63QmeFHe40Ue1Rsc2
jJEw+DGmcwdGbX3+gx2ENkEb2tHQ85O5yE5MEi1nBkYCp1ng9P6cfCL9t+sY64a8YUgLx4g2JFVD
3aNXorGSFmGkpYodunasuSdmSG42EqdLMBvDO5rMnl41jjGsvu7kGBCkE67te+i/KqgIq4gQ9sAL
DOIYWgHPY0JTzJ42COIedY8fm8oCzQ8Ve0d87Qzj0/X1W/XtRRZl6TRHWUdKDRI0q/E4Mb2j3bBA
eMl2sOYNyXLFsbDE5IvYgAdgFBfBG7/o8KoNK82jOTGPdlzcmearQb6VYtjiediv8aCl200wNe+s
l/3eVG+gMsOnq80ualycRYJz17cbD1yOaVZJIq5+LAdN2BCywbEq5wpGxJchmwJqLwxdT+YdDnSw
1J9Ro1OEIali/9ucE6BlK5wcSKS3u5Zb3DlGCZt9Y9Q2c5I+xla2y+f4tU9adEEV++vuoTBO1kro
Ypen6ZQiEcLUyDjrN3PJIZLlQbjJVKneqbAk+8DoEBnUN9xj2dMjjR9cp3qs0ADI2j9KUtDDDAEI
Cw4p0xLs2pjSyWwJRABeEqe9Qa1EUYFe3VZvCHK3hxhsUcwDbveorN8KZ9qP3eyjRfTl+udRwUgn
UwRCMHL7xD02GrhKTIMyPz80mrW7DrNEuIvd+2aNJ50WZSEaopkNguyUfkiMp8nMCt+EqoGIhp1u
dY/X4RRWyZIvrIxYglo7R0nuQdiPhrmfsj8JeycWSVVGsydjRsXsHKeBFxgA3W80kdw3cXv4E1Og
0oCGeQ8d5BIOEYlet3ip+NjmT0NfbArjbkiJIjCsb5z/QGzpDES5MbOjRkNXoiP0jVmlhd/NzsGy
8w+TayssWnbhhS9giCxBqopWzwupgTHWizTH1aiqm7vWce9Eqrh7r37+NwSZ3tXmeo1e0tI7JoPx
3YqMbRXrf0/tvLn+aVZX7Q1GLsV60NVGRAeMnrU3XJj+5MQ35SJUB/GJ61AKi2RN1wpMSQv5MG55
Q/cxqm+sOH3E6Kg/cYMTg6RdCjKzhkbqAWWRQtwLYW3xEB6OnnGT9qpm98VtZSeAFAYG0OKajzZ+
ya0x9sQYcW3lod2xfe0ZweBQCgVlBKCxPXadsyUFP75/EU8wZXahaTdJzcBOOfZ9hVtM7XdpcV8m
Ki7PSqwzMI7eWOp/eAuVS6ZQW3OmqYVpk9Xf9cT7VjrZvujqj92QHcsyyhWXmBU3PMOTlpJ3zLXY
BDweL7OQHgvIBxrOTfq+6T6/LoGnODJTooeisMnGCMQucJR0Y96J8v1nHhYHGjGY64bedvnVlTjO
AK477n9GPnw32jsPqqEYimf8jzBStHNyz8gsF4cRxdMJ48MGPCK/st9fB3bPrJF2U+o0owWpJbh4
HiP/vq30b331dN2lV2LpGcbiGycZXRyNNHfQ/xRqZv+M02Of2sb7Q88phFyY14XBR9zCcJWI4tx3
EN40ygzM9eO767as7pv/vj502yRbvM5ocRLxkJDv+bQxuvux/6sqD57qqiw/HC958IlJkGs7R+pH
4tUOZiAe00nfJBYU2ppvsZtsI+75pj76XXGENBumJBnvD7BnwNJWnUlrOAaG1oI79pFMt1T/OykO
IDUoYK57xcXtjwm9NbwOx/lgFv2+pUQPK5f9vP65Vo6kU1vku3mXJFGnObDFGx+1YpdG0HVVsUrW
XQICLBjMDtKa/Gg3ZmlZza1tHAVh98347E3RVqP5hzH+ohNVMWh91f4Dc6SL7OwYsZXoNpIg+2fr
lgfIMSkOoHVzlpIwRHAXAZZzv8sE4TPJCh6m7IWgv2/4VA23jf6YabHCA9Y/zn9I8hlkQgalFlbh
HrNMOxCbb3Ag7axUJTG3bEnpFIeMLJQeDJPYLq5D5wYhuukVmhvco4DqMbwB5LnirkqqHZQMFKfc
qkUnUFI0zfuEki7C13F59xfFMvqa24cpVUmJreJAHRccMzzXg9l2blKdFqlDx8E9dtQLO3DzIqPe
Q4FO8YHWVg5EJvArQPoFmGQO0v0yFUXvojac31G33Wuxu6OVFxK9Vrx2nHsdqo14rsN5CplCXCDw
TCzVgrqW9mIiYnrt82dmDX5mPEdWv53so5nbiqrg+er9g4WCCfTQbAuTKaTImiUQ5HOnAUWu6rXU
fjgod/aK03vVHNyGoHsD4iHSrPMPxJ3ByjLMrHvV0q9zu5/iv7rsiFy1U7XerQIhG3bwecAikmto
GJGXNH1dTq8eZoqlE/rAGXqZb715T8T7bVq0UKGR65q/VP/ObSpL6NBomMvyOnsPKX0smqeSY1RE
eVeyUnGcr1h1BrVEwZOMYYTOWwZRqOFVdN+s3q/tB5s/WOJbmquEz87j6eILUBbEB3Kg5fNLsOsc
CSKjQ5TkYnjN4n3XPiZM4WvnV4h//n4X5Ezo6aAzSfa1MW0qwttyeE3GJ838WKEvG+JtugPJ3zqM
GgXb7HzDgv0Aeg8+D+TAljvrhXJdn+r2YEx699pNNzQVgR591XIzYJZit8o7CDiLDBLBIHIgguAj
rZpAI70n6vo1YWjksUTgimQLGRfFUbQK40JBDRUsXMBkzQqwxJ3asdL6lWKAaqI9Q6DRL9tP70kR
fq0ZxPcWbWk0R4ILIQU5CDqZplYCBPTXIOHu1oziQ+95u/fDoALiognOQoFYTudKYaZaOsT169zo
L0Wq/5VY7A7jzt+Va/+25hRGSt6qingaX6xxe3vTC++zWabvqlv9AwED0AqCuj202M8/vj3r3AK/
lb3qIKfof0NIJhc/ri+WvCsX/0Lq8R/E8ucn+9+KId9qz4Bo52jc6oNX7UHGMBSn9cpuOUORvnw/
tDadO6A0c+Uzcs/m0efNbhSH69aocJY/P7FmgvCgw7yIvULX+LZuQYFwNb9DIW4s0z/xMrq00EBT
F0Jo0jGaxx4v6ZzUr1rWQ91ZS3y8f/3UaK8Ia9Lt5F8neAMyz22KTF4Rx4Q7w0eCUuO+Ifp4W/Hh
e+WMr1VWPuKFZe8Vlm+TaX7X0/g/4JCWg84thIzwX+fgpVYNwvY0+6NdiyrgzIN6eZHclWhuVSCt
OuIJkrSddDwV0R6Dj191lqJ5xe5jtHBB9u26g6zFOeMERQqnHGRCNnGDvcbF58FtAjo9aZanAJHP
1F97yoPMCsQU8ZgsU3WNdDCSmFsAQRuOThimNzS+pr/G0TelTN6qQSdYksfXbq5DfxoGjTr3qa49
alXnx1On2FirX8dbdI8Xg2x5QFHvMH1M2cBeq4LsbbTQJ0w1hm5t70LLCscp3lCWK/m5q7W56zUR
gZ93HCyM/i5Hi/nY7ohq8Mja1znFkfaTWdQmhmwsRx2Pjyb9bNAsMM1204l8a8T25rrDqaySQrgw
GubgpGCvnvF3Yx4Lz9v2E/SKXt4Ng+L5co+E+snlCDpe8qRyGnyfcbY2OcdcOPElr0NDlZkuu/Dt
hvcrHjgoxEHfbEGBhu35R2paNLV3rWCvKfkijLsS85t59YPp99l4nGrFCbuydgBDNofjD35xEWJn
fYgFJpS+Nl22h5gWJCC/FoLtDaLKTVd2kYNncbrckCHdIOtoNV1j9qyzq1cne/YYlDU8tHd8u/6J
ltAiLd0idQzxQBP8hQuRTiOHDDQ6y9DJXj3CiH5s/bEK3eyr527o9BcfFAFVkjz+9a1OAeUCRpO0
GZ+qtnqt5kc8F+wm+9Gp7ufonsYiiBPhG+XR9W5pcmMnesDzm1RPFBcZSRr/92/AqCcDL6PLSAf5
/KgqVulo0ipfvYn7Ma8f9PxznOW+ntc7z/uRuAdelxvMwgmi6GM61L6Ik8MYs8AhySYrNhgXs0ld
lbjF2pmKS9zbz5IOG5p7XdmkOn5WqkPveQhmq/W97mZMBt9zxaaGRH7B9Y2DKtZ1L7jwNLTHQWHU
JlDhB1tfvqWwThujzujEF8Ee7fhgJs+1Snlf6njAoksYknVzhYtlZgLD3ve3NEi38bP2QvZ0Vz4V
AVdRwi9CAoizYP6Bpo1+JbQGSCGh0tKijQun+wLRvq1BPibuB8K7vRhuDC+YxkmxgBfhW4JbgsZJ
ikdtL0/HBnBW5QZlcUMwfRvPe/48+1Wl0oS9iEDodKDeooiP5xuoM0i25V7hZW4xs73TeT4tHk0a
+cx4FNXhuleocCSjpt6xusKh+WGYRhHGWTd9YG4DLXDD7Ld8bNn+Ot7FIsIuBzo1uL+a0LKWWRhW
ZfccIoVs37B7fLXE/IZ7GUZnHTCgUvG9LtxjgUKhDnd+4EDw/Px76UPqaWYxFph98jTMtY8B8PvE
eS27Y9q524nE2+umXWywBQ9Ubh3SaeiklMdcFOmU2wN0n/a0gsoK+QoSfFc/vx8D1MqlOINQjsET
5zalxBvjnub1vq52HcY0k4OtOvvWvtAphOR5AgIA06Bl9b7vJlQV9mnWbvvlUl6xTd6rotKa/52i
SR9pLjweGTnQ0u6j5nzVmy9VfswqlS7X2rdBZQZzzeB08AfJKIdmiVZaWDc0VbvW/Tg/8PdRBBH7
8PlPISRLqrLL0SwOS6b8MCevk35PcwWZbtUKTFxChQ7FDEhvnn99UES1iA2AGOgXvOGCb3bXuy/X
PWz1g5xgSCs1cPQ9TCVWajI/Od6u8UBHnfexrTBlHQaSq8tRCFq6BJNNhZFUI0zJzBc2PBgdPdpj
CiaOSvpGBbT8+UnUNouMaZBRQemcf3H1LzX/bhkHN1HoI6x/mTdzlk11gtJnme02MVbN8+5I85mN
n7lKOG91X2LX/7ti0tlKUsEHQ4N0vDMioSkOJLopkgfRfBjep1b7y5Mx1gaZ7zKfCYwIyc10xmat
KQUCGbox00+DfWsPqsN05bMAA13NuLLi3UFuGtLThaaKgwac0xR5EPpfBC6PN9mgyANXVg1XRxw4
6OGBm1mSLSyOmDfNeDnJIIVlFseRfe770iftrlK1DC1/1VmajQzkFEpy6aLszH7wABXVj7HxYliK
S4nKFMmTGQgxo+ek5YFAynKw2k3TfHHNbTvYO0f7+3oUWPHnM1skf7bZlKVi9oqD5T04NDRA+VKJ
DqggJH/GW4bIiuXLOPyus/dOfohU87FUKybVXDCsqDJAsigOKcZCd2gdhCpEwnY0DzTvx/UFU0Bd
6BtMCMw5BRSLHh0RWl25ccqbNP9mMxXNZn3hsDvQ4oSBMlT6NhMlLc9Ss96Tovcj9s3Vu2AyVIo2
KhTp81iZkxAt1eu9FYUWCwfvYa5UBcalsHKxY5bn5yVlIpgPcx41MV24JXpJikOWm8cMKuy9bfqa
fRjdV47ZAIXmbSG7EsTRs6ca3CUN6vgd5PDooC8CUegnlEXr+iRtnY45xaFHm2cNUTkQ+7tlJNKT
LlzIplM/nyC11R8mo3657itrse8UWlpavSnHtrU7TDfJn9x829qYa9jt2ln1Cf8fGz0PHQv4N/o9
ztc3mgy8fGk4ldpttCe3GO6WBWNQ3NMd/i+2uW6VNPXy3xV9Q1s86uQMJH2bop0SJ22ByfI2LXej
9dMq8luIzGxiW9tU1RxY/fRptjH/RzvkDiaaZxNIPD14T53q1yzlrQvfMt9+jRQtid5XXY2BCXuR
BP0GQ9R98exuEoiNHfl9ucOoVNVyr4aAE0RpX5IBLaNcB6Itnu3651y72zKxArNEqVwl1SEJJlwu
tuRDzfh/pH1pj9227/UnMmDL+1svd/NMMkuaSfLGyPazZVveV33653jaf3OvxrCepAXaFBhMaEoU
SVHkOV3hFjmEFefkZFh+Erq+04az73imnweFBbhRyZJuegSgnoCnx8bAqtgW1XQqeEoqxJ9C/6FV
p8b9Wv7eeNc/WoGiDRDKCNiuK2jVNXZGFg6nQ7Jn2h/a8qMzHfbNdHOXrkQIMUGlDM3Sc8pOlP3U
zGOKl1qWOp7Ve4TKRiLfFN7WjOD/ZK3YRLcnwiHJWFVtxk4dqI1YOJ7mi3IkJ/O8r9LmxuCR1kFl
FH5UDAiF2zh95i6wBeXL2Ed8uU8siYjVU7w5TVcihI3BrcCKdRLXx7KtPVRB/GH+vq/E1r6sXEIg
+UGGi17c27VaCqeJwQtaH/PkEZiAnm4fzOmrab4UVPKAvikJ/heYcOtVSiytTAUIlBlPmiMnHyfy
nvBQB1cReoeMSrJqWxtDriQJPogP2ZT3i4FIbfwAk6JngHKcD6OkzrHpCwC+QGzk0YDIEDHONXR8
d3WTg4wAmKipghkrZwhz+0FNfoAjJ5xI4y194w2m5eNsozn8fce/7e/epqZrcREFK9T4xP44dTZ7
A2Ud4C1VH2u8SlbV50mWzW2FTVj4vzLIrYVoo85RU4aMrvneJc9xViFMX9B1LFnPTTlAsjBtrMYa
Om/lZNkyUs2EnIJ8bIooTdswt6hnN274B4t2JWg9dFcB0x3yMrYoMuBp+ZLxJ6d+NNLP/03Eum9X
InQM4LcUhJ1HJfurse+c+ZnJ8vjNuA9oln/XS7ByDXiOE6UVO01+/rU+d14ROA/gHda/ANfkQxlO
pynxik//TTEh2FLDZbZFFaSn2p2ZRAlobmQUyqtPE33etV6Cz+s6vnQqgx1MDFQIpXkAXSQ6VF4S
QJJza/KIIrO8zVMEbmhQNOJB7Q0NOh+qxBw4JLb1Z1J+bfunIpNlKZvWvdKt26AnBnSVYBFkos4y
dmlzpGbtF8PZnO4G3np28VuI+3+HcjxE/ytHsAoVUIldVsKfN/GDqz2sT95u/E4zZJ3Mm7sE6oU1
KQFAjCt4BZo0dpUmtDkO2ud5fdnSCq+rJ/TFPPUII8y1jvuWt7GAUAv0Sqj0op/REgLVQJI2jjMo
lrqLlzUvWfNtrCOzHH7fDUEOqFAxH6YCVce9PbqKPrVJnWfYqK4AX/VxmoEzXJx5JtmojdB+LUeE
PYpdZgHaH9HD7j6lxtnqJBWY7fX6Vw8xNHRVnDuAs2yOTb14dHo/lXdN+sSZLVmvjcNzo4dgCCDf
mPqEQU6ufy7IX3lReXlPJELePm2u11Q03mAKBf1qAJe93RU8/bgl6brmqD3b7+1P9oGGaUB9I1Aw
Dech2z9lEnvb2p8rieL+2DSvbSfvG3RHfRvBQzRIQsT6xYKbu9ZI3B9cIiqtB9bR0XwP8PvjGNGz
fSEnWYPUVpZyI0fcH8voEq2GHl24hBqoYAkK2BEa2EI9zA/Wu3GS7JVs4YQ4DoKMxsBza3NMK92v
nMJzieShe8vkrrdGCOBDNVtFvGDpSufE3J9Z66fSEZGNbPVm2QR/3Q5G3owKZCgnBZS9Z+2gBd3R
eXi1u2Md5sSriEeC+ph0/r6nky2g4MKBp6DwfECM7WvdL5sUsz32YV/E9go6mMFE3rg2Qdwep3IY
gO6WAZDI0B4JibLy58Cf9kVs+R9gqP8rQtik3ioM2rYwA7A1+R05VJ3j2ag7VEwGOL4RinA9xhgC
bq5AXBK7TNF3hb4xDVtVxIVnLh/R/dCChYo34awfe/p9X6+tvOtGnLA94OXVqGpDXB9oh87rfB6g
fS2cPfXZPVaH7EtykNHnbh/iKxWFtIsUemenAxZzuEwhPRUH6wHvUAAp9tITiZAYWaFEy9UtvHFP
VxKFLKxthmkcDWjZhcNHI8wO7tfuk3oAfXRkBvHXfWmvs0JvpQFwf61y4DoqOKmeF0QdF9gjGjMO
+Un5rt5joujUHStfeUce1O/Gp9pTP9R+eVRP1hOJTEnj7eZxJ78+QDgQAzXStFhdyrCEhXGe0yfX
ftSnv7LfgwV7zc9gPb8ECcdiUCs2lmtYyeuHoX9fGJJb9usM0d5SCo6LzkYLpptVk4txie+TU3mI
A7CMF9F8GX2UAn3Vq+8zn0X/H3a6fRR/aSecDVPrbZVq2Mfyk/WYnKYjDen9U/yg+Noj92vPb360
2MP8Zd9+3jbArOnB1aoK52OaBzSqrv6sC81PRliB7xz9fR+Jp3pKkEn883YyciVNOBsO70sEICxx
cUe/JrBSHvv8WN01d1qooswEI5U4001/jb5SkFvjGR3YZLf+up+MrhiSAvis7R3Ro6n8PE+n/TXc
FAH+bAzWYPwDZY1bEUprgwW5QHkmNypvSp8tNUeL2B8kvYZja8ZaTUBJU7CPKenjoV+TkV657+iX
pH3eV2IzdAIWVQMAo7MCd98qQeKqUrsEtyw7Boo75fc9JjX+mwhhK0Y8BhZavEDEkgIGc740hQzk
HHntlve90kNId1EEZuOsQwhDeTOsVB0oaEWdBUCfrc8Onof8sRubSK3LxFOnsvatsqJ+6SzEy3NX
DTGBNVzokuZh6ybGMW808xJnCQVJcgtshyGOp1NWdiwscSf1jdHR/B4wUSc14YZHMkYCzHcxf2RD
e5/rVRfipmR7qRrjl8k0lO/csXyZGbGC1uoT3046NzQyyn1rKoeAW3PhM97YH/AGVDYer7K28RLV
KH2Nuh/UUUXTEdOs/sQxQHjSeA3OzyxGy/RSGGGJbrZw7vPRU8da+bak2bvCGWkwahrzaaoSfxy1
4a5pqBUs9sgDwNRRb8a7XeXVnOOdobIwAb/E2uSD9Y557lCwoDLa4t5M6+FMG22+1CCB8fIK/Ydz
UVenDG7reZgzHtBca4PenGZg+PL64Ax4PUEvdHOs8sw92pywB5BWYTrZ1dN7w+qS48CH5KzPnLy0
TRsHVs1Sn+cNUHM7bvk1rAWa1OUMEvMFA2Q6WONcjQ3rTE/vOcwlAS0rHlSY4gd/PN7flGbOIzfW
FbBYNG3YpxhFrrMue2da6nxAEdd5RwD7+oKMyPF01s8vs+K8zGhCPzqjwv0SA5KsVF3v9w3fXCmg
QKsGskURkEbVYoyI1Ry+XXkfN5qHNi+JhC2rN5HJYS5yZW8Tm1MmRgaM1WCtTXbIkHXwQzF/2ldC
JkJwQGaW2OmoQURPPhrZN7d618uIkmQiBB+0qB3GlmMGX70shxTHBrfZi0XrcF+T1c+Icf56sQQ/
tCxT1kyrJhyDL/FflfopV84kQzqKY+7KkLvXdXkjDR3T6OKCW0IR/9axWoPuUnOCQ8rzF55/sMwx
KOYTEIqCfa22HDhE/J8c8T2/cGwl7TodiWAyB3o9B6zMDvsitvbHBpYcgFlhaZjuvFWlBzO5hUOK
i8mS+4xmuDLMPk9lXbIyMUI8Le0cVeDVmJXuvKj/yxXMG0hKPFsiHMzvrXOja7+QYMyuzlUTSEco
8Zh1643LZPozG9sndyrVL/uLtrX/16IEo05IxZLexb6AyJNOd3Q8K/SsW5LwLZMi2DRtSU1RU0Tt
Lblf0KiuWWBHvstkAyGbYjBogH7E9fVO7EpMu2kZFb3G7beqfJC/4Ubi5wNw//7A2ThXcoT9mQ29
TJrOaI4qOarjBzzRMxmS6bru4rl0cFfXQHMJngCxZ0wfLDvlCBPHqqeHJvtRacTL6oeyedfLWrq2
rM3FqA7+eWXeEEygNYEZ15otSnAYh85oUCumR21JaWfLq10LESwA6CB1NcTQB8wO6LME3fdnPTa9
rvo8VCcnNv4g4rgOkl2AmxMXLSm3voB2FYrw1GmOevbFHoDSggrpH/QOA88Uo+oAmiVvIXPjPuvV
yYFKKM0HlpsG3VIFMSL+/gndsoRrMfqtKlkT692s281xAaz1AhZSs0L3HU8OKbGOeYXkaF/epjlc
qbV68qsnriFelCEHVjOY5LSQdXaYWcuF9DKgvQ0xaCF8JVZwgKVrCjtkT1qnVWsm3PVPhD4oyh1x
PuxrsuEObkQIsc2k1HLzEomNHoPQNzlWxPEN8rPnxz+RgwkQ4A5jHui1yHO1YiWPNYtOcAdmd9+N
j9x5lzSnSpeNMGyvmL1WUdDLiYLK7cYY3MlKYkEdE0Qo9r015b45yh6/N6rXWLNfQtaPuNLFYYQy
x8IVOOPtk9IBY9Gc1Y88ix9dO/mSF/n95MbPBW4O+2u4qRzgJQClC8f6BiqzbRWlnVrEITYCGcGK
l69L7DSYLErN37/nYTDxlyThPJUqRhj6teRm6wDTb8umPffdlEqkbOpjawQz+CuvlTgdVLvppCTp
iFM7sFABICxxqpNlJoc/WLYrMcIpMovaabMKYmbduYsT+tMp1FOsGy/7YjZP0pUY4STF9dQqmoHd
KWv76+wYxy4FBvHYGGiUdCWnSbJy4nWEwM0B3xyyWuC02Og2U8kAzPj69FsqoeYCCD8UJTFissYJ
cYOWFebItfI8Qj/mNJ1rzIvNdTRQ2XuqoM6rnJV+2VzBLEw8Rd8eqDG2SqXmZR6V+gOa+byOH+go
w/fbFKJjitMCGxiw6QUz0ONBs5Wm7yMtrdFiTh6Jm5zqsZdYmxCKVl3gd5CUILtyHSD23uoCYoXC
qNS8i4z2UM13eK/Hdc9nCxilv+3vzluF1mkmzPUhRKD+L05mrKQlXayRLBrpl8l+YAO6ymToEqu/
vEqxoA0eucEC54AhEE7bEhbNzRXaKwZkDPqxigFOJik9r78v/P2A5IUUTV/fnEXibSUzlBaDDG3U
NVZQg9EsW/Cvi9pMT/xiYZ7qxMH+sr3dIFx71mSEAJfDxJD37QaptjJr2pDlUaV9AOqibnGgHP0k
hq+2MsjhjdW7ESVcg0abV0vBVlHu/GQzzXMTWYIleJ11g+Bz3FcXiiKwmMS5TqvUBpBgoiadjo5C
3hXzcpwGJUT7c7i/cGKh+VXWKz4hUhHgmbzp+Zr0HER3RR4ZqDC1nnOsD1mQI13w+4+63x5lr9Ab
Bg7OnZV5B8d1VfN2p0DuwRXXmJsobvHkeexTh90lNrUX9C1naJ/bV2/LLgg4RRwM7+FMiQCZsdWD
EIxDO0v93OTRgg62QjO8gkRq3vxe5Pt7Ja9kCceqUxdjqjQ4Vky8HAwjiZSKel3CJANPWwsIhGYM
I9oroIVoHDReKhByQaWpsz3uDkCdrjx3luVDMjGC+67nkTizzrBmCawiuVQYDhhzibfbMnRDRyHT
AbwoKLHXj7hKukwrbijQQbrIrR77FA0qU2AZqTc6shfVLW2uBa0fciWoMdu8T8FlFWnOPbdjsHA0
Qfp7CGggtsOxBeMhQivQ3Nf201shrT5lWj1XbdQ2k6eRrxbKodocdLIZsS2jvpYj5MO10/G2zec+
coGI2gK5Em0kUa8px4x+anv1tH+EtvbIBJwF1AKbB0a5brUCRL1dD5h7jDoTEOSK+qSCMMdplMNA
8+O+qK1dci2YNTrKcLm0BZtrc/BSt1XXRbw41G6UMY+mh30RG9oAwhaOB0cI4yKiQ7Co7qALZsqj
eFQumG734TX6YErvxiKVzddsxMEbWYJDmCtQm4ylnkWzOqdep+ofc3sKSK0+9CM6L1rNOQ6dzAtt
hCdUT9DC62LT3g6oZj1bHN71AHBPYl9pho/ATZBU6Tbs70aEcJjsSlfcmHbIIFtl8IwOPdZVc1HL
4V2LF4WFyQoBWyq9IjICHE/FKLtgFjyra3OsljzqMzqfZpcPAe5in/cNY0upKyGveAtXHgL4ogpf
Gi2Phkk/Zyk9M7L4GIwzqulDkshKtmL/w+orkMsBdMCFrzDA2XJ7qlpjLDCVRLoorctI72OfKCBO
dvkz2Eu/aknu57X6GT3fgZZqGADTwtmggasPz/tar0snpGruCs0Gcjf0zCBG3n6GmaTUHKqKRnna
BxnPfVInB5V9TLMO81Pjp0G5V5FL7QsVx4lW5QHBg0IiwhfQ50RQMItRLTNLyqJ0OdTn4ZgFILo3
wjmsguzxDxKOG2GCt7QIeFPh+fPIcQBlZBehblwcVTZHs2GjN1KESKZm7sDSHlGZjn9Z+nOSSHLq
DfPEhAH6EIAshF5icWZGqbTMsioEMJQmgtS6p9m3pT2p5pMpG6bbcMJwwHh5W5lPNCTTtyZRoTFn
0oGqGeUYglVAVdRk3EcvMUm8sihsmTFIxL3pgh2rmlis6yO7Nw5W+4NN9clJ/iCbcfEIg7XTMB/4
ZuAdJGJdl3HGoszqJ+r3TjlUfgGei5/AtDEkPQFbKqFUhRCGs60jzb1dQbVC2U0xjS5KVMxYYhQ9
LfCizEh5cuxahsmzEdBw+0XaifkgXB3FG3A1D6wdyqSPFsOJxnm6VFQ5gy39XSMF2tyy8WtRgl5o
f8viRY0RWtz2yO3sWe8VWVf55tr9qw7eTW/Xzhl1t6smpYssewjHpA4drQ2TcZCkAZtiVlzAVwgo
gMPdiinbIWHZBJqTWI8Po976oO84TbMMEGxLDKosgMqBhwf+ruDlG3w82vjSJmKFqh44AK6Ces5t
r1Tjv/Z96tu9ATiRBogXAoQiYNgIMZmBTKjX1BjhKyv+Ykud+3ZeLeG+ELFPCI5bR6gAwtQKuAKs
KUGKORhglmKMRq0eP6fGz9o6JrUbWuhZH9UgKWa/ipU703hu2de4eJ/Q2qut38/l16k+Z2UhRFcP
/vd27xa3T0xVyVhkV31yTC3ShiOe+b0c903J481GpIIsBEighVmvwHG3stpkcJMGjLdPXZg+6AEN
3VD5aR7XrqhY5gnfnmQMEWMSAP8BNisW+lYWqcqlz8YyixQAFYImtJuPrKvtJ3SgfG3UVlao3RSH
SKyt7efIhoUjYE1VwRe36SPC+kc+ToCb0EOgQR4yPfntKysKQZgQQzfrmr6J0KyDOzdZ5yJ4DUsJ
Ii07YOZw18UySp63+TbEYFQEBU7wk2L85XYBl6pgizGk1hMy/DBzdIAq5b7bUa8q3YM2UH9gs2Ty
/O0Bh0g84+Dxw8CgjYg+Mc1WZfOswFUMYI8mdT+PDmqDZvx9/+Bt7BWqW3jXRS1ofRsX7mB4OFBB
U40mGrgpx1M4OEzYGOZu7A3T9LQva8OTQBagqFc4LMyzC6vYZa5ZZCoyGZKNX9ElMR5wZXIkN71N
IWvHHJC1MTIvUjA4I/K/XEH6a9ntZ40w35l0We1nY2809UqGUBMEDUq/WNzNomLpDY/VEzq96pT4
ateyw/6ayUQJ+zMwtdYTneOGQssHRwELWeu+R4Ir8b+bZgDUc5SzQE33pqNxSt20n/iAWl0CWuw8
4Rdu0bCwHOYBmkSWpW/uEaKXid4odLDoq9JXNyIDOAJ9v3RlZHT00LXfi/qM8QGvdvjB6twgTy9m
Xtxz9T5uo6YLcif29FSXfIXsIwRr1FsV7XKoeERuF07zp6p52d+5jfonwibMhOB46TDH9QOutLT0
lmht3jRR3nr1uT4k4ejN9mH057AMy6OUOXHLVBBJkBIQFCHg62/l8UGlRmMwXPwK+8eCANaT6YGP
sse+rcgFvX7JEazfUQpiWyNKa6T24+NwTEIrGApoVYT0IGOflikl2P/Udmadwl4irdX9uCmOsTIG
DZFBuL69BK179Usn4baaJgM4u3Po1Grf5jr1+zwFQ0eEC57ndJO/bxlblnctTDCMZsRcBitQZUtr
W6mjgpSTddZKM5+CfUGbi4c6ANqgUV/DO/CtRdRpoiYN0/qoGmkUc9UDmvUdUETCfTFbzgPBEexk
gGB3TbEdepkSY+EUoUoBJwyYVb2ySkGLZfh6skjc4aYoZGYWEMxVdPEI+4RSmmMwkEBGCk9910HJ
3fYU9105S9KzrZXDwv0rR9giWIpTExBzRLrVh0OnHmbcsWqHnP9g5dw1BUSgRRIv+KCRoOGl6Rzc
vWtzDkqt+pCj3Sp07Ya9t5dZggB2a3dIsNEquuJLuXjMwgXyDd5obC+sUUCpMpeOlwOTqXPz3zKF
f0SgnRwInii9u+Jget1yjeWt0lzq4VQO5YUpyx1aZI91bT/vL93tif1HEphoEeaRqL8pt05lp8+g
+2svVvvU1x7udXr+P3u5UP20L0jAQ/1HEhIJdL/B6t6MIzejgTb2xFXPOh4c7bgNCtqe0rzzOMaT
URPzgNQf6lYTzK6M+U2IIX/L1nHfR1DGxPWbJ5mpKzSAvlr2eUymp9FBPdkx7+JFj7jZPDHyRBM1
zEh9KpveS/GjxYDj2td/y2pWgErX0IDkhMTt1onQBfQaBVnaCx5UwiSfT5kla5e+PW1/a4knAA1V
Qty8cG+4FWHFCsD8q9o+u2rxOcumIFWqh7FjktN2m8W/EfMGMtnsZleZE3K2QRhSYjS6tXRvAHS7
YtU+tY9o6pSs3aZExwHRAugoAb8orJ2ZmUaRTeBkqrgZpvSzA2Zc0gDfwsm9tH5S815y/jZWEi3S
qNWs93UQzwuxmfMpBfxFa511dJ6rvRZ2Y/WFt//bN4mNs3cjRVCLZ6ay5NxC0HKBBb1opywGOrRR
BslSR1J+ZqE28LpvEIcWJkD6IMKIA811XLpNxzpyNp+H/zmX7hgH5KH7np/JofdbPzm4H/b1u40y
bwSK88wkRgd3NlXgVqfD+wGrOE3uh17VD+iGlViITJSwYehfyFtuFOTslD+N7qLXL20NpOWHfYWE
nO1vjUy0vKIkr67X8tVQr3JRSoe64lzRzuNhCfWgOiKpATzwsQwBEjD+gRHiyRU4szB58JkIUa2f
yjYuUKeEERI36AlaDeqlGr2WGoUkTm8qBnobNDSgoGxAs1vFdG3gTVfjTKeJolaBVmBI5xm58UxP
JSY89OceV3VgG7lgRj/2Q1Ebx2xI8QRouLUxnWqbKbbEzWxt6Xr51KD6uuLCWld2NTqzkZnneFhO
YELxgK310Rocf6xkM2KbRwPACwh/KE+AA0fIU3IzTdCeb2s4Gi045c6vA4wP1afqjocryJYbVC/7
pvRGu1f8SBAWvXbSQ+TtgqsLj/s+idml40VUJwDd5fTRTmcPJZJgX9QbNyOIEuyIJlxVp36cz6T8
4eL5b6jAyg4eeOesaPpv5eQ4IGtwg+NccZGRvIgPRwAYiM3CnaDW8H3oeeYVKukkZ/1tNBeECHHO
JVk1cd1ml2GMh2COU9VLDGN4pJZ6cVs+B7xqn3KaD/48NV9oolsn1Hi/FFVeSpZ2Yxdv1BUK7kpm
Tm3PFHah2kWngZ26XqPcc0dGCv82eYLKAHNHVzJ4k1bi+1tzwRhEvSR5Mp+Nqc4vacbVo0Eo8iiN
fqgBLXRAjaD2XECfPtuUtsdGV2RXyA0zuv4EkXqYpmZqgkedXZoyypwLxsu8ij/o1GeDIbGirWW9
0lbsJyZDChblXGWXtrEDmnzQl/HnUgJlPhmO+2djPdi/nlf/tlewXpkrAi5mRMVBfm3hSuamjF3y
0fbjPH+nOTLfuqmMi3iBfnw8jovKDCXu+FZZswsaBz+jrdwD5vbDUKhhw2QJ4LY2v0QJLhMjSGXO
E41d5rmnK4uyeVZM2Y3hTW60miJi4MoXhiuKyGNRabDyEZfsM0hNvhCzUzHZOLzoQNI67e/N9sL9
ErT+/CrYYvxHo20/s0upAB6uQoXEbv6KLcsv51FicOvCiGYAHgsMIauYwsTj960oTeuBXc0zdumJ
BXDiwc/H+478mLTZ4+lj3UtukFuagToMLzTI1NdW31txjpLMSqbiKHXO/JmVhl8XXRUyMh+MyZSV
CTd1uxImLGPptDZJcwirRusc0/5DnRseGn8jIJ/d5byMqGLLioJbvuJaQcFDq/pE+7GAIVLc7wD0
7TJPM/NwcC425l/3zUQiS3xtAh53B4hMwi5mSU5kyV5swLhSzbrk6NEElTN52pe3dciudBNHuSY7
X2wHWEqXouo/cbOKWKZKzHHriF2LEM5xXLcamWMTLmO2AXvXdV6aG0GFyCBZO4khiq0EQ09yDNlB
kF5MH0ChmS2Z5hF7sbwW5GPh/sJtaQWXg+K49goHrt9afQw8Tt00W3ZJGPf7pbkDINHklabDJMu3
ZRHXgtYdvHIcyTz09jRydrH7JrAq99s00bDvtdl3y/4E7ElJO8GWRVzLE46zyxxlsNC8eAH+vE8a
DM4bspmAzQTgWoZwijFVSDKMQiNQ6dOj6kRtzg1/xARezugd3sVf1LqofbM1gRluff5vGyec5prM
OohJO3hHUOAuMeblY/fRRZ+LxBol6yhmGBh+txTO1pNcqSG6XPxUlQFpSGxQDMYYkS2zykBm0Vjd
Y5U+2+Av55j031+wNVyI4eRqs0TkPcMCjg2S0elsl+URBG4eVxXXB0Twsbe4PwCBZbE7NVA4mM33
JUtMX3z/d42CE2PCEur1Y8HutIZ4A/p10/xdJ7vByHZLsIrcapuUlA67LPb0aHHHnxzlsK/NvghQ
5Nwe5HwEcRMtcEmq+yJED1LoKjJfsW8QwFW9FWFUJVOsFCLi4YkXmp+bH0ku6zPdcrOYs0CCicss
UgxBSBZbQ4OJC3Zx6yw07CAz7zlR0a31sr9e28r8kkNuldGNmPeNtXpYLT8YzRIYGI/z0zSVkVtt
m9kvQYIrx+iQg5F5CAK3B1q1D+WAP4C7loyXkcgSGNnqrVZy5c6HinVF2lKcJjU+armVBVo3Xsx2
emGmK1lBiWJiI0RhpbraTHCz6tqzb/jGcK8UP4cR153fakz4++ZxZRNvpkzH3p0aiuOj23NAGuN9
ypmX8lQCziRZPDHCx7lVaqmJCN9kShSjd5TwLlhSLQGv9PJz3/y2j+u/ViHeDOx+yVGahqycfCl5
4QMyO9yXsKnNOn+FMhX6YcVGY8VOQQrqZuZT031TeNCaaBYoDmX62yTzuOO8slb9LUes/8aYHyR0
hn2Dmcuzp+dqvpTu6C+LxAg2V+yXPq/IWlemrYPiJ7cXlEtAKAyI1vHM2t+uIr6qgsYUtEcBMUec
JhyJPrtWvYqg07vacJ9tuwd09Cyxs03Xs/a//CNGSFnBINxrqb26uKEIQYh9z3gVLI0rEbO9YP+K
EesgdRzXFi+QajnGh2ayD72tnPZNTKKI+JbomLTO1BFXF6CM6sECwpoh6cpjB6jrfUGbrgaPo+jg
QUcZWhBv3RqrFlstEqxYqyZe0x0YbrX2NPuxfkZDm0TY9rr9EiZccGmFMf16vZCRidTA7CbKnVZg
ZHpfpc21A3u9hZKtiaHSVeUrc1a40hukaI0nNX6mSR0QVDgmItmgTR9wJUSwtJo6I6EVTCAlDwgA
gZufMfbUK7Iy47YcC8RIeCpBwWP9+ZUyNNHSDLUUeLP+K6eB0TggPw4X2azG5s6gvI2aygrqL15f
G7Nk1MA1DCVEenCcMdBbWZVyc1sQcQDvhEdyNCHfatJXTYOZWWU8p07zGMfdh7hMT7iEBfu7v7lg
V2LEpIB0imZn9nhWbQy25Fk4a6zw03iJjAJ3k31hGzrB/UOjdUoaliaYmlEZ/WDOOkBhrOSEmm8Y
q8MRLIDhvpiNQ3ojRjA2btLESc0GGWh7qqygVMzQScKiCNxYhq4k0egNN/FoJQRENSjeKTwc1fao
pzyMUVHe12hLDFLQdaLUwMz361PIlVmPToI2CgPlSG5q65jdQM7W+uI+KE1+2Be1VagHtpZtrYN9
axuIsEl6nvV2rYLZuw/iIwuTEBjn2bfRnwI9VM70D7KDa3Fi/sFw2wGVEYCCABlzD/yzgGn5eZ6p
X0gL8uu+Cze8a1Hi883Cc00fuDqejZH6vJtDI+7ag2ZMYasALtXU710za47767m1dVfL+QZGisTt
SJNxPDuA0TOaAZmJfp8k+e8nJQZyEjR9YsgEeOuC41torVpNmY1nl2U+d+M705LBIW04vWsRIlfb
YHapXehTATI49TOq5l8S15CECZkIQQtaD3Npo1J8bhpnncPhfyUlJrX2d2TD5UEP5LF4QHhtwbz1
rFM5unZsKvmFlcqlZqrHQKFpmc0PY6CS2Lqpz0oH6gKRCK+Uoj76gpaPPisuNOlPY6l5il1IkqtN
+7oSISQJ5QJkJxPvd3g5wKzZ0IJ80AC9LuiVJD5IootoyATvxzSO7eJSZJ9N2LBpaB/2N0YiQZzB
RpM2wR21Vc8EqIhulh9JqQf7IiSr5QirpZJ5TAYVNsxBhZ7rKzxMgFed/yREbMOuSTy3hVarZ02H
EVvzUWcP1fjzvwkRAjfFRBeeLMfi0vfZk0sxCgWubGUyJea1eVh+mZdYe8sUYACwIkXkac4t8V3W
+1oFDqNEkhpsysGZ1DFwBdIGVUh3iDoXHNVf7dyBdyyr37vmRWUkJMuf6IMefLQlGeg9FAP2iNch
rVQRsGP2Iykijgui64SWjKV3086AB4eHdeBUAlDg1scAdXFSqFHhGSw9luPiseLRMB//wAJM9IGi
7dREW6OwZAUa1pxyfQZ1jCacB+PYjvWhRpf1H4hZ4YShhYXMWjgyZMrh32xYgNXpgB3iZxWoqrxL
f+yL2UracAlRV4XWDq7VOVylOLrRzph1xsl09NrvjMei+Jn1hdewQz3+QZTBozxwT8FiBnAPoUKp
UMUiVd/CK5cfywqo14Ysjm1Z87UEIQPtUq0v53pCHGtz84W6gL1lTg7i4RhdwkOfyVoNtjznlTyx
2bkpWKssJe4jpWZgRK0PC7X4/edPdDLAAIgBi0M/7e3+ZE3VOizBoinplyY5T2BgBDhtTj/sm8HW
wbkSI4KfdYDeKGOKGGAWQ4DQFgwOC5bZlbibLWu7FrN+xpW1gY+xjJmdoBsFZIuTdmDjMy1RzAEp
iW0Fv60S3qgBCwTiAQBOiy7HHTFC2DpDcRlcN8zbOuis+KH8Tf6/19rkjRhRJXVYJlVDl1mjTphv
V78vtRXiWfXLvjYbpu0AARHXDZTZkEIJ7qDkFssdYPqd0zg+5SZ5ocz8zJTciwcgM+/L2jAGMC1p
GDFeoagwe3a7SwthVDerxnhaBgXN9ca5dzUPU82SRrqN03MtRhxWQe9w6iYdKS4t/7iQ5B44D8/7
imwu2i9FRKQrihKLOxdLcZnM/tB3n9DfDj7tyFUl0U2yYGK+WWZ4hZ6KEnKs8X91z0/dpIZplkl8
gUSMOPSQa0s52VqKO81YeICS/n+kXVmTnDiz/UVEgNhfgSqo6tXdttv2C+FVgNhBbL/+Hnpm7CoV
txTtbxzz1BGVpJRKpXI553utDz5R87dfcKf7IpYWSVPadpki4uzTnWlyL60PjP+4vjMbb8IzGYKn
tosOdNq8WhvcR3+ynoyCBrrLA2d+Jhom9LnEv0lsTZxiHygFgLftwtamHwpGKz28Rd7cV4sBm/+O
DS440VX3+eS6A8DVEKnf1gTTp5pnOBGzZBRY18xglSMEOS4pVlopC7rUh7x+0fKd5v68vj3bBwdN
5OhORKer6G26rgDbQKHxw9CML32legCVveVD8aFok7/yAr9FuYI2yogUC5Dq+WGyW4Cro5+oZ9mv
/0kd8eCo9pjMPQYbjqzDELdSNYDcZJnnjF2IDOD+urBtU/tPIUyKCN4Ty2l1oFA+luVQ7Qa0eT4s
5vIX5V4Y2x8p6w6e3KSsVweAPeg4pO73Sc/f6e1f1KzPJAgJqSw13bG3cLHZte1GZYE8f2DnSv62
0bR/L9ATTYSbrVlyk1lji0zUWmnj6byEaZXUknzQ5q4gFwAMTxs0GuIgUqoZNEV8ZTzVaRnvjaSl
9/FQvA3z6V9dfktxRRegadMIgLaFH+Lcod7M2rt5moIRNYS/uaL/CBIRVOLeJFNq2PzQzkuA/oyg
bYcbV5FR9W76AYugswOvECCgCjZQlLWuxBZeB4Bo+pLREfPu7gM1eJjMn6+fmk2n9keSSD/r5k2l
cr3PUTz+7OZ3uNk8ED78zaphLgZswIBPuPCc49JQbVEqflDjcZeQ7mBSEIfx/PAXurgI1danG+ao
BA9A+bSUwHhiR6ObvYUCB6hdYVZlPWKbJn0iRrhDG7DosrZAKmKYm3gE1YeSxqFSA3T3ujqbRnAi
RzigvTLFNQdM5LFxFBa0tQs6nXiJgxm8JKjADPHbwxzgSGF+ydVRuNYuws86o7O+UBSuUzhoqx40
b5pT5ThrjowtZkO1M1HiErasABJrxg805e+HqvFMtZx9AwzeKZqDJda3KQwvbEMnmJMCPNe5ywbr
STZoKR4klVZ/dUGvguHLe6efwnLuvl3fso3T5ALjbm2jQaFME0MEnbnVMswxO+pL77MYuVbrm+nI
hiU2grhTKWLlX0kb2trIIB0VfYlix91pJBiMxWvjl8WM7y0q8REbBn8mb/37yZ03Nn2rZwVyrozr
nm2z3ZzKqNZlKglHVwf+Rck0AoMwE8NDJ/oTpfPoZVy/TVv7i8KS91nLouu7ta2XYxHAb2BuQXym
zIVeux0x2JHEw7t6mG8IyOT+xvjQr/2vDLEIQ030T7juzI6WeYNxh0bFjJD+TmveBtn/egOieAWu
gxVjEVw0wh6RVsG45UCswzAkTeWDwCh3MSJlcNUjIM1RJWptLt2JuPXMnZiE7aAPbVqvDaCatGHP
tANzqmn3F/uDJzfQE9H2jrvjXAhAXXuLMrM/VHO6q2N1n7pEkhjZPLB/RIjbo00qc3Jqs+OcWR4Y
lX+CiGunVd3by1XYnd+aiJXgfMKIQjXG/YEMgFst+t3ovg3L/B8DQBsNJv9eB8zFwmJiT2YXMxfx
/Modz0CCaM7vOi3/izODshtGyzGCgMk34aAaatzOWYJLKU5fJvauryVP+i3DAkC2juKvDZ5MsbBn
Dt1IshihwoxRwtwYQ02XNQZu7fmpCCG4QtEVCdmFw9dkRTgr6k3NRj9WZUjsMk0E6+UcJDsJx+Mn
a+0Htc0De6wkwfX6pUKFFwP+vxdL7NkceZPVuYKRCT3vykNj542PZlF2Wya0vcmtAkRamM2U7JBk
+QxyfiqnBjSs5po+GsYXXamDsQEj2vgXsRzq/kBgQvYVrQDiTdoak1Hb8Rpoc2OH8vyuUibULf6i
8+xMjGDOJB8LtJ5UiLE07iVl96yCQRDZxOC6J9tcM/S/AyNLQwOaWFToprku3R5pkJ5Tn1UlyMAx
v2N1kq3ZinSQo8TJwfQ0MtdCpMM6s2xmp0Ewj4j700wBvaQAOUBB517oLoUML31LKwIIGs1GryNG
0YV8JZCqBqUYrP6wJPPOBP6dos9BodDd9cXbOkgYyEDlDZAB6912bnADyRmyFbimLQpCPKM4GIqM
Ym3rIKGtCbzt6xv1ApUg43GWDJbeH1iaAMVv2Cfc9vTW2gO2BZXGt0GZ/eOrdcy4ozAHnS5GuVJW
5oy1Gjt2gxl7SPnW4P1jk+dMsvH9rbVbu0QJZsZQMxNDHKBN1DUrG3aksAS/mRdjN7BBFs7LpAjR
gGJmjlYO0GfBMEsXtw/MkgE6bNnaqSKC09ZYN2ISAUZgqKVXLt+WCgjfw/vrlra6ZNGfnggRyTO0
OuexDqDNYzI36g369ywPLbbzE4hjyqAcuenr5VI9Fkmr3rhurATXxUuWUaycZHiqjmals2M1PkwY
fgM90uN1CZJVFAmFp6lzncxx2DEm6BJTCQDMlZo0e1r05v66qG1lAHtoAfMbrYOCc2jSkjtEKYwn
Ro6q/VHKD7Gtyp/fX+WfRKC8WWzHijk78tR6cuof1FBe+uXd/6bE+hEnQtCuCGw+zrBe81c0ad2x
RUaLKFkmEeUoyYialtnrnrufFszsgctTVyVxwpYQHHUXTW5rH4AuHB7TAcQFyFLZEaBQ8w1nXIu4
Vkhsa+vyOREixgWdOqF905n4oaFLZ3yeMyU2Mn8CEcpybwJZw72ZR5t0H67v0KZURLwAssPzB2/u
8x3KkmouFXQJH2tCom4BhhdVIoOUPiEyBqnNVTwRJQQ+VNfHgTB4uaQGtIs1BfGy/MVzBJD1v7UR
YkYjm5TCNvEcId1A/MKoH9Iqb25yZAMlcfzWjXciSXz4mFph5HSB3RkghW2GgGg/1PRDWXhURjSw
uUPIhxgAnnYxWyFU0ucyUbWhxkHVtI9tE/WgCtLqx9aVjZVtOQRAnv6WI2xP76qlZs89O/al8ZQs
8c7OzXdxI+s9kIkR/FoHdoGCOlCHVvHOJfk7Tak+KsX4N1mrU3UE/9Yp3RgnZMjQfnhjkVCxqe8C
GlIGFyPbHcHDVSUA61dG5OMEHiId+Dr0wa35Tu1lg5MSQSJ6C0iYc3U2YHCMhDn/UWvvMY/VSakL
Nw/pHysQ/YHFXYt2i4GYlChBknQHjDXurrsciQVYgqEVba7rcQqIC2t6r/adPyQH12iC60Jkegjb
7/ZL0vbtxI4OSOQ63t4rribp1tzeEcC7rKEoGp3WnNzJ5TbPiTPy3s2OZm/8wqwznvRmWE3ti86a
NyPb495BfxYMGqkwMPcIZmaMhpOTZupDtXsqlKcqPlxfrvM9AWuK8Purrie62CUDcqpj9iFR75zx
HQek+JR8vy5DACD6V8iKDgf0QwTtF1hRpa3MiWn3YR+ofhplQRHaOzvUVyxMyd5cUjusCp3IEu41
U8n7iVROH87HZW/utSgOlie+X3xj34YoBHy+rttr3uZP6Hupm2DUZdUg0s0hz42M0AnJDvXgwDnq
EfiiHnigBi8sTI9pmH2NPeq3H9xgDpVAVmIXGd7/2UcHhSKgVwGDXKxB1FZhVfjXhzhTkf3gHPld
sp8fk1+Lr2ChWZCHheTR/No4eKH6iUzhqGVGP2K8DbAtzU55oJFx1INs30ZFWO6XyL1P/WGnBq2f
fXGPxGvv4nvnTbf+v2t/8gHC4ajHqTQnJ+WhVo/fcvTOg3wlGuY30xesJnUiRjgjE69StNQrfcjN
PTEf1f7oDm+Kly81EQJNxV2cvLahia79ivOv/G15lMvfF1wWs+0Z6W1sVe6GiXnn5Ptek5jDuVe8
FCGEYGNnpiOtMh7yOg2ajAQo9HimGSTzp+tHTiJIvBDNmoNlW4U3SRvrKcV4aJ21YTEpu8ZNd9dF
vQ61XTFx8VZkLYDiCXDoQ9Nz3g237XPKvPaG3q7uZPw0BtRXvfFmGr35SSJ59VPXJAt+hYxZEQN3
Bzt2G4dm5ByW0PF0vw9pEEuO0bbP/GPglhCaZbmljxPHimapNwT1IzsqQL6zvLHytB3b00CT3Drn
l/R/tgIgMZDeAXLfEMwdf3BdHmvwVu6hLaNseVOPzuXvC+auYA4KDOy4NRUwOKbaLcaWJduzeW8C
UR+FA5AhgPLh/N7E3IlhlhU0yA40KgP2RQHWvdcFi2/t2UPs55/Y/s18FqsfOpEp+KEc03YdZnT7
cCg/qwvwYr8nk+T6lKklbEzh5DYpDbUHd/GdMs+eVXzJZC93mQxhc8qKTfnEIaOybkq0THTNHZV2
TmzGHNidlYpgncEmgiYtnk5oAdL7MHDYC9VqT9V/VPVxondDEhHMxX2Q+L8tmz4VKKjVD3h4WKvA
qpoxTPqYVjKKbAHJ8B+zPhUhuNiJGKVR6EYflrfzrvPKfeUrfurP++aAC9anQRVdN/NNnYBsBppx
y8WUn7CIRcr6fDDWqGI0Qcul7ScqpcBcn7GiowOl528Zwrq1gIKkU4uTFN/1Bz1qb8b9siuPuZ/L
3Nz6S9ckicsHArNqmqDNp09W2B6S92mEOGW3HEsPgUpyj/DMT/d2cH0NhUHJf3ftt4IXHfF17Ra1
1sPejTB5rPdFyPzJTx+JV/ujJ/Xl15cTmI3njoklal7VA6RlhzQCqk+0HI29GtG9LORcV+v/X01d
nMTBKKSqFwsElbfwgHvnoIdK2IcypNDNK/iPfYBn51yhaQRuRtsvCOjf2bidDD8PEGcG1KOhG7a7
xdd2rV8itL++bddN/4IPxs4G8KIOuEIW83usP6Kx5/rvbzsozUJ5xljrQJd3oA2m6RaXbrdbb5Ap
Mn6w23V4tgwrGcby/2ODf4QJh6zOjU6z1xu+DQBI4pdYwCQw79R9tU/3uuR2l6omHLS519IsU/Go
NL1xB+yLgB7jSN2/MjrsJcu4fah/aya+LRdlzGOgfiEanL1/jpd5v9zHBysodN/yYq/cuYfMd+7A
oCZ7AW1FoqB7+m8LxemtYrEnjRZxH1rW3qhvmzhq8tsWwyESHbdt8Y8cIRakBuAjgP7ch6Ovfy/u
jV324PrG8+KPt1nEArq3dv+jROHQIbGB6sD4KnEIwE/4NIZ4s/vT7LFHzNlE9kEqcv3JS3/yR8l1
EU4yETrwLWKGyf9XEzV8trOph2YML32kfu3zSIb0vxWGnG7e+vcTeYSgOxCFqj5E41yQFJ+mlHi5
LJ7avrJPTESI2UySEND4vi6ktle8HP6r8SmIrCZf8/mjGjWRZOtWY7hYR1AYrDi9oDgVYazVGvBk
Y4Gj3n8ad/1BixQfseLKJu0r0qfD5gk4ESacdDQHsrKtcQIUZZ+DCCcBUZZJ36E/RWKRm7v1R9Ar
hN7Jbi15pWY1wTomCuDPEjR0ftS5bOk2TfBEiHB3Gok6AdUc2uSHL43XedpL4ffemqhKjr9kF9sr
IfGVjXr12ScqkcSZk4TC4AG6TYLp0JceutswcfroBMUB/Lj71q9D0892ul8Emo/whHko2UkuuldS
+2vfIZz1jAwG4+BNwEVkBmBP+GiEqq8FeVD56V27cw69lx6yPfPT2/UFWj24B/JSfJOY7WbccrL2
wvHvK01RlxxJlvmo+oaPQYf7ca/tSCTb5ddOqGv6Cgd/MqfWdBj0LRy/DfhOC8pg3MW/DGBYpHf8
U7yf9/pOvYn94gY4bp51a5ueGmS78Ua29jKrFrxDVyhl12g4qypyJszeN8YIrgDJw2T78l874lHm
Qy+NIVz+ZTEPadJBYbX5pvBjOt3y1va09l0FaJCqbzyW3af9jdV9Trkkr7XtH/6IFvzDUi4ExJ/I
n9jZh57fz87XmIZm/WayMbyMX3v+/9FQDAL4gOjGsCBGp0+oL1LtI5eBdG7GGX8WUbzrUwMgUUaR
8HBQJhMMjG13AKHPL2VI0IiiAdd9BH9LgD6RUhZNbTv032soEmSMc0aX1IByKvLLerBE86PlOR6g
6/e5L+sn3t4wjFFpoE4FGY5gK25ZJi5Y9eBnEWVk+7J/XKybrPly/bSv235xBEG/BYhkUHAYIl+m
0vQ9z9ZsdXYYDumxjWyQOtZhJ3HoW8qgExIRtumgaVCcBqmGPi45YGGBHXTnMtcr3GY/jQ9l3UqO
2NY5PhUkrBoASHgH60AQWoW6A0jk+QgqCYmj3jrHYN3EnY6e65X4UHSRsZ3k9YwMa3ZQf8FZoIjC
Um/er1fEKA0kNoJOoJG4LujaDRO2IFwLWl4z4O0gAZmlT5rznMhokDYO1NnvC9rkjTOlMXXqqFi+
uONHx/kJFnBwFKE9iT4j8yk5Rhtb5L6OTqy1dJBhCq7WYTUwdPOah+mgfRnWhk9avpsdGUzR6yDT
uWljxJE44HXCyoEkUKja8zIzOw0AUlGt0Qem7mZ7uklc/i2Nj2DCCLQMGP7JYS4qTxlwu8yfsvpd
mTU7UsNvDTLIy8sTcP41QkTTJRlKixQRDRB3A938CIbOkPAjxrKvH+jL1QW6KkCFMCUCVCFQCZwH
0+7ojMvoAMZ9XvQ9jfUApIw7N44l52xLHbTtrjVX5MF0cRPHQddSUEnzELRt9yxNd1NnR2beHYo6
ebmu0cZpA9mSYaDNBlyc+F9QCTCViz5pMQ+LItT26ldQs4Io3bKiadc8Zkdnd13exgqeiRNcCPDB
hhWIAkWminpGoXglZx7VZPXkjbf5uVqraz6JOo2lnWOH2k3kzA+1i99PyUMxZaOnF/29jWk5JX5M
P2EmMfXcopKYiUy6eFFnaMKdJ1XBKUwW7YNqjTuQxbZV14ZVg+BDU8Dr24+G6bVDVe1X5H5vNNq3
9d+uGbmzNRDv8txhhY2ol4eVNt4OuhGhk3lvTTKmi3UpBVdwuqXixd0No05YQoewrQa/tfD+qr7z
UQkM5y41Cg8g0l7Nvl83o41azrluotsuuwSAfE4T6SWoNAk5cvTHxlV1aLPZx8ofe4rxNICa5RAP
e7t3KvY5U6gMk0GmvODeaZwtk9tA+YGp+A7mO8rPaWJeptwqiurXoFHtZa0/l1fKue7rGTuxbY7G
D1utIdMhk9+boZ6CfWE+2qBe4KHjvJcs9aa414Aavh4APoKrV0jVWLMJcdmhfAR1RbJ3fZD9sIPu
Z55604ZZqD+sDEOACpAcpE1vcSJa8Ou5ljlNbyUDGFJv7WyvuqC2cz9e1+8yAMBqnsgQsk6Glvy7
g6Zyp/AP09sLxue/L1iqMgH4ebKwfLgzPVV5qY0PLcyy6IPremxcGmd6CJaoJBiMcVk6hPpyPw17
Tb/L4ns9k3nWzS2BEZigfULHni448Bo8vYq6bkldPrT6zon3QJa+rolMxHrmTux7SMxxMAaIiLXP
vN5X2ZfFkQxcSUSICEHzUhglqFlAczDfT1XEjKdplLwJN3Ji2Pg/KyVOW6hmMy3VDDVAG98HaBzZ
sV0SNKOvhe3XKkh2/Jssmy9TS7Bl0L/M5azj3lHih1r9QOMQk5L/0+aIDcmVNkxkLCBi7p7q8dFu
e6+VLd2mUz1ZOcGUh4nF9YKJizDuU8AXH6eq9If5m9J/zaY0SMpvblxJTs/6kxeXGFhkXQIqJVsV
QW9MHitJvJ7SLAP1o50oedBW0qbNzf3BC8oG9iFASV7jhhPLdhowAdQci5e7BxstlEBnVhKJP9v0
AycyBBvoarPWcwIZjvOssntH/65PQSNr3NjWBCPMjoWHGhHBaBYD7e6JBSlZ+sGq96rybh4klCSb
9w5wcf8TIVjBZJUqxztpCMkM+sDK07EdqfYzGW2vBEm9+uG6YW+v2x9xq8Yne0Mn5MpIDY2U4VnN
Q73uPeCEcNmgyhpPXxjaiVbrZ5yIIfCqbjytJlDVHm/2DPnQcvjR1Z/LXDa9uqUSMAQJXhD4D2hb
57Jmt3IyC2irITPeIwnnceuJz9+ZLC2wtVGnYoQnBJsae9CbVSX6NJjEi437FCneznmYlsWbB1nA
KVNLuIJUJzFIFcMwGL3rq4M9fSurnap9vW4PWxZ+qpVwC3V2orFijeGBAmCyT1X8QHqJhUtEiJFV
PKuoE835ECbTjao8TcrLoP+NCIKuBh09SIBfFPYmLzWwF7YQoebPFWVegZSvDNB+U40TGcJ+KACj
Auc3zIwOumdpaEVqa0/HrfcXG6KjGXkdkLSBpHRuzRh0qCtiQZVcv+3nJ70MqSnpCxIoiv55MiE/
gdjGRAeSKy6XbSVqXCtQpShBM6F+Iexjr1ReNzyjjuYDfc0zrfu6eTM7O15qp2KFFQQmxZiCbQIR
ff1IkTaerYdRRjC+dUpXmkATrVzIEotNLsbkDGPiQAZvrdCdbkw7DSZ98UYz9bTK8E1LNnGxdaeu
LHsgywYiJ+A1zjcsoYWRYrAZduE+Z8s3lUqCuI3fRxsw8qsoPFo4KsLDxFWHUQX9MDLGydTijTnH
XuVYwVut7nWEGmi7Lq7sC9AYd2qQBDPJEPZAQRqz7132hQ6P12VcKgIZjop2ZjSPr2Of5wul1V3J
+76YwsaoAVisl3dpSZ6vy7h0mucyRHdWgt1La6Y2QmrC00jua43uFcoDGuMlKyaRJCY/QKJo1AvT
h7BMvhr0R77c8fghkbqDjczVmUZieqONp3wo0FMVmXh6O4Blp80NyzvECHf51HkZ+IPGcgLkPXI9
jZ+Db/v6il66vXP5gnk7WU5QT2TAiVnuSffg8NAoo+sitpcSOAegokUfsVimUNNExWh1PoWIg4KR
vq8QyiXdd9eSnKQNv+di8BwkxRqOk41KwrkFwsfVPGXVFDoNIIA1W7un5fQ+AWNxpc1KUKeZN5TW
04x0mdoxJrGYrZU8lb7+/SQmKqvM6rUc9p84D1XxPI6th3GT60spkyHcHmmOLFWXQcOcfqsbgHkU
L6n2Ns7I9fo4X0bhtq2dvOKOUU5hxjrfyB7t4nGaFk9jQScLV2X6CD6jtsw+HmDfAGK6z9inQT/a
7tP1JduyvtNtEVyGUtKK9Rq2ZRq1IK5/DYTvCoN69XC4LujyajpbNvE1ngCYRNNgcKFqZwEy4l9m
qryzgTdZueZHt1buR2Wp/OsyJcqJr/OyL5SxcCHTNGKvNj8aTR70+mc1/3RdzsXRQvPNWpFeh1VQ
msaQ07lxMzTGZKQrweJgd54+aAFr7i1me7FV+g2at6ia7Gz3Y5vKMjUXWehXycCdN02AFK+9d+eS
wXWcJLyZ2IEBoTjucm9Zbqxx/prx9H7Wv5cqZu0qf2Ct7xAiKWGstnH6zFllY0x1nRwDHvZFsGY3
qetozeJGGYgkPUXtfyFMnNAE3YZAVe7vi9G4M1nee03OWok7Ebf2VTZmyg3HRT1DEy8G9IUaBR+q
OSJ49KQPrDRTJQLMAbOfO2XW1K/AVK51SbpnXcxzhQGLhigOIgl6D17bT058GEnSOZ1K1Yp0vXS+
W4ruDDuSAblIYrfiWUHNGi4fsQI4F22kY4WghyD/1tYNB9iwA7pnjGd6Q9E+VFNzr9AxGk0XtG+2
5HoQ36yQiZZ821r3c4W7Fm66vKfAsIMqUZVlt4ByB5frQiOgEdxkRWV6k5SyRnRurzsIQE4UGC0Q
/oglYNMq3aRxrDkC3NyHgo36gVogsIorXQaJcjFR9ioKI+9oAtA00ybC8VTTqcdQeu1GplLeLpjc
7udi8inr3yc5+5yS7MDtItJT2w7c+f04OqWn9YOns4rtuYqMLpDeJFt8ab+OAaRYHQBKBLRAlvBJ
adr1xZiZbpQb/TOrcPemEwmJM93R2Za0KGxsLSgGAIWA8NwEG51gTi0QznNVyelhrlOUan/mJEqV
HA+QndvKeCov9UJqDYoZeIEAs0csNYLmwF2ApZNi9rZogUa3eERzfvRqvKeL+nLd7cpkCWvI3Xyw
VUztHVr7Q9rvC0yux6mDYtQiiQI3zj2S4SvKDRRCmCaUKFpTa02rJvSQ9CUYbbUIaG4Se7j0pXjm
gMILrgxAqaotHL94HnDk8oFg5g8YMPnzqDzPMVi9awswuZ/K4fOgPV9fvU2JmMK10Fhvr/g95zdH
TIyBjDYkKmkGH4NhqXI/9PeGwwIHdLBLvivVTuK1ZTLXHT1xoGo/oF2tnknUUsAnLNzrFxYA9M+v
JoxbZnej895yq91fKIomIBXZMdBJiZFH3jTjoCvgdzO1j7TEMHjjsznzqTnslDrz8vS4zDKi9g2L
AbncWj3BqxW5OeHIKZmWs6pL6IGTMmgadLc4smz2xtUPkzmRIVhlUi2GHg+2EdXFZD4AYiN7GVp0
qO01swbtHGVpzj3qKo3igR8hT3axW7qVTzReEm+cSDq+/ZicfZBgw2ZnqnZrUxyTqgsrVY1UTQZY
vHHkLQvQmrgXVTgzEd6V07zI2ilWotjqfICy7xS9Kb18iX2LNTK4gosbCpx6wAu1DFxRIE4Ssyms
KXMaa4oSmbDOhNqh2ea+OsleRhc6CWIENwb0wcGNE7hn7lY3Tczv3EKzQEznHip3KiV+RqbTekJP
TmBS9Dko27FHjqJHdDT9ypgCq5RBUV7Y/5lOF1cOi5EByWqIaYckWFKUxHDrXj/Wr6SjZ9HYq4w1
6wRYsJUN5lwVtbLrJAMN0EGv26Ob8s+Iwo/JRH1wKDxY8/iZDbM/KHFA2s4v7ez70n4lihUCQ3nX
1843M2e7bFF2jjl41Oyj6593cemuXwePvr61kcAS875Eb/SFrZdu7R5t9VEb7pP+caCJ39FashJb
BmSpNiIpMDejTLNuxsme6hpGQ+uhpIfceBq1O4o0jIoEEKHm/yhIuDJcA33NcVwhkEDT7dx/AQd6
UDWBgw6Q64u3ZT6nGgn3xAg2qZoZeNFQx/Rrk/ucyAoMW/uDQqAOnDwEhbjYzxetNZdmjNsWgYpb
N76dOn5sm7+0fnlRnPQ5q1JJfL118OCvNUy94hGBbrpzefZoDnO1aPSQlizg4Kgw++8g7w2uL9ym
FBtIbyADVYGzLfgSNIHlscUgpaSFT8fSAywb8FxaiRdZf0Y4emCD1aAJ4EaR1xaUSUZVRxg90oMC
MWoRLaAij43varHv/V6T3SsbSp1J08+XjoNabHIoTw/jolNPdxn3sKM1DBxNONfXb8MqoBLIz3Xg
eqGyL6yfUlOjHkuXHmxm936FjpuaLRFX4SSbmN1qmZSifEM5Hb7Ldkyk0B2EzOfKDamdpnUb4/GO
Ojjpxx0YwcKuzSRv9S3FMDuMN8A6d31h7uCKt1VMB6UHy7mP9fdIKHgp5eiaeogzSYFlUxTOFEJl
PLWwiOcadbi/a2orVtTpcxaCOCU/OGr/RdVa6peGle2rxmTfru/bhgsEYDl62nHEcFmL/Wk1d9sE
pDZWpILpcDdirR9Sxf4x6mYb5iweJCpuigOhGlgLoCO5qHowdSoXHicHQJV4irl4SWp5OYAvmYwF
YMMTAgcX5QcD3a3QTggk2VRoMQw+OZCZBLHBbmxOw7evHWAv8QhHu+tlCUdvKQUUC2UHA81FaoqI
QJvb0rOJwtgDSi95AbxqTmwUx64LvvAieP2CIQpZBwK7RJx1bihKPGnOMutuVFD9c4WezbTJP9UN
YvKitp/devbUDB2k14VetOyA2R0kTsgbqaBegx8WjniTYaCs12MkA9Kp200s+UCb+sZpSO4BAf0Q
6/M71e72dd6b/pTEd6SiP+eS4wGWJ95Cyp+S71l38MyX4qXsAhBJQ4M6Krhic7rKewZ8qi6OsiSJ
2swALjTzqULCFkhpefXM69Gfm3yPFsT9ddEb638mWVh/0vCxGzrAyoEuCSB9d1b6HSD5vmp9y8qX
1s5218VdHJpXRVH9MlwDjyJj/ftJmFIZrObWYJNINbjT/yRjWRXKDpC42hDfWMALbB8aw+lsGfOE
eIQczBlgZgJ5hrXmizLludxecWZ37lh9AC/tjW0p9/nyxjYCUYKgGYYUtWFui/bQmgPXfTXp7WY/
UCWOnzA0QmVljouFRJHfwbULFEAdDeqiszNTo64na0kOTtlEM1HAc2G8TxQlXHRZWoJcvNh1gpDS
AmgCcstAYRbu3kKzYwJPmh1Ire9xWvdN1nku6faELi9qPEWZ0X1xSu5x2/Ba3nntXAZ6UvjjmPuU
v0/7fMcn51axShS+Bz8zVN8m/VNOi6AZlqAtZy9G0tjFpy92ElkjYEdaGl03vUtLRwCOXDEeCgZu
P3HF4ob1mbbkyM/PbeTU9yNKlmMRDtpny77TZllAfrlooH8A6Tcx8DDBzInwMqe5kSq6O6tRHn8B
jKyPl7E39QeTI8MCN14UpZfJcGsvuqXh14B/uTq1lcoAxHvnZl6Yfas2ixpHMQOuq15gII4UyVPc
tHgENTdZjGjQGPExBDPCdPLqBpQRFFuSWs7T9eW+iADg2MlasMeYChLlomPP4hyWyJBxiZPRpy33
4pwfG8A1sfsa4EbXhYmnwYE/wQAFrn0ghCORKix2qo4G0MgNENPbldfQiOaONzK/s95dl3PhRl7l
AL57PXJ4nAhuhAMzXktHZznSMd2rmROowIq+LmJblT8iBD9C57lsaKFlx7G27pMXHWfDTLif5bLh
BZmgdQNPXHFG665YWmAAJ4Md8FrdG9WdPgHQrn6+rpFs0YTLtrR6rhaploPZljd+SxBy9oOsFiQT
Ili+Wg1DPeQodc0MNNA5fbc0qSR8liyY2IYCYIQ57UuSHTPDRcpwMIOqrxmmmA1frZbg+qJtCUOI
gjYohEfohRLMIKOJUytTrx0LbgWjqu6ccfpBi/eVaaSSaGg12tPgYz08J6LE8HK2cmrmI0SBaO4z
te1HXmdfZk1WXNrUiODqxxNkHXoSbpEhn3WKPjxguFTTT/z8zTw37wyaREyVjYltarTG5XCFcMBi
AaKieeI02gDuXjYsuy5RKy/TcTWni5NIPM+W3WFy67cowbgNe7bLFej92LK631GzsUI+xrJciEQh
sdWmSOwkW2woZE56EGs8MFR+CwpHyUm9qGG/msIfbcz1O058Qh43XE3NUjsmar9LFubj6UTiHw6I
EFj5mXaf8vSZd7+um7p4Mb8KxfsGXAXI6AI+7VxoXJg2B7lqcYSJ3CLg+aguVqANLPGQfPjR6fUO
z4bouszNBUXgi94/pJFN8QGAsrEyloVRHc2mUIk/uTHL9vr/kXZlPW7jzPYXCZBIanuVbMutXtJb
ls4Lkcmifd/16+9RZvK1zSZMdG4C9EzQgMtFFovFWs4pbHfaMZR4qeKtKAYDv1VE3WvLKqDWJ8Ye
gz73ZduDs5qy7IZqBdKRzKPgd2x726dAduWL6UXjpBD7pnVKlCucOT3teW2xGUfb9aywPMQHc288
zD45EC97PzSUKE64UlpMQi3NCnHjgYXZMdsXAbtqf7FDcYgOKqhS2RY6oMbbHkyOpCtwSNaknTg8
ZBnamL2KrSdddd9LF9BB2ItMGq5kW6wboUY0pWW6GGG3Nw6Wnx76f9rjGoCjGSBUq+lftkqZizyV
JoQxcVKZaz8MRWgXzk/GwnFqA4swtMRTFfWE7NAhSYL2WuS5gGEriHKytAZNJjPCmg43RfujQDcq
t7+ZaxQy4DG/t3V4s4xTceT8jGctGYYUpB4gPgmW4SGdd6Wyt237yuI9BoZuPIrwJkItU3DF4GMk
o97hkPF8QXNl9pCRZ9o/tTTx53710qUIK54f9Oyh6H++f+NORQvRx2AserFmehESJ7e81e7vtXpO
PBtbN2njt8vCZM7kRJh4XzepPfT2tDmTOPUX17gurMXPWt0v22I/o6DalbcjkoiXpcqO26lUwWCs
cjIyM2nLsKTWPdXHK9voHhx3UZAPvrVL87ebBP0KOqlQzjg3FM3JDRfkk03Yav0OmR+/K+56nVzH
vPMxZOXpzef36nUuUNi6urMzt6ziKuzX9AtjVVBH+f20LorUv8STnMmhgitGAFF0I3WbECgB/lYM
yj5kyfXIPjEOIDEUvIfsa0HBU+mme4IH8GUt33qWTTq8GEN3AfpMBekMqPjxwiISmuVt3d1R/Ujo
0ewV94108zYEDEj6ndY737ykWro6d2ISZuW1Ed/pcRqYAHYw4h1Y6LxmUJy6N89deBQALb7KEyKH
FOj+Y5xAK+vWeYiOXaDt+bH7YnkbOLarhI98ewQ2cUD52JAQ9DdYCG6ODiLSQD3m3rHkvkhvStWQ
qlwE9oiAfgh/t308CcBAFOTkeZmSUOuvLHQKJj3qbCry2rcOZNPjj5A3CI5dOWfRMkMPPUyOxhEI
NgHZ6UcVBICYAdh2Z+OfQjHFArwAE05WFmfRZMVTGRZZmCfoy4l+jOW1Zr50TOE0ZNaNGJthaxDM
IcVzvmrLMEcbgV8ZJk2yT6Pcw4Dkk778Glh9uHyOZPtzKknQyczsbsqNioSG9ZEhY2zEW8r/soy3
TwokgF+1EftGimFaB5baZVjH/Doh/Nmarf+fGiLpt2UAsJZUSQVOOrLX+uRuSLlv1EzRiy3VBMR0
mLO0QMsiEjfSjOa6W9UkTNMPK9CzJ8XnS94rWCpUDYAjs2V/bGE77KYpmg7xcwhqkWPMP/TRTcZ/
2YzvitbdNdG9ObzwRnV+pL4cxIeo6yMsBFmYaG/tnCfGsMLPfepvgLMVOjfJNiiPHiaACfaqbnOp
0SFnbSERAO4ucbwPFE01WdlQhvqKpsQRrfnOPxZT+G6ZkN+ouCbSvJi8EmJ3hxoxirxzGQ6NsZ94
Eupjc1jRiXLZuFVihKUzTduaVxtOAUNKN5jDhJfT/XZd9pfFvKnwbM7HJCg8QhM4oN/toCeO1NQy
tAyg9hPWwEMrNgQ2wBQCzP9LdsPa3QZWW/rpX1yymLrCIKtrOYBaEXRz15Q4lWkVYaNFqzfw7Jr3
822/ONdZrXKusnU0wai1YTG6oEkQtmtqQWBMI8MISXpMht1i3IAv4PIayk7vqwi8Xs+96tyRiTto
N8ETAcA+x9y8v/z5chWwUaj8oWhrCoe3coti7W0khIy2+Ml7+6Vdqx/TVCosbvuY82cBLAG5aAeZ
fzRS28KVSvPGmiJHM0J0u3lVAQy+7lOtMc+iPxaaelHv+OqhJdmNdCpUMIVx6EarjRMSJiP1qjXM
xmcWP/ZIr15ewzcNgL/t/FU7R7CDkq1lPYPyKJxGwEgaXb1+GLhe7cGyU3pDzSPPicf6mtA02g3o
x9pTHBrMW8SqvnjZbW9u6Q00ISHhJabGC5LnCALwwmPJ5w6l4zFp/LlYvDbb96sZXFZbZjo4Y2hx
scAkg2fsuWlW1oAmmwIXS5F8btZ91Y1erEqeSGWgddMEizyqC45gN9qYV6uFjt9wqSs/gu3w5S5X
tWRsdiAaJx7G/xMiKBJrrWvUNuIJav6s0r0J/rIu8rTITxDAtkrkXbHOLFqLYJapmYKgqsImrUWH
ObMvWs+v6iJBdpShncb0BsNz6tkb4n8u75fSTIWzjqbcKl0X+JKus/01jnY9+4789lM5HIfhJZ/b
wkMH3ZdRi73GUrF6KjyAGFAZtUW7onWMUE+mYDY3gucbA1kB08yORbyn9uyDXWl/WWWZ+eAetREd
bG0w5uZdTy4gNE6ZhZ2SIqyr+NDm3SHmw64xVQBtckfzKmb7GidiGk5qdA7hzsncO3RtT13l9c0n
1neKIoFKjnAaVnMe5niEs9aix7j39V73zOFGn75fXjW5F3lVR7CTIuutPtKhzmT1h4UejCHycDus
luM1tSJ6lJ29kx0S+btIUxKzGeY6zOvCNPdRTZNlF5F4KX1mlelzP4IjM8CFkhfeWuVozL2sq8JC
xHb/2R5jcEqCy0Pv6d5GazFzhntG+of/nxjh6a/3VRGZNfKkWNvFc7MJCSL0w++tRVO9jqQP8pMl
tQWjB5dNlbcII0Nnfam7Y4bE1NQjy22vaONJvFn/p88+W1rqZW4dcEx0F/OgsCBp1PJ67sR7aCYa
pnwoKeFRx08FBVOVruJ4kPuT16tO0LLNs6RakVINadr5tl14enWnu3CbKTLr8ewXEyILxfyO7Pyd
XhSC5yaRZvdty+oQJXUHuaK0CjB3t9xOvU49TFKww2WrUckTDuJS8CqLeVqFxHhx6JM5fZ1AgQSq
vstiZLuFFlUMQSFcRuuZYJzNujpWgR7VkAJKYm4W9Ky+F2Vqu/PQVYWmQEYtcBMInmuDY0jHNatC
rX62mq+z8ZKC9eiyGjK3dSpDWC3H4K1R6lEVcnNq/TmKvqe95hdcI96QLKh3R2lwWaLsDQoSDowk
AJoL+bbfN+6J429J4q55hzeodj0e2it0lQBIt9vN+x4o2yrSD4k1nAkj57fMMujWCgz9MozLlym7
RvOm1/R+XH1UKCUxB8jZWrKpCfRNWzAHI6OD6VYGEgY3yTd6GIJ41x6n+/Vh2KEv7pbvs8+XJUoV
Q0MYXgdAZEA8ea6Y2eQr0+cCiZDosdKvUh0kqOsMYmlVO5B8v04kCUsYFzGZNI0ieXg7gCHDOBY+
vylu0C+6K5X7Jbla8Ap9VUtYR9pFS93lUGt0m3uteKZl9lGvGv/y4qmkCH7QXrOkbEyY4LzcGd0T
o59ScrgsQmoQJ4psX+HEymmM5O/EsWpN/mTqD1m9u/z5KhUE51B1ObY8Nkm4Vs9oKfYq4NSnL5dl
SOIMbAZAV8F8S9DQIWxGTzqNxQ1kaOM1m/3BmT0Mw3Dth5F9Ns1YsWKyO/hMnLArWlTnpMPgFF4S
PKBNYDVfmvzzyq5y/TlDxL1+4f1zrj0S5wMcssIk5Pv1qquwX3XPU1Sc8RwdFrpvI+OA4r7C18q3
zEHaGi1YKPMJy0kRqxlVjyujq+6p88KWO3QMX94xuVd4FSG487zBBEVsr2VoTE+syD2+Ov6chBum
8WVBCl3EUh6Cz3gYFiTd2JTt6Vxc5zrbaakKzli6K5jJBSwUlu3NfEHHGqtwU4uEEQkG46msP15W
Q/b5W9YLWAAoJ6P2c35Ki4TPupVjvSqH4VnQHpaIHC+LkG0JRiS2bnHogI7ZcxEJWeqZ1jCsmf6I
lufS+JjjXsWshMKAJTuCAsJvrDu0pAMh5VxObms0rqoI6U+TP+IpClBZrcSIC/3xbn3O5GxLeuLY
xnlNkpikYKm2izvXKQKw4sYe+g32ddYqMmAynUxMvgJeytC3folzWTnLm7gzxzjM4ttiuG34be18
uqyOxOugfR0ASXjoIsgCnvu5jLVI6dLGlb6xezfsOnJTn5iGF+vRJwAVegx43Wb5Tz7UmH0Dwyow
qaZKhUP1Vk80m6K3bKts6Vuv7/l3MGujBT0DQn+tvs2t27n+bkUKX64SsQWCJ9umLVMFYGuI6DCh
MEUpQKVjTz379jae3DRxtqoJUHqQGz0X40alxoxxu1n11nPrqzL50HFg4hbXlhJCW6rShvuA6wng
CGIIlCT5WusNCtPtSIJidLyCIE/OVUmYtz4C0Avo0YUP2nifxaldjqdYHee4BZOx3qXJerTK9/dM
nosQ3khT0TF91BhWjcRea35o2bTrpoOmRISS6kLRyYiOFdA9iNioa8ox1j0DimdJjCBDOdMw0t3l
A/XW30GXExGCBQDFSxsSDBSEtHNBk1WO3/O0i4J0ysgDOpKaq8vi3hrBmTixwbB1EyNLtLQLc7tj
nm1E3zNdL/YUAxuK61uxdmLjESrcjcUBIBiSxfiQ2+YDx0visjIyERSzTKBlQh0GKK/np4fXvIpT
ChHrUu+B1PSpLSJF7UK2PZghQt/Z1tKH0b1zEV3RkXKdLRry+roG1oRe3JDyS9+pBpzfxo6YcT+R
I5i0Xsxx5OhGFdZFHXlzkgd8RUd4YYAgY7QPbQdUXjZ9/Iv1A9De5g/wQ8yuJzUr4wnRRGjqn9cS
gPZExV4h3aETCYJavIw34u+xBdV86yG5F5JZBRoo3SFcRWBMxS4RsQfY1BMXUZxOwyaOg9qwj8kS
Ld5ccUyooGv78opJt+lEmKCPbbVabY2Ehh2S6Wb2XKMWkw4f0XzcjDGmpH9eFic7rVsu449uQnza
AAF8zqy5CsHRclwG+9AD13FpVNHp9jHnxQkY36sYMYU9joNR95EJH7TEqP9xM/JGu4wCQJCinbRO
1x1bouu0nysA0g+9wlFI1xT9iSByRm+wK8b5sTGSKMn1KlyRcSb3LuaK6u6xRblwuoqap79YUeAP
YRZ8A+ET+27mODbsHOiS4TIWHsl2WYQCMVUIeXur20DDQa0HYzoE/ytsW1+yScMQLgs50IaLwgib
aP6Z96BFG+oPTVv/uKyT7ASwrdMHU7FIfhmCj0rI0A6Wm7BwwbhWNzya4+zP2bGuFK1tMmsEpQ7D
FAGuLCDjnftCGxwpwDpp0K669r4BaIyhaQ6xrWIYlfmMUzHCC6DLjZVlM3pU8E73I57vDa6adJOK
QJMvRvQZqAZ/D8KdRnd85C3XCxbaawWe5QGo97bCU0gX61WEGCdbCapFqVliU1pQRJkJYv6kPZaa
eby8+QpVxOnkghh8qh1ehfDCV6kRfeKp9u5nBWz4VRWxNxrIVdlSaloVgs/2Ki8bzy6rfxquQiBX
aCLGp1VcdtSOsSnUJg9k7THglfWKUoz0ZJ6oItiWZWZWjMZFFhr0e5wEhdt6VXw/8id0MCkMQCIK
7SjoEsErFp7gDbrAWvEop1UT8hE9IsU/Xf/SYhLPHl8s1eCVxINu8FtIe+MiRxOMoJXWoAmwK0yc
GH7Doy919UWzD+DBwuDhV2v68W6DOxNGz71ApqeIvAc0rcfI5K9WHph8PlwWIXFoZyI2Szk5nrqb
8aFJXRZ2+m22Bj1Ln4bIuo5zFdaXStB2iE8EsYRGfeuYdVg6euIVHFnofHlxisJ3HdVEtOSSBdgE
rAHlD+CKiZG3xovKKFuHhS3mMjV6Q5P10LbLcQR/VvN5a9uINUtxtUqO1JlMwWMbU9X3bt834TAP
Ps35w+C4irtOJUKwPeLErgFQvzocWx6UvL9301RRv1WtnGBxbs7ijth1ExKMt5K2usrmyi+Xlnso
qH7gmen1FNiMzRjtL9uhXPBGWwfMNBTyBcFWlKMBxnLqkETGw8Ky+w6EfOjZDBxgKBGNHbK0OdAy
/XhZrNRzbJje/4kVzL+acJ/nfdwj94B+zbs57/3UvcvaJ2QL/MuipJ4DuJ6InNF2CDTT8wPQaGuc
p+PchKUZ/4pi8twSdkyj+aGMosmbC5QcXTvaXRYq1+9/QsVkqOligpfFRROy8n4tDhh684ryQ5Xs
3w9itLWtbXDixkaXAC4Q4YWYuEvPnAb6oeIUe6b1ifaY2Zt0pPsKC1PplxWT3PmQtvUjAn0RuD+C
NNfp0lyrkz50ya9oyW9IYt0VXaJisJeu34kY4VTnGqCmCmrVIXd031yayuPFcliARKuVWhBFGVe4
EambPBEonHEkFUt9ntIm7GYNCCiFlzkf0OXWxarimWoBhQOXT3rWoiG/Dt0Zz4xCH2PQylZPNnjE
FVslX0MUa8DcAcRQEZAUIL5lQirYIMCgPGt60Ouv4wJwhfF2rRUVfblSr6K2r3JyybQlrVo9LpvQ
BX5SmmD+b+2vR1vFMagQ4wpeQyvLZgJ4Ek6VrfvNSj67s+1lLFW04CsWTsxYRqlOFoDw9uEIBHOg
Hkzurw14vqThUCn8vtzs/rdw4lvNofMca0XahzZ30W9xXHQCbNyncVSE0KqVEzaow7Q6sBTQcjFb
/R4u/iqZMChvqJrYpWKAvItkIrA1dLL9/sQO0tYuNLPs+jBx6s/FCLYgB0XbFfAJCqcuXTfUy5Cy
AgwGExm92krnS2NnTbgwB3NUHxvy1LHY7/nPy+7uDSP1b+/6Kkh853JqcDsZ9C506nxoQCSHskb/
pcpYnc8e+ker0UK3H+2Na7fO+fSBOD1YW3d1nTUg9xuTeojubK0a20eN9T1AqpqoLx7Ngq/1bsWH
cKRUAOikxwDrKZxsBFQQnr+RZ6wLqLC9Ke7n+ZokBi+Y7zbAxP3G8inNntsiS6JrN8NTlno5WuVU
U47SwOBVcTFlUYFPeTArm4WaxfwmveqKY9pNvtMC/3C9MrqvC5IYlxdbsalijoZmWj8nAxwWcgle
vRhX6ZJ+mJdkr5erCjZJesZP1BMsdR2RhgbCeYNmiemDrQ1ewvVHmmsB192fms5UmG+baxLyT1vJ
bysoITB+A+hV2PU41wUMluXG3k3Lm2nh+8vLt33lSyKEm6XNcj7zOENMxbvkuQX+9aHgxHhCwdRQ
uC1ZTLU9+ugGpINameBOGgtQpsOSmGGXPa3FxzF7juYvOewVkPi+o2qklCqGxifgwWCSDN3Qglcp
q2W2ASAezsaMBGQUtDlBNU7/m/V7FSPmwYehHkgO8MSwdT6W5FsVP7rlt8tbJLNwdI7/0UScCI1J
AXy5eOjRexTd1Rr9zsvuxo6Xa21AI+FlWdI9OpG1HfATX8yixkKZBeo0+oO1al5GmJcPGN+Yriz+
bckVGRTZgTpRTUwG1QD5sJpFw6w8v9PNe9to/WIbUkAABYwqRWijsAgqhod9y9w4a5uwqD/Z/a+l
fh7GH5eXT6bPBsCDwgFoqZHkPF++CUAb7sLjIYwG4ucdv9LQbAocrJ3LtXCK6eNlcTKN2Dblgx8Y
+BYtwy0NihmLbECLdQLWzezOnrTALbqPl8XI3NCpGMEouqQsR2AstyEoFvb1WmNc3r76CxE4/yjO
A2cLedTzhQNmjd2lFjxrWaG6gw45zSPGogIGlXThY/iXIvWMqiUFMpPg7eYxBiIE7cyQ1TYoSk1v
zQ8UwBdDBD4vth6jtPaN7G5up33r/LqsotQ2TmRvq3xytByYBvC5EOY0U+V6Zt7vHECc512W+0Na
AUkpBjTkZZGS8cBzfTcDOpHJMredhro3Q7dO92NceFU2Hm22eitQ/wr3W2R9Am7QTm9YcFmySlnB
+yYOG6LZSNsQiK9fi3F19o3TH+d0PZom8yJczQpVVQK3359oSvJuKqeo70MC7pYoGo8oE3osn9GQ
7IKJdMwnpjBZmVtGB9afaFLMWwH71aydEZdzhpIC7b0aoAt9cgR+m8JvyXzyqSDBbyFqLefejBtU
oe775XOWBQlywEDfxLsdMAuKV5mkTxOpgRO9BB/GjK6fmg752bFmvzKK1hUCfDStBLYnde+7KvVZ
Yz82c/moudUOkDWpF9uVwn7OPRsagwAch8FF1JYdVFSQOTjfTtONAZY0ox/D4NkONZyQWAMwq9+H
gvOfGKRU0baztWSI7bbllETmpKc0iJrqpZqHr2us+VbFFAWicwf6Voxw9AHn4OoDeq4CfDzAKaqv
U6TiCT+3/7cihAWzzXjuanSIBTZenPHsBoiKj1VZHdsN2KSJHV0RKch0sggFXReAdAHzLRw4XAk2
31KDgZEAnXpywSeralw/P2H/6nQqYjsYJ2daNxpMBAPqOygi4rHIn9fcc7qwqo7vcVZv5Qj3W9VH
McUPGgxa3lxFnddPAR5f9Y4OenWMWaYajZJt1oliYvZt4WwaZ4yFB8CbutfR3J23VyB93XHe7+vq
feP0b9Qjgv+wO1pqKMNgGav8Fsw391Gl4upR7BQRfEY3xiDJ5RUJUOH12VKjx9dIvMH8mYHsUWF4
MtcAnAM0t+APMEAFS4/NFJjbOlwDbhgva/tDX+c+GMIURqESI9xgMZ7vBpiUGChlu3Au1iBdq72B
UO4vbG+bFkXPJSgdxBdzBHS7Jp1KEjBr2m01RHAEfLBahvnVep8Wy7sC7v9s4USc6InSdbIrzaYB
jWMkAqornd9kbX7l5imI72KuIGUVApC38oTNalNjXs21hWHoBs93+eSks9f3pav5I5m1A7Ua/k2z
SJ1j5KBbHL/ksXPsDKQFFWazHeLXh+7bbyLs59LOtWsjtxmwhR/Ikt2lPUxzrJxPTQl4FrZ8iIvk
kFvzj8sbLD0aJysu+MnETO2x2k4fa38wLfGa5ksf534ff/oLOVATSBMbW71Yup8Xupp5YxuBY82f
kvpxSDGXxUm77zMVX7XUfb2KEoN19C6CXnHQ4S/d6r7W7a/DUCWeNYMvR2+fx04/XFZNKg+lCiSq
UEBAIeH8HqjApTa3TUYDFKj/STCsOpb8qM8EMdfAPIZ/XJYn3TIkJDGVjIokyArO5WGqrFnR9EwC
qxv8eCQeQvcbyl7iZP2LwAAD3H8kiY16uJon8EQxGuS2HdDcQWLpfbSu/9o9uBB0F28ew8Jw+7ky
a1GwvsoMGiS4YNoIEEvxYSAqeKXtKhZP19aWDiYeFNpBhHsuZdL6woicjGz9mZnXx/zBYK1PGwra
7yxEJuEw6ioiDpmHPpW5beNJeIBJ7gwgiVi8tmsONQj+0OS21ydVRUQqBvPLAJ63AXIvWl9cxWbf
dzENuGEeMFfkDeDWpGmieMDIjG4D7/kjRtCG2xmtNMxIBVOZHAG6tyuAfwsqr9pDR+rzZQNXqST4
pIhFXVXkmIVo++aqn9vAaRcfGeK/UQkgMagRWzYmLwQxNYvWNYs6hL024Efqu9q0fWaj+4J9vqyP
zEFsoMcu4GHQhyWG8UxzF9aBFjwYOOCI4xWVOJPdmKzTdpjFHfcjRlguS9zuSdHene11AkZkkF2K
pyrL3MhAeyAJam14yF3yUhsqmjCZUtsEDoDb0cICNOtz89bdaFqL3CEB542H0EpjtyAKO6DZehgU
d5RUmxNR2+k+OUlaXo2pzrFRbhn52moczJIobEHmIE61EXwqabqm0iNCgq1UamSANE27jxYw7Vo6
fWnN9tDVSb77i036n1ooLZ2rlczakpsTVlCf+aHrm7sUeZ2/EQE4NFy4oGcRx3ddzcXpnBHJMzBv
+XAgQ2At3d+E1w6YVf9I2fbvZH8KzsxZmxFDaEv0lHSf7MzZ23l/E0WqQrPUEoDtDUwakHq8AaxK
4trWmoLTYGbFDqOhvmWqyDxkjg5dPugCRbyLOZnNOZ0oMzK37Vhl4jafinA1xh1ppr1tZg+lrcJa
kmpzIkrwqUBBjqKlwbs77rvPLe1qsPmNKn5duRAcUIp2CgI3d65P1JUFSBhz8zFdrNZrKqs+Am9H
xd+nkrL9/nTV6tY25wWqYGbm2JMBtVjVKLrsVgDt6f8UETYmd/OoT6OIBcP81XZfOpMjgaaiXpN6
tRMhwpbQokpzw1hYMKHPmGo7zXxA3czvmj18kMJJC6msf2MfNLrgsYhJEoyqCFszGwPhi6GZj92+
vwEf8T4L9CdgRwOO192Rx8uuQPrWOZUmbJFZOvO6YpYBAJrdhzrTji5tkR+bDvpc++a0hhUbAkCo
+5phvFyWLT1TJ4oKW4dZqtrQI6zqUt73/ZGiM2ppnnPlNIZKjrh7W2kIBUMWpKjSEPeuxRu1rPzk
fdD8fzYOY89A6wTim1hA18icLtpmJWnykRm3rNC8GPTi86BiapWaI0T8J0hM4mYFt1aA1GxPmc96
EaEx9Kcz0p0JU8m+XN4j6QlGfAJeWNQk0V1zfoLTedE7oBoiQxdNO8fMD92oqoXLtMGcAMZc0buN
QEg0g2p03TmjNKj4BOzwYC5jvy1/MIDmqaoZMmdxKkqwBEcbumGxJxagbfjYGw2oTpyvuevuLi+a
zOBcCzTT6EUHjai4aEDTt2Y3WpApq5FnZnnuxzb/Sfh0JFG9vyxLohKAYdGKqlsIwy3xLp+1mjbT
gkirQUthUXMPtC8GYB5UmSXJLp3JEfwEMotLPpjQic2k8JKVeqjuDXuufaxj/VORG4o1lMoDGQoA
KGHmb6LjmhCdN/MWHSdr6qdGH2Jy5Rbz6deTzQ6uo5oFkq0jEsK4CzEcCHQR4cVpRX2mZ/NMgng1
dl3boewDSOjofcgFv33Elnf+nxhyfp6sfMgzg61IrOgLegi4mYOv2kRFIsG0x2XLkBxdhiKrg3Z/
YAdT8R4x09wtUrwEAmdIr7J8vVpHFY6ddNFAQMwI2iOA6ybEx+6qzQsy+CRwky71Fg1kQHX1T5+q
SAtlxgBamj9yRIcXVXjyWRvLtuZ+jNidxgZw4Nznyfcifb+/YwSNFxghxzzUm+kbG7HfHHFoFA10
n2AixphVD0z5oiFxijAShi2mgnk7sYZOOkPRw872BMcXIxjNuLeNXhVLSN4v2BoQYOsE+uCVeW5t
wKBfGo55x6A2W/ZomRGKqZpV7Qu6xs92n2PAyEnAg1ICPOuy8Ul3DKxhSH4hZH7z1DTMgSTdtmO6
/hJrQdxYXkJ+9vTgKtvipet5Iko4UrSseIJXMAGHFlDqwQ5PwG26mFRxnCROHZixLgHGr4n/ilV4
28YQQ0XhkNLcRLCp+4gmfCPntxFSEX+xeKgRYbQF9oHRs/Nt61dC5mRC/nksunLfFuV92hbEc/T4
l23m13PR7S8LlOp2IlC4F8HZrDOtSZFaGWakmatn4H8EZWL78PGHy6KkhmHhZKFnEp264n1FSU7n
NeqRMdKf7XggR7sEdV9DMCebj3rj5dX76Bn+c7nI5ABhACSJrpjQyYplKMy6YEFvZl5Xf5qin5QV
fj0fL2smW0S823FlgcJrmw0537VqoHrBhgmLuJjsqdfS6XuiZ2WCAGBA827TRe+jNvpXM8jBmJCB
AT7wnp5LtKimJ/22ljPPfTJZILFsr2sHkFyZqstfdpmcihKuR7wP83zsNRoAw3NfVP84RqpYPplh
mIB/QNoXvElv8uV2v7njAXXTyHkyrMBMnvPpa5lfL7bi2SHzFziniGWBfIFh3O2LnDxKYwC1N22E
kHYe0luttm/T0n1w4kJRRZKtGLp1MKmwsdKCkfZcTFWCkrJEWB5kI8iF7PW4Yjzt/RbHUEzcGg9M
wxTde9nWVjSWhfPotsbvTn5nja9J9pKU70Me/9fSTiVtyp6s2ZCa+cwTCttG17vheBqtfa4CgpCt
2KkQwe0N0xwBVg5CotYK+m58YkrPKtv7UxGCozPRA2b2mWsEdp/MB76U7i5Kehvw9pZqzEKljWBm
LuWxUay4AU02dn6RDK7fkEoFaq5SaIsATjZmbRc37mzNCDiZ7hNe+F3mZF5LVF3oKm2ESA/vWN3Q
cuwNug0AcdsHTauyZpkDONkbcZBIIwPPrRYiQGfl8190Sr3B+NEMwZA+Xz43UmXQLgQAQ3T0wguc
LxoGhpDZ7REx6FkGcmiw2/Uq6i/ZZYA77o8IEbyW5ACCaXNGAuLWiV/OzUNE3CE06pgdcg0Dvn+j
kb3N3KP96M00Qol5/7EBTF1AB+cm7ZbnOFchwchiSQRAaOvGrBfwGIUbYKp0E90zDgmyPvdMipYx
DNi4nzPqOdFLqn2/rJDUrk+kCUHdkrRrRLmOqy0fvapMboBEfOeU2o+/EAPwEkyUoXOLincBShgT
2uMhZsy1K5p1Bwyn7KtEdbdJDQ7+GaCW4L4CtP25wcWuGaeg8TYfwT6wK832KnP47i80ORGxfYUT
RzDZkVHN5nZ6zNpfHHtXo9EExvc3YtAHj2kUpCeRFRLEmOPUkRa3GpI1+5TkfjaUe2uc95e1+Z0i
EUpVgOIHGAwGCVDAFB9JTgewVjye+CNSDj9X6nw1nPimQzNLitR+VgxX9dKl/tSUn/At91HBOl+b
qUdT0C5S+rG2nCtXc24LZfwq3cqTLybcICXV+ZAYKLN3sREdDBPJlpZUf2P9J0KEu4PZbWZpGMwO
HHvVd07VBMTM+p3mzsHldZYdM9g9njUIxreH7/l2Um4apM5M89Fxax8R+6GytYM9RYpYSCVGWDQM
EkWAxULhsRvTQAdq+MrXJ6acf5XdIBtiGqjrwV5rik80rRjobA+oOFVI07vt56l7mabPvXNTGN8u
r5vMCk4lCadtzNIOb3tImtEV3SztHkSIV5dFyG6Qk4hbbI2p3NppNYrnRBKPu4UM12McX012esgi
VUe+zLWfht7C9rB8ccgKzNqg0T47zk3cPE0oeCf8MHTXzHq+rJd06U7ifMG2Hbsls70gzp8GvotQ
23RX7v+NCHSnIZygBEBL51Y95ciHojdl6x4hfqsbe8dSEddKl4yB7wl4t8hxiB6dJl2cjyOS1sRc
Di1rf6JF7GPCk8TbJqsi29ljKvlvThHifEDMmduLT1g52wA0yGrMqKZx69hN+hEIqLtMV0FdSA3P
Aoct8g+I/MWkXj5rVKOlYwRLHj/GLvqxzN80a+GsvQ8c5r8HrAs+z+2soHor3CasyaBQi42aXN1H
6wAoDGN0m122BqnzeRUivpIBMxB1RoqtstPysSAjmnym0Usn0Hm/XxAaRzZSI1gFHuXnZjeUSLYW
5UAD05n3YLIJ3Nz1s3dC8v27aLA4ZKnBm4VeLyGYMJ22tHKzwOXQOQcUbY4DVwUTMhM4FSG4NyeJ
Uneu0Wozu73XmTt3aPblGsRVqdgbmTM4FSTcPyBEHKfcXVEpKesvUdTY3lKVxf7yvkiFABgI0fH2
R4xZaJ1u/GwI9ytD36XDcvg/zr5kuW6cafaJGMF52JI8g2ZLlof2huERxECAJAYSePqbpzfXn6yw
ov9VhyNagkgChaqsrMwJtKu/L/HqC4OGJkj/sIn9AzYOW6FiFxowRjeNUjwar+I9wtixjB5cDeun
v6/2MvhAYhtYLgQegA1CF/Zl/TI0GEKvRnDIlpoldyZb6UFyKT6hE+OODDAYOoIVemlD8xaWdjmQ
v6dl/64MQPdCgUBu9pLeMwLW3fW4JCf0nM6MyzbFNHLh22zMzxP/UKSQE9o+//1pX77by5oI1v9y
KBGOXrrE+43YRV+4gDvUSLP0w8X+Z4WOJ42//X2hl+nDy4XS/z2/fHAu31bE1yofYXvGl9M88tt1
L0+QpMvg5+5Pf1/w5cZ8ueCLkzzvIJ5vFJTUWNMjzfw91NOOf1/iZfD7d4lLe/Bi6QcY/sWdUc77
hSGhQZ02qk/d8BzT0JbpW+amr30jSGpW6BCjX/fHEYtntEnCgo40zKD6ZNygeZp+QNBth1K/QQZ/
Y6l/CQ2/FTpUYUahmLH5ob5rZiia7F0lzjZ5S7D6tY/TwFUJ9PaL+O5Lxo+YC4i+1SJ/gnjZLUev
uC7YfyTSXj7O70tcHvW3R+GknqiCE+OpAcfCkrRz/C1h5Nfe1u9LvPj+Vc7zZUVldAJxPO54BW4h
GyEoVZ5J+V8Th5ePcwlbvz2OKiKVYGYIt7n84fKOj7QbGijz/9fk++U6L7KGZZhWP0MD8eSoOxpj
jyZq3oiwr8W5317by00m4BQS20ubdiWZu7F+WHrB8+eSJik0+WjaKrr4VkZE92gavyUG/+rWgxkK
Kt8LP/Rl8avCtlseo23n2V3M6QnTXue/h4VXtkUKssClE43f/0eHSToxS72OKXI8Tr46Nu83Jtvz
Nhr5D+TU/5Wghy8G9WD0RiCwhOP0MjPSpUhLFUswxl3zLCd4xMs4euOWfyXS/c8aL6K3kM4tZFUY
GFo+kqD7JH2s5VuaQH/QpV4+yYuQXY289kFRXEaw74v4/rwO4WlLw2MNoxxcv3eVdVd5UpxdeGto
/5U9iXIDXdwLZglp1BfpZRNGk45u3E4CGHwBzy+6P65Q405o09kswHb561y9ZRbx2qLQOEETowYX
/w/Ur9xT0hR2RAcZfLft0nenWV9nK4zoOezoF3XetubdXsnH/75Bf1/3xddsgjRSpphxnCGg3aj0
OMu9XdV0NefJG2f9tY0DGmQBm05QSMHd+t+wlRAokOdkALPFhpauHwrWdD79+vfneeVIg8yHIgfC
VRdG8YuYFQY+kCrCPRzgcDpF9qwxafD3JV450xhigBwNWB8XK/UXW3NwcTRYzGqdLlbVbG4TUV0l
2yPTb9HPXnlh/7PQ5Vl/i/NjVuwSKn6I89MvsX0kKWmJ//73h3ntff3+MJe/4bc1YChjVS2x75p8
7yHy2ta7ufr7Eq8+BiRDSwzpoDp4WedKOYWFAX9EwKhANZtaW4YrAsnhvy/z6mf5/8u85K5sykMd
KIpQ4qjmaCR0MDfxUMBjA8pwx//DUpf+KYpPoHkvFaDXYZhnuO6CCaHNe7Nt54my55k+pgU9/H2l
Vz/Pbyu9uOqJLVKrLErdlI6f4wi+dVkavfHiXv0+v63x4shs1ow1WiUoQiFn3Cml/qlFlbT7vvz6
+8NcDviLoiYD/I85DKj0ZX8QBOxOp0LNVfUU1KOJ7yfD0LDppXtkb3WFLq/lbyu9eG3onxOP4ho9
wVj88Ena1xqsSjAhlmaAdATA+zh9QyP1te0HlwCE8AxerX9YJZmkXrk1uBaTwfSrOTTD3l2m8PO3
5pFfWejSHkL+D5WKi33v/57YfZjgZwqHqJOL+zS6jCP3wHMW/hZR75V3iHUA7l26UABbXlyDZHBi
YQE3MBiRF02GruYHOF2dGauPDn3PIvs/JIPA2+C9A6LFK4SB0pHKY74JgWKlXZw7mM8eh2o4QZri
isN2qqEgesRv1AZ/bMrLXBqEKhE5YCTxx4UxjGSqa93Ex2TK5bd5N76n8Bi5DnJZ3tX5DLMHAZ3O
/3QSLl8NAu4X83echD9v+yTMIKqGCTUPd/s/Wx5/nXUBmc54DfRchUG/T+FB//nvi774oH8s+uKq
X1QDBAP4yTGrtH12czEdlyVKdS8zNCV2oGoHGq/zP6gu3vKpepnOYW1wjmF+CywNBGfAaS82bUaL
slZZfITzADxVEx2QxTGW9SuV4W50VfZgBTNnMfmm1bVG50Kyt5pdLwLdv39ECa/aBC48YJe9vLhr
L4XCwvlTCPKqBEsk4eJuHN/SsIYy3Z+vGoOov6304uaefcxToGGNbEfrhV7hc8p50kDderom2QoJ
rb3WeTtv04RL6xd03HLpM4i8CILG5agXzLajHZtpqj3vCjKMxdoWZmd8xm+Uuiwt9NdLOY33eah0
xLuFQivraYsTm/OOjatff5S81mm/JBFh/wi98+WhrGK0+QFVBHifET/oCta9PJEF6USzLF6esCEm
BoXCeeX1J2E886LVmVK0aStMgY+6VcDpi7FnyZaOd1mw9bS2fIkaWbRc1I36Ge2G+dvUJPvKT40d
FVyV5bDttOmBdU506mSVLPn58g99P6FbRY4mV030IJy0cfm5zqyUV/HGmF3PmduAtdEkbO7njpXZ
B2oVRLTzVBf1LwuR84CKvgENqcvWVUcbaTO5DeNBjtqf8zxKL7rBtKb+KPkCVrOFoNTIb+KFDWPo
5zhholvWUMY/uCoMJQD6c5t9TYolWsdW5QEmp3MTDA9tmq8Vr7opyXxzKtaYLvxYlBxPlNCJMN8q
b93HakFH6dzYOh7uw6waqFOUJpbp1Wg3dOWgA5mbYwmcFN+S1Ynxd2rxKUaIIUXdJP0MfgZsQWXS
CNv6Kp/2f0K01TA7LqAyW19hesPBGW+0Ff3CBsp9hgbSBMLpUUNvht4NsaSRPtMlTeYPbEbm9Skp
V4XwTRsdi3YRdLCYeVOz7dnqBAY0inUtMTsxR8sCd2U0hOe6S5Yxib5sa0I1BqkhMQjnhqwwqf/V
VCxiAgozyzwfrUtNCpoCRrbcNUiIpbuTljWTiQ5q8k58tCUkDuEnvw9gsjdm5k/gP+bw52AsLcnn
DVAxX3ojShG9cwlER59mYmxyZHCS/1qvULyte5aOi2hn8CVL2kGshPMbQbgnunN1Mi6HZGQkbomK
IHpJnMnik81WXj2Nq3XRP9PIUt5dAMD8ncjXPcp7M2Be4Kkkdk5u+KL1wNpgxzR8WPKYDjfDuJf8
+9pEzH0IsK0v8ZcP44KAETG/uCtbh2HtyBqvte+wTcq57Jad7OKdjkOxHAOvMHUeRUu2wxa+pAbT
MChFlifN1FT9Ys0gc9ihlpWKb2f4V06YIxjIHK59xEAtaKeG4KQ9lmPduGdbVNuDGUt+7Yq11MdN
sSX8jBoaT12Kdm/6GVIUEe9j77bi4wTqivgGPJqwrSVudjE5Q9dsEMuJb5UX0FWolwYWzxJmzweq
OVlbtmBu+xgpQTMIEFTx7j6VPBdwc4MBmGg0zjVI6XcZF4k+ezQSnnB1zOWPKV8pe9qmhAOcmTHF
exy0GUfo6zKeX1EWRRK66jSy3znmBovzYma2PQOZKNVJ6GaKzKFoIjc9kbFMYJxZp9ZelaOt3YnO
cgLLwM1mr1s67+ycxjOmbtZ1Vf3mFNdtDA+Ke7/I+OCzycrj3lAKseIdM8W+aGuLQdUPhchyzI0l
UxblT7iR0/KDMiukw1rPpip/7wcSwak5pwsUxbXE2MUR2f4kPsR4qvkQMz5AQrcY7UVSKa4JJO+a
pSTqRyb3qH5ESBXp41J4t/wz1PhQx3zR2dgbK0I9HBaTZb7PkkVMGGMcuDNX1tecpa3gGxmOSYjS
6h2GKptoamuo6sKBjMFeDYoCK3pCeQuJdRbdOpnZ5VdqXOFcu8RRFLWVCWVvSrqFh8Gk5nPJwOGw
EI/IeHMd6xAlVxE8ah70rnHaWlWtiL6nQLxV80nPQlPWuyqUW9LKPCLb3cajaP2FDxx512LiagZB
eJ6UHmvIflSzhjHyqpa4btGX8au4nWkj2XhMaj+jwTyU1RC/WzmFqGibNdLToSU580UPOQZceud1
DFh4h9/rXUasiExXplyucRfoErND7OWeyW4HfQc/OTTpqLZOkCUZ3uvVGNPLKg5V2m0NmItjG2+w
iHAHothaD9cTDHL10HKTzfUhj3aR6Y5mBlKfw+Ki4Sqfxig7xrUz+9WUx9wNfcnnKT7hKA+Na5td
uno5bpaE8Q7kK9MNMY/fgyDnr6N4L0KX1WORPDNcZ/lTQ92IOU4X5tI/Yhua5TFpVkLuF1Lmw3lX
E1hoBada3liMatA7N6iQn7LQxCJpN89idaJLHjBBzezg/fU6FCO9XgbwWq9lsGS6wXcd2eOeOF+A
MDdQb36hnjJ8PYJPiYxJbTMCXrtVGy07P7Jql62Yt0EdgsRNnp1hBWL9+pgPC8wnMIAcj+/Gyg7u
mLA5m79BTs4Q2pmS4511GQnZptu8pCn/NIZloN3lvPnHMjILO4ym7hUmcNEcq9nDskwJpsWQFhT4
QNsmiu9Ba60OvoSx5TeZ+2i6zXaW5g/TxHeuut2oLboaAnIQdkgmorhqaTFFUAu0LsBomNAtW77G
mOLgezdEnIBBkI4RBiVOidBi/cCjws7iMNcZhciXI0NYlwNCao1sOZukvq5iCoWhThm1Evkj0dnm
+8XBNuujSCf8H+3oCpGwVhQNj2RbUa8Yb5Wa1uFzQTx+xm7axHGLrGN0rIfUEnRqDzzjW5liNIVi
DlUPxSp+1FW5fZ0Nyomz0hYDRXm13Y2TyZMBMVvkhLY1y5S7TeKZYMxojNBWjiBd46HSns2cjM+Z
2Qx7CnvtQu/APPL7KZUsh5U7tFWZOK3ZnM7LsclYwl1f1rVHKpwZa8xnMJTyQuIPyk36rRaIqaxH
RlC4KzDrajZd5X6S+C5TKAfoFtoZbwWvsmqmpoub0VShq4iHk8+ZTWOJVjYZV2CMZTC+fJArrpI2
rdAZvp7hRqjfrXSoLsLRbJC4nsaM059aY4DVYzrROXYLIktZ39UwNYEJTFjEbsfbyab1xg4MeS7P
z6ZysiIHORX+NEi73YOsafY7DPOtW3Ks5VCb6NZ4sKHujUxr9xiPrplDT6yeyJUaZDPZb9M0anew
Gtys0IK2zLKkVbOP1PIIuZFCyY4XKPTfZch2M3E0IrV76AxGH9YP6zrX43nRnt3uUy3SvFuRYirT
IemDkSbMEJbYnSOcRn0gm97y4sBykZcfk4yTYUCH1ZYq6grUQ5HvIDsKHBpqxQvKxQ5asUs89zy1
cl07kaSpC2dcDgvEl1WB/KbwuNr0PV3zYl1aiOiiJRTWPV7EweRRKEAc1Mjq2GXaZKaqHzckhlU/
NhCp/xDV2HHvVpSlyJc2KhGV683LsBymeETC0AK4VpjSy5Hx3aR7vo8PRidrqFrsBDJuHZkmCb7t
Aikl+YBvwvz3FOdVz8dGmk3xa7XtyUy6vJE7vq8CE6760IRYl99hbbAkH5HFleQeqXZOv69i3aJH
vRdTdZMA4YEGd2PWbbti0BqaWLcmIZt0jxjLhgqGukMie+P8lsN1C2IvZDlFMknQ6l09RvLu+V7P
rukoEG/zkI17HfnW5XXYwwFol8vuyso7DSvHxqQItWKVPuosERgD7YUP+Zrf1y5fXXjSfCZJeN/E
a1acompxxcclS+wozklFILuLM09qmLKXxmb0uUQhP4mrIMpInV2G/Iy01DqfWbgaTE2jrmjFbFEe
UfRssT6baE/SS1Zs8veYAxYrOaJ8yfNDukTGP4lN2fhXCTfc8Iz0exvXNo8v4HC/lCvaWbdWUMEP
ZewrRvuClnNoOpKlVAHuquaYWNpZ7dEOuEZSukYJgKldlCddzXy+JmqS0wO8TUS69yVEEPapgwSN
qr4FziEF3hGSCH7EhQdHpjOXmiCJkC5LdWj1VHneehqD4QEVRb6ZUyRCvHydaYTNKu0QL7eWUbUm
M6KTFRAdbFPYIqdw6+RjVLB7aOfUxbNWgyWflQipuZoG1JlfciprP7ZRs9RlO+WbNKj+Qr1p0Uca
OLLrLkcG1ek+DM343BSIY+OBqiEx55VDBeNDALFajy1Mqydyl4JfMJKLTvlI32e+HPNfqMdcQg5J
MutQdGXQLIh+lzqvxrayTTEjz6kgX+ixqeLayGMVEiKWAzejMndJXtD1ayP2GpVSo7I97Scf0eID
xOWr/Lzla4lLXDI+wvhS79t+J3dRa+jcSFw513Ma5Rkw8JpW0Tnbtik6YOatEk8x5Ek6pJkctuS7
wGhfq91quWiZ9xIHaFsaL7M7xH2NbH/HnDU0TGedJewdGMPZdA0LpTl8IfO4IWpMyTqbr8jotHcH
s4gMTW/dDMg1zETn9JzC11Cu570ZUic6UiChpC3j0yh676gZ4hbu5ZO/JVENEDDiQyNQMrJd2I+5
MJH66SY4y/40yCzF123Tuf2s1oabj8wZoz5FF4b2dbUOaMkfm9Ir/rBgGywfAlTQxJHg5K77kx1H
k9+uS6hd1PoJTJefcwB7CNenJwHuAlsFI9sw0w2TV2h9i2+xqR8L5GIVjfW04DTFlBsorkOhRHeD
jAm8Z+RI0010U+UwAVcaE6/ywKDOY98LNRebBY0wTefp1iH5dEs3G5ntV+UOgWtztaz4cDPiTZXT
Zm5hDj2zT2FIaxYdoHNMd3UFE8OSXEfwLVne0yBmsR5Ad2PRl3izS+5OYI2X9eMil3wfDhiL29K0
ZwiiTeghelvH8205TRZAFJA4HL02L3yIi1O+sjo0V0i7hYz6ZlOjuWqqLS5MPxqEn2NFU9RjtnJp
8svljGYx8hw2RRonyo+ojewpW6PG/siGzPtjAtE3JFUyixzvoGc3oXEw2BzZd1+gidHQVsfpUn/y
tk5bycR5SRr5Jcffso7dNjZm2iGrSlYrO7TBWKQvNzzdbpGV2lsT53R+v6fUVg8FTzg5QIcG9gI9
dwwwBHHgNz5HsLNV1xv8SR4qsa3HKKBOSmg66DaJbSl6SnPrPsTOLGhXG5R+fcx8vYKlUcuqj3f+
vhAw2/EXuvPnkQIZackw2b7M8/WgWI1jDW96I2/3XAnzTs25HxFodZUv9rDhdWra+zVZ45+jU95D
9jdabLtLnxYHA6rq4OAaGur8ecuQAaLZBrNDWXR7Quf6aShpBT/HOtGFBWhVasWBMWQYI3etsRrl
fRvlDVR/UREwVkCrk1SixHsvNlZV3QK0Vb/DqOJIqpbmuxZDVxQR1MJQzm9EsLMYReZk7+LgS9RA
Hn5xn6F847LHaLacQwPCJGnyMS3Yrj5Na6P3ZwIpMHE7GDlU/hBmpjmeKWscxO/GJWwIlDot9ci7
GGJnynUAM/TOjn4Pc22euAfj9JYXOQqizi3jnNMntNKCqkgXKzYy8b4YA743yS9knJQ2ZxRDqXcA
FqVcUbUlbkvLduQFsAl+0d9dJqCx0NBJYXLW2oaa0MMCWH8vksD1fVZMI8S2Ir1dpxGDbMwu4/m+
ZKRoMbxVYtgx15Aw/1JPIt7JQ1WHeT+kFW34LS3AE7sSKnPz0LkyY6oFfmPYIcP4+jT1NfNVybvN
zTT9WOKFANOoy0hUNSxakQAJIE6Cgx8FXgai0sHtSMq/CLUly026jYk48kqZn+nYDPyIiIgvMBWu
OO60Eiir17KkP0gm5RdAZdTfbnFINpQluCRL2J5zOxYYvqbW/kT6L8RXqxZT3s/cSLy4jUbLYYO7
l1JQIMU9TfqSSG6v0sYZNl/TFZkA9FE07LiXYJCiXAOAxCTwqYimZggdBVCTzT+gjrkAEhtwf4Ni
jxZDafN3ZVpHgUPW3af6K+rEODHvCgnqydgJpHw4u5K6pPlVcBtK0xWAQWVHaSz6kgb/qdR61u85
sSEmhy2U0l55MB7nnq5FuqUH0HDSPe7ndJvHvl5mAJ691bvYGdK+MKOYTVS+4bdpAMzA8IpiR//w
vURmPH4UUVZCg7rMzSplSypSh8cljKiX+hgyJ4Cdk2ZUSXQoNQnedqmOcd91SSLCmPcb5DzWO51z
t1ypOJbuKxDIpc4OwM3W/HEYkf6So41IhcC3mJAPN0yVCXuGMjSnnwsT3ER7aSi1DzCHnjLZo8OF
rKYnaIFMfTmBG/PNTY1ipyrZFWrsGcYN6qbcaoeIbirMOB8Qpgdnj7nFiLg/JGFfpMYTcUN/6WYt
IBsWQZwR3zKNzXQBWJjbx1uozNJ9bTOFDg/pA4jDdgc+ocoy7uJ5Vjn+06Q22gC4u6lAPMo1e2hc
yMcbtbmgfMsBlrhjnlN8QtRVnnwsMzh2Y0Rdgea6bWXFtxbe2os5bDk+2SExmod3o/Aj/AR12E04
wg693os2yxijmC+oK4Bdfl7W5sgVFGx80zTkLt5t7W+oXytMFwYV1es9Xmq5nst1mupvDVNMi06h
6prhHrTPRfQDolw7PYh5LdBuKOAivgCy8AxMoA4ZLtlA63A2BjgRC8CAMSYpWLl+KhpiNHwUtoU3
n0EZv6SfMck8+okYvVmmrsT14jeQsADN3OwKQzSPdWYaVrdDGEYqDvACDcknvkggNf04GBiXH0BN
I3kEhG4e9zOY+yq91cuQze9YbSjmpmEnVlCD91xLd8czzNrcctdM9dTrOEKQ7Sp0HpAdNimLyuyA
AomT+BSvIivh/WCJLXWPM83ZpzH26fCBSfTip+dmZHpbWtR41OL4OaTEP4OxPD3rCQyLj7HeNnni
xZ7nbaYzclRLVMeHLKHMIw+kFQ/TwQNvYAy0PWbW5GHfcS9gLFpfmB0sg6UmPgZIIcieoQR0W3FB
628oZDaUNbCSLbb3OcwDxisa6owj/hcocX4Vsan43oOsYsWGhilbtqQDht5MSxvMnvq1q5D+JUA6
y2ZJ1hao9eIfIGkT4l9NuWt7hyC9zSj+5sm8i5GB6ysWuEwfYcbbFO/TVYO+0cUZsnPbS+uq6hmt
DLYeY1mWcP6het11l0FnxXdTtMvyLMAzSu/qBUmPPZYzxPd7SBkvWY75EJpmjyyCSGbVk4jyKm9x
SQnckX4fBSjH64pM/SP0CjJ1vxfUkdtpR+b7EekUKvOuAXI3XCXWJBk9YMki+d7Qba/MCVj9Kr9M
Hh2Yu5m4UR1coXazH4gd8+2LtWhHiC7SKhruLfKEGB6BcXjIXFSpFmnjgA4BMIjPu1nI54azBv0d
jhgOUHZP9FMBXvMsEZj0dtrgtHMkxWDW9bMbmpIuHTT4wKuPpfbiu1ynbUmPBEmBaG4yW45T3G56
mXb1frBD00wn62FWiDQJvPD9sA2Mip8QuWdmhlF6PFN/4BiDox8UyXTzpDKesp+QkluaH0MNKfd/
5I5Owgkqenx+F+Tuiy9lqCFWVRBEj+kaQw3NGq4dYyVQK8OdTo5GD+P6megiKrsVAxP0mWLDlsj5
K2GjZzdq7uAiNyYG2VCKznIXoRkSnUefsJTBhsUaZlqTSDYjd6oUpKq848p/5SnKiSuOhL4qryLo
MoDU5VYdF9+AoGXxDZmUrUEsmhc0+CIoGjXd5XZ9pOBv5Q9o0+2wX3alL9xpyVJmH0rb7Jk+oDlv
XTssZXlyEtfiHbafBdsw5sZ/LbKL9ESvVKKiU8K26E5wrR4Wa9zz5fqD/UkID1WKsxHjoi1r7FA2
AXfx55LZgPyBMqKKdiS0YaFVbBb5Tc1ytt5ks8pAr55z18WL8QOumqqY4ZrFTC3nLlMYDbgD2CA9
oEcAAfkjWkPJ8FjD6Tm0k8DbI7fzIB1mntGayMx3yPvb3fcbaeiYHKwkZv7F5k26H8DAfQnvDxtl
d1Wa8elbjMewSU/x5Zl9v+IuKr+OIYg16aBNQqC6mGXjUJx8LmkoUIaPzfzFQTZPVSe9UVi/tPtY
AUUuLvYXY8t0FGNivQA8gYIY3fM8bYkQKTKjdIQ0+od5hqKc6jxAiQV3Nhq2QPmTqEGfw4R1iqZD
GKBiN3X1JFl8SJY6Jr2dVcL6Qmxo+MaTl+qGiK2KEVxQ9eZHptBQuo9kMVenQC3FmohOe92JpRzI
gSQbCIhCmW26Qw8bZmCnBI2+DN7mudshz40ZgTw0cH2tGtelFWqaO4BlcFtvraiBJ4K0Luz3SABU
gAMWKgoM7lXEKIEp8ApFsOjTUOHmekyHJJfqVI2KirKDVXsmvq7COoDC1hQ0PWADlzO/q/e6YY91
yKGk2E6x36cWKYyYgCYV8ryj1gOas4A5cga0lerkq0m3Br1VBAOF9GCJCB611eDNGBQH+bgjBTeR
qdC7G/aNZgqeLjlB+9jF9Ww6y6cFhThgJtiFYPa6kE+EFsbMfZ7tdv44UhJltAvYd3x/oHG6wYOW
jC4gUoWYNX5vUY80Yuulxg//JFOIlWhpTSLbFxp28Gc4xcPpARONBAaU4IvXuD8X73JYq4MEkaFQ
kCvW72Plt+JrtgG+lh365C7dkBPUU7mgubiZpTpQaaefUiwZqbGFsyzfejbMF2+CLG7oclL1SoCP
NTg3LSjjZX6M6rDJ6wbllZmOwJCXgP50DRBs7hER6PAMJLiRz2ijZSO6A9MuhuFW2aqcriL4f+c/
92SP1HtTQvmj6jJWRbs+2hlX3GfB1A4/w7SAxle7DYuykJpB7ZvcmBpI/g3VpMruYH+X0/sEJpXz
KfHVAi/OVSYOYgSwCTjEak3rK7ftXl6hPbGVtzkZ+XSdDmSHGhAhWf0pDblb0ZLNIGeX3AJuGrH5
2DSvGYoqncz5zR6Vbr2v4MBZQ0m+smi1QOw8eH/rEQjMx40BFDorChC/H2s0TukxBp57WR+HUAN0
TJgxcFBpiEZGxAGn7d9Q6IeLKEeyl3t+hv9rvb0L1S74VV0OJtwat3FXt5nDw6pWLUktIeiYVxPG
Ii0vPoPxHD2NhkgMfm6z+goNneJIR49jRFY0BNsFle1yq2sjvvsSyPTBNbqYHsud5RmkYBb//0g7
r93Ika1Lv8tcD4GgDfJibphGmSmp5MvohihL7308/Xzs/wyORAlKVM85DXQDXa1QBMPsvfZaa5c7
IO8wv+1KR/WVH5N0a8mGByyO6d0z4+8niQAjAZ9v18aahtVPRChGfR6Nd2WgNLVAnKpdmFVe9dMt
gySHFgDptyo3tM4Vxm2ezimdcUZLbyj9JcY4u9+RkLrtDyObxHcuRFNRggA7cGgIkJuNuEv1oPS+
ZFAU0uRYSdLP2a+9sui/Sz2DrH09YM2jin0W12ZGT7cAc+lt0/dSx0J2KqSCVVZlojl2BLLqUw8L
Q69uTUHHWedRNGPg8uC6ZpH/LMMQc4ILPRSm/BpaFf1w8RBP08zYGV0ui8wXTl9FD3aeaKZ+VedE
/NGud8jhe64tkSDVMoKkpp5DYhc37S6oCGK/51YG9nAkIK+iH5T3zNjdC1IRYn0KM5N4zNzKqo+p
TdffkhJCEDhfUXrP3o2g3jvv+T6la22sASc420+SieKDTy3KHiqSfN0ZN9TlwPU2eSlcfueqdyMv
/NPytBdyN7SYl1SXFLTi9IkOtUPc76jgKrw5hJOMKrzAwiztJ0goNRWCB5yOTFerURDMdu/timJ0
A7UXtTWP93MfJlO09erJLM1NqLxyGo7uhHONt6c2m7jJwculU1hXgoiMMkJA7mhuEuWNXfjJnT2A
mM1YOdS8OBdx2CbXmTaV9XOP0i7pd5WwcxT5jRGRrx2CuWlkTFfbNrYHP9NjR1s0krob6xf54OkW
nlN9lk3qVqNw4n7ViLns4LoLxqyXn6vClGF0m0VFrucHLE9MEwmkAlTdW2ahivtMhrlUz3POQRKV
PxQe5vGxb2uQA4ZrXVNB2OwLK7Sb6wk5G3wHUep1WW5MpXXaA2aXdXZyy3Jyt7pVjs0tKRyJ4a6i
D45R+WnlWKUOqSbOPP7Y0GtPFdgsLPiCPnD2PjWJAH+Ss6v6qaLRqX4ZdJ1hUgmnY9T8Ka2G0vqO
R7Ku+3m9MCz8SR8jI9iQ92fkOHA/6+FpGHTCMYgalpPTVwuo6YfhTKZ88Ga+Lmh7ZafRaQw0k25Y
wpZevSNq0WI6SNcN9X0/1Gs7/1I4pK3XSu/NOdok9dRwpj3LDh13n5d5Tvk6p7BNSysu+vFL15mR
/mMIvTKmW6rK3HkEvFOGxrZ0NNN+1sMpD3+7igv7xp48oh6/rbk2aGPQOtq9V5ut+gnIrndfQuSe
7e/Yqwvra5t1rSCATCdrlotU3h42SRNO2hWlRhFeMVnH/Gml4PsHHYepydjoLQG4pLSf2dmzZ0Jn
P2ZV7tpqG0SiokpRWUUYbJqqMOQddCYXJQnZstWIkwiSdL5t+koWz0Dudn83NU7W7qI2TPvHfKq1
6deYFHrziyx/wUAyVpHqwNRQEPjjJr1Z/+7Sdp5OppJ5/iOpPLegOpUbCgpaQTV2Omo47OCyGcbJ
pH+XvT6xrrkY2/RrZBazeB4TI4hvaf8kgmbLxeQNcIBoETI+CnAd85AFBJ5qQ+PUqKCJgRblhk2N
qsv64xSZ8XQrwjDpw70HphB+tt1aGr/0wOnTDT/KqQx/ngdhqZ3mBFY3+ulMP89r7gBbphewoJQ8
2CQL6S+zTjKCpJ6KTXGiIiSLO34UqtdNOzETl4Ln5BVPTHokNhx14hFuYaiV7oUZkI/sDWuc0t8q
1fLqYHVu1f/MRWZGUOrgdexdqGxlSBWw0OZd2Q8GdCpHQ+doHcBWyCtOiZYlaFGGhF5jG3saA2Vc
DZMVFfa1Y6bCIJgtIyPad7NUrrNVzpTKq6GpkNjsJ76eAGTq8+CUWgalRK5g7um4iZV+Y46wMDbz
GJNh+UEpJQUso/WUfKrrdnI6PxNBEPzkkQG7qEeR2t8rNfbqHpZENf/qarCCwe8lJqbubq4B724c
yEv2NjemwPxGQDDzIklzrlS5n2TZQg+Q0CmMeVfVWpE9pVSyAdJUZVraU5mU9XJtowWmizylW3Wh
ghmVzNYjX9HLncbPtq4oP0cmWI4TNlZ3bKcuS/+AyITmw2TRtpI9jq2LfWTRTOf7WGqGos5ulc0u
ZhOKn1nsRDU1dzUg9J6dmd6CnPBx+KIvKA9WCmQ47rafAIPo+pPjPUtT+RYS1ga4ucV1W9I8L3mg
R7pJJCIbr6O5XAQZE2gFRmB9lWcaRSunQk93uyAElNtH20nudDs00sfc8oZpO9ix6L9FQeXGv0oI
Ts7PWeRBcV1UTR1cylkz+wcnp5nSN+V1lgUHc6r0O8WFEOwCizDmFhibd7YLaFpxI6jdmM6mnMCO
Nxaa5vIp1qn9PjlNZLsXc9kkKvC90J5UTz3WWixtepUqj5s89Lw/Gf56dNwBl5/No5GlrvG9CKuR
7DZrCaF49SPqhQ1sKeuqnkar/xymbjhzHZcSgwFtSmR83+TuNEMImLgSty18sOTHGOZo0ndpPTn5
ExdqWB2GosMhKiq90b6utFwTzwAr1LisnDebzGoBOaqdlgkxwip0q8DZdKMcOguSfa+H26EC/Nnz
undVg6MVha2bqR7r5qZbykmHqDNzLSJ2LI3xC5PO3Fu4DOP0pdG1ou83GQeeoFLoRTBvCzoDdMeA
zL9PfE/TYUE4wCf5dePJIW43ZV8M81e7QAv3DEQmCdFClUf0ri/YNt+CaHbGx1pNIZGOm48K6Bvh
Af5nPi3lGnUT500Oxbln7WetKbrvUzNAkqWHam3arT8CMerXfTU32rUqYGd8q0UcdovJITVylAZB
eAfprpSPzUSyxq8QTNUXijeBOAQGd+N+Glp33iZmEia0BkZn+zRoRQU5pgusX6FtB6dYxdxC0Mxu
UJXcRlFaqse+n8VMsD97P4IyScifI87HbTrBAKWgsQ88/VNbRUcDBHebZ1LLLqUN4HrfBmk3Xc2w
bctL2i0PxrHQ3WNNaShNNsQvyk22I3k3/cUcnHD0vQcPrfHF4NXpcxYTMT15yWRy1ehR5tSdbwVa
ZaVbkHcXUAHIIq3v4D/09qVGt/ug3ykHV6ybMKGcfaPUbBl35tzQUXVrj1ljE++kuDNnMFPkvp7E
McHQwY5pKVzDPNiWmTnW3caK8Vk6jY1NaOGbwRCOz+Pcz0OPZSXWSt+7sOyijRS4ufBgt5XEc8IJ
2Lq+PQ0BrES9FzL4FIcyxbUDCLgv+yvh1qP0O5TV9abQut6HrjDMJ5rElONlHcOo2oHl2NqpNocy
uJxtzSTaNEC6MBOQRKpqztvSX7reCugskJE2adpTbiK8H4vL0bD4M24AXxpOH4yHi8lxYceRN8IW
CJqmbxRNQz0gx50UUlFbIH9UxWWwEAUt4BXZlw90+ay0X8qIetvalSM8QfwE6tEzR98tlDN/60wV
jMM+5CkgasYwcpZ/QB3S4Ss61qa7kREEbuxzO1oIHUIOG21Q9TGzoqMXkHH1R0Vn7Cm/0Ms5gzga
2pmE5GxTVSsfRdtmbQ0un1g9/VRTWBaAZWUwEBalhHzC3XVWG0OCyNImpyBTWY4S1UaO1eD85ufz
fh0byXV4Z0fRPJGisXnUnzJtUvWcIo7pl07YSRtuNUg8dzUv8vDJSUu0m39AXuzM204Z/Ls/rj6n
5VbBmhyeGrvTmuvYmfOKWMeQKnyCdQehJKGmaCfAnarNq0uKfvzWpzh0guamL8UES1jvSD4SqJnx
UMzBhSi4zzNYAFZnPY9xPzr6poQVOH2ySRrrxjco1ZRQEytBbD30RV08mIlHCLSZMx1jxg2gO5i2
nyeUau5bLjFMisvQgkzFl+96Q/g2/L4BEA4nLvEQwzTLri06cuM8MFEJy3RUQZmE+jLM5axOZtM1
yXTS6XUxw07PNPyOC6hqGd7HkhcCI9/GhW+1gfCdttF24oJvwYfKwswXjimOePdQH6hv7T0a2U8P
A7UmK9jHPJ7iIIOhHB97iy2z8SgLUbNw5ajMQ96lzvxMwWbqCn/qNC4Zv54zlV4k4I3Wd4qHqQJH
A6lzI2h5czRXVxDJG+/kNI6syBAmPGC2swjT6Xcx5WxCu/QGG1RCyynyzx6AOTYjQNfODzp98JbI
SLewt2kQGMzzk6tJqRnbroNn/s1us1jqW4Vj8sKSiSbd/UwZLe8eoTZY0TW8u8nBqJZD/TWagzyB
tmXiVHdniqSfuK7NBtpgi/9Dd+Cb6JHcqRayGxUhVafDH/BTW+wh3NWetSviqacTCyKToLjg4VFk
/UTIZoSOxmgmnoqoxY7/WxSNJb7NFHyC7ufcDF6c7C1ZIT/ZD3ll9NZjEOYGD5PR8VsfKPGY9lM8
uUmGMweA50YlTW59MnXO2ScY/IV9wJmfFCvta5ldjGVrxZZvaDmlEX+0A8f7kaBx8qiLeUJwbSGE
yXn79dFptN/IUTiHfiVg+F9QxquN7BLbbOKpw1i7Ro0GOZPql5BxrDZRPwRuu7UQ703E5woA+xjO
BdRmHOraqXmo57HSfnrDwkTyHbjOrtjEEdXogjJLCiGTP2RPF8IdFexpilhz/zmHehQPkOOLnDSw
XMgMNMYL7bzbwX9uSneXBOMIBNvHgefHedbFn6nOGdOwsQyn1+/0HNz9lOExrjYBac7gXvUxK4I0
pG41y901La8v1KC4SSfy9WDGe8dH2BHNx5iCofezwn8anlENZ2tO71mErg7wzJlUdFXSf0smPkI0
2yLnbI1cb782KH/Gq5R43PpcFg1ptl7NpvzNL1UX6WZKE13EG9rq1NwRwASlbHddBxNj3JUefP/p
xhOJLaMFWGgsVrIeLM/Z5Y6M7fkIN9HNn4AKymbraoOWfxu6Rma/uxpYuTh2IjTMbOt27Ls7DkPm
XRAhWfUdVcMBdXyGdCJ8CPU4jOxtMCgb4qpjtYNp+RHRbh9CdgP2Bjl1kE+Tc8k40+Ktl6kszPwg
XUilPvTfLo92QxpwJWyMQIOOscnDqtX1DTc7qqjLfBgbmhKQkMyds9Vb7BflRdzQeyQ7qcDSRHfg
ENKEbbQp3IcbB/8NlCQl4vNf9gxO9FCFQaxOeRfSaNXvh7yLnW1CbCUuuoTL81kYTdCTxoVaoutb
dFmu9yPFmLm+BOe2gXnrKGsy2uXp4IvHLKvM2vVnfMlMGKcC9YyvSa0qq12exPZY3nWsQWJBNO/K
/EYQJLbTxoN+WFwr4iAKm6i8Na2Fh2M0mr0ra5nUO9VxMpZDI6oBUn1nhcM1CTcKsK1IHS/sL8oi
yMSh5yja90iejNHcxnOvNZ9MT8H22JJej+kVviQYJOAm7CZw4VVZhj3ZDS/cZ6QmVnUdzGEgvusA
z70GdRj+AGw7xGfogUa7Xio4TV301lb2+QRDmLKSdDdGoSs9vgpt0TTBXbSYJ0YbWhVGJTo3LUi9
/ODWduPpu7aO0yTfud3M08srVBTOTuGcNN+pXpjJHzPLOGw0MMtS73dtQflHu5MtDDcTlh9h2jQM
ddpsapdmWqcQ6pFR+MQkMj5miYUp99HspqZNd25pkZMAY6ZT8Eg39SLb6wPJ4YBdg+0Ul5nTT/qD
cKyq+DbnjRAkljZQjbpROQ6XsHJsEFPY9Xql2ps4RUV4GceTrjYV5XDKH5oVJqm9wVzcgNFD8tC0
fg9g6/4aM4mLG4tfNeqXIhJCaFdoXF1Xiv++2dUhIBp8hrZBBUao3LXD0whbp8h9PcxFW27UAJ3A
2ZEgBOK4kG3t3xKfn8G9yJRtzl8LY3RBpcFp9eBnS+qluX7m0rScynAYI1eiACTn8mYIutJW/mB4
7WwcxtlRZUIjGdGFIX26Q8coDnqoSQXHS6JVu7GDWFIZKN2+7dLrNJpSyAUxPwmCAPV/CAE7ZBE5
GqFR5JP1VTcrW3wq22KST2ZBadzZWl6LxfOunUtlcCRisnL4Th3WWUsjchCt6BMaBsDaXVN2mlCX
RaUa8PrQCkzvkpIkrmQXXo7dG6hBKx2R7XLDQZV6pXcOtUEmOBvDycsBvzwEwZY95nQEMABRYV2P
SV1cDYQ/QbrJpEPH87aEC1DCI9AiKn6h4TWBTnWxI6Lzqbi60t5AyMyCauNqZqBhgKxIi9IvVqTl
RbhDdGGw2fUxzvhibMTJ3raTcIxkgwlxNlOSbaAbaViP0TtzYaotReeFmArnBfam0Otrs6Xm87ko
WwMy0KZvRJLdwyOyA4gAKmNHISbTW94zI0myO7KbEmZaMSZQi30nNOcckDnxFKwAgxbk4H2xlNmD
Rf0h5h6qa2ukQFLodLwOOcfBw0xVvHv2onroim2dJYV9s9hv67jJzR6oUoXuK/uMaQauW1sFHgoN
kzhSN4fbdqiaHtFzY7lgJJRls5MOl6okU1eazEt4c7NENOGORhN310UrR/K2wQQvXlgr7jdFuemu
a/K2yk8Nh1wfNxX/mtRyrrqhhlbnJEPSbhtBtYEqaEoVOd4QzLgph4QUpkdOWbfFeBoExzjy+3Fu
56sqQpRXbaspbKIvDNoE/DfJ5N31sTlM2i7p0HKMW148o3smggRSxZ5l6ug7RSgrNM7KKI0oJ0cM
Sw+yYzQb1zPU5dEF/YgC3q7WMCCxQDW1iz8UVgvT3qPFs6D56jStqcE1mrIcnpvSiLoDiry2Lbbl
EGeu5qc5oPtTnPPHQl8lVq7B4ooAY3/hWZc5pDETlVuNAs0CJIi+1pNkQ9GvTfqNrjxr/gnfzjJv
vBpyzT3KIZEpqggQbn+TmrKVMLgpx/YWQhBkyS3KkTG8m+HpQzt27TqPbgAM6DwAaBz1yaYNRiO7
JrWqYpSPU6mhra41wEEuasX1emxHdN9P+dIFc9zZVKwwOnUz5IUHmAXthOdDlAA379oEf/14k08B
Mt6p9RaIDDSVI5COZZhcpjHRa3aUmXmw0hPOwdu8GQkifFZl0G6LEZLqTQpIXt7NNKq2AEGAFEI/
QErifQ64IlBC8E53gOWxMcwZkKPRe82vrnFFcql3aDfCi7ytjeISKr6WklYI0sTpMMIbENOpV5CF
nOcZ8mjieFxiWYzOZIR3KVB+plO1dK8t9HIstjFV0WqvDWYdUmFE9VdoRJtJy9KMFlDGLq3AE3LU
HQUbte/3+LXh/s8vC1vcah/TAocliK4dpE3dhHeq+hEa5WR2urMtnLyrL6zc1TV5FGEbGdneqDx7
qmMEdZ2l7IcE70O9tp4nUZlTeMY+4LWQnZKRNEjLMBN24KjhqLLIz39+v4+LsP0//0v/3/ChhlHR
0+i+Dx87eHd68afLz3VZe22MsAxiOkIQJMPCtF3XW3woXgySqdBWkCW9+9ne284OjznERDsaevTy
78yul6FwmfAW3weD5iFIyV4PpWzo3HU6Wvdu/XP0cLmpH8GTztgP6a+9VBgFr2IdP0d3aahMurSa
UBhxltsGBfJc8WDlcNEJRqTZ8/z+gRzumzLbDvUvuOabxta27Cxa4fqZ+eVjG4Y368oETVylqM+g
7eAfX082qdJYjKbq7nWiChVCX2UQa+lRBXOgPDPYm51CHx2Xv/iEDmoxuTILKeD8uVDZtHvZHpYA
u0ALhnzn4xm9XViSY2+xg2ZZLSzIXs+I3qcF5JkiCH3ag0Y/dBQCWOxZATWZjwfS366dxfu7dHtD
Cu84xspXYXRLkRUFXoHDV33fQ/jwi6O5VQfraDzkx/zCucqP00W6Ty4+HvjtMlqLeyqoP2x2cLjV
uIY2CFwQomBZxqb9FBXb3jpjt/h2CHr/8aMNU3qoEMzV7jRK1KgGFuE451JTt/24O0QQhj6ex2tf
iuUIUI90DM41rbdw4FkNEgfoCCBrWPel9XUCLdMv5/abEV9p0xaG+ZnBlh/2XxOe/xmMw2bi9oEr
jrFeNCc3a8MZC+teZBgpZJdGfOvmpT+UZxxc3pkUhpuYpkkoE3hZrbrz1J3H483V/ty28caKTnBT
di5ESw2bMbyn/M7t//b+9RyIV/QVs6QEy1wf4WnMxUDhsXwOzUdwbp+XrsjPeRit9jpbQLqOi6jN
oruzY637E1e5B0bYWd49Al+K8voxrLAzsg5GUx9BnXcf74zVx+IA6zZmZlxLi0GLsX5SNDgIWdwG
5n0VX9X6teqULww6fB0+HmZlBMMhcgweFUn1H3oLG311kgYRdDWgo7gXzvDsTXLbevV2CDX0alH8
I2rjS6rHOwCHC7w+mu3Ho7+ZpIOLs04XXgtLRluI1TvjQjMBs9OK50wnIXJuXffa8m6s9Iyn3uoo
4xpoY4MtsQqwaVLFQXh9H4apQNZT2d2941x68eNY3znjGds2fblTXxwuA/88vMekNBAZ0/tyvelF
WWNnk5reP81rxQ7JxIV46HZqZxzCrXz8eN1WE2LJBAJWTBEltjZ8s9UJGyyInuwb616vH1P7hxFQ
pDjjub46xP8zxOKQ6br8M0Yhr9cMmbIa0E1Y93UUfY3n72jB9nisHdzSPSTzNc13zmz4ZaO9WEAG
+cc/nBOs68LDsOv1gN5C+IzqOrh3QRjlaPhqOueHvdpu/wyBjfICSyEGIpp6PUShJWTWs47fEGUW
OIidc414nxzvzNq9/TxEg0yDZTOxjzRW23ouR9DjOg7ux/Q497AMxaH92xjtn8kgzaRuLWw6f1ur
9YKTgqI5QD0pGmgdyV5O7a5I/nJbL6PgzSTpnwJzBs7dasn6rtXw7Qmse8psP8NDe+EeoQD+XHoy
x1v3zBZ4u24wNqDo4LppYwrlrNbNGmPCXpvXMHW2kXM3Wlg/nLGjfLutuQLoW2DiWc4o7mrVjLgu
uMNr43cHbG5edwCH86kInNJLt+QmrnYXDW0j7wzUodFBGvWs0jPP8OodYUnRtlqLWzrP1RKgvd6F
GF4ZWjVO9r1XRSTGs8jCQ+jpLbKKQZ5sAu/PlTCyw8dXxvJTXx8v/DHRjbi46ZnScFaj4rVStSUJ
5b0Od++ypoZPqaRJ/3YUm1SIrb+EZOx/d7VdiHc9QMLWva+MhehmbuEG/l1cRjHHoOOfS7tkVhA3
9tVEjMGbzdbK7XsxjujfmttaFDsbxs+Zz/Rmp+Dwwf8t07O4YaWxmkpp2F2ETYV972pjdHCnSFEC
MWlLXjl3VUD13AvKzxBSizOh7ZsPJSUJkc3IYvlc6zfRVLjjuDr0AmprRxnYO2v4+vFWWL9VJjfg
kq8ibOCVIBlZLaEYmmLMqCf/p9E6RYSjeY2r70VzEW71249He3OoadAoTTafJ/F5451/vd17fNib
thXlA3HAeO+Wqf6APKTYI+d0Nh8P9XbpljyEh9gmQrPeBLijJiurK3Xe4Dn3sxzltHT3Hw/x5vDy
uGMoiT2ht2Ss6w0+ZblV9gpav087xQtP2YcwpIcankL3Rur5UUAg8/GI76wfse3SYcFdOuusD+6Y
mgorjCGgHqU2iR3uTMS0HTTtj4d5s3YuBHEb222PCfL31Z5QadeXxeL63rY/quxPGZ9ZuDfHafn5
Epq7jbE3zTtW2yCsqpmqN29vlkf7WtulMQxj6W4xEkcyuYuTm7+azxK2kGRgYA+lgotv7S0IIQVY
udW6U9aGYh/T2OUS77lzXQhXq/afUdgJriNIR+3l473AZAiugUHNmP52boS/gV5BxxDqzA5Y7bn1
IOsGdMKDmmtTSjgN07xoGvAXioP2TzS3P+JpnP2qqt2/2w1vhlx9rZlCk+OEsjnxxXaJMz1N9BT7
+AO9NthewA8+ENe35CYiHFsv3RxKjD6wFDyFXaPvaif905bjRUtfHB8NyeVQUvGKvHrvlOeyxdVW
/M/IfA30O1yBxrLeLz7aSG9KbGkmJhc9GQom/70e3RjuTZUdUD+d+Xir47sezFy5thaJksh8huYU
GietuWyb4zydybffH4JckYtJEtquXqpa4d+Ie0xzquY/OZWJuPyq3Pbx48+1ip3/M4//DrKaRzhR
OhpD1ZzajBLc9KvV/2Tm3aCfce1990DxXvy/uaw2XgQJpI+HGTsqTQCDO4eha88s17vHCYyYZHcJ
w9ZRJjYx8ygrA0fZPDpUZnc3BdGeivAmap9EGZ2BJtYJ9v8sHEmaFEQu5AOrr5NAnkmwp+tR9dvP
IqG8l8AARjSe+HB9n5HTb2o0/2GM9i7Wzty67y7ni8FXX02KoFi6C7PV1UNrqgNmgWfm9+5qLgHf
UhEEOF6ZVbtqiOdECT6Ynn4CYgo3ynAKPynqUydOKVTUf3Og/jvg+gVu2YRATm2PkUJKAd1Flx4+
etO8+xf7nR71HCiXCOkf5PPFJVGnkAVMkTun0RS+Wz8NY3Vyf3TUuj4e590v9GKc5bJ6MY5n6TTN
7gTElbk7Qv/BLURcfDzEe0cXhIVe5lwO6ERXO9B1Rmfqdac5zXLc5U3o52Z74UTjtlPJ9uOh3pmN
BaoNTAawv/jLv55N4LC1i9YcTtTikh9lG9r3qsZE5uNR3pkQYZ4DLoZBLsOtLgkvpjuXpPJzcuf0
i5H8ieIi38Nh+OQEEG0/Huud/c3zRAqMH9ECAC4zfvF9oOPRdaxA7gv/A4Ks9FXcPEQie3IC9yqd
aOn4L8azqSItLeKpOq72Qx9ADMEcqzu1cHLwpJm1n2P5iFXa2brHO8+GjY+fJwVJKNn2MvMXMxtn
2UE04mKSDe3aKFy3+zAsj2EMAfDjOZ0baTUnzWqCOp4SWAM2Gvghhn1lz83ewSDy7wdalJTkawBj
Yt0HEyG5cqDRTyctLveymRYR76Upz6Vo780HAGEJlLHO5iO9XrkCCCOrHH08eTTPRnbsT3WzRWhx
ZtneiZCWZmdAixYpIYfq9TAexpxBhD72VNBxpKI2NtTJp2Qx0oTYh3XwDxWpjY4k618sorRpGgfG
zWlenWE8uS2j1YLxhEXeXsdWtXV+YVF65hV+dw1fjLLafamewxEbQripwjx1VfcJBzDM9s71hz43
zGoNe526u1RqJJ4oj7Do9jUw8+JF8vGavffKU8ikrAKo4+qOvvweLw4TTtyVDvcE2gR8O3/opi20
hp091NdgLrsu0eHUaJ+wp3hE5Xrmg71zHb4ae/XBkgSGVMIjcgohNkBhGne0rEezGH5DYfjw8UTf
XU/KikshmnRersYKI4Teutv0J4xv/S6FJNyl7pYTfQane28cy9YBo1hUNr/5ej0rDXqFE6IVm2X5
GQXGZxGEqBf1p7+fDmX7pdYC6Ayq9HoYrouwSDqm43TJKe5SXxPuvpnPAc/vPIs2Oe+SclD/fVOQ
TUrhQPhTxCxy+lQH7vXAK/zxTN4ZgmKKa3NmqaoDC7+eSYN8Jmnmlpe3q3U60aGUGBcBz78YhccC
3JK/qCS+HgWHB5gbVjecLDeYdtHYBft0CM/lTO/NhZuV153ZkAqsYsoApadIkBWfnDhpFhqU82lG
1nf4eC7vbDHoGgRFsCnA6NddZSfPgbcnehJQNV+KCbbpUN2X03gmz30ngHAk5QZAZ4P+R+surFgw
ajWaPT6MgwVBVVxjj5xv0s7Ba0XDMbPYfTyt9xYPsyL+x36w6Mq6+kSYtOKAoYZTEoTFzsx0/SrJ
9OzMKO8t3stRln//4r6Lw0wgzujZCM14hfj6AmDuOgrN48eTOTfM6rrJJ4njhoIdbGQ1zG0dVnXp
nYLG/RchCrnLP1UhAHJevdfzKcq8RDsthpNuRd+zybuo++R6gsX49/OBYyJMyDzkTObqvhHmmHYj
YM6J6t63zFGEXXhRzO65CPm9TfdynNUmKAytgAHoDKcmN3YtZIIRI5nueztfjvP9x1N6b7+9HGq1
Ewa4u+VQyuFEkrHJKnnv6ubTx0O8twteDrHaBSOKtwgwZzgp4ZwyFEv49N4gIP0Xl9vLYVYhiWE3
vV22LvEWHns7q9PnzRDVXz6ey7KRXtRhFjiAEjR8SkQJAnxw9WW0Zk5k6vJluEE3Bi4mY7XvKO7j
NrmjLWFWnVm7d3eCBD2mzg8zYl3zjBKQNShyw2mCJ70pRm+LQmc3C3wu7QFz8GA6Awi8FwoxPwAB
iz65pGmrPT4Lc2jtRE6ntkY1jwthXKb7LAUkRxxb2tGxyQwsdBqyN+9MreGdiJnKE0YG2JtQtl7X
RBVcahFk+ow9CcTG8CvqJ5QMP9wIQ6Ne+pERbjS8UD7+ovoCoqw+KaO6BuXEhULhrvZN1RqCBNTC
O17jQEvczuPfhvZLLJY4XnYR4mwI/7j0vkXFvP147Hd206uhV9dWG01VgsBwPsVwaxLzjwkrPYNP
NmgDW0nzEfSem+2CFryZLZQlZHxIXWxndd7LwEAGTfp9ClsDS4tpk5if7YEeRhgiReEtCCVWGP3G
ppnYx3N95xZgU/134NUtgJ87jl2GN2HO7xT72UM5JKI+39Pf5kzw+c6VRqVioflYiHNAVV8/Buwi
K4cW2Z3MhLbSQX+Dwd7f45wvh1hjMsriqsEznsJB5IiTDCvz04QW7cz2eOfwQ/b65yuBmFFWez2R
iNYxDUb+xJ1ZfJHikm4EWAWN2dWs5AXg1pkv9N66QXygB7xNdRaWxevh3BJLZysl9BAjrgSu16W3
Zgdu9vf7gEiXwM0kOQUEej3KGAWgdmnVnwJ1F+MYrv3Esub/b4jVVgtijO/ZbuPJbfvvXVl/Nic8
ERBVj2dO07sfCBElhWyegjeRbhOihlYIO09BmtNZFHusBjf1eW6+eG28S6b+zIZYfvH14SU//X/j
ydUXoutDHg06wWg/IlIRKG0jD6vW2c1+jJl5//erSAkOoM6gNzbEgNcfqjV0bcJlazz12Brhy43f
W+nTd+rMGr53L7wcZvXe4ABtGJMTtLw3i8l66uP87bv6udTnvWEcKnzwAf4vaWe2W7fRbOEnIsB5
uOUeRcmSPMV2bggnjjnPM5/+fPTBH+/dIjYhJchVFKjUzerq6qpVa7Ecmn3Xq4EQzJmHgAnDqTKe
fPOxL7MnPdyoiqx9H+INTViFR8mLzrwew1tnJCpV55T2CjnIt35+KpMNfNKa11GooP+m8BilinW9
FL/MWzQFSs5pGTXaO0ZUQT7nVAMfkenp+33VDvVPRqaMf17vEJd2hWMFHUA1xnY3eJEio3WVHhkP
3VtJdXiLGbB4AMmoQStC+E4SuHw6eIa8CEgZsx/1A2JWg6tIWzL2qy6B6wETBhX64tHQMiRp5igT
eJR+mF4rdoNSwx+lbzj4Wlj9hV4E/YSQtHhodavRbcaIWm+0+gPdji/OLG90y1dzGLSOQQhZvIlx
ccElAoMpaycbvEaubGA1ebhTKzPam0Vi3cGt/HceMFQjO+YXmeq0O2thsIMKoN9Y6uqOXvwZwlkO
RqVkGpX+QZ4NP2b4OA2EDdys3OrKbdlZtvzi+YqwTJsWYc8JKEC65qUBSxIwjmy2trLDLUvLzy8s
QWeo0kfPW69E5SsN9dGltrVTMkaPb3v96qG+2DrhcBl9kcIwMvQwmY5nxY+fe/8OIshHVEaI8mO3
kcCsRSrKGktg5wp+cchM1H1j4tjg1Tlj6wcmFZmd2GnSFsJibf8u7IgwLAfOH9LmrPciSGeMxrgb
7fkjBMCH27u3vhzqQEtJn1qNEN0NWM7NxrYary0+WfLerNJ95p9GdUtze+0r8fv/tSM0ZGG9SaF6
47KCDQWh6veK+YlnmFsPVIP+ub2k1Z0DjAc6hTL+C6ijD51tAgEwpVqbWiCc4dCwnmFSON82s7pz
jJSgSEt7DKndawe3bSYR6aI2NDAf2/CU2tAVBt9NrvvbdtaX868d8QsVad45Us9yoAiiAtCmxtFG
rRPpL+jKb5taC7gUa+FzoP4Ix4sQhcqyGMe+J22G1+8EG9Vn/t+Ni37LhBCAoszXhlYD2hKm4X5w
GHez2+fbq1jdMBoSBHW+DEn59YcpLMW3K12jS2UFZz3MDtpo3qHGtrFZqx6tL05GR4BXhmBm0kcr
RgGy9dC/pCVq+z/U6iusvv3mAMaqp11YEj4LdJOaP0DY6vlOt4ed1p0qyKXkR11/fUPFWqrPFOFM
WEvFLvbop7MV1dropdGYgkH2PSglIWKXkmMXz8fbn2l1VRfGlv29uCAm32i7cnmjGeCe28dMvoNp
GB78jWO66g0XZoRKgWaNyTQ5KuISNcBtKNXI2s/aaG2sZtWMKZO9Am+GLUOIb63vM9QS8o2sqPCK
EEr2jnF6sH63N201X2H4/F87gteBig9gvE4GxqPd8i4/xsf6XNfueIA06LSFhlu3ZvFgtwE1A20Q
vxF6BUkKC7XXHLRjdgiPg7FTn5xTsZfuLG3jQC1fQnyjUb3/15jwpVKmYEHJkgPpqGS6Gc+zTkcZ
ptbPfqvtR3YFAdBkY0NX4xHtKZtpIHxf7OtBIW8i5ggWvlDaD75R/dE2xu72N1suAnFdNoSePJ44
WbZYYi/SRCkl8mWvzaHpsaPdMH41tE+G8UUuvszxXWVudF7WfJHmjg54RzdBFwvxIlGHgDyL0mck
lx4vgF0WG5/02Nj4Xltmlq29OMAwbqlzR2fXg30M4SqY7krzDbcFg6mgWIlHiLELLjHZvimHGSYM
46DpX0v14+1PsxbDL3+/cIdbvF9gAKRw4xTGY2ZZH53B+TLK2l2VZT+h/N8IEmsh78Kc+JR2Wrgb
kxqEQe8k5MO+5aYD9Ota0z3VVfIWL/i9d7/O9sXnMaY4hJiSzvws9d+ZdbsrWqQ8lHR4QwuJqpRq
qkv7HxDKsuoLQyr0kdCd85HQq/zT9PP7OFKOEWxzt7/V6uaRdNMftZc5EsHdoJWQo3oi8YYuEkEO
x51g488hT2ZK5w0pFzoizIswGk1BdPH8ixWlc4vYZKC2Xjw4n2Q5e0jHHtGJNnjLCbqwI+ycYWS1
VEYK5GpQaiMhfUK46plu/Lc37NyFGSGKt+0QwF41tV4roVFu5u9A+37LtL+sRWrmtqnVmHBhSjiw
oyM3jaKOraenP1XEYTWoFex+a3p41RUurAjHNkhz4C1+yrVUZQ+klAckQL6UWX2yzPH8nxZkCO8j
XQsr7iRcAXW5J2V8hhvpc11Ib9o2k+YoyQPJpJA9oH7UkQlxC41Zcj9r5mekRF2r38Jcrn+d32bE
5GFhSJ+7iiM06+/QXd7lFSQHum9sVKrXv89vO8IF1Do+ijoSdnqjWkop1Xgcwkz5PIxwkEOdvNG2
WI3iQBr+t3tCZEDywbZCWJq8znDuZm4jSjofKr05pYp9b0/R17e4xG9zQnRI7L5BJAbYEfyeLkTn
btv8NdkbZ3Y5KGLSALUTnXLa5VD0Cp9KGmZ5gquTV1/zVR7SO1SUjumY3lexv0NYvnJNpd4IsGvb
yC1rLykKY9jiyKM9tFlgNgtkTJ7ubevPvEL8ym7CD2miovKnDvWG16+5CRU3Zm6YKOK9LsQlhI8l
FIL4bsOo70vnUzlKbjh9lrWNIt+a21/aEYJSAxmoY4+AnVD33ssSkmX2+JjY8UaysmVGiEoOPcmx
QDTNa4L+4KDuB5nPPQyh/8kMSdH15RSWvh35BVMxzmzuekiaDcSgOiRdb3v5cmheOOAyA8usFwPk
YmIsNzocVzJzRKYKH0iKwq4bBclbAh+Da/9aEVzAgvBrnjOb8Bp/MfI7ufjUSRsFu/XP8tuE8PUR
i4TksqF+ElfDXRdAlqYqj1NebezXlhnh609dWaplBTzfR2itH34S8Hb65gztxlcRO43QmA5OFSmd
h2b7F2vhas5C63T7y6+Gnt/fxBYuI8bxNMl0mO0a9fgsWf7f5QBVWFHA5dt8ThBaGEagv7dtrsae
C5tCuDOHJNDtEsbWrpa8RvsElypUvidEmd1cPd62tbU+4XaiEEn2ACe+Zxn9IWwHlEpOKLSjWfCj
BSxhSxtZ3nqY+9cBxanTKiU7CRUqEExEuXRnsj7fQXIFcdjGJorzrQvGxro4Tfbioxd5q482ZsjM
5OBpk4Iw6LDTQutI79aZw2hXUwhBuglKKjgw3dGZ/grt6nlS1Y3Lf3V7DSIGHTZmSEQYdW0DXWsY
VfDG/JuqfB8br6Y02vuFC5PuDqbgjVWvHokLe0IICc1CL8wAOONUZHdhNJ+7vj/c9phV77wwIYQQ
2IPNzDCYVTHb7zFK9fIAHft3ZLjzQHvLaphNWCZR2UFV+ISG06EEl9IYTxR1b1XR45BkGw/D1Q27
MLH464WX9Ck8yihPUx83pFOgZ+9ANNzd3rDVYAjSj68P0xVNwmsToMn6yE6yztP0+ktPxTLr7T/b
SN4ws3qy6Nup+jJmTSPy2gzab4tGZAZYepq/a4hS60a1l+H/RPnqlZQt/3+2uG15gMK5w0G7tpWj
Pw8WygA1GyT7Vnqf5qE31eNxDJyN77N+jC9MCcuasnAgxNqTF9OsPqKjh0xgFMtHvUC/1tLLf2xZ
ytHFGYsDw8to0EvlUZ/T0Y0dbQvBvfolL/4W4Vpj4Eip6rbqvL4yHupBuwtSA+WArWL6hhkRFsQd
bQYGXJpeVUByTequ+r5bOs5G6F85yAu1G10bymPQkQnXjKp0etRXpO51GwLef2dYR5tqwmzsNeXj
q48ApjjDlP4Wmjdh41SjMUGI8nCUreE5loZjlxmfhs25/JWNwwyTF4AzoCyxlp9fHOZMTwqr9Xnb
1wrEO6bvhVN1aCXj9JbV/DYjxAy1gu62tmtKCOo/HVATKf05owR428hKYCK3QF4QCi2TsotwxAyj
MvQRSk8vr6UnaOffTWW+kaVtmRCOloSoVyMFNTVLReofDKjtH+q425qdW4lLVwsRvj06MxC7G/rg
lXRPMsiD5VZxrWRvW99u79i6ITpQVN7YNHHIei7bDBl07j6ltfaDPZ57CThibRt3YHb+uG1r1dOg
FvifLeHsaEU8IYTFg4CA/8lo8q+IKX7LfP3LbTPLFxDeHezdbzNCdhbo3TI2oDMfFcbqUaJGdSrG
LnEX3TlGXpHJzZLYP4Am3hqPXw0OF5YX37k4SqWSl3GaMCish19K5zSE1SF0vvjtvWxtZWqri4SI
hJnURS9arGvrdouMQDYNHoNuP8O2+TOKR9gfja9RPx6gAHeTyN7APq26CrBOYjkYRQ7Y9eoMyLNr
BZJ9QGk/zfhvRW8gWD7lXbNxwn4RTLz4gIZKNRgqIw1UwbWhVDbrArVp2h17+zTv0yNCaIHbuqYr
nbIjSidb+NjVzbwwKJzpTlMbFCxTbmamEWUndE34ZHv0I6AkAWAe5+3xtouungS4pyBtcjSF4Ynr
FRpqrU3ks4MX12hHfwRU4/abpIVrWYAN7NeAqgHI54uB2DROxrm0fu2j9hXNkpP0h+kic3FM9s6+
ON9e0qp3cEtxT8HjJqvCqfPzMHcaWP68Tm4OCDyi8DEe8t65Q6zqw21TqyF4aS+TVtrM7wnHDAJx
pSVv5jmkxv4eSR8dvbJO33DD1cPM5UsOCvsAjbfrb1Rrsg71PTc96nUHuULBwDxZkoEa0LCPXkkb
u+SGUGb+NibsXpMp/iwHvLt6NTlBHu8ipnLq0D25vXOrfndhRtg5qPeLNHZwdCWSrdPgw2Sfps4P
uTa703+zJGQVhVXWShEZ1JgidE+9TH1QtTd4HEzlHB/uewgzhTAByfEgmzxWPc0yj9WMbmNp/OXD
Dh1kr8eD2JeWhPiATs1gxNIE04A0uaYRHouUF4KfA9u6vWtrh2iBXqr0kWkc/eL9vbhAgrFyDHSI
aX7kz7J6b/uRqyl3WfL1v5kRPg7F7QyRSnaO3u+7XAY67TTnIpwO6SYCc2tFy88vViQlipLFI9n/
wrRTw6RfGumXwqweyk1c3ZpzAzDQHUg/yc41YVWjnHShv1RP59S/H3L5vZRM9ECULcTnWvgBvsfN
BFMwU6mCnVoxrLxbXr9NB9DcqRAW3JrGX921CxPCrqWZpJl5TjErMZtdoyu9qzrVMzLIB0ZTtqiI
t9YjnKNeasFTo+fmtXV4jFT1aGbh/g0Od7Ee4QChI6ypBQryTLpJJztvXXs0/2opCFdx/+m2qfXV
kKQwMMHBF58AUjS1BRS+HUUypK/T7G5Qmrv/ZkJYTcCDfYIehvJmEx5RePjYSVvjWKurQOqVByZy
a4ADhWPjB2Vb1QuBAQ+MnZ/1ELag9fSGIK38tiLCo+sQ7kpaDaDKqRIkg/yUpj+Q7Djc3q5VZ76w
IlSDefanvd+1g5dE6WNtJU/1FD0hA/MRHd+N+21122A3JAKQGb8AbkoFRwTtHrCBbXOa6+zBKbq3
rGYpSjFpwL+ycFrKKOO1XFBnkCf52Sr7naEYP2aQRRnw/9sbt7qaC1OCnyGyYmWDSb23zawe0Z2g
vtcoi2148xKurrJtR1n4nOCdBsFuMOp47WoQQlbVpEWGZ0H16/pGh6yYjOCCPakbW/diPb8s6Vxh
vAA1rjfBkk/bIUIe1hvhnVQ77amR7I3S8epi6HUu3B+cHNEEik621WeB4Ukj6jxVv8u76ThXW82G
1ZUwxU9nFSYHCF6vVzIZBiloaWte06j7tKieAlXeeG2tmmAGA2L9hf5AJGSB1N/s4dbRPTNm9lOS
7+PaOL7Sv5bvQYhkqBbyQuB516uoymrU0RvWvX4ymz0a2S11uWhrr1Y/yYWV5ecXGYDfpVBbQbHk
zcmi5OsM3xV/OOTMRNxezYswI6xG+CaqU0qz6ssGsPoYqsTI2WWV8pdZa6hc2VvsvluLEqJA2AAc
b/XQ9JLAah9K2fonTvtqn2iTebi9rOX4vTieF9snHM/OsaWyLSPTM9Po3Ejxrg3tXdJNB93XTzRK
jlqkvPZ9tezkwqGEU5jAl8TFJWoZOROHaEqX3w8A9uTPr8ZA/DKytIYXD2cQ6NotoqxRUgSHDE9x
ssfSH5+bevTm3Dzf3r7VD0Ug+J8ZYfsqB7HyrkkMr2rGzypafW4Y+ah0yXGw8aFWDyy6HL+e2oQE
wZLvJHyniTjKnHr8DBPVfG58VElvr2fVy1E7gNOIF+ML2YNYVcamaQeDOW3/sR6Gd/o8fhwDH43o
LQzO2tZxvy3fhlIqy7r+QlOS6L0RarrX2cnPOOh/+D66cfm8v72itX1b4LMgrHkBM1N3bSZk7lBH
mMnwyqH9iBr8n6Xx6tozvgYJGQ9fk5ydisG1CVvK7bxkjV5hdndxw5hoku6ReH3TSn6bEZK2OGp9
aUp806tKGApl1XW6b7f3avWT/F7IiyYHIkdR0S2fxBx3OAlChHR2zK0h3jUnu9gvXbioTXmmMdsa
uucAH5q6Ya/6iRd3f6MjuxG0l1MuRjcogWk+mPDIvCAAsMnhTD9qUEruVcMN4vyYmu1DH80/JN85
+N1WSrW6gRf2BE9YZMpqp26ZEk0U7ZBC+rDrJshe7KjeIhJZNbWwbes0VUgShACnQTacaXpmeV3b
fUdH+4Ak6L0RbJGIrO7ghRlhRYyulZYEWyAomxT9MPUgT+G50IKnslPp3m9BvFZXBSycgMowliKr
10dJh9W+1uvOYvwvSE9jPVQ7qenaQx50+UbVZdULL0wJNbGhXwTdAfLjhbWX5wbKfcFHo/onyLa8
cN0SwYEJBYiixQtP6pUu42FtevMgdcheDV/iIH22p6naFXpwvH2Glw/ywuVho/6fMeGDQY8ZRHY3
q7R2pq96TLW5U+t7ZOvmJ6updbe11GmnxnL2/bbd1S+35Pc2ajlgRIXtzHtbii248DyjlSkr2cEP
lBaei9TeeoRtGVoC/kXCVxdanzq5bXoTqdeIJGZmobKhRRuhY8vM8vNLM0HNYJskkyBLzXnMm12p
lA+GtjUcuno9XWzb4jsXZqa0N+Q0Xc6XpJV7gIzwFvZ2tQExW/VAaEEY/YHyChJLwQpSmmg46NxQ
c/FOz5Jj1jF73Zz0YAvssr5tqD9BD8bjRaySaVFpJmZXmcCRk4Pfyjvq8wczV970dX6bEbatjWO7
rLHl1QOCa917m8Wopb2RDa0uhuo85PjUMVRxcCCEzNaRKhZT6Pm+ROiYbvYuil49n7DkDxbvVp5j
ugzU8PrrRJ2TlVAU614Vxz/avv+EjDTSoH12vH1EV33N1haJFeY+4dW7tjPwl49TXxJcU626Cxx9
3De2//O2kdU9oxsEmQWdcqYbr42UgJvipiXYKXHmuFpilDult81d3savnklf9u23KRHEU6HWlhRp
RmkhanZBNB0rtYavvj7cXtH6ti3EUAuPPLiM6xWFbZ4qIdTkXhpMH6XUzh7qoDQ3TujqPYu8xP+M
LNt6EQeGEdUFXU1t2kFl8sXpo/ibgfgTCrw+A9y+0qeam6Oh++X22l5+LRJF9OGWZ9hSnhFuiyBG
zFUzJ9uTu+ygOP67qI33xWZetHjw9aWEGaRdNEZRAYKIozGGAhfhnKu2h6i6cjK/KwVkI2mYyq7s
R1tUKi/XtLjF760UjpOMomad+pPlje14HyvWQxTPz2mR//X6rVsgDcvQ+FKvE9yi1SYZndjU8JJ6
CvddlJ5Nv+4OrbXVj3y5HkbzGBamS6hAMiHSAU/BkPqx3RueEco7dYruaPG4A8WO2+tZDqb4jS7N
CK4wT3VrqH1iMzUQnX0F9dI8/dyq1QMsJI9aH+2UKnqgBztuhPKXns/ylloACBH6oGJUSrMC0efJ
tzy7blq3nH4k8vAN6qy7XtJ2hb+FF3vZtkZ/i2lK6AQoe8FjKqSYAFBnDfJFlX4EiVD5LEHNGkR/
llb73pzbg6K8l9W/CnROiXAne3Obf63nxT4v9EiU16gki1RoiU7YGrvR8awsv5cMlCb1dDdVSGEA
ByjteDcnptszmqSOGx77MjVEnYwTCGuDvpRjBY+VEr2FHLSzPT3RHmzYGroqdMte+qCm9V9jvx+G
f2671MvIuRj89fCGfw0c5HVQixqyXimbSHx7yX6K6AyXOz9QtS20yprrXtpZXOwieHY1gr/aYNhe
YDW7oXPOUWz/hfWH0pJ3mpImrhVFe7/NNoL22sm8tCscmcrKJT8zC8OzaaFJZXcaJGfXRfHx9jau
RU86j8xULxXZl3yojZOgvzZYXq//aGMFYq12X1rPqWntbxtadZALQ8J6ZhR8Ez81TU8yQjih2j+m
RsUn5eB9hWByYTonGdmj2zZX9/DCppAv5A6Jr5+Mhgcn/bFP7QNTRcdJKk63zWzsoZgrRIMRpKPJ
pYB8QO3maXrH6fw0ZvNfTEttRNJVW0jqwCrLJChcddfuqM4FZaxatbxYhfCqC6JzO+c8/KbkoBtb
tH+r+3dhbPn5he8XdZ2lsK6YnpYPdyHa7X0YPsu9cveG/bsws6z5wsw8j01kxLrphWbQ7ppi/BYp
ebRDYTZylUTeehatrgq9RlRR4fkgj7w2lwRVDAH0aHuhbp3ULHmuo+44NlsYj7W7RwFoS31waVOI
kmUWdOBy1Ta+p0v5N0dDNlRL3CTmYa5Ow66wzY0Dthao8Ap0eRcZ0Rdc0PMYxcZU0aIaqv5+AJ9v
at2f0xgf/bKhEh4/SNVz0xsbcX9tMxE4+cXY/Uvz63oz6bnnTu9glXfYwZbCw6w3XjApx9sushY9
KE9zg6MjhSah4PZD3VV+0VS25yOeDpvYLuwREyvq3Vz8dNoCHi5nYzvXDhpXqAmtIPKy/HO9sF6a
gsRGQfpD7zs7KXXcQJY+ltU9A6Pvb69tzZKGFPDCkLAQ5gn+OFBIHGR0vr0pgH8rgALCnz+3YeD2
SvHzDabQK4e8CfZzxtWvFwUSqJtMm5ZCrpm7IPSPoIH3oW6867YkF9f8gnoATw7ccRmHubbEZLeW
LoVzb/IDGJw+MUx3F83DRn63ZUXYuhENFV+VdMPrlWwfFB8TW72bzHbDFRbnErMqeN44Uygb2wCL
rteSjm3bUwTyvX7I/tBT5bOv+ufbH2ZtIZcmtGsTU54mTTLSlKvm2FP8el/RO4ecY+OmWjXDtAhU
HMAdaZNdm/Ej2Yl4JnJ75H32LqS4MaGfBxOp8dqpUxJhY6kFMG+AkJ3YzA6tOMhCTcLRwJrURb4z
oCFSq9eXahYzvzpXi0Cf+GWkQQ+sXGWEm6Gh86Qj/yGZZyl8NZ3bshpUJxfyBY682NCuM/6rHyg2
2MN4Z87QFzaSlyqvRptgBuZCqjUwfsCttHy9i3uwHCa74ODYXjwpj0487bJxfhqcbE86cLjtb2sx
59KU4AhappgTat22p6njx7lsvpeJuSs6/1up9m9IZEHoLzwmEA1SELhe1WwFE+2TguGMwT+1wL4b
OT6WdvgGj6PGtUymg+9+gZ+h9NVoeZ8ScKL4IZe6XaTo77L4LckDnP7LUwew8AviM8DrdWM6FAeN
qno3Vd+bUT0b+tYwyNo5vbAi1lQ1nsNDMVIcNGTzube6U6oHh1IaP9/2gnUz8EsuOGtk6YVb1ZGU
xAnUhPxOczyj0aAnKO6GKTzeNrN2eUNYsWjDUmR4waxman2vOjGXt53Hd4nTHSKtf4AB+aNlZ4mr
R/nBlNvyDVfDpVFhbV3s23HCFD9QR/+DXICmsD/U08a02uoG6jx6eXAjXCKWT4yusUbfcXwvcfp3
kx41rpw7+0bp/njDDl7YEe45KcvHXnFCx3P0YPRKQ/mH71kcYyt+8m3/i9WlX+RQkzfuveVkivce
EBuEi6lpLFFWOLk0e0JndGywDfFjdg5DZ88c4D0CMIfby1u7YE3SEeTy6B+8KOFFvD/1LAocDzUG
6ZhFzd9KCFnsbSNr34ojC08PVQMK78Jq1IYKlKKWpFmVs2t15yNNl/2cax9vm1nbNEeFKJykX0Vm
S/A7M9bkJC2JrHIUngKSxnMzJ9luKjXnnaS8muCNK8NhWAyiLpb1YgjU7vsiMFJJ/2D4n6Cv3lnR
2TDijc+z9pJBxHfhqkZrEjPXfhDMUttWAbUdM9fLvebDItB191UL799Q/Cl30uuPLqEC/XHUc6gf
i9T6ijbXTGdTe1e79lT49XslUt3O2sLCrlXLruwIpypFdFsLmezz9EA52rPXS8PXPEGmTIG3hbdn
XX1XpvFTN23Jcq9sKIaXqAHS06Dwf72hWZc3edo7FqD86ttyiNsyvkP5eRfKzrmo9My97ZMrrn9l
b/HZy8SilZiM83lhKHhiVwWnBv7bKtxqZqya0ZYRAHrRGift2kxdz1Ubtpjpe+M8zenTCLywHKzX
nzCFOZ1fQyc2eEnt2kzSzvz5FQe5aD44SMNkT5Z5L22lyisx6cqK4PQgooJkdGiaoFarIRGbEDQa
c0sWfuVqpDbNqw+KU5PWgvggsxlpaWfTWlC/34uyCWu3HVDZ2nEcpXeTXKv5ni3wM3fOlNdnTL9t
U7cWXrjRkMlzZLWG58DQXquf8+kpkr69wfOAyy4PAZ5PYiIjAYiSZiuxvMlwyl0UUAnuKt3Zj1H/
atUgwDiLOhnupzmyI1ag7awcYdHuSACt5AhTxN4fJIZOt7Bya04Oaw/gGBN4+wuF+K41OjRiat/z
B+VJ1cqzAiRc17fcb9UM+ES4zBcYjgjTzS05jgeD0mXf164UK2dToipW3t3+PGtOvrR+FlkaQMfi
CG05GJUdIvJLqzt+p/rZOW7mw20T6wv5bUK4dqMiH9Oqni2vrMLMjVvAMOSjrlKnG2tZuXjpPTB7
JAOi5zwJ0bye54EqW297ThkewlR7Tq35b0uJDnWzJWO4um2Ua3hlUDbnKXAdgZhvmcecsonnILTk
qPkRVpPXv9Qhr0SGRF6EATB1bcJHCbnMI162jWLvG8t67qTpOdXyrQma1c9zYUeI2bOOGhFy1XRP
5XY3GMUxDMeD07xSaJ4W3FILWEZCFpQI8Nzr5RhGPie8aWwvTebSDWbD3xeF/HpczWIFrAPsnzJj
aEI0HapcdrqYd3ph200P0VsLiNX2Laf3wiYmyr3etS/MifR4WdpLUqSEkpcZ6QddsmrX8fvjjEL7
bTuriQpOTYymscbShLtIjfCUNqaTrs5yt+/VYd77EQN2mYJaldMZwX7uVVJ0JWe0b4S5Mymb18MP
2Vt4mAGLcL9rYqmlkhrLrGZ8fuglz9CGE1XKsxnX59trXfNH3gCcZFAxDjWXa0fJmqyLA5ulDjbM
Kbbc7Wrbzlyoso7/zZAAFG2bMGuHRuZxE/n3k/RHvEg5TVuv0LVIcbkcIVJUea5GVcJyTL3pjkPf
fgmCOtzYs7V0ciGCsRfe96XTfb1nBZG9kPpYwz0S67EuGuOeIsVwHinM7bNJDfdzLW9Rfq2t7NKo
4JOanWmlVQSmN47aE6nEtyEuN2LgEhSE9yelHIe/cpmLoox4vS6ooyYFhIzm8X8dHa19jOeg2LGf
u8weD0kR3jVj+HqQGRyUF0aFL1Y6ORMGcaJ5QR8+anXyLdXGXepsvamWUCSuzQGTwKECtkLf5npt
St9LubkUSEeNylvYFeXZriL9YI5z+2wOo+rqyijvrLxKDojOOBtk52vH7NK8sLWRIfmTLI8akjPV
k+5M+0g3/26d16PPlrrB71UKm9nZRZQBQtS8uIkPvlZ8isfgIDnqxtW/shoopklhLDZSNcXZ4zIK
IytvO51vNsECEhzSyblr/a1R0BWXvzKz/BkXzyhrAGldjBmoXqO2DrIcaye1VrYYHVbymCsrwo1c
pq0zVNqMZzhA/Uu1Lo5qn9s7Ixvf61Fkbxyy9b1bpg5VeodMU10vSgOBFpXc3F4bF15kVa6VWY8j
VPGvDrf8Eg3+YnquL5EpvlIMsVzZuhe3w5cOlEaZpambJluazGvLWdgp+Bchet7X18vpfaUZVEYC
PyxlsfCpbz84W7zcL4nheazRjNQ4upCJMMtybWNQquXliCSphFpI0T0kRrM3/dCVHHiSi2InMUMR
mOfYqd1EfUOOc2VcOLlK44dWMS4zaX14AG+A3It8ot3z6mnEZY2EXrSHYFgSUw5dnwq14Rbx0q7r
j07QRm4gwVQKz/8bit1EiEWtAhrbJem93k46eL7WdrHzodV3ZvtOqnbx1idbibYafQE4PpjehARG
/GJNR8oZoLUQ9/23IoCc0p4eM9CqxljuS70GUezsURQ73Hb6lYsZDnq4EKAwoaUjOmPEGKZad5H9
QW4+DNan3jmZY78b1NDNpS1a6DXsGYsDGc2FQsNVfJT0Ye3rJaiwD+Mx+qDs53OyGxQ3dZWdui9P
5uunKXgEU6L7JdgM05ewpcVEPl3TVPjhx9oAoX81AVfa1Q0MDadQDuNN+rKVbGDRsGMwlkexSn3p
2k1mU+mHRo/De02ej7ku7Zr0OUTwjTESr3H+UofIvf31tgwK4T6M/aFNesfxZJQuW1M7ys5XbZiO
4ZA+RS2E/42+UZHZsiiEfgTLqjgsovAekho30sY73fpSzuq7iXTHsL822bwR/FfOha0ttDcmRQBi
vxD8B9vX276xg/sO9mHNkHZz/6hHqStT6LLaaJdkOYiwVzPM8zinSuMsFwJ1XkewalcdFH8Dy+xC
55T4004btccp3IK2rVwFALiBonOdMqYpHohG9ZWwQk/+fo6nhyHR3xeBdFDh3rntJmtmQM4txxxB
+Rcy72A3WkNTyvA+txy4GMOPJddAswnvWTVDhk8XjSnAF/e0RPdUUds8vC/i8HnI+r2s5pM7+tNG
dXUlyaEd+9vO4jIXSY6ehGFTSmp8b6cf2+5zpb8+V7v8/SJxA1MdSjbrrEONzcFtzOguBZLiyk3+
WqroRd7990LE14NW90NbzjYb5kzmrpnywoWU0CePgpb/tgus7NlSfCTRZUKJhpmQ5k4g2LpGo8YF
V+R8qurxyYm0LfWblcvEgXULYg2o08wXXdRSsgdD8TuwvZqyG0393DK4b435ubHbvZ7BTHJ7UVv2
hHgbTgrSmnkS3Jdzfahc2/H/GCfjECnZKZq2CLdXkl4q2rQYl7yKR6xwmzgZdb0gUEipoHh3quTH
0PkeBAh7BX6njYWtnKQrW2IGBRG64vuD45W+mXD7mwdnzKddpajvb++gaIiWJmybFEvAQQEVE/tY
2QzqnGH0+l4KHD96b0VmZ+1JTtXq2xDINJhumxP3UDQnhFUnceTEkZz4XtETo3dLtTThLh8r6QAb
I88Up4ukz7dN/rrlL5+xi00yK1JE/J+6u3BjZVUQdZNVDff5aOyb6qdZWYfJ7A6W+WFIzH2UVgco
YvaqIR1y/WvT+6dmVl0QAXdIS+70PnAbTTl0cr8v7Pf61rtQvN7Ev25x8YtYVstTwsr19h4SRTdX
Ird3PsWx43JMd0HvuDnPnbF0NgLP2ne43BPhOzBzVwF5yZN7I53v5sY+zElX78PYOOi1tZWGiadU
XKIQrotBb6s2tZv73nmC5RBWonifDH8MyU8j/uv2x769rhcSCYFBGTL30+S+TCgTR9WzbYTf8rjd
J7wMNp6LL7LZ/18XhWkdTA+lXPX600X+1DFJkTb3+mk6AE06BZ+Hb7rbH9T9dM7j/e2liQH8lzVo
IxZyF+KryBcQGH3Z1UDF7+cS7bdiavaxzGjUbSNr4QCg7L9GhE81a5M2KOPY3k9ldI5C/9GOEbYM
iufbZhb3enEkf5sRQ+k0yJkMY0R1v8AOsqL7Ahf1aR4nF+rGyC1z1auDLU3cVde4sCmEVB5c6DF2
VXOfK9Ypgn7SSIs9Iwf34/Dt9uo2NlEsQ3dmWVp27df3RRa5ubwfpeXNveF9W1uoXTtfPBS5SWxo
7pPuuxqdg+gxCL93wQ8qSrM+bRhbPcGwYUBTsbymRBKJbCqbEeqaGtWRxzD6MEV/p83PLDgprya0
W7ycoXTkOimUAcl74YDNNFkx4TBy9PftPPwfade1JDeuZL+IEfTmlbaKVW2lVkt6YYw0IzrQgaD9
+j3s3TuqQjMK27pP1/RMJRNIJBJpznnF90xuNnQPQ1VGt/dpT6sLWXzhl5mrTmaV9qepME7k51wd
5bQBVELESoFb2rMIHVPOSPkoKPvyYX5L4CkcUvcn0I+4KCmp9j9VHtzWZlsZ/kxtQ7pbhztSPgZn
3zZBu2S1rZzVfZWT+6z6bDYvBYxjOdXVyZ6fb4vbVelCHOf8LJCjzX1X9CfHOqCtXqtPtii/8zYz
/14ldJmCDRw4rrzZoVI1Vcta9iejOyZ24GCYHwSOw/ij114nPP/qOtCSc8MWb9GPXSGCPNrzuCjw
/Ct+s5+Lq5kkukVybSCnZpAqDPAi190j1SlwubtWeCGFu4rNdCQEE/3dCUy4wFQa3KV5WccysJm7
2qJXwJ4TvFSJO17ThuI4r2t3akBJb5aRNKk+EMnI/PVPrOPfpePTjz1hadUPS3dyQCetat+kFRQD
RJSVE2wQ38FNALdfq0XVnyTlvBT3hhne1mLPx16sFj8qaWQ9qm0lfp90d9nwedCiOu9cFKswI+NK
2c/b0vZP1O814zy6Oiz1UFXNFiYdjM70WRk4YHu+LURgbXwHCu2LlSnIDp+y4rmWJNfslyA1Aqa/
oofoeFuWItJo+/vFAXKSmtFWa/uT9aCFY+0WYTO53c/oVfG0YDk8VTJa5gTHaTcqu9y07QhcCLUs
vSGaBafR/Br98dhHaecSyzUiJShDcjd/dL7j7cb6fX75F1RboUEY7xhsm/7c9LY7E8BlvNxeSdGu
cT4CN4cxT0SiJ7UjYPeZPcla3QVHawUGCMglbksTbRvnJEhfD+24IK615adlPLb1aUgEZrgnAlkv
NJWheRJtV9ztUeqYXOo0hZ1G6aXJrcAuXvJahJn9ridh25pLKdyJsuWOypKazifNfpBr02XO5wxP
9bI8q07tWjOwx7ODqn20lZEXu7mtCws0FSRBym4iJ5vmB92o7+xSClivf3Bo4U0MBqkN23CQbVY5
Q6dNvg5ZabPTrP8s9AeH/pATgYg9BwuIqH9FcDeg0rRZgyAN2zS91s7jOAsOq+j3ObtO7a7L9BW/
nzr3BftHzQXJ6m0J+ADi8vs5S25BYsHy2mInPKhCo6YPS4sa2Gp2bk6q5b9Thi+Xr8momKUBZdZF
PTjG8oxmmeDjJ/NCH74XbgCHGe1s6NPNYGuiuk/Tr0XVCPz27uH8vet8tNosGD8dGihCjGDUHuT5
tGaCB+CeQwOCsIJiEHomFIXbGFBIEDurVXYyTKdw9cp07dy8t1pU8DCsQpaPFqy3s3Ihj68EJRNG
45JiO5LKEuYZoqs6C23SeiyxD7f3SN0Cbd7oUELGRY5KF3BmOK8zNNROpllaYNRpVNvrs1xWx7Fr
3ULS7+y2DLfOJMNow5T0Z6NsoyntAuCfI55N5NAqTDenpZf14/1SGegOzf1UTn/l7Nft79zbZTDT
ABMJ1It48HNbYDuZUUyFpj/j2RImv5xBO07rj9sy9gIoB60jW+cunP3bUl14wkpKrGKyl+IEmugn
Nmd+k2QPRHMe+3Y9znbqDziTt0XuqYVeRAtlVNBaodPo2vnWqjnXdoN3SZ51lUsrXJAdEEtTZj3f
FrT7OrmUxD24pCZNLDQOw3mVn0p0i9rDg9LafqrXUTapp6zyW/sssSUwWidobft+AZj57W/Y9og3
tctPUK+VHYjF1BLMIadBntEZ+QNBXd7WrsS0ABSv7jB6Zvvptsjd+Aqdy4CEAqAWynHctTMCrlKx
xi3xQEFwXwVF6AT6Zx0M9xoCLBEkw56juJTG3UB6OSRKbSIoRtr4S9sOrjxJbiXReJiV88Rs77Z2
uwZ7odz29wuDNUpjHYDq153G/CwVf9EWtCil12uOO6D+Y38UCXJzSwDqwbAPmsdwEjljlUlmGXmG
2LHFSNEUsO5H8212BIa6cwni/OHXkfuGs+UTh82aZV1mItZipE3dpXo1rel5UMdneRTVs0SiOJ9i
zbSTaJMRXBhNJ3mGRMra7TCXij7QNTNtX7VoKqhtqpuRc4fgUj8+mciSlVgkRXBcUMM15EcJoG5J
PbvSpPkFmJpVKcyUHzn5xySuPsFYV+UswzckuH66MaYV81lnhKhateWxUYmbZiLMvr1I9OobOV8x
6ogNuhJmrK3TpHwjWYtM/wIetfHQFC01PIzoJVawJstKDxk4KsqDNKXrcFCbgn6Uy21Dad3m2Ezg
TMIn8+zpIxlGrXUm6zVxWDiqdmiuir/IIvj798EdxADsAQ4KDCLI4VyfJdBBGcQZRutVt0fQ2o+n
hOUCFO/367pNyW3U9lAJ5XoeY9vAQC1tzZpGbSmDAZl6eSK7tP5HHx7s9ls+gd0ruWNDJXAT7y4Z
Tuz29ws3gYODRKnc02hyXvu58EiXu8Jp4bcg6MqwOSmcp51z2+qTBVKMh+re+onMuBZqB8lbHrUo
u68GT7rbnO5yKDzpAKCa267w3VnmpHOet5oag2YZxdIyeXqw0fwUKEQrTuVC6KfaWFpBSeqdubzJ
2wb/txE+9CRdr6nJ0HNhlAxrqj1l2sE2BYGB6Pe5u9JBIxBJp5FGVL4v6lObHm+v175N/P5+ztwr
0jSV2hIa5erd1D+o7AiivNsi3ppE31vEbxmbjhd2Z6Wz3SoDdBh/ytTNPiOr8qAdkMZ7WYZID0kg
+aJT/PamuCWTs3WyLrWO2iSNJFWZQl2uh2DOWerJUjm54OMd/pJrSw+0Vqb3hFljKCkVJjBb2fQH
PR0fi1UfAptIBZi9k+6ga5J2TNrG8AuWL67NUuuu7e3p3CDqDeuklT+jfa+L+hYUM9kElz60+uz2
wHCIOo1kB7Tmpm5lTNRTpeWjoya4kK/8NGckabVYCbBO6AmlNrf4avbfWCfyWfv3FUDTMToFv8WT
ohapOTvjlPan4jgFig+YUN8+mw96SCPHtz56qjaFtkht+080OnMBjaNOTtPJqHEUWyklMsvvApPc
iZiuBHBXPgH/qJKbOdJtY35au6d8CjAe4TGjcjNr/qKlCqg7VtcGW0z3lcrPTP6rkGSAunyqZ58x
AHt0oimrvbzjxTdhQ6+Pyaj3LVrteuSFVS95Wn3FLZ/w9pg83XUiTFL4hUujIrq9Eu/85dsKA1kO
dSsLs0TcSneyMtZU7eXnFjMwshykDnHNtYo0VC1uS9pbcmWD3Ec/OeAqeAOyBrnSjSUfTj1YGGZV
8sYU0yfZgbVlPJs1Ss9/3xa4E4QD4BHj+iB+BFsqPzSrFiNjTQuBC1EOuX5CecI3s8Kj+jcj+fC9
g3UEvj9Q8QE2gxlIzseVauXUaMovT53dH9QadtMwzWV6/1jA/QmW8p3T3oThmYh+JYz1Y/rr2lL6
LilHBaZyMmoE3rO35IFk/7q9ersygORlIt+DAVOZu8ZJ3RkayDHxhFGealJ5Y0t9Zgq8ikgId1sb
09S0c4eIlrS9t0jGoZwnd6GL4JLbMz30tf6rC2fkwGShfbu9Jar63la/1dWdWp2nAo07Mxh6uz/Y
HcAZIYTEVCwMkNsdu5uB3JRrkDbmhwzYeHNlh7Slgizn3toBzGYrPG8Ag7x5m8Vo0bGDGEt5psVX
eThNTHRm97wD2lcdFfRpgHbgM3fVYptVq24yrNLFTJ6LYSh3Vr8Z8xLcNrd3cQ5M+lISt2iSXs+1
nKIOvA42aICyIBW25O4qg9ZqAJ3JCNb4wrmDrjtdyyCCLvMnPDypmwOf0R3nuzozV0GsvSMMw7ZI
UAEbWgaEBBdX9d1kt05GrNdhMf4hGvOlDLMLQ4IKXJ8KfPh+yO3ABFA22AECQjOhM/QTQu6tpSfz
mu9ZOCIWuWs8Kxh8Payf6F1WusOperUeMwFSy7udQwSsY0G3XjUozCcpO6oB2F1HpAWGhdS31HzL
dtiiepXy7gy/iQH6B7AZQUPBw/GnzZCSap1oRM7WQ3ogIWqahewaUFDxUq/16kh1Sz/1u5MoGnl/
M3OyOf8xdl1OChmyxzCJTG89rH7vNV7lzU9yWAf1P+J7+X3CipPJRShjW0w4Cgial1gJ27CJzDML
Fp95WZB4jeD07YboAAH8z+ryKR082CorX6ChHmH+xa/AC1t6LBgDPVTd1kPK86NO8lo9nk1EXux0
LlqopxonuQ1b5XO3CIJI0RLynW6EqeNq6pBhfKqPOUzGfKxP2ZfmaIbLQRHhV4msROeOvM7maqYM
a2jfTcHyhfjoF/SM3gW7ebCidNxG3Q9FEONsVsA/cy73jQs7KiXt5GI7FXqUHvqojPDWCauwP9z2
zvv2gawfstMgVn03STRhyNZIrAZyvqfP/1sVz9z8Lj1252F0NU9226gUcT7vKgeUhq0DCY9rvqtK
GdNUS7McHAFqfcjzDdd59Fst8/pSBwpZWVdu6TA/dcx/bqu769J+C+ZvitJcAK9BFjwenQdJi6ho
4nv3999GfHVk/GWLC3v6HvP6Se/QqBuN51IdH1k7iabZdpNM+oUQzmlpDYDns1ZC5qBIG18v6hLo
0bnmgjFyA9MC3l7iqMW3ik7MZWg0DUiWOn/dXsh3Mcp2yi++gXNiWpXYY25mfUSnfHIbzB8djaL5
kYztRwGJN+CpC0l8647Sdqpu9zb8SXMatMeJeWktOATvrvRNBEbc0E+4pXv4gAtgGzLmL7cFHeqg
aKUfAMVGbxVV3BEZd8Gdvu3Ou4ONkFXG2AOqcjxzdguSyb7tYYKZ+oso90p+Vs1Hh2SuRVT0WglU
e/v2W+I4PzKDPKCkdMbyPZGvcix76LHxlENyHCY3PU8h+4KM3Q9R6LBrHhdKbn+/SAxpaVdOagGp
rf4TcDwWuuJSwQtj96hdiNg29UJEUw5rqUlwkDM5a+aTln8497JZxYUA7iwDgmBKpBo6AFwBJawY
tuMX8+fb52j/brmQwh1mp+vHTDNbGslPo697ZTDjOmOH/Kx41KWIfYrAOgpkbvcVbxMwQIDOgx8I
Z4vbHTS4LNKwRZVA0PLZEWQds2cfRw93mUe/w2skwW2Je3t1KZDbq0mp0A66xQSl8Unvj5kojts7
wJe/z20VMYGp7CyIVG3pU6KhktEFcx8Yo0CNbV1urRu3VynaqRKlgxqjYQcGMCCTognXqRSc2X1t
MHaKkia6WfhmpEFu+jXZ4u5irT0yPaY98nDd/bKKxpX2t+W3IC6uUbJSM4sGR2gYXwCzVzMRVNeu
daOj4l9Vti+4OKSYZ+lVAjgmWJr0yfiqe5iuDatIRXShBdXn1MNfBP51L7a4FMkZt2Zno2oSKFWu
5nnIaKTM6QO6GILGqA6tYnkAwjpQsvy4beK7MSloQEFuB7BoE9mwa1XbzDRTY3N5zqcpsBDWowru
ox7ilb7ki/pHth/jLfFSGHf9Kg3ppA1SK9LMv83KAlt0fagS+jJmwIpYylCV0z+JuS9E8o0MZd5n
wD2FyPUnyuyApfokeTSYf0HBwZV8UaF976xdiuPKL6QGziDgPHCkrfnBmLpzZdCgVIkn2Lbtd26s
JD+HWK+KZBgl5EyeiUi7DtE/ceyOeBtFwlh7S3XcksWdt7paaT5OkIW5ysWD442c+zXqffKMZ24k
crqiFeTOXoLBaMNeIQ0YnoFm9nc2UCfZnAiKQJtvvaUUd96AaD3LEoGYce28Un/sqx9l8dIsvxQR
4Pf7yjpu5Eub4K6RZKprNubb+n0FFOnROGSh49WvZSwFltd/lR+XMHG1QD5kd8uzcSxDO7htLXsO
09iq1KBAAHWgxZ3xNKcY2TfLPkIHGcCF9aS7x/8jYkHY3bgLKdzhRmJYV6bGRkhgYSDpa56gZfj1
tiK7m/ZbBB9Uj2rLTHVG+G41RVAjdyWTEt0IZoN0uh5QIgQGUHYlghgThEkYVQUtIczo4iaQMOqr
SZtbJoBMjqsgC3UNaTpXux+9JVRD9VB7ueyap1ToLPfWE1PNAMYCxAjCBM6VDPWgdTrZ1lPKf3al
6led+ckiqyAg3bm2NUCobTcAWmhAZnStYeEkQw4gaKypkRRVCtDQFYw0fgc0R5b5eDEVtHbRHWKo
ojrsjoIXkt9NGXYr4PAkKe0BrPLMmkNbvLLm4+89DOYiQYDUJ1Bzef7mRVkyOlakj0b5HoxrJr3D
jO5tm9zV4kIEZyFL4oB5RsX6jdW3Lj9IxSdbVDze2SJdRSoMzcloNgFx/PUWWaxPgRRAm8M0B0vq
9a3u6rabDn9/WBM8BkwAv4FVCoBsnCXIFXJ8aZ6yiKhynMmlr/aOO9uGID+7EwRciuFTe6bWl0mn
TUgOLei8VZ3vqdx7ylyHBlV+DQ4JZ4MInP3OHgFXE0lv9OyoYBHY/n5xiqdlRo93bsPS1vow2t/b
SjkYmGb4+PpdSuH8fNWYOdLRI4umKu5qye2zAbNHH0VjQ2LhSpfNY13oAuxLQMWqVh+Z2uL3WnpH
ZDm6rchedu1KBmfTyYoGglVbGfLL7dH0ytg89mF+p7u2q4fywXnM/yAMvZLI2d5SKWrdJJCoPEyB
EXYRPaTHycfDzhOHoTtO/ULYu8J2UXd60m4pEidfvA0GukhVVzPDZEzcqhbdvu9ApN52bGveAjsQ
aj1vd8zFjpFqZhVqTSzq9HANrbD4VLxmVbSECu78XhRj7zkLjJb+K43buz7JM1zCMotKc4wn1rwO
subTRD3q0/QnBn8hits0lo6oPlcQVVW9m9HZremX1RT0uO+lgvQLhfh6DhtMA1iRE4s0xQWh2Pqw
hvSoAfXI/LsNyJcKtHeh6hdPokB0z0owZ4qKGWrbBqgtrw+a3sgUiFisPQC51WXKD+Cz+ev8MFeH
2f6DZwNatX7L4oLediQV6Uqs5Jq/1PphLV5T/XD7UO/5wDdILB0dLO+T16SYQKnKZhaZGJBM2RJn
0gRywFUgZtfaL+TwuWp5ABKrXmK7tjqRE84HFgPe3c3D2hPVbISyuBCpQplxVjt43MUbfdXLvDRu
T81xa+YT9YjvRYLYIvRGgq0T3ZI8mg2V+96aLOhFf5LzEMhBE2s/AMVid/7qJW4TOsfKh44nEcjE
TvR+JZhTstWGQa1lCDalszwdGkVwwES/z0UXM5hhO8rgnvRGP7R4tgLhJLhte3tZhisduLOk9axt
2xU6ZMcZ6UKyYZZFGmYJ/z+B8+71dblV3GlaswROEF0ceBxPv+rHrTQqeR2IltzJl/0ynA5SeFvB
/cP12zi4AMNsSl0r7AVrOHuaQj19OStMRFS8V1a/WkUuwFCLlS61AnMv0fEXVQFo4DXcJ8RXMT5g
+22ghkoVAIvQDJHPOYqU3Nw592S+Es9HHikZqW7BgxRHLazD8TCEUsTE+YbNGG7J4W4wKStMZTag
ZpV51ZfyuX3IPmn3TeOOgCvz9cOETt3/bvu4i6zQMWjdlDAYoEAM7YslnW1J8EzYPWV4hqBgg05u
nW/CoRXa4dUMpyxd9J+DXRWe1RNBb+77WRrEhujf/lcIf8xUNS3GDMeMhfSso2aONilvgH9CxvL/
EUftWv2FOO6ctQq1a2bC6vP0bl3OFltdmpR/sjfgr0PfCjjnQTN3fQ2nLYhuMxM6letnOv2k3XMn
muHaC5nQqgJ0PNB0IEnCLVuW6bQaSc+iAY1RugncxmId3ALYlPPSP/+BqV3I4tTBa7GVLEljW5ZE
Ns9ASyoHgUPfvxYvZHDeqADkJZJbOKjrT1yLQR/Zn40IkGXI1okCl31feyGL80k5Jm8W9MxtvnYI
ikfNnw9GYLo9csgpWkPEZ3V/s1D/AVoQ3jk82JuUD6k92wiVdGa5PeaJRue8zt/T7Nvtjdq/s4D7
/x9B3L1IbQ3YeNu9mB3zeytcMTKg3QEewStDxzf829K2bX/n8y6EcSYoy2wuxgUeyDIPJQp25FXw
+7tn9UIAZ3dyKa8NcMtgd2mueYywzh1AwhosWZv4ubHUHjUszTebhESJBd7ostQqMK4Us19bjQWc
SEyYOkhFeMUkPaXK4gCsGshDKa18Y+oBSNCnutvIfeFWyzKCYa4oPW3pwAOPIV4vrxMdkC14EZsM
Ux5Dqy4u8I8TH6EHDbXSKP5SR4O4EgoEPqn0ryvVdXctZDPqe2NA7qtJj83KbL+EAfjDZCzusEqp
S9RU9ka1EawXb2WgRgQ6HeqoOlCcNrLra69jL1qfyYk8xjXN/Gqq3DHR/Q4VLWMQ2Nn2S5c7z0vi
brvOxtrn/TLHCrCuBstxy152O9qFq/XYzCImpD290OCBvjwcnfepJGDGoVN3zHIAGksP5qQFdi9H
aHyO8G988HW4KYb+baTfUK8FdizXPk6XopsB6pDHw1REiyYHbZ/4aU6C25b97py+ydkIkgGshNyV
w8mZB0XrnJ4WMZBmnodpXo/2qK6hXciZmybz306ZF8GMidZwcUCYgCoYsguJqkftaFmCj+FPGb4F
K4uWQLRj6No7fH61W5FFG6U8rkAbuViLZxckNgpNsLS8t+DFcIc5A9GFlvddGvdL5Tp19WC2tSCW
2MyOM8s3GzGBV/X2YOQOwNiwqZBIEVuz7VlOFa4ow4D7/RNbVC+31jOahr4KdnJ7ydyQyWcG5ZRh
lLNjabzo6Pqv0OC9Jp8HrX5ShtVlPXMb9bkyyshq781SkJXcORh4f8NS0TK6YQNwVrQ4i9HY4MCO
R+WLOeR+LtPA6r6sg0DOroUgmw8+IeDxoh/3el01k4FmZiyLOO8UgHobYVm1njQNvmAttwvj3Vrq
IGve8LJkoGZdy0lmQts5nbGWRe/mRuUBtDomcDHOeh7mJurr8s4myQspEhcQlV5r1K6iE0H5dVfb
i6/grjW9mzuAR1dFzGw7wAS7h9HWg4Un821t98SANAXclYAKQGqP86F5oyVGnSRpnFMzggmFsiSd
VWIGHxcDCC3wkG1YC7a9fcZFIs9JwH8NfTJgiVt+NidBxZAMcqrDH4hBQQazTWhyAVb/tRhTt+pe
yyGGMD0wQAhGjfXcaVV0W8yexQMFEagkKDKBxY2zRFtvJ5sYbR6nHSojkuyVmfkZRHm+KqV/sD8Q
oVsb4iv+C3e4Cjou/VCQMgYH+9oF5lKz1tepXLM7B7nXWeAe98wBMy8gfQem/TbSer2ABc1AsWwt
WVwxWFvZh8WUHms5P95ewD0X6aig9XuDqMD8y7WYNZPbBBjHaexkS2A385ECA6xPSl8n9CVJTr0s
nOrZ0ww2Du5bHXphaOlaZEY1ZlGlL+IsJ35eapGeTX41ilKfu2KAWA/mPdCwm7wj1lHGndqS5PEy
6v7KKr/Pm1iWReSIe2JwXsF59oYyYXE+KtcnzEKqZhZbeeuteR/OOXUTSRVY356h6xaAeTeqQiwc
5x0GEKtkVBqzuG7vMFeRVO1WPmtFdX6BGJPTxpyLZujVpYgnHTMOhn0cAImZT9oDUpR6cNv09lZu
m+RAkGrqm/ld24HdsGJEfr8AA9oIyIq2a70+p8iDV/0kWL13gw5bsAFwGQOhHOYfdb7tznTMJasS
PYuBI6n6km0Ag5pgrlNTcUF3hbMcK5Yp3kDkxl+GzgL87tgEuJdSt1RazbWYbESpVP4DAFRAGkyj
/lArdoN/zPqjgw/UMuBhySi18MdDHe261g2axwDM6b1Zqe8NEKu5SqMLngd76w8NsPwbmZ7Bd4LT
bkUtvXOyWCbWfW2ZXtLJ3wAG+HEXjdgLvQcG2nxtvN6ut1leh1FbyJIcQcqaPc65jo4wkNNPeaUE
E7VfPmxUiBXsrXkPMQja3K+lldRO1X5B8Frj1TbPumdJLFTx7vkDMRsDJqD0gQPOZ1tK7H1asjKL
M5pHeWb/JO3g6e0qSLjtbBEGOwGsgko26kf8QIejdAtaDtI07gzdn9u69qqsDjIZ4wG39dk2gYu0
tvcNJGxTnbrFJQ8HjI6w3LHTWJLpjymfTYBeU0kgZFcboKVvbzbMPPAeuVWKJQFjfBHXkxq1ehah
ASxKMz28rcueGDDpIAkGa3uPsKqCYWNq5SEDy3Xqkdy3h8ZXRfmpXSEGxm4xbIDnNd+33pqZNeQM
zmscnBcLt4uTLs+dLqKjfDdwAMcFzq3fcraX90W4NrAcaY5ES+OkzFwzP/QpmjeLR1V51eopLO27
qp/9JmsE9r1nDwr6TYB/o+L6NzixTCo0VQGfdqx2zJepE1qSKFu0c9WoGxoUJm0x/v4udKOtri1U
SuD+K1v/sj1r/tHatrsv0jql7kRA0+rdNozNiHkjv5TIKdUN3YSaopHGg0aAlfwsN+eh/U4HQBT0
xCtTzHM83Za4ZyXg+MJYJAwFCCjcFaflWUrB+pDFAL3yDHn1WJOGtSNqp9hbSn3LI264PpgM4YK4
qSuaBgCxWZyCbMFtwFYbTVT7Pjnsl8GKIbitlEgaV8ure8DIJLaEUAQpmGI17kdAXDG7PbcAibst
am/90DWEggCeEbrGo/4mU1GqhdznsaXnjnmY8T+aMwwj9W2bLX99WBigWuDPATAMH8i7J8NZEjon
qRwPYNxoprueTu5cP98WstkYZ4O6jDw9KHGA+QDIh+vznPUSOtTyUo61KvtSjGtc2O09dYp4yM1T
UwPV6ra83RVE9s/e2q7AhMnJg5vM0Rmd53FbqWFjLp6C7iEpXQQ+d0ctNPlhoHnzug7qQ9dqLfmK
ZswO4WmlPC0Y4rRKTxoDTXoC9NNthfY8Ex6UKKU4G26GzN1U8lwZHaV9GRe0e+pb60nO15fbIvbW
DAzAGDKH5wN8AyeirefUXMsaMUSTRw54IrPR9HvJ9G+L2dPkQgwPElkkWt/kWiYdq8nObOYVa16g
EcTpiyL5fFvUzvag8gR++i38VcErxm1PAW7oSe8I6Bur0ica/dUreFHWlkea8qWpRWylO6pdyuMB
fHQALPZr3RSxLi2+3ZMjy+XH2yrtbNKViO3vFxcjbRPJrO0aB0eqwonpLsAA/FwRIXnuidkmsTFU
4CAI4wM9TWYT6WdzQTNccWx09ZXUw4MK8/u4NjhAiInw2leBQHCtTWlgfN4aBgT9egEg5lCjzz0V
XEY7flv/LQMoCtcy1CYf62JJSdzj4X2/trl8N5hS8V2udSVsUCb69N/oBId3LQ9oj+OKHSJxRqRA
ttAwPib+7Aird5tv4V3qpV7ctc5IkktNT5zj1Jt+ijoLW4afOXlBath1dCmyJvVgNbnbZTT4Ew0t
1cIzFq81/rVsNMtGcluUca/qBc6WfJeWg+Nq9Sh6K+/sHcBkDFDz4RbUgQlwvZa0lKkEHMYlNtRH
pvzVqGdjPq7C7owda0cpHGxN6K9CooEnDqjHIZFylKVi06jBsbp4U5eFUifqst9xDyjTqcB0wU0L
o+es3WBWa+A+L2NQKPWDm2EK9B/N6HSB19vRBnesbgBCzFFBDsEZhjPUUwruzjy2JzzO7OZsa8Wh
HVRB8/memC1wwGPTsNBdz6VmjHWqR2TJMOBZxUPfe6w9F6oINnBnyRD+ID8HdUwkMrglyzDnZWWG
ksV5Qf3W7r/llvrrtjW/K7njraHhranjGgcOLLzrtZGtFD0EuD+SI+KQUCmcmDhApEKR0kyjRO3d
cTyrY+/WM6ptSNbclr5j4ZD5+yxxwu3cqTrDyZzj0nSHGhzaGJt5HLOnwRaS9WxR93uH8VsUt2G1
ntOMkAWOsGrDObHuuvRpzIuDVH9V7RlcQVU0gplXGpuIdSFdWZALs8l7i43IFi8s3CyIznhvLDlG
xqiVrPFgDAHABh6BDuZJKfH1eQpkk8TSkvqLWT+QRP4qG4MgDt0xWgxlOCAuh1lhaoIL2Po+ccDi
YiD+rKUjOkQQhGSBJYu4vvd29VIMd+dQI0FHe4kjOFinERNkTI7Y+KOSRbxSu3KQCgGxIcJrtMBc
m66dMpCiTWsRV0C/HRPblyqU2jqCju90FuCciWRx95pRNtiedijjVdKPyM956VI9UdPwJsv2bx+K
3V1C6gfZSzyqgBF3rVaDYfhc1xhqDgzYDCqwLxbNbxXtD84emgT+FbMdmItYatWMzE7zQo4tpfLt
NnGLNjnObeM1Njv8dxptfu5CVIIR/wW0gGXsSGU81Kmfttk5lUTNmjvucgO3wCPLwosfd821GHWQ
iK6MVR5Tq2gCKqmYdJJNEbr/npStFw5PfJwgIL1cS1mbgtSrQ7O4AbMOeuNOGDcKb6/X5ot4X3Uh
gj+neZqBnm3OkbgGbvCgubPcoNbKWnP+3JRNYxyJonZd0En1Ih3kfp3lP4hMt5YEGYPEwJLi4dnT
cu4VeYSOZSPlB2sqATI5ZbnfrJOIAXXXJ17I4rvk+zHPaJej3otEzXnqLReo6Vr72sraF40kZw3k
QiX5RhmILioR5cp2v/ALbQAeEWSlgBl7VwhTHEDLdSRFsNACWlWqoknHeG2mxPaav4IuWTSfvWM7
iIDgfzcwejTtcZeQA7a4ROvyIgaHZgXQI0OZFXdmsi6oXu94K1ioI8uI5vD649PvmTODD7jF2aZN
d7TW6Q4tQb5U1n6fiuAsd7wVwpAtYQkmc2C0cWdb0apJ6esiOTqZkni2WYK/TdJkz1n1r7dPxc5m
IXREQg3RHbiceRCiJNUGai95cizSwV+0p677nqqVr0x/abMIgmjnBCJnbaIgA4Qz9DxwWslybqRs
VQqkQsEyXCs+AeoKKwD30nxT+u9TrxxvK7e3jOA8A4opYGwQHG9/v3CR45Iug9lhfiwFUwUqYmGr
9oGsiMDU9tbQsZBWA2wbhvZlzumrORLlPUgE40yRPHt+sYB5aDefqf5ks49HyBbw7gDiqKHDAZZx
rVFeO22mLEh6LYD7ZK0D+gMSWauI0GjH1K/EcDtF5ppVg2RWcVPm1K+zZfEGh5oHNvd/5735Bw0b
V+K4fRrsXMnUNq1jfUQGudL8jtWnMmuD2+aw4yiACo+ar2Zhhhc2eL14Zl1O6DLo5VjSwHlmZZ/p
Kurn3Vm4KxGcJlNK/k/EtDyMiGkYqEe1p0oV3Zfb73A+djtAzpb+RHWOh5//H9KubNdtHMh+kQCt
lPQqyZYt3zV3S/IiZNW+U9Ty9XOUme4r0xoTuQ10OkAM+JjFYpEsnjoVWRqztAmFmVjVuw7tL8xC
DYZOda5bTATDbctxnTX9on4fWMUvS3vKlNiVhGFhc1rQRltdHq/B2+PuK3kSSxAzt+QARVdOFH3L
rMT7wDDwQAtiAZ5IQEE8n3hzUnGqxeUyoFpm9ft0KqRuXxJsfTeDLJfy/r/BcVZrEvQn6XDKCUib
O9nwBVLpTjL/uA5yUYGEOyauO/8Oit8jwEeXWFgYcoBnJXeR40121rF4lO6S6BAepj1KW7wc6oMD
qHOChfQnV3fhfitszs1jVPDMcwts1Vf2WK5QduuoB6a8p3pxoKROKOqhuukkq82XC3ysVtW4irH5
yiPxalW+Saioz8LG9mSBCaAt2QfkxfmXusycITrSIauXNNHOoMc5sx1deYu15yz83isv1+dvC22h
hiLbgVPFhdxnr6MrnWFXWTAUkJVpxz2RRicuId0Y2y95iXFSwflzY5vC7fgdkbvZzXmitxQH8GCy
nkzzF5K+IMTeKvpjGBsfiBvIRinWQrFZCL/nC86S0lxjTaYERX3XZbPD5t3fdwRbFsCSTUYXBBwp
8Kp/DpLbxsiMqFSCqfCr5MlA57Fe1Otqa5bWGFzkIGnIoM4FjLjsPK2tnbC/pWUQGZ9C8uOv1fS5
EfHqNEoSRVLMciWIxhpvxZFvFo1g6W45gSGD/YRXObxxEi7YxmYh9bI1KUGj9Ec9x/10RFLq1c4g
myUSMdoyHnhChiwjHWWCtHI+QYnM9LyeMZwMWIX9ZEADuPlKQ2i2FbiAK4Kz0RJW+aCENxn8t2zy
uH+cw8VK0hRqhxBRsG8pOTL0FY8ykIRf6bhTR1QZ0F/Xl/DiYBeAYJQokPDGaZ1XSOgHWepR9aQE
VZlCZO8WPcdd4SvdlhHRTwQV4eCA4ubBbSbVjJKGzIzLAIf0G7Pu/BG3VtZALUmd7oYhvmmU/OXv
x0XwtKUt2trLjfzckGGnoAGTiQubPEODhliHskvcghJBkNgc2QqGc0VWV9U4tWoRhFFO3Rzvdlpp
Hona7gqiPtZMORSNqPp+y/3JcltEFgiEUH7K8Ootk9rC0LLqTrP8UH9yDJDXCBMJrm/VIeAp8F8k
Xm7VyHPk/7VUCXRf2093jVu43biHGLpX7XNfNz9w5sAjLojIUPWGo3DGVBJVtse6VgIc2lXlZ9Pv
pFBw4thy94Wyq+mQzkA5A5cJqtu2UHFkQlCXn6nqMvPJjNy/97zl+QdJIKTmcbo597wILw+liu4G
gc2eWOz05b6z/Q9AgOCByYEiNDz8HCK1Ib/VqyCwzkrta7nqhyV6CZiVqN/f1oFleZQBmQTzgfz0
OU4zUwlqPZoS9NkhtH6N5bfr49jy5EUHCE1dsP8hPXf+/XZfTzVVKqye5C3RvtAu/1ZCrA1FLmif
8wGoZa/FmWghaHEHh5x1RkMTVUGC5XdaaPczKsOLefZsTT4kdv2Bwzq4gP+icW4GpnEl6zEMZ6JS
wNEZsT2LTF9RaixqRb3p0CskzoRlGRaQsGYFtA/GnR63e0UadhqVP+LUK5jFU1ZZCGWU9KFQZ8Sc
8jTK6Nbld6Ik7UXd5XJyQINy0FKw+y0Nyc4xpFmjuq7WRcD22r7YFT7av1apB2m73SI7bqR4s913
wiC3fC2/A2Jjx5JFv0PUDXA7xRSFedkSkJzlRH9SStmxZWghplnldEPQqN2epZaHmtBDGlqfy7QS
kDo318A7PH9eonrZ20Ntz+COHsb41Eu/8U8oCdxL5PX6Eth0lRUSZ98IL8pNMclpkOrarR5WrmKn
u0atj9dhFntd2HPpHoYDDFj9/FMWvL6AXgASVik6Ec2QUDET4ppy4RimiDS4cVpCKhPPZmATI6Dz
UNDFtzo11EAaVH+2duio5eTIEAtIzHwXVw9qIbsWBHCuj29jwkDxRQUBSOoqrvPcisvYWEldATNK
7GlqXscO7FhyiPKXWETJ3hweesYAzEDhobYcPlaLrijkuOhVINHiS14fq7jZxWhsNJCXSL4brNlR
YkOwBW9E/IWYiAKaP6Ig/HHXpvnYFJCND2bzR52EjyV0XK+b79I9wHICvR+SI2BsoablfFB2ZoNw
ktVtYEc1uqqA36L81LvPySzi6lxa7wyIH4pWIeKX+gJkfauhuZj8bKRjPH0l4YteB1L/fH1cl5Zb
4NCvUYPPQzaDW105/lFWIeEaZHHs1/3kT8bfqnHBWn+K+f/3pohuQuemS3KKN38I4AdF+NCyB1n5
nYlKxC9jxDnE4vwrl1PUPNVJqxrBnDKHDZ1jKs9Z+dcFg+cgnF9L6ahlStG0gZpj36LDbabp7miL
xrI5I4g//5iL8zRqGUWJfAgNSGwXnxRSWd8mQ6d/vTOeDYbn7ZWzUWczFI+DWIsclcqOVD3k098/
O5yjcN41tFM8NaEM4SGZDWhQ3lYuleoqQOVB/amU669Sl1oHUjWx4EIqMCJfQSHZvR6yXqOB0qi7
yiwekl6U0xH4HB9Qh7yxpyRmbVDhzls2Lim/ZuNfv3ud228Z5sqvZ02r+mHAMEqCZygyo+cyNJ29
ZlbRH6v2r4eCzRD37njaMuAVWNPWU1ZRnQbmEHtDb9xGZvMC9ttjIQ+CpSSaHi4kzETKEqmmLR6E
Y6cYUy8h1v76aEQQXEgobDuJarRHDEbj1TDpTUktQWG2yF5cPMCtXJ0SNJMPij7bRVCRh2jylyEM
v5pxIti8RYPhYkIj5WFrxTM05PMcbbAqizzAG1JBlvIyK3DmbTx3vCQM7RjHrg2iLDDzm5zclvpt
0h5SNEIMRRViIjAuNCRV1UWhMdCAkWNJuucKZHzHoO3oDWOVu0OvoGyvFT3eCAzJv7mmldUbTMKc
danuzqR6iApRx4TNgeHiiSZPICGaPNl2YGUfNUyhQYxGvS2YsNPodvYvXK0d3WZeJ3L0rTiEI93S
DMJCuRifO0dr8Faq0csmqFH82o/Sl2r4PGmTwNm3DLdG4Zxd6Uyrj6A6EpRMpRAHie86lQj8b2tB
rTE4LycSutelDcGC6tKjnNHEA9vnKFfG3WyhFe71+CAA48tNChWEXkbhCZKkHGc0HCygq7uLwNnr
ck2kEr4NBs2kpcgb72zc4VuyzLabwIGCmCuUtMwHY+oCdMOy0H7lI6N6B1qmcRXDpykMMyvFcW5M
vtrWUWsJJDVHx7BFy/fyOoGsKJztnxFxmwUqXitNDucWJYqPbfoM0q0zD7vWGp2/T0qcIy22XQ2p
SeSuH9E0IdDMl1BDJvtbmT5ct9q2c78PhtsraqhdyE05YQkRCgp+EzAjFtwftlcpeANI44GXw/Nr
Zai1pSgnAATyX7n2kHTtDU1+XR/H1t0BROF/QbgF1I1lSPuoIEGEels0kO6S2rN1CI0P4d6Ycbec
PKkW9ZgTjIyXFGCNNildDlC7vc3x2t7N+7kQVQBtuhv6YqOtpYySe35rgkmjmaE+JyAdqdyyZ88q
Y6+zNTzIrNlTQ3Td2xwUKjxNAl0r1BBymbBMGUOwpbCO9IQexqR4GIh02+NmeX3CthwPfGhkj5DT
xcsntwlSqo9hgZNcMPaTq1VsFzfyByLCGoJbPkYYmqQb1DooylNn3KF8fAduLmgaAhzRULg11Pe5
NsZt1QUVjaf8UxcrTXsApzH9+zpBZBbAm1p4OEhn/GkZsooHeI5WhnDUOlT56qoz6/WJVhQV7rHs
Dl3612muczDOepDkCkHqVvSg7JtT2P7MosBAnX+GNpT19PwBZ4BKBtjMeLbTLM4ZlCQds6jV9GBo
oBFY0rukFXXu2dqHyEKPh+jUUnjE7+JWB/5NCAgtzN008dVZcw37LYxEFz8REBeJKujbsg7CYaiS
fkrGw5x1Dt68u7+VfF9SC6vx8Js4ilClCQu1Dkp54QWm96xpvahPPl2fma24SnCYg7dBL/KCfhja
lAxSDphJZwGRzFcrm48V030jRYeqCnKmY9h96oZZcCDaikKEqCC4Q0RhkX863/qKKp7UEr1LAosM
UHSwHHP5G9yI68PbXLorGO50YvfoKNZpZRN0TeeEeufPVDRRW/F7PZLlJ6wWbZPYGTKdBUZi6U5t
ln7Rt243EdXpxtErSCrYbkVDWiy7wssyeZhHbW6Cqe0cPSz3eA4UhAbR5HChodHSnhbMqMGdqg4j
2CNVou5zTURrF1mOi6s4aE1taoV6MJovMX3rrcxNyWeamk4kKvQWQXHRAaessLLnrgF5aii9UsfZ
0cxaVBFbpdvYphMW4fEjngcCycLcQ2aVCxOj3vaqXcEtEsinxdDFsjpRmmbTE1COiCJ98JQv5LdG
aBvJ2LjrQO+Jn4TVE5grgmzGZrBbQXDrp5ioKZVZ3gRx3zgJ+6Ko91b5RStE0hOioXCLKFFZOk8R
rFXkxJnN5tDj+nx9QjadejUUbt2M41CZYD8j0WB/ljX9KzNQPj6XL9dRtgcCnoOB8mfVtDmDNVJT
l9Iy7Xn9mUC7ZUpFhPEtV4YOCHgU4Bosb7Tn679OFgrvEm9YVT/pLTSa5/hbn8Re1pNjooukcbcG
tIbjFumE1laDOsMDrPJpkKNbRpjgirLlY2sEbm2SOU7kSaKYmIh5faq6WDuFk+fWosD5/fr0bDnB
GotblXmsZbMaAytW2atG52cNMnwohPQ+AgMxKGyqBIxGLoAmiTmij2DbBMMwHeKu8OKKnVgkC2LM
5migzwF9K9AboKVy7goWJOnmRQIzsOd0h1jWe2xid/LIRKSaTZ9bAfFmUyW5HIfICCoUWWfUkdPv
Lf1GTbcxhv110214A/TiVDBOYHZQyrijYqKHEKiRVBrk6U3TexoO2Up9IkgxXcfZGBIohGhjqS7P
zCAJn9uuVTIsTVr3gcLs10Ga3pK86jz0l3Iso3/MOzQu+G+AXPyZh17SylEhAbgISHH/Rghq8k9a
8llBvcx1qA2/wNigULUYECKQ3JqVtbIrLS1jQUfzT5SNjo4iaKcru8/XcTZiwxkO539D29RaXkk9
RDKi71FZRw7aaR+uY2yNBYpRqLmH0qliGdw8DUvVfZ+auHzN+QmtdxxQRqDRLRJN2XKHNQw3O7kR
jyD6hUPApjeUDbbJc2187nIkNtW/X7QQO30fEBcbInlmES2MDlq8XyI8S6X5U4788H+zGucBaOMc
W1ORsgAP1sexfJ609plIIpUtkdG4+VcIMXUWhRTqu5S6Mgknt0tjXFiryvpqQiXthkrEdq8PbfnS
czaDeWY/LhZlVhRCwGrAbWU03bqQ9lCG+2kio69o/clM5Fc89Aie3LZ9EDU4UOjAm7HOWVNBQ/Uw
SUoWSHrt21G6b+LyARlWwWFLBMOZs1X6IaK4pKBw9aua/OiSFzl9vm48EQRnvHG0h1bFZhuoEW6T
kFR38GffVnH5IQf812Q8iUYDw3mKUhu54PBN77+M2VM2vF4fy7YjvENwOwXkPaPeKDAWkEPccLyN
pMRRm2M4vg7aq50ITinbvv6Opp7vF1mkWnm2vF0PU4FMZ7PXkvk21aHTrqJbWvuxsPcOx50jkeHI
2i5B2EvSNzRccMrqZ4hU0HULCryBj61V39RpOIddoLXjbTjkTq+Yn/t69q7DbG3pS5Hv/y0fY/kZ
qxurolDDKMKcBUrWgrio7eiIZOrcoJ2h2f79KR/R4R2Li64ZA4tBH0dgsXpnlIpTJdJ92YqUnDe9
QQGlCgwTvE3xwlcFmueiJXA9BHn8UpMUBXMoe+hjj+YHFv26bj4BFp9f12c8XBeT1QVR/1IML83Q
ub1130afCbqKXYfaXFLvw+IvrShwGzuUTzKUNJl+PI27POu/RLPpyz3d6RO7ramo85BgdHyOfba1
UG4tiOBbdvVAmvlkkNpX9GJwujQ86UO5vz7ETZ9/HyKvREBsFOCkdLHmfF8xPCRkN2MpeosVgXDB
ApcZKDrlSR+MlbozM+lGjwy3LETcsM2FBcUPCMuBJXnBOg7NFFpYqtQF6CLmWMMtzdHwoPRS7em6
zTbdYpFcQ4k56ukIF4wsSFJr9lD0QdFmjpTsmwytN8xnGv3OUXfd/b38DHb4FRx35Eu60ahnqJUF
6iwn+9mQq30y6aJnvs05QtG8qmhIoIDcfh6V5NSS8FKvwPFC0t92VW84ndml0BJR64/43AqKG5Ay
Y/onjbJgyqFDPVrEibPadvNYfrw+UaIxLZ+vIu3U444xlFhMw1gE9hQ7km1/U4jxkSPsajxckM3t
kk5J3+DGzgqnrlswrBAC0SX3+mg2QwMEolFCDqrlxVUQMr8z+iXVZqDQx67/kiqmY5T+WL9AU1qw
RS0zcHGoXEFxC1bT4nGGZk4fqPab1EOL6kMmWwFw3jbVeaZlSUyDsHpt6L1kv/XmRyZ/BcF5GauK
AnLySHAlo+rOlYKb+jdkbAS+vD0pKHlFvThCzx9B1JWLkbStZWvABmtM4Vtpzz6yp5OlHucJQkT1
qApoYhsCqwgG2jsed8or2pFAWEUaArw0xt6cT48KDvzerJetH6KTrJfbde7JTY++dZZ2aIfqA+TI
s1/A+caAuqW8j2twN6Q6CKGzOlfx52KMvl339q0gC91dpHHxYIqMLrd2y6IvWR4tx9kmxcnlXmdf
oJcPsWsHgl9OFX65DrcVKtZw3BpO8qlksY4bYopXe73o3VyTnks7+cB5bOlLDnkBXOEvqtkgzNTl
eIObQCWMjmao7fQm9KeBCdbv8mv59buC4R/RR8pUo2xBeUnRZChPa8coJieJXgl7/XuzGSgiWp7O
USNjc4tsYpkEZdwJLCvNPmQJC/pZ9TWr9K/DbI5nBcM7Q6/2c9MlE8KFtktUyamqmKEIp7tvWSkY
kghr+Xy1olG8nMxzkQErtl1Jadx6qH+UTeXLRtsKQvqWk0NdYFFqVCGw+kdhZoXVpn021qD8BlGk
UddmDXgp5IDzxS5n8W02lyco5QpsuRXb15jc+lUTO9JqCy6oG/MduArBACrM9enaWkwGDhKQf7Ch
1mVzEOkE3YQobaagGLqTmZf2AVI9t5Ck/PuCvKVbxzsQt41kZhdRVLPRoDa/W2HsqMlLiOqs66PZ
dIgVCOfjJKzLvi2QJG/60JPVMJDG6b6O8YAayz+uQ20bDqpgqB6WcQrj6uZm1CabdcX6oJEYdNp/
9ST06SgSHtnas1AyDH1GyDNC/4bLesxFJBfJjAdus248OliHKU39fpJ1hxLZIxaKAj8yrH8BLyjo
0SwVk5mMwaTkfqHMX8sZDdBQ/yrA2Z6pdxx+c+wIrbVGHQINzdE6NLU2Zsdsf1S56GIosCBPOlfk
Up1RjzgE5XiHKNuwwkUjbRfvjuogKhPZ9AkUBOISj5IUk1ejMYYwywd0n0C6IHUNJXclvT2GhSnI
tm0OaQXDeble242VGhryiJFWuEXV7qVafSE0DxSpeGrREeq6T2yGoWUjxC0K73bW8ntWoc9KWnBn
QzhhMtmxn0W64lMTS/g6yuaoVihLAF6hjExuqDIpA7b0X0XxoNNbqjyq1qFnv64DbUZyVEEt6oEo
edU5oEk3UUIeYSOMy+lzUxIv7oeDHfc41xqnIcJG1aI5x3XMTXeHShHUxlGpBK7c+eCMymgZVSBh
gUJeWfWzGA/39rcJek//DWfx0JURdSbntEI3hCCSJ2j4N3iMpDu1qA8obPH+GxS3+RZ2qNfTpA+Q
XjKciFlOagRN8zjZooTstmO8245zPxOF8T1kuXrUWb2x8Y0YD0ga7Ah6Fg+CmL7tGe9InGeERkuK
VsYLXliccoM4Sus37LFvP2v1L334ed1+m8PCkRmvhajvvpBpw7t3I9cd3NCa4X31Dv3XUCHlp/19
YSWH61ib7rfC4rYRs6zmwsoMPKoM5FOY4zY6IY/ZRGijWDX+dazNIPgP1rI1nrtgiTJHPbZBgjCn
8qae7Sd0HXuMzPAjQRAJJBDnwLJH4fc5zJAWTdmbcD9mfieGpw2vYXyX6l8sMgvW1GKcixP6Conb
qiK91lQGLjV2+uy27uUgMa1vUZV+CiN2BwXvPRijexKK5mzbju8DVM8HOM+yMUKbcAhoTX+n9Qwa
k3qrZo2AMbXtGu8w3Lksbgza6Cp2RnDa3Ky9GasfVVK4UiNaxqLxcCEQFAm8+qPLOfoTGHdkng4q
/pZMJnD17WWFl/ZFDUq72IObTG3kVIfZIAW6I2Q+xjValOaaX8v6k1ZCOfC6u4vwuGGFfTNm/XIv
CNPDoJ20uHYi+5NdBLPaCSLutgXfh7Z8vgruVR3LKUFSHYJMrVuMxV4f8x2ajLjXR7TtEe8wXGA3
wq42IhmHaFwEZhWBtnNi1Z8q0Y1qsczlunrHWSy7Go4FlcCYEVw9SjVzK62/IXYjcAaRxbiAnlp5
IoMsPARZSBs37mfmWJ32VYv14j8ajYuwaqloU6HnQwCq3ikJLSfD8/tk20AWqUwL5od/dzCkZoyi
lg5BZJlfuj56GOQCooRa581Lafx/coaLR4dBKZMxsXBY6jv7MBCbejGYO14kkeaA36EIwvrWjKHg
X17u2BCQ5LV2YhN65KNp9CBNkJtK/tpP6oOifL4+KBEI53mhTNJm7sYhUIj52TKqPTTQclDq2P7v
cUCn+ycW8ZfrOaWV3FvYo8z0ayT9lqwnGoniz9ZYDIIuwiDMLILEnItnalWUqYrtdlC+JMAYvw6i
A/NmiEMluo6KdPzf4AJCVsvMRqcXnMxDPQhr+a5Ik7eoNyHnSG7NLBNYbdO/TQLSPeo80D6S22/l
FOymSkdV25i8NNkrBTmsMIPuY+tohcNtsFXVqDRUZ3CABsUz5v1Ish0ook0u8LZN861wuB1WI/1o
ZCF2WFVnTlrejtnthEtvUt72xkdylisobjMqoLLTDATFekl0a7Gjad2Fournzaj9Ry4UlTEoa+L8
bWYQ70zkAcf+CWrhJIQqm632uiCcbqKglgS9hVScJflcfSjlIxJT6RggfLudru7LUtRYaNPNVhCc
m/UaQ7pGxrFOgZqrlM17tSscOmZvqtWKdD42F+kKi3M1y4w6s1yiqITEAOpd79B1w5ktUb5/e0ho
0Q1lTxu0yuVnrHbUupWVCF3lcPQ22a4w8huJ2a6NxmBZKeqGuOnUuM7+A7X8lBVUJyH1pOApLWjV
V9agiimm/jBnN6Rrd43wCC5CWz5foVlm2WjQJOsDvXrtq08yHk866etcfYqLybses7c9731gnH8r
ZB5TwvQ+iKBVi03Ibe1YALE5TeiBgnsLQtxFNwyijwrN0UowiCEKXtECFSTQzJOhv69agnW06Xgr
KG40XZlnRS/DcI3aO6aV347FjymJBHeI5Vv4kxx6gmO3huwRiCXc4ccs0fUUah9jILXpbsp2UmM6
Zv1m2w9m9JjEIgLs1hSt4HiGVpaXka01GBRF6bZlDveWyo7XvWDLbkReMq46WZKUXHCwJSmn0oQ0
qN7pnpqgZUcaP4TmBwq4sa++w3BxgUhRi7MO7YOys/ez3Z00U95dH8nW0lkfqLh7cj4zqP5Z2cKA
ANUitEzm2antk6a8J2jinlciWsym6VYnOM50JtPTKEf8Dqpm2Lekd0ki7apc1CFp0wlWMJzptFKa
UIcFGHmOPGpGu6YSlWCJTMdt3NiBunHKsjFAeeO3uTa+Ewi8mVHzuy0yB69AH6gqQjx9P/suQ15F
uWQsKzoSnH3jpHMj8qaZd1ZrOFbtEfP5uldshaA11DKJK6hsjKnWs6EHSc98tacOtXLtZ/CVoZ3O
BCFoMzisRsWFIDSHhXa6Uo4Q1qKnUBrfaGyFbozA5E7YdUmnORDsFoBuOyEqiyy81KG/Fbc9SVWs
JqRBRDIZFA1jzZcV6k6hKAcqguH2pTAnePoeQFcPJ9nNibbrwCZWjHh/fbZEMJwJi1GT7FpFNEqR
fer6Er060FdIE7XU2ZwpNKJDShKCCAbfeVbL7NJo0IUuYN2hNXsHKhZo3POojV6/qOKqHymYQNHw
v3ic9ZSmGnWrxEE/mQ9jdci0Hxl1Wfx63XibPIw1DGc9SQ1rdUCrk4BM02EuyLdGGZ+zzrppYu1U
dvpOwQ5vKZVHMvZ2HXtzma1GyG2Mc9gmva6yIRil9h7Vejuj7feGFT3rOdldh9r0kXcoXscz7HDY
GBow2ju7diFaui8L6hl6LrhhbMbEFQwX3SsUPOVoGTCgcv1B1Sonz56LoXQr+6jTh+sjEhhP5SJ8
ZEbFXFEYD30d9kYj7dOsfbKZ7uCKKhjVMg8XB5jVqLhIny7MOSrj3lRNJco0JCclvpI827jmJoab
GcdYExDzRYPjYj01JqvQU0wXWm+fMl336nHwW9N6IKWIRSDyjOXzVaxv4kip1BkvoBlpj8T+3BrV
qZh+X5+s7diBclEQjkBi4x+45jyvO9VGUipXm8eiUXbgCh0ndP4Ky+RGqdLvrB9FjW62B/aOyQ0s
UqsRCq2wYTmrh0GVdr2iHqqSCPaSzZOG9g6zTOXKfraCTulj1SBPQNpD11aFA3FTURpn2x/eQbhY
WDDbbGt7WvJe8MAw8dFe12c4tPeK6ND5/wTEdywuIKaVXdS9ge1ESuejNpuH3GiOlWJQr01w52m6
J8ylm0T5TgvNH9f9ZNuY0N1Hrgq+InNzNqisZzhXQw1VUSRPgrjnSWaqiLe/HaXeUbgpK0e0bh16
TJmB+7Y+tLfpnD82SeU0tvKg6ZJ3fVDbzv8Ox01e06PHfT90SCWQ79Zw0JPvaLnqFDbE2nzILu+u
o227yjsaN326lg0GOoTQYNaIQyflWA8U0nDMLYgoLm6uMNQJoEoTEhgXNO0hk6yQ5WD2NfVraz4m
zW2SCjSsuNFAigsveBC6XDQ8QdC2Odtpg8ygKGbMJwbu2xDbn83ICnpZxwNHqjvXLceF+QssznJ4
1o9iOW9R0Lpvj73PDv2+O1K/O1yH4duBXOBw2z7KRjIt6oGj+9Vh3icH5dSeUGvmyR7zJS8UBCjO
2zk4PLmeB6i+Vyp7mu3phEe7T6P2K5wjF+13TyCKo8+ZKFJxK/gCjTsBzPVcqW2EwfXao1L9nEqB
9ZZJWO3FF9/PbftxR9HZcQinE6TwPUN7DZXTkE/enIboD7qbTFNgPV6Z/gJQOzcf2je1IZXN/kS9
qvCig3ZI/DR3tNZRdsXe9qS9wD1E87VYeLWhjJFcT1UNC5Lb9Fnbd07uZX6yK1zq0B0Uoe40l7rx
zn6+jrvp/cjfLxqmWHV8o9cc0zZLDWDlIAw6tKjRfH2fB71g/jZH9w7Dy7/MRZWUTUPZSarQYuKl
mf2pf+ysl27+dH08XHD633kjSEHjUQIsSb5WWFWSIkmasD+l+qeYQkr8S5g9Xof4Q12+cMYVxuKs
q6lq9X8iBiLsTvGOeET06kPiojuIe9f6tlcIUmmbk2Si4SNePlQLnX/PAQ30faybrGen9Bj65Z4d
6p3kU180SdswOh7ZUM4LvhoXoZIqK/UM3GNEqOjQ+fRg+Mqu9UXtJf5047iwH2p8/g+HZ2lMWVjb
ZYLhqH67R0+fILmDfK6X7GLPgMNnrn4//9Yrp/KmgyK4P2wGkhU2F6gaKI+gjTb8vR0md9ZPFt2X
1p0c/Yxn3TNTIvD7zbi4guPiVjfVTQyVY3YatC9FeR+LdIe249QKgHONok6VvKlgy/wGvngzH7Q7
5pbfDLf2c1fkh6LRcDEqoXVvUjlmJxre1uMN00RBcHP1rkazfL5aWXVYouqhhAem0i3r7wwyoCV4
gjzUwdB3lvmQNF/t3G/V0lGmQyR9kyuIntQvgvUt8pHldLL6FVOZaH06wkeMJzwA7Zinu7Eb7TLf
dIf9ssjbpYeX0/oiZbbtM4KJ+xLUARC++LdhtRvKSO+G/gT2uq/uUujzOdHNtIe0jycfQnf+KRjq
4n8XS9FCFkBBv2fgcaGMtnovTwSV5q0n3StetqOn+K3d6Xt2a3vGswDt0n8gyrWQllVUmULCnDuT
pIpkZGaTDqfpMXykx84v3PYUHlA/dqfv0120147XES/9CS1Y8GCMfnkQjrjoCyR1Jp1IiNWhRJ8y
EBKpL8mCFb4xZ2cYfI5FKbIizXHSPhGmuml8V9LGafVDMpwSa3A1+yGl7oC+2v29hFscrovO9TFu
hAD8AHNRHsOTEHJ0XIyhZjZKRs7Yybqd98Z+Pkhuty+OEdw0ER4rL/eIBUxHXQ80FyHzyDlMPw+V
rTOAocPrMQvoYdjre+qL5O8uzwvnMNxWFOUy1SiBUUtNcg2rdwzyOa5/JKUbN18F9ltC5PkaOMMy
Oa+sx7mzoWGLs4nq1kfNS/e2S27qk/lV8nM4pUh+YdtjbOyxCoRMse74MIoaBCTzJ9jQ1/3RM/fp
ffpm+JajYpFHnmi/VbeWnbHC46Jq1JhRb9sD9tvqRy65hM1O2+4q+TkyiZMpz6Ptd+beah60rnF0
yB6P6D6Gvh07bfyRZk+FdKjppzi7HQoZ/0ydIblpQlHov4xEmIXVj+SCrp6FbWqDEH3qdsqeuI3f
nhJEPmW3xL1RcL/kWz/jmHiOtvjfKsS3bFTytln25aA+6m7ujQf5WB2tUyRcMSLrcysmDu15osuK
GcI7fXgaK4Hltr6fQHVQhpoHKnZ4MfhWr+qosbFUNO3GLB9mSRDgtmLo+vu5iSmLsbfzGN/fFZ3D
wr3VTq7KfgsW4db0oxJ76fyNKkxwNM8nBD3tO4UwLEIQE0hxFw2FI+VoU2Od+gKtEZF6KhgquDIn
qe879lOAvixxPgSs0bk5MogVqW2DOZrKn5ZysLXUySSY0kPR8S3LQcV+iEfBNeLPVeQaKBfjWJgx
O+6wLOW520Upgeg4+ko3dzk61KLPwk3SWg7KlO4lbCiGaju0qZ2l7saQnXTco4rdgzL/bmwsT7HG
exlvuK22j3KwGc3UkRvfVN7S8mlU/pJx+mftrIx1sYuj7wVUvrF2WPNo5ZDjjv2BCIyz6XTm0gEH
AquL6u65O6S5WTImY0Kq8M00H7sw6ImAVLi5bnDWtCDzjQMXf1O05tIiyYRhIKMQySfpf0i7suW4
cSX7KxP9jjsEd07MvQ9cirVK1uL1hWGrZe77zq+fA3VPuwrFKVz19IM7HLIqC0AikcvJk73g89de
SgA5/vp8TqfKLC1jE+DSgwWrmuBZqZ7LzKsydLEbmVsPfki+CNR47SXTwdKG6wpqWvCgXu7aSJKe
GDl2bcKAq3qfbKqt9k3zFa/yA6ffK4JYau2QWFMTupqQsISDdSku6ZJSXzpQwemSX8obS/LHWGDc
Vp0b6AGGHoNbHFASThGI1dRZOmAXB8sOtz08xtTpNHty1A1Lw7wTp/Cm2+fiuHAKJdVSKhMJd5Ic
88wl5adWxJLOzp2/9ucimF6ePT1jZBoZHSneA+CWhgI4Bb3zytb4DJDW51wiKAWKxlitH9SvTWQ/
PxOpZ0MKBxGbaBbV7LZ6bnrzMJe2YaWJJ9DBNUN+vjxOBzO90LUBGf1DmDflfdgmrFQW+qMKmHVF
6vADnczJmariIa7iz8B6N37RB4lnxEsnatJYu+Ln34VT0GkKe2rMuA+LmrupLnvzJKISfHPvbx0n
d81bKTa0XGd8iBv9YdmoznwqjrOnOvped0pfd9FyFduRbivO8m3+LAoZ3wqeV/IxXRX+P66Iyg/r
rIpAqocpVA9JXmZ2adCf3WQSO9OG2e5bOHilPDc75Nq3oHD9ueTdi2F1hq0kVogWyx4sxSp+L267
3I3r9pEEpX7XJNni9FQ5mZVS2FU4xftM1wRUCKtK+euL88+I1Cc6KHKV4RBL27o4GuGpbgX11DUR
JpigwT8AE4I1Xuq9pnRxJ+fpeFjmrAT4PtyBm6Ox9Xjw36/18OOBSoUgnAT/XskgGlrGJVsOMVin
vGanbFN/eWh+srA280vRJWNZKu7QL8RxZiquox7jZSBOf0Cq2KHb0JseyIO5HbeLwMiv3CGIgmeO
fCooCfjwtptHPaA9RBW6P4Z+rwq2jt1BbimKiZASyU0VZHRXzcw0hl+jwBy2y2lO3aC5N0AoGXQg
GRY1k64+JqYGLxP4eyAT3wKlMzsIqoNYDyvkH9g0ePl7i7ytvNPvqdPY3Ufl622dWFuYhdKVyZBG
eIs5w4DeL2MgpBsPuolut7s88vLEj4t7Gr3eFrR2QhLIFZDCAQOoxYeTRmWVehvC4nbttqv9QQQV
WFmICo0G6JENzVT5SpKE0rBEMhUpU5K6Ujf4VE42gxm8ovfMVQhGXd1ez9uRcyqB0dRoKqYgyTFB
SnZ5baUWqZwZMKCDFoMqzqqz6SiB2s1W0ccKMsZqV8zG6zK1kz1I+WNSGM9ym+1zve/dUgu/TrFx
ksmQ2lE23pFIXmw1BCWWVAw2Wi++VATdeTW408OiPxGCsk49oDSmhZ9oRGoXYPkQJJbd6Nxe1Yot
ulgU58jUzZLAzS2ng0y/kv4ulDFeZnq5LYPZs1sbx5kFS5oB4TOm6VDXiJ+sRWs8uZEcWuqPcyC9
E4DGfKWLFXGOTEv0JU4COh2y+hm82rbcuItwes3qtikWrAO4bWEnOBOeza2mp6WqHMrMcpYl26LH
0q3pKLBCIjHsDpxZhjzM1b7KdOOQ6Mt9a1qpvRTKV2XSBUbhjSrh6ojO1sNZBUNbsrFFl/RhMJfR
kQv06mtjKu3ScfSrWjokWXoqlMhwhsraW1oEL7QsbK0nllOCksOpe9p+kvUQobia0g2yNLo95uWu
GIcn1mNulxm13Fkrqn2YzLKTWuNid5La2bU5lXYVDw04YK0NcqaxPS6iiaKifeRi2qWIO6IgAXyY
lX4HhiO/BJpdB8XobUVfKSFB935tI19P7MNZDs3OMg6qnvnZWHZej9cd/F2hHUjmoekDDBwx58yO
JHKoK/OextqhDcvvnTQUdjrOP/Mg/24E1NbUpvR7kHbbIxkFqcXV3VDRNmDBrwBggjvssa4HjEgz
pwMZPg/Ng5LF9pDtbm/F6p0/k8HteCKZQQXUmHYoOwzcJSGY88rplBaV06aZCLbLPuxKe38J4yt3
CCKSlASadliI/qBbs0vzwjNAaJ2n1sdFQh5YMzaK9E6uiTdLY0oqKgagH7fw3+Xt7MpykMEBvRxG
8w5JEUIF2Ya1F/R/Px+OAf/CgcWKUqtL8fnd0cqRj3Fvn9Ga44HyCiq3JgbhKOA2vFyAVWljA1Yd
7SDL5V00K64xH8J+Pilj6pZ1hZkNGDdnTC6lGM7Vptssar2/8xUYDznqrvgqfKHf6jFRxgyxRskH
y4lHgWeYf2+80VW8eTuI3vC1HDdmXf8ljr+gBphYe8tIlkO/133Ja/3IlT7Iz6Ajt1k6YlEETsPa
VTuXx/kMcj1WALvOcMCD2ibtl1nC4IVKEE+s6omMFh0QugOsxuvJsiwaIBotYElseHeHXET55fYx
rUo487a5ZWQJUjhplS8HOjhmsAubp9ufv66JjLIF3x+kLVdMr7UZ14k6Lgflyeptfd/7pWM5cevV
O1brEBXgVtfDuIpM5PEQnrKfn72rGMSMMfXysBxI81CUd4UInb567KzTFW8BhlS8Lffs84F6A5KV
4N0e4uipD5rvpcHC2kqQy+PRkW8WiJE2ygYmoKALlTuXoJ2sBuQC8A+s+vdobMBECIan3my+prOu
2VlIJRdUX41TmRJxkpYkAv2ma174+Tfg/EeQvJYpkXL9EMk9ApYyfZTyRbKlbH5MJvXUd+0Oqb/7
mQaS0w3RHtN6XvMiVGyzRv40oy9kIR/HWdup6kAEvi17x7hnAbk5SwYPmqaqCh9nL+GYyDnGln8L
9M0oUzxyDwk5troHRh2nnX4IdHhFqdBlisAegSOSnRbnE+ZGktZJEauPS/KoLKndly8JdFmxbCVQ
3UJLt7I+22lYeaH2qA1omzGTndy/s3+T6YTGyubgSzYwDImPJhnZahTVy3iQaqfrfyrhBpMWbi91
5dDZ5VHA0Y65oZRXuyrqSxg9RTkkZXIXK4uNwqjbdMmrHoCpBZyYt8Wt3KYLcZyOGVY5jHGjQRxJ
bbWWHN36oQvbeFc8Fg2pBHR46Bbq1TzVUguQA9XyBcjEQd/P9UtpIvs3z5u+FSxn7RGCJAXpfQTg
bCbhpfXp07mTK4o3r+id3ltcoDi+EUe1kd2a3dQVV8eFEjnVTNQyj0IM/zkoIXAjTOLyw3RV1Eg8
HJwjhnkyz4G/eudL5AKXImpVzM+uAJhuzEM1KS7Rtgs4jSMlOVo1hsF0z4wH4LaerF3Ac6GcX0s7
zKckMXJCdJT2gwqXBiTet0WsqeK5CM5jGsKpa+AJLVgTxmi9aO0r+Ruv+bl28HV/a0iQuGUuSmed
DM1XJUHmbAUnqF4I4B+NTJtyacm1Q1UoTtxXn416OmVq9N1KwE1E60dMqfeaUP0hZ60Td5a71OpL
T6GcJXGKQDRxVnBqBne746pWjEnGvZtQCpK+Gvnj3zgyA4yEDN2jXtnDRa+WIsqhFd3U2GFzV4BF
edYFQlYXgRQr3hlNZ5WuyyutWWC5TkOEAoQeB82PZwHUcu2lx3hPHSlPzOthoz4vBTRVrXazuuiH
oki+zXX2bNbaPgVtT6kHn7uGgMJW+Waak2vFo0Bh1gwjCqsG0l4w+vAvL0VXkdGjDlYuhyzI7BBD
bvCmzR8aQty+JCI26jUIhHYujdNOtJarCDsm/VCFzcuAyWs+xhrspnYYndJId4EqHcsp2CFe7mwr
o40tq6Kmk7VLfv4VOI2cApVEadbAjijtRtPGxI6V5ljk+vNtzVxTmnM5XF4MUQoGOwXw21Gt3DTB
6C2VKL4SiWA/P3NEcz3UMLAX8Ufb1Vs0lRyXSRRTrZl6HfxV8HQxmBq5sEsR3VINZIwierDK/mSU
jWdm2QdrAfliVe6rvN1kGjy8IBZV0dblwq1TdKDMMCTiUi6KeRq4s7F7IDnb0m21NQALnrcimNJa
aMLu3V9yuPWZQS1PbQj7YT3NXgQEUIUiQOJE3yev3IyY7evf1orVx/pcIHfV8zZLkT7BGxNZtvmw
uK2zbAMXVos+KHvqRXtRNLTmJ8PnQX1IB2OmxZcErBCl3lTGCaKP675T8m0zBRsSE1RIly1dFhDB
xIIq26penonk3tE0rIGGz6blII/fMdTazkTUagIB/Csa50WklBkCSqKdgtYL/kYNTzvbM4MzU02T
FFobYgF6/7HRvRxrmEXOxqrqGVBtRsyv4OXiHBrM6FCkUYbq6SfzLTliedpJ8yU33YRuJNC76/uE
hwtQLQnTJ4BJ5WPiiZqYA0B6eqi77hP+oRu2Eibr1W5Igd+UvyWkc3Uq6otc0XaIxZMGuiZIvSJs
raIi0aoEPVVR7yhfqFszSLNTaTZKxM8MzSzqeJKvzfulRG5XAzNUSxVv6WFQi5iUjhknnW7ZMYZg
p5s0j5P0G10A7vgy1prR3ZUYKmB8IWQs08zBW5S3gz+it5h48SCD77qvQmTKHbUHu/eGRFU9PVZZ
M0pAS+lxF2t2TwqCBHBdEpqW+NUmoKU31Gk2KU6VzJJWeTNcr+CzUtdtu5tBwRTErsCoXN8HzJDD
/dYNybLAuMMtum+TESzJOh4CT/nS3hUbJL4Ax3oC5sELnfypeDWeb4tc2+ZzidwVL3UjnxrCmuWi
H9NyP/bbTBURJq9qz19CwLPC+SYYX5l0g4Zl1RGQDT3Seequ/2p86119gyFi7vD1bywK00AphoIC
bKxztjlUmnnKZwJnkuxnrEjaau+v+egUfU8m4mdYZBTuL9810miRHNR18Di8kcRnWxJPtpmH29sr
WfEoAfTFPUaNFv8B4nopx2xKQjDZ0oxsVAioE8tThqoDBswhU5Io4wN8h6dUyxEiVLswyza3xa9p
ByujGhRc7rhZ3CrHCm2otCzUx8REi03Y75Yk3bT5+yFGOqZeo/qMBDP7kzsvXW6mWC8qephzXDoq
TZWb9BPddTXQWrdXtKaLigFXBIUAZNWvetYwY1lpGe/lYXhZeifcFhtzh72MvpMHdYMJZq4IA7Hy
PgB5hqwfqwSAVE9hl/7Mu6uLWQ8tkkgH8BgziHiINiX9eXmQN6VLXBH76ooJwRvEErSgGEQhjrtr
xhxjKslSSeANrRM/ot2EZFYhYoVelaIhD8zyS6D556QMsIoUM3expvlltn4PEurePqcVzUOQRjH7
CPBApKk4lVgWTERP1ZIeChq+GqW50xqQK1bV620xq4eDQFvSAE7A8B+ejVJdCkBp85weMNX1Z51V
D+a0HaJqF4+KB+6LUxE027GknwNlRMa2/GKZsnf7K6xt5fk34G+4qWP6Ur4sB1PaNe1j2gqCUrZT
l0kekIMjU2apAEGqeFU49csTNRt0+I2DxAARZv7a4iV0Ue91CAne756cC+Mj7D6ajMSSMnowVA3t
4zF15mj2lbp4msPQlud612XxnTqI0qmriwTsA2lB02Im+XKRRdFXRk1gQYa4Gu1i1j7UlXaHB36T
x+8kqkPqFhsKh08xofcIOTijGC3xiManlh56UNlYUuQOqnQ3tM2TiQZfM64EW7q6tDNx3PlFhkLn
TMHSYiP9OWmNHRnhYptZ7cb6O0c/8UvjYXWLOWLmcAqnq6vovJ+WGDCaVMoFK1q/dMj0YGgMMtOo
vFye1gzjbrUz/AG9cgKftc1LT/RBv9c30jZxpHcX3nBeZ9K4C7ZEykBDDYvKrNMYba1MVBZbvcFn
ArgMgSrlIHoxIUAJ3WpXbeCs7mJi1y+sQiq70X5J7OnDbash3EP2pc5elW5ptCaZFHjkZFPsjE3t
BG6boGzp/NF4mwgOjWn1lRlho6dQA2aDX7kzQ0aH0IgZym7UAnc29VOjFUgy5aihtLJKPKXQgyPJ
WoEvt5JqwvGdCeaOr5cyw8rjgh6CydrqafMlA4psmItdnRInCtoPQTV6Fgnu9BxjWXLznYzPf9yJ
M/nc6XZxA6w6QXLGooi1UaQbXgJNRIGwfpxnUrjj1KxEzvqqpgdzLr1SLncSaBYUK3OtCagUYnyZ
mmmD8pmdgWoPx77txkHkGrGd5I+YDZYG4Y6BwgdfiTPSIqNxhZdo2rAuqmST+3plA03kMTe9F6WU
V9esw1FhGQ0dzhFvtCcaUcwTxs5GtmZHH7QthoYeIgCRdxKa2UQavOb6AYYIKBgFghPTizmfgiKC
JUOJWEd66L1gtpE394jX7WFTA9vcRp4IX/1/rBDDxxE3Y8yTyrycs0sqoUzA0J0s+yWjDTjbGI+y
Yqv32r7wxm0ghPauWSJdQz8XKAwk4N24uzLEMYbLjgM9KJjbXRDdngfMgjawvdlpkT6aSWlTDGzL
0nDTmMdi7pwcvENE39w2Tmtfw7AAmmbRLNhYuI2esz62oiKWDplyTDG9jQpcJmNFUYEm1QGGQT0d
kcPltsryHGlSAu9zru+qdLSNNnaM+BNo5fRC1CHLjoi7FCDrBLURumTBt8tnd/oC465TM1AfG+UF
jTh5Q20rEbhoK+tBTRojJxAjoDDMQ73qFqCBSGI+e1vvRn0AAj+JfBkjyKxM8SZV1JUnkse5FNrc
oH3RKiAvNu25cMni9vRTHRfoPf58WxXWrsD52njUVzopPZD0pQToEMuOLUgBdx4mGqDBOHR7gQlb
UbwLYdwjlfVlXYZzqBz6dLyzxnYfmO+kr2fPAcMPAF6sIabD/y51D739LUHyRj4sNEIzq2Nh5lO3
bMf0WbBx7LteKZ4q4wKxC035S5Si90CvJmwc4p6N6k1b89i7ATYu8iIBQoXdF14UCtwIiJHeQ06R
MxudFoG2IESEOtUuJuguyi4cn3pdUPhdu0nnUriHdBnphDwaDqdQsw2d+g1K79txXgTGYU3jUOmS
EQArEp4x/oQUKZ7KsMNqhs1wZG00DRrZ8h1zxHr7nVTsTB0uhHHBgKYNhl6XsXIAAcvvatt7NcZ4
x7P8GluZE1qRQCtWFBwPBlrZ8G5inAEfe5jgWCVdmyqHpk1OTU83bSHKZ68cE7oADZOxfWPwGH9h
Sa8TCtS08oiGDmuD4YvxLuzwQodm/+O2il8tBlA4wDIZmTTyMAoPbNSNxpKQm4UZQvm6r/QnZJj8
2yKuNBstlLisCNYwc9OyeBDHMiLfU02B8WjIZPbbKEGr66gepRZUQil97wAAdneQwEL3gQVUDx4/
ThvKFvPaSJIpB23pj9haMBXHRxKpjgUavNsru/ZmIIv1vDBvXEJpjTNEsYS251jtlYMsBeqzqkT0
rgctqZP2cMulBL1EKToWbHVKvg01fSilaB+nGO0i61h2hI4CwRe6Pk0NXTiqJVMwE+iYZ3lpGIss
U9F8gcQasFf3OXgA+1yAiL6+2QA3MhYjBCGGhXY1prpn7lRLk7aKavTbdq5l2dom3mNIZ+b3rmkX
HtkFIqbrq6ugMmcRXeU4KrTh8OEwdKqtZLCTHoLi0/B7GR8mEfnp9aYholJRzGGc4Mz6Xq6o6svJ
6GiDFbU7SwW3sMCyr6yA8cGjbQklQzRKcQopV6U5S9GEz+91x5rSzQhnFwyXgmt2jVaBKmIwMcar
gHmGGcXLdVgUbPA0lbXH4DR7pa3inW9+yLvyJbjvHreVX2+LwhFcAPYqXbxaAFOyDC4GnqFzEaIv
ZfZSqZdqKKuPw6Y7yl4Mjh3pqXcXr0NJQX68Le1qIzE2xACiQ0I/loYRf5x2G2GYy/M0MF6wLWlD
ACO9kH68LePKWGGQLnJLBsMHA+HGJ4qbosbExL4hERyK6amVD6g2OmUCVnrtnYT3eBQvRbHlnt0k
JZaNqY3j8rTEnko28jvH1l99PqcPoRaWKQaBFSejh8E5zppAr69NAbcA7uKQbiJzM1nFCb2Z5oMJ
9rnAHUcbY4uIn+zLH83m9tlcnT+TZ+DkUQ4HFl/hnBdjrk3kkPTiFE7fCnRgzXeSuv3/iWC24uxM
NGXSBtUKipM6QsGGCd2zkwUvwlKGUnB3VjXtbDXc8beNPhtLg93L0yeF3k3yPpM+jrEgdcOMy8UF
5faMUwKrBdtXHIflKafPQdju1PHZmk+0aA/tgJklgtsjOiFeI2Y5GhSDFKc2TJ66dHZ6MwCq2/x/
KgJnUePeaEihSOXJ6oE8peND1x+DvBD4yoKt4xMHnd4YaV735alaSOFWQWujGfpDQZansql3iYW+
izjzbuvf1Vt0eVwqd1xTBQpGIxnLU5cXGOugb1Q5FGzedTIPMlDcxhOOmiLgSJwZTQyMYjJLjKmJ
dqaPUtgeBNm7xk7d0E0EOi6Uxd6Ps/tUYN4GyK0gi2yDB21Dt+qujO3ZBWPHRjQV5Q3HxOv6+cI4
+5DMAQpJHbTP/DiDFYh+WcCHFrkW3DGn+jS78lZEuLim7+cSOX2X+6QekTaoTpR2HnwlO8UM0zGa
Bdu4IgbFI4wpx8BogI74/IfVyHiSygxYeMuP47vCAlxdZMyvNQ+vuGXBfUaRCo2a3EmpVZsE0jgE
R3A5YzhF45ZVbHfBYleIEsGDvB8b2Y9KjKTTtE1vPBZTc9eUpp8XoszVdb2dMZPBl4A3BvcCSMpL
pdGsLpnDagyOSQOyKjRNV/gS1C6qNMLfitluqh9RHH7O4t6ZlU5wP9iZXWoR6ocsDAejDJ4bfrMD
dQxGWs3NsQ2sxo7zMN4po6ruQPYf21o8a75V00Zga9i9vhCKcXJvOV/kRfGEmVw2CBT/mtrOVH2U
2uPQ+NQCY5C2CVQRFJDXJFCWMZ8d7Qgo1MkYD3+5tXFazCSHjYlttP2O0qdM9s3l4bYNu7qHCiqc
yGQgy4vYCO1+3D3sJ0Puhy7PfoDVykVgblfDXjU+5CHeUdo4apA5XdraJhnudW1nJrWdD6ozDaLe
oisHBV+ETXLHitH1o4Fa63K1RpRVstop6rdwro60LR4ldXIqA4x3sbbROt3VZMxEtaZPywCuzWby
AlAF394M/mDxFZA4At4GsRJyzzw7ggSEolInhvqogLoZUYbX9tNnrY03QflunAoni5/yrqRh3rUL
rb4rdMRg+XKKSl/J0CrbWgr5SupUjew+ysgXNJmPu7iP4lNA8/cS+OPyMrofAwEB8hfMib7cdamP
ECiTgT62VdLepaZG7ueyDB6LcpoF3s3V7jJRyIGguxy5blXinrJ0iJpSH0z6ODCNHj/B03GX6KEc
UsExsvt3fj/f1oQchoHqvSwhwr5cU4pxhVEXQJBRg7BU8ySQJsQRmszRESzLkW1NidN3ooo6f1s5
qfxILKOJhnwqY/mRaNLvY0cSZ+j6zG508/ublv7ny/Rf4Wv54Y+VtP/6b/z9pYTtisOo4/76r/vq
tXjqmtfX7vS9+m/2q3/908tf/NcpfmnKtvzZ8f/q4pfw+X/Kd7933y/+4hXgbZkf+tdmfnxt+6x7
E4Bvyv7lv/vD/3h9+5TnuXr9528vZV907NPCuCx++/NHu9//+RuD6P7n+cf/+bO77zl+bde8Zt+L
3/lfeP3edv/8jWj/AD4JfJysOCZhfI4BTR5f335EpX/ASEt4IwDHlNDbhee0KJsu+udvmvYPdAjj
JUW0ioyagUNty/7tJ/QfSAGYMIqM3hqYLvm3//1mF0f068j+o+jzD2DW7lp87oVKmgzH/fY8AgOB
YdlwDy5VstR1YypJFzpqEzuZYpch+uRSEc8iu6y/FJ9JeQNNIS3CuCIA5L2UogKvkqskI3bxpXMD
P/dKJ3fGCvxd8ibzxNApzmZfCeSxU7SRpU43ILBxu7f+q9pBLR9EkqzrWIRwvbzW18K4PVSHJazM
JMdkmB2j/GGjA6y9/N6q5x9yDBlUMgpaFQC34EwiybuMSm1D7AkjClpH+WzdRZ+InwOcbHrWB9Ho
gNVNPJcH7Tx3uwMQKxCjgDzGk0NsYPGdYAd6bL9043thTffSCr+tDgkZzAmUKDwLVEsupWVD3aBe
locOyJ696IiBI7tio3+QPkwOvVNt+QvrUC+IfXZT/7wP5/q/tsgLsexrncUWLFBKzb4IHbZIBv5P
3PSkuvWu3hQ+EcDw38Bu3EWANAMoCHD0yFjqpTTgPMOuKyAN3TWfUAwC5Wh/l7mBW3lp5M1uB65e
7ato/tP6IoG+wxhGVi3nB2nQKkz1uK2ZWN1XnQI8p8FRtS2/3JCdqL2B87z/PMkzaVxgrTajlTc5
pPV940SaaTeAVhkpdQH/3jYltWsMjnZmc6pt9LB8uX2g1waNsdb/WipnavJQCRolqEJHgnMYTG4H
GilNFFysCgH9sQFk91ur8+UxRoaay9oYhw46CXYKkb7HUrnNJlmgLiIx3AWch57A74MYIv+o9aPZ
eaMiYkxgn3GlkfBv4f0A10D5MCnUdRo1WRI6Wvccxo9yLjiPFeOI0hDmCeL1Q2SocUYL8E890hsa
OtVR26T70GegpkrIFL16swzUCZHbRVUNfJSXR9LqWUsDE+cu+wlIiHyEWeRednSnLZ3us+EUFUZn
sNZbUXZidYFngrk4k6a61kZM4bIdmw/yBxW2vBVRYXN0WH/cKrRVgrWM5ZWvwpAQXebRnDehE44u
62KuUHUnh2Ine+k+9dFbvFu8+iPBoJDFCTatG781dhgPJgrN5VPmTF9vXzSZLYzTHLgzJoZwg50V
ZSIubZH1Mh0CyYoczR7c/pP0CeQ5y0bylO1M7NTpXXBMPo1fjRMobcF/1/7oTsJHY+WGMNQyMvpv
Y4159yWt51AugjR2Wo/cE1QrMoCyTTcA8bnsNif2NIqQCWvGFCOJEJyilgSfjg/t89AMC02qAzzD
gW8dlu0AVjFMRNyVbuEPo92HojdqxX1C9Rv8AsA8GYiEuZ02UPlL514K4M0wmupqQ3Jb8wY4T/om
dYuPsgBnyVUk33TtQiBnwbVEi3Q5gsDWq3bEHn0S2qEPGjEQcYOg/4kKMJBrx3i+QM5oY8q2iSl0
FbEXMn8L4nprKFVhR2X4fFtn1xcGHAbKGiheWib7ImevfQ6YWrQoZwszEyysdS1fdv+dha0YB5Bx
oxaEJx+DDniXTe0mZc5qJYBryGhrzd24MeAaijzQ1f07E8M9FEGdzHNdQAypTh1auOa7LBLkllbV
Hm+EibYHNJBcRckBRqZ0mP32h07g0h+ghGzr6l17P/4QacTKs4SN+yWNs6olyYOi17AiuavJc2zJ
5KgQmju39WH9eH5J4R4nhWAakSy9HU/ga9vcr7ziTjzGgMtl/XmfkBB8K25KcMAu1Y6xfy09k6P0
9lDa4SNz/ALklK0T6lyzW7r/BmRxXSn+EsrHQG1TBX2W48AwfuKL5OV71AN+YBr7RrfbHf1YOdFr
/Pn2fq69wji2XzK5V7hUWrDQjVgoA54aW8xQ8NJd7hiAMidbNG+5894SUusLpXLKAlLIP9WfhQ4s
UOl2uYdQxQ5lEE0FNjht3cTPBYtdCViQmwKkECAywEL5cYUT6uiFthCoaPY5IL9rcg/2hidgnN3b
m8qMLf/OIpdMdTRDAC3EV1q0FkORSYBzHJp+i+pE4ZoLItugLz6PSuYFVerpQbW7LZSj1vtDZU3W
X87ScEigc5YyBOmhrtWQqvrNjr5gyoeHR4Dexcgp37Fbj9r8PgOr7fBV+iF819dePLTIwbmA6wi3
jruYaGELESWZgS350ybcpl6cHqoD42jtnCbFwDfhs75yW5DcRUYbYg20n3BvLOBfpA6SkthKabiZ
Bkyj9agk8dPtbRVJ4R5WvSdZFISQUoALJE1UNwd6OQ8Ez9yaa3axGM7eSGrfZeaMYHl0/hxbpLlh
7w52sgGuqMCUEcktMFKj3w5f9cc+RdQJSj0R1+maDp1/DR7XoS1VPScFVqvZkhNvkYN5bXblftRc
cpc61NcepM3sDqfY2CMLKsJCrpmFC/GcMUr7NI2pjF1AP7qfvBSmjXZV5JwWr3lYPNkuMNOs8EVQ
8ZU35UIqZ4zUUpnBDwKpf/AkALII3yLdCOOBlStyIYe7IjoGE5OgioAwpm7+c8pw0rIz+olruqWP
2T+4oouv3XUeChLb6bHcTXf4FgLbxMGF3swEsufwwQGmRQqdD7uaOFGSbICZaFzWTa5t2SNjHtkj
E23Hp3/nkWE3kbOHFyK5Da7kWimDCRawqzRfb9NHkNu6WYR6yOgP5vj47hsLHBSsEAg3ECPzT3c1
5+aS6JDWB/M+jsZjP/V3QH5vbotZ80wBQkaWGBximH8icVe2HuuqCOUWdh1c8Q3aS9F95JvHZXZS
2Qb1BWILYVpoxck6l8m3bdQmnGS4p8QGKFR+GFzJUz34QFuMFkaqAQ1PKDB5gnWuyQRzooX3DHPG
gHe8dIWGOIuyYYKrn/50py8VRq2GXmc3XhehMx7pL7GKMn3g9YWBGdGoyNp2LfaNznx+eZTHoRyx
ynFv+mjLBNRQ+2Y+sfVJW1NUG13zkxkDIaqiSKcDacgtsNU0I0Jai1md+Se6ufzQz48j+uPZHC7h
/WOfxi/uXBp3GRa5BX5V6ViOFnw2SF8GO+XE8npiEseVV8WAM8wAiCjMAlnMWRxM2TOtGjNyHNWX
f2qu7nfI0EZu6jBSA9axdsidfsNo1FNqZ756KhxR8H39fl5+Be4sG4DOcxpZoWMO2heMO8MgqnI/
dcK+xmvjyvo02VgC4HKRFGPf40xn0FmlK6CIjzAuhc3orf3gqPnFW69D7Ap9j+s7cSmNy0Gn80il
MYnht9LCCwuM2AplQYQtEsG5N3Ncln1vQMSo6i4GAG+WrBWIWDsbQL9Z7hXaf23BZnUoYh0i9GB2
KmsAT/dz2osMyIoUdNegmxxECpgmz+PmjTIshsgAbbpiZDZRhn2agAQ7FE7+XdkwUJgpkoVcPf5g
VbtzDYi7PinrQsWZvNDN21TSjRLanR0+w+G3403yUZRIFElkPz/TuSWYG0nqIXHMsw/Dkn5W68kV
WN9rW4gdO1sVp9cBclqZnDMZTnzXPSvbEqN0qF/vjO+xGEq1Jg2OAVo4MJQQDVGc0tFWJ8QY58gp
Z9u41/cF+hCX0FYpe9A2IEcVKce1a2AgxEYPAuocQBNfJZtDKcPI5iVyAuo35tc2PKG5O4OPN5j2
7Z28DsogCUNlACpHxwOKcpeHRWd0QoSA6jtzK092U1TbRB52QwguVr0L/CVXP9RVsL0t9DriZEJZ
1y5uF2NT4IQW8oI6oxY5Q4lcdn8IgBfLYzeLX27LWangXArinBEymjlpUgiSreJrPRp2O4/uACww
ODPbY1hruz6Jf0fbRezUASboCsSv3XFG6sGcShmkqpw9zOZGDyNNjxxzMQqUjgKi93baGtknRIpV
4ShNPvpSUWUO6c3lU9taM7AUGVpPYktzEmsZ3IBkqCJOyIclYRJ7gi+4otjAx6NjEUgOpL95UCeV
CrlTMylyKsUZjqDB2ahu9Ml6eCvg/Q9p17UjR64sv6iA8ua1XJvxTiPppTCaWZX3nl9/g7M4q2o2
0ZR0scC+CJhsspLJZGZkxN9kMFRv45c5Zj9SrR2zvII5YC2P013mI73/CgZtT91L98KUgrs4AMho
6DPOkZ1WrapR3CLCyg+xCbWtKuxe1YPzHS+12+5G9I7hJL5Y3MYc/TmbsNeYelNZDcxJexLm+/Q4
Qeu2cBVPRlFMTLvFibKow6J6r2howaIXe2oOU+4QkF9wcEuncau4c0djJ/AOrgkbgy3odwGnwbrv
kvfNYEDUz6ODklYYH5srCRplbyYWVQVAsX6Ak1hgk/fRMEGB6RN8MsA72axTWXMNitqJBw7ogMp2
E8tNrwn00TqIvpU/BObO006QrIBKlyrCUGoa5q7KtNgp2wVLlAaUh5AFhqlnS+ESUDSHkBKQt6EK
Sl8Y3aUoOLYWpa+TPSkrFkcUPWir3JuT7JAkUTgaw0cEhlRpAapDSfaFvTym03LbOpAQytGvUNMX
wcq5vwUIPMBm8KhAqnPqP04fqdaUxKm3YFaF+IobL57kvRMve6wCJPiYYfYvm+RbRNqNcc5PoutT
i5paG23TYfWa8WiS2U1b0WQ09wyiQfs/E2ypWJazohgqmKD9HsoJl4UmGGaC3qf4HLD6Cj8p1183
Fhl/bSyoiQ4EFju/bT2K6R6uJg9QWT00fucRyEnoAYr9tULms5G5dFatknB1hnNAR4yGet9EvumP
Pj0iqvoi+myc8hPOyMYkk0Gq8Ww5xYglrg/T13V1p+sGr6XhSv7IVrcqXDo6rb/G/iKa3+N+TmQ/
kKugtOBgPD/1mKhxxryuMtoVXaBaXvhoge8B73KpkrHki5SMOdc1QgHF6ALVQvE7p+ZavLnNci5S
T65v5yZczc4lluNePgXcRWFeG41eQN8wnslcgvFiQNakjtDk3WnhdEf2ZYX2CWXTk93qhdyNovlw
TtcGJQMVMA9QLaF/9/mLNjeTIUdGX+gSfVtLT8lHE6ZQJPOXR+2Rtl4nCM4EIl5jTvUANvHqgMoa
cOOYrTjdS7NWWkUeYdNwq4MMpgllD+JDtE/MUL0StQ15kQW09YCSQWLVPhuFq9QlWuwGkKsONCiF
CiVIRcCHILLAHDtgTLUlamGhVI6YITNErF+iv8+cMeIU1jLQv59oX8j83VkEXc/zYi6g+yA0cShR
vQ588OnnwJD71GU1xWtB5xxqfjeYdT8OOxGzFy/hPrHDZPaNZXbramId8jE6lsdpr+300LxC20qU
W/Nubuh+YKgZ1WNM3zI7lkjyCP2eOkYgLG+dMDpMRzS/wfspLtZwnRn1ABwhsG0gLjC7Z86N1k55
H3va+KnaSqdozOsFrPs2aGiEAZfzJsMnQl5CAw5A1szSdOhwDP0CLOvsyV7/RoeSqrB9Me91lDO1
ALreYZa79qN4QolXGjsxTf10Eyoq0ul9McO0eWNCyx1X6G6+Vb/0j73X3qzfJk/xjDfnQb/uvGoX
/Vj3osVzYjDe19DfpdO7yKaZtdsWuLHWfom9NXuS+n1Vv8rCcjHn+Xlig1lk2hpFn7ewEd1EGPmq
vmXoYU/HvnbbA4B+QYECp3MQpQq8lVHSRTpLQ4cBmMtsUucqq60VW4s6XIpKf4ypWhDiCK4XTiQB
W9J/ZthauN2XVjPpMKMWn5XU7CsanqWbDGgYRXfG22y7v3Eaafw7Ld9C0E5D8AW3Ke5qNr5ocVyv
5ufivlfPupcHbe1N+95fglFxy1AU8D9PHGsPxVuo8IDvkQ4mnfqpmhVL0y86PSJKGN+qXu+2BLpn
oKh5wmm5opzeqQzoXHErrsTztnhrnAlyE5BNMZJcZD14OxzSqan9eogqwZfk+QsdwAdEDqnC2ds8
T6ei6VKUiKP4Rq9GaIjuK/XpsrdwrgVUwH/ZYHKRcY2zLi9hg2L++t2AHh8kHHaiNvindszp56J8
MTjXVNgIjWkms7L6yh7MCgE0uW4OyM39GdSLO4pxWHO3xrtDv/un8BMfEyXfbVdBq89OXfnKFODB
zgMr/RmoP4AVG1RU7Ju5LSatMFv8jCVbxp1KlZujzh5Ckmv6bpJ7x5V7Ww5b1GUeL2/0ucucWmZc
Jp7WSVYKWG6be4k89KNgZby/jzE28J9A8A0sKUzYBKmX3IwGAcLWWoJcgiLb/HZ5BefuCOqTjQX6
CzY3g6kT9FQUWNCct2boXK0bXJDd/LHTo90EXJYDajLQdrC4tqGQwFveaDE0p5KgA++RO2q1v8zQ
nL68nPM74NQQ4/n2gnmUFqVPr0twwwLog2FZF0c5BkeJKPKfnzLYAlgP8QrNV1RTTrduSQ0oXSUm
FoVTVoU0KZJ24rkK7pJ+mWEH3oYi7m2IvQGuXiq7dR7csauuQDRTCUfr1LNoj3FGsDsj8lI6I5b4
X4b21oiheRznz5lpsne8yaNT05RBSzi+QX2XCR5oXIN6lw63AarO+LZeO9KklnLskTv9SAF7ZC99
oTUoQB0fAPjwLnsGx9ERcgG9B/0fsIAsTMmuoPwyWUnkNtqHnfuj/LMuHy6bOHMI8GmAQM3GcCt9
AbIPTUfqWozooUdOMUkU9aztkr2Ysf48b2Xs0O+4ObMDyPec2a5B7vzQoUFt3ysPigcsktt4858K
XgBCwVhjvhN4p2y1V2ANU4AEYCcF6hN92II0EmAnSdgyPgvmIN0B3h+eASnv802MNEwhVh2p0EKN
fc3BCU56r+/fGzm9c5ra64rd5a92FmOpQcy6aBAIwVNaZnIOw6wMBQ3OykviNyl5nUyB43H/Pqoc
6PmgKHfGYC0Z0pBEM/5+1JgJZku6Z1L+GZ0u/UZYw8YGcxGvmiStlYJNcybVzdSDNn67vElnQYgx
wLhcmmM8DmzLlafM4EHRZsdXrOh97ebcLR31b3YMtwUG9E06rE+P8sa/jXjU60GBMfCRfMXS74f0
618sZ2OBuSasVctbENRVXivJYQN4UFNGmdtLuekNTS0oMpxFHrp3eGaCnJ2ywbMKfNYwN6h4zfDo
AXLXyY5kFGjrX17RuRENLyvMGiBNR/rMIgKkBupdSov0XO5+JOQKTyHU8AQ2zj351Aa7a+0gR3WD
MzgOlWtmL9JQC67v85oWaj3bZTCHsTaTrMwTmDALX0ldHcSppaffo9qbe1AAmVzrTd63r5f3TqUh
7OQqYqwyaRzRrL6wG2weBeiugYm8eexcRcGMX/1IRxpSMGzgpdVhzE/Jj8mj4TUPkl8I/P78kNHF
o2lBu7b0OXnq93Nq4/1T1bW3Dnhptf+M9rU8AZOciUqH5xcVmKwQ8MCPALlGjWVQG9KyjlYZ69WB
kQHf927F4IT4ohKZYYJG3CVkyvoOH/OGinFIt02Q3utCfhKu02yXQz/vNl7ISrOsNn2avpNw/UJn
JEsv9cZ3CwlZdYTipeAgcG5guoFUaEpBMnw2sIhXaqeSDiuLbpRQ88m+uqKZC1JB1K//PFOCe26t
se65lDpZW1ij7ikHaEKCpNMEVjS7zUB5ZooGenjnfGuPftfNfqqjE4E8gdqbS1fJniVbEH4Zxhx6
X21XBFpBxoJddJjB/FwRZrNuU+RKg2sBiFo+iR6pfCf836c6G7zTQKldSBpM/Yt3TXczppJ+g/P5
8qahB3C6pHppY1UGgQ1Kse2X6aC49P3b+jmwdbI/7H7DLUQWGbefFKK1Hf1MA7CtVMRzuVq/DW5/
TRt9kZccRUU8XnwCmITS6aN2cTYmP2HyyTGIjEn14l4Z70l3LWGWL0lEp4tvB/xnlAkRnsLc/+rc
dTnwfbXXBs7ddF0G8cN0pX8AseVpHooydytaDVJ4+RLgnmkKpaI1BIAx2UIe6Sx7KVusDhP5IYUq
xkf18O7sKsx1i7RTeE6JjQTfI+WmQjfl1FmUgYBPIx5LOOW/BRpaTxfPXfHWpKB4AKggUo/z+oEO
RejKGWVMuDzpiMDpMfJbP3sDS5SbBPqjYAc5DolHIwhgbCCEcciZVRXRqJOkirCqh7ILpcKTcZXW
O9PPNa9cwymgk7UiTNV5HxNd561V6k2baKUAUz0RahVDtQfjrt5X18OhfpCCKLRukhIt4jIcX0Vn
4bzfBz0aVEbAL0Q1k3CTnpptxxFiYWpeeUM4xcG4ulpI59ZBOq0clwAJgnClnGMBBSj0+uiILfo9
zDUgZ71DYq2vvIyYnqbcW4blaqnpZqWwQ0uDFZMQAVYKeAh9E5lnTE3j0jjaIo/VZzuaogsVcCrg
+PXP6t6+VT4uOw4nd91aY/makm7EoC7YZL3ems3rYTWqfR7Fg7fK4MK6bIrmj+zCgP7UMF8J8PNZ
qXDqh1HNUuTipPieL3eV/pKhUGj2T1MhOA28r7W1xHytIWnWwi5hKbcy+n6tJceztS+dqGpD/86l
FTGXNSb9h6wqYEdJXrT+VS6LHVncuL+d+x00uP88RQWjHnQh4YUUJc/cOXMrq9B/pauaXuT2uhgw
7pvuZVvEe8EJJTjWmEu10HvA92LeAWunq3OU4NE8rpE3t8P3anH+uewK3BMMETAUn8DrAQIY5gul
ktEtpKsrPJlCNd/LQQ+waep10wsJQN13Jy6Y81YFtQuMpYPMG0hxJmaM/VCUPQEwYOmSg2OEkyrv
BYuif4J1B5Aio3WKGgrwHUxmBePrpKktwpK//qQs+Mptecj2qosEJBDY4rkeIgSsQR2Bjqbht2wi
b1ZEmpOZtOqQuF9JSIUnQJ6hu5I3oStlQQITFIjyPvZ/ityQYxlpAfBNGm0Rn5ENmKkJ5PaMUIiu
9OzWS3Ebp7Y/RoMHPcWP2ZiftXUVLZf6NrO1GlBzCIuYpgTgkfl6SRlNqtIiTGUHCltZR798cYBa
MTrXDKtj6leTyCQniJyYpHF6s8NNnoGpN4VJOj6hBxYJC7/Ive5KdzFqaEIEyjWhpeA5PmhwLn9d
Q7Ba5qS3aiansjNUwJBeW8bNED/YlchZ6c9ndxQM8Ki6gf8ahHyMA6W2M6tpvWJ579V1tKvQ7l8e
rAc6aPMbA8dca+g+oAdBhbXYdn9UNqs9ZYgpw3vyrIUUFouiwugaR4jeY9bu8v7xXqWaqsoW5WEB
BJFlO6yWRTXnXq+89MuSulMJWpvMb2dPd2dfMd02rMMkECE1OBFma5S9SmdFG5u1htF8JjfaaN70
wOpcXpjIBHMMHNKPY9vChFJU4I/GROr0fNkCL209WQX9khu3l7s1rp0VJih1R4oOZrq77jGiJO8L
7+OyLdFqGDfP89aoR2pqwqRrMjyuw+GyAb4f6AoilQFvQOw/XUwvlxH6Agaym0AJl0P29V+uL2NH
ub7Sd3EFnXexgavtl0VmTTZBKzsaYHHERJkOYJ3f/0ObEeM14MQq4IuiCgUvTG0N0k3efK/aSKMc
IbPyMPjidkoL7tJDX2CCuPxTxiGwim0N0aC1MZTkVtK3CgzFJbrJ8mtOsXyy6Qs+GS9SbM3Q9W7M
2HMBsLIKMzN0hwE/CMoAsBXMkeXxLtZccWovdBIm3+nNpVWiGp9MPg6HTvVatLAPYGHsoTgAftb3
mfhZ7gvxFrwrbbtQes9uFpqR0urrDgvtg+7gXDmvy56iB2dfA4bZTb47z5d3lpN+n3w/JuBPRdyW
SYZlTuYhI5iq1K+LmAQ9zl5VPV62dY5OOHUWFjIzNGrX2SkWRyEJRlhAf5X8GGkDK7kz/TlEs9YF
ZVuQIq70P8DdjBJo8U/84/LP4N2jmy3+LIVttrhDx7AkIPQFoB845YqAwrB0h/btshVuGKPigyaY
jaFDzBwMO6p1uZWp/9S5ryYlIJMiJdZzEODnfv6ywZwKPUltrAY2aNVYu4IcpRs9mWF2dP7qlP8y
xBwG1UpsBwTMyCubByqxpP2URcJe/Ctms2GM5xfp7AwzoZ4YOppnhWh2B7qrra50pONzogjJt4fW
MB7uSCDPkU0OsbReceiVBoC313vKq4PBYsrK1L2Iyktcn9sYYxa3YMY/QupceV3boI0BcNhOawQe
xz3KeDgB9I8xozP1HqepFruKJOSH0k16VUEUwbmTfuYi/QWeGTQqgN62UYgAiPE0QhG1zlJIC+P4
ZOg4dwdzVUOwYZvzhw11yD8/RLg28bhFtQzlTcbW3NmF2Ud4z0Trnbp+zQrBBCqNbmy6i+k/kLKg
jAPqaOaQLjqYfIEXwqsF1SqncNwE9PpD/HMxHLfsX6fmH2UWBFyeJ+hgYwVJMW1TsO/1Va5SvTZg
MkZDLTO+Z53lFs1fnNetERqcNiGulCDmaC8wYmJsfX4eGs01Z927/HF4OQbezoolAyqCGgRzdZh9
k6YFlECRqKEfpx1naY/niZuY3y7b4fUmQIiOM4oCEc7rWWFP7jMFupX0KkbqCd6PkGIsVz/92uyM
w2VjvM+ztcXkhmtmWiQ2YGuMMaVpHJr0tRNxunBzi60RJh2sRkmel8Kml/wczA5oUjO/eKVaRrVv
EY9KImgCt+OGu61NxiWK1iHgS8XCkFhMrulVd5GvNu76nuzL0AGjg8gg72xtDTJnS46I1asxFkmW
UDbcAVgVlPBb9GCWx/ggh9kXyuPQIL4/GJhLFL326HrYo701z9yNmHt1oNoD85OVgTP7sW39y57C
M0DRIyo0v8A3bjIGxjQ15aSJ0XtXs6Nsl9+GUhXsocgEE/6g96bmSQUTWfl9qBJXmQTvfb4BB6Mj
0Ig617MuTQiJlToM5MvNaO+76S9OE+TH//v71Ec2cSipSmtyQF+Ev/8g56ULtZlU6fzLH+Ico4wL
b2OFZQ2yUW/VKgtWevToPSdsbxxvbf0Z0suokGdXgNB72Yvtde/CsUbeu8SmAhZQOtVMMASeLlDP
E4gjgxUOjTHZAzIBmMP4YO0waAtUrahxyg2EW2tMcOokaenBvEobYmhyXxehVrrQOaBIgeg2F6TJ
n1hh9gRtrTFRSspB9ALpI3RN98N1c027KfEDsBY0+h5tTNy2B3NP6VHRaQmSQBRAuK8FQKZ1CqSy
oEfIOI9uL81cmQkAZii1jV78RumWzYf2Vg/obyGueQBa1QJvqPXTDLXjeFCBtxNprXDSHVQYqbAA
0kQw4zPHPEFP3JizAntePKfy90y/07Prdb5dDREG5BNFxWz4iSnmuBsr2AiaGKbwbMB4hGzdNXXk
KeNSAZx7Py7J0VRAvEDMo96ZnmVALQwzCPvCAmKqKW7KWP16+WRxbviTH8RkrX0Ra7XU4AdFA9RO
l/d1RKE80dyVCPIVThxCPoRRQGDXUbtmj9Gi9tno9GXtafpjFD1O5Z/HOXR1VZT9IExMuRBOj2kG
eGajFcDxqE2ykzvJT/IyuLxXnMSBNo4h1ICyKYiDmOsuUxWI8owwUTpPOUgM7ckfUJm4bITzQfDj
cSBoRAXDH3Mks2ZMyGACjGUn+N5WEhK9vZKd/mdq2M9/Y4oi5KC6iFY1E9nauei0aoGpQqO02J6s
3yv2E/QtL5vhBW+oLFI+MGR4CKCM0+OFkQ0QEKEoDSWsQRi4j490gJFSBDk/M3e4QfYPnI2oV8Jz
ua1dxrcXhySpOVG7UeOS6naOHi6vTGSA8bk8tSfdGEAm3YNX3MkfSCVCBfG8AX19C1zGeIbhMXbq
1XoRz4MDpTCvz16LLIyi1F1IkGTvlxfCu3YgcgJUPRU3PQcAW5DbblILdtQdZRmLj5AURaxNgtkV
joxxLtQTW8wVtyj2LNkTVO9ooVkOFBfIMbDry2EV5HetICzwkmLcMGAfwlg+hwRBt7OqLxbEnX9p
D3svqQBrpDz35n78IQK8C80xi6MCL9ZiIJ4aT6sHRYZd9M3pXW1nHYsj9F3+oi+A1VFpLcxUoqfD
HK2402MpJVhd10pPTbLGrlHmghc0zwfR1sSANYYIdbylT32QSHatGAOWlFiPpt25iXIk4J+ThVke
7zhtDdF/36SScdMDnI4Y7unrsMuT4Q6z+YJYxAvhIAbHHYGIhH4tE8LljKC/piGEk1Xz5+Vb08Th
ZAuuOl4vAPUmDVAjixIOsUMqPYgw7MWYsZCb+G38ouNJNO2NoB8x8vlbtL6cnXNQrgE9C6Yszulg
K21K5FgxaHpcVrvyEaVzv9tDz4x43W38gQFGofIIxys+B+ARl0zMK7KlAWvupjbtJJrJ1BhsJd3w
CGadxV8KcG9o9uJ4ghDF+XToAaNEBLgYygTswBlSi9joIxg053qHF4cfkehDSfKDpGBEC4d6Pxlx
0KWjC/WOL4nS7jGzEULK4xo8uSLxGt6G27gxQSgFVzqbo7HNJCnLMmnw9DxkKtRkkDgHkAOcr8jq
qqD1y454kAi2gLcDmH4C4T88V8Vz6PR89GutTssCiJ6p1VDJOEwrmKPzPz4h6LIDTIbeMIDzZ4i8
tO8mB2S0yNOKfq/N2RF5x8GoJl2Q53AOCQzRiUxMutJmLbMaGxp4UzljC+uOagW8USmZBIAnoMco
ZZK4F33+zahBfDHU6mGYTd8kshgdsWDQtv1WOijZl8seKvr7zF2t1XNSz2vaeAbBTT3Yu7kWiXie
e8DpEphwb840YYQqpDc793l7NcWq2/+xOAd43LfbxGRNuWl2CWi+Gg/abp7W9h9jIj/FBrhi+yGG
uewedNZ7LZa/X94+/trgCgB3I7tmE1/F6gZSIxHxpumqX1Bn/JnKgjSH/4V+maD/vrlgrFFbViPG
F1riW5Tny1bADEG3//R1R7fu19+nS9z8fdOuq36ecqiwp51nlVep9D7JQQ19lhiQh8vbxekMnRpj
3M1R6qbLNSyGrGEy/9OqD1J+h+8UWuWxV661YfUTSYTAPI/6p0YZBywKM5J7DR/JLlPb1XvyMHeB
FkuBlCyPggXSvOJsN6HcQoki8Dxhwx0QUIrajUXj5Ylm7JIOI8VOnGvXfdbanhJBATJtgSIrxta4
3hkpZm+W0g4kkirubKqx4NtStz/7NZQPBc0X1PTZadqqWsZO60sorJR4k5Nj0Rwb1Nyr6Ladbi25
FXxenjlUvE1UHwGSOxtrhJAQVU2jG608m+19qRkgYtmVxYPRfGnVl8tbzTsXyqeKDG4XFEAYvzVW
VR8UFX5bQZC6SpNDI61P/z8TjLcaM/SO1Rgm6gKt9VW9VUbz+f9ngvHNLiJT19NVQOEpJZpHEtW/
bIEXorb7xIRGK7GmWDJhYZUgP2otV+aoeRgfEtzzvDCyNcPcjHpqp6rWwsxYJI+lZNw0Wrq4Ztq+
aKkS9jP5iysfNRmAZWSQ24Lg/zRsLWiOm90M117JYHiQTELxRMeLVl5qEY0j19NQ6UOPBxVdtPxO
TWFeHTUHG6bUbLIC9A6AApslR/Au536njRX11IqlN6o9TDUOj36Fu8oqb5VWkOPzFqLKKDdRehDQ
+bFHBu8hvTQQnNb63tSgf1D9uOxrvEi7NcAcmMmy1jm3YaBxUvCMf7GrOw2UHLpo/o17j9CyHNJq
GwP17PMuTmj0oV/fnKE+0lLNMss3LWnfVNLXfJB+6DUoA/G2SO1ZwLTAC3KggUUlDbHsvCaIHqbk
WBNMo1umgNIzWtxVHTFwNZbaVdXKul+PBpRQjKUSiFLzP98vy4yHjEjgy2SAZUm5tvXXSQQGEP19
5kgNEzENSNM0nlbaB7Oabmfjb07tdvPoT9gkG4nRNR0EMRqvG9TAyTRfx9iio4nAzbyzhNsX4+FQ
dzbOuO5jc9EdecRZKhIZUkKlHzmlm0si+BfX3X+ZYdkGLSUdeqODmXglbhZpwTy1wBh/mTrRw0Ow
IIsJQekIRmolhiU5vbEjw2/60pVAoXj5+PJi+GbbLMbBIiXP1X6BlUiadlEzvFoE/FZKFE5Z5BNj
EkQ80fYx/gYorLzoNTW33MjJx6CHtrGXAHG4vCr+3oH7jI5qoRLEXLGGFNXJ2sDnFutY6cQdoe0Q
iT4Qfy3IsNDyAwqFzUaI4mTtImMtet6FBC0+BwSaY/eYguTz8nK4pxQjRbTrY6FYw+zaUEld6ZiI
sYV0ZzrHOBZcEtzt2vx95ojKBSFp5+DvR9aVHFXQG7wqEd4uL4IbRDdG6I/YxIFoiOWypt8kwkhS
Mtje6nzMya51QO0o32SZIGZzKpwoBW7sMRdTivG6IaGJMO1QTs/9Lv4HPP9QPqeUmZCCEyxPtIeM
yw2Vjdx3wvKkFeXvj7oLulFwGXDPKq5yFR4Ht2YFAxNJItVCYEJOybG2xxs5tdEPa3eLvfpZ1z5d
/mBcr8P4GubAobx61qkyjKiStAzmqrm6b8j4Vk3542UT3E0D5TmKgiD1O6MQw4DGskIIpvGy8ehk
GCOLHmZJxBvA3baNESYbzg2tNFsbRoz02tHelOyJjD8n86mILUHY4focuDwUWt38VL8+9fFCTdQh
ylCTsGYQ++LN26Rz0C/Po32nR68ayMmWVv8BWVTcUG1gOR+Xt5P3xfDq06GTi+wYw/un5i2g1cux
xBdLqofIPtipqJxI/wD7uNQRh9AFp+89Ni0uJ2UESw4M5C5Ir5uD6eXH4QdqYW9Qnx+8xhOxL3Aa
0WA8wGAS2j3oygEacrqkNu5IPNFbkDZhWhdEwo2fB1R+bvQj9w3cTfJvMPzy1/mfVXZSAlIGZZbQ
a8rEIFgwQ7nW72un9W2rtv/JkhI6pah7ItUg3y2dWEGig8B9sPp8l5ZACSiKbom2nndUNhvhMOlA
28pDlaOW4oFBef65gomid8F/sYv2xHDB0Ohl+1yseMPfCKrkjiEVjHMxUW1Jx7VLTbr9d/ZuuKeE
G32o0eEtKndTeOvusgdzGnz0e/8yyBxWU9fKzpLgYUuY3c+76JBft2jwyXtxmZq6zpkzg9oHHDJ4
6KFSf+pa4EuEsbrF/Y3Z4H6XQyO0P4jn+rhBAc2O/+wwF5Euz07Xt7Azja69c8LlSvK6wHqhup1p
mIh2kGZs58tCH5Z2sTFVwjiKVmpOOaU9koXr7vpfDR/phlJAUQFhIXSZ6yC4kv5njf6aza1OZsds
bBnWrCeMW1AubBD7ufPX5JEqFid/c81iVJ0GOYyQY8yPcUi0FpaONBAB0bsfaXlbIu40ojczJ7E7
scH4YKkqA0DFsOHo73l7m9vXWZ25UiJqmnOOtA0NBtMArwumWdkstW5LyFMUIKJPBmd1IwNMF4Z6
L9WizItnB+9m8M9j2h8wWcbRs87ONdJDkmJd7yL7urMaty2+Xj64Kp0dZdwO6akGWiZMn0OjgDrK
xhG6PI+swk5TYOZJqHv9LvGinXQHYPYYUBEi41G/a2wveRxu7at1LyKf5lx9aDkBUqOiCgvHZ8yD
OL8Hj3eJOXT7xRrwNKveLi+Qd4wdhCb8B4ZeBbNapwvUp3JZE6OmxOQ6JGEwFECf/YCGqH6zG91F
0M1WOV7ooE8Ksj3Aa2ybRb2M4yKDbrunZP1aaEA1Q73C9fIouWjSvuo+ZQ6ZXsY95o++YSA5dJ5l
8PQkwfpatK5ILpSeKubjOmDGA9MrqlXAeTAelM8DZE0cCE808k/D2tVyMEElnLiRvIhSKN6HBAAe
UjgoXwMzwISvvhiBhynoNq/u4kOJzMueoNtJbovCrVwF/wucQ7/6gq97fkbAko2YQvnEKbcY6z+a
XA9jPANbhl4lVG4xVxj5EJz1y2dIJ01Hyk8h7xXDu2xXZJbuxubUDO2ikiKaMIanSaBugJjc/FIL
RT3OXYkuDpM/aAUD38ReCcmqNQMKJGA9QguzgPbDZw8zNIL1bnwfVrcHmRbmnKz7/PXy8jj8G9Qy
fAd0ClRQgEnfnFLDOHYJy+Dra8m+rna0BQ2FBn9+J9G9swIVa+CiwHSg4Iue+xEAkhjWQEgAUczZ
QDaKDJUtDyW04+d7JXoSPsZ4f9/6HAKgqoeQNDr9cmOk9X2jd4UXVdE1KR13Wk3Be4/eM6enDoSD
0J/CcAbO3RnPQW+PRq+ncwmxVQVtAmPwl4kEVqU9ZDr0jVDyvSmXThB3OBn3qVXm9lOtaBzruC2Q
cSvvGCz31ps0iAzPoPBWiu+ddD+/E2HkORDfU7OMp6irA4WExEm9/Gf0QPmbobs1+dnkoV/2KdHS
d76yT3cSZqS+LsGyy0PRb+C0+k9+A4veHhzQ/CSSnXpzepgAlpBek9DxFnIzfs4XR54q+MIcyOGp
RSbaKeiLDoYDi4X+WB30IAubq+mVTpMSr9YD0JNLO9mFIMytqF7B9V+kHxbgjiiZstWryYp1veno
fmO6xJa/zGV4+eyLDNCgtAlt5SA7eSzDQJFdt/UjmQRFK15QwwXx3wKYAzjVoMsoaqf2qjyM0xRc
4I3b249I3kRX0nlGTT/SL0vMiWhke0HzBx9JflgjiMzoAXWLuDtQGc4kELqhyB5zFNBGWOPCpPZ2
0Y0RUo7u9HoE2oRqgYvipGAbP9sum8+E11hVNAO2ccYITjYAGKWkvqqTZ1mkBc5529F9BKMVJbWi
LalTj1iSrMmyGh4BiudoB4oFyG/2BeRIhl0cdgL3E1qj/rlZWCRDeG0cET2BNSNQcAaDsAfuoAOm
bMUPZd49vl0akyBZ/dDIToVPts7ZLs/WHfLIQ5nX/t+cqV87yJwpIF3GhaDR5jVNWgBlADi+o0y7
y0bO38Wnn4k5WGpZGCmURXBnd18X8prYD/n0tshh3qjBOiWuNLxfNsiNFOjoYeLWoqkCEwSHum/t
sQHhmarN4P2WgOYpD5dN8EP7xgY9cxtvwOOgiMFNhp37uuJhou3phHL71fysZPwGzQLnDIP7EVBU
ULOr8hmjdLckUTkWceY5e/3YhNkdLs0D6Ks/6bJFsfxcwgOMe1trzOq6fk6VTEkyUKgHJmTb2ty9
y/dZaAUr7vFgCjQPSdYayj7ml3GZQA1C4DSc59HpT2AOd+w4RbEMcwH8cqV+FgLS3XIsDxZGpsV6
KRyXOVkwc7gVcx21REVdqsvBdgMxRZJ8/LnHwAQelKCaxggzC+uRIVuYdzH2j1JzDHcQfTg20EpQ
/eVmuBHLafBWBMCkBawmHiAGq6ZhzHnXW2OaeUuqo0v/PomEEDhDTMAo6RgSxOGVUUBhYpRq9snQ
YGgL9GZ0Cg013DloH82jhdLtPU2tytrtChcVlTEknhLkPkiW4Ta/UTWiJ5rJbPFT6JAKBEFBS8zc
qE7uRE4KajqQyUe7EoSluTcEgKMi0/kLGgss24SWIeSw5PMKcpfHE8aSwKtlQHsFpL3rzeKWHgo6
C26eZSe+vzl3wdYgWzy2dWkcUYrAYZSNfZc3gSUpRwzyCvIfzujuycLYijAB23Jua1jY4DcqXqwF
FNrMxk0K18Rzzt7nvuNHvSs4FtxPRxnEKL3heaEF08KS2U8SLUtM1xoEvmKENcovn/oiviLuRgLK
hvcjREQw3n0as0dLLWu9WMFXAXyZYzdXtkX2yxy9CJZEQ9OZNwLdS4t+mPphYfCWKS1KOWBJVRxQ
0cvMt78ZAWo7BJPdv+P//IX9Z5AtJU2QN4iTEpfDUszPySA9WFZzn6ntz8sLE5lh9g+zTOvUqFjX
WqbuWlx19YekiuI+N2792jyNuXrawkoypyMl4n42opBOtS5wuKzVHyGp2d834BsMV9GAIidrReX0
1w4ytw0ZU63ObVhFT09N9rJyXYFsxAoubyAva4CWLCQoEDjg72yFNsI8r6P1+FCdP3Q+pYkZ9nWB
WCVflyFy8ftccLw4T/4Tg0xgjOQZq9bRiY/LyI2jL2WvuKp0BOKJxI+GCEPPvbTBQYYlIhCD0oDZ
RhNl7nnselwJd9FD+0j1+rqgVqHeQGv3oqEjnqtsrdF/3+RgCciueomAU7HQfqbrfRkJUn6ev1OA
PiqHCngU2dHKPpeTpEixmsX4p21epP5REmpnc6Puxgj7XlpXNKeANqcuoR5vugMIiANXiV0CIXLo
yb6IBCp57xiI3RmKihY59XnmFGvZWqX2CIOZPPS3maYgys9a6uZx0rvqBBUjNEglNJQJwL3SlJVe
knRLSCIw+14+Dtzvh+IvHSTB1BDb/a0XgkDSgDa0AGjRU5bM9kif/7nAA5qNGytMQDFqCTLwcYuv
mD2q9ouq7f98FWBZQcnDgtufNSrMNDJzyRgzz17vJuspbwQAbF5o2v59xssdve+zWMXfn8dHNf8h
fZmlZ2MURCbOGw1ayb8WQY/C5ig5XS4NnQUj8pH23ChJvw5ZQlFWz/viWzN0rRsz6IJD4s2BGUm3
H/Mm3QHC4F/+HLxDuzXBvDblVVswmAUTTozZ8nJvW7mbKYJvLjLChFWtKkwzpd+8GOd3MAr7fbQE
SVv+H2nX1Rw3rnR/EauYwyvDBGk0Sg6yX1he74oBzAkkf/13oL275kC4g2t9T35QlXsANhqN7tPn
SD69MDhgrAInFZB4NCe5xUxjEruJNfwn17Tx8MMcJx6aHQZSwDU97+UvIeHS3shcoQsB0AcXwqdp
MNusWvLAtmmoqF0we+dp/H30ATv1jDL2byucUwPwqNR4DOUoCjcn71l/YyaPQ+QU4NgL1giDZN9l
dTCh8zGOXxtstZAY5AIfWcu8sAaEm7T6lmlHaCtJLlvx1v0ywEUa186KvF9WLEpbw5LMXxYk7C7g
ltc9XJhFoH8HNBqSZhTUuHqenQ1FZ6dTHtTuc6ZEYI4A8TnYRZeHbNyzqh5jrrhuUxiEfpnkmX7r
WncLsuB7adCvGfWTW9/o7h9WIiMDF36jjR3uGxmj53W0w9Kc0YwW94R5EMmlzo4Mn5xvNs/iPtKw
mMRoa1ho025PjLvF+1JNbjgAQ2Xlkt6H0CE2q+HOUtzoVIWOZh7EHn3oK4Cc8vxhJiS6/nFkDmHx
p2ldvDJ1EY5o0Jys++RggGCu/TmCWXHey7UrZctif99E8catLSVJsIVxlfld2fo1igBqI1Nil/kC
d1mkFjG1enKRf2jzrjTJEZxpkp0Tm3BQNmBD0ciHLleSeosdK/oMZyjMn7FJnlWp/M1/+Ti/bHDL
WLt+bu0Ju1VBCXfBg5B1Zbyg7G/wImTgUS9Un647hGxZ3LWhJ8NMxh4m86UN2sHzM1lSpQkTBvAz
/LNz3A1YLY43FClcW4fErxpBeHNnHi3EByZl4UXOd++RSfllqW+hhOBG3ccixa8fwAVBx+nazCzV
PDDqxjfIK6R4r2+i+MN5oBoHiwLQl3x6Oo6FPZQWnIMGg3NgKr9tEIem4TtlpOyH7/JJXWFs2ljk
YlOfZooDLmWkFVmssgYU6L3MTPeB6vFna/5sz39dXyPz73fBcGOQC1CdsZQDAEMkcMHaXuS+ZQ87
alNJyBX5Cgo8jCgeHBvvQH/qQpRx0LGsatVOjWYGKD3vyjE9g3zjW7UMUQG9VT+hVLI6YfqE1hAA
7pjx0SHWenm838JioSUtEHn24rtgT98RPK/QMHpcar/Uwyqq9oOMyUZ0+tCTAikBVFfeyxakZrVk
+opNxcwApEATHaMj3QdO+NYG+w2bEJybOepWFba0ds/eEDVgULvuGcIDvrXA7Z26Qp4mM7B3xVH9
4v19p5y1sAinw9D55eRX5wj/gs+vqyX+IoIMgJBFQ0kZrEPeu0JdUkyTNatliUqkGnj9wYRg53wA
3AR4gaY4WKglFIHsLhCdha1R7vCB0abp3QYBpWyIvwKb1Guvsy1782osMPJHzoOAMBMFQU7P4zy8
durWguD5zdoABtROytflNbtlfmmHU+cDuQf4jBWQnXc0PpCPQEwJMBb0xaBnwH3TdO3nqcth2wN1
dlEFSg7+o+LxuucI3X9jhLvvmlYHHwUraPTpFEIsEgFaFplZFvhuDzcmuPttmKo1y/sGT/pd8amM
aoCW6yOD/chbCyIcCbQffu0Zd9FRXC9rwvYM6s6nFf4PLCAgR+WjG1qRDc4L+8QE7YCR903wxR2c
T9e3U+iWG/vcPadO2Zy1KAEEUzGBgPRoga9sqY/XjQgLd5tV8kiVHgoXXVLCyvxCowTquM2BgXzN
HYMCyup24vP9a018g3axlLFfMhPdtnCJzB+TDgB+8dX7ToECN2wITJjn7F6RbKTsS5rcAbeceEgH
DWtkCdG5PI9A5BVfGRhoPbujj57Kn+w+sMLs3CGsyQlYhW3V7S5z121SUEWnKX5BflwKv3xiIg3T
ATMIh3pvfppv2AiCjp6Vc9T+NF+qJ/0ga9pJPzR3cZTmqMedjZ+gP64vfzdc2tCy/gPAl4FBJM7L
twjLRYVekN3hXNQFOjrz+KIk8R92Wkn8VxJzTC7m1DoFC1AMO5Ai8FdF8y3vy/UTwv6HdyHHRBUY
CjQo9fEua5HYLlUmceSmU7PT9UrZr8tU3UyK1odNMTaS+1e4cxt7nLNmTdJjbgb2qNOj33JuQJvo
UltiRZTjIrt1waAFAg/j3Qj84qTpkBp/F5gYLb+JTP6t3/K/lpcEX4qpHwPCAEY8YKu5B35b0MFu
TSTV4KYODBBE4313/UuJXPzCBLd17epYiWeil9MvWBHrH61dYDx1kbkrIiiUWJJbVbYk7lS3ORSX
KUWmoNZPNYSIulINry9J4HwXK2K/YJPtWYsGBdWJvURqRCb1Hs7gO2iKGTIyfNlSuAShdpSaOB5e
da0JlhMrhN6X5OuIlwLqUzb+DgF47joDSZynkZbCQkOnWyVJuz+moXmcVyffm20hE0+VmHvXXaFE
r9KJVUZc86FHxm/1blgbHbRxZkmxVnBi8ZFQRYBeJZ6lfK12mQGJTmY8uicw7ZXtSYP6SdV8vu4J
QiN4QmFiHJ1lw+Qyn6JQtXy0kfdrbuznqgfljNHHTkrigtAMxtUQGTD8ByDOpcNV+mKkFXuIast5
su9m9S5pDtdXInI1TEphUgWaho7pcD6ddajDZQZ7JSnz/aQWtxQwtOsmRKtwwN6OIWcdIz68r8Vg
LbG7AfoU9lLNu74v0W/oYz0c+qz7/QsIZfp/TfF+lmeg39FHnNBErTAMMwVd/YEvv7XABU5vdij1
yoxgQPePuP6uQMjEkWTuosOyNcEFTrUFCrBJ8OxKJrCgKPQ1mdbc1+LhfhpTmYuJwjTo9TF5DN4d
6FryuYG55jMqbizW/B2mWV8jfc2//G9tDYG7wZqNlgOKOZg15Tx6tddamzMdr5IpfimH4XmlstkL
mQnOo7VqsFfL0Eq0M4tvhTGXfjXKVNEFr0cMTuLog9gAnJp8D6PJkqIEJzcB5qoPDe28uCRY3MXH
ePjonjtjf/0ECTwC5vAAx+yM+Z55zwPJ/LT2OmARyxm8h76tkj0lj3bz9bod4dYBUmWinugyRNll
vBn1bilrgq8zoOyfTyjMyG429j9w+RtW8ssC94xzvWUetVoDSq1fPN9NzId19mafGENYERLaOZFs
ndi/Nxa5mw66wnGVrvBv455GbG7Sw6hreWSy3Yz29/oGigZjgEbDBmIkT/Mgx3K5g3XRGIPWYX3p
SbVuiROyOjMGqsLypR1BNXiwHteo3sktC4LshWHmQpvcxOlXymbH0fRKMSG+3mMCbdePMloRUaJ6
YYbzEGTdGol7mDHv0i4cvwACC7S3C0oyNjJXh7qUkl7ok5sd5TymdjuIRg34fineFJr71fx9Vi0M
QW8McA4CNuKlV60M43fGqRvOy/zV0r9edwvJGnjoIIgYoYGw4lylbl3cxfo83mWQMJZkCzIr3NVk
jc7UDg6+TVejLkhxLiGw9Xx9JeLj9Gu3PO5y6jWTxkuLz1Eu0Vs5voziY1f6anzjgiPMlw9ai5cF
si7GfQ7EDHdlJGDqqqcOqJd+cr6kmXWrKLKOsXBVIHdwQWrHMnx+lDYdm7bJlpwR2NY/9Ci5QW8/
Ip9Q/gNYVtbEFUF/QJmMiQlw/juYvuQ+VD6h4z8aBESqd0xUVLsld5NfHrVIv5VpC4g2D7zTrMQJ
Td13Jdxq0Ga9qVoS5G0SEPV2Nr9ddwiZAc4f2mXVoIsBOhbTeOzN3s9lwpAyA9znj7XYAG0y9C+S
PkHLu/NnKeKW/Ub+UnqTaWRTlO9n/pbE0dpWA+EduyKgfH2TQd7DvmewfvUgE50Q+trWGhfQnEUx
SJvlJEiB3oRY+nqrQRzOn17B5ecvt9kf1z+QqPsC2WEMNv9ndVx8s+fOZiTxYJh4pZEaWWC/V6kf
70Zoa6FWm+1QL5W5uChhAbANgxnAlL2fQiM5rc2mADeL2uuBW/RRpnwvEZQgJBpeX57QPTaWuHuv
m6At47qMFqGqVb+cddV3+1RyrYsu1+1yuFsvIQuGp4G8ACft18x9KZfZt2TsBOz/eOeEm4VwbrFC
uELHPYSUckTWQB4HNRynu5TctJ0hWY7o60ANXWds+6DI4Ae29LJT1aRFUFB04A3zB1LcpOtd3Eve
MaJKr4OxZIy5QlpFfVdk0uymHGgMgSTrXsv8FA1UnK7+O/j293Zo7a1XunPffFC9L85s5C6TzviJ
3GP7E7jw1A3gvaqZwosxBOQHyFUA0aFmqPzoXoFkPpa7ZJep/nWXFHnL1iYXsaoxw5CQaUPIRD8t
5oONAnez/4AJvBFReQCX/Du9Mlp6yaCqGW4Q72sxL/D729KVRHaRQxrghjF1CKa/p5gEuYSVdjHo
8Nv6IU/DNrlXzFvbhpqATMNJZzvC+/7WFHeI59LpjKICQ5nnzvMhjd0f/Wxax3ZOlJuhyfuw15th
36AaEpmzooaqXVd33ph8J+0y3+KZDP2Y1a6ob81KCZouu985QzMeJ2vJ95OV2j7uW8iEDfpwzoYm
88GNt0bXP4nQ0zbbxcUIpVC6JCZ4Enp27BdgGRmJcrhuQuhYLli1gEXElAZPZjCk1UQJEyhYqz7M
nTvHJYdylonuCa14oNSHGgdq7Dw4PqVAK7slk0FwVF9v1xetcMPcyCR1OqF7bczw8Q5E6Uo/dUgc
XCa4p2r+ivKTb1vrowLCkUjNK0nYE/W7AEH4tTLuJlxIC1jqiiyPBnONuzfF3Ws2uHu7L9BlRr8L
/ey97CoU+sUvo3xLr8pzXErsoyVT82kuzU+Ds0gIdIWvTgMS9eDOYShVfujb6fuqyzqHBNq9vXdf
tZ0dZFG2z05sQrCIyHGNhr1sAkv0AXG1gyLagHwmAKSXL87azDUzLZBXEMxT+GutmgGUftQbdU4Q
Y3uMueOt34XXj4Do6toa5T6hlpgLmubgkcq05pS4zWEel59Fmt/0qaxyIDoHG1NvzDibFzVYfEhB
BvA7lWV/VyzGZ91pf7qKLMyKEB4QcED3B68bbCdPhYYMKQeJhwMNlZ8LJuWeVjyikHhGbO5r8Knn
12mYP2WfYqARugC6E5JjIVonmAeRDmC8DTAdLnBZdZoPdo0QWtj6Qe3avebEO6+V0WoKzSAXhNgq
xEl0m3OXLM5LAt4OJlZ0MBWINNq7USpwJjPCuUfT9MuUNNBXqa1PbvPdnm8HMJdfd0GJDZ4qVu3i
nDg57l69SPxmPRXzfVXKWC5lRrgnYtw4I5B1hCBUFbpfPRQhAsgduMuXnRWUYX7HqleyNrHocIGZ
B3BmuAMEJzmjjlsvncPUaUbvbC2nBOx49kmlX67vn7CGhPFbCLeAYOX9qKFRmW6DJzC4xeLv9t5C
SU4Jlu5eS6FB/jeUSebiYpMgHwIdnAFAE3+nNUu5KA3VsZ035Mc0+Rq4apSgDZ00qD9heHsv20rh
XcMYwP6xyLm7RtZ8MGZYBKl0X0bmjQGQAUbhP2mPmNrTn529FTR7GXhK+LgEMY4OeAObi+VLC5nS
6DbpIf0DFmsg0lm6ax+noD4ySIUiGVUVOenWGJdcOzWgHLWZFYFZ9+O9Vg9mMEJJ9271VhnJBNsu
PkO0IdMCkSFUZ/BGv7xsxlGzJrOP8Yil5U3ipbfTBKqJ2NtlY3+fTEY4jv2zxE+FNh1Nw9i2Cpo/
vpPopFYyxRoKg8WR3mRnBlqcb92bfl/uoYrpMHrGJJju9K9K7ss+pHBrQc4KBQbMU2OA9XK97lop
xWDiAZ2MbkgN/QzOlZ2zKpFkjapoX8H7CV0tPNPAf3ZpZ/bqUtW7Et0LjH6wHj1wG2/MHc7xuiVR
GoSB8H8NcedB12p3KmKKBXUDyjh3oyoj0RD7vgdAH6ipQFXH196Vepwo8iMcue80Go7aAQz/9wx8
X7OZzg8kIvbGGPdkIZVKO+ogO3BX3M8WpTfgEXlYDYBabVeW3wm9YWOM+0rFqqxJ0yFFoDfGS9n7
kPUOu1v3tLzYaKJAGxXEe+f4x/UvJjPKfbFuLnOtynEbdLTeaUV9SKmx08kquQ5EZthrBoNAoNiF
8uSlB06Vq801RTnMmZ4t76igTDDKRN6FNiAoBcIwAD7fyRgaU7eQkrDbFA1Vg+6mCpPMxu76frEv
zocoVFjZeUUZEfCDy4WMAAfqSwotPAh4JndrXj15xFB2fTXGQeL0Mly86ECBVQJ0vRiiB9Upe1Nv
0tN07TJrSlYSGMafnnnnNpLZMNn/z/6++f8BnEbB3MNymq51AqdO+3C1yUfiOhC4YGplWvXvBDk6
PaXekmIV06j5tffQj6ciBRy3t3yj+9OENtf1jySK6Vt73JWlOiB8GlW2a4Ch69q9OjmBXYN8URlP
RkL8rpW4t3gbMfiKIg0oY/jsfnWaObMqyGaMGQnH9K63VonfiZyb1WcYFSATqeaCA6B9bVJ7KhSw
1++KM/qVcpom9QOPBOhPo/+iGniZu8z5N94AvpQlHxSrDeblgSavKsUMBpE90NkJ4U8QqpGYMsBV
BDYT7gTl8zQtjduQYASoyh3+GLQ8cjvc8+k+TYnfpOCgaSQ5jOj7uK6KaUE0tRj57OXCygyss1aT
t0FlR5l2UmUEqsI1ocXD1E1QHeIJTBct752WJWTTjpFPlnu6U/byJpkwwwWbzb92uOMKYE+/Jh32
zvw+hARMIQFDEBa3ZReuURElUkJi0cYBQM8ejaDxAP/s5cYthZWQZIFBK1ODoXcAVJEMWIoC6tYC
tyRtLjU1xxscI8RT+63W+xcDbhBYSkvBVkUMqcCyMINgfXu8guEN73gTRmgtjoQ54JqEw4nuIUwe
5J1v38+RFagHWZIn/GgeaNcxEmMwWWru6C4KAmxm6Ggxgi+HnpNICZJj8YPN3Wa70e8lJTdRpPAM
5BGqCcAX2FAvPxlm+FBBoqj7Nw4ktsK6R84SXY+vwm7T1gb30YZ6dad1hA3LJ23QgIDIDdWjtQfq
4ZQfGIxd+UD821rkTrBO9YzWKGAELuixQKirVA/JJNk5obNvdo4Lf/FqmcRzO1B22rf68qLIBrFF
kHRnuwjOE3qjyGlvwxPMvbbTAzr768EJhtf6zsF0w4gnKmOLxKsj7CNGYWlHjbSgJ3QPVPtR0mOE
zxaX8E16ammELVLJnpruacZ0xSyJtmwZfIQHj8e/JrgI33qozaQ2DljSprNvFn96+brzmhjxfbIw
Hil7dQhCCLIxxuCH8SVcjlxFg8Rdr6Ws/R1Pq49eUAQl0dvKykMIDUncUBDoL0xxmUXRD5hdTlAW
qmr3TjWXO5qsZ1Qlb22qQng5vcPVZvi9s0puZtkSuUOdEc9SgXmtg4HoETiXDkMOEBohtxUGCSWH
W2gLoD3WOQRq/N0rPF8sCiAvKO93w3FSAgLKrc9KMAXtkT6nh/FURfS2vdVl2YcoMCPVBRQHiFsI
GvOj9slCTS1LmVT80dgpjHzBDsuT68f+dOcoOBXXFypwUzA9AAvC0KoMdXcZKGtbMTpQB+XgxUZY
We6m+NtgghW0+1aDqfq6LZHfbGzxpFGYX8w6uwYTVlZiHAXENlPnhco8+YULLTR3fEJo+NaMMv1O
QURDOmKBOFpFReVdl4dq7biMA9rNsTWh81L6iQwtL/xoWxNcPOm9pbLqhNXqF5+xq5Z78Omof05g
D2Tc6rbMS2RL4r5a0nYQkSyAFFmG5V4dmucukZHAiDqV223juzkDyVRMmShASIb0VY2q3YBSPcj1
ovyeqbovmU9/Ym7Q2wNtA+gQJIxxlyc7WUFTslQ+rkHE1rCKFagbOmM4QPPZXPt1txQ8lC4WyoUz
XHc00R00zgGdy3ZVp+PW0WgfapggDtdyWo8V7ZI9bbq/rhsW3EIXhrl4ZuVoRRisY69QpChGdnTV
gnWSJOFaBMJis8hQuwGEF6RBnJ2m7HWznVAtooFyPxzbffxAgvJk76rvsltI1OK5sMU+5+b1NKQ5
SElQgYAt9xEMr4glAHLHezb05kTDq/M5/9G8Qpz9QbmRvw2EO7pZKfv7xrrjTBpmpNDgybW/avMm
bqhfUsnwjcwGuzk2NhY1HiFsXOGrqac+7lBHTNFnjfXyA3ifi63kEqVYpyQjKivyQZNUxVWUy0bM
ZEvhwtZqVoqzlDay5Orecp4cPG3KUvK0kdngQpXqLeDFzQeoijUt9CXpk4E6BCRyZIVDQXl3u1su
+/vms1RkgHxHzZzcRSsAl4oTR2QCTgrNFnXBdepGefGsQzT++iEWtT8uDHOJV4pRwNqqsYl9tLwu
PzTXd3Mf3DioLjdP1TlBtoLZTtmlJr5yfrm6y0UtAP8Vd2KH2r1rjnqEHBrPjr8xRnIyHmEQ3hjj
Igjik0eaBZFKj8/q8pC6kmRZ4iQuFzUsR1HmFUKOQVd+M9NnnaCBZMmGc0Rv0IsvxX7FxkUc2ru1
sWCgpXxtv7BJVLJPjt5d8gkKJNAxkk2CyTaNCxRtBryoxpCBpdZGipOfalMGJxJmb5vvwoWIGtRC
ZUrgBKW+rw0rUEgFAfRiN+vfKiKJe1JH56KFQ8CobTrYvqyMxsU3dm/DxL7zmdQ+gcqVin6tnB1M
lIhvLi++Uub2GelIhto8lAbAUvh5mW7zZvFHKXUH82Huwbb1Dh653qMzhViFcwwpzB36eyTKlWA4
zIFx0/4JpfPqsyz3Fp5hEDTrGHvTIC7y5rAbh1QXr3KWGQ8pdaXpyVEogCRa74WNOaL1XTCMRKk6
u2qcb7O0MkPHKMi5MIbSd21TxukkOoPbH8OdwXHwPGVK1waDfgvE1nexpgVOHl2PliIjaH24wJCC
3wYzi5dH0ILy3xxXHWomNoZJh3Pvfc6T43UbonO3tcH5KcFIqTMUExaieTf1AoRdnB2umxBxajDJ
lH/Xwd1q65AmTbWgiPHGF1JD1Y/cKNHfB8I8jiFa7YxSY7m1Hsgf120LlwchbB1vGQ/M7JxpL9WW
mioxjuGkB03x6jUSRIboxOH9+Y8BfrKwtqahS5MBQ3nWSzOeK/fQN5+qRfKVROUzNjoE5h0dcP13
nMWqBq2rKbZbxmr9zyA4Kvv/8Fo3N3K2I9HKQJIDnCda3dY7LR+qFL1nWU4bUNpGrofpv3Q9tIWG
Zpns2SI82xtbPHZmAscR5ss8tHt+LgFrOA8H9XkGHXOJB2EsOVYin2ATumgIo2vxHvShtgWpkoSR
yE+PKrFOeS5J44SJ/dYEd6oMs1nzokKRACiPIQTn+gEMXOFC/RZiXUGLek/YH+0Dut4QQICinS9j
8hRe32iemehtolqBKc7L2FEqHThJa/jl8shY0Jn6hvoNuCrMJIIOpQOY6yO7CvlYNooDxBpfs1Y8
NOzqWK+DMjuU1eeuXGW5Izur/J0DQNy/FrhN1Tpv6bQFdDX0BlSbL0M4HOm+Rc1n8OPnnvr1qTpj
hA7gGXqQZpCiCw/abCDSxwg5Bry5pA5ScB3K5Bb0DvKb6i2FrL4qoInTfSbGyT7kx0xCHBMQSrSG
3xW3OqaypbYagNbq9Gy06wNoxPfeCCa3ZtgpGbQsxgb8DMr9ilyznZRI6eK7VCquLXYlsHShA6ei
wudy15AeZzEjhwfwl/gLVGC92/9EHhP1jBY0tLKrXhh5gF5n8nOqjuHwS9+10hzjG3QEgnStwrW5
sZtkbxR7QHokLiUzxD0LjCprk3jFkMiYFOe402/LfD1mtfHSJE14/SL6L7v4a1GcA6UxhrR1DxnT
8jgyFMptGv60n1dILjCZHxmHj2xlLAZukqUyd8zYK1BZ8PL5gJHkiIxAKXkGWnJe/9f/c2lcrDGW
xiRWzN7en7PzG1zoFsO0YfNljXT/gxfTxj3Y2jdrq7PESZIEk9VJnQB48qgaVeiZ9aMl6wHLNpFz
/HVKp3WyAE1tnBi4kH2nPq3r9zn97SYSOqUeNCs8dNLfo7QbWlh2WxrQxBgih/5pEBnL/PsL79IA
t2GN2cRz1pskmI3ukGXkoVxMSYLCPvFlbL40wW0VeqdmSQuY6Bt3Vy93g7nLW7q/7mgyI9wFsLRm
NbgNNirRrWhsjL1Xj7teRpAmsuLglsFglSaQXad90zhgdSaB3uWnddKOszIdcsuR1WBEX2Vrhws+
5mzEi1LADsuK9SAN5hY8W1A0hbzGvF/H/6UOwj4D/5m2NrkgNEF4Il912DQhLVpAS/doQ4LlM7kD
YzVDxBl/tZ/qcP4re5bFdEEGCxThZlu5iGRYXaZZK0zTYIzYchvQsOwzlH7myN4VxMcNGvy+v6Bz
DTaGN81dvjvUToYz9APiUqvdQwm+6n9WZiu5QoTe8ssGz7w8dlqajTmCkdsl0Thnp54o0dTbkjeU
QG8X2wdWGaCjGVUnD2JcAHQFTgUZMg3UYDp6ql88KyAhRb6FopkWZPspYMIs8dd8PupxmGC0dz9/
u76hgqoGTgUGRoFi8/Aq5Xc0LcZlgGIk+xU0UvCQa56Xz+Nf7DuOEKi1mxCMsrJZZcHrgJ1F7S2h
xtuHB6OOtJkBuEXCzkTh11CDEHoSOZGzN6Ls/kOOurXGRZmhIVNSzLCGVk6Ux/vG2fefS6iF6zur
xRBpWOHWOUgTdpEjuaiaMI4NUPrwpRs65PU6xgqrjMZ7YodddTc0IfnLDOP7NUqm24zuijF0n2Qd
HaFhE1e/a2OG7N2Mu4vmbdmgQYZsa3CfrIw0fqKk5Dwu+vyBAwmgNkiLMEPmoLt4eXMbBgEZfw2R
1gpxwLLuqf5s1b8vC2Kz7iyGE5GuAtXJZY/AJNEio0CfZ2nnG/oamMoP4soUaQTRW9cwCvE2aam+
awUvqPKivpQXASZ3bjWFHMAwJrnu3qcfKFZiQhtyLdCVe9eKBaIvGYwBJhTFuymy+ajOwJeXmXdW
SCFLhQVecGGM8/rcMialYspq3UjiZ5XCkt4ilHgT7SXrEm7dZl3snbfJ3wx1HYibtSAOB/11gt7v
QH4/G8FiHBRLAIJlLEaXFsB7EJs0HSDW2zws7pcluU0HCQyW7Qd3k16Y4K4zosRxBvq1Ao+zYzLc
p2BsrdOXNinCzr21qt8u+cMVMCEF5AGc2+LJmMii1G7W4+BM9TfLAlGyloQ1zX7/LruwwuWJdG3I
YFBY6R0atjb1UXE69InsEhF+/81iWJKy+f5eZc99UsEMDcyb/lyFCOZn9d65qZne6VFOiC82yFTw
TKhGePzbfegGpW8zGGwSqzsM7VLtHbVPo+uXo9gK8CFv8tC6y8WdwV2nakohF7UqbNwlpItslFh4
RsGU/Y8FLmPM7SmlDfMCxbTOFQi6IX4UztUkKWkKzYCi6G2AE8bY3zffZ2yBkUBFExeC7frt8sOl
RVSskkePzAjnazVA5Fmf4NbRSwbavB/an94sCQPCL7JZCOdo9px74FTGQjrNvGuaLhiprEQvyk3Q
jvi1WVzcNJXV8oaqKcF74887YzcCylsdEh2MrWCzlL7rhUvCdQAnYMTpPLq/Lzojj6sKgSCjRaiY
w7zvKlKFH3DljRX2KzYe4Mxej0EybJyd04M3ZbuYyPp9bO/fxU8M/qC8zBICPt3Rh5y6w4i25QjC
ZDV/6OJkr/avlaX6ti57CAhvUrwEQDaB/MblR1lV8LHHTg/F2dnq/TWxQQGohkP8ZehkWCOZJc4d
ICAym8kMmXh7/JwU+0V9tYZdZkpuUOHhcUCbiMsARUAenE7yRFWUEVaW5TBnYdc9FTKtOJkJ7nxm
/dIVeC0iVfMwl5UXh7Lzdl0uY1ARlMVws22Wwp1RWqjVXHhziRdpctB82vrTAEDADOhgvfO+dfLS
uNDzNha5T2RObTbOOjZvVuKoG58LoMb78WDmrj8WkrtOtove5UFKPcj0QtENkpZrGkDtPuzAOdHq
sgKP2AxU8LCVOE/8MIE6N0tWpQWigndj94vvxSfqfShDBDH9P0a4oFAQinozyxDfNBif8xGK1Jqk
KCI+Pr9ssIVuAo+b2FVi1siqzAygFIVkj71B9n01nWg2S5o0IlsgocG8MTDvoA/jPY9qXd+mEAwf
NChQVH9WehYqGXQFZhk+VvR5QBPEQg90bECmermqBiKIGgE+EPOwnRZM5dpGJtRcd63StpJrVXgf
4W5ApQVDYHjGcqmvra+OOrsQvs4zPJbZaAnZq89MTb7dyTMr4R6CsxM6CXigvHuZqx5JRl3BWVIN
rX8ZTacKNbefD+AVTR61SZHx9ojOLviC/rXHnV1tRNodazZuDfOlSB+G1AxyoADTT5psAlZsyTRN
TByBB5dPgook1sy8aZHf69ZfHgGjc9qOXxZtxghNDakUs/50/c4VOgns/WOQC7hVNg+l4cGgVRvA
OFp+kqgHJz38/6xwruhVoH1KKdqCORRXMEK8mlk0SOmVZGvhPlPWqAoZOrjFWBfnJu5OreMlQZ0M
HwgX6IdDrQOarQJtx6Q3E6VFym3Ea6BS4isrJM+VH+vvY//YWxJ1GQP9L/sdF0ePMNKuI07w4M3K
Dw10I6HSO7XfelO7v/6FWBjlEyMMveJ1j1oQSn3cM2IimmrkWV9Agap5cAnOUk92v20CA2Fg3zIx
toc+OOcEaZ9V+YhPE1SE3rca9Gl05/crPWhO6pgxQMcLRRIukJvDMCqjjg3LwKrUNzsMHy7D1+vL
EJWUUfLEED6ySNAG82nQmo+NuhZYB2JdcbIfQcMP4CyIfYvC1wLvVQ6ZFRVATUvH0IgLEnEmN3AZ
ylFvaEdg5IvASX0niRboIwLBDh3psHfv0QxmAhGsGUwTyducfRPOLS4Mc+Ehy+I2NVYYhgCfbzqP
Gvk+WKvfg8w8qT7gH9tFcv7hqKg3GCydSLPT6L5AfVniHaJbysJXw82rwsfR277cRqooEEvXM+RF
L0vQHXtIfWjn+Fnf5ZhIlD01RH5yYY37aFZd0WkgUMqlwWoE/Q87yEMlMv2x9udXc6f78otRgHlC
SNqskP9eY7N0FNhusBxG1dHZJY8K9JaRbPjWTc0GAdw32h7qS6cHBcH3wjL39Sa7q/t0xt4q1hNj
cHCcF9uUgTGERjCiaLMJZkRErhTR2S7xhh7LW9tPmQGOLnKoTE3i84JQiLD+ywify2DsGJTJMKIk
tx15UaQ8+jIDnBuuOl27ZoaBsTMf7XkNy8yOJEGK7QR3cLEIhAowjKEBxos6ATi2IkECazsw/ns2
fRs/WPA9ZV+C7VkmosO86poxzuvwam/sNoexaXr2+q8YMvaJ+0c8yXDc4s//a1GcjxWkSdXGYgpg
3afJODbGJ9f4/QLrxb5xOYSisivKgAlVebizoPuoLufS7f35u21I6kSiR+iFLe6ZlqxWTbwGtnTL
r78wBEO5B260PBmLb+9YPLc+XXcL9uuvfCh+Xii2HbtL5qIMPO3LaDlB7dzGPbaTJH6+Vv66vly3
J/pgGljEIOeAsRaQ11wGXMXUnbHtqzKALqSvGLiqXjVpC0vk6lsjXFAwKJn6ZIIRcz8cxzumGOA+
uz6jVM/CVYKwFu3g1hgXHFyq2oOlwVjXYVgGeVJur6fMmiHz0jwPKq6S6utH9hBAVs8GXSCmRy/3
cBmTQTFceIk72Hun3Hk9WKo+ULMEuOyXEc4VB0w4aXmOZWWMz8W6KVrJvgnv3o0FfvYjqecK1Ok1
ouoQxI8sIiURmsU0ZMPs8ptQFGORaEJNDxBSlkNf7lps6bmH2is8b342ix9tJ/kqwvUwVB6Yw9Cb
Bjj20oBJijb3OjxpCjOyb8oIml0Y6QUhReDtKzDgEEdyLQnzia1FzhEcxabOhOfaWxc8ftU/rwcU
K76YSQheRVisb13pWJrobG1tcn7hpc6QZy5s6o80yg7t3njy7vDoCVnGJBudF10jbKodTwNgf23e
RSC4vCztyMK7A3hGulNL6IG+zNPh+oESucbWDBeUslgpvayGrzdz4ivJnSLVqxZ+qq0JLiSx0TN3
IDBBb6yXNWQasSwsmSB0AUlXGiUfqdCD3u3X3nFxacqBUnJntih6no1Plip58wr9fWuAS1rU1Wi1
yYEBc8+mSuYDGIWVz+pOD5dDf6ioJFdnx4e/qbbm2M2yKcnNzqBTBe26YEWnthotvxgSSHGTcIDE
jfbjukdIF8clMIlJ3RgEH+xodZBz/D/SrrS3bhzZ/iIBkqj1q6Sru3hN7DjLFyGJE+37zl//Dt1I
W5dmX078MA3MDAx0XVLFYrHq1DmY6H5I922ghjjJP2RQD5n/cZFDn4EmTiwszTafC7DvucWPy8uR
GeACxTBUoOLVsZrOzTyleu7yn5cNiK514mImBg9SkwGAzj8OGM2LyoSsg9/2PwY3zNJjZUj8TWaC
+/6xi+q8XTAT1bM1H00XHPHz8+Vl/McxfV0H99kLq1qzFpxzUJw0fy6B4vV7BxAj0yc9oPILomqz
b+0PEquiMGegtocaAuMPNLn407WuPY7sJsyfZpD+FqFyC+aCCHhyUGdDdeHgfEx245Uh6a8K082t
XS4o9Vrs2EOKniGgPngP7FnPMDrMX6w7PRwQlGR+LtzerUEuJiVTVzVNxpqUoJAHKAak6y9P4MWf
R9+cAfwb/gdtVpHnbK1yzmmt4LDpC1jVbMWP1uqo5LuSFpL4JAwZWzOcgxoZsjWb9XOsGxqymzHd
59dsTUxvVgaWklrjPLU0S61yI/iM+8CIolE9/cGYWIpbJ1wP9OtlDxXFD1Tq4JzAwWP2h3NQPClN
fW2xg0aVekp2o8iAMqLgDlJQRuiNRr/N12GyLGlKXcdqCrp4S1SERqd5CSTNV7XFyJTkmAuXs7HG
fSnFHEy177CcgUBkooxHGsyT/fcEeCAChW4ZqnTIX4DgPY+Js0PNqCkAL5q09naaMOSpuNHT5Q/D
Ajd/KW5tcCuhaVvnnQkbttmGmEl8yJb8czlmKHXOu2p29rqaDsFlm2LXA5EgwKzoSICq6XxhY7QM
Slogk2YIwXIHXVxAp04G8LM1rv5OxromjI6v5ixuRtyoaOIYI8xBNQ06Told30I9b0YTuFkPk55/
u7w8oXOArJxB6sB6Rbig2CaTRTo2SJfG6vVM6MGMVkmoEHr7xgQXBvE4QVVuYjn0BPBxFn2jWvsI
qNtdVLWhQwdJeiuMfxtznCOuaZJDsxnm1H5BgdrWAelu6rtYU2QxULZ3nDuqTVq7mYv6wUr2BUoI
VuZ6l7+O+AqByxObzfoAgHLufCpZIlPNYcJNPCv3XkqaJyhQevroqV+SA2M10SUXpXADDfTfCM4y
lH258JdUijXSFRtoIzq1pPUKUqMpLGPaEboFAixKjay1w3teCXHtpgMHuU8g4V2vx4UcafYQx0+r
KWk5i29+C2xFkHcCTIxwR7jPBqPtXVTWoay9evRa80CGEYwhUAH/2xyQqGEBINe/Ft8UmibVXFcK
KE/0qf+tdYEWIM3Zud+naAcNVCgZlQ/o3r4DHXtmlftycMge4CVsaTwU3jg+Gsn+Pf4IyUBkbSjI
aPxOqnOZF5MLSE+7o6EOUvx1/pCCRNEIuz3Avhi8r3upjJ/wnL0a5TdzpNrqdsaECNxgFM75bS6y
Y8ai3JuLZWOB2zhFn5IK+Cd2RWIOtsfUpvM4A4CO/j0L8kskiVHCIA/MCCMhJUAacw7pjFECmQF0
G6vorqoOJDpaw5dVpm0lPGGvVvgh6XZAKExXrEop6y9ODNZLkxb6LTiT9D21x+Kxd9b2k8RDxFv5
79L4kieYfbvWsIAsAtXIbnnGUUNmaO61XTp6yjvUEjAjDdAFNFAAb0db8jw+jiuB0EaH/hyUBrT7
HvQfnlXM2XVF9a+XFyaKitBkhT4c/gOYKdvszYO8iccINQbku06aJHsCvP4uy6J+P0yujFRHaApq
QtCjw8ogKHRuaphRqhwGCP8SNALX/djcrKbkIIscEE8v0I2BNRtJG/sJm9VMNMfWRQRF1Q4iL+2n
uQJDVhvkMsob4VKg4AcUDnQm3kwFTD3plMwA2mdMkKnHIXo/KOBK0kKxEYzMGyZ6Ym8od+kA6XSq
wAkm564wvkfL52KWHFjmR3yAwIsV2HMdHwTJ9Pl+ZebiTPoIfE/Xu17R3yjl/ageuhZKK9ljPCfB
PGvhZYd7OZ6XbLJvuPlGY1ZCoUTDNwLlxw40Z16hJMcGcyJd+j1379DA8zQ3hsyfLAUV7udmsZz/
5ZmCqR8T/tdEp9i4zdsbQ+YXLG+5tDY+r6nKrgYzewqc4102Pbrmx14loDy40tKnXiaNI/x4oEh8
4ePVES3ON7JMuzWJC6xH33dQvgfx3d7dD3sZr5ho24BXQZ8HSrMCFXK7bd0uR+TLESXy7nlYsr1F
P172CsFdyATcMJPmEDRieYRHqumgIcrjDLp0raev900tiQwCJjYM8WwscG6nWjH6zgks5OuuOZYv
KIum3IFvMchDKUEtu1k5R7Agx8QEHRDI34y2DbMKPx9mJEo3WtiENVDcNdSAWRFBRnch+D4A9zhs
lg/E8DofVtcOsxUteL/9mgCGbDSYt9hrsrqtwAgDAGJaDxk0VEXfXkhOtGp4xtPobpozzySn0X68
7AOiVwFMYHAMiiK4jPjoDbqHGeTvoCiY/fSWQJAGLBf61+gwBu3zAOIOOTeA6BUMHhfEVygjgbef
l2S1rdlpQCjDUuj+iVWI41P1w/ZZhVgfpHobzMc4r3DYnA/BLahhmVw+Zo5Jm1PCOBia4attAZxi
Yd5HL0KazB8ub6bog8EfQDwIfom3yE2zB1MNHv6ZX6efB80z+9+2DNQtWo2Fr4XpOJC6vAE1Dqnm
ZumkZj629jnu6lvF7SafTvpnPCAlSFRBfABfO0OFgqcIYDO23M2lUUSqWcUWllOqAHPjVtdk1EWC
aAoLUCRyEKBRMOC+zWxUSZ0WKopXR0DHD8OBJXeqdDJT9F0QEjDfDpQrhjO5hdClmDuUzyqwAGQe
E1Vc6KOihn//8bdGuFhXalmaxoyC29ZpOOkDYK2DD22U/6cZ7gJy2h6AORuv+L4i19byidruTZVK
XrnCDWMiTrbtgF6Hf7aDA9RZILAIXsl49OJ1v4K5JPn7gTjH3thgyf/Gu1K85NPBBmG0C35opb9a
ExWCF6Z3+auIzsvWClcwUrvFdUrG5EeGo2mkXqVBatwGcgu1iMuWRHuGHFhnjzBw5/DMwubal2MB
yVrfVH/3c+a39HbuHt5hA4IGNt4OOv7hUh2LWnqvUTYOH7m7CmoaSTt4VS6DfgojtAN8JB4NSA7e
lG1QxpvrtQdRWzO+8DKPe2WHBi/Za34Se3ko43NiTsvH6K09zheW0XJGxy0aX4+hg5Zknq7eKvWp
yR9Q+H7Pd3Iwjk4AwwWegbtVCwxDpWrFCDppt8Mg1g9G3O1ashHZl0yQXxMD6EKTBlcccBPn/g0R
hSnvJxxU4wMYYdVdDhAhCXvWtQGtNjSm6O/5GvpFoXm87CSiEhXuB3AmAG4KAgydCxGDs2K4YISO
R78Dk0EKiCmaHIC3BrNyilEvkqdDgpsC6A2wHEGLHNcFPzhZJhnJUJEFv9A47CEkG9SNI1mV4Hid
meBcpNTTfpodMLlYdfFIcwzrVlVOvKVo3zFDi3csEmLcRy4o7bkPF890oQNdIV+aKL8yot6mEeZJ
MOT2RfKdRLuGMiIav6hYAmDDxSZMsipDBto00JR0egBSj/FrrKkPWbEmV/UKxaS2t4ZgdI3l1uls
6xSZ9nifj8twW+Tmc4K+7mGk0fTx8s8SbfT2V7FfvYnLGqkbZZhZjFF29fS1H0529OvvTQBaDik7
5OuWzU9mtKrW0RSwb3+OF5DWaqdlco9j0n2/bEYgngqSC8hSQoNIBwCC122q7MVZULZi9aP+ybr5
h7QEpBu+fkwKb9qpQecbP97xdkOyhKvzhcIAj5HzDazV1XHnaM2AeUXjSn1oZpxAR3JDi0I0rCCP
Bu8QiL34nCZaaIJZJFgZxuIZEN9dnxtBXifhbJt7JakhitBQb4q7T1US3QxqcqUgtl7e4LcOjCEl
ZNUMu8BGHbhQ2ihKjCQB6Vtb4nKYv42OxMBbXzwzwFcdswrkPWVso2zR7kxyQ9Z9M/91kgsTePy+
9E/BoMGtIRlKkFxMI+5r5TNZKi9aJedJtEmYL2a8L/D0N3MUdjubelUrtb+q2XEkxqeslVVA3l6f
YLXbmOBSz2iZUJbQYMJSa/R2tMY9arNZZJjpMtrRczuFXLmJjA+N7cz5BQerGIoDkwybYuU1Z4x5
ajttVlKwc5heq+6WDvpu5heXBtXa4v/dV6WMUE/kD5j/xXPOBQb2TYk2K1GZc2OYzKN7vfvWgUMj
HROJ0wmqFmxh/1rhCYHa1Zr01sXIZ0OfHQDa8vRLTW8z+sMdqEcGA5LWMwpnXxAn/csH6m22Csto
fLPCMIB7fGDU80QtwXeC91B3UJ2do9+64JOvJB75tmB2boVzF7AaAIsY49ja3QnsOL0G/oZMDZwc
hG/FT/K+r7ZZFRcQm4m0pHawqiWrGdOukkTeSiTBXnjMNka41Bh1e1rmFK6xghd67SevjSUwKtnH
4SJFZ1EntXoUs1Z6E+tXaYHmqeuvjayDJHRylHx01KBRSeCDXmyvKivN1fg8N5l5F1vPtiFDEIt2
y0a71EXwRtOcV5mwzUixzKLP/B6kZSBkqsJ4pyoAVXpzkGZQzY18SW1EZlE/vxXzuFdXbagqv26e
y/5kleHloyOKgRBIh7Q9yK0wxso5GXGTsV10rGjKMwyD+I31oah+kXqfLZIbQ/R9tpY4T3PjhFh9
gQnS1l4KL6uhIlCZzo6AN+vvl+QQRmCHJgEyRG5Ja0GcXuuh/6FCr8ZID5pTBOPg9/XqzVUtMSaK
5ltj3KpoBuBAYeIezI7DkaAUQ0+sEdtLDpGgm43eKMFkM/wbaGheimocbBAvAQntW2SqZ5Sdl69x
hXu36FztehrtGeojkDpMOqMKOqg8eam15H7V2hi4WXMLzKmLHYLCrL9J7U7GBSJy0u2P4454NEBN
NCULjgW4WQ3MWSzz7vI3FQQRTdOQ96LaitPHz/kr9tCQJdExvZsU5al129R36ijxUQ2hJ1VpDcmN
InDWM3tsxZtsHq2yOtGZlh+uTuQ2H0DC5sWDJBkVnD0YsdD8QzaIfIAr43UtxQxvgrOd0qT7UY4z
VDfVsQLV5jhdlahYXcWGlXy6vJOCb3VmlAsoDXCz1QyqNz+zP8X05Fa/3/HvN2wVSCaUJt8wUEG7
tIUODpC/6kyTQ9dYdpDOnWziRnAXgyAMCpXghkIngSeITxZIISp9VPlzPTVeRNJfY0w+lIr7ZLSq
F+t5OBkyeJ3oDJ4Z5c76ai+5nteQU4pupmtcxt09091ygGIx92rQfGc5j7Q9I/J8ABRBeQIcEHaU
O1sGkFug00Z9tEWbGHoDbn9rOg+1LnF4QfUD0DrQC0DIDDm9a3N20sJoXFsBxSjD2E13zV0SaqXX
7Ppj+RNzYGEkG6QUPDOxJjxjmRAoOuwq944nzYoyQgz9SgCr2CxsfUrw1fZzBQ4UihkFUHXvktNE
vFbWhhLs6Zll7nQ3uZtFToU6nbHeaWYSND0NMKh4nFzZU09QzjpfJAs0m0CCzbatBNUKzCwsQeKv
SBsARMIQbpqBBRlcSYOPDoEbDF8vH0PBQxeGUSVBVgx4PJi7zw0nwFrXU+ky/UQ2HY6xPuDJ2yOj
JZ49GQxPcBxhzICQtIPrCWC5c2NzgiGd2DQr37Z+VvNpBZfRMvggdfAso4fUiCRpFURnUBC6uA9M
CwCel+bcZlNnpbGcbAF79WrMH5R5vlHd6S6au71kDxnQk3uqoVuE0XbdfJGx5pblgI9FixfUpoF8
8pb+cbAybyanZHnOm8dRDbPljpEkX7YquBXwKMW4LLYSaRnhbgXaQ3FyzuvGb/vyuqiV0Oqa0DDS
Y7RAZW0coXl52aBwN/FwwuSOgxcOnzhTKGFM7YjKFbSRPhm94etF0nuVLiMWETC5gokKrVKU7iBs
Dc3Lcy8ZptGc45IwNYx5p9/2u3lngzZM2Y1f7dsWjdo9eVK9NOgP0af5IDv0AkVRZp715NBsVC2+
C9As2Yp7g52ID1kEp/SK+8QnV/EpeiQfjKP54Z+hsvlgHouT85P4xuHva1znP4ELsl2dDn0PmRp/
cXIvKW8gKe85Mh4NYWDdLJQXUKwjI+saistRPTHWWPWmuaOHJICKdKDWGO8ovmV75SgbEBC5kY4i
to4UFdc+PxjvKEaeob6MpFOz93HaeSbtd1ZsSo7HCzKfP5RbO/yhVMciAZoKooan/rv5czxpD0OA
25iF1SRwfQzjQ0Es9YYnNHj9/hGfGliGWDoQIV4vZFEx3vlCfHjuzZnRTVVtWZmfINGOK+qP6+KR
SVYukpnhkg53xVqhXZz5JCHaEwoC80elxzvOqxZXFgmElwZKvv+uifPPuKGLlvbIcP5hOX7putwa
ARsnVYJ3ZKLAFvwxBmqj8w3Mu0yLFSaoGI8f1ejXkj1fjmvi1RhQTWJSLgCNsTRgc02s1B6mxoqZ
OCsJy1MWNlf0luUWbFS1fZf/b6xxz05HU6KCsqRisg+qfrXWd6WMa150NaBwCEgLVEottD7OF4QJ
9mguRwTQ0TT9LrGDvIlBSmZ7S/NUyMpdonqeDjgE2tj4L2hyc1mSo6aWBeGPCtJxCNe7dq/eszy3
DOXDRUIn35hif998qbE3c2vWWTqv114/30VpA8bC4D3+sLHC+cMMRrVOadCejwsknPUtOUQB/Tj9
1sMygHvvJeZki+K+VlZYaL0lOEzJcQp03w7T3XIowNMzoCNM/fY5OekyshyhTSgqAFLKcnhescSp
knXQYohArtmBgk2bZV9SLD/78G8i8MYIF5L6tVJMi8LI7Lt3gPMF7U0OQB9GwH3wpZ4g3i6J+cKT
zPRvQIDGWOReRGg3/mEUDTXXkZ2tcN1pQbozY4/uxyA5qFeulKJC9DxgxWQ8zA3WieYyMNeKKa1m
ZGCmW37OuuyQalblpVr8bBcy4Kzwst4a4/J0Ix2HxtUhXDuExp7xpAAdecP6zobnePQJeBiMasvm
IkVuQjQAqZnEDmCMnGvqNJ+yfIHmYDTrAbGG6zm+7qSUoKI3Jdpcr2Y4R0EL1irSFieg32lhWe/G
/XAAnjrI79v7LvcaqVSebF3c/bWA3VLL17717ehusR+LalcnkoeVyPk3a+InISZzwruqhd5Hqp7G
7HpQPl4OG2zr+cO1/fdzzpdV/erkGvYMyCukUZnvLiDWasjXrkn3TZS+J0pt7XH+p5ax0TZJzg7z
jKNVBJV1gxPtm7ctxo8HnzahvexlJ1ryoQwuiTOWGjQ6pEWcIvpNYrSP/WjeOnDEy5spDhyvHsiP
iXeFoUdDxWSh/SkwfMxUf3KOqW8jockTKWZS9u3YqjdhKk7NdMpSrCrNjlb8K7PILhoR/8fIbxfZ
/SLbQu4265xUz7oEJe4I9W0yLl5M+nBOWtmtyT7FJYfkYgVEeuqinAAyUk/poTeDJA2ZdgmrXDiQ
xIv86kb2VPuPzwYYDoq9gMW8mWQ1Z1WLOkRglrlVQb3vDvpjt1sBgFaOurQSJd7KV3Pcd6tHrU/N
hgV8MIe2eEmwGGyqvoG2DhNmx5TYB+M9VzXDvP5ZI/f9nCibWkRHMP62hxHvQHuE5Hz0vuONAWeG
qkCVjT/edUKB40Okr6yDftJ36Q7Tfm6gPxp3/bWyH/w0cIN6d/nYiffz1Sh3uoFfNwfLQoLg5mFD
r8vohkyS2vl/uMirDRanN2etGRymiIQ4iaN2asLl0IdjwMb6crCLycKVqPSLm+zVGuchQ6Pmzqoh
dZwB2gh6urOADUv3oM5ovldPFYi8AybfLJsDZffV27P3apbzkXEyBjpnmCasnPow5v3VbDreanw1
+vIA/4GSiOk7aKJd/nziK+7VKnfiNSMlXacg2xrpwR1/W8vT/+/fz6UFtqGMcZnh4Vens58U0I+w
JRRqbF8u7RuXB1jEnOhsVvD6wr0dtCgGMWZ5JAkEJNy6WiX7JRgGQEr66h08a5BjZrWSUSDSWHpK
j0WwfCa2hzaYr+z1gzJgakOWwQlXyF7+OjJ9TAlze1jXo1k0FaI/umA3sdFfVbqxc2kxeEZhHi5/
L6EXbmxxu1lGrTJHDS6yGqWXX+Na2B5y5CnU06oOSlsBCr2Y+g/5qNiNp7YGke0vC1JvPue/P4Dw
lYJMUcEh7cAhi2uMwxziU7Nz7mZcQMkOw4Cyx4bwwttY4zKwxHb7uO7xNftd8Yh8PFiunEdWS0Id
6cN8JeXgY5/q0uq4EF2ZpLIxiIqC7271MdfhxR/Za1vxIU2mNp6GtyIbkc6h2n5Pny9/WnGKzuQB
0K1Dc5nXnwU994RRAogSRb/+qOs6RyuB60Kc7CD3W2Fs2djjNlcj6zwVPa5aXfuQFz+I9deT8ziK
m38/t5l4cJdak+K+SwlYrsixUzpPTx8v7xqL9m++GEFFCQX6Fx0C/H1z99BySGk5wwhIXa6mRPvu
9uSzubSzd9mO+OtsDHEXaY1s0swjuMafely6SwILkGR3X+zSUJGky8KPszHH/r5ZV2T2kYoGdOMD
ifmktyQCI4rpSk6zbPPY3zdGNCO2XVA3oadYBWn83EeuP6x1eHnnhJn4ZiUsfG6M1NSCXgjFF+qN
DBlW7vxKyurb3Fqmp5Ky81yn/n3ZovRbcbdmu6A9M+Zo0ZjNTQNWPMDHGb3gkp0KKHGB3zcNNBm/
vuyDcbeA3UPaLE9YXcT4VEaYR/16eVHib+UyoCryR0DrzreRLIuVlg4cota/reP6fVg7f17jp8tW
2Md4c5zAw8nQQQQFF85KbuQzxXQBRs2G67T9nmD3xj7a14UWXDYkXM7GEBcckt6Zl8bG+6xmZQ81
fnLt9aS12efLZl46ZpcWxB1bY7VrvNSZ4u2J8dUsB7pvj8YBddt3BQhg3lSGECAYjj//QDRSFdsA
7yduxvxW39FDvG+v2X2Ro6IpsybePmhGAHOPN7XDbZ9u0aJDo5kxdJ7a5bToH1rt0+Wtk5ngdg7g
0nZWFgSHLncOSpEc8zi6onl3vGxGfFjRCPyzFC7SYRLQQj0RPc9+N9R3w+gzLrLhYDws7oPygZGu
mRLsoGxl7O+biIQSS5tRB/Mz/WwdbSPvPMf6rU+ZJPOVroyLfOqUmn3b5rlPtGsjAayC+Z/x7FoI
tvvIY5LLslxUXMPc7CYX+sbWAT3iAn9n11T+scQrs/uhgIsEYkDeVKCQOd+leB5R2fCgeLWQRgf9
KVShoIhwvqsx7XVbqWF5CLSwBU1j5TnBBADJGjQxWsnI/GWrFUarjUku5pKhdiMlhknU4CsP8jZB
mte2Rx3VN9ta5qhCt9lY43LvDoF0oA0cVbFRHbbDLIiO1QOmo7zEDKmvB8Yh2clSYMkSeSR3MzaY
mVEgQ171w0OtwYPs4VEb80+1bcqAjcLs93WBPBWhTnvDyRj6AHAA9YYxUEdB8SN7MkIGBdjV4AsK
YsjMyxXFhA0uNG9NEL1CSQM4vHPnqdpGnSeW6P8ZfO/DAT2MGgUEWUVLeFFvTHHxZgGQhSYm8pEC
I/iZp2YNmAe1qJJQiYlvno0dLsoQLXWosqB7hvn0MFcMLx8/1tlVunRgncPxcL8kdhE49Kcknord
9HUruahTlBn+GXGzQh2iunZO3V0SLDgU+/hxDOcg8jIvvZNDyMRmAYcFEgjgUH6ALk1mx1pdlGWM
b2V9pfuWH1+RQ/wrJQxDRiE+5Q17yCvLrl1207254CHi8McudxM2ettGKN1hcsT2q6NRnpiUoxVA
v8bem9rxf5DfYL54ySLnq7Vi541ToGaiqIFxyg+tX+J/+z/XIvyHqkFW8hJ77OsSOY8F21NfqQ08
NlPLT04BUK+TzpLDL44zrzY4b9Wc1SJJibZvi26QqTiBaSlene6q4X1xFCNJOOfwFQAcz8+60qBl
3rMSQv97CdJDl3r6rscbG0j0wmtQFjqVwfpZNqAr9M8XUJylgl+DjzB2mrkga8cC63Kf4DGtXJMm
lBw9lh2/8QxGvYTBHkLcN73REZrtRQWOmrncMW4V8FBgWh+F67AMR9V7l1+4yDdBOs6EBTnXz2P8
qTKRcbqQFUnmbw39cHlBwj1zGZACs4fg7edgIVVlKFah4kzXlgORZGs3GeoXeyr2/z8z3KODOApp
lx5Pm2jFYLabnsa+39uYUPp7MwYQii94Nx3tjHO/I3Ftqgnw0L62ZLjgriq18uz072dvwWCK0WwL
0kM2XIA7rFXfTgld69oH2y0YiR5r45nIKDSE1yWTktVeENdvtCQHWipFTeBo3bA3TiSIT87jmIfu
vg6KX7IsS+QFwAVj5gHgKqaZfb5vuVYuFQBVLWqO1zkGJEdy3YBG7fLHEcW4rREulYs6d4pzp8K2
EfcJ+/dhsWVEYjIT3PevdFQ6WmPGk7O0b0263KuxrEMniqJMbYrFUVCCqNzHL5Oqo2aMVazakYy7
dT6O0eBhCPvyZom+yNYM+/vmAZMm5bIq6goUIcgTsuixBvtRmUmimcwIW+vGSJPUdV/GOPxONgSZ
5vooxV7PTXS8vBbhu2G7GM69HHMkdNVRGlL32SO5Ztz4RuDcOV52UIGQliXUsmVxjmb2idPFBL0+
TfttTr4BJatuDC6vSeYGnKfZakKy3oQbKM2dsmLynljeZH6m7vNlOyKP3mwdDxeGNDvif0Ebv2mm
3gOBrB0YmHyXxE1hf29rhovPNe7ORh9wYecZUKyqn1+lO2VndafyWBzAdLm7vCrJ7r38nI3jTYXW
z3GO3WugOA7OXysgc7R3CMAXZJJJqMvcj88LojYr+r6Dm2ujx17o0MjybTs0PFa6qUNQ+cgKosL1
YfCHMK5GvHg479BLtXTmDjeErp1K+75s8XSdv4+1bBRX6B2vdvh+grXEbapEtPW7tfupmVPmaUUs
8XR2OPmMx9zY4FxDq/WCThRryXswJ9qalwE8vhYfwbUzNZIXlXjfDBNEYkwDkR+/aam7UK1vkY1U
V8b6PddjqJzfR00tWZN430CEg0QOQyG8R4zZBKylhmGCIYtcT62ocZ1HdSyLe+KtezXDfsbGzSHA
ulRDheWYiTfgVCmeeV381Lx4R6hnAe7QQWZKu5Gzl4n38dUwd3uUdKZFUih45vfRl4QYT0YZu16i
rY8VWQ6Xz7Iw2oL/7c9est+yWWRtNBMtGE+Gs5oJVrreUL0edxmoVyUJhEDsDpRlG1P8PeKqgzbO
cMUpHIL1Caqs0C4K6Y/h0EISB0XfO6QvX8owDois9i8OIuAJZMN2lm3wMH9LMeKJjC74ak5LyChz
o0AHtmkM6O5FAGB/eVeFHroxx506ddLMuM7x5tWGx3jFcEEijfkyE9zbQk2sVS1iguf8XjF2um/4
4OJfvCSIFTQkISA8BdVeJjUgvmkAhMREiItpLB4MaehxzWDQwKLt+9+sDsxGJSbMaqHBnIbvSgU2
1rhUwO4dquoLHu+kGm9Nu75bitj0VjsOL3+u/1gWk20FEyZ7fp6fAnXWU6suceKGsDnqu/ikHy2o
dP4zDPGe+haSdBBjYJAIkHHuerHzJNJHDedAU8i3ajHvMlOKsmA/+E3Yf7XBXy12ryWGAoiBbz8A
4ZkDSh3vXNR5bBuSFznq2rKnrnBgabMqvv2lNd1CMWjKUD/Vcbkuv6ug207C6kr/OjYYp8MIqNc+
kF0eZvvkWtrdE35CEFJhNh98griDuOgSNYvbaWWEJmKo/obY6mnw2i/lccBqo4+yF5fo8Fk6I07F
RB0I5rjzPQGt3iukxzOiAU9wY0KUSpeBtphz859wa4M74DHJR2oueu4XAE4dLb/+Fu2ZlAhq6P76
BWUYRvbd7KdPbqBJrj7RpbA1zR0HN9GMKKVYHsnrU08mcCCPUCS3AsmxY+WJS0tk27y5fPJRn5s6
iiGsDinAAhpOmGrbsW6cLGMVLgjnDfoAmP/Bw//cUOqgNpL3DpAbPaRVk8azVIBHFlkJS3jNgDka
k/QmgTk+jljUMAsIM7NDwODpvU+vMDF7tUBkDmj/1ntPgNza4zZw1RsUBNCnBfJ4frZSF+gmTHOp
WiMpPgr9fbMuLiOJQOWhdAR2KsPZZXl8oK0kd2RB740rbCxweciqKFWfMyFaALnR15gOHTICXUrT
KVsIFyVq1c5VGmNKdWzbu8kgT+sgA4YIaz/bj8LdWgpUB1xHhxMU14DF+v1+gvBffszwEpON9gt7
GFtb3F1CjRXzsTESjQWUJBStxHFCs0uH/NpVTB4GA2Q40H+23sG5/UKR/sfR+YdtYi9lMcwo1aiT
/bisLlqJ1uCvTiPpBAvhgqx6isk9DEqCZu385Cou5AiUbsWUwgNT3xqagClv4SlDkOMUEBRxg47I
3tOi29PCOAsBSRIYcHXO6OQqY55q6LOZ1V20h1w4RiUhhWEnsAnieXRnZV0SoV9uLHLubyQ6yBkW
VvrS8hBvqI+l0bwnqG9McK6v9+1MdWNCdzBeDsP0yzKv10pWwhM7pIGCJ5iFwF7Nl7wjp5+jhLAe
rPYLCibLbKLGek/0Ncja0DWhCVPf164sf2P37ZvosbHKXVhr5o6FaoAru7pmIJLo2AYjeqHDXt6d
ZF/ijSkTRJSqARwg5ETPHXKNkrSoZhZBzKuSnrqGePESojYqcULhlbWxw/mgnVtqqpYIuSDFg5Ti
0n4xDAtKd6p/+RKW2eE8b3Takeopti7Tf49mEK+dVyuS60NsAxxQlgEBVmQW53uWtS2IOVqsJXXt
r0VHRz9O87tkniR+ILYDcCYoYiCswMseaGteOSBjxGMWOVNCIGFHfTP/cXnD2I994wAWwzADQwS0
F+drmtuvaz/DyICibtLd9dG3eD459U5p3oHPxG79a4lztUWvB8ulqLNBHtID6ssznE9zIdNPF27a
xgr7+yYJqyc0c1oF1xVVQk39Se0v/foOrOR2IZyP1a4+DEMHnI2ZT14ES0DmX/4o4vR/swrOxaJy
dIEowSrMDiXQJfinBLqop/q4Htmb47I9YbzGiAg05NBMwsV0vmlFiUkRYzDB3BOvsVcPKmifDXV3
2ch/LAolLsjUoUTDN8TKUQPj2NjlfvNlCOpbKED6k1eBW3xXBnIBSLFj/7H2ZsZcmbvWsSY0LeyS
+OqYgj7nd6+4fqfeWIYEeiV2uldb3P6NSzPmcwLXzlNgtfNsoUE2Kd8AQbMkmyj+Uq+W9PMvBTDL
lKngUvOz8puJ+Qmtk2Su4nwPAKZ/vhIYn88ttCbYtdYKVYrINO67tD4u2XhtN004dSjDaGsQJRMS
Z+if0flT3MpkmIULRDaG/4DOEQWuc/MTIE/JzPqZo3OVmx8XW3J4hfM8TBHnjwHuWw1GMTvQfwJZ
YIVRcJbSJhAwQhfopQzqoE6y4pUtndoQusjGLPfh5jK1h3XEh4soKQ+pmta3bQX6oymxdYmPCE05
TPUeqH5M0HFbWK9TNgwzUqOs1mZv1cfrBfBaLSey0o/IEDIjUNMBDgDNTvb3Tazt28zMlg6u0ibp
LfpqkGasuxC41HfcHKA+AJ8fUytBxfPcjrEYnZbYKF1rU/UZgMA7zQKPoMvakJdDlMj5toa4t447
WfZSo1fip3p5nTfq1RK9p2W7NcE9ccwpAVN26qC7DVLCKH7QRurF9KOdSPJj4VMDuGpgo5D5o/vD
GeqKGuVvA43H5GjR4z/wEFQETdT6q2rHcHXyvF+UTUJKBlVpjEe4eOKcf6g1ozWaxTrOlgFFh7Tf
AxuaeWWkH2hZSwm22JHhUxfbxhAUBvVVGziYc2tpl7mDhRKBP8VBCc0Xxsl5oipmCrz6qN2oB1md
THiD2ZDfAxEHYXSjnMPnC2CosTK9VAVRmkbhPd8rC17DK3ixh1+ya1m4nRtzXKKRjYgXS4UiZBOt
90kR+xVVj+q8Xju5JcmbpUvjPp2Wx7lS93CXwj7880icPPMbMJhMaTUNZQXW/7AHpk4XZRLkA9za
ppTMy5L30ANaPeKiFcqqJPVP6FCx0XMY3F8+2lKD3AILFEsqjaTomfx2vzQh/Vy4aPtnH6vdfHAP
tayrJ4yNILj7sz4ulIBbjuSE5aFJpXq1BRWBMdqnyd/Lu7LRiVcz3ClP0ASgJMeJ0yCfE03Xo/u8
5JBGu43zx8sbKFmQy90q/0fadS3JjSPbL2IEPYlXujLtW2ojvTBaLYnee379PWjtjlgo3MJKsw87
EzERnQUwkUhknjynMZMymVfExtZ8nJUnVb5fhy+XTdAfyx5oTKJB3gYXCsa/mQNt11MLXQu5ouxV
hwaT37/EbUSKZNxX/dYOc4wTcJvXsAU2mOY+lJ9MzPJ2NWjAG+gKN/daeD0jXZxFq+N64NYs4/IN
GSul1bA8SqxPRbttb6U1YvB8iB/2vM+1Nca4ez93lhp2yKNiXC1DUt+mUXGoskhwNXNrxNA9QSwE
7S5ekExeM5K4KocM0lTaJ3OX7ZOj7ZnX1lcwwmCSInU1gRdy07etPSY9rduSFFGMIvsYyAj51r46
KleR3zvS1wbSZbGPt7+o3s6dctgaZRxzWKI2jUYE4o+ccfYkBzlj7uHmceriP81z4AnFvXO+z2y2
l3HVXqmnYQEzvavdUco8Ohs6BNX1L+Dv3+Rz22UyDjrHSj8NCZbZFD8kw5+TF7s7XD7i3OeFDYUJ
1EAh6Iie6+ml3ZMVHIcd+kCrvbOP2l7Cp7OK3Yo34CK+sOkvPosoG2vMhwtbvSjGMm3QwVACHZ8s
9No9/f/32Z08xVf3w9UsiGL0b57bhLAVaItMKHszJ6IZDYsALdm4komea/Nq5cfLe8hf1G8DzBaq
OigEFahqu0ohO3n2eSY4Z5knq4JvxV0INCps8ARB04idvSYkjowwHtA3I0P8aA8gumuVKN1fXg29
CM+2a2OFeY/p2C5zwSCb285pkIS3ZH62lm+q9JXk7+iiCDJ8vv9BqxaAXBMAU1ZKT5ujXNPnCWgo
NOmsqxQN/xzYK/m6CP6G8tHemGKOkzWQuK8nmnFMTyGZna4/xKPA2fgBYmOEifNGaSZab2I9zaK9
FFJ6T3FrthHfpK3qFnX9U66LvUnyN9mKvb6YH8gkifAonLsGyq+An6KqA/UkltInUUm1TBLgKJr+
bmhPtCY+Ce4ZkQnmIBtJ2lZ5teBlNqLZbvfzEZo/uywkojSRawgjJciq0KWR2V54vEBieyBJjrEy
SfH6Q7cjPhW3jV16pS17218eImE6LLLKxAxQjUtDKpU5ZjyeJSIFlRWY2SLYQ+oKzEmjRDD/LI2J
G5leSGs0wkgtp49NMgZJkbqRHmAKyzF7UauLuyRKPoPZHJSlWC5+s1jWbp4x9Ti+mkfd1fbm5Exf
ssohD4rbOpmX31jfSxGQiBOzMNKF2IsgC02mMz2QKhzHaK0g707Um37F9JFRCIp9vJf1x2AHRIRA
R0/ONBhlu2lDmyAb+CS7lPUj84Ej/2bs6tvW0a+WK9G7k7uV4AT+r0HGOxq0JtM1wlAeFXvTaGlO
Qr4vQmjwrUBnmU6r4EnGBOKhaNM2wtXiSngAZj+jR4rBoplV967fxY8aWLlFjzLOTYad/G2SWVgX
LkkXl0YDAtU7u/qWVZ+X7KslC+nbqWefef7GDuP5lQXyzFStUefz6whZahrkXoouaO5Yiz98B+rb
/+NL7WRhTLhKupREpYJMqgwpTtVww+ZaXeH39VUDcDa0Dv7iXgP1I2qmBuZmKKkHtmBTi2syUqq9
bNM2fXvQ6eCvl302/qcqD/eMbUyRU1Pp2Kn5vML/zfonuM4kSSQ4yLvUUEPCqBa8EL0v9pIe1GxE
hS9Fjn2NtM2vdhg9CEAtjGa1mIGU96Q4scbc00M756MZwVr/Wu1HKJ8BwYOK8LxXvyuh39uAAxqo
CEufL/sIL45A8UxB3xVFTYIvd7qPVmPbBdpIkKte9/UB8stu4RodJGXAGkHResCniOmsOEcBAjmQ
vjKBHgUegMkXoOYZV6aEAImnTB9BYZESg0l+MTm45aLPK1Ji0SnnPZ9ObDK+SdQ50YuQBuXdBCUD
4pAPHIJ90DpH+4VCMI7/S3zhvU4twMUBodOhGXgWqsNqKPVuLLDFz+VBfqNlfuImhwK1LfiS+MHB
iaEn9piA1g/gguoNIAVk41VfjyHGQmtRHYFz/GADpwOLouy87PFTijJJK+zmEINcVvkRNYKcUmCA
rfSEipUrWgMD6woxmdyvR+svohXWYEP5RMcINjqPp65vd0XV12CfdInm04EyynoaAdO5s4MaEtqX
Dxon74Eqq4EMFVNymJNkon+86mE92VjPMj4N3ZMch+CY8GL1WbG9y5b4nr4xRbd2E4UVI58r9J9x
0fzUAv3NeKlfyp/z4wrvtoP8AfldYHwpvl22ynW6jVEmjswQdevlFrcb6NucQQ3y8t6wBOkc1yc2
NpgYWeTLUGQ5bIAAwc2ro9SJECL8r4TxUnwihCWWejeumiFVQ2xdVl3V/adQfs7Wl6l5XxKBe3Pj
PdXD+68l5pAWOZ5MRdLmbmKDtKJbHYyRQGJWB5TSLR8tEF23NPLuLn8leiyZHIRqA/9jlfFCjM7q
mTbAanqgSPNiNx/VoN+JHp3cWwX5G7A2mKOFvBATHgD2sqw4Qpa/POjHvHasq3kfBtCmelcx+YxS
fnxDBE94ThpHU8b/mmTHEWYorGsKwacb7A7SrLdFPHhmc7eWgt4t19FR0YYqB03m2MlQqyjLSM6w
hWNUoHe210rwGtQCI5x6BBbz2whzWVnQfuzGuKvdQQvMrg96CkFd76XkNktfunEWBCf+FbWxx3yv
cQ2TSi2wqOzZ3mVX6x6jguB9q29VB3JGnqjGxz3IEC0AhQEatoAVnUaoJusUsgxIueMCXUGwItpL
K9hB3mdSZR1prYXE5mxauG6axShKtXYVUj+MprKvmhbje83L5QPFK+XgffnbDvOlutmI6ibWkCZd
g+Tfh87NkbbvwQPqNX8O+Toxxexasixg7EjxmK26b8m8n5Kveft0eTk8v1MhUW4YpkYb3TQ+bq6O
RcvXKrUgolymILqldJVS8rmS1usIOymPY++ZyyhyPp43UNQrJc5TcEEyb74i0YAJa5GvTOkebBZQ
SMfIDRSLPqmKZxxlwHLCWxE4lDc5BSDEb6NM/NWwm/mSzGi/oKjiaZUjg5rNVd3xE82AMfADdfHW
UQxHDYAB+Rskxol5JhBHUHjN0L1uXCVHtFJVZyEHsxZEe15I3K6RSQTyumsSBaoDuCs/R8O3ZYZA
SH/dpn/jl5utpEdx4zRqopuREmItZm+52fxg9zeFLayZ8t4MwBFAIAwEGhjzYbyfGB3mfkpQc1GS
J/o0Qkk4dNXPQ4VPlKN/aojYnehfZC/LjUWWhiiXV8jDd7CopdcNSDTmPA8g5+H06oNV1s647CpF
iJMWGWUOw2oOq6mHiPyNgREV+oZOv/Wys0Bz8UAFB+h7bADDi3FIfpJ7UWDme8w/m2wwpyIm07JE
Cu5tqylfRlO6Kjtpj7k43HSpiH2FG6EtpMI4+FRJnYmcyFK7tpJywNCH+Lol9nNTRjdKZh4uhzQa
ss6+4sYM4zdt3lrp2mSN249qcrdaYXvfKJUGCkaw15pFWF/pZiEaEeaHFyIDzahQATT2bRHVIMdV
Q1Rws2dNcfR0T5WQlptqR1zpKbpfLdcynOz+1zScENfAXfPGOrO1+SINU0at94EW+fl9fYjRdvoR
e8qDhMaTI2M4NHJl1JEv7zU371MB9lKwatCAsCh/gHEwdRKXaIwCLHOHIlrzUq9K5VdhPwdDlllO
HNZPEXjHHX2NE4ia5S9z131Lu/DFNqsfeQ1dOsFv4m0GOHupGiT+Ab3L0/BE7LGpphwOQNnVVy/z
Z7AkU8ZuzHwF3XV5q4IfWUxCzrvVtmaZo5RHtpkvKwBwIdHeC027H6Ze4NpcL9vaYG4RU+uhXCPj
5mxApt7uO0rEjzus8NPA9KxxdQYUjYoKc9UobIDCTORovCMMjU1Adgle0TabLoxT2Ji9ZgInGavO
LHtd22CUVFQTpjvFnuCtFcabizzrkbqCCop2ywwoiY3OeFRQnaJLigXW+J/t95KYcBGCIXjQO3TW
Y0n+PLbSsV51R+CR1OP+/wVBE/3UI5VoarthhI018tWfRpD54x4jRbMCxUl5Dx7+y/YuLwmzv6fm
8oFMcTsC7ZdUV3YYO+3fvP014N9wWVKlQlZ+EboTdT5QDr1ajV3IvQStPh9sSRK0nLkV2a0dutBN
ogHY+DA1VtjAERKwjVIcQgftUwXz5mJWSW7Y2CyKyWrGzkz7lp6tZTZaV6tq221CZd6p+o1pXNll
93L5KwlXx1Q3wlRRFlI10Bg+JPv6ExqlGDonOzPIPBB4CXI27osPGwatVYwzYkKbLn+zl9HQTWDB
R3LTQgzRxO0QB+Bu9ShVcLsjXif4dtxIsTHHnGFpWqEvQROLIYbo4RiYYGwJRSxrIiPM2bXCNRmS
BUYau3Y0rcJjxdjLlmAp9K+cnd7fS2GRzToZlGKkzVlwLgAwmO2GgNLsiwBigsWwrMTROKyky+jA
XOxV/egAXFH1Py773EeX8NJamEsKeHBZ0pL/JNWYLvfmb/K99BhdS50zH2UQEtEZc4C4b9bv5U76
rGne5V/A9/rNbjJXWN4mtbFo8PoGcpz0F8SBfqBVKZBWBCKv557pjTEmgIBh2rBLi5alknhnpijA
m8+zbPiZse9awQnjRl3NgB4tbkZMPTJRt+oTOc8SQErUEtypY5+2QWTOXy9vHy9f1zZGmO9X2kqI
9jZeC8voDT+beS+tN0vj/zsjzCdac3lOqhFGeg0jYJInQ1s3nvfz8HDZDj8mbVbDfJ6CSJKUdEgn
pHZIgnkem6t2LuMdUqDQyVrd3rVohbtKp+JJ1Mh+hARrX5QGyBcMY9qVQOWL3JP36txuMD2lmzBp
mcOEAVqUnIufETTfgRWzEZcVXHMPOl6dYn4O4SYw18AwWwOYwdAoUO6Gny2gH7H3rkCO8IPDfdr/
xagLHke/3ZS5B1pjGG0tw5FQovIhaXTfHlqB/9A9OgsyGxNM7FdtvMDk1QC4qgZ9St27aEt/7SJJ
xEIoOgxM+I+jpC60mEDQm5Sao4b5cYxN4kwVRjBJerjsrILjzRYH+qFTIznEvqnjWzy8CecueeQf
2w9zRkycSkXbLbSL4+ejY73qz7+wnqDWu02fs8PwXgFqCmVZzIn75k4kZMHfTBvMxBbES4GgOXV8
NenbclQA96jrG2s4yqgd1bO4xsI1Awwm6K2AUzyjGFmULut0TGW6fTQ+tHJz7GtrcVZDv6qSNRck
wtymi6ZDlUjGYwWAdeY0lxMkcxV6mifXQuclQYsdIhAPBI39SIXUFoEgVXsjarpw/X9jlTnRXbpI
dTVQTEsRB1N9n8mgeW6eL/ujyAhzjpdhkjR5xhxK33ye0szJMAiVpCJkEz86bdbCnOVl6tIhBTzN
VXHR2MA+Z34MPTbbOiSxJweY0vBE28c9aRuTjCeCTB7D7xCBAxUnAPHz4Awi0ji+E/7jFuxZrqZp
xnMMAaqE8IgzDNlnbSLfpHDxijoSpAXcFARjhR+0KRgYYlwwWeIeCpExJoVMu3fxpCruwniKnGlK
NA+FVDw8W3XaX3YO7gI3RhkPVNssaTqraVyCqmKU9k40fM61G0PUG+O7h2minW7QYr7BpApV3EMW
cKWl/NYBFf8+/wSWBze/TW8pRZIYssj1jY09+t8313M0zW1GLLREmmy/Kk/DKOg48xPkjQHmc8WZ
1OuTDux29yGOFLvrXqq8adftIrRqfTp0pTrIAm71K/W6uJO+r7UgaPGXSEzK1oFu1scv3CxRgmhw
uYCoy0W/ooe8VeqNgy0aY+NGD8w1/tcIk0daS6OSYpIw0ds3Ttn6BiaioTF62Qu5RuD4lAJENmwW
0jGmSJLVFOgwtNkbXynQP01tbXH1ypj/ZtM2ppjke7BWycrtCa8K5RB3twv5cnkp3AMFgBsIC2jp
i+1vWyGR5IR0SAuzzGv7fVve96btqH8xRUvhnWh4aCpI1NgCG6q4U9+QonU7qw8muQj6Un+3E9Gc
JjcobcwwUX0eWqgZDuBUnbseJcPGeM/SdXTmaP0UW+sOKjyCNzQ/UIBMjQ54Y3qXBdct4ypNzYKb
GGOT8uQtfgkspOSuD/m6/zXsJ6xN02/OpqEQcKZzH8ANYr7rNFaU3WgXqd7j3i+vIqP0jPY6r6Lg
EzRm54A0DzbZjQKwM8/jQWVgUbF02iNmwmGzxJqpSiDp0Be/LQ/dch8NkcDVea6owwiwxpDgweP2
dFnSXJgouaPOrMThlZxXPtGBozPb9m5oVsHlJbDFXpSgDSoiqFOjHmDJN0r6VmraTZJL+2KaBLGC
/uqzj/V7VWz2a4SKMdk50hljAT9Q/KCs3zQ1gjb7wzDlvp7fNMPrnx9pnQqqEQD1gBdnIv0SY1BC
iwbAPe3Zq5cGko2ra6634FcRfDFeRN9aYm5jvdWVRmvgiAi4oEHV5qewir3Lq+F63mY1jLOPA0Zz
ahs2MvPV0vckvF9FNKfc0g2t+ALIARQnprtPPQ8tl9GG2DXARNdrQMfCLF/Z0VbD/0KGyNu0rTH6
3zfXIAgEyrA3YQzaVp9AEPJJrhqBz/H2bGuC8YAiBY2ktsKEjG7GCiWRdFTdqBUg93mxdmuF+fpG
DL7MdIYVKZZjv7Z6KLUVrRkYY3HdDNM1MZC5X3YGGr7Zw4QYpCHqoRoFMMzp3hlxoYVxCdfujIBE
gzN/py05O3MUZd9Lf5FrAruk4AjhIKGve2oM/IPj3Jdz7qKP7wA2bd+ZkSd1weUl8SLR1op6aiVq
FlutygmnlZiBmYOzLH3VU9mfTFOweTyv2FpivHxulHleFljqih9at8MUk6Oau3+3Gsa5UYI1pzLH
nk3F9yjvnFqGKEg0Ayl32Q7vEG3XwjiCPURWM6dYy7y+pMqDUj1e/vuivWJ8W2ojXZ5m/H0URJ1p
vM5z4i6imhx3ERSeiesOj3k294rTWpcTBZulQ8vCHl9iUTb0AT8/Oy+/LbBQQitv52RMYGEMJl9y
6gqNY6gXUYRm4YLGFsNLz9Ku8ORvorcut0IBxTx0ZMCAqgDpcurXZRtGdWYWBd4b8X0Cjtlxr+yJ
P7u2I/1UUYkvXevzX3y0jUnmo02hDX6MHj2ArrhSTF8urodO4N9cv0CSghwWreKzBuGyWmpijyMa
MzlmCiqQDSYKxiwFSbnICnWczRVhq32jxSvC3Gh9k/RDljzlf4NARrr6z0KYzxMXo6qWCo2kGIKS
8gepWQThhhvYNhaYr5GBgAZqKrAQ66vXaCAv+aaanTOIUlPuKcK4POCX4I8DTc/pZo2L3YDwHUd1
aTpHVXq3T3rBUngmbEyWQEtHA6ECC3k3lpzEU4fs11ivyqV0APYUWOBt1tYC88U1M57MSAOtulyB
4SV/zrXF08vWCQ3/8hnhnktbofMxELjRzh58krJIhUVQB6Dt0tXLobcFSJZ5WG/DT/S9Mu1bw10E
4ZS/vH+MsnFo0MbWXG0lx0DOK/Su58Rb8sGJrL9oIm3WxhKvxXOhGqkUtZjUTfxlQbQb6++qbTlW
2QlQuVyXAPseUFEoEJ29ZxfkDHlnoZ0BYSfbb6WsfZqsQhG8LkVWmOesJkm9GrcSyIXmzNfb/GDV
piDLEZlgXl1FFiV5VqLw1OfSy7KEXyAo7132OV44A4jqP3ulsCgRgC2kcZjwWZq6gVQBnn/OZK1e
FYno3HgZ6dYQk7GV41z1HVExeaXLnrTmb4paOmaY3xCC688y/uW61NPI0+mNNM6ZgZ6leSXZgzMZ
3+1FNMjxITvG3uF4mGgaZmwpvpAuenMZTJYehXIGiHl6UI/z65AD3bt6sdv9yHZhoOx6X8U8QvG5
dW6hKXyVQnVHdJnz0m4EP4wO2mAMQ8H39CeY46IpBSWMH6crFW8jaF5AE/rYoFxIRjcVKrFxfXJj
j7k60nUtzLLQKOpvfofSIiZnKYikA82EGsRXYmIQroduDDJ7rAK0bZc5nRoYu1s16ncGqJomK/sb
h9mYYY7zbCdQJ5l0jP2YGHXOb9Uh96382+XTxp2a2n4t5kSbSVsa04DdK18N3R+qK+VV9jMA+kcX
0J8hve5aT6eoBK96uWxasI0fTEEbV02VXEpkCaB7CK16ZEULVsqOUVEKLkuBe3xMMmzMAF2kjtOM
qFjkKWhjo2g49FEsAguIrDCnO5vCYULNBk8M/IvXZHrnWnMr8AjRx2JLD7qajEZuxqiL+kpQesp+
gDCt5pjeDOYu2StQlqeQ8Dz5iwLYxkk+8K+bPaQSMjjp+FStpf4ozccxiw/FrPuW3gb/zimY4AGF
H6myaamtWKsbKP4GRjg/FpPokuEWcbYrYoKGVOdU2hvlQ+hRe9XkyeadYX1rjM7L0keyPmTDcVze
LHLXlA+XV8gr8W0tM9EjXAa5lFt8w3Zsvkj96BWZBBrCrMLcEZClbppWftIm+xmqo5ct87M5HcM0
yGJkdFWYNz0BBUUZNdjcZtVe4uCAfuZ9Pyxu1Q6OMSmvqpLulbjy5dovpa+a6kqTKDnmHnp0dKAI
qmsolDCX7hQrU7UU+Akl1uhpce5IK2bzy0wSLFZkiDmQS2O1cabCZUOjdtL+ZpwhWSJ6+POA3zYG
uiH9a9g2FcM+vevQF5b6WkVDZHKTtwnEYnkg+V1QftDaAF8NAaLD5Y/IWZdNq/ngzwHFGEZ4Ty3m
Zo8B/YUgAzPyYMpfIjP2Yn3+8907scLs3lyhy7laeMOEJHoI9fFh7u1jN9UC1DH1dSZbsemrAg9/
E00RizkL3Qqvx4QF4JFhWdteOOT1YbQ74qJKIKfuhAZD5sid+f3yHvJOv43kiNKxYB7/jKlkmOZq
IS3s5tfdc3hMjtpj6ytudl9hLj3eXbbGuRpOjDGhhkRyv5Q9fXLWz8YYWNbr5b/P8wgdQkME7SRQ
crKVxzBLG7RP6WvQloMErZ1pUW6H9O2yFd7EHyiBoWtkYsYBw63Mt5K1uqwiHTecCo1I3Qh6fT/l
EJtvriGE6w3Le5cHVreTRTcrzzBtl6GfhMkwOgV16vFNFmb13KP6pI8qEHgVhoHs9qc+mY+k711N
GQ6ril6nXAZ9j3OB57cgg6AfiPFS2huhD2CM9Ops2NTbdpQk1cLKzWg4lurcB3aqWKi36J9S0oi0
bDjfkyCUgJYL0IxzRaDSMvCeT0K8S6zkLjMxircCg72ogpuWk6ZD6FfR8D8Mcp6VKUjSkirXkwJk
7caLoSkeKaRAw7wKiDNnR8Yse1dX+8tOxFuaomDYUQE+FCzkjA+RttTKzIKCcU4O7QLAU3ErCeGU
NDaxn2trhMmb01jP4ybKQHAeYIrYrXZWi/lyKDN78VF/ND5fXhLndJOPpUBLHqOjrHfmmhmCtwqV
y5a8DdluRWvr3xlgwoc9hJPc2DAwKTeW/GVKBI0ZXjBE0KBpAdVbBOfL6fnqMdQ0k64uwLplvVN9
Yd1rrqk6yf8yOsMrMqPGIdN4BXW0sxF5ea6yys57WMuCAvQuPrW43sqAplHy4MUr/fb513yYaMqP
96k0BQ9jIBcgKaIzl5pkJZE2LxCFjgvzxVzWuyZL/csfi+4V63vQ+sQEO9AeABAysUrDS1RqBqxu
2U3qUVauJs0pqrv+L3hIcH39tsM4BWhce7S8oMwszRhgKOwbWZl2l5fCi3pbE4xbdBGU38YJJqJ1
zQ6Kpl+n0jJcr6ksO4VaFIKd434cgrFIfCAIPLBBtiFWM4GIrXCz5nuiPmuLYDlcN8ed/48B+gM2
bxg9nnSjjUfQ/KCtIaO/kRxRLD9QGTkxQIsX6HAno8JM5eER6U6NzaXRmkU3o58x+2NfOACnK4kI
18nbMjpEaiAZQjxlhy2teYnqvsaKFgk6WrqZfCmqQReULnkebdAut4WC7DkUByo/fYmKLM6rPrmZ
frVmN7HxarYPQ/HnySAE1YANVFRUzzGFf7pnhjYNpdEtAC+VfebEcuo0SX4cJvV2aY1DUxDBo5ZX
K4NB6PyhTA81NzZ5x5xqOC7mWrjJM9LOgNxRvisUjwLdoxwhI8YI6cu6f5YhAaQGVZDc/ZXY4MmP
YE9yneT1GOJHdHUXOVLfOVJHghKwBTu2HgjpfHOEYGyiu0kP0qbK2JuLiOOO50hQK0DOgRRcP+Nd
TJuuxNABYGOp9DWfA3sQMqTxLRiAA4ERXwUx9+m3jaDnq+syzkP9WqrOzeIDSOgnLpgOaueWomf/
bkngv6CYA6yISQKs0NbT1YTBeNKOIbi1mliAkeQxWRPgxP8xwaypKjPZLG2Y6MOnfJyDdLo3rNxb
0iAE02Je7bT+i5wIwiTvOG6MsvKDuVJFCi4k9GPB1drb0Z1p/5xS+SnqY1+ce/AmbQmSbooco08u
9j6DrqFWqQa8M4V88uDYZFX9UU/t+yyEcHYlxXXtxGm73NfRZLptFJWfrdQCaNSopiA27PaeQN4S
MNU0fignqSyhXZ+/53mWH9JpCf+4AYIXCvrjim6YmLdkD7SkW5NGihn8QWXQjVemIegYnUd11E3w
2FeAJkEfgi2/Zd1igoQbSE6j7HZ6m/zQZulIKhHb+/lhsbEKPHagB4oHHYsmLqFWYn6gia38qSa3
mqhqwVuGgoqFibvQoNxsp4eRNFQBpV8hrk0ilIKOHTC9w587qo2M0sTPBw8z7XudGmmB2WtA+Q+8
T6P6QzoAZB65xrj4Iwrn4Z/fHafW2Cha5Gs7rbCmjVfp8jzkb2vnEAiTC9FftEZ2muGdWmLSolWf
lEEqAcKirNYmRFT73lkjEAeuLqaYr8zIWUSDzJxTCJsqxZqBbBi3FVu3W4ZRXcuB2qRcLR06HMWN
sXqG5cA4KBJVpyqd6QXz/PercPbhPBGEdc2Cmo0GekuAE0+/pKyEuEEnzBetd+n14NO5bcpbSHzy
lD7r73R2OxT2gHk+qgIvDfp1FGLP4N9oDUThCNphd6rMHUbhvUJf7qc1uJzj8qwAS0PnFA1MK7Lh
zcjSSiozBZfveieljWOtx6gSBCXe9mnIMhA5wDaJTTzdvm4sI22pQpTSsh+25NtR7c3mK/4heCfy
1/LbDo0qm/y2HwaAWTS1cOcKzEEo3A6G5bWVKjBDgwPr/9vlMOd6GecO3T1sWalHTkO+K8NP234r
6mPVX4+t7ui6oGbw8REuWWTOdmYtRbVGWBhN3GmFlaoJe8VD8kQbfeBHpKW71skfiNfs46/dFRoh
QfgYfxWN0XIqUUhLNQKXRFp/XgjKmwUoTAO/RPo0o6eKoV1PubV28dWybwSr5nnN1hTzNe0wi+dU
hqmpfjbzKyntnFLbaSKt3I/QwW7u1g7zOethnsLOhB35wXrH0T5KLrDNuzZ3YojMAnb6+fKJ464L
yBgoJ2PE7mw8GJub4oaFvTZbUhCQXkGo99oYya7ppud/Z4p57k8xgKFqqRXuMADjUUrOEL7J5s9V
ESlX8U6eqSM2Ij+Cshn72BuNKISqPAw1/beaij4VoWOMouoF1wqEAACdh1To2cigNocTlAcMHANZ
3cfl5FeKZDnGoP4xeB9OvrHDZM71nOlSZsBOZVTPwOE4a9/vwDIoCIu8JAcxEUxkUFmHjBnjeKsG
ZQhSmEhk4+gaiIXDmooKqTwTKNxC4AgdBs1mv4u8JBmRZyD8knWXSbtc1Ds/z8XR88FAD7jOFYz3
sA9WJevwaLbprGiWHxEXfGNeXE0NoeJYlC+VOn267NCc/h0uENxXoFbSONMjqdw2JCzAqGsMjlze
ErQUwGGhvGS7zN5pUH8jqJ8VoGkW+R7n1IJHCGqoYMfTMCjAfKxyXGK76EL4hLqLMV2ZStft9EWR
3gULpEeSiUbgaaEU8lingXrk6R2mJtUCtFleun0K9d06CMGHNxDHVqCEBd20QNSa4RSF8PmAUsGT
lEqGsA0oqZCKOq3KEiUAYF2BOU126t3qUkWUSPgm5VoDNSgKXKgNnb8f0hp0IOVUl9BYCnfrgU7+
NJ7tFPeYpfNERBpCa8wVokaQpko6WOtff63NPCxf+tYZsZXLPpcEiQHfHhpqH2KBwLsynUlLWhKt
m1rIKd1Q5WRKHD4F1YGidzEd6152FU40pCMYMrJSG0oRLLlPZ+hJbpQVPlw8BDZQgl18nSlPl41w
ch08fG2gkiEEByQa81DKIhuzZyNWlFd3evko998VwKDBV5ismdMZr6GIVlNgkIXErLK6qJnSgHNP
e9ZdObnvtftIih3JQAPDBpQ0EpEHiCwyH20oiLGQCRbjpH3IstoBG13QJbFjSZC91rrHpDWuK1MT
1PpEZpm7ee0ySYboQenqu19KftpOD2Qh+zknQqPZQOvkKPmjtMXEk74PF301YabJsZ3SvkRla2iC
2BpvlESQbvD9H3o9mEdDMoAr4TR4pQXQpF0Glyyv1+syKHYyIgm053C2hyshkSf9MGyoxHviH2vM
6e4NYyAqPQDLMXlU/egI1MEbpa2VhIrywpUx20g6O4uTEFFSubN3KJHe6J5080u//n9gyacQbHZl
Gh5+aBBRXVM2M4hJWvaL2uEvg6y5ABMkpcUBU6gzCHJsXgzZGqK33ubFVNb9Ii86DCWLgYGdn3k8
O4lolJWThBCa7kLiW6PT78zruZpSo6tsHLA8eZuHNxL9eR4FMivkzSCBpm015gDnMQWElYjyTW96
RfKsLqUg1PIO0dYCc1bLNctDYsPT5DwKimhx4uo7SIW1Zi+hlHM54nIQbjYaW5SoGzU2IJSY7UpN
Y1TUAdsVvc3gbS/8NnRiVFliD2wLUiC33qJCnoFyg4mSnPMvhYoeYDWaiQF+DZWWU3coKnvoujYG
jtS4TrOX2hAUjM/dDX8frJ86BmNtFCiZpaF2uipzCELGSf9srSvKtbmDDFVwDfOsAGMOQA26aOfV
mm7Kk7qmI9pLlMuOsUKUL8V7pLdFdH58Q8AoABBCsfpMuCt7KStR+cNYOz5UaU7+SBrHwBz1H3sE
JVT4bYf5LNIcFQ0pYSfL8f4nFdwh8q3bsXBQb28dKpcOyKPtl++y4CV07vinlukObOLDqnctiWdY
nsbQG2LwncsYT2oeS7A8hNb75XXSZ9Vp1Ds1xgYjmSSW0cOYWj+XUuFEBFxuSeXl4eTlfUBE7V2e
txt4G4ENBqEJbcTTxWEkTlkMBd4Y1fdmFDvzKCiWn78ZPqrL6H4amFjDTXVqoFKTsu5AwOFqwJjY
GBiK9QQvpZdECwUuz7WEI0tZHAAtZOV3bLDckkEFJ1FPnubisa7v1urdaAUfiG8FIQk9BnrvMusp
qnE2ihAcH1r3YBffQxmwIxtjzK+X/YBTZMK+0dBH7YAkk5lQisepGKQCH6bHyI0SIPgdw+vioPjp
gwipzz3CG1PM3aFFY4o2EiSVLSn/VofDI6qSbhnZgitKuCTmBknHwoiaGkvSdyB0wo2eudquOqw3
4r6faEmMW+vZTPQ6BL95Hh61MKhWaDfvLn8h7klFdkJJMGwgMZmT2ky53MwLeOHS5UfW2k6jv4Xl
URl2keabf64DCW/YGGMujXqubLsi4Iazm3eMKLaixXDDwObv08VuYlxeksRsYtTZ5TJ0SpRjslrw
9c9TfawADzWK4QMvNAvsIJKi1jhNFT6+faRC061vHaH9ub/8VThJ6qkd5p5I87jE2xSIbkqUrmBU
DSkDdD6kXbuLAhGahOsDqJPRygFyI/ZlKK1FaioDSj9tJSOwoTjblsehf0Aq6HTK7IRSJQhy3Mvo
t0X2aVj0g25XJkF5XyXPaTS8yNm1Qo6ZfRzL4PJW8nyCgjwteDcqjR9lqI1PzDJoh8ulQo22SnZG
HJhoaV+2wEnzIHmAtiCtMwIMyBKuT6WkyksKSttVcZK36nb8lKMYYn+3vtbPlEpB31devRMV1TnV
bphVDVRPkU+YuPZOvd1YiiQxSVu4/0falS3HjSPbL2IE9+WVa20qLZZkSy8M2W5z33d+/T1Qz7RY
EKbQ9n3piRhHKAtgIpHIPHmO+jp4xcMQ9DtMTjwQdEfu8bUDmRu5MUdFij7UBUUYcLgARPCMUXfR
Cv+TjSTvQAV6bcDwUaG1KRtVz0KUBFWMyWFCMzsmh8LRISXxTDQzB59MaQp7vA+uG2bFWdy0/9il
4mw5JihU6rDbzeax1ZvHeDB9tHY5sZbsEJ0VgcABpFqo4OKYUZehsijrMouYN1zir8Af5LrXj5it
H39dXw0Dxw/H2NihbsIOYqaTPkDLgZCk607qm3finXUenQFCxeJOTp3s63WTTN+AUqauQYkLgAUq
8BaN3kYYPgQEfYxdrTXdmPcyZJSLyaI+TFAZSwy6ACFeQaFllfaCzrHqROl700oB6TYm6yNn6f+F
bjbTNT7M6tQ3WxvRbOsaHEeZ+BIZog3uIa/nyUoyjahg0ycldkBvKf/T07RLtAQEinX1MvZfjWmw
Mdr1J06+MUJdKd0c6WFKOIZ6TfJCAKOwkTVUKf7AEzZWqKCk9ItgZFqEB22X251yRKuaY4Ed9zYm
qEBU99EsyQLu4NEvjkRgA+XZG/T8wImC8JD4vNoz89hu7FFZS4glDE0SVo44e3LpZisAvfPuT7qX
8HBDASIHbRiUDSg7ebhGSUt498g8HAi2j+UKjcHZeUcvB1bq8WoEzIUBU2ahOKEQDb3LC0TSm7Bd
dRhsFNFtAMxrW0zgly/qonJ8j5nP6BtTVICIBW0U4gGmzBv1F5Lmo4VyevTz30Gj2bECKtLgxAUp
gkyPFUlSIQvigkA7olmgYbaQcH6U38tfOqiwNcjPRm70+7Ng+HrgYBeJrg3qIfRmak2czzJyWyl+
EqwgjAbHyv+/RqhtLKvOrBMdRjSQCqfQP+kNaKDwOJTe79lPF9VmLVSshdD9AlpcxFrNjh+TX1Ae
qXDM0MHa5187nyQY42H01rN0XwByjPaLE75dDyPMQ46bBGMqKJ0hHaBC4mIqqzEucJjym3zAOMf3
FVIfww8jUDz5K78qzLrAtuao4Chrc1RmJbgTVS308ZH3E0bpry+JFeRJ6QAdT0yzA5x6edpSKV16
QwAbGmTSovbUZl9MHgURe9eQEAL9is6mTIs41Eo2hLOIyeDwr84j6r25a+7bCBek7M9B5vP4+BgR
BC1AA80IjO+J2vvv2STXSdOHw9DDXhZ2Di5KgLdfK8jrYrDqtzcP9T+k8KikI1rRsK0h0QsjbnOQ
G7Z7YTxnCxiDOE871sP+wgZ1uJCygQZAhI2qiOysmsBpWdt5Foj1jSi4pXAqm4cqOxjj/vraGL53
YZc6bW0kLWuP+pKj1JPdCc9SU/3J7uF9ghiPTs4nWryxA1BFGguUQ4zMno1XSXfz7uf1VZDdoWKG
DPwAxmB1DRNfnw7sYCR6KsFGkkI71HpT2pM57RTpkZykKOaBsJmbtjFHHdhGKUsl6yp4nqG6uFBd
c0h+v8R9sSIqlekFDPOKxIT4fmCn6Uud7K5vGjnz1zaNSmXyMKyVpcCnl5bzIt8MUYay7FkEPZkQ
8wAkDIg3Zrs2W0YFoBqXRzMDIuCY46us23OouwKS53AJOkySCbOdppgqnjjezQh7F1apUzUjK8j6
GUts4i+j9Jhqtj5wXI+3i9QBiiYpU6MRJsT4az5AZK1r7DH0S+tY6Lx7ibMcms4nLEpFGmVsohVm
eznVHWU9tuGdNC1OCvkCTQXvJLpLJgCtXRa5utDaSal/1Urli1Av/nX34f0Y6qFXq0Y7rzUWHlnH
ARzyymy3XEZ+nhHqUW6teqwSZImjtIdqeLCAphN47RfmPfLhmvS9FYd4AGXEScbyRo4VW1K/FfWt
pSXB9Q1jRg0gct7hqxAhprKKzILUVqo1sDMeewxLxRz3YO7V5u9TUUlTcmlMDfz9UB7tMIOUqFR7
Y83rl7OXgXI6oG1A6CnkZ2yuXWMqYkvMEJl6o7cLrTo1ovJ0faeYZwplzv+aoCJTDPqoxRCg1zUr
D/X6tUG/qiJae/lwSIvsT/zYBGwJ7URIQ9KpUafMqt6bMJZar914n4xBpvDuQKaLQewXME3kXrpB
fZoZCBvDstrWAXHnTkDbRmqNh0mIn8VZ+35973imqM9Ti5NQKwPhTNNSW21KuzJKx+pKu+FSJDE/
02ZV1GdaYlkxjQimyv6gG6eEkJ5GkqvXe3n8eX1VTN/emCI/ZeN05VgB4yIvoF4eW39tb5TurkjG
P/KEj69E3xboKC9rB08IzSgw29lp9XafKeufJESbtVA3RtIjUS4EEgeafavvY9Xveb0OznaZVOEo
E9c6bGukxEPkr9WzdGPyYEfsC/1jFbTmbmMm5TqFNfDAIOZT1NhO9CQYpmMb+xKeaOUxDR8qiXeQ
GHT6yCM2ZqkLoY+ktqyIeLZ4D0rs+BF6fkfMcDg/bHmwdUCtRYCEEtlu3tFyERfBw9tZKoiLUFBe
qoU8NqAQ1i35aazPnSZzngPMGLtZJRUvJj3pSREBMxtheJ7r7qybv898iFF1DQwCAAYRiV/KC8Ne
Thd1kGpHL5/71S/74bkyVrtrQk6aydqxjaFPRcxO6aImE2snn38Zywr8+I1qhu71+MBqg2yXo1PZ
SBvKYmaWOhKFL/1L786u6jSv0b3porJUYAY/tMen+kl+uG6W9Z1ISw6z0Gi/AFpxGZZyS8myKQWp
44jXu9h1zsADPbHC+dYCHWMNqekSGRYEXbdbNHM0wS/U5znuvOtLYRoCyzzG/TAeZdAbOBQV4it5
Ow9S55lAYY9vZnubSjwSMVaZQEaxCs0qMJFC2Zb6UhO028OlRsPvbzXV3B21IOsDUmokBdRJ8ozf
5yeEr29MUkGjQnEl1DQEDXlU3XKs7aI/yOFzNVpuNvNKxEx/3xijIsSg9Jgwb8C6GBdQPk5qt9BM
L5EXztOGdflu10SHiAJgIqRQCBHzUz6EXpj62uLrqmKPCuctyippXuwf5eZ9Vsp5veIprWc2HtgE
uUg0znXwxNjJY+SkEDCBBO8f3JMS+mJouwD0Z9Al6akZy94i6cUISH55Y5q3Qvh83enZzrixQV35
yzSXQhmCQgyyAF6/V3bZTb0jmEzg1v08EDgUAMx4sTFHBd10jBUxkxB0e7nzo6g+JVXJOcdME6i+
YcQQ2RekdS9DUicU/dKsYOsS9eocRhj75/EY8CxQe6bMUSfVnYLsXJaTowEEspdI1fgnX3+zDmqr
MHMOAF6btI7chYOX6vLkgmFRDwAiENzrXsA8sR+m6GxJNCKUWmYTVQJDvB+F3JfV8rzOIefjs51t
Y4eKfGahR0XYg4ZSDbRvawJu+xX4He0V2DvtoKF/mPFK9pxPZVKBTymNpGvA4uMoQ7CKhj2rPJAk
++IFtli2MMwNKhjqgkpnZZT0GnJUwNyJT2HbpH45deauQgXioViAaAyHNDq1xtQFGuCHrilAHiPu
e8MfIqX3w1oy72KpNu+HcV1tZVp5AoXMm23zC6kTYbUdEJ4NQBjT8B3wYdQHb7T8IK68vJ692R87
QZ2LcOygpp2DNyvPXuNinwyck82M+Jt1UCeizOoGFINp65TWQRfvwTLYJXfaFLrWwAu95E/RpUEC
GP/PR6VlWtRVEJUSitlOu1bkfkbpwiYSsk1a+Uv0MhSnVdhfP4Sc3aP1Wqo2y2ci6ONI6s9I4jPI
8/4+dRQ6vVZbKQc76yCNN2DHO2ZdzTtubE8jxGqA8mLwijoLjdJB2tfAGpoJV7HgCf15iR7yeHSv
7xWroylDH+MfQ5RLq701ykungSPVxyHDgJDqagEZXidDCzxnYPvdhzHKr2VFa1Yxh98B8u1I8n2a
f8u7h7w4VIChXl8YOxJ/mKJcfBqEAXPXIDxehHE3CIrbG/lR5D5JON/pE/XHiMy0JCSsS1fc5uHb
ED/HQ3cOe86J5SyH5hOU4k4S2xl2VkDMxtbrCuF2NHjXCvHcz4f1n02jgUsGVIckIcKmxXvREb3O
CffKQ/cOxBJc4fH6F+JtHZXdVgUkdARCBjol/amWwS0+pr6oPJsG76HA2zxyoDclH7VbBcz4wVIy
PA3ZPrW+xlVwfTEME2iroYaJBzDICEXKhBzDsa0YFKqRvKvA+7Asx1XU7OtGGDt2YYT8iM06og6Y
0aGCkQxcTFUPPptiAcjxbDQ5JyzwLJF/31jC2FapThMsDUIUROa3cMZLR82Csn26viTWpX+xJir+
SHOsNirZuOxXdFZ8QqMBoP16FLwWrOjNyTq0TnqvvHDMMjz9wiwViaZJDHMrg1lJ6+zMOEyi6nYm
dFXGsxXfjuK+kxNbV57rNcBAlHfdOkNPF5xnG2+hgpPZxMjfDVg3Z5s0uIsd0RqfMMNb2qFb7rqX
3hMCfRd7SunsSnBgcL6vTPyROunbX0AjVyW1j1sLj2dHLVIbnB/2Mn7voVmUl4+m+NKZXqr+WMVz
jds6HE+lMNlx7XXKoZ1Oa4fsLwwduX3R8xGiVI/mqNl9h2LZ73P7XOzTe6t744ZqkwizKGGfDPU7
ejZNA1pkXlmEtxPUbQ4cY2QuCWw0GjTY0RVKJv/652Z15C82m4p0ozBaxlLChKjru6lO7KJV7ErB
1HYPvNKLgPdCgcRLqhIIFfHU69iRScUMFfIIEKpQR1kX1sFYWhTNmuKvOL/Nhhg9Zh4fJs8IdYqj
NQt1pYKRqrybQb0hxbYpPlzfRrYN4J9VPA+gpkD+feMMRTmGxprhxYtysT2UJzm/F0EPc92IzEhR
8K0+rFDbBYRIXpsDVjK2w27Q7vvxeRaPGqh1UGaX8z1hEuiV21D93mnhUSuOjYCuN7SAVcdYnb48
KJPXgtLCsgXhwWwPfSoEpgXgirXaU75yzjHv11L7Hs+WJKwhPCsUS9Cl+5a8E6vYz+d903EGr0hE
pCMGWFZkDDSaENWlm1tyblbzqGAws1Aa6N0Lo6B7Zaom/hDq38MeNMf1mEurbclCxhlMJnv+yTQk
slGFAgsBsHCXX74CmnAwc5i2er21QUQo2XKyDgG06qA5blU8QCErJFggIEAjDcQAn2gv8whaN1M8
YN4xUYpglYXvOZphHKZDEuOpRakiKJwInBB02zQUSEDJBWTe4EUj09alnwVk2roN/mCc6MIMddFp
mYSJfGvCmDCo3lyx7xtHEuT41sozXrmS9ZaA/KKqkLFadCbfSYM2J1QuV31tRSyp+xUGnY3pgTMk
P9zqsTzwyQbepYA+bSDSa7Brq3AOeoalLwsrxsxP6bQYhVCE3ZqJAL4/m6jcT/prVH6pjBRTxEGe
7tXhu14OtpAeuuxsqg959CrLhUv4B0F96RTTfKM2hxGovCqyQwSVemz8Sn9Tw2+yttPGL6q2vx5n
pE+fHzmiDjg+yv1oE2JU+NKnk7mMxVCXSidbiKib6FQPQBqL4PBad9Dw3XVuKgfq7b+VsPxcQSL2
DVI1x6/AUDeVgqgok7RzhvQCvICe6tS3KPoWdvWtQVZ5rvxpN/NAC5+vQWIS03P4H3CW4JtdLtla
klIUcxm0BpghrzGLH+6sgDBR8HtrnyIGbIDHRpZwTQA+SAMxGnkikk9oVxvpK2jo7FbubZDZ2rH1
F+c7krv7wguJJRD3oQVBpgNpS8MwpWEt6IQ+JFrtbBcddFe7X39JTk8YNp5+W7GIskdi1+aM9VHa
DYkKe4WIYVsLw/HDzkp5r+fPaTkxg53DgBhphn2i0cmlrBYyi8z7a74ZEE49Mu2t2sLTAOmZNmi+
6t7P63v56YK/tEnLwIljnk9zAZuRhUQFpbZ1PxVm6wJ/rHG6op/Z+yhbVAG1HJYlkyM4SAF1y33p
Nk+S3e8J05bmlW/iXv6xuCOZUpMci/PK/nS7vJvWTZn0Sz/fZkWSimVlmKWjK/rqTamQBIL828qn
xAjuLhwBQllJkwNFli70TRvi+xmzm0eaN4OYSBsUvEyV39Zsgy3CuYTFoFXwie1AiFTZbGWhdJTm
NkSlBQNHcljZGq/Fwto4cPWBN0RF4+NTwAe3Rt9FWVQ5jRgqBP+S+03YWO51L/wMRyDLARUazjTs
fGJwXvt0BNkFhF5WYXShuhuPi58ogRm+6d2+Nva6/KSLbxyjrDCCsyZixE9H0KK/V9wJiZGECYZB
vlWJM8c2GQVJnNXJfsadre6iL7wn4KfUEcvcWqQS3byexyjrYHFRvwrtSwIWm2FNPUuO7RqM39fX
x/h0aM9CoAIyNyD9oiEeST2VqRLjaOfKryR9HXgjd4zQAQgZHF0ygbtCi/YyKk5yAa1fFa5RrqkP
5eEDmuhCXnJcg7UK3BrQ5cbtgbF26s4WtUFFeayunE5SzkZf3KpceBdrIVsTVLqmdyvYfBEf8JBK
7bbbT/lbKnLEBRiXIwjePpZB3cPZqoRGh6zQUaWXZO3tPrxRgACF+A/nMcVcDIYfwNsBMijMQFx+
lTUUzGVOsV+NMOxN61Rlo6+aP6+7FtMIph5RJJcUhAXy75sLsbaKEKplPUATwzjeGLGeHAQzX0AA
Xdd/4MWQyCAuhjOKrO3SVATtZaD3K7BeRPeYe2h4Shws/1JB+wAUDbrUeOpc/n0jq1SUpACbz5bx
GDZdMMi8/jupZlDpCiZtP0yQn7DZLROcsWJWwMR0MINs1zgYYj9laLxnLp9wn7ce6tO0Wgqiv7Kt
8C1utEGwDe60EitPAVsy5oZxGnHb0ZCgMkpDE7pdWI/T7pEwHzRovwuQrVAOyKDPoouI5vJysM8P
HTIeBb0KRAG4NXjjLnexa8PayPMBsfNg3hs+qVaqdv4mutm/4PljPRUurFHBrcvWUO0zWAsNRz2U
p+QBiCSwrJInY/cy+cpBxzCTAmmQ2Pv9Cf73STDwHGMMzSKQ08ulQvNGVWJinGBs5OchGHdKkJ4V
Jz+A4IVzwFhnGe8C1HdwuvAf6gDMjWi1VTwhYBSZq3VfO631Bh73wefqK1mSRW55ZCsQPKH2cxyX
uTIKLEn5YqhevW/eFDAThG5wJ35LHC2YkOCa4OoBa2Pi82oLbI/dWCcndHMCx36CAJAI67OP1yfe
e5DUOxdPmZPshWAOUKcD7tDnvTdZO0vmjUBTj5IDdvjS6tAWqaqO2FmpsNypk8/jCk1dg8u3Rr4Q
HV8gvIZpKoRj0L9QX1DvRABfo4UQS7xXNV7DO/muBxdwdafuwMOdfL8e/VnZGnDwuM5AYwE8Jy31
M4ENVMolGEz37Z54J2jT3dXrA2PPscS6NjWiUa3AewDSo67NZRqlNdGAQ52cMJgOE0i3iQq76TZu
vVt/vR/+/e+TYcJZiQwEcniRpPTU+VMxHKRkAMU4clCcCU3LGpD+bISzjmcz5/yxqgIX1qj0A85h
Wl0okplkMnGaecJZvbOczu321W3kZ5yvx7ogdAMTXYgr4B+ms15dixXIiyOJmqM5yLt0X3e81xbT
QbY2qDwX2ssJNDZgg3gkOs0OONMP5AVrcgqk7MWYmBqzMEb46XlSm4JaZAkMSdNRSBpbKt+ueyDT
AJJbQuAPtC2dRFdjVSfg2ET62SunJGkP8Br7uonP+DzibhsbVHSa2qEUxBA2LLBpCzbGBB8awQbL
Zef+7XTTrvpuJO51s7yV0VHDyAexArWxAy0gG/Qk5zFJXq6bYL34kSIAyYi8DdOrdL1Va8ElP4ew
MTmkngFo1ov+M6xt8e5H8gjyG9Sh0hskKGpmSz85thlvLQyzghQV2kMAq9KVL2jPy6soEWAvGmV7
0FA67Q7KPfJeOU/+6o3PMiSfc0dSbG6GxAr8KOSAlhVPS5BxUfGjqLIlL4APBMTylzwMbhTeh2PK
cRumEdMEdRl0yVCOpUKjnGRRHeLND52//Wh8MQSvtn5x9pDcUPTNgvq/CrkalBo+DX82hWZFsoo9
nNCSfC8frg/G/eRWbuzx3sbk99K2sFky9gxFRBTnqdsSeoaK2cXAQUyN3fVRMDaFb8axEy7SaE/y
4OPFga1MOY7C2setXer0yaVsplYOu6vwmIG72lAfFWsOru8k2wjuTDgkMg3aGbO8jipDS8jI6bIr
iibQZsORC1445JihWWJmZWmrIk4Bzu4P7dLZsgnSSPG32UAQr4COwtsfHNUoqFGRo0hna7LAruhY
0FxLFNnDJImr6TmnXsgKUCg94aWBdxmIMiiHgGht3ekWPowpHxrjKechb1i5BeDJeMRgIaBOoU4p
KmiDuHa4O5ZxuZGy/C6ugFQeGtfqRP/3Pz/2Cm9YMqUGcO+lb4sNZAejFdwLihVUCfJAb044NyEz
jdjaINu5yXGXApWsXEGsJWmE7BjviZJ2Xg+mndrlK4/ZhPke29ojvrixZ4x4r8tkTeN/mIIEZ3jR
Ah3iYIM93V/fQFYfA6kmoZAC9xFR0rm0NrVd1kqpQVKyBJA5wpyX2z1iOHAK++u2WIEIXwq3FRJq
vIcovyjKAsR5IsSN0n20q8HTJgXNPj/wzDCvfbBV4Un7Xl5VqSWhpiEYaWXhAv4Wvb3OkFqzY1d3
oQS9gKwKnQyfF2I/szvh5G5NUrEOrzDN6ojJzjN+JJi8il30aG5A+rsnye200/6k9rG1SHl+Dbx3
J42waN6svoE6geVB5iLQHFIj4D1lmV9us6PUEUiSyVTmBNdVuseNf5sE2V73Mz/ltMa520i5fp2Q
Bm/zvo1D4XZ258RfwM+Ppmt0B80VqLjxViYzlgbJIR0YDBTIdZO+7QdUYZJMRWRXA1THHQDp74Vb
ya1QCRFxAsEd7qxHciZEzFcCj97Bhcgmj57oht8BpuAcEkZw3v4eGmIcQd/OaC38Hh2dzP5WmHh7
zLjKLgxQp2MQQqsvWxhIns0WCRwUCZ6Ai/SB19F97VB6mZsHXNQiK6qhrKVIKJpbeHTSnNumvpiD
oIPIQ71XD8RfTVcKwtvI+TdqEsw1boxRz6SxSCwo+sBYJu7m/FuXvpoJ93VBThiVV12siApnAEEZ
bZ5jBj8/WbfzCWKfd4Dduauj+8UXPnk0K+e/sEc9Z/V0rJN6gT31Xjy0aPOlfocee+xIxyJQMeSp
Hdoz9LKRQXJ8knVJXJgmh2hzJeXVpIL/FqaJPBhIFOzmJvQXHzRDRx57DSsGkCY+RNMxeg6GSCoG
SKMy5VkDW+YTWaaO6mAIyUO7+KYFQtDf5AHv4c7IVzDgp0F7BCV3TH1SJ0IZa20cRRAdxH3qVX2+
71CCHYXkpNTRw/UrkOWYW1PUPZFUcWRM6js5xOQmKUqeRepA3dW7boYVREAeS57WIjredMO7NkK5
yggXQW2s7ro030Z5erlugnXL6hsbdINbnpWhUiwsZY3cNoEjIlB+Nd38V1fZJUgv8a1A6bXyzJJT
RZ860gKGWobKUGBMk0UeGx3dkNHvT0TZeXbRzz8o58WXPHkX4b9EVZpX6SQefs0sFVH6yuigL/pu
1jwMAalWW0F+4CZ/rKCyXR4VVKop1wqpgp3OUw/mAQOFAehgDNDMEnnxZddqzp98x82GUmFlVeKm
NRf4CqQX7jW/8FLf8rRAelVvR4+YjIOe9xF5u0n+fRNPmmgScxTmyEes99IP6NX5CGh+Qvo3UHR5
HPx6N7jxTt5ZL9pPzoI5xt9rbBvjYr2KakfoDHo/ORPFQcKiFvsKkVgkiOXM0W9RxHAR7Y5/kiji
YQc4GZ5GBvSHqFhj1pEmxuv7bgPyThaNWt6dcu7c7FF2K9wbvDEVdkDdmKRiTlQbUgeKZwA+7+XD
6tZ+ck/QL7ptLfY7YMnnmiQ+8/m0fKySSk4ziAkXC5Rb8X0x64sjOu8Trwj+K2nXg/ss1+0kteuA
d38wI+xmtVSqKk0iZqhTmM7HIF4fhGxnjs8cD2KFV1kkdAtEFAMZ2aX7Ymi6XoUZO9p5f+sQQXXY
SxASdF885k7r8uZjmRcw+MjweEJPGCJSVFiQE3VO0wWgXfGQ7OovFdAUYPI86X584E01szYQHQjg
bQjUBpfV5eLMsdWkdsYGGvCPpnxS5y8JTziPvYEfNuhouig4AxFsFOGXuHsQ/6D3DGmKj79PbVet
K3HShfhA63Lul5P426O+Cippm79Pxcx5bsFhP+L316ufzrd5yUkTWDWHCwOUh2GcQYbK8H88rL+T
dqgDnfNn0hwVd/qZlwH9D//6Z8PoV4c5NNqwKlgQdMPeKdQbVwKxOdEo4/YwSIijgwNKq5IO+CSk
k97Xvom/ZrXIpZrBl4n6DuGvHPzVUTAsz684MH15Y4oKBiOIgfM2h6loOknhUZCCdeTRpr/X2q+t
hzowkbyG+ULW07rtCcmxk7rhPvVnvBp/kIWZx/h12nFvEhK2r5mlzpBYtrJUFe/bWO+He+IiSmFn
p+SR6GqasX896DGP7GYrqSNljEItKynMWULkyfU36fdFLsmh2ligDlUUj2qLZASPtvlNGBKwLR91
9GquL4OFP7iwQp0sLW3FKCPraF3JL3blfjxlx3mnPq5H9aX2JncBC6hd3xip/Qd07Vgi0HhAFQLV
9RlfO7eioEYzWguJ3vr5hBJiaHEKQ+Sz026xNUG5/BRVWdMJE6iX21McnQu9snsxWMLZvb6RjCwK
8xNArBNgIebbqUSmGOZCMkkKR4p50i4LJv/fIP4Zbndhhkpe4kZXk/cHU69/70PZmVfe+eVZoHKV
sQo7KyUZWS3ejem9xC24MFL6iyVQXyRMxHrJ0e5EhQk8qT9I2zv+TmhdZEj+AB3By74YQe/CHhWP
MsEsLZBBIflq7xP5WEh3prK7/vFZqJMLG1TwSZpFyoYJj7/eTR9XF9oDtuxAGcAL3dobTrIbHyIg
QGSb0DrzFshw8QvjVCiyoklv5x4LLNW/YmiErZg7CAV/4anK8DaSCkhiEpdWNxE7SuxUeWAaoW1G
vw+gvlgMFY+iIZ2Ae4aRXP9R1PcDVwiD7AYVELYG6KtdHlcrXAmNI4EMdE5+q+KFl+3WneX90IL8
gVTgOtM2eGrhrJziwjAVIZal1IFixMpA2nsgMUK/I5oA6RGF4+C6P7LeOOgLQ9UNc6gI73R+LLYg
3FPJRR+P1asMZJAuxz/HKA96ffwVrc1BEVs/LSqvSoRAk2pXt9JTsUZeYfK6X0yvIWyWMsrzgH5R
x28JrcHqyHxdbvyM+9bG6KwtVzw6cPbubsxQJ9AyS8BUixaz+lB6JVQH5a7aQ9LE4b8gmedtY4o6
b4OIFQmEoNOaJVvSD4P5Vqv3csqrqDIj8cYOfd46C9C8DEsSFZSQ5h9SxMEKczeNOmwt0EcDUPbE
JVdUHLpAOBOg2njDH9rhuAHdMa7KrF0xloxsplPseL6T28nWi8frfs8yAuptuDyQ6ADaUr42F3OR
51CMB8faSTZPsXA38QCGzKO1tUE5Wl0OgiCQADU52Vu0A9jEVcGgaYvfIHyEXlr0hRffWZVuwij+
z7Ioh+u1eDEjciUTgbL2LvPGnYhKSeyrLiLIt9QGnnKyTS/0uO0g3o5SPlhryZg25GWq2eLB2tXf
rH3t5vvZlU6dUwWGR6Kn+rNHOwjlmsoenyOn8jGa5V7/sswbdrsHlKsmGAgpyh6uSrrOq7vvbAjd
TZ7hJ6+GpwC/6kXOeiP7bwck+95147wPQNd2+1nCg5DUBMk83eqTR03kCY7+0vmTW6AV1zqLnTvx
iVf/ZGWVm1Ub1J2hGpkgm+RqV4Nx3wTtjvS9SQmSs0DGG3TrYQaVVkZm0wqmic9cnhQfYpyQhhp8
kFvd8GliuJtJJZglwHXlQA7p7Bdv4OZ00KtF1S90cYZ+NPvCrW/+HUENq4pwsUoq8+xNuanKBD6k
BkS5yTgSdrrBD29X1Mjx/z5wdpUgxelUY/v1qHCEsK3otYKVyrkFcMlOEU9RelfJ7tj/VabHKn2q
1ufrNll309YkFZ0GKbPmFJoAABnltly0NqAMNuhW0/X+uiHWw/FiM6mghAGHpUgtWMqexV/KqUVo
Qhvzpk4xRzi5pCWcn4mEYuHzLxNeEDaosBQN0dyu6AvgtaWi8Gc3wAaHfrZfQeBZAag/cFkGWQ3b
i/VSASiWJqnIyQOvtgBRQ1vA1aBPelRBIdve81FqvCXSbHOZRK5L4qwEYzCCqbS/DfejU53Kc7rD
QIfL62qyQz3BUKAUD1ZA6lxGS0TGv2FQKm+F1TWbvcCdrWC9/aAf9Y8N6gTiXWlmS4csoEejI9ul
kAxs3GxPBG/IpDD35iRx6/MJ/LBHncBxtuSlarCmCa3T2Mkw5zrbI2r97bnnTuOzg/WHMersWYoJ
rBpZnIyXBemJJXvVlyGUe/3kfVa+Ud5FuP7ZROrkqWqc4HS/e0bykD3oz/KhfIyRh7Tf5/vSliAx
YL+hY4USYuWb/4J24F0n49q2UscvDzNBNRKstHXFCb1Fcvij3ehDXzmMoXqWoblRe8s3DZwhGPEF
rmFx15uYm56w8N84lB9bTh1Ks4haIZ/wQ0p0raYg3Nde8dgHfO2d/3F3/GNJpaaC1CFp1JmUFzFT
vPrhM4E0jXZuTxXkmqZbftmC4010QUmQRynVScIjYuypOPxdUAJN5+66N7EvjI91UTc/HmZZpPbY
waL9oUipHelePTytOo/e6n/Esw9DVHhJs9mYRxHrad0wUH4kuybIvwo3AzIoMl0R3f4BcmjrG7S6
eJYPS7cSnYMp/qLGDzMPsc8qdF8YoILLoKrrmLfYOjWwbBXpTPMGiOouCSA8tXhWUHplYLjI2SP7
+jfj7iUVadZoqvqSvNu61rZuocDml37kmXgNFDJ2E7wp/FDKuR5UKuqE1ppX2oLVEtnLGZiX9u/m
cPr2d6/CAlRb52RQTJsmxj8R6wCUosGYbTulpRDB5tAmfj8OT2ku28Yics4A43BjLMtC/0XXVAzt
07DZulhCzIT/xzcJkCh6UjEfcSJ0q5lrvPQ8lMHnw31pkLoHISbfNkULyHG6T1AJancErSFyr4rP
+3dphvJQeQo1qas01AP7B3kNjOKYVRz8HM8E5YoNKVEYOvgBBgKazdXp0CTr/Wpkz9d9nrjX5ZUD
6A5kvAgkUZKld9zipku2GsoSdYJcOF3a2plyWxh+Z/0Mmzkws9/mY8S00sYWrZ9TNUMXagNeQ5Ul
piCEqs9jXGPmR1g4xU7mojBpSlofqgy+GCx6s6i+FHNhsCJoaspyoIuKraxrsLbVamsqZlgKhfOK
/hzssbCNPcrtlLZW5zbrwShVZ54aYfwhGvZDNweaVfDOFPlb9Acj7R3VwGCOAozz5dqkRALJKYox
TrXuifwleVPqCR55QIqeVidy+oD3Wmbk6IRe4cMm9VzO6ylpptXM8E5HhcJN8EZXzoR6KT1YrsDh
eGJUzy6tUVdnYioxmrqITkpZHZKlzt2yag9NF31LwvKLmVl4K3S64Q4akAP9ULZetRbB9WPBOn6G
iOkcMFNq4O+iorKgjs0ykodQmb1aaBIuleKA89X5/1mh8j0Z7OfRkoFxSbKIf/bO0A+7tOFRMDDj
8HY1VDo3mJj3qDRgHefbHlnCEMSu8pC8D8/mXuTzGJ9Zx29jjj7nUiXGVlMBFguWQBtxzBsy9Zum
9D+XTpSDci5TTjOSdSa2Bin/lDUrbYQKYV9QIcqlifYcc3MD8i3oc2fICBaE4kT9NDObikuCklGK
uXx3+RW/gMkYbQ7IbqfIzXcWyOw8ycuRmdQuv+/Aii9b29RlkFvzuHQ91mdVj7UMNSb1UCiC3xft
/rpDMs+eAc5DBT6v6yCHuIwu8L8GNJe4dpZDcy4O/TG3m5MQEFUXnTfwQs7xpx21JHBKgecCgw3U
GTM7HexqOjhjSPmV6NyTMVP5liiY5wEPqsM80Btj1FFbp3xMOgncPuWkYphVNidbNQiZd42pdc4m
/h9p37UjOY5F+UUC5M0r5cKm9y9CZlWlJFJeJCXq6/eodnsqOzqQsdPzMg0MUHGT1OX195yzqvJF
1slzK9s2CyoTU4ZTKGEuMbCamKF+XC11eQB2d1xHWEiBrtQf30s+F/5gFvevG3VPfMPk2mLlu0cx
N3szl9Bs3gsTeFreGE5BMoK+fc4t8r3I31PL33zF0y0vuhiM1xIaM8YMiA5giCdqZyVdAmy0q/Kg
Iu3Tv24AKjGkxR3dFLtLQ2tnrQ2QjRzsmWOY+xRAT2VUax0XXzbQkr492OragcHunYOUD9+f9ayZ
+SLp5Bl2vs2xWI6jTmA/Cg4iry9c5iUBJy+iBHUxEOwRjHnW4ywOi3shLjqT4BjAg/xzVyevgNHc
d4MGjkBP/XRNqup8M1HSR1PUxPJXGRmvgFf9327t5DW0llzwhSATYEeJo71wf74QMZx/21g1RK6B
pfjTNGO2qxbM4yNmUYAGmPVPtC7I4r18f4xzQrD6uQJcYhUaa5N/t4z6vEw1b9Dfzmz17Hbjz9nV
9q52aRjgTP0X66Vf5KxW80vs2niahRwGy5nczZPeUMko+qvGdGN/6fbODCKAXoSO1RHbxI55V8do
68cSALXdKGLhISJzaE3coHxe/OUdC5LjBSW9dBEnLgJwGWW+FDDbzay7WC7QOIo1hSJq6S7B8J7z
e1/vYn0vX+4CgXpdjmubxgUF4TDwHffrpHb9nQr6zb/5vAB2tJAGAYvjREvBQZIX45qqel6+Hzv1
DvTfB860z/9JzGloFEjN4U0PE5IZu7zac+NB1RcUdX3DpwYZyHJ/neQ3BOiXS2uCCqBzqxNgQU9o
5VlR0I/3hpxs0JPTA9W07bDQS22L9at/J/VEbZFa9qPlrHtXKNJWwKmEWWkoQDCwbJ40qfOzvLQq
cV4PkbYGPgbRMCL9d+VADQppQW+Al7L/IYPEASdCf8FeXhKxXvWXq8xLOqjpdxm0qHZljshraO8p
lZcioUtyTpQP1JBzxUZoBd1O8eRH1ka7q0MZzoqMW3HdJyuvBIqI3+vi2bQAuHL/7waBlfL34y1l
1wfWGuy1XrSuCPC992Z5KL4au3Fr7wUn5qWTnlUTAyvnK7QCcP/Xm/hyo0DrLjnF8CCiBR0F7QaL
Nf4NC1eO8jYBhuwlJTnnUQGq8x95Jy4776WRNz5g20ZXAlzkp7pIu77a/X8o/hcJJ2rI2TJh2KfC
6ubBSNahu/ywLuOyKLhYKzyrJl9EnagjN6qubGyAEbdBFtblFZXv9SX/c14G4KKxc2Ub/+hWVVbH
7GYtvtKR3tVjWRPLNSOt9/5rcAC4OYAd/SXnxLQzN/O0oELUpmV04zNgOmV58r1+n//2f0Sc6Fo+
+gOda5SbgsnYsiZL+1q8fi/i/BP6cowT/SrqYc6x84LM+scUm7Gx19CmXXZ6slaL/z+a/Oe17c+Z
TrSt7YpRetW49sLWPB5A2ynoP38PtY8XoqpL13eibQOWM+rChJ+3h4Mqf7Xurwt3d0nVTqyeV5ul
tgwFC2uy10AOGBub+vftudc+zoT7214ad7lwptNuU64XpTYYFrjz2v3sYTSi7OLvT3VJwkmY6Oul
5vW9A3Og3JJYVVCSqpWbfyMEKF2A3PcBcXUiBIPXWdvk0AJqOD0JBlcn4Ae84PzOn+SPkBOPbguN
MthwIKqWE8imKZYbLjzQ9QP/03T+kXASSXqjqjF0DdNZB0GcWTu5HO0lNtS2qp6X4LnqL8g7r3B/
5K0n/uJ8FlWUTiBcFBm0g+MUJB9ehvzh+09zVgaKJ7bl+eva6olSa63ZBUuNM/WttoO3i0yj+tDU
cMGRru/8H1f3R8xpFVhpM9Zo1uXCkjGPuE0Osl/3rqf5nZqwGNupf+VIvwg8UTnPKDFgYEHlAjZG
SDdQgzIvxCPnzwQoNWws4n9PcTuakhqLOyBRNDr6pk0ApzRQ0Zb5FjS58WzNFx7R2ao2oIr/I+/E
wMlJevXi4lMJFVMez9sq0eJ18qQGwjpGpTYXx4dXb/DPr/ZH4olySIO5ubfut9u3Eyb8lk3DSfVR
fHrpugDr/VS3fqhfXuE56zT+HPTU6onJ6mWL4OH3OKqKRzAFVft6neJNLzWHzyA1wq9/kXWiJ0Mg
q6UxcMTlWmBr0dqgG5I9OHFuEzuS8WrWQc2j/ZwuzaScNVdfBJ+Yq5JKbKJXMLy6dl/6H7NxwXic
WUT/+8lOrFWWjfNUTziZfPFT41Bd548gsOVkCX93hu+L3ayR9oITvqAxp832rONgDZIQanLjs9Kf
hsp7M5rqxm2KCwHZJUmrYftiHI3BlrySCPy8EQs2WIrSF9Qa/K1XOBdu8ryJRK1uBW7Cfv2JJL/s
Ms8fEcYiJt8oTYWg9HjUl+nCgc4rxB8x64G/HKh3fV9j6+T6IgBNKt2d4pcYfM7f2R8RJ9GYZ9Js
8JeMhvWcJZkT1aWZlBh7vFS3u3SUE0tljcrUJrMC0hAUG8Sd8sJVnQ9jAdD81yc5MUwaoKfmjKNi
TQ/GDytZG0RBuKTVu4pWHKNLb/WCBpyuxo+BVEE3Y58GSHvA3DBAFYTJB824YOHPOhSg+GGTGezg
qHr+XQPAYAsOFw8aIOmydUxvg37HftKEIrbeR8D0+hdtKHRO/iPvRONm3++z1q4B+0uRDBQy0ZW4
8HbOatwXEScax+wlUN5a3Om622p+0jw38poPQGFd8MVnv9AXOSca16AgUZcLrGmt3LfCynMyDuhX
zMHz9+HS+fMAmRAgu0gFT6exmrGpda1E59wwtLAKYEBLHeRp6ZxdeqvnleGPpFP/oGlWKXtUAmQz
FiQzh7gHSqBZ0dsJbKEZ2AO+P9n5G/wj78RdWM3oIHxGQVFUn4sjQL2QEQD5RN9LOe+VwCHx1wWu
puOLlWtXKKvKR1sSGFJ380/vY+0y5QcZ20nxjjFJQB9wGX8v9Kw5ArC1ufZCMdFxYi2AhV/6c+3T
UENXvApkKNu7/0nCqYEojMFs8gmnmvuHXKWyuP3+98+r3X9O8LsN+uXWuDLKYpG8DrGrRURRXVV2
BSY+TCA3lzByzrZU/T+39TsM/SKrEFMxoy7/f8HA8z3207YuJrmrTZde2jdYL/4f8eUXUSc6Zzht
MzP1m4BmBZJeUcexPJP+97ONiIS+iDnROblIS+MO+i0cpNJ8OYj6zXcfaTBeUu4LivZb+b9cXWf1
FeY/UIKQBrFTPe533c2YZgi62BB5nyB7uDhsfFYkcNpAmgZMyX8wI2SoGhlWh5oonOUBgIVpvvgX
3NJZy/BFxKqcX05Vu9VYDsGKGjYmnXM0532ZXQgbz57CBYkNRhUAaHxKimBag+vOHXROG9SBg8yL
m+qCEfhdX/+Hsn2Rsf4NX44R+Pjd3lSgEmMZCIOdvVHCsI48uMmm8XGiYLxUhvEmJ/e2b/JIs4Ub
tbO3AK6Xbwc0KQiK3rFGJ4OMWVEQW3TvGe9j36kEEXK87q3gvu/5fUUNn0hdf556UGqarX1fOnUy
dPTGGNhGtABK8o0rJ5/u3AE4TXKkpGRLTlrm/MppbhBMvryKQT4Y0vgMbFqEsMwTUTU6/9LAo29B
qUx98ZMX40RyafwSdrPthQXYHlmMqRx5FZkzTeus2IDOAl19c0qHfCQunR7KBqSnvoD/0MTck7YJ
8uNsj9qd5RR3CDzuWeveedo4JHMmJGks7VkrqrepzttYNPVI5rHBho5VvQ2ac7Q6WYRzp9IeYGEE
i3f+sQvaFLxLd0UrKHH9xd5QqXZtgAauTROs3D6YS5MWeZuMrv/AKg3LKTp4RZn+0aryBnWoADF9
dml26XzM+OX7r2r+5ft3C2jrlgYhAkZFQAf3viZ7fKPyiCuyYBQG3+pS+W6NOr5TuZOX00im28va
SkYKQeyC3fBGhW63CBCttgPpM5e0bff6va84GzigGvEbtm0lS/n7Od3Oy5XroPIBWjjSTzLtx37T
mvIA63Qs+fz2vbjz9/pF3sm9Too3Y+ki2Heuxyf7qVhxPgBpS0p4KmBVNW/iUs3yrDf8IvHkWhl1
ffV78aELmkPTAg3TAQlhG9zi46Tfn+6MYQL0BgBggKIL3IZTQHFt9jA1sYbkumYBFDrQj3pTXShc
nrGvf5NxErtmk0ObfqhZaM09Jn1qYtt31L5QgDtzZ8CYBK8qEG0tC+3Nv2tFwPQiAwAXC8GxQ0rt
qmt/DPI9UBfu65KYk6hVqn6CKSxZaMzPznTDiyT3ShisCxvLl8ScBA7epEzTEvAXjbVEhWsRjmFL
TxG9urR8ffbjrESGmNTx8J+T2HGcSiaQ+8H5dXlcLFOqeDzx/z4RQyr3HyGnS9GlPhudKRDrs1b9
8AvAjnd1HsT/QpW/CDnVgNFpdXBoQc1Yi4IJVi349nsJ5+9qJQa1wN4G8OS/61g1+lNdw4/DfGOU
qnPdkBf5thX5+/8m5+T9A/K8tzE2AIuTBWEvqpywVkTTnP0bLXMDEKEDeBOnWi3tF49Bed5isAax
FQ8eh+VgB8AuLp7kxcLuqq0nbgKwT3/knBgA6XNN1xd8GZk0W6yQALWgxCRCdbXuv17emjz7mb6I
O1HpQGsBKGTLtRvj7ge/u9EkT/tCXDAFZ03nHzGnVdw+n1H9ZFDqYRQ70XYRCH4vpF3rB/jm4k6z
cQso53PF0fJh8tHIDytfdAPcDkQZtfjv02P4AeChBiuYxj/oghemhBoEwxMFriebih9lHiRu8y9S
1b+JOXHeeY9a9dRO6M8aJuE9MJXnSwAkZ23nl5OcvFJ3ZJU+ZKtWK/nUCRqNygchh0FBemheiOvP
qtoXWScvVTYLMJcc2Gnqc1JaXVTP9ks7/ItZt7/d2slDHQI3nxoFw7PUWlx12k9Ll2lj+Rfs26Wb
O3mnk29KMSiFeQZREce8Uw4yOudVXmqXngup/naekxcKpKq20kxcmwpF3N+tmbEMJ2zI5WhHABvy
QmxwrrP0Vd7pjnGDRGUpqF6j4WIkGnE22RaIDgTcAdH0cQlL4kxQ/DdhJ37ImwyRgWIcIy7NZ89v
HHU1F4e+ObgZizJVXni35+8yAAH3ygYGOrATcaPKmsVYSTddRjjGhlYaMLlpKbA2zQRUXFjN+947
nQE2QDj3ReJJDKS5fBwqvqzbJ8VNF/mpHTrYcizT5cq66mIHyNTAuFKb9rnSLp0W+x7nvAkAyLAI
Yq5YIacHbnkOFiZgRYPrUUS97xNTgnlGFdGwvAjroSo5ccsgzGoetRV7sq17c7BQ+vXCoHqxgxJD
cOaNoM6+XQyS5RNhUoWaxVI7Sx0RRKW0w9a1SdbO4dKzXeeP6OaLWxM9haBeQhHItCqPk9vetKo+
yN7jYQaIkK5/bUwvzTAv5joLQf8XQNL7WTZbzq5bPwsr/bkz5IZPvwIteMfuRYrCKp1+Vk52ZXf1
ExjA9v1UeCFouzQk2CyRim+Wsj6OAyVO33wuVbWbHRmLFv8OSBwlvbXMLh0L72iKHOFIh/3k0t7Y
7cbq8x+mmxZ+vrEHtnfxr3QBap7SSfnMHud1claV1mvbvPSijUfmbYbguR5uKie/ndn7iGCgL3Z1
++mCd92co3qRx0I8B/4c1zloePWbMteuYC1uW3OvC8zAOs5GZRYxnBlTqDfOgDEY45G7BRHdGJv8
XW85oRiaLTIWt9W2mre9qUc2VqcAVHsI8sQe8ljv7JTKgFiNT6bmGBRvDp/TVk8MS6SoBMX69EQp
DYVzmOSCL/0L2eDRGautYj/VUEZF/YIZlj1tcjJ3E5il9xnrtnR8KvA9OQIq6TTx3JsxKLU3/tzF
3FPI1n8yn4E79lDUr+s/LU1JAvvFwpyrB6JJ1Q6hTw+yRt1EDRttKogxFjHKyVsfU3I8Y6Rpn+vs
eQbbhFd3pNfuxgZYhuUub342OosAgb/vaiOqWUt8IOA6/hQX5uPA7MSrZDIYQ2SDDNvwsbXfYCdT
timzp9uMGUdlIzr3j81i7QZZxhg1TTRtOeQDxm+xtVngJvNfY+7Hfh+Q0aA7ywPnKi5bd91DwBQ6
K0s4a1Xkc2czlADphjIiBCDdXMdLbkZONRIxB6GROWHgFsmA27HU7bKwtLf29jCEaHEk2ki3qmgj
FKGTgnLiA2N8yEABNW2bpo8LbqH1kUeTmlHFZbGhN8TXeVRooDriW5MGYedeGX0fLZ5PFraQsXMY
qew87BxFqMJqKLYhAvdeL/H4mnnHORhJxPWouWT2zKMmVSrW4Wavi3pbx1TC9SLchshBfw2aiuTW
GFc2ykMVf1nEg20+zbQlhlqf0i+pBUUYlIipZUVDJ3iQpbeXmrYDbR0xzSadbD8sArWT/RQ2DX/s
pu7OyG+pKzCdMsel9lNk401u+QDaH9trXzAy1vsCH5UikqXNTT9zKJAG+4FCPLdEkvMJbU4v9jVw
nvCA5MazDbuw0AnQGr86WeLvGUHoPoZzWaEFNmSxMHnktN41hsRhzdporl47a1+UM7EztO3nJR7z
PpqHaVtM1vVc2Tu2qFTJVzd7FvaUyOCj6OlVNatPJ2/esYaxxWpsqs8eWIs+vN68cV15NXf6o8Ec
LJ9gJLhp9rpE09wdiBhuabl3zWNe/5Jq2NZanjpg3q6bLvLqazpdT26XsNnf1ka/b/03NmXAXLET
i37UwwO3nrnT7YAjHNrsfSgfM/N97J2Hxf9V92OkZ3ms8m7LEcKwcrGIVm1L1cZKi5yevgX0yuYg
PLTBb4/NVwk7FWSfQ/VcInjHjOqWacFGB5sDnvoPPxfXzuAKmBP1qTliJBMftu3o7fzZd3FR5aPw
qndvYYCtmuf3UekHhqIByUr3TTT8bqLWa1DMoSXHPvK4tpHF8GiZmJRmrY63QV+WybznRR9zH0tC
OgDJDRlVtv1MR7Zvm/aq8+YN133SGV3aGs2OdnOKj3OcXVBTmkUMFqw67FX3OuZTPM7VQCpRP+pM
PY8zPZhFNkWzZ7wtrP0x2nNs1e229BDil4Eb5k5wP4yaSJequPV0gQV0VGRh8sSjZbtdagxQbEEL
kGnoduppLl0VbyJj0NwHZkdJppdXAOGLS6q25hx8oLKOVVs2HKndRHWP6UtTfwBAUYKs6GjyJR0G
bB0u2GvO7A9T6x41fdy4Zr3NhympR/UguHHtlMtCfLMB0M2E7VarTQzqoB/deDkmdMR93eSJaYxR
wXPokukJYs3atd+7R3f2QwV4acSUK72aNvqh9N3YBgALiBMPEzbdI0OIzexaw63eTmXM/EbA8c79
RmQwHH5mx4LneLeAKywsIQj2wdPG5T/qduqTjBbXxYB99mzcuwJkpPCJLBOPWtMeqkBPmQR7jV6p
xO3ltb54B1At7Y2C4c/k5gHUipFAZRy7yO62L924Us61JjDiQYvXqSrhXt2wFvxt4jI0HZBSuJUN
aDd1bHwPD7i0jqPfHbuKPVQqiCy9eTKofpfVQAfzariRsj7g/hD8Oc11DdwJB6rCenM3zWOMlAQm
gRsaUXiF/sTvms4Qm8Ien1mRP5ut9zhJc19wA5V2h+60xYVR8R+9mWIV3R+iMtev9TrbFrze5CCT
zx1tXy4mwVbdo5y74wwYeNL7kyR94G0qH+D38NEVNeGRtG0AE1/p+guquBgkq1E49/1boIhGoM0I
NWa8BZ62WwyzDKWXpSZoJeKg+2w79lio+ketTcBlMODnpXGrTcYhC6bEEIURupkgqgsKUixaLBwe
+xP+gry1ZzI6CNUMW7sfJWiSWjPkDH0Ie3kvhlej8baTBGttMd/ZmrHXUbtf5j4RQk9nVhnR7DpR
NuVp2VeoveH3tZ4+jcLJV4UKMyo3s92+LbDn4GKMHQtLDy7GpSnjIoQCBGSS9sYr2d6vl/uOZxMR
FSXjjKIRtUIsMOxAFQxcb/HoDzUJnOUAZHagf3IjbTs7DmbtxmIAQKQ6VgFEZhxoYx/qLDtqpgmC
8KyKuenfU54lOmJkBB/A2GyRZrj2Tc+dD6PsCO1gvQH/W46Ie+YJ7Yj8sV4aG+tyI8GnDTO9x2xn
P0dBwaJucn1S1+UnsPiueOc+COVoJF/kPaMs9Kr5wetpJGyJ3SMzF6TzMywuZzqxSkQiYwuYqAoX
GmCfWTjOruwBf+kHyYSYhg0yzazgrqv0EOyK+0kHpqqWR9jF2VWZlYx6d+eqYlMpkWoU+5kld1mq
O7ezH+ymSqWs5ZtJuAdsTSdFa3Vk6bqNyRA5jSKTAC8IktlhLwu3NmywdeBILfdNsDwWtbzNl2bj
TLCvgy9TGx1zdBC7Y6t7dxPTifTcpG8A9FPZn3WgHzoXL2ZoifL61HNzllQBm4lRFE+TyYFcMDRH
f/YO/kKtqM/HN2MsibDzBy4wexno0xEscrvWC34pVVaRW9pPmeOGBuuuWWPeubVKea/vdK/ZKJ/F
Qale7KJ/tDCjxD12PSk5xwiSrxYPSLAOHEJhBp8ZrsrwanBtZsUtD+zY7ez7Lu8+zVo6ZGnEFlQ3
Hr6D6LCt7mCJo/GPdqOma97JT2+gB2duk05zD+XcJEGebwxFH4WlwW7y7LFH1UeOxYdWq4Pl98Qc
AYJsu7th0LY29MxZFliJ6SfT5jl2vS7pxfCjRepitmhqFd6tK/kVHMKGmriqrJs+ubuk+EMIdrau
iqC9n+diwDfVdpmDRZrZt4+eVqV6a90bwsiJNmoJwA121O53tiw0MnM9Ngbn6FlLMi9rxGgko414
aHCxR2hZRzuXGE7OEPB3larhhWdB3BHxkgMro5mFR7SmaVEmqR6x8QyuUA3Ew7xxEEr76Zhp6cQQ
beE8b9TCDkIw3iHsezVc9cjwaKBP/s+aVRYpvX4iQyauAr16Vkw8owoT9gOLm5Zj79uZdQKoho8p
L0xAb1pJIZs9b+k9hU0gs0N/UdZstKJkpNWsOHPt9yyAwjBfJwxgDqTN8gdaUxWWko3E4EE8GTTW
swDxi5cGatw4fb2QYemvpu4nMBPh2kVkFvu8ng8z+EQovy7K+z7TyBK8MDjC1nkcekWG8qq1fSRI
D4UcQ8R4lnWTobo7tLejREpqxHYfT0tsebFCFtc2W5XJUGVjaPd021Z1mpXT0XaejdoNxzJtc/Aw
eaFWgQAWOVXG8lDYFoKiHEDjHak1fui9apPbB553hNk8pAGqHtMLDQ5UvdUBhaphakBHxq7cK2+6
biWNF8yAARKAAEz8GrYXCAj5cuWJuHH2iHkokkgLUVW2y6zPKXt1xyzOsptuTD320Zq3NgyjOWCM
lv7kiFn8JRmdj76+7btjP84glnhQxQPSBRhM0mmMBMGrz565+8C1/cAkYi3kpbx4aedpY7o5cecf
AnZNCSQBiLRFvRNdseVw18HM7ykg+YoqcsajhrXm+a7nm07NpMEIoHJNVGYDElS7odOTGmlJrZXx
NByEmZMM21tW44RZ/1PUt7aB5YYSATF4t2cr0QIW6ewhL5Y4t15zzNmjDRPb7sM0Eokxi2BEeKin
Buh59CIeixm5x3s/fjR4IZPpxIZTE63jSHB+UDdejDLspvuBJn6xz6ROivJukIlACsPzfT/rIGgF
HYw4VH15Vy3ZvvEBaIZMNhsTzY2lPpM58GPXOLrNo5uHUwPMCHdEHSJp7IwgenwMGobhBeQQ5V55
e5Yz0tOjhKOpy59uv1krGKWJyAv63zYFkT0+cvsGLh7Cg42jpd6C8JSayajSRdQpxzCrNLyJLIKH
edD+yqSHYq32050GjGrV/AE1rkibxqjkaNkrhOuVvPJtd5OvxQ95aOqfVnPsWEOW0ifjtPMscKcu
O48+9QCOyn8F1WvvhUUdD8FWw1taBodQC78jbqr83ZpvummvgnFXOTIqoKZtc+NTTOkARsJeKFCc
xUax/McgymOb2aGm/AhsDKm/IM/Az02jeldAS1gsJxpqGWeGdYPluoihx6/4+MQm9G+pvuwqHsAk
+DA//W0DapoGCMQG/i+uUCdgO6FHXmkSpj/LOjWKLfCmN75bk76FomYbC0zcaoM5CaLKBj+jQeGu
BmcmCDU9uaHOHWuiQKIQgdn8JduW5v1gHFejYmbvpbqpRR7P6LqxyDBjIPFslxmVh/Gj6CQxBTaJ
lZ5kAK3O4DzdZYv1rDRwAAJZe6Gfg7VwmPGn0ZBNSPWpkZTFQ4EfGLqB5JVHSjluArY8gX0h8ehL
4OmJ9+EP+daByzHk1mXAXeidUPbRCIaeKVZeNPsHq3mc80TmaTZeOWO8DL9saJchHXS9NKTpj1o9
pbl4pmYe5s2y5nVJ1+JhzMC1Vzx0AdRl8RTbNqGlbbMx39r01u8/NH24q6ZdIa09Io+IVUuIaYWw
17kOTBJtZ9mAEjSWeJLlEaMMCEcMVEbaPS1Z4o77ChWIEY1Dbs3Hwv10mmEnlMLUxxTLAHYeaQav
56eCTxH3l1sLLiKvulcAhCA8kBWp+wA+DbZikUmPJ6VKjFCqLmp7GAPvUOMlgVQt8su9Xrysq95B
OSft4mEcBBxNI9ahWMq9fLNYIB8LikMjxIOGcRcPhsAssT9ci9RqHiYOFsAa2bthxMt4KLyXYEEe
phfPvesdDOQoyHUkT1h/7ykaVk1NfPXpLRIXgdGJuom5bsJcg1FQ85DkoVxGmTqaoD+wi2lHe5RG
JvAqiSoqrL3PgHnSo96JipXTPAgYYZHtJg9eFA9Ka1VodwoTNONWK4AoBX4vC9M72m3ZD6GRT5Gd
Hfw2rb1+U1lj4uY1QguMsXSRnDr8YJay4gUMRISNFNm4fVDCSkyUwhYYVB1Ri48aQBmQmlZxO9x1
w0OBMGrolhdlLbs5QDWqe51ZRhimjJzqXg9ebQuVM+isX3TEw5fv3SHMspYs0thUyBCRdy64k1k9
+Pj7jKXauwsMVsOTppo3VQN/bPy06NYykt4SITcBcekmAco+jS3R98dudb+1MFIk/biVgmh1Tir/
MI9Z6DmJNb/UPPbEcWkwG1N/ZqxF/poTMd743qdSNw7gMIzXUbt19d0y+Xs9u9XKm0Bi6xI1T1fB
sFYHCRhmtMjbpSEImwuNofzb72rzZsJY6VDnIVV1rNxtJ46Fl9071qZDtMlNTI6MFAp3l7casdHB
c7ocK+AqbMwbvddDyvdzh/CmS9rZDSeviEA+e1CmQxrY8NEgLPvlU7nFuCfx2FFhk0MvHtr+SdNh
NtQ7hp33yDzsaSGG+axbqRgPPKiJA/cipyKdQRnfPtIyLrI2zrtDtwRp115bzXZGVY7NFkqd8J1d
mTjw1LW27Y0Kz3uKPOMDAUgcUGC0NBZuK4gXh4athtJu/aMZxgcDhs4eO4zFKGT6VxQ10SDYYCAt
Ciptk48whAXKzRlBaXvjVSgkAT63v1qMT6BIBbkem/0PazISNfxw8I+maiOKYLuoD9155XAhQyFv
M/9lWidC9SGUmFHTy5uSH7oiD+0aA1V5k1qc3gk9pk0T+pwTb34yzCezL0PBWNT69m5oMd6ldUgK
sQrbEG+CL4dbuGVebpLWGpLc0hNE/DCrmJnCHBPR1fR/OLqS5UhxIPpFRAiQEFwpqL3K5X25KOzu
tsQiQIAA8fXzam4z0Xa3XaBU5tvydZ2NAnIRPXbd6Kc993fDML9E/fAv4GOwV/X9j3n85nxi0q6C
2Crwd4uNgRLf3/7yEz9jkA0NOToG+cbUBH+XpPsxa49DEXQURTh4nZDDtpkSvSW9fI2YOMZhj+lr
qfBgvd8SWwyExZY8PX6vYzDgSNM19RCUHw7BNmg4einf/66i5iLa8OBF0bOocdQFQoO7nn4y0e+G
tf+UYBqS6r7xVXn/KH5hLCSfd2rSl0kBYnH4dwByBS/Ojt+zEH8SRZ+8SP8x3jAekMMIKAUvXWEM
9ICIXmzorQFBg56ovcaFuCG+HfFEZX11EgB5FY+Y6jBIBoZvnehe5wX7Isc1fhjGBSj5AiWQJvSh
494bEjnPpBVNSiZeZv3EXlC0dqNlTyPVl3BRfzsxnqbC7cKieFWM3yLhfvhAXhMdPTNZPzf3xdl+
B/VjOe0mVlicDTRfTcMf1yg68Ko/uM7eKtH/KjugoXRtkQ996G3MUF+lF26knXFNTPYfX6OnwmJ8
ryv/NVg9Hz0Qu0J3fRULfkTn4TQWY+bVCM1bxyiLHHklSp1A+zVpHSLESPgiwLPF3LxSBKnOTdpy
zHBDEj/GSHYcGTvE1PuietmVq9eAP6j/cFV80ba6uUEWG6B53oZN/InHPYqkDPy0qYp+Mw4YTz31
WIXrF7OAzYMqfuwsf04ggQTetvxY452DEqIhS6ZUCwS3+uhal1WdSyERCjIUD0MTAf9QD9jk0G9K
5BelQaf+1YPz7w1SZpLqfZj1TrnqZSHVmSzhxq7Fir++/Nu0VGyKZHwICn/rY/BbfCD5axN8mGiC
OnT6HfGeeax7wV9O0tJr/iU0vq0dxTVLsOrxnhEH+d4N2V0YVsi3cYHZOGsDzOhkfuJdUu6kimad
YveBeh7XThxWr/SyGGqOjXBl88AMZg5voOKDziAZeKMdrmdq5z8kdFgPSpA1xAixt5mgH6G4QJ4i
IooiHepyfGtdhQ2MrKvWLOJT8RRjjxcmqa65QKIynTXGx8MqQPZ4foehyZg6jxxGo2Sm7BgYzJNr
N8y7sPX0BRLahOcLkt7zoF3Up/TW+HFBxHyR0sVOF8EVUl9ny78LG5Wv4dK3r42dNaQiGAAL5SMe
KYnFMcJU+s4l6ulsl+LFi1i0rSnvtwTXTpaEkkHg6NuNMaLDx+iiraKQa7Ee06SIJ5VJpH3ksgrH
T6xHv0euRfW5qM0AV6haMza27ATr+HyEsEm+L7EtTiqBQoJF7Vrg5aD+iS4cC6Db6Z++wxEYpKfn
Plr0Z9sDzTUAXfJagOAgNYp/ASlzOpUVyp2LeDrP4Xj0eEUvoWzw8SBBYMFI5tAzhJU7IMQ1+fZR
n0g2x2uyB5BWZYDWx007GP+LixW4o0ooltzb4ateNABLyICbb06bJQFS6l4hFoveElym25Y2etco
3BFx15Rbf+ywUn7C8xcFX1JvXaqtssWdBcZ5i7m/bOCO/Mtq+dUG+PbR8OW7HMn63SIKtU9nR8EM
DNW6o4Evj3hXqoMfDNhEOrXtvp6BNPMOGmiCAfAqmEYumi+L/TCsXso5VXlru+Sz9zUwuXhcD4ov
7okBFv2MUE5yeKp+Jy8QQCXZ/Ft6YRBuTEkB5YSDTy+SDhA9YCHBYZhK/IGWO1mX9DyEctj79YJT
LzwbvEQBQ6lhyAVNPdaAgbZ2zNsB+XPYGos2e7bYXaqqcttMk8imEv9LWMlTHrB1JwuA3XYIMf7F
nc2jxOv3EjfSLlkEvqNr1009G72pw3DcDGwZLlNb/RZ65GiyZjDmzRQ8yFjFD5Fj/gnQI4e9blK5
aBXIGcQJpj6txYncx3PSdVWR9n4lf5fYdSmyTuq9rtHkdaNCi0AduL9+joYM3Ndn6Tw04IFYcuWX
41kEa59PZv0A5x/8C2nR/FQDEzejyJLVU7D38F+ZRq7tBvsGltPkzz/SeXgVKTaThFjojvkrBK5U
huZDxeGcR82YHLUpzE7VXZ1TZeU2XLViqRPit1p8CBWqtT1WjW6vbIovcpn9Z9uPbxI/sqc4jr6G
RGnaAE59aIciB1uNvWrrZmgRdVmTA2QKe9Rf9Fco4+DG03Ekn5HRH4Mgj94YpRysOMi17YK2efGX
LUpbjtSsLa/Qrk7TrhtYKpMEU/OTp+1xDgA0mGLblmWSrjGKVrmMhyQYXhz8SuHizjXetnyNJ+Rf
TkNGZwgDQYTvIX6F/j20WTS3eVh9Rkvzhqd+9DEMBIt7mPxVb9go8FF04rEp/DMJ+i9AoUgvDOgf
Wd8vE2ix2tE+UUamDaosZlrZb6clzmIJxEIQuXeFV8APBmwZPoInUa7FPib3JI/gA3V+AnfnfvyZ
550AM2ubOQP7eZhD7mVTi3dpxE6Tet7M1XxqRr5Zhjqb1+e+q24BJz+uNj/RWj6FvgSC1a9dmoxt
Lrwpdx3mGTLNh7CKdgwCr3Q24OtbhdVwQmLBhe3TYA52iGvb4fjuZtBLof9XjsgzkfZpSeqcrCNk
BMFpwW9Co3kbrcWD7kADEnJvRsy2BNjhOnosSvMCveSLtS6rB/+dD9VGqjDFN2LNFLoNxs56CXN/
CL57ws5tnNSbssTw3JB0nJunri3elZs2EvoIfKTnJrRTZix91ph7F2lzX/Ef7kExBlQ8r0qajmju
ixKZ/eCXMVq0LwbkHWnxldOwbZpKpn4d3DGz+p0EcDbgYT6bOwMUJsJuKp/nRRtvB4xinvRzUzRb
HfdX0Mq7wjL0BwDi3NgpUATtqfXiQzEF2MU7AUcYDYYJ2ZPXthM7AVABVuAd0fPG+cmftkF6So2D
iQjUtDbLMRT4vjhi+eT724ZBRlMlO9uvpzGWpxWZhgyKS0K7b/g06K627bnF1gxE/NLmC3m14G7H
QxiGIm0Gve8qelSO3dUIe69gb5JET6irO2J0lFYKT24snlTdfBPSnxawzxMsFYANt9YA/dTVbXXe
66TXc9TQV497n7FZ/TTyBKKLKlnkdhKYFpgA4CpAqkZy+iRDgKHosVKYf5IpQ918AYH+VhTlwUNM
SL5AJBTV4wkG/RsbyjyMHnhdX0lfPVSY02D6/ZpN9dnVLG9qio+w5psgKp+LhR+ojl+ngeYxngQY
hGlD42rflAplSv6gvT4OHb+CwPxZELST9hIggWBLk2u6IpMR0ogYsYmYVbm36Sb6r+X+kQAyQ7rV
HXDFaYq66seYv4GvIaHmd4YHT2odi7SJFEDh5bebJDjV6rgmejgil/G6rNV9KnNoGebXGT3rdghh
ZykkvD5rkmBINbrOnVLo5w1kf8MCPY4TpLtaxIB8D7GCyoHgWR+aQTS7hNJTGYXXYqyAXtXfdeOd
aVxn2KuZV7XMKyKmLIYUqvbrS2WWm/M7wIQDHW5rUEcYNNl0aZpg2Df+OoFVo6U9ltiVBtaFQjgg
vE8OIUNig+dWex/gKnDCWwH6GPEWY+g9NaP3PKtOpyuKKjABTGNUoIVdkuaaIAwwdcadeqZgkPYE
5mSL6tFzdqvH8hW6iE94hQ74FNHJYgCfwdxvu2Fp0i4IylwkKnwCcIVNEpFQuyEYc2vIXjjQzoTL
cLtEsPskJjJZx8Vnx+sjSttH0iX9JS4JnGPeckHbn6k+edNDFae1P/9rvPEGsRA+GrJfGMNtg38Z
adEbH9dB0xC5iXuQ1SPhj2ppgJ+O1KKVbJ+mhB0nBVzKr84VSNjnBCHad7Zm2rGSfHIauKwK/NdF
VV+uIBwUJWYqXJJ/udZTxjnavr5ushivAmdxgfszFukKLi81vsDgGaJ8hrMsc79B7QwZva7F8lIE
CV65eYEuRttnWyv8KusjX9t6rxD+B4MIkM/Yid8ugvWKYtoXMr7pwHkA1v0qjWZM55R7kK4X+ssE
JS6fyHyOkc0K4FXaxwvV6PH9LqtO/ZX9CroeYYj6TGY0O5YOiJ4N52dN6iIbgdzPExhnhsAjiBxP
STmMW7WIx8WoB51EvwNPfkiC4AJ4CyAVkrGXt86ClmvJd+34u0D33dlRbIYaM31jwuHSLL7cqEWB
dWflYMBPzAx3VAV2s+hu1kJvEcKqpoDU5CGJm51oEkxvjDRXunbepfP68BAvUweAJiyhb3S28Xaq
aYpLMmAV2zRM7XaiNVZkOZjO47DCBeqZp6CoQBBLiIy6srgZV44b04ApxhyQxr48IOXw3OtYgaMg
4PbMmSfqPZLi6srqHQaNj3GYw1RT3FG+WSegGMZ9RM7daThInP2k6bFV1HNZ3Nsf3PtxzkRNH1Bs
j22pinTqGplzDm5EkxigDsYkww/Q4bYbwzEEh7Y640//UY3nwuxPEUFpVVC0hLHDVoAiiP40kYww
7yooJ2qg8jHuhHhaXDYZMGl8jh4MFxdTKmxlqGfAysx7LkH12USfkcBbHlcoI/OVoz2h1KiTQQE9
rfUA6Rxx/lNc3Rl1N/0LfaNeAS7HmWr5ETGJuCaLeFvLGqCT2NcFVHJcJQBfUeOX2QP3RdSO1PF2
CoqdT82TsJ2frqv7aCxUFJSffIiRuByfw9Jdfd4fCzhY16ADVD6RN1jWgDOyt4Kh149MuSs6HKBF
629uo48YmecoFew60eQ5cBDIsUojWIJx9T7XcJ1h+kmqRx34DGHhet15vPuMIbRL48Tr9rhZH00V
54Wprq03bXX4zPAcZWNRSpZr3Gq87/VGmwfbyjuL8hOop6FewYBzlvm4spgi28qH7LCYdnOQ7BE5
91L0/rZfMNVjqPYABNUqRrhkkGmps6CbemBZMPutIKjlojfIAcXqS/1CKw2mZP0XTu88HFOPuO0a
0X1ffvnSnKjsm0tQFJD5JC8inD1s1QITJLHqhlBsmUwwsAaegjMS/vJodXuk3l+R4LQZpvixTVZI
ycwAHrFpvgQOEPGmR2jM3hdPopXAYuXl/L88YSHXsNDXeVQTxjNXbFRMt6SMzh64KQ18NXbmaEWU
VwgngLpDZ7wtjjrq93p4KL3vCPxZs6jclq9chVk1QlkUqm3YN8el4ruu5JtSNtsQs+nqsPU0RE0l
L8IaiKLhPgMy8hCjNeoh942JeoygxIQz5mhk9N7PvMnC6dfH7x4hjgCSyyiYH9QATUI4bRpJLuNa
lPuuAY1IggmZgphns6kp99QX/xjn8wb7FA54ZVJB2wvtsFzOaA0B4LTHDG82lYf8ejLmxmDUVkkB
dLpJC99/BXT4mEzFH8emXTiCbJYDllTH/I+mCQPoU+AHB7Lm6N/W7548P8ISKXiE0v6+vIGBI0uw
Dw2tWzg9iG5IhUCv1/RXJZAjCW0LkTabaJ8pc5tkD1xpyiYy7sZSHwL6L5E690Af13gDPUB2PcUc
Jad8Xg6luDnkK6fxAM1fM79oTDingoOYX0V4A0Da7zqFy7dLolvDo9R09oqVH3Qz91AwE4gqNoz7
e0eA+if/qyEg1Z6V/Vm8CZBDT8rdZGsfbEDCsyJxD94IgTwQ4GMbsxugL8As0T4O+l8qyJXzGGRh
gC+kmcfQPlUQZ2NSWWNxw9nLkVGwwViNVsHcgpqeCwhXbTHmAUOBss1JeyBqUXj7SGRVC36m+u1H
gHtzZ1LdAHKWHcbbz8TdksCDhHnKOr8GnojpLqCYAB8hfQQNAQKBHcrmXw9arAOdVrYVRBLDpws0
vnA+uET/iVrcZnX/YLoYYEwM+qze8JVto3G6FuJ1CJDmgnluxTXC5E/Pqgeo0b7qHsCAhbZagRRf
1J/JeZjD8Aobq8CCs6eFAbsOxMPMgq+ppeA7Ne61ECRoNV26fn0zYolTDHh7HIhLH2EOCJO9N0J2
HIzHKmCbdo7R+GOhDv1rYJZc12/KACf6YMOCqH7r7nIqkBTIvb7ErM/i8CcirwvUq0Wld8QyCCxx
5Xhk76ZJHkkBrtGKu2971W8znTYC0BBklgHDwGCXcb90S/FHJQyJeE0B9QwtZ6zzDDFszt0U7rpK
gwUwnOGkYugI1jnKqBlR11Zh3AuhJNh2TcR2dB2wZ4z5/T4puAL5zQJvM7v1HTSWSL2g/5lRyLdt
T8Aminl8pGww27nWFWrPQKZT7ffRboEPJLWhA2bnF3ZjFw+Nv+yKw3KXm9djZ7aTv8R/q6pGcQYE
tKlb31zicAkPDZPhjYHFnDdljQpUDg3LBsGhdNM4XHjcsN0b7M/KGBX2NsIxrMAxK/mwTDMaD1Qr
bER4Xtq5hqqok4cYCyZEOrHBHsaVVLsOuaXHql/oQXhV+5IMA4wFbjYGHfuo1Fbwhh0m5+uMIbvl
e763cZiXpt0AUOx7LpPmOAwFMEQW0hpPz/2hyTx9yG7+06ih/4hKLDaCsMA1CAKoIMKDTr1t0DXI
/iHp+ICTz+tApaHuvD3gxfi48tqDXqeEiMrvWvaDbeYBMusbsq4bLkiSmbUlx4YlM8TodDhaXjSH
gCzFDZ3hijOHSLxTF3UWuu0+Ols/dj/K78hNV/grwxBq4bpdoAtcBgCoPtTxcjHzu5TVE/YhjbfI
J/qr9iWsA4xj15pxEBQ0CU8bzn+TFiYP1ROXhVIpD4+i7zOMgVgiSCWwEywURZ9PFTD6FUp1ILpg
Qk28bhx3PuoEWhDkkPYnMYdg7CGvAnKgbIDkueq3RCghgJd1/CAavDPWE4q0BBf7MozoJn1YCUUj
PiFn7H9kjUDvsAjkjszS341BiY0abYA4OZ7IXVkKm3eueKl6TTIDcLCUq7+FWBiAdp/E+Ik0AWPP
xanz+QTilbb8TWvfgUrrscyvxGgSeqGDPlF/r6HCDrpJFHlYF6Dl+jbc6hVbUBZIzjDhU5p7fr8c
mqkGRjCF1baI5vdmFPyg4Jn4NGwCV4/VQ1AIr+X4SUxsd7VWjdgIjAY/URPRDBu1gxMc4cHepzq6
eKVUG88vgNFqXi57LgUFmjaIn64tya1MpNs6Y0NoulHYLEDns657MCReUcH7xHkWkMjbL5w+swCX
Ny9af+PNskgDz0znCtEyaRigCaQQwV+mpK9w8GqoPNcAmsaiAWrDmhokPwa0HEs21K6YcZkzNzxQ
GnsHnGuscVwaQB0GbsU6dKDQQ4FAJqLZs4+Eip0iQCiCnqExLRDU6+Ye+QTIBM0UM/aUoBLsCYnb
bTX6iKLQ4Zfo5/CCT4T863sgcIngxeuwGsSHylDvqEIoJhRh9DhqTDEyEOZFSTF/hB7x/xWWAvii
uoAo2GqI2WtS5L31KhDUDjDoDLoZZa7Cy8chsDOjQdBGE/7t0TieDfP6nYtLCey2hdA7mmz5iIU0
Scrv234CwV2mfTVcrBTyaIKQ5h0J4xX9RinghbITsjCGOChTRGFOu5a1U1YS2lzKwalDH0dxjhE/
yWCIq/IhojoHuo3uVcDHUBtZJWndETgWZFnCoR0GKXCo6sZnOn4EMESQTSMG1e/VYMRDSMb2TVlI
uVxIPlBoIVh0zMBp6c3VEW1clydT2J/8lSdopSf/HIZKIhgVOPeu80KxjWcpLw1uqneQiJFJ0WOC
33cQt6O7idlP4lOyDZwVOPDAh9NmLsJ/ECtAVRYVZj/Z5a8AXk5SX0Kyhvl9zMp4qLZjWUOShehB
WCVmnLFJuGYHSxY/6jXGqrPSr3YJL4dr0NbkUkvRnV1Zy99O8/AZGtcCuqyquYACeJ2qjqL2mWDP
KOL3oOHo/3Q46HNWidU7zI3obz0GSSgLfLevTKHfud/OtwhblF/UENht3SIRBtoxrh7qHuFWEeo0
5E7gfoMKjIUEcnlq9RJlULIMh7gvxNkOo3eLdYs9S2vS7j1fJVFWwWv6LXr3NrH5fa3HQ0suEXjy
ElLNJfpb0WE/TsEBQk00AAZaA+rMXnTsBlDsNE5yX1bxpmT+drZQAMAn8zFU3mZZF8A6hiN4FzXR
WlAoSfEUNcASYG64xEOx155d8ZoM/WYGQV+Z8YjNVNAZgFed+bbrYAew4qmjndlYKD/CCV1Ww0U+
Nw/dXcU1Q8MU6wDOM8w5EEz59hcUxAo+k6V36VwVLRvMtnnhk5yPHxD14fPdIVI3rdCY1vQNNHI2
FlizW1UH7JaKQeYPkL/BiYDkGnAREEj58gvLTw9eIp6N1F+Rdanuqizoi3Mp65uoQIFapvbDWoJH
qaNNp9fDtHZ5bOerHoKM4yRBxHmc5/FtXskGb4u/gRcA20YrrCyTZEThQ832JwcHWiXzUrUyCxeh
IW8s9tMKh1+oobYMzEEAadn1U/zkrZOFtCrAwnC+APPU3UM8iiczm/GM5WcPLAKm2BqMwYbh50Il
h+BAVceIlegGrMRV3LVfpYQYg8gQ9HERNM91ZE4gsdilZG239QFtwSe2tI9dNHRnNWnzZWoo8sfA
foULhjct5WmYXvFTQBRO0TICrp9S5P68V8moftFNISAGFi9MkVbCM+bWEf4ktFGbsajlhfrsd9Xj
qSmqXcmag3L87FhyNXCngPfe6wV+xRKROGC470AjgL40KBEfbtcVApN+ybBcAcpLzEZI/wCAse6Y
VFvNFDTcwzN6DQijeogbMWkkIGJDYeBchdR0Fslz2I0ZZGGQEkDMnGITZI0egH2J4W7KapL9JMlm
6dWVlViHOsVZJ6cHXOb/koQePUAlKSXJUYKoLuroioUkYC85hCnDVGcexOlWNZ+1CHD1NOI1LOgW
zup9UhdBtirzGEGcn2rM+MD0R/5a1/0+whoKCiod2hOoKANVWcywwwuBxaow60GGPQxiBKyF7Xew
mIClshwaHjABYbO737UWMKCog+9kNXB/GJiz2uNi/kFcf4VD5BWAA3R4dUZLjHX9VOWIfcgjSlMJ
YBWE3q6q9VdB7pl5AlhusMZQjJWbzqH6Ucw5urpEUOJBk1GmMS5SyTS2o/CbjKAXTmo/B4F5NShR
lG0N5kRQrddmDPMBoijIzgy6d+hnB++o3QoxSg+u2bhrmDR4YdyatYV6VrxwkOrrp474bwugmNYr
hw2SSv+U/x8yCh5/dRAUlSxLevLVme7VavkgveXasfapKuujxuANg/4nJSMsDKZ6adsQAKYjf2YJ
9jGS0MrW609xvzmjBsliqkLtIHY6UQ5pKwlxhaoaQhtR2Ituywupk1waBHhhHdCtC/ooA9bK4FQD
OFQEEK2U4Yty4WvP4m67zh2MFPGx7gF14VM/up5dZqaBp7YEDCgIcX+ERmuFB553/d43y9kSCH7Q
hsFm3ABzd5faEbptgpBvwS10SC6Mb0vhBWkSCMgM4mBLdLimXYkr6R5iexTSmyEfQ6sXLK92wGfP
dIQJHBRTgxe3B2wwo8yhCTspNoS7nrc/btRJan28aUPhrkngox6ECbRdiXuzFUoL6O1UzvdFNHAG
lwpkR4nSxWV8hRKq3RAkawHi5T0KWXtxd76CdEgEE1IKbCic82qBvtop+rt0SA2TzXgAywRJV1js
gpGepP3jawBVI1CKvUOqBpSHeKHiYWhzHusP1hU9jhwqNw2PLBn/zhQbrYB6gIByZ23hixvMMfL8
81AFyFH2EK4M/t+lPK7n1GDNarrq4BfWs5xI8Bv9CpVUhTe3TbYCm50Q4sX2YHG3eBHfY6hM2xmK
Ajh/0gSGxKrrnue52iAj9wFq3i1FK0aU91iG4SHi7McroVg3WNzRhyfgtnW4nQMw0WffQbSfhUZv
S6i9oWT3e7iS6dVVXxyAUTxR2FX7rCoOGpdGAGy8JRVGatAEA8u82Ms6BHyXXoJr70OM837COlMb
pI0cQaRWkCH/ihbM9ocdd2Ls0sZeyhkvmg8YM4BLAI7Etung/D5ygMEUUFnP51dB9Ymp5W653A7d
QzH/ZUk+ABnp0PdU0d/S9Tm6/w1KDdSq+CCNKjMaVhuFc2QxfUZQiim86rXCUl5IHwiurq63B7MG
D+i7wceCQgAFbuqPYSGvQ8n2mKsg+VeZUA26nq3hcY5BLPO0SLVSWbyup7Urn6fF+yLR6whBDaxX
dW4hJu9i9FJQ9UmEAIhl2Hlx9Ygda2+8hrSlug0wL4WjzayXGYPWC7gEYED00uexC7G+wKJR5PjU
iyjz8Uv7M4ZBCT2k6Xr4LXvE1FEYT10OsGLDJ3GFHn8L0UYmQ8wLKLoAqSEt8GGKqddnCklMGPZ7
tvabHgJgEWXYlIpjImHoJUHqww8zV38WvW57f3z0Q30KzTMFWIOeNIOWEnDLemFTvwPuBBn8ul4j
GMsCC8fo1VqaE+2DIvJOg1enllTAtj4LR94IuD7cjvcBHiozMJYeFPwzXB5h1F/w+4LYNdnUT9cA
28+mGg5jY7ceV1uP1McEfF8Xlr+yRvSAfMTGtpdO2xz0fDbW3qPwSJijibtIE8EUyPew5KUoDNg/
zpEmV/b7uEN/pPt0xconDTocHp5HOYeZ13PstgaXUgI0nPs5YxXEsCZyj+iEc1s7nH/rMMKi3XMa
ChQJgWnmjw2ieQALevJnWB5XR68Um1LLFt7NAZAe9IXEIpy1gfa+gJSsTtwf9LWw8RS7WsB8B7LH
X4st0sb3cLG/Ss/9lnT8IUuHw+GncQWKApJMC4peDHeVMsfeP31A9/IZE/I2CHMqg/oFdrOzL9dc
zeepu4vQsUrV+GrLlirrlT7EDPONWreq+aegUgY9cSoNJsKy2y0ehK7ir6KnJhk2PYi/FnqjO8fJ
v0bzu3C90WK8CPcXjydeSnjVMZpcjY9FiggfxGyC7ohseuVyAspBB5DIWfScYbZGB4Oxsa3zUvfZ
HWmu1LrDIIdRi4JswBZ6nJcbrxkiWfrd4p6lKw60HXJRYEGR/9IDCnHeFSGHG46OTyOktb076fzh
OwEbpeuv2hm0QHA8qwg+C5nsQtrtPAdJuqezosP2PLgB8C9vPFzSBi4PMtNsBDzUd8emcHlsQowT
/lcHRUwMz5/E7QcCLCvZeaDtC3Ip03mQ+TBCjYhOlAIkdfD+e3PzkkSYuapEQhISlhs4/5N0QlKy
ipdt4X9yhDgoTBiD/VFFA09xfKIu+QMSN4+LKB0I7KQmgYUTJgcf9yOJOfRgeAtgkoS5ELoETOIx
kUdRv1eVQCMGelDhd+iCY0ehBPT5EdrS+04O73I3KY282PLAPuFN2rWuBQeEcwmuE2AhsENxGnHA
hsbi5PnXxsbP/3F0HsuNI0sU/SJEwBTclqC3IiXKbRAyLaDgCx74+jmc3YsX3aMWCVRl3rz3ZFUM
a9fOPlv+NfUDAkCV10Q/CRYfj3Zbeu6yd6urYbTfTT0tbYY8GGoWD7l84EEUbX3U/XuB2VN32EKS
bpyahhFRTVj6XpbN0p1OsdhbamOXclk/OrsYL28TWMTBMmu8y2HbsLykRMHqM+Pk2uOGdxAvCL30
TDgo67c2L11S+0s7H7cGjwS/WmFq67Grf12D69Cvb8Lot42MaQdrpizEOOv3In7zAYcA7lhoiXMe
/YHLJcYvMjL/zgFMuu0qlsMOm3NBxCxM2k1NKYLaspyAIw4kUpBdH3ZnGql0N7AMLq9mkrnaBrPo
l0fLbJWSTlz7Lkpt+5BWMavAuDSSJdPnN6tk4u99V/pNYhgesZg/ynN/XKXTPa60CzsmN9bs7Ads
+F7/qsGctPXuOto/uK6ePNDKODO1lQuek0TA0pzTPKiEjVs2W04TAVlYAi1rrXsir7DOSbXUG2qy
rTGOhBA5YmjAxnY9jV+Wg+e85Qk3f8PsbIhfJ/4cizwwkFeq6S0XPzEBFl0Pl4+bLT/nWnmqG2+P
0oFVKcjjnWn9+lmxMFsqes7Eobo9iB3D8GZQNUjnmfnuoopzzLvZNnTZWWjSCMtr7qbrJt5PTbyu
/KcW8/icuWSfDvVDCwhfM/deCUSbb/YQrkLi5VZP0sYOZjpM08XXFVrLidm80TylhPjzx3fv/iHF
ag5zk3nbKmyC+bNJgxSR7y5JrUmsJUl6MwWep2xbqx8aQtrALVsHEMbPY/MkBhJ7jdgI7moTK2K3
qwgY82kb/cbJbsLc5JlaZbJcFlxcys8OiiiU5Pwr571RXg3hrCukEYMKG5nAo2HApM1XcreGY0PY
WUTvXc/s/5x0r6TSpvJhaubYn5eYVwrruyU8Eqvnx+rDEfdzStvXDz+x9RfOmyGm+vPeRvWdqoMn
X2lyGJyppWl6K2XpH7PN6lOJZU5/4jnkuCR2hhmUCIdLZi7275F1aPx91X3POgMatSqieAm76RoZ
chdzNrvRvW/HaimbpKHgUTvUzCJQ1B2y7g/twHElzd+Owr9qxcYZRrnt8n6vtfEZ/+t2ENYlmpO/
NlGnaJg+Jq7MpB+YeZUmz1fSL/SxXw8NA7tagjCh/6z6gLohYVRCNeroKzymoDAYqRfYEkptfh5x
Wxet3Oh9dukc45zImPEQi4fnYs0m1l3n+xjvslc7E7e5E7tOF8TevDVW9BFHR/Fa1dlBZvIYesZy
SAmHxjUNTLVmafOiny3yHhhvM3Zgss6cyHZRPrmhPOpefuul+mKgsGrnezaL52j2zaCcpnktVPQI
F/XpYn6EyUUXOF27dnroYfV0r/oDxOOdUY1EW+a9L2EncTbZRrhNTboAB4tvWeBZ45su2IKtVe7r
DAM37FEIBRM6MgKBaVunLq/3TWxtBs06+bl9wJWy8CLvRF4fu2n6pRHYKqTz1RX6W8nXF5gRW1aE
+kPFiCDDtDejHVfDwCTFqH1ngUeLZTZktAO3LS8yz8jutsVeaM4/d4LlJ7AklvH8QR5/q1HoRZ4V
mHVPVqm15cou8VroPTHxsaqXjqjJiA6Gs0JZi/eqxveA0XLVFuYmafrvLtfmZdua+P6p4nJhvCRx
ddIyjeFXvu0nd2Pn6RwAD3qBo7Cq4mlTRDyAGh7VTsHaKqxbYTXnIbHx8DZYI+r4bvvzRUK0yQUr
LsQUJMzcF8IZn3D97iIc5YvY87FYdZtWSQr36Y0p+7qe6rXhNueZHMWc8Z+NjIvSez6PYdwgLYOm
sMxXzMgbz8fhYb3PSXWr0xSlwZmXUALXXWu+pQ5zdQKPled/C4NxpiU+cK7XQWqNN1NDo6NTr1M+
hYkoMjqmLfbNcHh4Uqxp5/kz5QJ0EG/H31l0OBKb5FPXzwn6heBdL6xnNScbR14T+piy+ShIdcdx
S87hgdjb9S3OW6T0AqkniVnaMx4bvhl2CCyZrnFfoi1F7xHLdHNYNg24Ia8hXWcJyrZyUTvvdniI
1XHkNxxD9wm5PxiV/oR5clFMch0O5qrp1NNjeIlAeHRLcTUwSiS99tFq8WqO230Ovio2LKydWGU7
+l6TVrgiuZn/K7pk52N+Nd2CzfVeQBJga0lq5UmvDr7QVqa81MMhxXqe7a3mn024C5mE9E2315iZ
rRji8Y0yPFf//NS++vRgkmsX/bD01IvTPIcWmjPTP+kBMwL3gvX4OqQ9kdaMgJe7Mth2omHKw65w
zi19I2l4+o5wEjcZrqmVVuznIib9dimS9yihTmnJDYdrwIzEuZ4mMmjVJIIaAEk4vZXmd9e+F+HB
RfHoUSD597eP0THe8s79eTQn1fAUebvReIrK4RzSQuX861QRHg2n/k7G4zTc6vEzNleYd/lBCJT2
W+P/+MNG89t8keJV6H71niwhUOdCy9Zwp+wpeaqMcdXnEgkdhUsvl53v7Ho3DkqOOjDF9qeV6JvK
w89fMvzK42jFtGdva8/FMJN5wDFpKTbQYxtv2bNExrr3UIeb9BZ5PHNMJGMs3Y1JpSPVMyZdAJ4g
mFmLjKnbio59F64iV2MmPq06WZ5DmeyrBxxTMl6nvfT8dluX9qpDXMoH4miYSuZHEq4WC9MfVkWO
USGkiW16LTDN1wnCS+0Ym6ly7lM9yMUwrjEAalItbJ7Bdrw5wgqMSexSP7uouoJwQyyyzB9iqSQG
B+yKH15dGd3yXlXOqSnCJS6210x0X65rnHRkliYi1ajN84uV1UgKyr36+bRnPTicuDrBTeW/a2P5
Xbn10piq76Qz6e+MaK3mLmjS6J2/1YHA137RsXZqqNZTVj0ljOKSfOJmgy6DFytIHLpa3zoXMYWg
yZXn9vh0masNhXdtjPrUKg8ymNg1E2Y+YlQxQ++CToN2aJqvbIBfxj2AOJtd8153kLEeqN7buJoW
wKj5xNO9j4mmOp1+N20K2ofzO2aX1Ghai2HONnVMQFdPz3PBm1UVdN6JaZ2QsDZFnwMN89beLM9h
Um2tBBnfdqY9FrHl418kOvbiGqzRbIlu9VXZ4frqPnrMtIk17dPMfKkjO6JmI2A+ZZQeXGJDxgAF
B3Hjd2eD8KOmJce0FPD97I/Y0RZZNK5NN1lNehFUsfYtU7HqmuJtnMpd6oXPUcXh8lj/laP+gT44
G5X5oecZ3KXqbFb9hV8D9BsSV6eNS09g7KE4X/mosjgK73YZfWJ0oDYbD21W7oEmbWTmRnT06pNm
/CBS/zUfoyW91nKMvZ2OhpwKHCytQ51vI3Au4pacG1UogaEwTR5+bv8C0eVo9yH2ovIYq37TzTQp
mtyWAIMI1OP5q9OOAUrBbKt0spEYj3NsOSxht9a3PGovnWRIhj33W/hFuBhlu2s7LGa2OBpxtalL
Gt40lYiyQBUAiQRmA4zOMJdm0SCqdAwjupQ3TRjfzcyyZyAIOZiC0vSbjT2ZZ6alR7cwv/I+e2HK
SfxeYEQVa+7I58eoyXDIWYgO2DeIIYMstSs03K7OTW9qKnP32pYZa4yQSVMzWWtxtMaMu2cE+EH6
62dwmHyM/vzGjFutoE6t5xxaAzrAYXbMrZjjYq0MLVziheKOaLCHqewlcVvYAJgygtbHmeijFjSS
1MxQV7u4IB/S2wmwDFKsIj2qMOHsoOV3PaJwrlqXDIciMZ4IFbwrwH5M7RBLXYaizqlsKSsca9cy
ZRFZ9Jvral20zPYFZuPUfueWCaTWkq31GYMNx7jOSXgMGTElnJmDI79MY1zUunnBdPJcZ9oRp2y/
Gsn4Ev7dVnHx1hrWk0ucb8nwYSKBa6AbUNC0RvEX1YwAhuxpHoZuEfH0WVazD83i7vctGUM85bqK
0TTKJyiXeynbbepZX003XkWsv/odhY7LWFzLL1YKfSjSoueMczbs1ZGP9+xoOGPHLOHrss90x9+t
75+KdMDcLBAeyataQ7yNXZNQpg+tKwwYEoETSrc9/9+A7wgDqjyPULcY5PHScgd50GhcK3rRKrIs
erS2y/lUJzCp9EnuZxNXNzE6HI3YxANXrz40gzrBcLT3sfPpu1rQdGWTv6ZGctbmsFsiFGzqTpzL
RKW3LjXeZqffl3AA9ILrGtXdgHtopOaaRvHLT+TS1pzt4AGvBKyWDnjMLQqQSb24PEtdnbyGBr5l
Nlz4HFeRiwKXI2t7HF+SeABeC0WNZ5G5RqEhmhFhLAuDSs7PlsIC3jr2JR/kC448zm9wHMa41ced
M9L/ZTkrL9DcsG0puAL9VCyd1D9ZbhZUJokOr3zHJkGEl3ovd/ZurH12GkBE/F8GhnO//2UU8mGF
IQwZb6CtbnYdpCYRIXaZrXUxORVkWe1KsKQMYVYC6o7pVaDa2GuJjuOWNACCeD3CzM1zOdk7c53A
gnXGD44wYnYIaAySgqoc1gDLzk4SfsWe9mbN8b6DHDiLC8wUyGsz+ELvohNixNgE1WlkxZWlaQfe
4O/S1MWCgNgIWsnGbKzEqikd3sBi2+FuLOJi1SvE0tab1hXQVNBVfwXpwtTXtg0TzTBiV4PQr6bH
4TR7LrvmppPW9jsVhX9TXb5gt3cWmds8ORrMXp9umdh54HfGKnqkWnv3GipeXm5gLrTwXoAXnWpK
csMad3advjYoZb5nH1kFvB+jaBdm89Wp3U073EdBNYGIn87j1nv4yGoHfA0PI+nKghRaoDfGC27Z
/RDzSZZIepl+rVq5igrC71W2hs+0y0QSxMWAzg3lqmazj+9w8/tyg8WUqjAMhqR4d9L+5mDj1FUf
GFQ+bsGUDimYvjnomKjQWKFYPetGdeqx8JCfXOsQwNjFvUm18jhz2QkgCXEOk3NM1nnxOnfzvlbj
n9KnJwb4e9JLW0zGi5aXSTZMGTW1IA+wqqs/DZSib49vM7cR92dAyPfDksNz3EzfIwOdIPSKlQj5
VZEE03TcOlAumBkspz4j5/9BVHtRQ2iJHtxK5h7CKRFrBCi8ntRus2stfLw5du/euutsCOPCf3hG
tzpDVzKqSxdReMZYPXUzVmqKK29Yzwz7a+ia9YCbh4PY4IMYin5cOjhS8uRzVsbSKnJGLxu84cRl
osBSJggJGcjRXnapG8zQHPw4XrUdAAV0Cb+iaNDadcQHGHVWMCUQCvETjAi1UpjbiRg6sIOtAldF
ZQlnJOcR955FMeyIeP0Wbn5wH6CYybzGYFk0y721DN91fm3d+WpKiiTnvcszSJw+M0effQzWC/Hl
jYzlLsvSxYgybVe3gWI+Vr8S/1sxm2vRMMSASxNxPsTavLMidDX/llXVnp2Y947JUtkqQrzGomWZ
L6HLwCIbRvVJPf83AbdoR/OiCKOOiX7WWrLC0eec0I020UW3mYZM0bmk29FG7xr56fdoTozjw1dP
EL8kl/Is4+h9iLAZN/m/KneuhS1wXNDtgTGxDf+m4MomCTdzqLZUP2vCLcEMc6hsHjc1NBeQgswZ
GMkUjCRKblTD1qyjr+MZ4cNOMIGzgtZfjINwl9iY1Pqxk66YnP0suzUHpWI88dxLk+lKsmkyQC94
NWyjuHZVvSeGsiQPvBj0DPqUi68GMbV+nRr4GTUQjnaJxfBjZOmBQkfFCRN0BrAA5tyVAkLWOVvD
sHclwgrKfz/wNYUmGQC/Bz1mNTfB0TjNFuTEeu0hTxnyH5mo7VSVgZU759RLv/H/7DQcJH443s2q
fioj/U9kOUSTx26XjLGoSzHWL1yIciYadlxzPFc95Q7vi2ddRDIBDup4YcvKPpvkzGuU75lJnxH2
X7rVr3KcyXpq7mzSGrOHgshPm0xtZRTJAb/I2kXlGCd101G1Ei+hSClWeflR1Ip9LwNGP2e+pChy
7lpUGJQnUJwL4Wcc57aHpCGbZTuU466OE22buFrKdMI0zu1cXOsYEEc4s5xil1Qet5q3bQpyTnoX
PpJWe/mYSkMDws29zkaHHr258qgvu4o/1M3oDmHl7AkUH8vSW/UWUkBFAZZF1TbWmnVGrp+Q2zWU
PsCmcj4wzFsxiTtC7cPenqz9jOsZuBJ435FpZb7MVPmU1pg3iJXz3v5G5byg3FnGD8Tc5PyYiX2d
c2SISHsioMNFkRwVr06lxRfHJ58Qjj8p7J0BZrXA92TX76lIv4chu7IwPJAPIzbqMrneJVGeFjwN
BiLvTfiPTJrkPMOyMFonrZBLj1yvG4kb+vyjKVMHCScMAZJSMISN4TwLHupUuqdmMo4lxMmESYEm
QzrfT5YdBb2DzajMX0a+bV26v3Ov78tC7EsyXbKAb9y9mQJvC4VTR8IqHtewyBmqWnBfuxlHHk4L
B1mBYXRJo5O788aNxXGIdFDDnItTviHsfQu97jo8GteH0ATPjunyCzu0At2w/llVBRlxILnAbqqt
W/tnq3GecfEPTDOJ91kiX2ePHai+YkL1pcqRVLIzXGblvNShsFdUU1xBDAE7kq9xZ39MfnnG27JM
ZmTssnrTnRlUtvfj4/jLlNGfVeP+xRORktLp9i4DzIWyFZdomK7NztnMsb1rHG0DPqDkR6uOMFV0
nxSoVDMJxtJcWfLDcJkXuvTnzMjivP3ow5qba+B5dhf+7G8H2T+ZXQntwuaWzAyO+olKG4catBtp
nbwORHGc15iJ2paZSF2VZFj8rTDYJuHSAUWSwZLHB1yjtdtxDLBEsQ/KE2hQ7zpXAu4Nkk48YN25
SfI7fvT2MhjNsx6Cq65UvwsFn5BX880WOgvHqCuCut01xkMZYxjYGOawTUcfa/AsEJhzP8aXbvVb
Lc3cpe9leLXqZkWZOjLoFmCBHXmYCWWtx4ghJAuKFtguqhWw2QhPRua/qT7K731fOmdwweVOHzVj
1QxluAI6Wu+nitRxmKkOfYjeMQO9RNdT+PgAIqW0jZfrL6XLpZ/6KuJzBAAHKDOllKBuKN7BAPRn
x4x6tILiMZaOsw1qaAS7YeAjizurOZQE8r/nEq8xhoze2oXAKw6uKoYvPzX5HfuOJRPVLKFP0Whh
/W6MXScgE/kUFkOfDq/TaLqv2GjaLeM7HbBMnQWN02qLWMOVkzP3sANPVKiAaA5y5Y6WvU2S6Wee
RbLPaaEXU5HZNahwc0S7bwyqYB8Kdo56ms4O9/aA53fo/geYuqxpTKLh2Q6FtR1qrPjCxu8oce4u
cb0ydsM2tvK76ldvPFBvg+Hh+aKCxi00Bm5JEepYs0SQ1CKAxwyF98DXOZNTSGtKDoDHvcfwL2rL
6VDoDyYIPB0gR+1HSaB1hW/b3fmNVe8wCvoQa9W4boYavbcj5zeUxhwMc2TsvFI0ywYoco5RGPUo
SR7+3w7nswECcwWqAmpm70guypTleprgL/JHmElqAAs6JvMk7+HMxSGjvIWljzfgdOtuXzipzvQx
BwnHYXMSmU4Qr7LjBXtBTaK+XbzM9CZn6irZdkA/SjWdgRKtFYkyGAPjazXtGmhrAfOhkhykM9zF
kMqrmsVyvED60To8XrhtJ2a6ukvxr4BTkQpiZoptJ98jyMiLbwBAkklaXwlFwS4wwgdtTE3NsxZO
7qVPBnvbjoROXZG6JzA56boeOnm2RYNhj4hp4FXcsVqZ5h9RYqXIX953YdfxJfEzda5mgeepz2G5
gnfmdW6aG8Hc+a0YnVfswOMqHzNtpXGPBY4bfsc9Zs2Z53/Rm767M7ucuPAEJcnm4VzBGAGqiQM7
sMlUr4Cgc4pDjGB7gv/iqMGgrlMMvHsjOSkByT0YB+metcru3zSt507pVeV80cy2nPaUBIrJQ5CK
GEO23ZtooIOZbFoPgZ9en1UJdmfcUhFZLwQhYurBWgalD1sLB620v/Pu3sOz5CMZVY36ciQ38hI1
9SGisMXWM2MRJxxR0BUMyXIWdz1hUJYjrdl8nFTZEP5a9VyWEBBzhJKuLqBB6IFlfdY0epqtLxP+
WKw+G8JFhLApIAzjmqfXif9tXnpyqM6U0JTvmdSQ6n/4qti1WnzUxU5Pu2UkJ/zV92k66HSnJWwZ
F3zfh8swzgrRmvq/HK0T5d199PCuv+Sw3Fuy+Yyzy4g1EWxNSPlkLDlL1h2j/QEtqsrA/frvDmwx
Beas9PDqeM0xUho48CUAhQ9biF/Zx8fOx3Gvt9JfAikJ3KrbyvR9YGnCgPUhwfZIwXBq3fKe9urQ
OLccEX6uvozmMNLKQEpZKCb4RBq4W/sf5avfabA/ZIdSVL+6uX+NimZjwZ2XYCUlNhYisdp4LxQm
Y4OpNJXs7A/XgstLeulxSBjattCDI5usYkG2gcPnb2i4A5iIZyYDjX8dPNvx7DyGHZiMEjE+lTEF
EIOf9lZG1Jxg4UbtbY4vOgEIu0k/4vHXpH6k3kG2Fc8QwXI+pFkDY1QAS0DqH11/3dJD+0a7Ir+1
aBkDu/pf5t4IzeGQ8LDUdqjoxJBHrOT9tGDb5VeoGRSKBIQqbdkx0XSSN6Dji5RhhuhPmn3T+G1N
p4LRfjUiDdPkfErjLa7mAzjpRYIe7BBA722uM5U86bBM0/CtSr5xF4B+LKGzOqsWNpRX3HI53OL4
YZEVi8TYP6RUkUDxxKmrDGM5CeyuHS8T6qlgUiCErVDHw2Pm6TRqFSM/u833fuigmfJtUFQt4pJw
TXYF1I1Lye9XVoSPjLmLhWDlF4eH10lnGmeesSAGcVTumT+u6vpoRdeohlQLm6wcjR2zTBR2DN4y
3/kDO3FoHOfqSmI/bi9iYKo1tLu4d1/Y8AJ/BYNcCeOhKg7CwgPSleL2IJxl+LKqrjpPzYySCFel
xx9bND/FCCRVOlQYMxbma5d/teHL2D7R22z5Fx5ZpweNdxmL06CR8mP1TCu3pFSWyLo7l8sllz1E
DX3VQiyWwMWMiMO2NoK2UJeqRf8vb+S86coHViRMXLcw5rV3LvXHSAk60QQHbauB7dHZ1OFOT4lg
ISWow4n4UI2NwPOrc05mIqJa9u3hOs3RJc7+BkjCsoZf9KfjRcz7rzn9l+eMrqc1He9k6tdwEIGU
xpKxGKGHxOPVrUi3ze0PSvQyhIZlVXzJk8/Yj8M1dAgj5y9Zc3TNfG8+7LcPb2Yrj3b7sJUscttY
dWF7bAv/JvwHuOyPp4vF2xBR7iyGqIk7Io2DongFZbA3XQg2utetbJX/qw1MJ2SuGdCl4ydUNrpX
c2eAxq/J9VmE/YLQArU8GQBivGeGjl+zO/IozRBLuN7a9jNR2YZ0/mWqwmVeNs+FJhDO5DLN471r
OR99AqUVv2nhju/CSY5uzYqN6LGOZTdX46J3yGSehpLxBQzIbe2Ui0h30YPaZY5VhHACIUq0u5QV
J9ba64r1iKqTWDp+2BNb2ql9gb9qNdgg/CnPCSi2ImQIGmKH8HA11B3xjx4rExCc48Os5WR/pNwe
w3oCGHKJooDDNnCSz4j6EBJfALOQ3oUevQaO0j6uu4a/DT3WYfUuuD4u1JXFuhMCqzFyereX3rXv
+QSpRfrsN6RCWvtK+7L7HAQl2qltWK/dtIeChrSMtDiN9+QR48DthNL+WZZfKa2TGtrNGB1joRNR
KIJYEF0MuWItDbWMPpVFeNvKontI9KNmvxloYQ+JaPK/zVSd2Se2d9OtB191ML+p3zc9sWM85oOJ
nOeSRwMopDH8TJSPg8q79YJDZYzMdZF/ae33OJxiRa/SkrdICxrYzH3V6B37mgUNfYHR2jv3Y3ac
4C0zn2Z0FN2SxtOXssS9oJx4z0aNFSvaViGWYqPog6SMVhL7ZIsQEx5kRLtLwCoST76HwVu9GAwK
req3tgZ8DqBaekZXM0vKuF27hvAWvHX88jCfqNnxXT4UAH/l2nBnbTNw+WCwq/gaxkjiEUMW8vzJ
VeU8K5z6A765ySsI2TybDts1aChNVaLO4mi0yXjtUmQHbbAs/NnHPLEWSKtRGZcAD9gAZTkG8hAO
y04dKFHeRlIwYAxxI2P0llp37bomKKqZwXZ4hStytNTD7ISES2iX8ZX6zZgSk0vd0z4sIxs82d5l
5Kd1Z197ntt7Vqy74j4gHYz4sQt1bKjXiCouZP2ZOF+l9aK6i4zIrM/ah8EdqGmKJh2n2Ww579NY
H4rsppvNqrXvBa7VagAu5LnDYdbGQFJNJtHRy5DEYrTtMENQlvAuUQn1Q8MSkVAMjywrFglvVxMx
bozquVLQl+Ic8hAtqV3Vn8bYHmP8jG6G7SSU68m4gl6sbBcfwpMz9oe61lc0esuU7TUMqMiNjNpK
4D3BFLKupunkZCBrylc3/NP4OioPYZoAlyZpbxDBGoGFs/qmB4JpkQVRhZnlX1zfTLY5AbhYFsDD
1fCjzfqGJBrWfCdISAbOysNe5h/wCvYZgZ/JWRF8YTLxLye5bo7niLkpmFjaGSRgjs+B99aHl28r
wUyk2JDkIeAfrhVuc48b1hLuO07ddShtJqHpaWSg5DTExRHpUATw5vCDUEi9ceO17wyGUX6YqBfr
uvhV7SHywm8gRCg5r/hpdg07sKN7zbKY+A6wYaONm8w89ilwhBB+IV8JA9tc2hc3OjssgEzyaOuX
9hbFU8tvtfgjnGWUCWEewkfVJjWJ8HI2845cfI1iP2bH1Ta3L7jdTf1jhDfVDirINDxEjYvZYhHG
RzP/ZycXvzspxuLiq2v6JaGSZNo65Q+5ByZnLLNJxt3MBVKsWUgSqt0jAi6XPTWYw3Aro7qA+/3S
JM/kGAwHFYbEVL5W1dIJWzwKjKYBnjb77LdzV2F+QRGdnKPT7OaHPy7iGz0n2nHoTsOL2Z7T95hw
Bd2bL8/59GQTe80PXojvUCN0vhkYl9FwkvD3CujUb2AIgqF6ZfaFxv/gB63aGMcsG8LIqKrkFqqV
QUq2Vd9VdNXJB7AEaNqaAqcY9iH55uag4j20zp0jP2jI4wYb78n0X230cvUcFTLIMhR8cPG2FCAD
vpJPByqGDfohnX4sgCjm3szrE3kpGW8lgVWoU/qwwG6/t93spGvju++P5dJ/rMkxc7a2aFJbu5W7
mwVS2BQ9l1iRhcOuAzv9KD18i68jZoVynD712Xrqu1Wq+O/r4NFGgNGedm50ABtG+KZslkagEWbR
6xD+I/G/c9ur8p/j8FP2LNZ0FtIbEKTave29S5NC9YUpDKMa0GjZqcdtGc60xce6A3iN5T8SyJMf
7JSh+QpKoi328Gr1/anTcYrz4vBNFO5+pKhgQTxbAwjb6cYyy+61+8x2JX+yQPEMvElX7iQS1iRD
6LOko+9s+dF7yZq436khX69s7gkiZP14mC1jM1vlwcwQ0BODzJS37C0W1und2hn2mkVvTScZ++mG
K3dbs71jxNMYRdhTqsNsf4+kYbSB+R7wNzwdI3qqpl56jOZcp0ffumqsxBjnO+uhWhZlNTciAS57
9CRQpJjQ2ZiYu1pvfqm12v7DmA/18A+rw5YdjsHs9l/oD2FQ+KT+C2bxjn23CMpMCbPiNiXHhpGm
P4CHZC8bEblkkdjkRn7K6jd2Ngk1HWVhav2ENggr81dM1VYwJANICrY60Lj0IshyPJ4sELLUcsjW
1eNjgc4NTk1NTkB7T/hWMYrZUBhj7jahnjl/RvZHtpWsMxaFZtcbX71DyAhtUkF5Cq2c8vqQIwf4
gA5ahkIOItOwzHt/XWO2bkPsgk1M2Te71lrkMCFJJrz7kHg9h1P+JXR1LjHyfI9wVJhT9jxsCTRy
+0xC++Atgv4v65PUDezw0tsn/bHyzBOm6ZlEQcRSzR7uoM+xSvTowlBinbEgwXb7dWQAWcJJzOC8
4dSuw3/AqqtkF8bmOe5Y1aRKYS1sXQDmY05V9dlXHdcEYhKxHyKXeGnkn8xRfls1axi7CmoVTQg+
YVricZ0UhFNavjzpvUelOIRh9+mnKZQc3Zl2UqhhwdpzNgHqRL+s2roXgnXes4lp+rGhqYB1VziB
7KCQwp+7Rzip5mk8xhNRbC/9m+PwWCYQ/xmKjEBm+l8Egr/JzH/aKYXqmP1pU/cPMwhX4TxgEzNb
7oaEDtJo//wp+TebBG3d+jDyZq89N4dFkP5z2rZlYssZLKIPl+V6mT3uRhki0Wv/HM9+wYBekXLh
6fZoQu4ZzAnYPdSD6JWg1Tg6ag6KUGWXyB5wkXmHtpLv/cAovy3zdIGpEgcJSx5E1VHNJ8525LIz
FOi7oj+NXfkGzWbr28W/qEzObDk8Wg2b5kqMnSI0WaoNPNl919PXLGPtJUMEqcR/HJ3HbuxKtkS/
iACZmXRTlXcqJ1PShNCRofeeX38X76CB10A/HZWKzNwmYgVQhGaLumEzcAP5AGwkM0ZWqlshp3+O
XzHONv9huHX4EVictKI6Us0ugRWRWdj/VIa86ab8Url3GPG31UzEWTOR3+FjZ8OkSGFZE7DQhGgY
+ujFVl7KJGm8jchkXEaLTw2xVoq66cli4C5IRxhG713Y5TJKTF5ouc289NR00YvrOJTaEp27vehU
eRCWfZhG84zUrg3Vdxnpdx3oYqepF5m2p5hIvMJGIJdF9TWEqrJEQ7LjvN8XDbRO2wPgnwPpQIEI
cJgECKMmnsn09509vPmCNbtZITY0h1ffMNF7enu3cbajlv5r3VwjUy5Z+RNZLYWxcapig7/XJljR
eteJnHKjmT0Ujusy7p+zyQIrAzRojEBNdVqC1DP8nhLv2jDgqjsegtrIW/RlUMTi0Dr5hffcTwVL
4V7besgxSrbAG5UM31racGNo2Q7n4RFZ7CYoaxClWcKlUf1L4LuQP7VkosZzpbHzETU6trE6GdAG
kOn99YqiwcfhhxM5CPdOyqKxM79FZ1KQ5EtfQVxy+4LRBoebUwFwaYeMmMx8X7ntzVXsknuG8ODL
StwUsAJVYdOtmRyqbb7kRb8Uvr7L0/Ee9Xq6G1Xz7PaUdb2An4BHrptjIgb7mRBCRupEZFh588h5
7ZyEBXLQtXum5YRj15eSwlbCUsXhuA6ZKFgRYkDh6ieUnrsBbizZO3fUnpj82GMO5rLpgr1HkBIg
EaQ1AmOfzyAxiQ9pCG2rgIxsczuWoI+fWttAzdX6jIYSFHyldU1sYhCT6iCmZCdmxFc+7ANqfaVz
EwSgJLADbbOGJfYUwwexoaZ71a5sArZm1nZKFYJT3qCi2NnFdAAhdTTqn2zSsdOk5hE3L5Rx+SgT
gtfQrmOag3shqg0dS7jCFKU9lVhls4JlDHOGv97JeNeZehVFuwsSpnxNML6Npf9S5/23g1gk1rIL
wIOb7dv4MLsDHMFVFtIhTXnwEfbjp0P8Xl5Fz+nwD/jzJQ6oa5XcWFDH+i5b+Z7zFdkdrllCLDXR
b1CD7b2WjLka2bZ0QDd6x9LX9spvMIOh4DFreKIsVyUcYMsdLUZenDyjS73dtGujH59x463MuDiU
PNVP/RwDWwePDH5nNr4qu172lFX8k1uRkrJhI4SwcEg2XLv5hLaoOZeE2IaSEpMlGWRG9lGMn3fZ
6B5Gz7rJjqg8iOhiLthMu9+Glb43nGBTRX8j7SK8bIyuyV0ztC8QAmxcLLHq2U8Gtb926LQgkbM0
tC+O5xLl598CHwVrPp4MFV5EUZ/TiU2xS4EcZcccvEaQkZ8UYxYwE+05SlM25LZifsy8w/KKlWZ+
BQVvQRtPUGPdmZX3KYQODgoNaN0eTC9+QzJy0WRw7RB21bE6FLW8laJeR84JTsRJTnLVRPq7acTo
1NINCq9H603LFqxcQRNiZ9YO8ufJjoN9P3sHYwLJjGFuzLaaq+9kIW8wMjY5RXLa1oSCBkC12Ant
scWYCz3K8TwLBr4ddS5WhO869FasS4Vjns2eLUBSDO1zmeX/Ug8ifBAIePYm8nVCEXDvDZSucL0S
P/uHk3qPjpwsOrzVFEiHYgK0n9XTWyjQp4i5EMXoOqxVbN6Mtv0K9ORimN09ET2D3a48l061abrC
Pk007bDBED4Hkc2DPMBx4ul8y2JyCrISqDlJPnZ8xZ77pewOej/k0ZjJFsOA+DAAh8grNSzyZljE
nvmqy4hhIXYrgs8sY5FOUMLQCayTUvocVc4lHJFQBCk2aZsMHsawgc2I0+2KFzdynjXPOCQwfm6a
nnWzdBMKpB/qy6LScID7lYZKxQ838CiynQrC6EjgRrVqXXq9DpPFwgCgny0RNzOm7SZPnOvJB7kE
FUbH65JSmM+J7xvVzw4GR2IOqaDvaHJGV3RE+kKplJjjRKe9e8hpQMLRUqJv0mbWA+kjIvWIZnZe
GzXZq3II3UtVh5JpQ0UeMbu3A3+MGiIkzzmL4eIA5guxfWppF8brIXR+jQiV3rz4piI22hDuOoxI
w+wsHgMf7to8P8De2iEWGmOnJ+SnaVaAHlJCRkaiAWyc2W6ptK/EZ0Woa920NsvE3fZGqB1lldds
TuPsAhzI/iDQS7/JWhXnSgDayby4YfyUtWeVw4VqXEJSUDNCMiNjpOCqCVlcSKhfU8opjsSSE7dX
vAzoUahzmdCUuHPGOvv2LLP44Hci7w7oy8lO9GLZaGFxmkoCSbLEDc4EvQbHAQD6Qe9QjTDNJOeV
XJjl6M9a3kAL3hU0TnTJ+EllX2kUfmOxjsqIEUrMGAugOYs+Ol6ssFXYMzTK4l0I23zLkqZc9Clm
6T5JsE9qSDdN1tFMlgGCKsHkstZchv6hN+c9u/6t7axsNzmoq0Y36VHXGcm6CqbmvdZtg0crlyBV
2vEaZTmDOajia5PmDKupVz63ZnQqWvgCUZna+1E5XF7eNB9FfhfIFUtDGlNMhOc49YZ9i7mWN9qr
38sMGnjkjuZSb1p9jzqhXuaSpO8ICBK6UWYvrC7CJdwaELMRf5nIwQzQFAwQyoD9o6v1zr7CmMpP
SSBgiVXqm+hKqBsKlppfIdInxsyYVfyNw4RUsbPIBGJf69MlpHxoV6N7d92/lgQS0JMoQT048Mgn
mbHaW8zBsFGYZE3JqQB44Trcx5p6s+J+l2Ss5VpLsBxmp0I7mJssJdD0lQhzdEWOB+/ZYC9sPb3m
jCS6TrKJpx0dcYhVitvYZAF6KuTf4P1I6x3m/GtrgQ0uFpNZMqkkQXr4QBRL+12vkfQxNidfsHOO
GS2/5b/ZKGorkgn4/+GfsjFqYwtcN8xqR8R9VoZKRCpjD2Yk3CJiYDrqYuyvmYB1AZ1FukngrqR8
RdL/VUl9tklltJ38gKLpK7SooMtYsXyWjHeBr7WzszJ8KnRzIlAvB7PCYLxDFhQ55k+YU64PZNUU
3ANZXWvn2Mnqz8ki3kqMdryLYrhekFc6CDII9Zd96hY0ujXrZ7wr+ymwyrlv8HdV7blrQycD1NGw
6yKDlrlxS3OEBWzxiplm529c6wFSjOi/WesMNQJjJgkt6XTA0EJhhdnRILWNsJ1OkuLb5XDCCBHC
uoEweYxOYUpkQvrmhwVa5b+SulGgPfICCrKewKX6FpUfM5wyJsQppRplq39TUdbeczfyl6mWXMyW
X7xItkldr8GerVKzvkLGP9c6A23z1tU8EdJC0YWPj+iSQvdecJfN7gH8Vvqz6QXcZvWBPfo696sH
dnWeJH0lg3kT/oXUAZRhsI1B9nhsPCREi949zsuFhDe2QBxIuBYr1K+O8zpR8tUDUpoN9Q09OPxw
dB55eZfeZz78JO7ZgS1V6x+CG0uMxd7OpkuTRFtqA9You7BR5HGWy5yPPr/7MYvaHgxiMSj+pa8M
KaNoyO7zlwpRSY1at8dj59U/PTi5qEfIzdEEmAu1O+l5EVqzdaoAs0xIC4FHCPfQiQ8CZUPrg2Uk
bCKKLO7qtAOSEFxy/ScEOWsSiyz0HW4eFl6cqiIh6QpkKXU+V/bC4whWvGl6GYO22rvD1W5/5XBN
STbt8+hKXLZdYGkgI0cW4OvZWgyDv09bVhCIJJCLlP12QPpRwLwQ1kvWtC/xbFrqiAjF2uQgoiqw
kNkxfYsiJQnhF/JHokUQGxBMLvrFkGyLSRwDgpTG7iBBdVojf/aBMhggbLjwPcZyHeKUaFXbBSqj
eKNssS1zqAyM/XS8yE5dsHpKKbUs5rGXYALiiuo6Y4ZdCJ/tTPc0++HkkKB2JXKqQt3ZGa9TWtJu
wFEOkJwbB9NmdtgWpJzVya8YEkD/9RZF95M+D/0YEQH4xIKklr6nbxFg58xy3Fk7Uc3lFOutlZyi
bYcHypeMJvJ9LuplVP74BdadenwGk/akElKKbR3LHZ4lqAEeK8IkYG6D30kzJPk3Pz5uhD6ClknJ
6gnIfkbyxhKDgXK1yWlRGspVN4iOYYO1JPDeifdeKzRr8zWpeRBTS/SKaUQ8EvrV0XjKWaSOZGvl
wzkN4XJhlg50FgJzmaafu6Fd+/VLyveV0b8WXO+zK5318rrHJ+2hrPQIv0O2vzGJDnYFw2z8976P
h9aYtLfMZxHd5+CwbZY4SiFBBMpB3zvoxdr3aOI7hUq7hy+61vyQ6Z/Zzm7t9lvjA7z4duRuanrX
K9ELahnoHRoYk9WNQwgRodrYYIySoxCQJJvnWF0h6hebwO0YXUtNLMgOZ+2gwumMPBKxxAgkoAVZ
WMPPNa+h30LRAmqBycLl5DbFx9CR1EllofXqLwYzWUyI2OqOdC93OHGDvk0+Xos4fBMVFTCyH4Q4
EeFpvXmS4lz0XwkJEFP0DpdvrTOW1tM/mre1Tt/Hbo5QZeZ63Q7u+pne7eornECwUSCXmu13D30E
r4PLvLG+uw6OBcPEZm2GGwZ2ByRYfGJh/QZIlSeNgT0jCaDZ88SyFd2lrFpmDe3dYRFIGA65ngla
Ojd5t3vma6iTkYB9BrzbNqaA+QxU8NNi6ya4M2grsQmOR13Ha9RnNTNSdukGf+wCh7g19O+MdNEW
SJPzQx3KQCOykgq2L/tdW5jMs9kwtZJjNd7PkUy+7VxGdZSW99R0xw4vdRM2jMCdI+4BrmmJQr16
DXkqsUHAkF8DGTpb1cR/N/1TaA5nzUX7MJJkkf+RnsxqsX8Xk9x4Ci2yZfwE5cEnAq/SzwQZo5Zv
16iqNlmpr3HnrYXOLz3/wmzlshw1TuekX22VL2CvP5lUANH00GvmNvzv88ndxSZTcBbCXkiOnbst
BNqWCqxHY8PS8bytbzW3FCdNPMGEdMDINw7mhWRVaw8u6WXHeV5VyW7MuwOBGGwDntPAO0xMikFM
L31GcAR53RPQ3sVofmvO5zDyvg4/Y4Hm2C9X9nQXyCESLLeWwWpkIhuV3Ggs+ow4ZEIJGTyRDAV3
O1o1CgQsWjTJtDVBhIisaBVGGic4yimn+054YEMSEa20Pk1YGX0N2V9HL9CXG3LgFrRTR53UwLp2
DoNfr0TP9I0OEGWl1Iut6YwLvVOYt8EqMDBO8gbBlYR+0F1bUG7ZV9OxcdHt4m0Mg0NaMbfWjZ8B
elrMotjLfyoFaSjlwcxpZH1F6UZic8jDYcfTsQ9oD2p2dyJk+NXXI0To6WHmYgnhD5nVBKqEmX+V
bAIv+PUiAIMiGvjO8MOM8W+T1CDdfhDsLxJ9HklXLCv7PYZmVjbEQ9IPE5X+4bfzitF9bSd5QKf0
knrWa2U5D9XF71p87ARMMSv4lxT9SyKGpV8xe4NicBgbMlVyPhEXA1oogjaRoxEFQKKa5BzXok8B
fHFogahW3T0vboEUFzmiN9TfUkbaIWnqmTcds87FwYu4pfHv8wUw9b/6BDmUXVCJuEOCiR3FVkBQ
dTSx6Rz/2kUYxwCkRqho3MQ9joaJUpnahDeL+Sq1BUoJUflkizbquXHu7ZyvF5YXUkF39ihQArG7
E8U/QuoXI9GcFX+1lswiM+NUgB1H5ojxgOe/i0cK4J5ZUxVthip8SCw9Pc7H0kOjHGO4xgqM/UFe
Q11sg1iwqbE+TO2Ch/wYCVChk7FKqxFT2vBJjAq3uvYSJRkKWnZMenxF1b4JLPGX49kIJEOlzkoW
IfDuTufsF6n+50ztESP82nXLLeHx3Oy0DH7/R0zopTJId+0Qp6U28QLDc52S2JejFnMYstgZ/+p4
oiXjhiJY0nS2nvdP+PprGDqUgphUwZ9fRRZfGtc8tDoFUe1tLP17xK/kaT3i//FcyY4THvNc80Bt
u7NgnDiUivDASeaIV9jy8FrTwVXBr6OXt9Y1bj5OuiHzT86UPDlJ8ChnA0skYevp8oCeATX6zMDz
3C+JJwLNKAFF8dGM8diZRfvVNfbesqPiqW8ILgbJkNQ/SoLXZpSXqQeUWp2tMwmKR2KLYmQgDmv0
cK/sZsec4CPN0yNnOP8hmU71pwrtc0ZcN+nWFklGeHMfKAGfyBYbhLO2+5OJT85NHOLjEFP4watK
ig1Rhoz+hyc6sW0+3QlD2UJuejU5gUY2xtqEN8zproOCnaPIx3CcPTZ15j1LibI984Z1bOBWgIdv
DT89ZRf2FhpE7cDqbxEX2EfrG256aYsdqNTFxLtuKbF0sNyNPWaFCDJJkn1mHbDTUN5UaG7K0liq
vDxVOfUuBs4wJKBx8O5pHnO0jfLCBmNLQ7geo4/A2+nEZHud9vAncRCzrZ5aVtPP89hvUtNaICeR
tGaKFDZ2RVoBTT1q2YE6JRB39BX5oytRcHYwDolucdGY0MY+l7K5JlDFcsrEjHVwZWt49OdKWS1U
eOtSGm6lbUDTOiSa4BAIw3VVvHgExDW0PCbqiwYnSTTGWwGuMCptcMLgT+iH9jqIoFR/D+1X0SMC
sLdxBnoWJ89g+ktcxE9jTxM3miuJMksv3WUozsacUA5OZCI41mVuWV9N/TVz071BMJmHahat7JqI
OpgOOGJgjrIYMnc+hCHpfVAGEDrmfnVjv4RasrMN50crTbK9ipOnJeyfVfunFxy6bo7XvgTzHpCC
a38R9jE9+XH4axThwRgwIzhCfVqaWgTWcGUSXS7ZCz01vc5dKFFbo/jwOGkZ+yefvc1Uc14pybJZ
WWH+oPoi/cSwLlZQvIxGe/fN/K3ngmaYUF8Ny9u1Np6CQDiAcTz/JU79C6aNbJXo7sUdcBpQosCo
MaKtmwI6zZE9sWw3fzPxj5C39mI04tPI8nVmeefU4Q+TGyK4CFIeOOb0fSLVlzdGq1JJvAzaxDc9
eTlibskupCpLzOV+AhsfT992wn9c037Y5SPO4/xuckN/5pWLnq2ADJ/xwA1h+21rBsq4rEXK6Baa
h+vXJpREBPnX6EBWrA1n4IgKH46g6DDhiqim2TuBRleNpb1HSVpWSCmrCTxa14p8M5rolacatgEt
20xYCAwXqIs4aQzd9Vq7KNrfULr0DGLfx2gmsbIjuzAcNl7WOzEoWxaO6IxiV64zjeRyUhjf6t4A
lmZkzXOZdOgAmXI2WW5xXfcw5Z1D6lERNDr/l1dq2pYVu/WTFGjSuBkNmhvfvqtK9Q+aFZ9CLuie
GkdnKgKfF6kntOu4ICdybPV2mzuO+vNdOH1G3jTHKBmzZ3J7jDcwNtq2sW3viwAPhjLNhAq2bODW
2CHbYfzS2rpjxY4DrwyWZI6+Z/7EGC4xm9fB9YxNIjNr05aNuTL8jKF2YxRHrVX5NRQJd1XdQdMz
XQt9dSUOoXKqbWA1yTpNUm09xRn1egtRvPP48Cnp8Au9LSQ8wMh4gTebfnZF5i4jrU2fC2R4a+R+
5kw4Kd8bQfthyZS9jZ02z3UhWFJmY/fcdbZotmkRWc/Y67znBCgMGDhYI3Yd/lXeyJan7gYELawH
4o/eENexwVrlhXjphkAv995IcIJoOa0I2dLwH4Q5gZJ5dovcgKGHpYU7OQNmUZQzqxkwuFFvoB1u
EuyhAXKm0Ztb/Jh1qVtram3UoITjLumeLdhyKwGeYAWNHxJSFdSbXlmcJzH0y7Lj19B0KnX87kDm
hHDe0zjwnlOrVVvkNmoprcx91iN0phLi+9xobsvQhaTrtwFnWUmRx24LUuZkvrt61eP0tJiUA8bH
uAJgUs5WFaF2hhai+eqIFAsSnkvb52RPkd1vhFc79wGWLjmz7bj16Sqek7RFe9UVzc10cfyOXpds
NBgomcQcIAydoUiGmBOxTrb31ajfySrCjhdj/Bq7rNrljh2ivgCxkMadZJXG7RNA1V35OnF8lp2W
a6eM2zfbPfnOR8LyTzac+RpRP5QsUfbScWsUZX+B9D8T32Yp0ocIX5vy1uCmwv2a4An1FElBkbdQ
5G/KLz/xn+REKN+NJZ6tn9hxzV0/4jYUn41OIJd18IJtlX0Ijfh3puwyQwvuahrEJot9h/BcyU6L
sZKZ4UeJo67a6U4QblTJ8EHDLbkXQYVvxFLkJVgmk5gx/WuQh+J6RwDi0MLpE4HsLrVjfun7mZtE
g2atZ6G40712+csg13WGr2BXoR7xWaWPMRscM17aEdiwnm7R+Ol6DkyWsMKCVRZmy0L96vmpFMaZ
tIzF4Kw0BmgEfG1KFPwmnJSJ7RVpYVNwaYnwa8tv071ZDqblOHlLBnJ0cmgzdY8tmMeTmRT8x9UE
7xvd+sKIv83sXuTA4OrvQWLXIKES1v9YrkXMQskBw1IhpSJ0jYOMvHePIL6GSfDA8JAfvOoqlPaN
v5Pj1cjUAoMIyga+r+pchdvQjzettwbho8dykdnd0ejQuOK7GZN3rxQLLGHJgHNxaO6I6m204K71
G/MYOpR6IR83gmBsY1TgbVPxziUWCoAPa+okfK7yj7a5ayng0R+Gq2HyS6C5H10dXFBJf/WKnZrC
neiNY+vhR4Hw8lONEN9MtY44FkBCOpgGIFo1+T/23+B64fbFCFQ+wPYv3JRY7jeZv0UsP730D5va
Ew4SaI3FIuLBU92RWfeTDaoalqELURKgC7BkVG7f3XTyzB8kkMtiIET8GKC006ZTNO21QUMsRStm
osi4SoA0NBnSmVEcaMY2DX5jqlDrbkCn6S1mN/427eBYgobU5FaidxoZ0fv6piTXBC7wzk/XWKAM
A6eRxwaKncNsuG1WIQB0Ab2gcEFgjCcCxRAp/oTOcQ6bKONXDitwsMiK9Uul7jEXb4k0JgMO21Nt
zYCVyngwqhkzc4UcdjE/q860MYg07J+19m1ivhpbzwXjScb/Kw/lKkcdgT6vlme+Q/JgsgKer9Ro
x9ATGBQnai3Vti9e+ra2WGOo5p2EWKRZhMKsfLZwuC5nM0VlsIMFic6A0WWKljkWHwoSYz/lBXuy
PNmlgnmCmwgoGCnwkYyMVUot602rEO3DYox3MEXKNRMjGAfhnBBY/BJP7BjXaECfyUiLkHWWZi5/
Q7f9aHHL8K4DeKWQnqiz7DNF2SJkI1TWFytiAvPXDRAxIuep608eei4D3FCPhNXDimqfKpQSnvlt
RhfLf8UtTQ+Yb32bA6blPlR4uhtoASB9MZZRU5yVtneYXrorI/yERJRb/9BirLL+2uKHQmvM1PkL
XhIUM3yDwE5+IBIF+qEhRTZl7Sgipn/9MfdZ1fAnADlaBg0D06tW8A0mc8qSvsIYmyKVioxj4ncE
HWLesS+WtmfLnRVvCBQWuf3lQFVuvkyQd4l2MMkZDdFsGsWh8PNVFG6tgm0nsQoTDXU73LQ6hgyA
1zT+R0AO0iWMSSl+OA7NeRNm7eQMkuFYmH0otrpq+auNyNEorjMePx3OzGyfpm41JS8JVfwMkRTD
W2q/EABL6ca8vjyyT6jib4+jXExwEpGW27Bn50UTcRvLlH12mEEhbddx8WsnV8vbO92JZe5ToWo+
IfJ42oTkV+XNir8v8kp3eMkt/G0VPzLHqurRMdfme8Sqd5K3BGoFxS9+7f4zJubFDw8JhgQ/fAHz
+gCVADCekPHkh9gAC2G3a/56LN5sXg+hJ7R28aKOQtTo28n8kib7QZN3ngicCezybMSqAdd9tpm9
zYx2E+MabJvilqYtzmYHRAOiRHJuAt7/IhuP/pS/gmlekLpraEcqrIXHUzAhBujBwfr9IW9vQd1g
b80RGbGpkS7EmnSL/wSCIWHLtb5LYxRh/aafcMQ0fF+ozm3GOU77ISxUu9XaBCsUf6f0Ro5/13Ac
6cyrRfhAhJgEMLkbpioDHBdeJbalNDiKHQQQERgrrlWgNRl2fkuaiP2qFesSAdeIQSPSOR8zOBEe
jtWfegoo5n/SiO0XNDtuHM1k1I6FyUFk0KRnhPM+ghmwYab7E80jdUFZOf16HEZs3DneJ3fuvC76
iKZ/gHOuPMhUDHuMCb1h+91gZeSHYN3myn9X/xsMq5cJ4lAWWdciEE+aRYIucnm+dt2FSLKfTdBp
lS/R9D812i+LnI0fMU4HqAY+XNblRzfvemC1M0QoQ04j3iRuwTJ79gI+u04g3pZd+0Zw30O7xgi+
tC2GysR3xfRA1DF1NhF0UW1z80VgKK26fd3+Ccaa3JM8w6z1IPTGpMNK/Jlr22DPUwONJdEzph7k
U6GBFDAZDMy1jPL5Btr4R/L8F9pwd2ux9cSBCymYfkP/KghOiKAOO/G3pcHPkUAOAOs/0BboVNYg
1+ZiQEgBi+MRumedoIiWw0beBpOihZufOTs2q5aJi7+u/G+V7id1mZJjOH33zavky0GxipnY1511
ST50k+BcZbvT+ejDQW3ZO2JgVg6vDWjrzH5o0bfqJ9Qc02KCuy96NIo2OiPC46dL7GaIJR8mv2df
hZvexPCYPRvmhZzrUxPcdY2Is+gsOdsaRrwh3mih//mUQQEjF/oOWtlTXPwFZM2bODT66ZS4XyWS
+xgSd/QMJMUqDC7fN/wKp9YXW5++srV6HHJvKF33Jf5ajisoAhv2sqwaQjRhLw3roclJNhJQSxMS
tkfXZ4Mgm0p3ARYDWf1PAZACI+owN4ogyWt2L/OBNWDcU8FRsreV1c3RX4v+nzHpG615QenyFLju
2kFqlppbL7qqAf0KdlVwwFFD8Z1vKooqKzXfAqAiSDWJKOGsn/kaGOWnkwEZOX02sk3kvtQSgxzQ
Q6J2RfzedC/j8Gn1f7xkO51c7Ogwe118cEpBS3vxACWWG7PzMDgFffFpKg1dHgbJ4u6450G+D/Ve
iGyt+CZNtMStS6b9vao0mAkoJZJDj4glG3eqDpZpCFh3gEH0otx/BBQx6AP9NRfPNCJWvKvsdWjq
K340ebdefZYlTPWXyCufpEBsN1CFrQuJnrzsgAGAVacidxgaNjkcOi++g6oPOZSCzaj9jCSIWcR4
JCQNdMlz4LNHgynGxKA1LiXscfFIEMe6Czhs7DrWcfAP2roebfvxZ6rOYjBXaAqVfa2RTE3aPdT/
0Siz73+tjIkzBF8euqmQNELRDMh3f7r2ow9OjIk7yZzaIcISFWtHCkewaSA+lCeCHNm7HQREJium
mGI2P0gJax3Hlws+P97NApaE7L2GzW/0PnTl0gp2Ej2m5e8Ih9rQZK5seyPZunN/JEa05htfzLHj
lffcsM/o+6sGB9pQbyluAnlLmVK64j2wb7Z201FFqFmkX106j9HDSy93YQ8l2uKI2lojtz87+wGL
bbqQ/S5kBz0ahxhwTY+YT8ofLbpU/iFkupdxGzEfXYTT64TwE7mem1/LghZ1SNCDqkPVvGu8rnp5
kMGLyTy9r1cDohlA0KX/y03/BORI53JE/dECuIdI7B4jc1MRfR0+ehcZwtmGWjj9C7KD3+9brpdY
/agAHwJ/oK79kfa0trBFOW9hstd10ijJwAkd/amAZ5WcRBEup5DBEdopF5mac58HlLCOVQHa+hxk
j8LdDAHGx4qNytdgIbthsVLo65BFx2Cuox4LqtoJYkM9nLOuC+H30XHv2ieil2J2gUDIFoP6gimo
syqy41M6Jzxb14DQjercNO9kBtYxShT1UMydsAcxc0t9dEVAEQhJ1y0GHgwxp/6BMBPF0HPGWFXr
D+wykw4q3AjCQrsk8p10XJMod/a/JvGWeILi6hg4G2VuImUcGSZsQ3IsLPzs0cBXMWB3ji4xHnKj
+HK5DSuX9SYCvwEWJScL2qX25oi7wrUx7xZr4PERn7yA3pn2hKgwyU94xaMK/IhpHUz/TxTviTGS
bmdQYqml7VwJon6iKGZhgU/S8nHTMukUe8kYVsdrKEB9kxBZY0Ycg7/QPRn6UiAaKMXbCPUQMlmr
uUtq57Vf7JzwxfD2KdKDsJxXJXB92X9ZxAmy5DD6lFAgGInen3CpNQda93I5BucYCTTjzyZKgMbY
wGSIN0n/dVg7ewqUpE2Oc+oF6FqLLhRTr579phzSJmMbK72rgRcCrBgUsNAj4SffBy15O8V1ZDWQ
iy+N+TuitKwYjwnWGeD5lML1kQ3PqkUzkbItLwQa4+KdmMLF6OLBwtHiguwId31Vbkr3X5X+Ijh7
0i1CO6lPDkqVWBI2vkBPwz8b5LT3DpPD4SXAvUi4T5u/GkzwdYc/rcZug5qrNBFnDowljwPC2Z5+
scAq6LwNyacPFS3XXllE0lpcRz4k1iw1bcf2h3xgTmHW1WTCTdGlBuLnEz/jm48CD/Cctl7CFHJe
MFaAG/8meIuwhaeScjqbyzboBMg9GsVePn8R7UcZvdbBJenx0iGaNrYNuqQuOWbD16Q9KgmcpDvh
QomzXYV+RZKsiS2+29p8OIKAmdvMooO/PlBcjdWMNc7r95YT1KNfQPlfc8I1rIK1jIAm2Cr9KY+O
1JSWu5f+udE2zOq3Dns0munA59aDe0aOaDVs4uy38N68/tX21onxsIr71CJdBoBjOm81DZNh3CLn
Q+fxqaZ7w8autp896lOPpbER/JrJfiRCmqwkG4e57+r3sLvH9Da+eQ4dbKPAsNLjALGkIn0l4azR
QfWhT9tDmh+bzYgJ2FfETJP7I8jGzv+M9gFS/MnD5x9VeyjgDOL2LhK6YODiOE84mEjMeppVUxyu
Je7VOMoPIdxlcq6tkdWGDatgP6h1IxB/H+seSyiGKpLY8otfrPOuWEVlvo3teAN3axtT90y9DeKl
PTILXYxs4KfSWmb60U+/DF6AgeK+Qr7VW8eZ6dMLxKEpPFmD6m8X2wf4NObIWyde52KjfrOJB4z4
bJZZLjB3T00N9Q+jkj3jr0AIyH3Bsy/1R+X8aqzbE8nPYv1uvCXOn21DRmapImewGi1/RCfcn3M3
XUvT5Oy0N0MDQCNPzzVzBkZmhRiZSVSrcTwXGfXIH5gO8vTIIIPAjOdh5Zv0iyZR8gUOs/8oOo/d
xpEoin4RAeawVU5WsC3L9oZw6mIOxVTk1/fhaoDBjLtNiVUv3HsuJ1q0teZBDsMmTJMGpoZdAYsY
ajjT8VVR3N3imHjez2CP+GrXiYHCf74zNn57LdpTNeyM4uI6W5HqnHlbv3/hBHhHT01D6N0j5AXj
jntIH3AokZfCSzMiRoRr2fbPpB5NxdHPWGp/FAiO2Ha1V8n554kDFuLeOpb6tzA5RJ18VfGd7m4p
lkzEYC5JUhFCCOFEDNPRlOlPvYMm9lImxyp9ONpuqh0as+2gfqT12mAmY+hg6/fcQ+78AvQUVYXv
n72SatnisW6JwFiY3i2kd0jEtfW+O6YiLe8Um3S3uAgkgJk69NU17HZBe7I0IBHDXbKzca5D4y1G
+x9gd0P+QIBy1aPqVsFwhGtjayfsdIRrOdaGt5B+jnOKTCjt18u2DpFcowUfF/zhNWJbbaN0iPRp
4WYII7OVlX5P4kmnv8woxYNlLx+A6UmH3LCJw0h4yTDuk/i2mBjfCOOogl1RPzz5qouRD/3Pj+kP
9GtafdeAOkAbCk5Cv7V2prkJk0cXrFNGKxmH+KgCKj++ZPwSEws9BqBmuh7QZKLRdbXfPnww6PS7
HS2hR2viAZpalyx0662qie7b2/gxqp/C50A5lbjKe58clPfUf0vVM2vmeGDrvE9BjhtHnySi8s2o
2biWl8q+0BGDT9/Ow8TWxzP72sVbn3oOtnF6NbRLr78a3RX8EmrJdy6nyd4D9uKifNVBZEv1RzS2
B8Wlp0ZMvqE6zAkPAUlJ/B1gvE7Ovu1/Cb6kZmJGyfhgsKA9GNq68f8giFO1+drFybZV+deGsC1N
XgTADwnCygnUEXOPGrdx/1GhZq7ju2fi27qHGSvmb83a4BgvkOYU2tnQ/mnd18DvmJwMAvAwgjcd
i9D0OSr5Wr+6DYGF4hnoz8rGgp/1d4QPZuVgNWzXTfjqTk8qvcbhw0rPDYUm57FLowLBAZSqQ0Qj
xl3zEuQrlokaLkLNvLXxFcQ3rFiIfU9tc0rrD9IXR14qcWwNLmosA+ZLicfHIdNqm+unEEAvOo/6
Zjls9OvPSt8DbAmAPcUsq//heQgcscmNfR38zZz0jqBNB6xOilmVfYWB+0RCI6z7DzxxUIiABZwD
hToC4E+E+uIjbL4DiOU2gWuTyzSUIsluk02vz4lADYZ1JErNE1ZobPuBf08kyOYmWnquD4EDZg0n
s4I6ktn+VbqfKEx2vasd8+Cj0V5btor18HAY9xRngast8SAVEDMTKHa5bLWnD10cLUVKXkw9idM+
QS/rugwSENYDVPvibNM48Yfh10VePEMBqiVafLQXrwE2wOpod3cP6KFTPsXivRYYm9KvPHobeZKm
Ua70Ya/QsjG3poD/m0EXrAk6H/YTaiLZ2CSIbAjn1srjmLwXnrFwJSvAJEONRCYxS7BWYQ0bPklL
AJxxr810qRrAd8LaKG71aHho5ovrvA9YYjMSx8bC2KUu69FyAaaZIBz0xsD/tEuE4yKpXhG1ePpR
UuRE49fIPRIEZ+AZmuQLN8ec3H1e8L65k6/iMUcgR3QW6zvZ3TP+eeOPB7IjEgzRNHpvw173/S6n
hGkSscRf28h7yX48ZdtfcP+2TMe0xIBOvq27vwoBdnNo61NfgJRZzSNoLei4NW5jdcvcUwOPQ5nv
yBE8y+eXBO6LXsZ8LTHx+8Ssmdm+iiiq/hAasH6mB4o/rRI4brbqsoapx2GOQKqGnzo6yx5bjpU8
CZ6YcfdlsCFriADIc2EBEj8yAUa1AnMMuzOLdGScJtJ8j5YC0yl9IUFaWGYtC0BE+obNAEpJdkxd
lMkODESkwCIlMf7R62wq2NPa40njhNCqq0EbZGl8k+ZEYmAkAF+s/pTBC02bVy8/5S7TL5ZBNbhi
ieqqYdMIE30h84s3PkZGA+bNCkid92HCxwdMYhHBK9gyFilnGAulCtizlt0z6yzUPTQITENs4bXD
GlvTFHyM/F0rnS5EOmtVaG8CyH2IyDV08cUTpsAgvio/LPIf0V4GU7aGObbMRbjWxw+DwUnYu6tu
wL+jWGJap2xCFvRUzN46/68fzgZeyE7763q4GAcj5PJkzQc6zIgbEhy/G1qC4dtHGtY1v1Z5E9D5
1EURqNXpt2rQIITmKP/KtQo1DOUkZJDwVJCAA9QPVzjfvpYy6hzNW5bkkrnfBSKLkMgMPLGVQdUU
LnWqFGpF/ZwnB1285h3P02eioMtN0BxlcgqhyE40icU7ASQT8DT2DjxikHKCjRpnElOJVoArYH/b
KUx1KFDSzri4BC2Jw8jO0kIhC7dpodMltYynJWwwfLFzXjuG3jQ4FUnAU2Tg7G7S+bDqwDDSbLXD
3m5ZUHZ/8x/ZevT67JjnzL1NqD6cOVAJj3BuUpDhfZrDbrQlo8hqIMVjLebp4SkCMdA/FOpel+8i
3r4VPyJsvzN7lcp+qaXfkfOMti+qPsLhEna4XWdh1qZIn9Jpyxg2iZCn6fTdt5bW0QmewFyYMZmj
l2C8sDnGKU092pSQzazFCJjUKu45BWuHp0SLp2XgbtP+JXemjedugyplbcTHIy6D/tc0r3P+ny4P
hmatWhUv0/qh5E80lNva2adk2SHdcrG1YBdJ7GUHml+l9N5v0IUm+8NJz3xL0GKjfHrYNLQ9yS4c
WjRgdE9r3frnBi4g/eyViNaJ+TnAsCaIVzrW40YNnJP+LWIFquzxy2c3G2nPGZzRCMSUxgOtYjYx
bfmKenuIGCwMOz/eT8F7HjzhDVSwTUaJRgAuFofTwEozY7IrTtQYOUj/4po0bx3qKM+zCGBB4oPg
FykokJmtZYCC5aKpyp9EnpRD38G2k6E9ZE34vbRLLPxGSWJmfzEZj0zhObK3BgW/zqYeQsLUnlKP
ssvc+t1T6X03GS0n6ZQTIxVs8QigmHWiuTOe4pRfm22Tn1VAZpl/jT0bTX4k27VOPhsAoPvwN+f/
MXxnxRxr7TPjajNyidg7hOfKO+nMWwz3ZaT4q/wzry4/BPREORN0oDh0H1l2HRjgkPm+1Azqb36A
3R3q4W0EFJZVt7DcMhm3KUpZFkfMLjAfLkUBdIfJnSL1k3kFcLsFsw9tBgBUp04eWY4cDCwBWKuW
drltMUQvPBJRClgiKjiF+l1RdWQU4G3jrUYqjcr2n0JYzet23vhQIMvCOStYrhsL1Q0OESqmxE1W
RRoCXEJvVRtb22cUJhPyoSY+yH4ccTjNCNlgOhN7EG3zEYNP0bYvuOjEKjBb4OGzUkpEEfUhlA1t
WFsmrCbGYabufdi2SZ1jbVs7fK1igN3xKE6VbQD99l9EQoy3EY7VSpWEaZq++eqVtFiRvmsrHZJz
5TECZfWThHMWOmnykbjHaCajhA1NmBIpUziZeaxdOv2847Cvw+kx+k3HgHtyF0NV/vZW9u35tPRe
ZT+brXMoiMDVYLA3IKI1dCUC2LIzZc9WGd1nKY8WdbsYTaE9nGEfba2eBXNNzLEfrJnDL50c92nn
EbMCEz1OMNQ0XNcjd8JkPlAzsZAzdFRYhIZl8u6M8sOOqNE6muhEN7/jWZjtgmtDDajLX/gE307X
/qvIabA7ApJYzWvtU+50XFY+4zEeua7xN6FpLgyTCyeYdSHLytMWjgM3TR/4eUE/TzFZr+Hb4z26
uqAkkeUiQwNKRyVWy3bTWsmuDkxohgLfaXhA4EHWi/B+yDNaZelzEc4GVPspBOHZFt6/sXiNmSVn
4iYYgDn0orJ6rnLgd1W/NfVibdrm2i/k1cXSGhDHhVqUeFHvUTXlxRojDhDxBWAJHDeamEx46PZY
ssIpNW1ieAH7yqnc28yORVasnMBBkN9/2yGh0Exjr5HkFK7UphJQ7rDzmaHHeXDXVIonm+8c3Juk
lvekP9tZ9BwO0yFKnLVHVMTKxNFh8s2rKO2NGDpR+hUy7sqRwMRFcPDZ3OsgpwcVLYPB26Lz2gvv
H8bbc8sJa6BHmVAuEkO2jPsc44Bm7PBbkl09UNJyNRneUXYI4FH3GEztpVPycQiMRvifgKf5AJrT
GU8ckUvehuXeRdmKnHeXM+nHVHmu1Udkpi9ECi10p0OxENYs3wZs3Yxy9BjNuL3SESkoAgJsZe3d
sDl6wjjAp9sYk3kVU/UUOdO+EFyKtfviCHiXo/OK1h8NQEtRilaBFaUn/6LkVXWoKvMGO/C0Gg3z
yFA4qpuXSEVPiAnc90z8g0ByS9J+07cEtAufm9Vv02+Tq60OECRRLKHRnONapEumrnMcI28LMPRP
6NaT39nUfZx3jf+LdfZnxHiSsQ9vI8ZjseqXRcmNXKb+IqnbrZxrvypsbj1GdwZMlRDPlkcwlzOd
Rvg15kxQCf7VgnO6SbYJ7TNrVGOJZx5BcbXXh3Fjc7Rrjh8srWDA72WvgyLfRZ04V4QkNylSkhpP
iyJmFnmANlQ8ZIB6rCB11Nnw1fhYMyQYRHqG9BQj3GiNVVDtZGQ/JuwngpTFeI6AtlT1IVH10dG/
i5hLEUtxRHQFpq8jZgGFutv6RbkEjaY7CJU8S+TKFkxMP9BvpkD4Ao2yRCucr6sccIM3u0xYJU21
eYJoS6vMlrqJH5JZiuDkHrKPUE8+HcnjFoP3ZTDwkpxTvPKbAVal46TZMlPmG//cqXg6AeU7lpNz
7UzxBqX+ye4Ip4FZvK2S+mWSSJZZZ+ZN8pQU06M3ppeq8l57rzxA3Nxbiv2zhRhL6398i3RNzW/4
0IqTEefbgg1jYqqLn+h3aebwSQHOQKqzCIktKuQAXFMem635Ns/z5hIB7SxqpARsuUoELNjNWEtR
VBvxr1tiIo0GCticEdTU4zKYEBw4HVZReG3Nh0896DGQ9Ykc0pp6p2li1Y601TG5PEmD3I6UIeMr
R+NTArRyGZnVZKwhFlwSiLgBw74ibHwLSnoj3Yg4qSP0Y1beWLdAPTqx9lkMKaH2+DCKYdk4zT7x
9WvO/l2F0KfmmyPkVAjyfSKSu9JgWfJK0LeQRL/Kfe1J95wbJezaC00OZ23nQVmNvyMmwjio+ZCr
Y4Q/32Xs0TlzTrrCPfBAa0psG4dU37xVSi4zv1+VtrcwUFELaC8+YPHaHlZl6m0avAS5dwxoi+tG
LGVo3QLrZAbMBScqLzt/6tuGfmtc513CrPKfQvZTEt5rzoYbcm+aqrnLeVRICmnXTBSl1aang0sY
TUDT2aV1ftJdkmRwgnWwpekmvblOtnPuz30eeKsUIm1XsAkgd6dIvgRJ4D0DY1mznpgaAiI+7BBS
Z2MtCqWWZnrWuOi06VvwYrtot2YvqYb4ozQB9/oXkzXd1Dros9geJazuhHyT2H+Spt+2QNZkPF/V
FbUO8ug62OQ6tRvhtXlsbLusXEl0HegCuGA/sYUucWe/pHP6Kh4Jdyy+k+Ie184B+zm4E/zyyHbU
UH4T/YLnTtNuLRNpm9V4PdVPnQKyHscnmSCHiVCNLuqExUvN+Md1Cc+wRtB3msO8pnGyXYRPZp6M
mLOuZ/CdaTHWVNgOLPmF10tCVFho40lcWV31ruzwmmEw1wrvEjrUa8b0hmP5uXaQhrYe5U33GveQ
VQT44MII31ppfQ5OSHSIlLg2tJ1S1gI1Da72iYYQWDZUdy4qyjfKX63SlkS2LUofBytK1oA7OM3f
3WY4DU2y5xgaXfurAt8JfYFkuWmFKZItDCM4ekjp1u8NCPiYpJCSq8qhkQX8uGlIhtMbls1WvYvZ
+UmKE+K+NnV014xP3YhXrqYBySFxpHe3JisAR7cffOqnmhfZMtDQ8nqlVXj3mLfkEQZR5w9PpMcH
iEGA7mHSyzdZgCI3CJmwMF5KvtSVR8VvEqrV1V9pxWSU43Rl5Sm+ETzOuSo3Y8MItB+ZFLYWeAq3
frUG0L0ZlY/eM/NxEujjAp427Qo6BzABXxDsUP9n4dk1amAfwc4yQUOzo0/jQzM1B53frx34cFqM
OmN+66bhkBJ5E6fNpnV15iP4baG9GMp4CEA2Lh+eDKpdnUz3YSwOHfSRakrXwm8fyvEJOmiZWnkU
9FcDmYPbElMk0KJIfdODdR76fBuaITKLcKcFxa5u0+deH0+o0va4AhZWmR4AlZwpaZfOiN6SqLj3
0ZSPHBmAaXA1mMaPL+9N0h26LvsZSUccUV7EZsLmGvKWV90DlL3kbhoI42u0TFjAWrZNSRdg+VQk
FsH+yMhiBfqFzHrN5IQmG/g7gJ8HrqNTEpNqAdExywixsQilUVZ3jwyKELTy+xg5JB4V8xLmtNKj
z/jM9anQjGYOOfYSaDcOGK9u0vC5RJirR22666S97XHP/oo68zd6G2ocauYeWzu2Q7ysaxcw+T5M
8k0B3csqAOFwTOdV/qUs8Pv1EH7ETvhhymhXSXo7L0NzU5khytdZD60UmwlG0Aq9jVlY05W9wYue
Fvc0ROqTR8kOHt/MFTL/pkSlMIFNOP90JwTT0yJHkXtpLc1Z9yYqRxyPo48mqyQmIioDsU3pfH3F
kFoPgLf6KY6gshYwfIgSMu36ZNArRxS3w6wY0ZEyipmxUnrcChiVYpdwXUj3GyesjBVhgIdw0j8I
tSVkoCRZSMPYtKipl6egAFLd0pJ0Eeo3F0us1PuQTbb1qYz6SZnypshu2FRe6c+TgmenDZe9E+wR
IB3hWG8b0kpkXTq0fwYsUxNmEZKIHDuivTLmAsadQcWTr3Wb3mYObykPikC+H+z0ZTK5G1Diwlcr
98LR9q3hr4tUf9RoGvzQQ0fgsDoDUEk264h6xks2sddtVIiQTJpc7I6HK2w+t+Ls1o4BPLEmI/wK
zJQDQqxw2u9IkFgfmM2u0cVTqv9OLpmlsfNW0wMbBWmffv2ppfaqYXpXOOMrIvi3NnL3gRvsXOJ5
UbNfkCLR2VJj2JhqPEiSDE5hjsQNk5X5kGMbxLeKZ4h+wxAVd3izw3hAOvOLSuVT29LTjvN7kpPL
jiBHFMlNGnjvyFZ1V22L+W4Y/+zA5lWMrLfJTAmZU/kRn93eivPrJJKt00dn17H3nhm+KRz1xWT8
C0f31ydN8Gm0+Kx9q3tiLbQ2RiqMRNdWkzUS8dXi/ak9unUZ8/ETzXC0EzNg+KmdnCpE8cYMRjpz
sKROWq4IWLyFY7tWYxEugfeAYq7jh9NZd6cY5lEY4V/h9OnlYm2n0bGgm1oUVjwtlNJucdjfuA/f
zDpinhxn69DGwT6q/q1hyFwNDKZL3BFj1uj32cw8dv4cMz2sK21YWXBTnT7Z9pgNafYRdBL8TArq
ilSO9zxB9BIo5irNhErQ0+lt+/HQVMWrVMgv0sDeIjQfAM9pcpnwMgPgjBEC0+NEkldjsmBHutwY
8YiZo7AR2HnxZczjXc5exjRMjDw8LukJfrduL63oLUjj46D0I8DrG4LMs5azNICUu/CbmUbLArLK
oMeIAMa0/a83s5sAJKVH6p2YSIT2KAKTuDmGrnWhG362fKqxCane6Bp/hkSlHuZ7xy12rsGMV5Ab
Nqn0DluSphMREOq2tLMPlUJwCDIjRouO5eLg6Slj2OE3NoV1yCVzin5Es+c1FKZIaALE9jacltoQ
pLdbuKZkMotcn22J2cgd/wWG/VLH1cbphINEGz6eRAgc+SVqrJIs1ezaxqAKbfrT1KJTQhoMVZJy
RqwdMksCJ0P0D8sVBXbR5qdar/ZEn1wdi6C5VNsI5ef7Ymi/K1XDfwYJYn3mlvE7dhAVsvYUwvh2
UWXDef2ZiP1mGBWleE0MKH1xGBDJhXTsMI6+2Km8ro+snGmYmpgTn2NPu/ggo7KMQWJhAuC3m82k
FCDc4StuoU2Wdf9re9W1wHEGmdvt0BPlDleSo58cvfc3ImAVhCo0qkhzMm1ErzojIpNu2fHr/RAN
57pWny1uHWljaHcM+E76mOx7nUZaDf456By0WcM164yVYjc58aw9bUR9GJCHZkVDuDa6oIIICL3C
Vvlz6Mr3yfB46yIYokoXH6MlKki/GapnHpobaUetzhiOCh/2ZnsfiYnah9Ps1MiJCR56ZihGotOV
2s++rR6OOR39gbmcMTiEXYx7Is9hdQWsfLCmteDfOmWcelBpO7hmWHBYmZMmeOstG6Uz3gaBi0JD
KNWxf7ArEysRVFzpOyyKKEKjpHoJZbkbUYA3BayIFGQdEyF/3czyXbiLEMP19he4FStZkQ0r5eZr
WqarKyVrRCBQxCEuyizaFS78lIJjs2VGteKPYjGM/XlKxSFxsu/GHJ5chDb2qNFw0joshdusbW94
j0xUtxYCWxarQ0FD4hvwin0K/ZDWEUUOCZaUtbtaxlct5UfIji4mt6t7XeVYRAIQbOQJYo1Dj8ZN
F7KFDYLpquw6eOM8bFGgErUU6BnuFos1ddrJFdZExhZaEqxSa2DEyc/P1YB81gdX0qfBksAwPomc
eWDs5/q6M7LnXDenbe9p5zLKj0Ll2z6o6XJnzb7/bCV/SYODUdhaSqwB4n4zDLcmhLR2aDfSLA+N
ZExn0W5jV9+knfqnJ4RFIYpj6Iu8uRJrn4RzNskSVQpS9NZptVNtyr/UJaglE7SCTCo3Zdc/gjHF
D5CWW7AH45LRCKFcVs4nzKolW1hxcAghgMgEr7LvJvcCeU1Q4itWcHVnQITntbC8mPO5ZER11m4o
tekguoA0rPQUDAh2B4BU7KWq7ghw7LkrtK8IeYxRWS86aw/dYhLKnV4BXLQfPLNnEbN4KNVXJRNJ
4k0FenQctlbjHlotJCxGW4USiSvy36WrNx8YVunEi70yXWrS/Er5uTE6snqkj9Lc8LWQZaS7nBTu
adkzqJDrVJh3ADHEvXW5sZaufKvKHOiR+2fZ8Rm1xyqz+V9L4E6JIiSdDDrITb1JjHjRO5tGc5nE
tmoT9Ij1nf6tdGrouNatKrCGGeXJ8ahcrHGg/B5e20jfKocIwREpy6yDwteoL3UFLyUgrLvqbqzC
d2ZBg5kK3iNTArSgOcMd8DAKREpkRLExulRUXWWqf0V21e54ivrKiKZhnxTxV5+0mJIleu3O4vpC
2dGN5kkfFYkc48EaoPoHbLADHJiY8NsAZl6OIL53hl9dBntp8G4IEm2sjK9YhK/VQ0U34qZSwwUM
2qdW2Eelj4c4yUOmyHRJjiyeM6/b1x5rRcIaqMCxcLv9h0zcDdjqkfH5BLS8wlgNm7nGo4PvEEwf
mah9f8lgUNv1CH+0Lg+JDB5kNFiM/hBvpml7DDj2FlUHbd+cOOhdTDy9NrxJJ9tMPU+hD8C6+TsP
RIKEzcPsm2OY+G9hJp+8hx+ZLLFJVkg7ISOnHS6uacLfNVhsYlLZ8AFSyavKOoPq+0uG6Oyl5sWT
/i1LSZVE9TcAXl1AJkYsoNQ1bDqk50n0QkE6okXmuO78v8rGed2FVLi19UVZTNPkosyJN36snkWX
v6ed+UbgxmdTdrif3YI5PEovMSq4nNh+HHr23m+fxGB+JnlwjqZyY0cRdH3q6aE3V3qIB6AZG4wn
ztBDaIqZPI9rS4vQf6VrUsXfM9OAV0rvqQuCoRBIAFfocXrk5m/c1wSr+vZPbMVq22ZzTUH+yllM
5mWYCtLEMpYketlGR1SD9hLk25OORIITO7rnBcVca0644DTTO+VMN046+wvmYRYer7lNkXmztC1j
6WhefdJqz1/FE8V8NW+69QZBiI/yTEikLXqAWWlyRpvlcIl8OMiS2Qkm2GqR6mdNf45GbdOYzHmb
Eke87tUD1HXU7gElVNo+iIa5C97MNbnBySIQYsQ4118bX15Zmn5R3R+aoQOUVLItCpuGmZNRXwt8
miNWbBsP5ZJu/1MA6/YaPLGSnO/FxOgY92p7lHn64ZNbl07dHZUWJpWo/hcFaO50hZrbolsziKrC
JQzaUfbPTdK8eyYOHk0Sv1Ds27K9OGwFqiZ41llRNA3CRWrOQQwR9pzspw+NK2rxdcUITOrtMcWV
DWT2I9DbTRdFT2miXd16dnTHL0EmNiGozdHA2lci0RuKg695aFe1DS3Vb4lqrHfLp6y1/yoS8jA2
PGtev6twOpuqec1aA0UH6zWNfF2popXhhnzDGLBF8YbdM40D3MEB4oZPmm0cak9wjPJ9F3FgpTY3
jVQGDR7KXhaYe2Lr5mZbfVEar0d4YAiooA8qcdYyQLZTjVWnqop9lOLCTRgN1yHaaGooFGaMSBOS
FcFsWUn7kQH00Mv+cwKqL2ZZoxaU+8rysM3ZV9NP1tUwfRpau675Er0VUfKd9ho5KQG7Tdemqema
zx7y4KIxC22v6SFsALLjF46V0gBKmpQoHT8Gb2A1bDbPTt9sfeV/dgnD7tgllsebzuDSn4es4hAK
eAS9/6uaaaf72neQD9YJI9XS6KpDoeFZ8VPvt2YQdlTTsMVajyBd35isvJ3M0LaxYNTadxaA3d75
CcZ8Ok8u1t7Ywm2Wl1wo8BVDcGt5nvyoljXkUF6Lwb6Tvg6coAc+PUodECtToZLUt0USdPqSeGKq
W7JY9ljMHY5zDeouNumdEXTfpelVZ3/Uw01cMuOewNQt7RqKfGAMCCPkYVL5pc7IdJKc5WVlM3Xp
/xF85KyqDHdzmrDnwg+AKKVGEZsAYZoAGVZ6+u2SGIxCXOmHtA19zHNoQ8wsYoTZNlgDkjr2t4VX
WYc6rdkZRc5VB2lFB8ZoPBYlFYA/QloiX2OQ45lorDcsSoi8rO+u5urMcyhODpAMPJ/oGpyipJw3
L3oFcLZziFtCEoMPnPBIguuqGnNdqddPURsebF/8862ErFVj08YwPCbyOy11zDQSzuKc1ZDpNV9d
EHJKoHdna1vpa7Oh5/AEOnyCLn+FAxc1bb8gwKHfbc6225Ig4t8AKmzDSn5rWMMyBWys5IKKJ6LJ
ZDzuA0sgDsw3HgNeCPnUQhhekFwgsUYRm7v1vkmpehGqndwyPlnFeOm64bf0x3OHnheY+sHsuWHm
3WI1E3Ws+pXcRnD/5tZlfpw6Lbvvadc2v86Q3VQ8sotwyenQmVovTLMD+5BPSCldN55eBahr1ugd
QbMNsVW+wEvJpBUDePfPm0hrW7l8dWDGI0KJynlkG2N5wTWZQ/tZjXHIThRjQMXcnSALEcGqGdeD
GS0NqySEpRt/oBkfo7BImKb8KVmIrZu2PQoRddBl96iMgKKkzl/hiCOfCut34kZfZAxNJ02OTMKu
xG0tLaOFqpIcHL38MkugK1G1Lmze3F7nq8NRgM/SlOnRR+jWjPZK9oj1tOJcD99AnTHCkBMaaidt
zhMng3gR5NUjEYya03Tq91kDgcVISZVgiubv7VhYi6RBeBdM7XiTUYkTto66ZaOzwHOQpzQCHKbf
ngY1bm1sUHWRfHc2HSFb63Pe5+TJKRh/hnZVLeudQDN1nAgZX9/0t589oo3iv7GRU+ptQBWAkz1w
DQD8to81v4fKMoNLFDScNgy2ad4eQ4dKObYWMQhHaau3oML0OypWDDYZPcOkY2GNKMw07UGi5RaW
MWWlwZ+DcSPkLcV92ojZ/yrWXjJsqM1Igi43g0DJFMWnwFHDUrYFQLyScUeHLavj0FB59VX1+cBM
iUyIoXvRfXCSRUAFSaeTDeTGxu+NBJxA2i+lJ/0JmZcLwqhYrGYkpIYk2nSEtbr8i7qGtmC7JnQg
/RawZR9HIrlUxFOP2RT4NgdUUSiAQbFxs1ISLOnsXjDJ4wZz8ZtbKm9OuSPPJPx0u8Y3T6OFzDqY
QB65Lmjgqm93TYhxu7dXtoAQSbCXh34iwnEi0pLdJ9RG2yX3T3JqQkVjWRGgZAk4z/ltasSRsTkC
ijI2HZkgHYe5yIGYFPlLFeLyav3mQ85j+SImJ32QvyHnJOB1axfGJBn5CYIamuR3w2IfUPlPsQpe
3Kz+7kbnj6HLtqs5F4WM3rqEo9nLwLfnftZhP+2zR9QU+jrrXW+lpY34Ea4WIdAfDlmq30kj7ZlA
I+U1UTMCbA3Y07Y/zhQZG0K7ydNIvIflev0iUolxc2cXVZqmR9PDwg+ChRktnMoAhl9YpdcIqQvS
7Won5yGBRH2YBca1H8tb5eGblfRyE157jtd4E0De6JIQUTp2qqr9DDiJ6CPQffbjbyBQYRatytBm
km44JEyPiOdwIrZB0RwxuHI7Ch5ddLBY/GWDyNjhQKegODQpaLoAOLfI0ClZNt6TuGPKWBFnYM3T
T6QIZmdC/uQIN7mu0AuBZD6SnMrmOSBSt1CzMDAH9VXsaeW2EdJ6u5g2E2vZaJje0LlwMpLMNLjP
VHwhkUAGogj3mnvsK4wYsy4u2Zb5a6BtApAVJfazkDNhUY31X2FE58pNP4xkQk9lhcizCGsqfPLw
8pShnzyZGIaJy7LgK05rosquQx1u+1ocwpADLXEApDQcI55ZMwGxijVf+muB07tomeVE0CUDdcgC
NCRTKo922D1PCleUF7CzLgvvN88hoNjuVhX51XFebbRf9IZbRahDamgrgdJjIpvGiFpW+fQPelSL
tRI81hbIpg3vJcVTOWJOsCZnp1vJyrYze6fpTEdCyEUiwu/CaAHTHmjRnBqtAPwweG91jjSyxQY3
xBjfgGu0dvpoJven8eKtplO3jjZD/NGSZDy4vyS1b+Kw21ohlhPf9YFwpOcgHp/RVlyipLuQc/if
tDNbjhzJtuuvXOvnhgmDA3DIdPUQiJlzcOYLjExmYp5nfL0WUmYqZlQYw1T92F3V7UTA4cM5e6/N
O6kQEYBSIH+E7SXiPFSGZElA6Hk003FZGNpNiZvH9OONSiMlkmjDLf21S6BnVs5jgsQqwz6Watqy
Z1pFRbQMe/RshXOnxgpzmI6j2ZKn9YYDC3Ei0eNywG2hhE91CJRjJG2jd22n3VpcDjLcACmsaLUw
d73Gpan7XQOPCTKq1mUZrnOg3ZMZ0dGN3QzNotfJK35OrqPpRd9RELWhAEHArPZkZEh2jvFyZP3s
/Xrtycjg46LI5inRZcEJCLOT/BjGlmTI3ucSLvSnakDYrZbNo1WQ9d7bF1YtPqIIOxyYmUlOO1HB
wIM4maGGBUJMd5DYhohYktiCWZiba31sQdmXvyJZbAvLIlyHE06jvgjtUFCkSJCItCi8hzF8rsG9
oDp7ToDVYbi46IiloXLtdpN+lUTtbZ+St1SDuux4j1y/0VYibdE9VhtrbsRb/nwWJ3M8rrO3ci7d
zIdFW5lB2x62EalvDdvAxJ76VzrxeUadX+kzXD6g3SbVq4b5F/jhypTTlkRiDd49rk3/owDaPybW
hQp+WImt5QD7orSS50E1QBl0q5HKJjQoLsqQhH3ltSicaysLljFcakL39G3ulBjE5CF1wsQ1I5oE
ZkUylTbVA0iMALqQ+jwEs9vM8z/Ctng32wjoL3BbTgfXEkKCPyIpUjJzTXr3SM8aZxvwKLDX8OaK
dQh5Q5RUvQlzG3zsmNQIpEA3maOvhIt033EhBd90rVFHbvyHDiwn4psdLNNbANNPHSKxIpG7kiZq
z3HR9dRn0ZLdaqbLCJRSUMltRSjJVBUFK2VzQ1sU3ov5y/dqLK+o6NAxWQHugoE4cjPjMjyMbowZ
HpMkqB3P/7R6TJqJSBAr4UCIg+zQWEQDm+Y13FNSLsL3tuDSmqQvqtXcFTH/NtlZFBHJcaU2W68m
C0k8GpPSHaYIWByK9iy5GhLaf7bdove35r8Ta55ZEPGb0t0k+VlKqgXxatCJB+okoAwkI3VITam1
UHg5HsphU703omFyqZDQJSb5AdqeU677pHkC4Y0wmBQvq2gIIe/0m9ZQ1J2Y2YlJSWhey6eCZu45
i0KIEGU/iL1uqqj/DARoWu3dcLuF66ne1kgKRpOuKtUbm2YxuTypGLcI0lYxFUuX8OIBxbR6yPT8
F0o04Jwoy3vSI5fCwIsWDPqPiPoatwz/IvIJhCKvzZXxb0k7WYWGgaR3aMbmgvSgKzE1n543m+bL
1yj9CHqdRuprPn8zBe2vFgEizaE2V1czVSnXeoTQyaUNRK/BZS7iVTyZPy1dd73GJKOR/oWFwnCG
mQzCuFFgkPTOdGH1kTtZn5WJyDyk/wBSwnZIWiCPzVfVq5Kme1iQNMXunqrhFc16k+WLYAtVaBdU
cyZXGYyt4yGCNU1urT6RC+nVhDIXYhj5PLoKHwQwDIQZTlHPennRgS8J63p+negOU+Wupx8EpA0F
l+FbTwa9mRTWYq4ne9QXLD9OcWvNRY90okxdmXMGXnOoG0RnzVwN/zTH7sVHZ0hE0lpObDXoLFUT
joERY1TXvDtjaLcmGVpq/iuvra0T0QrX7Zd0bF4gqbqphHugKPg0u1E5GGpwKKlbOt5TSAoYNn05
GbcD9WuWcYobXKFiko/r9DZzMG8QWxo15TJAN2NV01MOwFzV7M+hqBaG410TdahQdJh0qFmYLxAT
uR4iHC6ilkat+sGWYj8oj8WE7YifjZqYVr3RzENJpa+tLHE7HQ+GVa/N5Mm3IohSrJeNHW9skhEt
ShShXyz1hM6bVW01OWSrKMEo5pAJkHXd6HYJDHBVVy+jNN4nXvSD5jDZxOU9LmlUNajEkA3W7Qi0
sFvXsnzJaMRKm1ZpMVt/5bR2qm4XBr/o7YDUM2+SqVsnxijnyexaXrZuoldPu86Qv0QWrLwQ6DqA
n7QZV2p3UNgi+iLlvDKQ+A11wDffUjbXMvHIupk+NLIB3Elx7iy8p42KtJ6q0jUw8xzVMccTaaTQ
wg3tEiHJtTaTVkeuqUta9O+qrT4ozYz9AVWhCd5PPabveTJtwgxcEc4DJ8ddxSWMe90GIPAKVhj/
U3TdZYR2ARIvxm+S9dCMLBLnl47CnUrARzXiCA7lUkQdV7zyxqihoFQeETwov0WxxmhI479UntWu
6l1hz6zHxqMkUctLnaIRgJBP1SMdyCxJsLKA6VM0HxSklTRj3SzBRCq5tpum/6rZxpXit9dTFt9L
YrDn8C0owGZ50/v5L78MaM2kHUoxj6tRZRkayyc3MAr5XP8J11lx1bCXoac5i44wiEY2ay59FMPJ
CVXNGwt2mV1PtH2iateyBVkqkDNJiQuxT1neTH355CeoDZJB/op1oW1MswkfEZ0Qzdx6ww6YlL/1
Sy++GJU+RIddeVcCqAv6+/ZABC2NHJjdbqlxPmtKAGIaPPldanOO5+oUXcioX425Yl2MZXMVDF4H
S4xwLCown3L+QFoN20RNc9alQmasMLMR9gKj6jKk/HTFTle7tfRu9GwMYCQjKepTnIc0OHva7VW8
9TgduGooOHCoKGiRybQKegELhdbYPdpONi4rFd2baVrdpV4jy5cq+ryoQYfezpeSSkCEoqdmbEWa
owystGGDEQiFqHD8K6PG+e5VCfaDSMGRSA7fvLX9jOyIyKchvtMo4yzhkPtuNNpPChy8Fi3dozpk
gu6UMwPSuhcv0LRLOXuqiblqN4LX6+bBZK1qA3UBOoUGZZGsd1bSvg1lj3NMNzGLaBH+TmkX3W6a
8nYti7q+Gvvuve2AEegIYp6VdCrAdCI8dQhnTUKk5HarGKzDQb8plV65MXyRrfH303zxiO0qxgw4
SjlQ2qa8sWht7kpmO/PVlMAByKgPF3VdPkWKghghRRZWc/F54QZOwnwiP7nsFNtWpJDJfNWGjlsD
1hIqNRQTxacyWtsOYhFwnFz4a1lRDK9jO78eCswYSU82SdCIYGsU2kOkYQcycYQvg2jEyYacgqhr
bU1Fe40E8ynS8COlnQ1lXNb3wox7KnuthWSz7dlJUUNUtYVkSvOde7YLY2mG8bj0Q9mAKSnAOsQU
zSsh+32QmihXWjw3ccBHZ8wYioSQunmXNyi50vrpRS/AvnOacHyWzkDEFE4xrWwjjn2O0Xsbr2Yz
47xqgIehi0X+CxPGTkwUrt5AZT9YTYjmbU258Nr6Igi06NGwkZdrokDJi16wlYgqLEu395K+whiQ
ZZ8onGVKvZbXvlZzYtJQxQfWTy1MOKMr67BVw3U4pliC4XwjVK1wUgiflmQdIIbrXyu1OpjTJ9LM
VS4JqsaNRAsJ4z1C4XJS9x1p8HGHN7xwiHHLoge/Drk8UEDnkKg2wz4qJEKh4UqT3ECtNE5BnKmu
EAY/YYmykN2yJXWVzHHFcp46x9s4gF4KfFUp1MYEsKuXJNciLNG5tKhlgoMhpGs69Jj6EC+fyb3H
ZEsjCG7TW/WrYxlvhTR+9m13ERbjQ5yxuqFTg5IR7Uj/K5aZb611hNEwoLNdSB9M0uBNOs5sxjTg
Le90dwhFsjIxxy5GmHCeYv3oCGRHoUaqHkt2BbexbWlJdrnyTptdLnXgKLrhX9ExfTQ96pK18a5l
zAZbVCu7GuA7yJ/NBOy5mZJn5BFu4UczM/B1qol9pNDN4h5dJ05+6zT97DnjAN8l3ERr6zkKEIx0
NvIl/KYLVaXWh4XljvLBa9AbGyf6SEN/3XDQskbr3lfye/h0S6raHya7ZWFCPNO7aJ+Ygb7j8ssZ
LpzgjA75oq+SdwWXZJWTwEk+3E3awv+ggpo1IJyVVLluA/HR+3TN6+4ejisKRLCLAY4+q/ox9uJV
Ilqi9+4OLWqMKfIuE4KP2AB3AaKW3LC5CWWrMQPAVwAMG8J1W3hr35ru47LbTqgo8bZxG7QP8TjH
gg/UxrKyogZLS8PrwFURokhchZzB+lwMRjBLE2A1zg1E2D1NUbQlMhRNGUL9Qj5LqvCLscXfYQBa
rYLYuI6jFxw+E00rVTDhegfrRJsnFzUNuLXG+ZuPQsBWxFjbXIsWj5QVWM6rPSryPkvJslIrVLlp
nSlQSkouEpBr2GDCnppd5zk3jt0PD52RkQHZl9a9TZ7UlUlD5aqSoCfEnHVPXqFy0VRjs8XYMrxK
nwTERiQNqV5IGUHagqNL4ZIGfkGqtzO+1YbRXDkR2LRJorxoRENXqDDIlFfblOvKxCF4MNER6k6z
TZox2BR9SgGjDUB0c1uetmnL3tX1RnMZlMVPp4ICqiA43OhkkFDEnnJgYmZKtDOn+AlnhKWLa9vz
fwK5P/jOdV5zi2g77UVvAJqglcNSZioaK1SgXighJb/S51KiUl7CfptbMU9gW5/UcR0gdnl3q+Qi
306DYQHNTuQKYc2rUufZWqv6u2B0jIvI09N9qdgsOUVKgRiAfUX2hS3je3/UzNWUTbsmCpct9VJM
onzDI/Bav0w3Gt1sz7Mf01xjFvpXzIHHOexBluoHOSKXnSPfLH3kdt2QnBVE06rN7KdcQ+gzpRfV
EG2MpMY3llPRsfHuhBfYPHYm170CFCR81wu7jlYESrFzmMuWYJyM0hLrxMqK2QYUXihDr/qu3GRC
A5PaPmhK8JaSj8bJkHNeLtpDoieHZNIeNFwudS6v6564R3rdVoYIxfZupUboPb2EhlN32BE4E2cU
EWwOXTHOYRb0TazaW7s3fzlWfE/MzVKlCVlyRgP1vUpKMtAJGEEL8lJ6cpOrEzFkyh13bap8kp06
t/gG/B7QTUG/UjhWBzckW2o0AX2t36Qxf2xociD1sR7Q4DfMNTvI21gQn9Y5yZaI+IODe9ZFg2/S
axLXijlt/ar7jBv+Djw3aak/VjGMKwIyP5SZqJXTpGu6/kYZMvh7cH0sZ9XMwdWcE9e1SegPkQq0
PDkrCY7f9jaU7God3Qg1ZBopOBjzUfsQXZ+hCvzZELNjlejYeliBbz5KMR85OlfL/WDa214tXujw
bIUdvIoJSWRAtbNpPFIq0ydylmFK+3QDhpzVzoxoaDaXnFfu6yG7LbzZnKj9cCKsRg4c09bPVrUY
P1S69dachpGacq2zcBPqd48dajUp5Cr5LWsaoRMsqYqJxjGWF0nSLAGgPGaBRvaNYh8sJqJL3/XT
SIut03ePoJrJVYYRjyGMo3VZrY2879FdjYc5PHlAEralK0NWl8pBRH0VEZkOZZBwADdno9CK/ke7
gFa+IZ9nFzfpoz+BJR2TGO5O+hOR/hUJWdsG+TARGgDdKHoaiqIhvNaeB4DUbmpHN1U+Y3Fpvpr8
wYWAxt7WxLBUBsQnS8OBNOCH6XFcKPW49AQRBTJ8brz0Yyj5Ie0M7TxdjX7AdDFKfYWDKHZz09w4
kAMXQ9ry4Sf7UFOuSI7c5yLGFx6sKaZvCngLCuJDiQxt1aVcXjywucAsx6JZ5wHBNdAudARG3bTy
jUf6Z/PdZLjOZXYJ+rehG6dZxoawvrWvIoNsPqpBfbGgSwdUQGQzvuUEa2VKvqu4H2sJJPkcWrT2
GbHMWX18Y3TGjZ+DBxmhp6nJ2grs6zkMQ28RH1IcUkbiIJiaxfiZ+WgQSQWyTOwTwfRZgMsi+XkV
VneTlVfgKMjFRt5n1ig1JEdRd+TKExU3E72yCksB9VoxEIJkZc0vbhH0zvAM4tG91+r0Ru1osVde
CA5Ru6m55nUtcmhzj3RxDvWg3KS/Qi1U8jmiYkG634aktRtlNl4UnbEaJtTh97lqvuJrnUFSP7wg
pxTeb3RUuUwQXMOUZo30sghKVyTaPjaCd5zadg3QaU4+ybOLAuGxTw5OEpjvhcwBSdHb0T5tE53U
oSPJJqY+WELOGfnFdLSzqRYsHfg1TTA7wXzygexN0BYQUIZ9OZY7tLvbIA42lqAbxcEN/mZNjYIS
KwyEepHTh0osdUdWXWSj5BumlZiCDNopADIiKwLzxsYEm/blImBOxLR3R/VdNQ+ylwfN/6ESyOx4
Bzlr/j2iy7DlsGCi3+p3HczJlqsNiOd0LlaP28QgPwKVJXUYJK37ktAqvTciN8qTHzHAbpUrFAK0
jaIrVzp7by77u6qb5U5yW/QI8jouyvBEH/TxMuXdeNllSZMtGCinxT9GWTbLnuWFyOPFMFWrTjyw
Oi9r7w7ZRFvjHeUDGfUrJJ1vQmxteg0Fspt1FcBLgidlNU+YIRcBBEgdg6byaptItF+NrN0HxjOV
J69/Qxp0kdhsdyrGRj291ynPxFg4QZXup6raJ/qVCOxf5PTyLWaruP1poogXxMMO8lAQKeiXN2NS
LUFpNfg9O2QsA3qSvMFOKX505pPNR9/7830YWRm3IgWaqErBHzxHOsx3TYSacfVRJk/Uj54U7Ypi
2WPL9OvoAg+3FRmFHoC2yQye+lbHjQuFRad7/j6qvttC0qLakC4Dcsl6Uj/s6AU6xzLSVHRCzTbE
9GtDRFXNHp7LjQqzrbIuQVDN/nsBXWVCGRxqt54GO9rHLEIhUcUv3pniysSIlfvXQmfKVc+S2wox
WmWVXmKqxeDKUXHdcZNZZCqbM7KMoDTvwsIjqaO6DNPqJR9eIuWqzIIXJ79URnLdsl1iTYTm8ady
20bkuBSluO8KqrFjfymnWQx8zSq5zMm9jYW5aNPnAvOclZCGMpjXYWeuQrIYMlVS9+yh/UzrPkuX
Aw0px7oooQYAKnG45lBA3oVSeXCoJ1FUIo85dOv4Nk+VN0F5q7GDX53SYAJLbxoW7SlBZ8JJwY4p
wmWAo1MkfVl08Cg2dghXvApiAdLdgetokofotAbi0rGUEvXy4SWs+LliLpTuxgPSJ/mPE0ZUY6Lm
CJconxOJBkK8LrQe/ILl/8xSZef5wLWoL9dtclDymPpX81J35a+yLq5iXC9h8yILu2IyjZtCp8AE
vzKRt1AxMfgXL3nXoTBDTM8lZqbv2LDLLD351EjAIt0XOydsc5D7dn1PTeCyo8Thw6Ehlw0vnLSW
hrRfbNw7StNDVYG55MlVMymbfu7WDMHFby6Rip9JZm8N9NC8ym8Qirk6Gtm8A4Ws0s6ebWEFUX5l
fenwanJ4sGMNOxYlhaoAbzfEAwK0pacmr2nNs6SIvJv2hqIR8uHZz9hwlb1XZx2b5dT0MjLu+HMz
jACOVQ7KNLY+DWZK06aXMn0soCCj/8FZLXk7QOt8BQFJsoQBACvxudVx3sNnhDBpIMrjq+BSfVHQ
GQwDNob+p81XyCrukvQdFxIDc8w6FlzWUbCth5H0RB/QsfPgqP4uEfyvimBPxdGd/Au9eyabZUUH
8aK1Sqw/sGdQAY1pf0OENn0C/TZV7NtOQbRKUVRFEUrfgeMHpu+WwBeuYDEQlL54b9LpubLCexXw
f40lsm/sizJrXgb0YV7xZmNCTNM7GoFrDV2ilfY/CByinKyuTGWf5srNqL2RiQj0ct8weRUYgyIi
vTMb9iG68koU7qBd5yXlylnUw+LB3NuqzoNmFZf5BGWtaZd0DFctoMyRqZ2Z5UHl7O1lkOERavkl
sTDS/tUFGFahZGrRzz5qXkZ8fguJnNzs40eUpOR0vygKCHkV2BG4IPM9bRHuIMGZtEfPK28JawTR
MR88kMsTnWRealSJ2vjFZBfh6MYmiag3mPaDhq9R7jOQElp9D8sY+s+DCjUtAY0cOHvVIxwAi5j0
yk+HoI0SjaOaAGdKWK/swFgY+P4K/9HkspBT1cEW6i/LUd8oxrUJVmcgqkHo8laJPsLhFpvjOgt+
UFSA3dRfpojOabSAI6G2qE9LGSYUka21Md7rHrS86SbVX8PpAG6fgy5xFcQmFJwJ4bKJSkc/g7Qn
vYaHu80CAA4IajtNLhWfJT08kHCD7RZjiwyJr2abticEucgq9J1nqrMuDlV9hlGkHF3FhhGaJYS6
ZEvD4dSbIbVhzymld8/yu05sD4npGqzWehDxpgYCw00x7lmLYnwiVvCuaM+WlKux+hj69wIOZls9
WFh0E89Z6YVAVUuLldosvl7LpLb0TJjaegqvfL3bUkvcJtmBTBt+hfIuMHEMaC8Z03fABj5i3OHm
sw/LXUgbaOQ4OZDtGXQtMTj9ZWMRjlo+e8YTDo/Pvraf+tx+pK9Nl7TkIEsfNKCmoVb3iQVpOY1W
GKJK1lPMktyx+iHc+Uq1DpPitoMEW8FOaFVuSVMQ30LX5kpJkHFnXw4pxwAVCk1V7GZtfk/uBvVf
2QSr3Lw0I7GlnjjNqGo1J/yVWKyIX1doGnYwvFATwZ2CM591b+K2hs2zakr7Ri+Ga4pJ3DRCnOgs
Mpjw76Oqf6aGiD0A7V7/hBRqJaqDnz3+W5pOKvIZBcCxmVr39DF0uMhF/9z76urfGC592RBj4ybt
jtvIZBwmtM7/boQT9RqHTOLZ7ji7IzhX3X/bI25pIo9yd+xedeMltA7/+q//8b//14/hf/o/ERgl
o59n/0U+1G1OJGj93/8y//Vfxf/9b3ef//0vqeuGpulStyyh26ZjSZ1//uP9QIuEf1n7d5l2cVOU
JSHKDUzeIl3rRjVP3+9H0U4O4zhSCE2Ymqlrfw6TqhAMOmTnrqm7JFXvEZMsEWO7wZoba7Xjh3Zx
4m/OjCpPPdyXUY8eLi2z3olqm77EjXfXjguATuvsvruNGBVWF6SnvYay30V2uvPcM4PP/+fHv6yh
G9LhZ9VV1bH/fGQW+tCfW6AuZ5QVjLUFNpoNQQSXwTbYW9ffj3bq9zUM1bbozfIWDePPwfIqGLHC
0/TDd85l/2caHbAfLr4fRLNOPJKwNeaKNMimPX6LUljKRJm7cOsVirXVwCtkI1qi3TyUy8lF3o1o
aju8fj/suVGP3qKKT56DFZfCCsFUAcBk4MBa/fCmj+/HOfUbfn2649+w88PWzBAO0cMK/TupIZ3P
z8yK+aUfT4qvY4g/31OGsyimhp7Toh+2tke2sqAt8qufoCz52++fRzs1A78ONj/wl2971EQLR5nB
ksthqSzqjXUrFpwJ15Wbuea5T/z0aNBOBT1ryzKP5vtk611T2DXR1Vc2tfmNWPkrUhVwra6oqm/s
5fdPd/JtSc0xgXtIU9WPHs40NN1BzZ7PwgEMlx0rsXZlTc65NWR+I397Y1/GmWfnlx8xGHuna+hO
u+MepucLTrQlaYnM9XiZbcCGL6MzU+T0a/sy4tEPadejgnSO/aNelU/2etoC0tnUl/yIbnh2tJMf
15fB5iX0y+OpmAmUAJALW/a17+8hQ+kV8IozL0tzzvyK8z//MkxiDQh5iiDh2r8A0+habvEAENyl
GrQzVwhU8ee51jbaYrTZBGfe4ZnBDfXPwXtHtaNpQuQMRSPeFrmxJCpAbmGGZXdJXuiAoSX0zgrf
bJUYZ1YV7cwEMo62PkgLXR0MTFT0vBzgN5jV3PAtWM4rZgg/dH3+pWrzE30zaY35W/3yc/dxGJOn
zpjRzttna7B1i8nFy705t8X+/sy+G+lo0bQVrZK5zfwBd/LgIXteoD1bmWt7G6wJf/7Bpfk6dTlX
uwjeXUpVy8xtNsmm3v//LwemYQhHNSxLNcXRchCPNq6XDOJQTRXBrOu1wp0hwxbxD4YxVctWdcNk
cz8axpGdQRBtA8oc/o2dRlsVm2Q31GeW7lOLm2lyq6DzrzsARf98f3UQ0GrCDew23OqVhxilIoHK
i++f5dTENC2bxVNTgfwdr6CFIekuhfiQ7ew1oBSWFIfvB5gXquO58XWAo6UzslSvpz/HLGxfhHxq
KLCPMI+j/Fn49pkXc/Iz+zrY/Md8mfK2aiZVrPqc9e4pp8JXmJbJkpsyhoEV6Wh34jJ5Ozf7Tx5r
vw56tHrmWqBQqehTF1p88DA8hHvskxfjjXFn7En22aI1ecwvvv9VT+4PXwc9WksnDJNqF5ENhxt/
14J/WGPjdjV3usreyPc9M0tOHvq+DHe8eqbJhIvTJLjXSpblE5BEcwtY9QIcgLOQN/3SWqc3wyNu
vH+yD34d+OgjCKXvW6IgSFVeyU26Rbq1JPdsQ8vHVc7ug+de5fGSmYq4nTBIQCe6G104Xtv4Loe9
dIFwY4GErrkmBO0DoPGZl3nqI2S9soQptVkBcjRtHS3xwSHQyA8ux2mHPSJw4z2ZFVfFU6X93vXj
tbc6M6h+4sO0NZZKNEgGuq6jQdMppYmt0App95QK1zQv3WBpfUIMWCILP/dlntqMbINHsyRsUimP
5msVWDk1YFxJbEYbxGxbssbW+oLRz6yap74MXUebY9u6xuOJoxnjNLmRTSmNFsSlS/lU8vVjZXS9
RXNHLt+Z0U68uT8Gm3/kLwtO3rWaDfGKN2cL5TCiU7nLq+TnmVd1chRdtThXs7txef5zlAEJxDhV
sGZgW1SX3U55hvyD/x4jEVu6tlJJyVtot/9gVIMZqQsVC4W0jkbVw2kK2xBwEN20nstre9C24QaU
hAGulKUGH9eWCu+ZUU9MS4MtVUhVtxj4bzfmrs79MBtoEAWxc23OdaUgCWoSmOz+qdahUJueIO7d
zseXqSfPhqBbC64+3V+l1aozn+b8jEe7Fw4m1eI44egot48mU+55WAcjGIpoAuDMJndj3b16bfv0
/VOfG+ZoGrXOZBFDjSRzku8IrlHKIleAAPufjXJ0TFMnpfOnGgdy6pN/F98EAcpxPCHfj3JishqO
oUmkTnx84vex9Msn0Xitk2NGnjX9I/yUdQOF9/sRtPkPPX4rVFR0hHKOkKQt/Pk91HWi6oFOCcK7
UjdiY6zbTbeVl3ieyIBfq1swnd+PeOr9OLahGhqlFU5j8z//8kyy7rSyTaDMOHUGwaijRW3dq4im
vh/mxD3McGyHNdk2OJJZR7Nt4C8olZbSPonStnA1kIZjt7HDM4eHk2/oyzBHs43mlleq89NAT7w3
ADWpRNx//yS/D6d/e0Vfxjh6RRlS2kL6yKDqFSD2ndjAfhAuQenujuxNQi/Xk3tt75Gfb+7OVd1O
PJ9QVdWkLiBVaVtHe80oCF/Oo4jzOVLAoi42oqnO3DRODuGwdfL/LwTnyj8nhOn4FnQKylGDKdah
km/LsT23Ep6YdHw9BnhMm8ku1aPHUBXpRfFMRid7jx7DuCKAGhvdEqTR0lsQI5Rc58tiY55Z9/UT
W/XXcY8/4EILemGOTI8Bb91Gg/dz2b4jDLhx3MGVCz6Ae0q1B9pOKh2ixfnT5nzyOJo7f/wBR5+B
12KXU0Z+3KjH2kDgmLMtDH9GWKDEas/M1DO/8u/jxJdPO/LaqjR06mOO9rObflj0GJP4zAd36lxJ
/8BwuDNqtnB+L2hfBqGzClaqgx9bryQVaC4l7HwLZVWt4Cwv7Pd4ue2QT/6DG+Qfw86z+MuwvTf6
iLxZJzsDyyTUC5pmU/rx/aeuza/jb68Ll4LQLZ5Ml0evC1VPHCR+jLJl0+ycZ7xyzBMCPW6LTX3m
h5yvUkdDUepjI+YUxEdxfPMGjpYwMWmEhKqxKct81arjBfUAZNYq5t+pDTqE6Mr99094Ylk2NToj
mnQcx8DM8efP6DeKHitZxM+oNxwjjZmbLdCHSS25UWR17q2dWFs456nY7tlyNHl85mjhYUVND1S0
sz6c/BmH8fePc2r7/GOA4/W/Cf2qIsLPNeL16OLVOtDM5K3BO8V5NlGaOXcon5eq4/f29ZGOfkFc
cIUadNgkSyjpC1GLrZU57zIRLwCNdjBNiSHrGwFYnAiV75/2xPf9x8MefQMZjYywzHjYZIKUcdvU
H9P08p8NcbwZBIrZ6L8psIgbmgKKdebADszPvLcTyyJPIlhFHHYc/Xg/SKTXV808jF4DiEVbdh+T
ZBUizBnTM090egr+v6GOt4DJTjA1xLwvAWU6AdipJuHb9z/aqZICbQJNt3QOcbjuj361YszFOECJ
d7uXnq2tdsvD+BM/nwXOYhEcMC1sClJoFuj4vh/55MN9GXj+3L+siho49N5I0sJVguCR7AkM2PGZ
a+HJSfdliPlVfhlCCPz/UjAEXgX0AIgNUpuU8Wz1/ZOcXJi+DDMvl1+GUYsk9+2AnzD2nsd8E3Ua
PN8KIeTn9+Oce5yjk8jQQKCtyhkXlz7w8S6a/tCg0/1+kFP16q8TwpzPJV+eposmD17X/KM1w08M
8J9Znt6WtViN6rSvahxKZbvJhXcV+4/fD31mRphHO1iNM6xSMkbWoVflg3VrQJ44M+vO/Ibm0aJr
ad04TSbvqo92efeqUEiL7WL5nz3I0Tpbe3kL1YIXVQzhvpX9e6tB0fl+jHMPMv+YX14TjNgaQyNj
GNbj0MD4e2idM5/P6XnNokDVQdLEO3qMwR48rZcMYdOSUfVXc2iWDbjpMnj9J8/y10BHz4KUZIgS
h4EqlTyRUp8BKSh7G92+/36gk2u3+Gug+Uf98qM1ORzpVmGgNtE2/dRtKmEiMwm25uC4Nu6c74c7
/Y7+Gu5oiUuiBHS2j7ol6/YhDhIDnUi6+8/GOFrjOmn6Aiwai0/21IeX6Ar9c6/nVC2PJeGv5zha
4DSUisUwP4cxCVR/+Sc3opUj81VOwmcNNxQL0lYFUspWRvinhS0tPXz/mOfm4tHaRwRcESZgV5HG
mgDwn6V88mJCFcLqH/2ekh1eCshYx8dox8ttszAZqM4+9ZleAi52EucW2XmZ+dtJTPw1yvzPv0zE
KUPiDpJ2Vm/MNb14FSz113atbFK62PnH97/d6XX1r8GOvmPishwlM+bPq9gPmBYIjvvPBjj6frNR
90BR8zRSARQ20wXK4Pn7IU5/uX89w9GX24VVFNoDQ7Q6HkRCbzMkeUqFwdyBzxU3V98Pd3q6/TXc
0Zc7qGj7pcJwtvbT9KOtA9YniT5z2OvfDzTP2+8mwtHnawyRTeoj76ZT9cGNQqDPuT+4dQ0VEhEM
gnnNgLmnLDJHPzPT56/2u6GPvmqOy1lHmb4gA2Fjl1upPIUERbZgRIzNFFTr7x/03As8+oAhC2N5
7njQmC7SiCN30HaZ8zrl1yLPznxeZ35U5+gIM06mV1mSgwSOUnQEIF19BbiaZnjXng7IKGxubBvK
YzIdvn/I392av/2miOpslRaSroqjpzTiPjd/V5AFps5FdTkhMCAyjpgz6g0IVSBl0XZPNtXPf6L5
YWBUfbptIQc/vpSHeSBFgITCHdbeJluGK52q33pcY18A9bBQz6jcTr7PL8MdfSEEwRqKDcdphvev
KltbqzHkM7WMSbew76fMOnMYObmXfhnv6EMpqf9BjuTxpj5YGumLzUk0FcaZlUxTT5RRTM3itINa
SzP/po6M1MhDR0GrQW2MleJ7t3UavQ5yJGMwBaOcNGQvZZAnpnrbB8m2cYL1kNQbrf0/pH1Zj904
0uwfGgEStb8eLWev1VUu+0Uo223t+65ff4Oega3DIsSvfYGeBgbVOCmSySSZGRmhX+BXHjrOoN4H
iJeUehXtkrLQCxnV6qXr4icpKl6XQEFjXr1X0fIhpeRgVOQJZ9peATMTen2hbtijHw9EjCcdMgDN
kN81IFdDzoiqdA4dJBLlpzhL78Y0+zobGXrugWsGfQ+ZCmgile/pCHqFhDwGQX7NoFVkDqq/ZPEB
vQqZDiJRGyTKIFV6GPX50TJB8QuM9pJDKEyJHruoBvnChDYkoHG1cDwbUAlYNPNsohmZdAvYQ7s7
SbbOaH319cp46qXh04Au0DGC2pc5HeKA6k0g41sr+6KtT+Y4XkJ0Re3MOnAyaNhoEpigDdkH44aj
KB2kV/D+U6ZD2ht7C4S6RYr+rnrxGimCVMvs6uoADiitOpJSB/FC0jzVwqoPPxFjWCawJLjmWjbz
7uhzuYAIGJZc6zWXAFgcgcoQvLFLdmhL34ivevq4mJ9j80AktN3X79tBg7uTgERWscwatEGYmEH0
LB4tG3ktKdOLXRckZ1IUn8I4d6EL/WYUZL9tj7uT/thjQQRRjWYUqCMBwYZG1hxik+CJSDLRFUcw
KhZqpU+VYislrKChCnLYaKBavo3oYA6M++qvMj+rERHmNrWESPbKsDXM6lmz7XMMH9agkLc9cVxH
QRkW+WMF9QCDrdVLhMgpqEAQg+6lZ7Q+7eG4TqwiXUcvbvaRCGIs9+K9Nsgc0WMBNm8w1SMYPYJS
5ljv0318Ad2Tiz3vi+o1vAyyTgyKCLdR0ftQXguiBi360whrJ91vQLkKaHZ5UTwIHoEXXzCZPC8k
pmWijod7MDCqt2s21svcFBJoLcK4upNba28p9XEpVYGzE94tB9AKy1KQ81d1tkSUa4U5RBGmcGqh
jKOXaJfqXtV8+geEC24lq7R57KEroJwsj7jpq47UUvbP+LKQ4VRXb4YR+XpHe4Alj6DXNqqWDgX/
xi1y4Bdr/TzoYCoY51dVVT6BXthDF4DgUOJdRjWA3KDuIxuAoDH3dyVVB2PWBlyv26cKTBSmeZYJ
QZNtLlgT3kNhbYi5x4NbuYcMAgylMpTXoCuVCIpaH4MCsYmGUIekukaxwreL3o8aYFpTjQJMjSZ9
CJvOrwP+n5y/SMK983Ewt7aYC0o/GFOyoOzodH58p7j6OXwkX8I9rZ3JbvYYP4ueWR89+tYgHfzq
TRf1Kh7jcZmBh0zdVT16UGZQ1rv/OgbBik4smV54NJWFI0K5q+pRqUT3Ro9ehuJh3IO7/ti+Fa+K
Vz7/FfTr1iATXBu7jOystCDwc8qGXXho95LT4UqD2yxuI8K4wF221fgYZy8nSEq045DjanDKA3S1
3gsmkH7v7RX9djyMk+Meoc8g3qF1MuNn4S6H4RA8zz7tPKmukeAdyYFCEhs736LpBJQdLcYpFLQQ
pxCYRDOIkx3Lp/EucyXne3qph12yS137iwiqx5s/1AAV+gwAYtVmlivojAyE/3ggS2aDxkhSlH4D
GhPvL2ZxbYZZpmoJy7SFzAk6DIx9fG6vGUTtnynugxyCO2GxgLe31uaYRQPTn5rOGmrRpKtDdyxV
lK+UfvKggWMKgqDIFP37ahtDMC5t7TrPHE16aIZ/7LSFjpUsMMI52eEXhqGg4AIsC3inb61MIZLE
kUxB+JfFjw9oLPCgueuD5taNXUtg7eMBAmNAreCUJYZJZGaxSoCaZDvCFtbzL7b2mhQdSLB/ZJPg
rOXO3MoMs0jof7O1Bl7hAOYMrZUHKCb7IAIXWOE6+MoKM3M9tB4buUdbeVD9KMEUXemK4LwVWWBO
jlIaurgHo4ejluSdylDOY/GvK+i3K8KEhcAmIKHTQSmpzV9BR07sByJ91sNLGQNNBZKX7d0qWhjm
GhmDPS2Bjh9eGGiVKaDzPO/r1BAY4dyOb8fEvGPSzO7LsKc0mX7xCXgVgm5MdOhAYdmAqIDTODFk
HwRLxWlmuTHKlkjHVoYokgkOYNW+kq9GBLgwFHkOGqqJu/77gA5y8Ort7evoQir4/4BVFvjKrzv1
KlqM05QmUBqCCgz07kK52cWx/zeLZ9C2KoCpdBZGlVaRFFcqLrAhKKBMDcRCjxJY+reNKB+vyZhH
RCQQbhn4FbaqPTdyK8cS5nF4s/a2D0qbwo18tKW/oU98fJu8whsP9gEE0M3e8raNU2dnT+SVbXYN
gxo8I2i8hsRyXDyHMVJlkOkCVc1CvECBRD34YV62LYqGyy5b0KAhzwQVr5PoWS/tqjjUQC4H6qaK
jGil1MAW0Bj58EnL0BcfDn36Etht6gYjeLmDKUOjhk4FB5sESr9WhOJeaeSvkCK2n3qt6wWLw92+
NtJRuEWousni0mNAbcaggAeMqg9uS4iUgb9PMCEqdw3+2GBCBKjFe0uecEQkR7DsQ4ds3x0aL74Y
u/pYuvNBtOYcLBZ1uD8GmWgBCfZ6ChscFslR91H/eEZhcUkgooT+ieoVRJEe3tNPyB9tD5R3FAKV
iEwLQKQfMdxWUGYBmFZQCwmuOdJ4oKsJ4/epkAW7VmSH/n0VF0oTTEq9ATtLda3D54aAdEw9R8m3
7eFw7xHr8TAHCZmUsFaULHOaN2wUXM67g/nSu4uXu5IrzDHzvESTVUBjaScUYDC3owKH2wgtCwC/
Orc89F53bPfmHQQ44CS0aVzkJLzgujZH/76aROjYEWMwcMlUh38qlHv6R8Hs8XbW2gD9+8pAMuFl
P4RwQumgnSIHTQrXEILSu/xi70HJeFCOxovwSSCaRMY10rls6qHFC864om/7oh6QWPjU+pCL9mn1
TwQM5EXX9RgZD8E9EyLwM47lrlAjV0f5ZZda0Us/Q6kqCaPHEOol29PKnVWKC0TKRaeQ/dtZbdWs
LvoBN+hgVu5j6fNc1VcCLpltK1zn+GOFPTVUVHJID6ospxk0wIt7p9cEsYJTzSEAtgP+AEJUZI9Y
dw9sA3RuBTbX4IcH+QRJjEt4KPx8v9xJX5sQMPfmjhwyB+W5fz82XVYNcAqq2GZsmw7qfmVpgU3c
iYzvenCBou/273Oj78oAWyELgqoODKic0btae5C+03qR7Wn3abgPdhDqxXaeD6IuHZ5frI0yefYB
Glh9Xi0I+agIdIY3AXgT57Zg7nj+rgNnisZTS1ZswsQo0GwRI6llVIrRfWrU/3TDSwLNVch6ysY/
29MoMsXEp2KE06B7BvkyaXrSQcOaluMxtKRjAZ7qqkk/bZvjeTyOfxUdF+C8BuDsdl/1cQFWzj5A
KtPeN+PFFKZG+AZsQjQb98wPEOKpNpQplLFxrStkFzxQASYgqHMBBURnYbM3Zrfbm8ftQXGfDXgD
/zbKjKpSCyWeQHFN+2uLo+ZRDotK32kP4HgnPrgFXfXLtkne2ayDCwQgadAjoFZ6O4/5BCCk2uE5
NMYgg3wOLW+w7uL+87YV7tG8NsNcqSCWuUiJQs04k0uArER9bJ/tyiOYCvz6sG2Nu7dWY2JibpT2
fd3QNLfSnyrzUe+egi4U7CyuDRsOrYGkBlQ1zP6VOnAy1yXuNJ19IhA1Iu8aESSIeR5IiytgrbB1
grB7uzQQpB/kXsOBnIM3HYqc700QiRKA9DPZ5wZqN4DuGhQpz1am4q5JK8i4U8Tr4kKlzoUu+CG5
KzxwfoqYMXgRYm2Lce5STvO0BLGSk7XXMkLLyHLRo/sMstbIwfx7DzAo7YyGDlaEPmbqZDJEbQ1i
BweFZjU4Z+pjrgqcjLs6KxP076vrktbAN2TQojlR1x+gj/HWSaEgYcqdMGT6cEVXLVzRGR8DmH8w
50qmsi7BoYGKEhLC0KgN/6lIDrY6W5CH4ZrDQaEAMgFXsBikSJ5LEJ2DvK+T1q82ZFaW4A1K1Lt4
vlhD5/7FAq1sMUMDzB5ZuAbHH2TIIZoJLAGkK0XtSrw9aqyMMA5nLJAOJQOOpJKA6SiWLoUx7KZ2
/KuxoEQI6gUdDyn6GStPWKwwyRIZZgD2KzPIyYKhdX7bni8aHz/sU0NBzytt8FLYamucqHpGKtho
jCOYx3dBiCAKHIFWSH6SPrehLohvNEZuGaQftBpUUgxyq0lYIH0A822++IEcPURQuIWYENgyDB38
D4MzKLYQc80NSauhMtE7LHO5BUb4v3BAA2mzDoDbYwd6IBmcoIJAwd3FUGJE9UgmKL4ygcIC62LQ
WQRP0wJMeov2NVANEfKVv3Z/bDCRglhQTx8UFfuqN0BYDiK9cPBzpLtTa77IGnAzZBAcHVzPXw2L
cclIUtq2LzCsMn3OzBgg+c+SKXgRcKcOABETx5+NdkMaTlYeoltxpFhgi3dmKG024NPTRSQEhG7Q
D064MsE4oVm1xaL1mDl5Xx2Dn/Zb8h0SUKGnQOTqK+2fX67zbvyWHSIP4pJgIioeRVcy7uLZBo55
VKxU02YchBRQPpVBbOpAROhrnpGnqoCqV92+xvPwMJkZqEA7W3An496WwGNGy2S42SIe305tBnXq
uOkwboqIhSSqsgP9wxG4KA+i4/8HWh7eljPBBGcroIQzURa5tTeMpQaqWAwS0YRy0SEmR26uO+Y+
W5DjFLVe8bwTD0hCMJ2GbqiMd5pK1lJ+ZMxphNxhbrvSVHvwZn87ZnJv02s7THJhkGS9xvUKlxt/
chUXMgBuArl1gA/LB1TmPJACCSzy9gR46AAFA8aGpqJuJzLU4d4jEOLO/Di8gRDWRWUGXWzQm9Uf
id/twe4pOLT5c/nHIjNGq5ukeoaEn2NY9rFQq3Oaj548aPvtkXEHRtkCkQAAFNxkjtI610lXLA3e
yMl0LnLVbyxVEIp51w/U436bYJw+Gq2sN+mNGnDJkFxHGUBR/Syl3+P5b9IlJk5rLD7asQEeuF0m
S7HA+djjplNBxHUEIBQk9dvzxd3CaxOMJ0DmUikg/YLRNEinqS6kv50ePPqQ6d3nX8SEV/wF+jMk
xg8SHUXUvMR1tNJBCDN+boTgIW6QUOHVpoVg/6HlVJVmyL+1JXYsiMt3drRDA72r+ODvc/J9aXpp
vIvuIKfhjO4Jgnun9hx+255U7hjhe6Zt6rQAzoSpBqXOqSmxbJ16saenInze/n0uQAFB/rcB5rzJ
qwC9MBN03yGmDgHEGXz/O/ShgnsUkpKuCkzUDtJxruhhJBoXc+MBLsKS8r5FATRoDzYI76O4etke
msDErwb71WHdy6hzKwCAO0urfO+10oeQ0tu2CW4kgncA8I0zRGcZWwnuGQlUwlGzXVqvg5xISiXD
hBuLdzFFTe63GSZMdEDG9kGLXucqc3rPfCPv7T7f63fB0bp0HnL9gCM7FVj7KKNbLIsiPP159kqy
Nk8nejWRNdT/oOtnAjDaPU16vqtB222ANxX83lAX6+RD27ZQJH3MWgh/g0dz+ptZ1tGtiZOagKCJ
eaSRbppGnQozjJCTotJ8RnmMwBW8vZb8o1MH8lGHIXDMMC4pVTI0SxIAg+Z9780eqBZ87cFwURjc
Z974+W+AOuYfc6x71ii3lWONWSUJBGOyYxWMokwHdwdAWAIiKBiPwhK0DOgMi3VTwZ0KSDSk1kIP
atMaFLIcbRd/ig65j3vCcNyeR+6eAIulhvIaaHDZ+4Ad4W3RgpDdCc30kUjEm9v62smi9nwOPwYB
TPWPHSb6l2mvNUqGwCU/hne4k9pAkz8ND/TQWU6aG71DOMdJL5ayk9EDISY9pb//YVes7DORmSyZ
Rpac3rRSAuUpiB/Wp1H6WhOBX4rmkwnQFWliqE5j81vylyhVIGX5PYu///+tGeP60FzJBzQj4EZl
TE+2hqMuzz5VUBHbNkM/dWPK2JKNXetgU8WF0YE64HLKB+iDGlJM7oN6eEzrJjmRbK7Rd96JUi/c
jfBnrdhy/wxtrDagG2E0+38mlVzrMvG2x8ZBT1N/pFkrZJQV1WCiZKYkpVkseMPX1l1xJF77D/LY
80Gn74ncF73ROGSft+ao26yCcgStZ7mgai/RRX0LHAJePhPsdOSKq4onvVV+uY8dC2DUfbwf35qz
cR/cQy/QF+1D/jYAvBrvGjyn2IcNMKqTkfcJpJVL/ZTVkxuDDCwcQFKTi9qq+Tvhjylmx0sxkmaE
3oVUG7xZV2Idu+BJsIoq10X/2GB2dU2KEVqLkBmwkhO9w9JqRIbelZ/1RXb7+/iv8K6oYtJMNPjd
QNZ8u456NnZ5AzVzZ7GvVnpsoGy0PSTepgOLG96cv/7H5oW1qFkShGAIpF9QI81Og+WrgApkl14T
5G556wOeOni/YpoW2lluhxJ0iWaOMSJ/sSQHvUj3g62c61nETccdkIaHhmwrAFCyIHJ5xHURDR84
YCLrtAy2nyUQW9CHnZbYVyjrvRV2KoDH8OIHUlYARlk4RgHZvB1ZPQIV1GmI9ZUa/By1vvOhQx39
xcFpASKs4bgGnzubdjHREqzmFsalpdGDBfDkDqpnTq9oh22H4L7ToHgGZj+QfgAaQPfAKnSArCIY
IJFTO93Q2KqjZ3kO4YcoXvZ2ryuHIYumlyWCwtwU2xqksJfpdZpk6c02IUiSN5Pkb38Qd0FX38NE
zlYP9agd6cXLGF21HHZ6cTBTsEyF53Q62ygAbNvj3vRsRQdfOWqpaEZgM/F200fdsmSozBVHxR/u
Ezd3yLN1jwInYCxmJTDIc5+1PXI74RYk1OuOwkxsvd8TvTzJqYiDhLf31iaYNVWrapmkGR5K7M9q
qD71OjhptUiwUsKZY5aqtJZFigjCIzTFD5I5HOUQevfQI7+HAqiTRcVbhs6HDEqCtpUfwrg82d3s
osNZ1E7MfbeiaExVMwCsl9kokAP1URQF0k5mN10hYX/OVaj8GBC4La0nUk7I00fXvi53mWzsxhHc
BCR3hqY9y4P1SeBPdP3Ye836W5gYXmYgLJmgJoncZZAc40O9t1x0AQ2SJ7tgvnZUQaqbu4Nt5NrQ
5kNTmGwlNgomMw4S3NcgSehJ4Kkt0Rmm7SCIB9CSiLKd61orY4z3lqkcoOyC0Y0QCoOmeiJdlklE
V0mn6MMUroww/tsrnQUiPyTbwvZbpXyLhh8KebN7wQklssK47zyqoNcPcEcLIvBfj0elhq6v9tip
n7c9gmsH0QXtxaBNAVjudsPXhZKGCpVnIlDxafqzrOhoKJV32iLqB+KGlj+W2GZOq4KYWjjDUpe0
76lSP0KkUxC9+JsesNNfnmajC+12NKPeFIuRQZtp1KErjjbLKu3OcaR7dgjSq3a4a9rUC6Xc6+v+
ECfNAe/CY13U/2xP6seh4jUJAkY016MNDgiY289IjEntod4KlYmldtOq3ZPAcLdNcKKKikojTmH6
+7jBMAf9AKEkHLiI1LQKYTiZayNReoQ+u6s4ZJc/F3v9k8Ak/exbz781SU/H1WksF7o9ZiYwlTLS
DuOrfpi+aUdKAg3R+/3kDXftJXSQF95bL8jabhv/6KewrYNQFbkrZAlUZrhW1EvKnMN7xvFrHB2h
A4n7xk4X4Sx5K4fjFn0uSD9/ZO6D4hA2d4nCB9qGngNjOkS6cdweyccgRUfyxwT9hPUs4tOTvK5q
xwyfAumfCAs1PW6b4DoHGqsswMoUTJbBXBsQ+6oO5DC0l0vxu2PqTZ/lh8mpj7WfuqBtOYgeebx5
WxtkI+8MVfR6QkG6AbZMjjEyLU0ELmDyZm5thIm8XQMh7dRKalxOinY/VOmPOUmtlyHHhq5JNvnx
lJLXLrcjzzab5L41OmkvDfNzlQcQqTV1CImHHdS4WjM7BFnZ7MbK6I9IPk0vg92gN9pUtHM7B90+
nfLmcVQDsFIuUbVbQOrsKRKxHWWBwpg5JtB1yefcTxMjvJjDgL7jyZidcUlaiMgaUGkOlsZ4NpJW
8eu5a5+gb65cW7lajqleJBq4Z1BB6YeqfW/7QYKoG8l3oL0j0ELU5XMIkl2/VRO924GwwDhIyGk+
VZBxvvbz+K52kqxAA9DKd1NXjc4yQDS2sMP5uzwuwfc2tepjMIadO8tR47RqNEHrNRmcIquDgx4X
wavWZpIbL1V0VMq82E9GXOyTmKCYWWeT5KjqaH+aVK3yyqXTfTuE1LFgMX9lUNhgAvQeeoUt4DJQ
Sb3dBoRIdVlruEqPjuzUd+mpOSyn6ICeDVFrOnWLLUuMb0IMrSiaGZYaF+wMTuS0++BIKUchz35p
riLmekJD0ZY9xk01MwqzGmyFVLWG/NSeUjDe6sfeaSHLox6GM4SbT/lB2QFkB2Je2U3uwLTaeZQA
Vaxmxoub62lmoo3ZBNqYkgkfE+l7c/hsZpCyrZpdOFj//rGG+8NqRen2/R3YyH86vDu1DkRiDsjY
XOClUvADpV/KBrjZUn9ogtAA4EF6/4/ZFVqmhfgPoVnXBXckEWWTuYFi9SV0Un5/ifKfHLSAVbEg
UzE6A0iksSV940vWPTQelYyTD7W8WwoHpW1B2OV6Gm1cRH0Fm5WFkw9aq1iJBRS2Brw8bXHI8a/v
gzcekWlwopdURE3ADbug/cZFQIZUAttvI5E51rK8QYIh7SCe3qFJGIBZZ3tY3NlcGWGO/aqvsyIO
dIjkaOVj2BSuPA2vU6gKzkXO5Q3+s7LD3JqmKTBBSWRgn6J8dMy9xF/MXfSZio/Jbv2c7cnT9sB4
9xmqYQiADIE4HUugJkug/ZiGgYp0Bft+bx0hnXHs9qK8I3f+IGWBHBDkMz5wceTL2KqjrqLPmXTP
U937aLL1pqb3tkfDnT902auAC0MaBGoWt16fzLaFJAK8rwsgpjQcKyAqoFjYekW2Q/+xl/qi0ihv
ZEClmriVEVOxWJ7jpexSu1ZBhV1MxVGNx/d60jwzKARvIZ6XA7xn6joUh/AP6xg4gnXADNA5Canm
UaofSJkKfJxnAvklAA4wcabxi2tpFTGIkUt6PqGkHMXFzoRwWiWKSbzYsLbArE6lG2HWkqkGZQlF
WEP2fXRQ/7nTf7UxVNdWEfgDb3GQe0TdDnlADX536w5BUoxGJuPYq7Tvk206SvctRklU4HT0V9jD
bm2FGVYxW7k802OcijvmqNsBsxEekRzD8x6K0dvWREOic7xaJdMu0AKTAPxqjEglqN+iZUIm53nb
CIdnGDiK1cRRX1lZMYg+Zr+s9E78nqCBjAYHHF7oz+08aQ/svxM40aNoM3HKhNi30AaAFhgqx0AE
3dqN07IG9/SIqTyhSJjeDSUo/GkPjwRnQdOV9R0Vwh4zW+2BfngS0+jzphfwAOjTIIaAmo2ZXqT8
wsBW6GmivC3GI262g/1ze3J5IRfHI57HUJbGXmNMNHmbSGGOEqG2b9CSl+5Hn/aSie5gvJGszTBL
OFWBro9oAXCSQXJDyH1AXn3MH7fHwosZayP0I1Z+AhrJINEoHkVLFT+OAb1JIoHDc7qfAGJHDgEI
WMzahwrCKE2QDg4UJMBd2RnvwLpFqY40FIrrh+jpv43isnBT01VgN/XaKnN/CsdQL3sTVqGhBSFA
6YlIu/lL+4VKPUUn4Bkyzf33c7m2yDzvs0KzI0OCxaS99tLXNnvb/n1OHvJ2IplLjDwFTYIbAH0E
2Pf0ERCfzKcODfeq172IIJQ8z/gFvLVRLgOTCuPlkYJTXpctxCnVcKexvhipCGnCPe3R3AJQNEWb
fBBbykcQKKo9dlLxNjrNsfBxv3CKQ3qZPGhgCFFQvHcE6kpoQkIdC2GKcfZGi6p6CNEeYnfpvTx1
9xaZ3CBRPqVa7AjWiqJkWPdb22LcLyXw+IGqiza4a1e7VosBjyj7zNfGAa0CqdYe20BFfbAH66hh
LPU564QFBF4IWX8E45FxPco2LbA6ZXgt5p+016JVvm2PlOcnaOwCYRbgyx91IaupVUYpmjCpUA1e
hlNL/n2rDWq1FgTAqK4ZNG8ZT4yVuVJaEzFqmkqXRJHT9S95ZPrb4+DO1coKHecqElqZVTckRnJu
Gj+nILodPlvT67YJ3qN6PRDG/wylLxdSoo5QWIehea6qZzO8Vuk5gk79tiXuoqDZADU3BWR8bMWi
hWx8VCtgjbKVn7PyQxaxZNBI88G7V79PbidLk3R7gN420IvKT7Xy+sjDnR3FysNUP/T9j+3B8Kft
z2CY9c9nq5RAUA5Gk0RSdlr6Pc3N944+CJTlPVYUQbmH7wh/zDGOgFSWUlYU9zAWMVhVQAba17us
/tc1bhTUZQJoMODOEC5nbraDvYyJEgDIUU/GtY2IL5FWEIN4A0HBVTfwmNdAe8SEIC2Iu1IKUKSM
FoMghW83+yAG62c6W9Zf+NuvFgYDnON4vzHXvqIPFbOL0SsrLer9NJoXHfR+215Av5Z1OXQo0s5V
VHnwxrl1uaTIKl1FvtOp2shTRn9JKl+djihlCcbCgRZhaXCt0y3owOL0YxyATJqcTIuEnhBruBrT
4M7gGBmbxRl06W5Rq099UntFV3uaihJCoHrbA+W5O7pdTFvDHRrNWMxAzTwdQXAI8wBb7DJKWpRG
QELErtYC5lSYgocp10tW5pgzokwAxrdMmJvn2EeZBtS2M5qDRc7IfZHYeJaicwHlY1ydb9fPkqqh
L2UciNkFPL272fIIRfvg6fiGBDFSiM3enPAokAUbjReq1naZUNXbUmJVBHZTS/aLJjwbmfrD7KHl
OCToAijdvClO2yvI9yAL5Re07CFXYjPboYfuT5y0eFB23TEAO5cFcqbceiqnz3b1WZK/6ETfdaWX
FS8CwzQUftgkvw1DjfB2ktXOaA3kL/+bkMYTfde+SF6HJuj5WO0DTwTt4PrOyhyzphARm5JohLm6
8U39PtSf+l4QjbkvSntlg1m/MlL+d9SMJ6k5WuDbphdFCOLuWsiIF+fShkxtC4Fv82T5lVDmm1uG
omJ0JvYB2m3ZTqlKSi0pGnCUFimS3Uv0gH46MLDkjTMPyvewTz9Bt+0urlBHCVu3DmyHBLE7DCBb
SEQ8+dz5pk1bcCpoyrJ+FYB0d5g0fEszdkfTaNw0HXw1ir1tN+KYUYAkRsoFrTLol2FCAqSjWrPN
kaLI569B/i0yc8fQBNtSZIN5yyR2lbVdDxtZZjlLh7xLhL670TxsD4Wz+2+GwuxEqaqqJEQpA9jQ
yA8a4gShfajV2V0WGwJC/aOeGS/bJunxwOxBABEI8F7IgUIokY58fZEkBXLAVY7Zqx7a9Jupf97+
fe6QVr/PnA+5UUcq8CEYUlj6Ua2/1olxAW/1+yJpX+VJPempKGclMsk4RKjRxvoeQ8KSQci8d+vi
y5z45oDLUXAt6tzfHiLXOVZDpN+zmkJDyZXCzGAPPXy7Pn4LwtzJ5i/bRuhHf1gn1OHRT20CRqkx
10pNb+RuHkvEysWmuY9SP0SgjHfHPjPfazIbT1k0DKLLBdc7VlaZywV6BDSlziuaa2wtR3PSs3Ku
ztFrsTi6k3jRtdgLdcy5y7eyyXrkNEzGksIm9DSd5lNKgF1eDoZrf5Xfgrf4MngqTBvhTjv8Rd0A
ObI/k8w4a6w0KulamA71t378Esx3wyI6bTmH3o0Nxjtzu//f8DqQcmlO4Ycn6+E7eLv96EzOQkIp
euB88BsbnA/ghMEDi624VCGEVm2CIVE0mOK2znA23Na1kVQF2/5x20m5O2FljDn9wlEJo4SCIIrl
TgZmsjsZIhwxLwujQF3v94CYjZDH0SxJJmwM/uz1X2NvOGsurVflgFpIR2zy7TFxDYLPjN7jKVMv
28eFFtZZHk1cG+ZT80kFF5LkKHjdIeNO9e/qz6Gop4o3i7QbmEqJA0zyi7V8FU/yurYBckDI1Kz0
0KNqpUm9r4aic5M6M+sZazPMYZPnXbVoCszEALrlgFKA7452TyW6iHWJd8OEtOrvEbFANNXsumaZ
6SHgDmC70ZAK1O9mX/HIWUQLx2FvxKStbDG3PK0coM8+whatRCsuyCqpOeNLihyu4kTnFqT1MnCQ
40HUtCVYN5Xx/riJDC2go9TrR0V5Ms1+VwaNu+2OglVjKwYNVN3mjK7aYr/06rjTyF2Zfsnw8N+2
wztvwPZvA1WHXi1LZUJh01VSJ1U4byw0HRjhjyEF48ohNF9mqxCYoo72wRFXppiIWNQV8n4azs90
eB/TH1UCcfCfxARKxVB2cfhN16J/3SQOH1lZZE5sNbKTLLVA4kt04H7BB9EBOTiNh+0p5PrDygqz
wWYjUYeKWlliG09h5WzqtWcmlYB3QmBGY15RJGg0NJ/TG5x8LbPzIhe7WhUMhcN2R2cML1McFgpk
zxnfHkfNAIAO7lB7UPK9VscEsuDHfh/5sRO9puVuVB0Ceu/CEeIQeYUEhTanI1ujITvEvmmU2o61
cEDEb9yl3OEycKZQImi/hLgHFI5oG/M8f22OufNk/YKiIEULSs3B6HSnn86R9bgElyENBZuZ5/lr
U3RpV5E+MvS8axSYyo7dUQHXo7qPDkR4reGZ+ZXyBiYchPMsZiUiOUrWtBKTWC+2fNHa9yW/AnPp
halfA5NXRG/bns+bwrVBZn/NemkqS0Zwj4rzoyqdcyvcDfOPVF7AMSniZOdV7CglFPDumkXFtZh9
pqdWAJ0cCQc0rjgLKCZ8O9+B2AhoM9V5zk7ZvhTED156aG2SpUi0m6mRqhgmKX3b4jZgtgg96yg/
0G7/ZlfegxPFF6V6eTcRWEV2Af8g0ccCkLvFijo5/GWVqlakXqztQki+0HquFu6QTnC215ETWkAI
byMxhLkFexgzs8ZsFlE5xY1jF6EDqCTAj7mHtOK2FbqhmPiPzLKMUjwVE4U42u0uaPpgsSTaN2Io
XxZyH4tSlDzgIwyoOMfQJK59QLN0RmOhPRDI/qSZ9nV+F5Y9mtNbp0rSXTSj1A8wqQEEvi0Srucc
1jAMokdK7ALKROZkq2rMQ6tiZNCBaTyps2M/bcrxPjSn6YCvjffbM8nZ6Df2mH1Xm12JpmPUHga5
9YH8PyAVq7yoON9iVLPTAf0MmuDw5i4euIAAYEAeAUfD7eJ1c9mpaQ/8vx2/SCBMBumhIEhynXBl
gbmJ1CO6gEkEC0pbA8LzpIQaQAaicXCXamWFWSoSRqhAxLAyGIc+8xpIe0KELZgbwRLxTjMirwwx
a6T0rSIvLZ0wKYHMYJLfo+TSH7N8QIW87ZIdQanlceqTnxGp290CTiUnmmRwi6F/WLB4okEz+3sA
HWpbmvBPO/Wt9Gz3P4h8yZPHba/kXR5ATgL6eNr7Cf45xkzTgkhkSLvG0UCkNKA0oBgQT/tpJler
+Qrk9o6q2uVy5BTasFNBfmcW+yh4rdDG23m1JAjePI9dfQ0bu6cqmuN5abHSwXWQ3jJDkAPm/j4u
zSplkUTvLuNJy6B2c2H0eCLOoTurDyXq2IIJpbctNmICQvnbBONDAWBZi6XARHsCJTsSzMNBfjbA
iJq7INoWHAJcj11bY5Zv6CuQBmmwZpefaNtzvQfpa7e3Qlf2UanzhU84ToqEyoz9b3jo6LmNKWkP
RHxi0uEB4QYSTt9ylzsNNFXElcGovDwLppNnD3qcqPQA1gHcD/376hpmtUYKwcpf9qw92rp921vu
6PWBvhQTAL+27fEcZG2O/n1lTrJB+wnm8sZJ7KMd3neS4Pe5FyLQl1EGfRzceIHcGgCkLZUCzUid
5q37xfuufWnHXzxf3TvE4VzbLd5EjYC8UIK2F8QqFPDB78HMYR+EqG+3FIgN8ezgp1V+MntXL0Vv
RW4sWdthJq9XQ/RQpFrqdG/VcXwsLlaDFkeK2StHyGPi+qX5JYRUUT32tpeNl8UgoLpREb5/tWIz
9xStl+femhZQz+2zhx4kOxqwgdK+OInfIBxlOpUgVMogaEHYRJ/g7RJKS21lpAUWBlKfbucOl+Ii
O/TKl9PN5ytPCiImSBzQvuoq3uRMHtWO7aHC0X6b9yKgJG9xAUFCiQAKmAZILG6/xlSDvq5GfA3K
/y76G3axua/t+0oSoe94WwMvEYUmKlHOYT3XbJWiAlExcMcVxPbQcaakgvOXd5tYWWBTUUbejlLS
FI2T6Z03oQooTzvN/LHtKnSDsfEZO8EAUBu1OHBx3M5Xni2jWsUFetrs7tpM7TGsst3/Y+/LtuPG
tWR/5ax6x2nOQ6+u8wCSOadmWZZfuGRZJkgQAEkQnL7+BlV1+1gqt9V1n++DvSzJqUySwMbesWNH
gLmYFi1PWm8A3RPjuPIjDuZPH9MPb/vuWOilU3mxEiopPeem72fMPMX5XdsPiVUFT7++xJ8m1T9e
47sgk3vwSnRbMO5wAt2JbNoNWIz1jTz8P4Dyq6b5nzcTXc23N3OQvdX1Gu4zeYvFp3fg4CWO+/Lr
y/n5svj3m7zb25GMZj1zhK9SHKJAJpaTGfujBvSvnw9GL95eicdEWMwGDVH4sFHelhgoO5Ll0scQ
ya+v5qehCjqhmP0FMST4i4oDqHS5srsckEkYfo6JdUE6TJ0Hc1Z4XiZylZIwzMa+P0xxlbgR+yBU
/uRCARdhBwcoDMB+We/2DydcK0rX+AsKVVZgbE6R6mDs8b4w4aVNgr/PCAEwD+YLuElwQHpfPZoa
ZjFBgQ3dklMZPBTFU5V/+vXt/ElUAgcTwW8lfmIc4t1S74xXyaVdKxAMJpbRZVSwjx7YTzK6H9/i
vYxZwC0ilgqVm7WNth52k9wFNAfCtY4xfVTWr3HgXXjCm610IVwSCErvwlMUTREGbcE67+N7Pzzk
uCIvi4otafdm/vvoJA5MEMdsCGhjRb47OmpphW0A/aYkcuSusHTS8yUpu+aDFfeznAfvg9Ydrggz
JX+pMdy4n5pVIpZ/Wr1uzFZiduCBJ/Ols5GZvK8P7PqjyPSzZe64NpzzQPf0oEr/dpkXUW3loKfB
TULUtIRRRnCMIE0y5SX99QL8Gd7kAihcK2y4VvzlAG6gR+LrEYw1HByGtkt5rENUatGydewirdcJ
2bZ9qdEJ6GKbxstw9uCtN0TLDdQrs0qoy6r5aD78JyETiweReWVtgib1bpPnSuSzJ8E81OI4uVnO
TjrffHDda9h9t1LhZOqCRAI9fgixvwvLAdFiDgvQvUwDd938Zjac6gITGeK6xgNW4rqMv0IamPKP
3vp1GvZXb/0uWGsGBtZSrzuSnAqnoar5FtpkY5U8DU2bjjbUQwJG8+p2Fs/V9LnuM2HwvVzDncxc
Nu5ypSPNqN2cfFiHeXXauOcqGDe8uZT8KirjRyTvtArY3WLvnOqz594X1n3AMjMYCpUU6oeXpKXd
bKVe/LTIp3b8KGn/ySN8c3vfbU6rL2EHGuAa47i8qkV4jUmRfdjyD3KFn+yTN2+zxtcfjgMVc9cw
gbdx4DePsWyq2KEk7LDM6ubXC+YnkfrNO71bkyNnjTfwDqVVXlPH/laQPwL1fzxP/1m8qKs/FoD+
13/h62fVzF1ZsP7dl/86l8+dAj7R/9f6sv/+b29f9K/L5kXe9t3LS39+at7/zzcvxO//8/3Tp/7p
zRcgZpb9fG1euvnmRZu6f30TfNL1f/5vf/iPl9ffcjc3L7//9qyM7NffBn0d+dufP9p/+/231eri
P3789X/+7OJJ4GUXT8OT1k//2Ov6SX57/7qXJ93//hsJ/X+CcwY30QjiUWjSuzh4xpf//hEsOzz8
GBCQ+0rvlarr2e+/2dE/cThAnWHlF/tI/bEKtTJ//miFFeMVg0YAQD7x2//9hG8e1b8f3T+kEVeq
lL3+/TdAvW/CiQ/tTniTQHbFW41dLPSy3i5EWw9LEQV2DrGCywkWxYaWIzrSTbytQF7VWbBtrsC9
rLbwaO5Scwguyk8Eo7FeEu7WYQ93Z5/Cyxh2SE4Stms3iodpK9LiAtJ2x+nZuV5uXQ3pky2hIit3
PXoDFrFobu+6uITKS0mH/gGk2FDv7Xw/TCM1YECR+4ncuR72PsSfrgBG0CA6afUU5tc8s9WuyD+R
gVFdfSrjG2ewU0NKak0oXOLvS3mXs+PibWb23JmN4JDnlfMOCkxt+4Vjwj9hmhK4mY/fRnkvquOI
QnE7hbSHn95C4zkdrCRG9uQnDeQRAMxJiH5lkd4u4XVvA0lOIHVQoL0QlDS0dqTeV2y/8GM37YtN
+K2LTtCdbMA5vymeA/jBn9d/w42cyut11F5eq2HjDJvmS34DH/XNaFHnZnGO7aZLwpGqtMpGHwoE
1gXnib6FRAOIveqSPA7+Q3TT3LcQjzqOks77LinScE/UBv5JQfk4+1t/PDc3Ig3sJE5V1jap2YvU
EWcCVXHVpP1IgyXVt5J8UtXlWF/PBPbb1EciSuuJQnBBYIR7N37tzu6YNGf14ACfRxvgUVh0cCCY
2N+Tq+kxJHQUlHxrXoBtQ2xjaqi485P6YI7qGJznxM+BEo3jN9EcVLd1qxSj7r6bkuDkuZcqBxs7
CRvcj/ixHqn/7c9u1P+PSb/F2MD/c0zavnTiSc4/BqP1BX8EIxuxCNN7qy5RhGxwzaj+CEX+PzG5
FSAWhSglPZRIeMmfkcjHazCbDqYqGForxoMz/89I5IX/BB6zDpZBpQbGdZDc/DuR6O2JGFo2+JZA
OICVYZwRuqBroPrhRFzCXDRuv0CNAjbIcV47bDNgLIKSxgypXjBzm7iVTmtosp+X2Czbqo4AgHIp
rwrb2rsQnG8rR5ebuA7ObpuX6CZV7GRjno9aceNkr19CB4xvTTd+40uhL5fWW/dEgIna5SPi1yu3
5d/Z0usFAXGE8zyCLDr03rtsKRw1x5gpTIxkEz6RxcuP8fqX38RpFJvPkQPlvmUO+XF2CNhnfT6c
8kKNp3zBhhvCasiiutyVfXyqdDHcWUrNUH7Vp55hcmauc2/b2H6Z9ssQJo5i0cktEHlwYkSn9lk0
u5YFamMHxXgWJVgKuSO2bJDLB9D+O1huvUxMOIApj8EOdEPRsnz73HpPN7oJKpBF3F5sOtfip7qB
jBcph3oXkZ0FNmZBReWcuyCsM7uqlqNFoNbI4VizY/P0JGYrBMNeqYt2NsUmGmbrxspb9zzo4Ewq
omnUjP6xJCROINhR7qVjygz2EIpGpQaHhLtwpKijOv1h6/x5WL45HN+m2q+XhtvlAbuFRRC6le+e
YDM24zIQXSW15UKi3y0Qx6HeejGWYb7FeJZ/DKcu3E5eKHIa5TPwBCEmajM3OBDdQ/iryZfEAx07
zlSMKOngGQBu/yxmll9Yo++eJmg/n2LyUYn5Du14/eghWCkBQHWwRDAH8/apDJaq23YmFeA2OJsC
o9wPXlV/GpVyqRyjY9PPMY19Gyfw3BRHf0JZLdhHggbvVHf//BggCsbolcOmLHy3qfUEHVAIy3PE
+xb8ynqIqDfX/dEevfuqL+QJzt7ixNZ/zZZst1o2D1C2D/HIw9vYv2ZkiA8KAPvh9V+Tz/I//lUE
wNLtIYigGmi6k92VbToEeD5Gj8tWIN9L/v5iCCE3i/WOBhYoI+/yaC2DcHYamyeGNHPWT3w49u6N
rkv78PqFcXp8Z/32olS3Q7o878p1jfz7r2XJ/eNcxZq2ZRltXkNQ3UGBe+yO0msiKjX/YHv+bCEg
riOcgiW9zkK9WwiN6d1o5q5IwsFNJSk0Fb7NU3h0QINusK0UPLlvorPjvciJtw287xbh+1/fu3fA
6OsyeBXDw6Aw1oAXvosR02IZDO3A9Xudid8sbfHsR9xOHRn41PSedYoLp6W6dFA8tuVVyNrhg8f3
jgO5foTVawX6JzjEVtzq3X0Y5lKYiUPUBYimf2R2j2RE1+pcordqA7Q4Rkp/BT2Nb2H0WhxLNNYH
d7z2WunSqWxuJ8mmc+BDObothqM1Kj5TEJf5B9DdT24VWCXok0L6ACcqtFreblzpamh4NhMa3MRg
hRM3PHe2sxwcva4R057acIA4Zw/3ViZuO2WzD9jYr3fi7bmFdYK3huczoEroEr/9BCGxuWwdRyUL
lAm9orydGCYQPesTr3n7GFQSY0nt2FJl9P0cMCcLZuLsfd9QEgkUA5rLDY9QCOQSzKo+0tjzrsMy
K59UtloW0MX3oYbUBzeW7sIMk4/e3vF1v/H9TdDE6nOIViCFHOSU2XHh3othDlPCkYtyD85YweJd
OB0y0HKCjuJrGJ6CXn/QEn83trQuGDSrcXqjQw9JFii+vb0NgDoK1ecQ0IKyNWvDxUEWMVoXTIfW
Bdi753hmw96HQLQZtM7mwLqzO+ne2/Z8XOquPoSYQqWOgI8XDoHibPXugZdTuO/72krKksUfdHHW
Qu3tYwNfCEUjIr4H4Pf9511my2PTqmcVr4dl31rlNoBvzalz0QKMqvjz2AcgWHB1UXfD919v8BUd
/ct74y0ttIqxt/x3RWQgcq+qPKPgEGpiZPvgp9DFJQVk34y4w0fGZrL4+NGe/sklAz11oQUOGGzV
A3j7iPrcnlD3FuvbEjfRT9JU0aZoyjCd4hJM46CzTp0UberNcVYbDA0VXlAdyxoDfR16DvCzEgfu
l0s6aXe3prm3+jjUXfcB4Ps6rf3u/kCfaKV5ILFFsvTu7OilLgDF4v4wuBt9HZuKFqyjrWOC+8pl
YqN8dgOxP31dkXVS1QUmDOu8rRnaaqZWp/wEfMV+U5fL1yZo+Xkynbg0XMNYJ8/7W2uZFjrBLe5v
P1VIUnmwuoF8xF9DUWtHRSDzQOA+WfWmKDFHEJT1Wfetn3aOYLulHqOPcq63+Bu2HTqqrw3CNVwD
S30HxJuwWqoFtxDNIBvB2n40rekPEI+7jlmRllEYJiJUNg3yCHL9BU89tKdgUd9Q4BsQIIzqq94C
AKmLrzHXGD7qWbqI/LPLC/h6tWRr8jLpKt4BH8XAGvH9D/bha+vjzcPG+QI9d0w6I4riCtZC54dC
RuHJEXeYTCKrcriLZbidvXh5mpVpqMXmo+qm+gLdx/hIhNtl9hI8LX4x7OY2MNejFd72ja1gFTo5
W+5EJu2gzNiLxTp6fWQdnZj3BwJTFw4DliPqpVu/I9ZN25EgdaJOnSErZGdtyy4d0corMCsCKmfu
XclCcCrVQnnj1p/8ylVpMY3RqVmYokxOl8QzMlGW3e6GPtSXTZj9kdgCjQPa4aBgRO7Gr8fciXZt
PIfn3JqW7NdLzv1LJME2AT8I9qIA0v9aNLmKQwB7IHNSeG2AsEXCLFcmPuhIxmmzyAzyykCTly6d
G80Tv3HjjfS8R7hzYxaF50XmEjiFmrLYcMLmdEZEwpFd7rqOR5lXjLAFKb191YiQVlMepa6+QCQw
qmnSdhT9tW9auDza0zYWnnd0VY0KZsTM/SCK+C6aCeYOQX1uzdRuItd8xFYE+/J9KAVbF2O/mNZY
T2EYHLxdPcNULlHlCjSEamglEBXYVwpoVtUT9oC5G5f6kEq+FcKXSdMvcKqo2cuoJwfmpXxIrbps
HerISIMqwOcsaOb5AoT7+YJ7scxgJM4y9CHVlenIwQgyXS1dO18Z+8DCCMbmsAi7ZgH+cnTEqKca
B+tMeaewVU9uJ7/qbvysJ6MvOdNOOnVjuyUwE5PGqe7H2JbA8qI2FT1G0+DQuQWabd/1xA42Bo8k
KwpeIxew9d5tHHVbV8XtCJWVNHChke0ySx3tGKJTZdgUh3aG3jzkUXNKurm/CEYatp2f2esLzZhz
2lS1tTf4PshY9sFruKZ2EMud6MuGQj3VuoTPxrKfBh/DvkqOaIbW8VpXQgkxbGO6mCLaL00dbkTk
fC1lFV/6aFhAvqA+52w+iC7Id62Ns9R3p3jTe8UX5bHvzgBDiClqlkTXsU6LClNQEHqEQeGaTdag
4aQL4nbaE2KjxLPti85C5OkG8NBqPn+egK6th2QLjWGowS7FLjemhKBcdDXlc5DhCFEXEI2ykoCP
X+eeq3kTWAU1zAW2No/26fWvSQb2ScTWzVyH7BEf7sACA/Fld7zPUY6nY91I+go6tGrIj6p/Crhz
4ajc3w2zRmoAAZCnxgbGy2c3ArTrYpJAb5wGmzMr1lPKGLg7em14dpFjXpS6TFzm6MvRRcyHqtWh
QxZ3tJsloCzQ8ooNznxVG+9rqMYwQd+q2Myj151Iqb6582Rv+8Ga0sFz6+ule57RAsL6FGkEy8Cz
4xRNFre5Tt0IwEClWnYtBuuhVCWHy3RspUwDJuxGzMWGhe63GNZuz1EwpK2FAppqt7vjoAelC4JC
qlZlL8W79tFCCOHVdNFOnX+7zP0I43mcAF0QU4dZzn2gp3AzRz5ga1YX1HcXva9tXIwewiBrtF2l
XVhZG8sZ/GRQrM2gY2pBi2fkp1K2fPPr4BciU3u7+wHC25img71mFK8SGa8//+HsqHCw93HHIjBj
gDjMkXfdTbzZRiXZmKVCpRixHBJwbFu7pQOqJk9nj1Q3w8abMLteLK2T9l5muUJmnr/UKbqFnC55
XGRDw6K0nfMTg5h0wmzY9ZayvkJ/uEpAIUD3Lhrkxi6662UBrubDJwQPPj4DkdkPtoQQsEdefAyr
wX4+IwHxkkXxI6L1jYRY9o32MFkAPVLaRf6Qyr2qyIHDTQsaSczQfgZr1anzHpIYn7pVKFku/dH4
Tk0DS7MtSg7qkupC5KU+2ubzECCQD8pzsnKIsdzgP560bkVHr19oDcaBjsd72YF97zbsRTfuRunR
phJoTQqHhTbrifkOeT5vG1byshbU0/GcxTE5jg0sntv7KNf69rpxbIgLj43MkC/2yajrII0KG9Ki
C2Y0HDnTCFBhWsdPoESVFIVqgNZA4B/Q494xb3RTJQm6r2Pw2UG4znSPvKUKM2FXcl/jbTteTEdv
sa8m4jW3UCw7j65bXYd5FSaF6+oUmjEPrjXAtmQOdMY7smGT2BhVXqkqdJLSVoraeetT4pFyq+3m
MCgxJZW51sFowGT3Glp3udnm0nZgU2mZTEJtjhYNbCXsWOxM2A8ZiaeHSsxfJzYNwO1NnhJZjXi0
yM/Dp252M6QkTjZBFDqdMd4bMQjn1JPvbvRhiXl7hE7yxVRzJymGieLsho61VHAqk+SZj9Mp79V0
Wdj1fI6UneBA+aqlU6bEHhNW19izq6tlwBIBXBCpDC9TU6GB3cunPkfJP5MlTxthssnJ2V5P5aVB
75tGHJgO0ASgvyiIqe50dGjMfuksb8NbiXXN2LHEFEMSdp85c6eNJvE3E7TiErQHQV3R8C3Wv0mr
SKJd7hy6wj6YnEeUxe5LXEc3Yo6RLHB5NMcIkZaOfL5W3WCfixi/oJfTtdPDwaEY2q+s8ak/5eNh
sV4Cf5Zp6fA6qTnjm2LCEhe199AW0qeY3WDw3IaKBNbefvTRWxLpNNWYNpC+3viL6Ci8N1aYU0MH
u0SmMyCGutJPhWyeiwr3PsZOphBkglo2+oq0skBGt3G3D6W/tuiKLvMMfk1ZmxjT/GRMikk+i7nd
xQWa5I0tnK1vzAEe8MvGQaW7IQtfKKmHZZv3i5e0EuG87bgH42wx7krknV151BrxJJ5tGBNkPhSN
di1CbbvYy7YJ+a1BCpoxJty03gsHuDnhTbA1k9h3fILKtxMNu3IKILzejCqtmYvzfoyREZjhVbSX
LjbaQWEF9UhaVExlNs4pOi8hDIux0iaHfYJrY0TDQOEo8n2QzkK04mrLn4AeNx6tRm0SJMNZF9gF
nWPr1pWWv+aIdrLYqw4Mq+0tEeMd857zPgZPIPiG5gVaYZF1BwczOFP5yGqghBDsIo7EorRzzMzh
yeSqu+UIMNuKh9Y+Wh4tewo2biW/Brg0p/GKDCyoCYmNg4GZfMYEqM4zwBR3TM7syKse7Tfbwhq1
eZbPe1ex/FSRdhMHUtLJdWc0+WDe6XhVgwmltgW1P2dpbvffYmDXjRBFqiWmSAN51cX8YMr6zlH7
khWPws1HKodQYZkRGkkLOjuEKBo3sAAFg6ICWJpV8dimZTeDSuTVn3J0SyvWuJ87F/8gWLgiHk6w
iih3SvXP/RopFLbnUkCUf+pKSqYRDA70MTLIpz3NTTXQEtzWk9cHX3xtYJc5Ll8Y+85Wt0fOyzlp
dYAKRAzl1azJlejGiLZWK5M2rggNJ/IYxe0uUg0MIaHcnFRQQdpgsHY+dczZN85SHQALT7T3K4Nz
obzBAMgph65qFnT+576aw0s8X8TBZUonhj5J6PPP1ijtTTVCQlsH102t6hTCKfEG6SntptKlJorK
dETasDhzCKZDDdxpgAO4TwZa1zckYPkWbtJwBCf81uq7AaVA/UWUct5E6K+gYmJ3wDFeBDLh60n7
pz7vdtov7U04tE7mGAikqW7Bcqp7RgsBm1slu46CCeQDi0LyVavQSYOlcGgxeSKJege9Vq9+GPxr
N562wrdECtHx/cjQ7O4wcYXUVaNjzdAq50jZO5/fTqoOkrAtB1rl3AF/pnhmbjdSMggDC90vPpFJ
xPSQ+sEJ+S0UaB2nO2jl51lRXVq+vATL3Uk9U3+D55d7bUprN04oDqEO9dSsS6M1DsWJrqhvLP+R
FS5mY51yH9vmZKqq27h+cYGjcr+Smhtklok/Fp+Z3VVprdwxkx679D15FsHon+Dw9wSgy0+N4V3a
TuOh7nRw0r51gTAlbkDQoi2k1a2ukYntdKdGkAcW5XeAafcNmnT4b9Cjj90UIs7ejk/2jpcQ6uq8
Men5SFLXnQLalEBL1ODtZNOUe/Saznbti00QSplytJS5ydXW7gID+kG4dQvrWXao72JU+pPLeirK
0KVMVQ/93JKki/B9xIonW1mXGLqYMjboLfOL1WDhSXrzsIfsmknqdpHUpmPX9Gklm4xrPWY5Rkw2
QtioJZeySkHf2NjhpC8LphiW+exsvZYMGYZ2n2fTLXScwIsAYSvcOQHCnRyce18Mw87DVjqVNbSP
wnWNWrOzU0Y9OeR73Q9RIrTGwTQPbjaSOkKhBSbG4EQ3gDbOiw3RZtb3iTctjMbrp6yNL64JRPxc
99SUjvuIE6/O5FAhjWiHFFIN2AsB4C+kgikG4gg1Eq9Fjyhr3PFQ1ERsgFuFx7uxEvJrN6hbCRyM
WpGJ0HEN/RQxq8iKg2rqz9K1bzm3QFRQ26LYIB0pFnfXDcHed6oX8Kx3mDx9KvT9ZPnFhrm7ucHU
D+zc7VTEoNrWRZT4iNrU8a/KMk97hrpu4MJPQbyKM1YgzFv8GIAbAytxhXA3JT482G6gEzTDtI7O
c9Dv2gkreJYxu3JaficrrP/WlkMm/XHb6yjGANV0GTOu4NDizDsHE+HIeovn3g2ggFDBbKtoL2Vt
dRAyy0/I075Uo3CzQDdntxgfh87Y6ErU+6JrTToo5KadXyTTgGeq+xGctwB5Z5+Kdnkw3ryDh4dF
7an/brzla1yxECkqOfqjy+j4lAsOfgkf4YDi9RmOsSCDTsGVJMQ7kYZlUwMGTWtBu3dkt52xdhHo
/pi+zFPhN4SSNnYfgC/eOTM8OszkHhs3wByVFWzHJavC+hFmI8iupIuSb6zOLpAjYYUGlJr80V+3
RO3YFwimcstLyDg3fuEAUeuvBiOKTHfBDWw7ohseqXuvdNq9RN4BI62rsVqi1PhR2nWRPMI1BHkS
bTsk2mNT7hBkCdAYd76xHYDccwnBwFldiUjHmIR3gbp5fn4IPWSfim0r203F7Pa3ZJKJLoneFbXv
oNdfxRmq/0fOJ+tS2bvACAtZ5lKfAtTflCOYCPSvksoS3w2Q3qkW2B1sp9qLSoP1wnxQcUI7VLeo
27awht90V2gXOrQvSZHNdr8Z8WeyOpGGZLkbPe/rZJNLt2poYHfHtjf7HJT9RI8C+R3CvK377wU0
c63qRSNaW/pCch9lDfJBx2DKpRNUYSKQ2+MOVckVTA7B9LnzK1gtB94IxlS5lRZEQ6r5OAr7C7op
a4b2FNueofyTO4TXM0fuM8Dy1EEjwPQNMniX3MwlO7sB+uBWV6dzAHxB2csFnNrjbSyhYuRxvs9l
cI1Mp7xukVcZS9oHnfcPKEr4oPiGoJSidWGQcIz5YXDj5TgI+yDjCvVazNeEXm1Hpr90VQuzcjOH
Gw4/ADRR70ZYkfq1m7l1IICIVeROy/GYax+rKo9gFp8vLl0/qVJLsY+xpweHpaPhVhL5OT5vrh7K
DvLgs3PDHPuEMQ5Lgj4Jg3bagA6reusbU+610qDm8iiC8IgN5EPa4G2h14Mz+hHsD2gpGeA9g8/u
R2iiBMBxvKLJU9OGYJp5Lxb3v1rWhOEmK3epXblToshE81ieUflIGrVxuxIEr4VfniqrHLLFA+lK
y4ea5/fYGTWVgfVYhtFXz/gpd5zPHu6sQCbGBNFQE6vugyIHFtOXmVVeaaT+6JyqHZPeuIUaTFE8
oLacu/aLWebHsmmu+3VswXQdcAyvPfAIdjcojMo9F4Iu5fKpjr0HwZ1z24RAyWBNjEDqF9CdPIRd
a5/nPGwpFGf2toUCuDE8ERZqYmnDINzG2HcZ4vCrCUNbrOy2SwtaWScxNyMcQ5EoWAfi5A4lNiQ0
Dfmk0cP3N+XSFXszWHe59A7KHuMkKASjlsO+w0BjTolaPs1OPNBIVNvIiW8aV2xnu4DzD2tOAtXd
AWfuxnM08CIJwC4gRZBKJH2BWhJriGN0mOqnVpNHe8mrTPTeS0XcTLhYO4hzufIeeMyeQ4L7ivP6
Yg4hKoJ8hKI9hdIjh3gK4XFST/B+N4Sgd4ahb+HeAhbRO5Tgty6v9kZgZgeWvQC+XDyasCghB1U3
q1cqEh2hrT0ry5tZ90/lcMbRHQwjhtDyvNg3avriVDYaCCs0x1R8kB05cTiGwIrxCyGi3TEnqLLB
zUFi4yA8Gt3tlRfctAKWZTVS/WaHaT7IWzYTbh4fd2FxzBlMzpqCbdTch8kCS9cEfiQ3EUcronDC
27n2+C4o0beeYT5PWw21aB9BRsy8pDmf4CDidWwr2rrYrFBMFuSyo369nCPjYYhs5iRF1LRgb+Iv
+P0U2HK0nSsB2LDl2Hj5cM0DZ9w5HGoRELaVSPwWnEXRwukMvQcIjeYIRfnabSXDlTfANIxZ6STK
5Zjvy9DTB3fI0WQfshATbSiBIychzrDXg3cgaExu/Lr80jr9S94hW/Jy69KMHpYpe+imDlmchgg2
eusNjb1cpn4dvijeZuRmQT9w2+RORVugGgbKoTSGCwf4mgPt46an0RgqOtXmGiOeB6YCs217tR9n
k3J/VkiV7PporXKMvMEyIrKABVbl5juzqO+13U1ANoO0gP07vPMYmhLMe/RWt9fFxn2u808tmrdJ
aHDSjFxVlNVnz8ZCCQpPpsjhdj0IbjC5qs0mkj1GO2a9CcUY710znrnRzxN0WqqmClBF2CPuuxNs
21JfeflEC3hxbXI8HIwyOA8lH60taSo3NSMBtv4t6tqatiNUvzV3CaqNqt93gmxmErITyCifydTF
qeWVTRr5xU3UetFd28g0h8ROKLqvMxx8qCxVleRVKTKtZRoPIQ63CR6u5v9wdR7NjXJLGP5FVJEP
bEECZctynNlQTkOOh/zr7yN/u7tR2Z7xjC2gT/ebmjBrwPd9e8eQqn46J2UJnuEg97dAWaaOvcTZ
eCrSLBhN5SYr1tNQ2Q/FBPxZ3MdOt/t2Y8C+QUR/DSMJR+yTzLv2dyWLyJtghbwhix/bLH4tZif1
SUOkmM0cVKXI1S04/18lGihE2n6xl5CFqZSB6DVZ+/NQs19vFEcw3E96mthPm/y1qdpjXxZcnYFL
aCRvjoamBSz7NP1FisT4a1V1mCj1tunyBNhYkzTZje7PFCnh1tVGCmdP2OsnmME+7itwFFHO6EsX
DlH25NB8KPm2a53INxC6JtE0BKkFt1wMDv0eRXHRs8yLagjWBrU7EcBDSXeKvq/IX+Rabo2cSdhq
qv3S3meHDohUT5tAKxXhp9N6mG2LrSiTBju4Sj1omTkg+0L2U7okDjTKNjEbGl/SOTyt25QG6F9h
KeVOXYzOa+hIx0iFnYq593OrA1ceZk81lK2otKfC1eJDqtsVuhuczmwrRQ8zrq+TSP71tvkGPhL2
lv7X1SeyOFy7Zz0bj8+oKaSeEUC2puV3EY+hYwPciWkhva5NKtBH4FA9QeRu/lBT4bIWLhryQf1B
ZWItFtX1DEtn5Glfh6l+rCqUPtweqM/ZTrwOJo2jddNTfpNEyn0VjWGbmDcWtP0opCt6XVEJz9Lj
oFMGx0/0/sC6FRqdmC5HBbcoDJw+XTmbAJEi3iY9aNf9erQmTmAJjj7Pw23S2iR0tfbZUNLqwKgX
H8eFSInGuvOwfeQv5nAcIWE2QNi5rxUGEESqPNjsqtUFIBI7l7dZlG6noWqQjijr1lpoYKZFuNxq
3Jj9JPe1Ajw5yRK6BZhHcW9zRfYNjgrFEc1+Tv90VZKc4gpVe9+G+lxGFIiJ0HsNuidX3tz8zW6f
hwX5ZbGaj0KbAFnY0lVb9b6c5rdojdi60i31vm6VTTcb+9Qo+ErcvTNTZr49QqX2bffSdgYy+oRu
PenPa6R8GjKu4C+y7dqrhHhNWedlMqqJ8hJdUM31rhBG7clkByaOb8noX1qmscaa5EHUUEfuOAai
yil4ugp+0uq+O765pqseugy0MK43jQD5ywZ1X/YuQ6UbhSzyZaGqiRLOibIzRH7u1wnPVCH0S9/0
b0aXfENg41E1FIu7w7D3aWFtrHlKT8Yy8K4kF6WUT3Vk+9DI+yJbXwyrPrPdicsfGetlrSV5RvWc
BNOk4WIxL1JoLHkqoxW0DpbFEmjdarv5qpYl2Tkey58iC02iXcB9edrY5htLJSG0aM3qNMy0eiq4
bkWw892L7K/VmAYF0SChNg4nW/8zm/Bii7b2XsUFCopqfeirOyLpKl/EABHqi0J4LWvHK4cC/fp4
b5jaCiODW3AWt+O7eo6KiIM3hkYpc1AB1eVWaWDr6WWOSpc/9GsR+8lEIWIoRxrmquRvmETbyuGm
5EA9VltsqS6M3mWlID9AVZNLHnM6BS9JUNEX5vgCljV5UWctoapqwhvX8ktJ+K/aqn9UTIQbbBFg
kigL6dm5qfrKA48ifdICvM7960y9E9p2Vm5Nqbl++rmU6zcrO1e/1WDjWwekNjVT1zOtea+vE07/
9VnUSPmTsd+bEdxiMXJX6HEUb1ZyuruOuaDvoyys1Q89qlYwQUwf05AdgTHpkSoOYPjAjbKQazQY
4K1zM97iZglUfF2ssZ2d7VK77NYcte6/fcDsbwzzAjRRTGsRZnaf+ApaLaSb8gxsUYdCnT4VV8Zh
mqwHQ+eeWoTZ+nNtKlvNdr4ZrKjWpnHuikzBbzJ/I3Aqn5bY2sRwjb5sMo4AFm9ApFj6K/mmy6j7
U1/0rJqL8Pc7ibOHSrwNbc/fKYpD59pPVi++OERAEkbUFkKPv92pexnZ8L5PdeXQQamApZWwSj+k
/wJL1m+mQ19MvIrssm+pKH+NZYJAj6I6sOVxmQWbl/g1eCPRy5q9tQaJg5CSc+4eSMno3VQAf7Vl
xNhaALrihRauCbIRecoQV3lQqwWMmlketTXxZ322t0gHP4jdZaiMz7PNHTcNqR+ltflsLBHP71Je
Bg0BKU5KDvSbzSziN9ypY//MEs0gSXL3QFULlTT5F0/JrWjv6quKMZDkLw3GQ/50Crs+o7gNJsV4
Sdv+0K7qqam4QMSQoYNAQBsl63exXETHQnutGDj6Sm30YpUVWnbzxoNEP1D8xPeBbdZb+oKYgy9R
ydjVnLuaMyispvdHAWXRuQvxQJ350s8DXWZFReKo7gmUqdzqZ5VZ70eD/b2ARkRNdgdDjfM65NfG
6FgDkJAZsTooMTNAx84A7utr69TMc6B2sXsyR9QfWsuPXs1vY99CIPZJ7OsDyuKSR8U3Bhmoo9gi
FfgulOa1jJpd7mbxsz3HB+NB1fez+y3aht8jegbaeUIqVgfRpN2iwXwfIiozlLIH2nhYuG8trle2
GKqXVarO4mvjos5/hagN39YUE5tMtBnHrVtY/OTzR4XESOtU38BVDroKPa0tX+bSMw+D3TeO+drr
1kWPVvsAkbGPeBrYyolEPs92s8jiU8pGKm+5t6rdypts9xSM8q6xmP45BkWqVjS5iab+ZhnbQqki
+JDxre94vm0klVOSPCfOwMPBq19p/Z0H1wBpHEYmkUk/ZR/sppzzHKEF6yahSju/Lrt440p1O9tA
nU7y4NrYnbiqGazEFGhmoXiqJc1NmzlPDUHlCWuXt4noBj/TimKTRkgoxkSomyk2burS6yf89V6T
cF62U6VurVK+RaEuk79SU6bQTHv6v3ycgoy0Wl9G5VM7G+vGBO7yJ2Y9bWYvpW01r0ZOWrlrlxwB
tdJ4rYIlKv/UOzIWzYZioyzodYphDhkVFy9tS/YJZ8jA0Mxyf9pDYLmzxl557tQi6a6VLqttb6iR
39nlG4irGeoiBhy1BEYyBnA/qr8LMGNcXmA7EwOapzdNsPaQLMrg6SzoDrKaW69XxgdhK2KzCMDL
EhcGY4PK7U9yt6Cl25j3HZgkX4AaQ6gDhozv1kTNH4Vi4XnLvu0V9sBqpsmTTXkEC7oLmRwOZIbj
NYYthZbb271+bEp4qqJP+VEmUq7ioT0SwmJCN+YxXDXhBFpL/BVqiQMX/WuRxR5rSe1VGaPQkG2S
OLvLGfqtVUSZx/rc3u8nRHtFdYWNJsC0tGCfpPlvMnV9WxQt32Xv9NrdD/PUbbsE1CrbLJJxdmCm
9fRDOU0VefkT3zYVkBiRZ5mK8JpaQuDIJWhz5RBHHdjFkmyWIjugAIH4NfIHysEmZ9Obr9ZryXvH
XSmRBuDZtoECdmwh1q3YDTtLeTNl/2WBNgMSuCsUp/IeM5aUjvM6KNGDU0UD6lk1KHGibhHQ01Gx
7nLbzqzFK5oBvshF7VCL/pRw3KZEte6YK49pZV4AExfPpcP3eU9Xu8k26TJ8zbDJFRjWtHxrPVWk
0xkc5tmCcGO0ZdHzncs+60U8eZNalH67tu/1OrxGmXF0uvRf5upvYlnA4vT61Xbbad/WueYrLRnk
s1Zu2tV6mqKODewJgiUrFX5bJ3t1VNhFe7+FBrGfI/c8m4i5dFs98NCRSzdmPC6E5AVxJt+AoB+N
Tn+YwcY9dXqNzJiNVxRjX+1QoLczfUIZuVtgUDd05ARLWH/ZVnZAEMCjLsQpQxcK8LSEg9M/jTSe
VcEpvo65uwX4+POhOoq/MPWFTl7WntoQIrqo2TN75R4Xu/1Iu4q+MqpGz8ZYhm51QOdt6o9Qdzam
ZYe5qZpnPsrNTZKs79ZSMirVztdYMYyja0SB5X63Y7+xNPnWyUjbFqn53lBFtnpPTYra6KGN9E3G
GB1rj0VBLMfIIJ5pNePhuKMvjtPiLZJYCZ36X8fs76/ts1quiM6z6kUdW6TgjnVCWvqsuco7AutD
M+qu11kU5koCsBOfTvtZzo9LLc96p9q7fACqG4v5XHLLjO3zWNCdwPHaASL3r5K306+B03PzEZDL
PpBfTzRJLNluP3abSF8SIBuklM7wQwQ9UoYMF2oGamYU5V4bxhyZRR+uMU/4pJRPmd79OHGsbmAI
tp0ww6QCdJBSbXGncrvVwL0opXeutLswni0bQDLjiNZxo67ro1hG7toqt7f69GHlerlVFbRySJU8
N6c/rZfsT533j2OEFVNyrQKyrnZT7RS+XH5Hm3hj1NFC2cG2a3TmnYpDNLB0TxrS0bz4a1XdrpfV
iyzzDVOHQTmOjgueG3ywvH9OSu/R1aA6d07KG9iYsm/K8VXACQAVlTMH5UQ5ZByYEbt7mTPuMeal
z7Wqhmq5IKCvHiM2qHqa1n7YDUBiXSFtJgLSt1JEsFWtLd6kr1968j1CdexyaE5WNPrJ0Dxl9rht
MmQeJYNAxASgaLcuErsMrJdOw6btm6ELHfU0MuZZbN4BV0y/80ofPVAFjoU8BRxciusqH5uZCcgW
Z6sqryioUfXojKrd4jEDhMkgQjdR2+3Q27tVhStZaLiqKH3PGsnECG7lmgX4mxDVtjD2VSv+Dhrz
WcciKwslYdR9OS5IVaP12Ubmywl5zLxh6ox9LQPPLpTlJSa+AE+tAF1wT0PUN5zUuCVMpbzkszga
cf2USfh8F9DB66P8bAGX7Ew7PZRmyriAfDeoYW0zo0EM1YWZwY9Wj2PvyxxlD/9fU8VHc4zD3ARf
s2T7OqZ2t00UjjOVJewcEJbIvDEexUE236m5bGo6LLgL65WuMNlWQiX6fLH281AAMDSqgxCbnzln
QZwVVaWnUWk26Tii5JAdKmWLgLGoe7TNGStzxCosDFy8yQ+y7oBmB1A7rNtLn2mwPtSxIkteBntU
DpzB+aYz97YGkDaCfHeyNM6LwnNmgYw0hYMjzHnWU9bJk+811T2lpeeW04E/69kIYY9/kiTKfMWe
3vuKaz1ytkvmycCuso9bWTq0asK4NRid7cgg46qS76M6vLC9CxnEq9oyhLkMEeMlE0RZrEW6rWVV
bYeGcXiITnoEZmbAHnWOuSvchR7HUMiHl2yFdtBrpqgT13L4WxoILhfYGa/t+894Qo6ELIzb9VuM
QEJdL8wLyl4vldnJTqYDjbjK+dVb26RIX4li/YjdvPQsRfuZchVyftJnf3Xif0SOr7gmEcSh4KWI
cZxmyxIFYq7fFy37UQdUMaIn9ratULcX3T+wHnssbq2aHfKZ/s90OMeJHwhqB5HC6lYALLCfnjpU
fwZRPZraGNhjlm6HFvogL3gcLTPajtrL6jgbu0V4ajdFaI0oKrTYha4hexQGOcfeMhV47/QfNVr6
d1JsiFOSkSkBTs2ndKH+pHW8Ga3hdciK9zanfYA3eG7yVUGDhLdmxpcLHgNiS3uR2CIOreyPIZYi
cOz8r5iRlKQgemAMr6rTQPpQvDe6oGyWneLLrGLrs6V1/BvACjVMPM1WkfuNXuw6I/2yqutPjfqW
fV8oci2kcIORvY1GgeR5iw1mPka9NntuIrLN6LZvaFoRKEdVgVG9RE+IkEAv2QSQNQZpAYpxf0T+
NWnzruUoo9dsuMYjKL1g3WDejk9zO2mb2RjHDToi3P6K5DrKR3VugqW8FzAlLzZOPfxELuZ3G0HP
XjpGqKaSComUbKMvyx8Xpb9aCEL8Vus8p6WOxlj8GQy9CUl8ObCaK9Tmb6c2rSMqo892NQn2cet2
o67GJS4NZzuNwvEUSV8/duVNXzq6v+XLxSgKps6FGwElZ8egtx77QNDD+3PSmv7UkMxf227vzwMa
egD3Ty2J7ozH8jGptu2vyCtR0LoB5+biZzr9FUZJBLpyvC7jY612/daIROTh3/vS+vZVLT5Te5a+
YY8DFW9BwjD14DfwUmWNxi5DMlAj/06H1UvvDB5AXHrURFSEeDkx8LRGuFhc1IzUxDuBbm9do9nH
rv6paH1+kKqzXiu7Uq+jkTzWmvbqqE5yWoqpepqt9RkFcwEFppqoNqdDKTtlr7m42th49UDohgQJ
RqETZ9A8ZSkPbQdiO0fGw5BMT7lK5EW1Kn/UpH+siyRcrbXZGGsO04VPNrKS9rLm3SnVOb9Hy/1D
flSyUYnL9VKGmqDT6PS6lgBb1Kllaw17/BjQuC6eFEuAkTrWADM1tmGsVhUQeGk/zMR/eqn2qClg
o2a8xBDtrXytubBsQJOnNVsuOF3yR1nHAYT1kXQp85i4BLemakb/ur4pLZAZLpOYS45Ei0wr04vm
9UfQls+Z8pTU+WnsE/p1B1TXSY2DamWIeoQ4V+uk+HWKBCO3rFsxZ+5dRe0tA2j+uMTdfhWyQTS3
lj7Ajc3hPQJUmfPDLJa/xaCdZ902mD7WNzm57cmByvenONv3qf7ZiXXTdJG+sx3lWLcgrGTaGj7m
1w9LxWAtELb57RTf7jnDnTJtufGRA1andq1TnwKaHFkbOY4U+FYUD+xKZINFmxEjoi/9hrCjTr+i
/Iy2AIT71WDfXvcw0xIfNCftD1YzjmyPcx4wqd0x15RAUwuM0+I3zKikU0QIW4aDqHV6cJBkU6/F
cK7m/oxHCL2LWXqVcMM6WeqgtipM4OzZycez6lT5A9n4O2siGGRo6PpyIz+oXRdo/frQKZ16TJdy
8ASIPH1ldCibWWyiFF69abcGsBeAgk2RsEr3KYv+zgvmnnJXdt1eTePntndvBkeSV/csOHKgPbph
3bVrjFpgsa6VUR4bnZR89FdLtpBYNgZRJJcQN3e7dxVwsz633krAfy+3azR3SpFj3bnTDpx9pTNs
yyY1XjS9RaVCrvm/vAlMe3gHtiy9AifCcZpp1cap/De5Kdm2GZZ7Hd2JZ5bkXLJB8drNrb7TlDSo
BGrSdGrRpdBabUqi2llbaQYNnhL4MoTJrhV9zet6GJYyudbJnPNYJCRLk83JO/vjdNrN6cjRjFZ5
0yB9b4NB9LNDFtbh91ODM96fS6TiVlQrRz1WEXvXMZc6J1egKSP1agpbntndF06y0a7D/eW/rxvi
2ohhOXaGg6HTHC1I52Y4ZTUbBFcSWct2Tp6s1k2e3F4hrcDW07AVwtrRQSWaJ/SyvjQ1o4+WLG5g
3T8VsxoHZNAkPgVI0XnUFqqqm5+p28bl96UXgEWOyUoBARF0aoaXaopoe+NEPsxpOqMVNJobGvTG
nHDZzU58ZN3n+oqJ+aNmC9nl97MC8d4YlfHj1Kt+fzdU5hF56XFrXlKwkmdnanLq9mCHv3/IYoiK
hTVnnW3WNLWd9dTbK54ZE8KCT+KGo7ls80uepZuKRIKbYUTaTW2Ko8nC7YuqJcU+kvXsJ6U0wwp9
BmJVa752T2UHGzqlpI71gs56Sao/wODP49SKzdBEbjAo8JawrYmvU/73nPvA27+xG8jVsmC1ltRj
tcl8lHdO8/clnxbYzbax9pnU/V8vv3q3jfx6R34//X0pB/OsihXKSx3ABrPKt0vLPbh9AWD2aztu
WwUaWkRfzbR0j/ofEuryxyFyu0eLcJMwmzAM638WXX1YWWzSoOd/nxtToV61w2FK8vQ9VekcnX5E
pyGT60LnuOX3loFtTcXRMuALjaT5nCozv7Sqo79Irfsc7p+JZXU3s+2OvrlOTM0ieS3hFY5j7UTI
yR37Eb32/U9+X1opzWNRDG+oc79VVGzPywBIo2EofG2LtNr0UH/XoplkaEv1JYrxQY0Ocjt8qTU7
DTJ5By1eaydGY4b9mqXKY7t43XZaV/ehAlB4AD0wH8wHodXuAzbrfssQVIFlqMbdF2wc7aQzjrM9
fDuJAYRsAVwIvX1Ol6S+aKKrL3LI/Mod3GPZ7XsZo85ckiQQkKO33xeZ14dqbsCo1aK/zTLCD+qk
pGj2rDLPFPNPUYV4yJe/2MuVoCIF4b8v5/R3AsWYpaiPnVbo13QBjHJnwoFGFNGb1eWZQp/V+0Zr
csNgxPAVQMcXp2bfu5JbPQnoCeKFHLnMSpLhKuJTW5X5uxsdHDzIe7Vui9esqTqSpPLmphALiL18
AthWIFTE3OwL8uZa18puiohEkAzGDEXY0D1CknImIKVBE4pTKJFvmlW5/8Bpuwnr66SWHAGaGI/3
tsDDdroCE9nTQ97aP4AV5sY1pfQmrVJQEvCk0W9ZT4AnhakNTyIrm4e6mQP6ZxJOkQO13u+Hvy9G
bhJjsrCW0slyN5yjNyVx9Cem/ORFnx0CQtTooa41Mp37adwWDrkX09QZe7N6SJLp22z1+OjgOd0K
2ZeHpu6/VBWuJ5d0h7jfDP20DM+law93jwqtvOjbQO+wTJqTlZ2IrQ1LYV4lJ+o1n20j5N+TO3OY
hieUgZ7CduPCdOPz70u+VMl/H1X19F2r2A5srFKeIL71E1cvulJq6600Mu0w9rOkOTdiovSAPcfo
Y0I/8626FaUUWOfJRpYY2po6hmQpZLvfOqwLpzzE+I29Ti3MoCI2ZKuk8SXuRutmyT6+ouD/mRGv
XKakd7exmwQKAr6jkFRo1R1t5gkR0qmWobIwv6XziOK1VqPwtzhM96qwTlxEqPdAQ5FjqQDsuDO6
R2F1uT/OrjwQNIO+NOte9cpCxOTS0Nd1yipDVsMGbdJOoWKP6btInT9WUZeBJXXGt2aRx7hs5NG4
f5S0KTsrtfwaM+7DVTd/hEj6ELm9GbgC7aFciDVi7ZJCevykolc0ytvviyHMNwV17PH3M3xEPM5E
rGaUvv/+Ai6GNXSUL3bQw6Ryal+UJpzuxl0zKuSDnSrOLsrNn6atDkpZf5VNMkBbp+lLn8z39Jzx
1inx7Ol8y1EhvGXjdNlMdwAwNDWq8amSb4aWSfu2YgT0VZojYm/N+WrmzXoZF5gZ1a3/WsnSbdxi
HrdtZv4rdLfYsHPRdn1rRt0R9QWdruiw4WnoG7smAmGHtAsk5ztYrnFp1FE9V/cXPQer8n4/N6cq
CTB3Ezl3/xO3HNgXO/Y2ooxYPoyknUNpV8VhtO6mK9HcMKVlaHDaKFQMptuqc1DsmGryNOPEeNIR
QnuO4UK/3eMsxkVPj79/ZRxEQUAuKhVuh5qg3Ll+qx1dftZktdfaMYMEONsENT4ZZqvtDEHwnSsi
2zMQGm1XC1Tnt8qhmUBP0QVug465SW46u813+LDtXdq596AfI/eEvE5JsRwByqce2GSSp/8+nOYx
yLXZwE2foD8bcu21FIu2WxM5b7SanlyLNGVblWiK1bR0b2XSDie9Zq5KsFvBiDlvyCyufVS6V+kK
KKKCvpYTCGgtgXqNcHnJ6WkaLTtAfAOJ6CYIq6Ai4qHGTbO6K9KlPZDVTOeYHWzVrlCl438S9k4r
4w/KyTZL/ujqwN0YHTL7722PB7r7nDKvOJaGj4pdQ7D5lV/NTbOb36S1KZpNBxb0XZ7z3XrEPRZ7
3VvfbKSzHS4uiLP0kq8IhztyuHSj9cXWYPmM5reP8kcZ31sy8Qr9ELN2ueLrEa4+RGoP1ky+1YYE
F3DILzOaPiR5PMVwc1k/HUzRhwO171bv7fsaVl2gINIq2TWerJtsXsJ2yerttXd6a4MgfVvT8LvN
awPOKpm0XOqE6r7ITy6AZxj1GcwEXLzyyRs4p81jo2YoTJvuM+t1yMq6+TIR/8T6dURo7VyMP/AH
jtOEOSWlXOFz2YylQqn1pBdoenO0bqrSUmPQc7wRzbFmtg9WjE/F+UfGCUlWsnrVYUjYgKAGy6n5
dO2NcOdXw22rXWNVHzbtXJttEWzaz3GIA8pWLY8oaSS2aSk3DvoTa/iQm9FHqZ+KfbMVfpZGHt+t
PgtnDNFtq5yKD1IfTjnNarwQVSX8rxMG5rG82sidgE/03DOnM77Ge1qw5vY7TayHNr/qqHzM2TxM
cxtaOoPWlnn/mG0GqYRlQZyaN7CAdNx3+oZF4b7Bb13XbLIdg24+Ig05cjoh8wRp2BoVyS5KDTuz
bzqBtmR4du8HLHte/pj9GBZo+2Kv+FTkslfBXJju3vKfOKe0k0B4da76H/1P2iO1yRfouwabMjCU
MyzbxFG8qup9tkgSDbnNsayABjnPRgk5Gr8DfC5kOmofpfOafPJgWNk7N2YNYWamG4wiHUo8/h/+
7Zt2GfU9q+PQmMKKRMtJ/XZO4mV+1P6qBq7LctIu1eK7mNMmL7VPrV4c2gwaHAwgROLWLiPgLqJ3
xdOQ3KOeNcT7WmSfdo+OVMOgfVsfzacESTDQnmrY+Dy3lhoiH0Rp4LA0S8muWjpXTKXzdrnGJzPD
Czrzbr+7H8mchMMf98PQtaOp+5bkUWsn7/6+cWfQdCTWcJMojejHG6+Pvfk2P+bYDJJlPCuv62W5
6vvF8OxvZOFJvv2JjHuNQreg3OZjeiAoee8clvgxaYviMipz6WWrhjk1fR9Uwy8bwJoC/eA8akF3
tPdez6Y2akQtkqccIV8+PeZhj0ocPCOzd9FkfIz5Ga38XcKFmlWhXPpIRkdmH3xPvefV02Nk+XZh
p0dHMeRhXDwO4IaNoulLupdBFMThzSj3cRiHEanZR+XDu9PTYovsBo1tmWyG9yXbaKwee9O/VfYk
cHLg96Rk+8or0Z57DC1G+dOZ8P6e8qbkp566Fjj7NFT3HZ62jfF3ui5X6xK/LMzOKgydj+dRY/Bf
391LL4prLdUwnQ7R6P/0QxlqMt7rar0BxOorIxDdzYpOlb4j2yoHF+y2qXHhHqh4IiN8rkGkBKZ7
1peL3GTqPsMyIhIf5kOyn5t39VR5aYdUx0MaBN/r6xCBBdrtCsEuFBPkJEOudqwa9ifG2gVfvj+N
xKjutUo+oennTnVU9hG657yoAc0cDzSARPNjupJiUZ0MElW4S1KoJ0fz8hfIXNYLYgb06ood3u6V
fdQDrqZZGw/AGWxi4lE4NCQYtk2QIuNZcbuVYTdbW1xTWZ9cYu11RMF3Xfugbs+iT/01P+CZB9a4
Fyb2qKNlyIjitvLvuDv4kpwNH4YWCKUYP4XY6BpvBoMoq+FYAp96NhtL6uxW3E0dfJuuVMHXjKyY
wkH0XnSeBoTrVnxOgSEVifQo/aDB4h1z9CPCPZQnEzjw6GdttDc7TuW1fbPNhj4lwM+9mfN3fVZ3
7jYrNPTGFlQSSkVljwh4PXz08kLW76Q8yqX4RnJ07DIFwEe+JTaRlAauimnQspcu73cTdiZWjFqT
r6iCowl5jpjRkE8pC78IfWrOeLvUfT031s5ZG3lpx6mBjl/y52S6UyCFZl2IzSDiQ5nfKiDtz8rU
//vg/hWlhrxKYyx2GLK1YEW7vUOV6z4XyXwbsA1jMkLj3q9TQRwijmoxslBQlrr+4trqdG7z6Alz
U7C8d1bTvLN5QztKUFDfbpp7CAUnATZ/AnRxELWVM527TLwNMZAu6M18BpeYwzXtBi9rc3dfavfm
qy+sp1mbmWzI27CkcsuleDWx+4L8iSfDTtlalcEhl1rbXLFX/5EZnFU6xs+9rfcPTY9/mcPz6fcF
l+HjlCvmkeBPB114THH4v6H/d/L//RpSd4FQ7KcdteYRFz4u8jQvv/LR2dl5mgd9N/WBMYM32lb6
mtwdIa7Gu0zzH53SXhNGkOjEzNl34Gakzbvkav+pazVjxz2k7PclWtBHLe7s/4+wM1mOW1my7RfB
DAEg0EwzE9knk303gZGiiL4JNIHm62ulnj27ZVWDGlwdUUdXhyKBCPftey+3tT1ep7l1t5mDeBXM
St4b/liGQW2dhPCSUzt7eh+7WbuumMfgCyj7/XwrNYVRDRfqVknw7JiY/ZnnFf0I/8NdEifiEuCt
jCBFfmZLt09avi0hs/JuX3Q8nCnBoU8lxMEt8uCl7LLlUA3pdyXri5XRPZlai6vlG5iOEoTnrJ/v
YBcEu3lasC1UlhkW7jCvIz+lc/FUfPinCDRGMl0zMGec4CP/4YHZjUuu6R6sW3/njx0rFQQdfIld
9NCbjMisAeBKuxDOnNuG1jk1k++c50+LxNmXBjVnV5v1pW9VfZFKbU1Hzcd/H4l8OAZmkV9m9YS0
7t1ngxU9GJ7xNBG6sdKA214sGEBkJu7bMonDIB/cjbp9+O/XAk2pP+obTGK+gVuLRonTkPX8FJnp
q7HmaudgRDj/+6F23fo48hkkia/OXX81EkVTjovuNA+9wK0qBRkEfzoFDcYZBQ9l40eDfcDrybPf
RFO3aoa5euPLg4+pnj/TLJG8pUV1iPSIicXFBDQCxd3wX5KEF3rvGV79GZQTX8nOsvDBaTTxAosn
BFmOJTPPxpXfJ8nFA2VbdmP6UbWk4kxRYbI3y10vRn/fWm731JjshQVPYG1kg7HTqP3ynDbOcSIr
jZfEP/eLC/CEsQ4bZbuJEGQ1ltelO0Uk3l9tBZKj0PNnZxPKjRt3PiRych7cJnhJwQ3AGlsCIBSD
e/dWBgFmNyExjCzSHS/M+u7mPgUzAj+n2OeR9xcnebVlk5R1Ioj8joEUq12hsy3mY2RGnTK06BZA
1E6kDt0A4qP1CwgEwrbcbSnvgiFe/jqFxLU0xSzi9JlGF55iVZgZ3FeeE1+EiqrtEgkITvjptolb
eCdFMhCJnf4Dr+r8afdc+sFsD9ccJ8HV09mjMw7DV91Ed2LOOcSF5jZn/cLj5BRABot5PlcRknLk
S2vHHhmFNNmYOzBDeC7HYLj++xk8Tn1NguWZ+PB4rBVjKs/NoIDdzr1uscZz2b5Hae7cKUY3e+nq
3zjjo38a7r9f16Mpd0nCbgPcPtQJNTZUs8ZPxDME2w93ZtURsP7//8oYdRCaQBIhknjW0cFAHd2O
GeN2wvz7mZ3aegd77bVr4vn0nx8W3fz3D7tcIv4N8Dr/329JcbU2gepW//nU/n2mYJ6MdZJgkvz3
L4aUJl6IGbK5ik6qXvSnsDmncoKxDOnzdBe7S3KK2n4+Dy4luEkKE+fq/LAU0fRQLmpTqyG5Rr3m
8l++atWrBxY+zA+TLflSGtRFt98ok1HyBFuQGz0rP/rQjIEE3SsMVuf69kNaeZiZ//NxiXM7cIur
AcTkS/gemTPVdg99wFRq0l1DogLn7JIsIVznH1M4z0kKNkFzjW5TazwAzPnA3whkxcFTCEaLFscB
aWJnWx5nTulA5itlpekW0fdguPZTxmcZxw+Dlejnzpg+U0bLfRvh7lbbmAvt4sngHZuUsUumsG88
5xK4WbwDY+qvHWszYDNaN05u7MtiEs+zpckrY/xRpYOjeSrc7djUZ3Sp7DiaGXJaXi0HMfKVZ0f4
51hNkGLRi/Zx39MYuK1YTXH/XUfF+Fhlg1yTSTyYVuGH69IgCIPjMiV/aQwnszb8MPAJsZgpe5Zt
SMLnYGJBIyEgENJ8hAF2DyjhNfKwCEIMlJsxRXAYx+aYt/F904H4aERibCzmNUgGy6khEF2a6XZQ
mOHNCXpO6yVdCHj2qtwFvuWtLPeWN19i45A2vo6sPTIe+bVNjEhO0U8r2cevTVkIzvxpM/cD3nev
zzd2PCkMW+2EFOSCyprASrGGaQM0dd0zRwG4zxtDUdffuvKJCFECE8TAiJSxizhJa0YXhHCTCjCZ
KE9Jx3SptMoubCy1r+L82xu6+xK6BTCoa2yrtxSyw4PZlZc+0BdfKm+tXWYNXGHk2Iz6oBCNKfbx
mA4R60IgrRAn0rhtzfFluI2+nQ77pkUdtYEs1ZyzRR5xvSyrGGP3TWRdm2oenxH87uM5XW5TDyah
5vjk1BSerUgJYRqB2e8nqo94OssM9ynoAJ9SmxtLGoxAWmhiS+tgyx4K+5Knb21dvqrFR09m78Na
mTLsUvNcuXH8qBSGnIqpO2OAE/PD6xCR86qFPx79kuucdONptmYn5Oi+PZ32Kkp6vYncvtyjPpmh
qsVfJXeuxAI8db19rsvqsKgKKxKE29Azm/sOhP9ixP0l6to/dZd+GcTS10M8VnuZSIfuOvYJmkzp
umvd7ylLCZnptg31PLa7McnYa5luSW4oBKnyT7wEp6FJSWLhZ8fFHhFHS7BzlTlP4wIi0Pd/XT3/
5YJH6rXk3+ZLlf77xHSDDCsz03Z2L4U5pps8wv4KtIDbyFkI2aoMKdPlszQ/4hjqEQmv+4FBN5mn
8tNy/Rln/hiyWnHBxtJOa4yg0QGjYWio4UcNZvOA6YU/cJ5POPbWlEk+IS7FfF8t3fH2BFVs3zJU
6x1uVDrEDwp9Xn9SErFExxjnUq9qP6FJHBhzCwWSPRczWR/MfDfCxIs/Wg9Tbla7OVUfuprZFyaA
RTl9NGzIVtSbaNhWLHC7g5aOfjG4ZHGtALia+SfokaKx9BCUGgvw7Lneg0wpt0uch0MrYBHWIjTK
JFv7wKBIycHBGWT3lSsA5MSP8Coub61V72gZkbxfdSWLPf7wAHNo47CIvnqSo+wOZRbf5VpBwtLN
tOkcrE1ejoWDOdimKRzORf0krIiNgqO7qaPp3emHU6DL3djWB92VXP99KfDu0d5NGUCBCO9XFuDa
Nf1xhiNjGA/xwekTNi4a7IxWelrAIye/ETHXI1bXCmUI0IM/VqFOTPuQm9jy6GNDBiv2Nh57OEA9
OIbCfk6mxcDX4m6tusX5mFgoSRMykGUizqZy29Aza23s3Ikm3+zHFEE/uleNiG5pTYldmW7dGI27
2X82IqriJwhJkEaCjsR28DqPQ7mKKzK6/uiu3WD4DEzasy44Oa7T72OW74ga7xJvNpd4avT4+911
U8TLEVzioRixhAkBL2jyKD+mtkKarBOcpTPJHJaSn3yESMyOOakL56Gx2Ug1xgEeAeRO4nLJljRg
tIp6/1q0RhoWZUczT5xrwDY7Txb2Vltl+8KyC/QoDkTcuRi34U1k2L04xjgxqC7dlN0HJQ+ER0/C
SzKT+5rj/tT38jKzDeBiDXqbzSKMreFVBzZzHIO/rdOA91H1XZSPzkZ4cqINtiqIrmy//jeK1TUz
fTZyQ+gYEXXcolehxHCx5rigs6eewBNPxnnAWerG+THRjTpjungH03maKxQNo2++fGboquKsu92J
m5zRpAElAP9RG2PNHneB/VHm2UOekB8eWG1OTfDdO+jMZePXG68ZvqORxEw5VyfcTrt57J5sPz06
LF/aaOmo7dwfIQSg9MxMDGE7BaegHZ7z0nuv54TlAfq56VSCRVHiAC08xvt98+AvC1xMAxeBLpvf
IirCLDOiMBfa4qDbKGMmJd4SkEPK35cVAiAmH2q6+TbUps2pU+/ajx67IrUyt35+879lLjAeS4h7
Saxh5RAwXNIRs0s2bT1pkT5zsl2AAsFBgMHPIN++4h/47WgGKhVaKipOIv2ZkeQ3Bkk8XRn+o/As
nFPE9erF5CP3vuTk3aSjsFlATdQ5VmhX5Om3s5wxMFMwVwE9TksYoeyxwjgkoYhVtXbYuPFbkZB9
iP2X1KAqnZh58JpE06GK+aZQjnUTLpc6MT7bgnIyCyA6OLn9N5UMDu6aZIou2YlS112bSUJoB2Qk
199jp1o62pSsWylDcMGYd9nOYM5E9fyAnFDqK0WQIxnCVKhDXo8x7yKajl+AXjPGt1qq9q2zqmcY
kU/JgPrGK43T0LDJ+sfXpBQLN9l8GiqSJzJDkffn/lI5ZXOhHpXkz4PuALSStKfckbG4mVy+7TGj
5ICMBnBpiCj56+/GXJoHJXwIIJmG1RSnKMsVA6iiKkN964/tqIeL4/phL8g1SWv6DlLxmPf9nZad
OMT29NmyNGPIA3vvJeLTfbL82L33pgC3mguDjp6Um0c8LMSENp6SD0ZuraZykdhpQAulZ6tBBVMx
z1TXpuE/FnARyRsJhVh8Mpj3HV7v5qt3W+PKZYy8JWG4JMsKJwZtQdO6O9JCOJbvWeJgbYibcFKw
/LsfT7PynCMLR9S6FN0fXqUfnb/nft+GhWFhrx0B37A85a5AuyPizNIvPfAydJAbLIZ0Zd3iNsrD
JfCKjSCTsnH8weQtnCRp44qhcvBrVcZb2cFsaR3Uw4kd8OD6GONryWiNjHqwGayBGGTXndMhhU/s
osmZtv7VnAanAg9qY2vALyauqTEmh2R0OGNZ6lT31m6pzKdRcky5UeTfIG5emAIzgcNCvWb7LZlJ
sbZz7MAkauydEbV/AnciSQIZEidxta3zyjk1TvYlWHvEsRwuMy2KY773FniizLlGWfIKySLbyhtU
zXQ64KH5nqMfA7DLMN8hZGxIArrz1ikDAPK1fzQ6hAJB0+QUcbtNZ/Y6xSxjmwPu1Z5AGwL78qdZ
fCxzLc6g1Le+sHmLla6GqzknHsHZHGmNVTLFGPoZHhLDJNMx6cex4M10y5mZUoIe64o0eAnkmpuq
oTjGzJ186UISQcn06xgV+6qsp0NR60+/69ct+ztiRvFr2ivFJ0JWKCqdA5bNcoUgGkNhiD6a4cM3
kdIbYnX4jCIUEW2dqg6uHHkWDMWY8sFdLpzDtb0r9RIddLo84VvELJ0G75lv/AJhrbdZ6oMNa+Qu
yjDqNZn/Mbs5LVf56EbJLf2QEtrNi0NrF1cddL/1aL0knJ6EyKNoq05tUxtn5YIMKpqPvEYvkss+
0Aj9DCMEMwMqD3N61A1icVfWxyItZ8Lq6Y7tMWJLdKskdo3BL8fH6SXuV4o7fFNECcKHfhkWFhI0
MZTagbqJqjWR54XwQdy0RBfbgq0mc/1V2ATvRzAtI+yqJilWzctCnKqaMZTPxtGvDobyxc7xarYM
zvXb7IkHRdZP44mHpZ2/w0wVdB4YUIIZsdtSkm+lqMk2k3mO0Bo21ucCcZW7kDCJn/M9SvxLp6ur
MlwiiG7zQg2Dzt/jmPB8Xlu+c2E1vUA8HG+c1S/8Xdajk+rv2IC8YHrY39HjHckJeSi02wK6gYNr
3mpiSzb2g1f5H35X4ijvrmnZT2tV9tGuNjwmo4X56U4/JrpyJty3TKCDs//pu2XRF4s2/jEJn0c1
pGQc4mdfjP2BlPg6tkaivIt7exW6sNO0qIDID745PwG+WbHe4j7irl1nN7f42Nvr1I2fJOQHJgoA
YEVO+IVOpemxls9RmW1Ge5TbmqK58BqMMTH5hFa3u6HgBVxmcmpEBsiCZyQAewKnOk6I3PTer1gY
MQ3F09BYRBA7eTfgChOoiqArmMJhteWe0+7ZPfH12g64BFYZlxzoIrpDg5lXGpDQsOoB5EntbLWg
iRnyWoWxbEIYIE+GTzKaWDCuKUYjLdoslZsJV0ZgPbVsaFN1inUW7dDN9LjxS6JagBrKAFqUEYEg
GKcTkcMN3/2PNIAbNg3ZlzGoXRRDhfUIEmcyf8HMEXolDZ1OSb40yzcdbr+KooX/f1scXYTeAdR6
E619JokG1ASZfo09ecE8PSZd+9kr+hXP6AgTFPkfyGzwmCGFNiq5C/ozL/fOG+oPayBxi/vlPvWL
r6AQ9Io9KYdh2S4t4aRMdN/lpI5xPpw7Z+hXU6cv0IuokS31tBhO6Bg1mR+h32JShKs5i37TZdrn
CWeTb/GwwIdgn9DK85q3MXAukUXBngiHg3I6D9qJt87Y3c7mP16Shro5L8aT2SIVWVZFUU8YaMof
mzE4F3Z0XDR4fjnUz530XssOk+bCAAc3Cf7don9xAdmUyEnpH+RxF0spc8LAqF+bibZGOS/G0JMV
r5FLLHPciUB3TDr0DuQTc8i4rzEurvqJ+QcbdB+TeR433A9HdgWFyjkE1Ekx392NiflsP/fLqyjb
amtyT5K5tsuHGZ8Fb37YKEwO8+0AgeiVUSqwHLw1K5ireM8aiCgrj7g/uw+IRFfyxUgYyyGhrYLe
YoMPJ/Z5AEdsV/BoPZMqbVYok+Uty1sQyb84Rt+vKG3bdR83CM9ecz8FZAiUGr6axHhDFVDbqJ7w
aUz2j+s9k7QCFDPwXSIwJ8LbaVHBjGRZUNwyAQvpeMDFkK5InG6PnHrFB/pzM0vGkIC2lS1BmhpY
0z0dh9QbFqY3Aujt5L4uw/CMLw/QpVc9e6I8F0l0jRX3kWd+28kvUG0m+S3ieVImdzn2HeBR77iO
xnWZ3Y0YBuAPvdhMRJdxcteWx+tEUPSmzwR/jJbwfdaSU26hQrCpwnLWsQ81lDGlJ1wee5E+2GQ3
0RbGnT+b347bP0+k1BZ6kwzN2HDqxySGeZUnCWmLCjKS2ZbfvtEF+7GSAO2l+DZSRjM5fqCNnPmb
BqPzgwzDRNkm/Rll7WooaRw95jQ8SgFfhnrkvqECrYzHpOISxFtZhzbtwEqIheU9KSFyvS57I900
Y/RumSTL4pagY+PJMCImc6VuPBaVvmjl7I2S9WlFcPA9tPNm/Chb82phb99gc78DQ3RvD/MGZenZ
CUg0g0vnawJxv5GaiDq0daDQ8FstnyUMGuTTunMFcZkKi21vW9sfC4Zu6NvQvFRB4mSYpdpRZloL
tkFPtHepCwrSi4f9XFC9U0POMCiagOHx5w0NZrto0+6EA53i8XmJqx8ChoijmSY0XAgKHHxZPWBF
B0YjxVjxVy7ySxT9M00dDJ0x28CbPkdtBxjCIIHp0vzBWGghO/HUG8i0q7LkNTPB5M1dJO8KmqKa
+QVgzEbYfPU9A83M25GqDsjk3Rem8btUjznk4d3oEArxxxQ9tafLa4zsIcP6Nfs9IoGrV0rOzqar
7Huvqf4wLGg2UidPMbbzmFVEHEJp2C8JHh0/tg8dfKys897aIf9s8F3PDDQ3pWddxGz9dQbckeMl
BbUwjgDg4OIFYVuDLPOxl5oTOY4UjAZuH0i+c8P+Byd57gLprM2KF7HWHtWM+2hZMgnbAbpO4qev
aVTlp76WzTZI4Tqbo4eaqK5pEOmVHZdzmC88kIXjnsaIJN4MOKpSxh8moA1//N5I5L4K+uSiZMm3
JOI+TqNxAwWVic1cYF6JwmnhnaNgOCxBzDzJuI3n8+HNLOv4jAsW9CDVC4RYceO0yclyVsoVu9Yz
7l0cY0fiMTekcMcpPqTB2g5eUxSpEAxVtapvnDUVfCRthqorFVL2JP+SvlpWHrfrhrd9izN0bS5m
szUa7Bjugti5BABBNNMkQEEYWLw2+HJMXG1pfT+5zO85ztgHAt1/hU+4Cznj4ZwRFiiiMoVfyV1P
fnZvCb1XpEfXuRcBxzDPi289VsBuVrEb7BK8cHza3ohpxda3BWSrCqoO5B+KZkyaHH2u71xkN76V
NoX8UJJVIsQHTCNHC5hTpC3lBz+YVcF5qfZEN1ody3p+Rvhr0EStcyeaj6aaGW+3ONxmfV+z+GIU
F8W7U3Q+/qzFhEl6e127IZiO5mCHUgzcN0PyGpvHyOlfsDy1nG3q9vTeJVb5KhPwln3ntcRITJjD
eepfyGbqlSBRGlJ8vdY9BrYesrB0l/fYsVAW3GirB/noiRhPNvvudAnC2Tf1cTEws/jtXWVouQpM
5sfZTMtlolKnI1G6mRJ79qTJpsfkvnTN70jTU3NcHXkFsE44w0UM9aNlWvW51PGe3rxcIQFchcq+
pK2YjBn9DWf2QKysuX22PULnMceqEPZBbPKwepuagdwd3PoEKIXx3VbUNoEfYiINuHDT1dQKgIYw
qOX8Mnp+z+IMqHY0FRkUr01nUeQNRcxB7WbORg7y4pIKA4pcoyO7z+2LkVW3HKY/sXSgPJsDDk5j
0Dxq8RS2gWS6O9VyHXs4+8q82GdFv739r+3yu0z51iUHrrJZ8pzMCH44oCTWA6Zen4DS9MliNMn8
cQu6MawSZ6KU5N22JIPKCdESyYTzNGeB79i3SC4GxEXV0ZxE+ZbebUcO4l4uxm+FO7C2QDFz2WRY
Ar3bECE5lf5HXxnpoe1ANYJgw5ISQ3X2SEbZSXAhxZQwWOY7jSS6tVzybdgnieqXJl8536weFkcn
a3a+LFSwcDiaBDHCixVN90AOiSCcvdUs6oyW/m4m3yorDFuL073VbJMKo/RmCTWOfe+drGkK45a/
pGkSHcuEgS+vs8kFWDvf6+MH36ddVCklVsZd/+VI+zrFA02ufsCK1x4S2z8Zt6qXVUjLVoMGWRn9
eB9MaREunbMnQzrcpTxamUJZ1z0bGGIzOQhH/M4LvAEh9XoyzJ5btTnHZo9I5EKBD1AarH6d1/GP
27kR7FJQVw7v+6bu22/sIIhzGQOs5eQ4vjwO+E79uLpnZ/bbbRFAXf44glvHdrxp3d8l7CpdS37Y
Lb3Y6y5/7fzYfKcCjMnORfetaw13tPHjuQqozIs2f2Woa15yf/KPwQ385oxPtmy+ypHY/tT+QBiT
WAO6K+x3ph0muGIWnOOmG96tQhhnJ1EXQP/uLusSpgpNw+Ft5aGZcwQHM+k5b+k8DGZYZzL2Zczv
tWZ4k+AQWmUkMjaiYcpe4RetHs2+zw8VW3h6Zjp0tuDiSDssu2m26tBk4yvnyjqJWbXZTcB0oC+f
6qL9a1e6Ig44JjcGHkl3SKyhbwbPKYyqTpXcQY7R7k2fxBuukjAYqey04zw1qbNLHS/AtpnuAmTH
Zq7ltYCw9MS7BfC7e28NEigFgqkILRzuQf134ti3TKQLKQSTQNbvkJUfMLRXE+drxBhZxZJJKIgY
UOnf+aBeGx1cbMxajXnXAamIZ1W+uyA3acdG+len1sy51fJlxygLTroFhTevrV5PyCH6aMF+P+Xy
Nend7Cjj2sWeljPJIxc83RxqYLkLkv0AmGbYfjORxh6pyW9EmHZtOM0cI+YcexuRJA8yy55YH+He
Nrh0x4kgW9EjaHoxTAzVtm/u2CUbvpzUnXlzMrBj3v7ZZYnzNMbwbG6JSMfEQ1snvywDOrg0daG1
nDumQ7va8q51G9yNMYKw0LN9SrWzHABRoQ+DJIOWE4OY7NvnqXeoP/s8243XYLGrg67rj7HAKShG
6w70hLUx/yGKJbWdBqtFwHTDcQXCmyzqrulIBMalus+DoX6FLvwZb4QN8Jg2iOACInPcLNwMw0vi
BcTDeaLos7/dGF5gf2uuE47KROAxdK3kIhJcbL03rq0jG3BpLmbQji7hu54ZP2mU9JpKCgfZinjN
5f03d73PSGX3uair7cwwAv61ehYob5gcijW8mkNsMmOjBqDtsS2wXEFoULGjy0xHBiRu++xFNxjM
TLwMcgtUsI4o1byR/exAGwFIZFj5dnLaZ7f466vRuaKrDdjj0+Xm7C2i+jKa/j2Bh7O0U7Xtqp/G
DOS2G25WGo6SkjKPADanmaxrpilFgw4c3Wdj/znF4qWSLhIkrW+Re2eDHHEMiFp1zEunGKmaegi0
LzMKzsaN7D6xrED2IEW1GUf9MwBhC/EyvxKQmMC18XpZOn9ZXF4JH3mtIJ0/NcVe1aOGQUDFHM/F
vh+Ka+b6Ztg2N6sVthLQ/EPOgWJ3fIVSfCtUx83WrLLDCBawlF1EqtF9bsZhw3z/k0bkTzxQwi4d
VkLTmndtp0CWTXCCbOYWXi/vpi4FAzS9OQU25E4Ff9hp9te5mS08B+p4iwZitqZG2oEpRP3zWy/t
k2YlWushrzQFewPgmKWQXX/JVxHxHvxlJbgdPRMXIxNH13HuWZJcmyrdSYcS3W8+S7xVawh8DS/N
XDZf5Jv+EDXYtjMIaZO/rNnikLSqcebi858nR3yU2vgRyjmmgewvetpVTfzoedOe33016Do2VZTB
rrTSKSRfccFgf3tqpAHvh8FFLIxnUGHBejGmrd8SLhw125sbc0u08owHBUAFAy6ySSVSGCR9jRPB
7qvfcrzJPj1WAd/+jbT9o82XFk6oZvixdVtWMiRd4GyqEUhHa4ifIJdZaPpkqpS9TJtiMcdDhhkg
+JuVj+TJPnO76JB3TvXIkNYv5myvCHijIoFwnGgOHGq8yXQvAMt1Ed+rdjlCIDIZ87A/qcrfo8JF
auLIXgE2+50MsG12OeZrokjPXmq+O4xeMDw4V7fIuLyZkmcJCGrihAl7f+ZpB8prVcdr/DPXxM7X
qvmtvT37DNKtaPM/LP5mpKwGrBSL14ZBLxUDQBpsH4c34nhChsJmmUVODzwAeDJcB39FNb+YuXnS
ZE8WhPldEhAltoBpxcRyMNWlPwy9TsT6QZsYprFm79gfxUZawMfkg+OeX6HUBNf1JPyK+GhPKn64
SbqOt81wugdm8ta6/iNrfbbL7CcHq2+uFQ4Tze9bexFT0hjQjFsr3sAs+eTeJ2XQLdhD6NGhuI4c
BhlASz94Bf7enaOEE1y0ItpGgXMvFEWG1eqTFbA8x0/VdSHit01vm78CkCiu0WxMnXD8soPSLrwv
Uz7gaj2W3vQ2p9j56lvAJWW0wtxctaw2wPuxSzy1ieMMWKxrE2BmEoPnHULrbRA2sNrudgScLT87
gYroq+yX41QzDg5lzzOQDaO9SxwQAVUKFLEraOxtqBUDsRI5snEgohFii8rNB6e/O4DjFclGrvHo
M6/Ixnl4hC2Wnx51vKH9D8K+51N0NRHGyP4tzJgdLmp+NQa+iIrID2C4l0BMcAnqtmIGVPMH+vO+
H/N7r6Bs1DhOpnHGkhgztDUW1n4RJzzPU7H3hn0jgpzZAF7wJgeLlw9mSKcXY4cQH3hIiX6nfU+C
hh2pCcs3T3Xk3Ls4hdKRNGdv2z9Rg8IFh+Fii8jYjwu5YdsrzY03V+MDMlbf1icfD6GbWT85c9wh
jveoNtPKQ4EkUkA0h/nOMYiFXNteIukL8McX4inKiruhwTHb8LlXgvCJHOxP21EP8zBaYQUL4H5h
0Teso0NS2cuxWKQZOjO0UKgZvTCfmygeKNeTcTtP6kvFXblPsRe67M3cUVZ/26Q0SAySseqqKyNb
dVzS+isAQA9VpNr5SfAX3Mn7AqY6y+w/s2nPe2+GgSd4Dkad+4wAlo1w54fW0iAfkQhqJfNTJ8tD
dNeZhf9gjctpbPGfSyK5IYCCYtM2xXBqGvkI1797dG5wttlruQ4XjUw+ureWGXMBRee5lgGMNuE4
W19UVmgKszq1NduVDQLfVcVJQmas3NXSkbuJMqUpDYz+eFgWMJ7bJrkxTiiedpOC1BH447IZO02a
yTIC+unuJC2WjWroE6HB476yjVvF5BxvKFL28VgnAOxAggipr/sUPGZvNjuWoQQrjMfV3diR3+6O
fN3ISxgW/x4tbE1RR+rA1ns2Tj5x6jOBZ8YhndY8VLiXV74roJ6CYcwj5lR1lR6VTQtmYvgCEjBt
hsT6bPkkQ20i4hoiFSdh4LOyllzeNXiZo7TRm4W6ke/JXZJ30clN89esm45ZmSM4lbfAQFexEil9
LnwGh1NWfkOg3E5a79gg+JhiWfcTY8/myHo1yKm++goqXkA2wuXVhg0IASMY5y1wTHDuExp25cDl
cqffrnAuWct+BI1tsI2qdBdFxcNYgx41eQ82IvX/irg5j05is0ugOEi7/qpZ67D2UapJVTP89nA/
WL3440XWCOowRw7pt6loPKzh2gqnwQO728S/fl49FQtTsvY2VLcpdeQUvAZJ+h1JVpjZpO9WwcRb
UZkZe9mGFKcL5w1rdwBNZnw32ZTBTJyjMTcEwXd6FQN/DQHwPYtmgATqTHJQmJfO5mij2AbF1ZqI
0i7L+EjOn8d4fhqdlHRn8hXEeHaXvISFTDyOYMTOo4BnL7K7iXDd9kQicbr67nHMSaR1YrqYtTpB
uMWdgz91YGT8f6w+/N+LDy3WDJum7+EB8gL/f2xIruuhdzRoVnYLsHFTNQpvwERvyLOT7dIUoRbA
/rqNO+OUogXtJJnt9b/t4EPktddeF2f7Flzop2RPSzbf/Yt/xkN5zuRyhZ4i9v/WnWZe2W5cAMTR
KpkqoMYwnU8yioK1Uu1h8COYEje/O2PQCi6VFcVXXUpjzzxTnoK5xYhQm38bHYuPPmPhkN3oaj9O
jGLZ9PVf1J1Zc+vWmbX/SsrXDTeADWADXZ1ccKYokqJm6QalEePGPP/674HtTvvYXzndl12VSnJK
50giCWC/w1rPOtVApDDykJ0zApEhGzyioVyLKOxXXVscoyZmYko/VPQQvbiIydVpGRvi2Y/IAgiC
57pzINDV7EN/+eOQ0WbCGsY9EGXugdk2lO2JQFtRaPtEOE+kOwEiMhtf7AlxPmloFZdak2pLf7SS
a9x3v/1XZNS/xhz/+8fwH8FXfvNroHH9j//kzx95MVY8n5o//PEf97niP/85/5t//p0f/8U/jtFH
BY7xu/nLv7X9yk9v6qv+41/64Tvz03/77VZvzdsPf5hTPZrx0n5V4+1X3abNL78Fr2P+m//TL/7t
65fvcj8WX3//6SNvs2b+bkGUZz/99qX9599/wivyu0t7/v6/fXF+AX//6RQFX9Wf/v7XW93wT+2f
Pc9xSFB1PNOVhk6eef81f0X/2XBcj8Bfl/RP0xNSN376G4HKTfj3n0zxs21IA0qB6xnClpb5099q
bge+ZBg/O55wsD0KyaYGIMtP//XCf/gA//sD/VvWqhsy0Zt6/sZ/uAmF4bkOOjtb93SmQ7b+h5sw
gnYZBWW+9oPU7A4qnnIImPpEzqEqtdKhQ/N1uROZG7SPkbKr9I4SOGTzVVmW2bl4UyvRQXREZRu8
omCJLYloNiM83DeUPvQrZsoSmYyHS4KBreFUbPBdOcBAt73KTE4N2Nfiuq57M96MUzHK69bKEsu+
8rJChOfSRpn2lZUpM8AN+/04K7cQoyJvS5wMZqcm9gf/NYJgXj0P4ThBuW4Gvw3J6hinjn5WC6c6
RLJuQJzClFkw1N2GXVsnd2XlWJCA0Ac1+sppqqJCbW6E5p0SLQUm8ia3HvaikmbNFCySHAm0fLZB
8mNIrCXWzGTsKat2EwexeKvsEjYir8rzjR1HtqOfE2lmwEi8Ar8zen3Obbtq2o9etAw0xqnxxHXN
0kStJ8ocf1Hrtv0Gp2LKVtZQFVf2RHgnFsaouQxI3gxW3u2ct6zZfkDnFrHx0o0op5NTnfSv7DbO
vi0o5GeEjiH1puiRLKukRcFZJYP1TN5khNeul9OLFyf6XeUn6Fi9wKQZisG1HAJOVWOdpzYjgkqj
PYDOIusI6aaffML1M4i/K/TyW7Qs16/z2kymtz7xfMjhru8qnorsWJBLUauRpBA4+mg9YBRK4k3c
6agXAWW4fAua0/wD30mmsbgpe3/phc1kPJqjqrppYff+kLzrXmUbIOF8U85GWn0cmgKReM6md4md
JnXlPbEYSX8t61nvRRgADjnnQrWde9iTUDe0+bdptDJXe2YqrYrXMkA0wuIvIPB823ssvfe5U7at
dwxtp24Pll42A9njFfZ6YzvoiceYlTSTxMR6HAgvmU4qNfOaZpFks/wpZoWYxHfpoPLeYfZA0KB2
siyvEVQf5ejln64xOrS+GIGq+g0vb1BDAKHqJW9ZkgBaRc/jQLm+0g2getpZq7IsGXZ2U5oQvYwI
n5lcl6IzGa55s4unudES3YSLK/Jgkgz3GtcdEJsPg5l+xi2HUwyKXhVYv9naTxmacQdfCGNYWxkW
sn+mfclNSWlOfqjR2I44MkhrMKgnjmiOOu8radiAsJp7LXUKKsfIMtx47bpwftf9kEwdDJGI+Kct
gomO0Oc+mvqQ/SbZk2HWbYuAVJEVlGofJv5kjmX/yYhpjG56hrXNM2kZIUJgGO/agUl7Dr4D5geX
Z0zhYeR7J2mr+oV3LUQcUcQw52hfZeSQJFfwOiN4fdYp7IiHpGfTRHwec7NQmGuNMjgGdqOidDnq
klqp4ASnPvZ72iXeRaQoVqPekc33MX4lnWBZ1vlZ3ZAeMEerhJzdIO3ajdFmTr8XMi4tmFNBaTgf
EThotUnaoU6u+zLA5doPuIoYXCCvgcVgW1G11hV9zqtTqN4FcW4HxhncRcW0nQE9spY6ymOIt8ZM
z5yatGAf1+ff0ioqYHFORsiZErI7kZ5JMbMcPYhTx0Ky0gyWtOZm+VxFEYidEDjntE2nIkEy0Q1B
smzqvLfWv5xe/6tj/n92hp+Lr+yuqb6+muNb8X/gIDfng/Tf/+u8/NNB/pBFzdfn36BDB5+5+v2J
/ss//O1E/1lKndPcs4U0pTRNvuWvJ7rm/uxwYJseAnDPkqZjO/880R39Z65gnByea5i6gbj3nye6
5fElQS0Ad9vROevN/9WJrv8xTpw9gTApOkyhO4hVKF2KjzeyWwLOf+PfaqjW8By5SvVtuh9WLPdK
bH3FFt3Adlq6m2ijnuwb00cc+pb0jzOYZKX9i1Rz4w9VBVsdfglek7CYrFjCm7/+u18iRbfRGQm/
RLsmGXyVb+nwt71YgDxewioEuAQ7AWH1yjz97gP7rcD5oaChaCp+LVznSk3+6Sf/oZ6xgt7Kq4Kf
TD7b1lziBTEZkqyLdbMeV2RIrLR7xNHQ/YYYTeDFlBdWV/bK+fUe+qFS/v3v8f99AyzdlLppuqa0
5Y9vgBtZcZRpKEw7Bn+2tZtasfvrV2rMr+S/X6lrIm1jhejZ8LRs27TN+UL43XscwLwjvhiuAeJ+
oz1quSzuK6tj8h0Xo93sdUvvCuDueg2Oq59UB05RG91lHejj9FwZna52A9Fb5VbjQsqPuqYzpDPS
BFPaX/+qXPY//qZchQbnqe0ZLjeInD+z3/2maIkIZSkluYBtdZ0QJDR06soR1mZgmv7XP+rH9503
hR9FqLAtdEu6ZOH84ePX2CuGeqqxxwv1B6m5KQ2cE/2Lt/5P7/wvP0RQ1yOdEXy6P76eKc0cIoRR
lCVglLV45BQ0HhBVf/z1a3H/9LZJ056fJIbkA/7TnUz+T1VocyBNIesNQ3/Im3F9JhJq5XA/u8l0
7Np0/9c/888fFc24IfX5v3jCiT88PQRRebjBMurBzsM3zVqaZRwLa2IGxsVf/yjjx1t1/qwkr00X
tDiS/zXm3+V3l4VKHZwVRLstMlrxsTyl7Y0xHDqW2WP35PsPQ37tq2uD3fi/+MG/tl1/uCSlywuU
jmU6XCV/uiQ5eQOIcejXzNpVa0MC6ZpblarZMKGDr241RLjhKi40YtgjUjP4FLLyI0Ib76CM6bvX
PtJhn1VNkK+7roSeFzuWYB5jBel7Z/Q9A+mhV7ukFPLDZYGzUkhFgnVcDcQyQEdp6djb3H70Gp+A
HIrG8Z01q8F+YTAcHttslySD/zDedhUxknRik5mg4ojcaaX3XaF2oDRJKlRj6N/ZWPcRW7ZZcKP3
Cb8tKommXpZ9Kk90ONqdVoK71ibyenoCKuTCjdh0wVFSJRLszoVTpKWpuqP28lDiGYNHxgDTYGQq
Tpzdi2CCgOTGaYncSDfJfrEhHaNRKSLcOnZfQComXmR4hxfNnLKq9EjufL0hjTAHhmluorYxrZNJ
rFvEUaUNBVQaV72AH5ZXdH0BeD79s7fMcZmBRlwiYyGQZGTQDZjAXPeK2U2u1S+qbqm1hjjAnD+Q
pV1ZqQszvo3jVROVKLJLr8tgEg1EBvcA/+SqdKwSva8q0aJUAzLnRAbQq2zSstaqrLq16SbWLuCT
MHch6JTXsFdMXEo9iofrVLOqbm/4NQJIfNQGmUt8FuhDHaGZK8Fo86R7Ts/YdWydD1ukd6FbiUtn
1d6dpqp+7TAC3FrtpD+XqRlcGJ+iaA38DYQXHNgt+7E0CRwEj4lNIGdCmYsvCSNKESVZf6ULGd14
hV5fwdLwIFZO2FnR0a4CgVPAjv30vgnIhwnziYEnFShMHLInCW1prUgysWwzez+aVoWasQ3fGj0n
W4EeKk+xurnpeoAciyo6ThFrAUhD2TH5NOY4frsUI1XnPEdl4X8WYztdj+Qdbdqmm9aEJVHSNqKK
oH3OiqWG8aXYBqJH7tKMKMryiR9Zg4Q6VTA+dpVjYDrVG/nVpP4ToGJuBWk557bKQW1JvdpRhbv6
jrzGLCEGg7U5Ig9s5LtWJEr/BHBNyHHlQ1RxUs0OAZT6ukeSuw2mSnNrDI8WepbWDPA74+ZYI5hC
4OtaaF6Wo9OEBz7NszKimKjhMsbFH5HLO1pMpMlwQraTnhKjP6YCa18QPWBtAKfkVP4VsncJnQAR
zd6akQ2SDB3d+jT19tYp2VexBC8Qe6zdMnwyveyulT2a3XLp18nazOji0eL6C9NUyJxgcn7j00ZK
CFKoSNW6cbDIDC3m8rSowyt3kN3GNArAs6FT7rrcsYCvInbjTQIbhHpwAS5638RRuW1mhHxRNfra
ndSwNmj/Hg0Sz1zmNT6ag+1UeCnJ32GD/sFUzz6a0KUWt8xDh6i4xneF9LFWF2xZyyZjH0vbTfaF
G++7gtF/MV2yDAgG450C2FU54nwCnlbpPmLx4p5r39lEuXfRkf/C1qaU6oIyAlhczSznGkyEiyIu
Qt1B7BCr6RmE3JPOVxOo/GAK2EVFAxuc4Io1/EhMHXk9VBeEroh3SRJhEzUNV07gZLh4MLrRB4vL
QIoYu7Nq2NU1t6SNI+ybbko8iwQ6T4e+Ys9N3+y12Rab+l+KfRt0FhbsDlhUwnrszygwk1vLroBA
lOF1r/kkW4JeQ5As6nEd5XeO4LFpnbM63Nis5VvxgnGYabpr3rsCP6McNox9tonRHogAZB2J9EJE
uD59SceY3nkElzOH2Rrmd56aJDy38FnZKAaYGsORQ21bUHcGFTIb6wwysMf44hILG4IdHQLzs3Af
SUcGZQ6yKRYwjofgJQVWWJ/Ah2jcJjxaDzBC1wo+1IjDHk8zOnrwpkO/7tPyXHnfuvtch9YSP4rr
P1cgxW3mJW6RL9NhehUm1t3SfTL1N0ddwftdMGRcuzy/DFNdYLesxzrehx2uUzO6pCgRV5LFEu3E
TTH2SAJaS18k9vDUVo+VfBZwY0ioDgl497QAURBZDv60HxG69rr+OUUvrTWA1QcOTSueX2bGYJuF
t22pXaNn+2IWvinb7pQQ8+1KBtzNyh9T3JThQhQJfiFWFOpFKwRxF9COByjiSj30ZQICnBvaN8We
9LN3kA4Ep087OV+zZQHn0iB+jYKKCBYSTGxj1SGJdWRMFOSE2HZjBP3ZHW/z6UpiaSwzIgDc2yD6
DNISyAa2Cg/hl9Udcyf/5Hq078uxBtsgRn0PZyfYEZDhr710GvcTvhryPaCal7H9jrUQ/JWfepsk
6FYGQIEe2k1nPqI53orIvramLf6eRSyzvR02b8jQ8jNpfMa917ADRwLsMyhDNrKVffgysaq4x+e+
xfGy8bxgXRTcv1m9y1mei2nOKuq3vt1wNQCiLgYiOtFilFzWCPGQHCDgh3HIZj3DRQUGCiNJwFoa
zleEPwBgQdH11c4gQNWsGUEF+EqJ2ThYZJjh/PU7xHHJuzdYqHKGhdVyPUpvugbBv+ykaW2FDk0F
XsJwb2lgLhqTIkiQxlhE/a6dAN+4HaHvQ3RNMLe/6gcedgrjjWVkPCJRAFWIRqoAubMvWX563PUt
uy7ZwAN1GAkzCp5d6F79EUfp0ZOvrlmtJ/CNtaKuZ15bZJg5iV7cBH7hYFcOP5TsNwj+ZvvSm1Mi
55Vla6xpPLHwQ75YiTFnO26bn8xT26071ccaL+xoUEe7EKqmsY/hlnlxQf3gsKEfVGNDE2gBmWXR
Lgq9rYqtyxjJi431ZR3G0cT9TXZeDrpddR5JZOA56qLd2Tp1j6vqetMMzQRyAuqO1fTlR4WIatEO
3nWugeUF7ls9pSWW4amym13Z1btpYn1ptBqR7wM6BTDwjQ3lpb8pQoVHhZ4WPZptjwd3DCsWiO6r
ykE8+GQyYNkptnWTeAvfHa8Q/BDQWr/rEsgFA9Teje6m4oHc+11XNtuoY3Jem+VCiPLSQa7wrDsK
LwLGh4WKb0OtuoSwFVMQhTkahjCVH1WqH53o2yiRfIQ51pruCA17WYfpTqeKMN37jneFdO61lV2R
6XiVDry7PrkpMrhv0b8YXvmqunJRlLfCIWdihPhkIbuSHsPxTLyQ4XdTmNlJAv4PEjIxAH6D7zc+
IMBCyLylFWJ2HZHWEKwqckkz/X6AB+3B/+xDkhExNCw5op87qlPTJ2y3/EpzZp4ksUT+U0p+GMKo
ZehmJ1uvLkRBsE64isYM0Hq37XABjPN0ttw0mb/TEW132rPtj7wE3kFDIOZk6WzUt1UErSGDOIB+
fRlA0MwTdWQRvambYYdOHZXzGJ5Ta7wIhqxuEaxkbZ2KGJloMG5UNhBaZV0AAxPdQJxwOoIQvXPI
PAM6AG2X72nzplho5/zkGZ4CmW2o3Mrm6JjFsZgI8O4soMpsC7zxauopKgh6anhrcNa5XrETXnqp
Yg2+GWzBOVzX2YaUmOQY3OJGZSiaflVm4C17s3vN0HHh0ApfMGEguzjGno3aZfqwM5aevY+bP9Rm
i0RsvEkYycy7ccvD2ghwngRTRjw1oXEZhAU9p9vpbwfNJa0HG7pTci72tf08ynwzTHM1KR6lOa5d
+ytqpkMUcGE1ORAog8MCUWs7kTLqmUsL9XRYqmvVUMvmjfHFiPU67yUOs+CXd9wJUQ2l4tOuc4nD
g7vLOkmrTzZxlb/NVUZZTzyh2/sCB4mAXLYgZ+Lac5HBcd0EGkyC5Daw/KdJD2/xYa4RhJoLthOP
owMgL6FWqS6ZrZ+xgT/ofr1TZEVrSBQk0I0m8HZayfvGg9THpRYGfH8NpW5qIfdAbIWjcTUm73WG
daN1H8YpBuMG0NKrO3cOmEOc5LY3QMkeGFHtgtJFocKDH7mlozk+I5uWaKWKwNDeKICVosaC/Rvt
ANPhYhxnxOPBie+6dMJk752svl/Hkbk2de0Kl84afsyyGJITUw+/+JBm9NgXxZMKUywviYT7Vj6l
zKDn0wJdirzK0J8zx7uZpIAtb+6FQOGOUemha8qnCSqRrWE69uy9yuGbTtBgyf0BJlAAks2z84hE
A7X5Hmkongdke8JagYzGdMhRN/QPtLgU0g0j7qIsxGIYcNdahXtP/tWN9I1HEzuLiBBm8aMJ1wKV
Pr5MhCuOCkqqGR+qIf62R/1s2NMqjPSNbYdXvqOvO2yB9uifGNBuCCNcujjy/IoyDp5KT6OYKbdk
gQYBvmwdkgsG5wCMbwlXfKk8+VKxv0us9GoweKzyPddFgMfcwPawqtFpIfEmhiZLzH4pde+qBa6s
+zc6X4gCa+lpJo7ZZzkZIJ7V0h2i86CDr2t77lcNVkKYwU5HV52UFjssG+qmd92xL5GwEoGE6C9O
a+wp2M+ext7DJaSLOhu41HRVOP62hutPNFn40ga4SyenvSCN9uHZqHdoHnPkp7Zu3GzX9S4EsZmh
ExntQpjJWZ/sOZxoFRS3Dthuthlk8wn/gEiJjCx0MflhSvWHwUO8FkCFmIyVrVyKWRQ0ejl7ePFj
DR7fOWCAiMl+NVCu4QXo59grq6Yx8fWWkwa1dWlubEtcQn8bAL63I23d0VEhyoADGRZXFf4SNZqQ
45B7Fg5ihZSAsqCKNsQpLQG206vb16wNOQYD5K+YovD7r+yweius4mBNvbkhSg/xvVUQCwpck57P
l/Y1+J9XJW9GrKyqOBjKuDJnWmWIDpTWa2FioBTcTj1uXREHB5xUu2JKz2lCGk+SXTezI181GwYY
x8LIEX34O1KgUC9GmMOOxiSPdtxux9R8Q779qppxN2ImBjv+EkreyY4gtZhQN44Jws45X9BPD+Wy
Rn3X5dN9U/ovtQ34yBlv2PZ/tvl81/rhYy/zbeYXj0hM75XhIAR1TtGgn3SCv1ZV6LwwxYFV73pf
WtsfDZcAEZMky4Xfw0BBpkli8j5PkQNNuhff9ybsYkTU7jLL9GAnB0LfG4kGL9JBsGC7hl5J5Ahh
4Y64cuN45FIEA+IAHIuM/OIHUNT00OHu7kpzT571tsSJBkCq3Tn2axaE2Zrc1iOu3l3IynfFcq1l
4wVfNfVBrNeujoVNLZifAIQDozq6DBmC0GkPgDtgK9YpNt62eyXcCrsCRcRQD6/8Lkhhi1zfTiMJ
dobCqqX8k+M0Ry/58gdmKeA2gy2Ivis63+UwNvbSSoZDLeP1kOBDN2kx9hAWulWL1vh+SKpyZxU8
CXLCBNygPmpAcSrCPfyKraL1RY7UIhSzpe5hoj9Lp3TPmbKwaI4MDiwoDutiZJLHS2+owDyqHFl9
hzX9N4E0TkpbU268yV87yfSoEb+sMnk9teXR8L/LFPAVI6dS3qQDHKTGPbSi+wJKqMl7Lcnh9r4T
kCZgqAdC7O1ZxNXQHHmkLgzLQEjaTAT8ZXoYInTgrUuRgtssRPQqx1U4PLOavsE6ueicehsPn0UE
Jyt/KRK5tGo8H2gcQGyt+vAzwwdfM8VMKXLy7sLQNGN/yDxnBQIAwm4HFRzRw/wI6xcCMp0Zt1eO
BDDNn2OrQnDH8xMuvWdi/4OoEE6MzrX3sn0ZuqeZFeW4znWSvStdPddRtmmQw2EAZe85+WLe6i4j
mp5Ox//MmAKBwVJhg8YGufVr/CK5GM9Zhu0D4WwoST8OvedBDaeKhBl3Th0ly4S0nXXuBIjGTTim
n3r7DgQKMyd0oE2ftltfOTegDA9g0A7DELz2Kib/xbS/q8jeksaEWLpAtxyVZXJWyAQeZOxp2zGH
04ejzY7zKyNHM4BlOJMBc0FXKeebLax6IAnJffDZ3lP/ighAb8FcnXMjWDVacZclpAIZbAFecAFg
H9WNoxZwnkxeQ1Xp8SNV5ZLzZGtvVZgyvZtnXOVr7jSPLlfmCmrZpgk9VvcCgg3p20GnfU1IrRnq
gj/Bl/rkGepdAo03nBhCQW5sR1fuO9nchj0mVwAasyDv2+HwAVzphBtfRu+hwP3Nmhy6FxDGSMh9
HvFILUxOZkatS4OSdKgqd2dWQXffjs4VuC8JIYZqUZuerYmlug1RPsnysVgUOCsw/Zb2dYzEYudH
DRgFC5Q5gB7AmtmlULLhICqsW10LA7ArSY86WSv1BC4upkUHoV3g9ZvecqO3qhyaRynzGhW7DQFo
zW5cJ77Zc1iDpakV+NvMKR9TtlkrrUP/HQk/OmtxVb56aBb0A541DWcAKtV4IztwWQ02oyjXti23
H2W/JkKGgH6qrJex9dyNNEDEdCP2+QaMKguLUH/RPUaYrWlqGyMGGLSh2H1odYDnaRERS2yYLNin
Ij31Hu5NMGq43yfklAjpJfTpOsRMm6VgvgImcosyrLHMjwChMJQg6q8R/ttBel3g5l/ggXxym7a+
1BNKJnguab0WJMwsRUXiG++DhUMXZu9V3XvwsiojOwVahiGmY2ZwH6EJeKuqSG5D5Wpv0zgla18T
+ZqUIxNogwY1rkggYwmm7Ji3GsO6jbQpODSudMEVFdMdGYA88qfYeNTwbF9BD8ZujkPvagAFeJro
5ZlmiKQ+VZyJjETG4QEd+7gn+YxAWfo+eTdKNwFINZJc1w5i1fXANnj0gYYZ44fQRHW+KB0RF1Tm
hHwq20r1RatPwzpkgHpO0NlsOXOD7UBZdXC9CYojSdKBtREj+6V1HhgREci6oaXzocWIyE6572Ug
i2U2BMWBCpoqsc3mZqml4X13myo5hmXADIYBq6LRLlyDzHIm66RuOiQNHUlRQpvLdwN+MKTBiBsn
t3V82w63dx07wanmfLh1+X/gxM2uu2JHjVI5DU+agAUyhhM2w2lLfVGeBBPCA8sRRdSTfanB502q
ptJOgAiUN0FFutjg9Va3jDyhcGJU/kORGNvQIHRxdkgYtro3smgVGwWL7tl/ZNUGE3q73bFDsu8a
T9ewSWcJVVsNwxnVGWE4DY6o1CrwC4wMF7KMvUppVPbORHOA2slRbIHsgfqQkBatjS121Og50SY1
4cVPC/M6TlVzwV0Yfho5wGq3Yx7YjrP9rfMwy/F4Y5ZhQBDjHMTogmLNPKL0W5ua2LTChDY157kK
A91rR74UmBVjiM9WhmAJ4VsBGMyKnydDHG38djueoIr3AqVxHTHJVB5jp7Ex3h0oO/pSAInTtwb0
uUNBlCLGd/MzK1qYEKoNq25jx7obffRBwZTYjG1/4xYCNyYADW1p8kyjmSorsKGtDAFuZ755NYzz
jqppcFSsKG7CHdRI4BK15pxlLduHeB44I4/ZxFPQPtuVR3s8jpjPQv9WRx+0FCUxSnVRPHRSHbhH
7yRiZk9176PV3ZgYEIGvVOQ+x7u+andESW/twLzKM5J/p/xoNPmuCe2DUafp48hDB+RP2pEuMLKw
0GtQWrl90ijrH+NQi9/cMmb0JQluuO4sBkGdP9De6kTMxnjCUCamhz7I5qFMnTLs5vmgsGELNHaG
tdcyemiMS6cMEHvPw0ch7IpL+64tp33TlKiylbjrU/NVK1J6aHdfDl0AbaJKuBFnm5049A7xG04V
PyFUit3x7A53lgZrOLmNBW75ey8nMeBWDylYC3J9SAn1LPh8YPCd9k6Y+qcY+f0xPSHhE8x4LfWa
e9gJ5VsbMBrRsclpa9IaspnidLKim1Jc9dGNDpl4pLU8k+q0KOIz0silndy701GzZ6YEovtNaJ87
82oO3TAurBwk3LzoJmJiiEiu4bLT3ZWbZqs5B6doT7HLrOnLVhMzNBq5lLMgvY1QdVWNw6m2VZAj
lEdMtLMpvBedtZyiKgzeYvcuUB9x8am4l3O1iDR9h4iPebK7GmS77ZlakcqTwrTOCv3AxmU5TBS8
pGf5atjn/QgYxH8B7urmR8Eslmw4L3M2nLWrRCetUcxQZjYlE0ftkO1a9x3GAh3hMUbDr2mrqubk
xTpXEmpS2bcTu1GjN7cpk1hNMXi+QBJcKHE19B/tsFK46qNbNXd29ran800PekLN89aobxM7X0XM
xBw0hHG3mnWG4d6u7rHrLKN0EwPcIHuEYsEmYCNUC917s1tmYPG9V1xi9VixIBu3NTTWaG8P321w
1Cp2DSurf9INLvVHM75LMEY59cz8XmjZPfLgpctC0hvvUv3CmhTYSLoG7Q/gYJEASQ7znYkUvsfF
/56PT3F2qeWbb98x3sB6o2YwgHcawrNSH1qBQ39Sa6e4JD2HLEq+3nb3DrkMQUEtnJd8EPtWVCer
vZaugDD/Nten2YCX9SWGYIFLsewePBZRXfzgh5CvoxnaU+XH0IxOhTJfrQBgvZK7qSqht3xNARxG
C+FjbMPSNV95buNfqfAYE/d5F8n4m3AAwlHr5siJYZbBreU8RWAHRuSdOle8CerMDgnPiSi71Hgk
eG4bGY9t824DZRX1N5PZNH4akoeoOavkzrVX1S9z/INu7jSCbFmhrI3WZKZ2GLzzGNj3UHIP/eTg
v+SosdZE3M6rJGGz0YfD4BifRftdkmSMe34b6/UmyPRN0D4MyasW0RoZjx6LVvrzYeCBkLc8LfJl
oJNKssF9q6JzBdQhyw9tdz+JK6dFijJVp5KMe/vcM9bFSQFDYc00cmUMD8iT9nX0bHf7WWiAAzHL
ulWkcICThzKAb32s/I2XfWv6ra6fPP/eKlfARqEa9At7gnSlXQONm3BLagCkhX7R7Hjho392/Sc3
yw7hWB7ChtW6v1AdUSvk2ygR7jOmRnELgLkk48294vnBuPdoxM8+BjM20lcmlUBlNevBytZGD1ya
ECuzfK39fGOGSDOCYzTju1jZRmDVeiTNtEip2OGHrtuXOHjruxcYIwCyLyN6cBe/tvzkxzCppk3S
6ksnzmoAH68/5OkW6uyI/Rnl2wi3xjDWckIXjcHUFcxcqjfc4QsLZ5PRf6VGvXC1o8YTJ2ZC0dev
ifmkMxNVlJbBaKyi9jUj8tnsgWqzn+okYS90T3qETEME21L7QvG5tRl9OSOyixEJAnv+Q++RuBOn
+kfFbGWKQX298TDfFPETvNYd0fBy3Bn1gNVTLDyz3Zrt2evQ781mTlFypjgE0LVnZAREXjlYy6n+
Qty9xatQz7p1G5YvSF4IUn6FFboy7PPkP9N459ou5eNoYFCuC2DRfZLApRTLJr0LmlUHZbYkinfM
JeRoRPc7wQ5rTcjrAOkBRBGyZLrTyKkJa2FvO6T70lbrmmycVdGLk+gqtaFxv0Piu1Tpc8ELoCk8
2Lq+N9xPDRgzW7Hy2lPatSHT6xScxaDfGRKXkSsYecc4jjPfgTjZxou8xXZe5JDbhXwSEphHmbPJ
0/QTRqZtmw031ui0MMuZVgn3FDdMzoeU55dJ7HPV4+lyMDeDvwkBJ0VK2/tgXDF0HVDRbZE+kOky
AbgCfCAHBqnFoquzTY1BITXiu3I0r2Htv6Ji4NY0fR7k7mDAuEsuvXjuETqSlxRtQv8jLBuaZcKQ
zTS5xf79ihj6FcPAQsHPrIkloLSCRjblt1AWVp6WXsKYexLtW6isTTmi3O0aKFsJrn4gD4KdJ4Xr
qZuarTeYi4gNWkzJwpTXvRISQAXwDeypwPVaVv940Oqkvq58fYlPbFVG+MqVYgxGcRlT4hvWue3w
7Y0VVrzWCT/kiB8QbCme2NFJN3aPLCXHfMvsQny2Q0udUN0avX2TOBwAWciyr+/otrU1phS2u+mx
ditrWdYKAyzksQORyDmTMLzv7Iq2pZe+VlNxqgUXIzzKazuotG2FxGcbJw2yisQ9GWn52EyBWnYB
jE6TBomW5aCDT+egpkGmRrMH9tVNeQd78lAZ/4+j81huHNmC6BchAt5sSRD0Vra1QcjCo+BNff0c
zOpFzOuZlkiYW3kzT3oXCm0uI7+jMsqFTbQvCAE7Y3uhR/indbojdqFNXzbnaX6p7REGUts7q6FX
kzMGannT7bx52Dkm+ELHAxLKzFeRN7ERTNZWjkb+XEfpNRpaAunmcDFjSfmcd+qdGe+E14l7Fqkw
dPD7EM56gAN9jjuI3K7yRObFcv20Uswt+vm4wSEE1l5Dsm30pXEq648wgflVJUeBLPMmX1VH/dqC
sAzoLqS+QEXghxJgUUltqBBThrNu3ay8vAnGL69nfgyXZ62Q2ikPCePgnSCnP25r9UPWLrWj1tpZ
Hl3mt6crj34QG5fTvGM8puzcZU5ghwVPoo8QTgyRDwijqKLdxTO/mvasViUi5XZKbpMMOu6wrq4R
Uh5LfMKm6LtgS5w3PJFBWE+G9UKs7L0D0bWyevyA42+JqjtSpUKyPuV/VRV2ZLZO0r8awYTrhUzj
G70xGx1aaUPBATKoank0aWpHiiCQEZ21k1Ke9otVl3GMHDmoGfIQBOep8nP+kvStTo/LWklC/rd8
x2GgVTbudKWTbqrvkzYfIvHI+50Xog17SbDUk9OOloR1wKWi0KqJjS6R5wS4sWBLWGyl+xIbn9QE
UCwxYMkIUrX0ZY4wsFU4f2LGj5MJptsYFBqGthgnx8g+pj92CryJjNvhWPQ2zUhtkImbixNtmfgh
cNm47LSQH5wCjjWvHKk+pNhY4p+oTynzWz1e2SD6vbxH0dnAKxrVRz7AEd5BPd5JYysl+5pvyeJV
yhByEcAuxe96MuS8QG9DdFHtu6NdQvUwmCS+v0axsfOtqP/m/MuwCQ6o7JrlZ4wDjliBtpHle8sB
2ntmULHGC7hkBO415kiOWtQL6Lh9XCocMnNdaep6oiZpzANl+k7YNoJZarql1ozVT79F2GZFf9Pz
FH6EgRq/03oa3+evlm1/I18FYRMT/oiTfxjzxplOs9xTXbgTrbFyAPslH0lH/yuEEcmetsTwnbh/
tLzgEqMmMjsUSJnNO3VHmBX3GowhQDEek3lr31SDMRqwj23eRpesTo0ckflmPaJWZ6T8h3HjlB+O
utPjny58iuk2b7Sb1/Zbr99Am1iODFW2b1FMpX5pzAWvN5HoNuoNmU92EYETxmzqaJI02fjFDC0c
CVvIZX2anfK8A/AeBz3UHz23d5Mu1wwxEapdGD+zoqhGssTZQTrJJrTy06Buhw4iO3Ep/S/RdxS/
DjDbRr3a1WOQRtkpI/BNtDy3v4rx3rks9K4eozzZMbOvWFA0uOjM9Bpa3sPNQeaR+JXsBLGTOhl3
ujl9oHNSQ1SfPe+I3HIeQUnX3kUkx1y/ILLcw6TZtvmexSvQ8V/BOzaj6ALtdTdH+4b2zcR2UJa4
NJFtPBhXVru3u+QYhsdiesHAR7Oi6ucqnKvhOZ4vMCL0fFozgZQ6mJQUVrL5DWptQwEaxHy/7IMZ
5Ic170eGAhGxI98q5S6FOVU754KjT2c/EYL20Ze+eg/Eoh6703kgj0h9ab1NKPPRuuQ9griNXIwh
KHyQluw2uQPYwEr3dZZ+Zq6+E3CHKQV2kgP812k/D+pdH+x74uX7RBeP1uQgNCgpFdKUm1ovhAp/
8FHi/sCEwbeb7O202ku1/9e53syLtXuEAAbEkvSdVWD7CHtJVT/NTbcFrvtmVxmeKXYUFBhfecnt
dNuk3JirummOokmOSsG6KvmUrss4OoVfMol+DDoBmWCOypjwaVIYsdyHYQtXEMSmChGwV611OIGh
bPi3u5hUlxXvQxrEUtk/iikJGpTtlYVjA+hglO9gVTzsOR4odFpkBz6A1N4YBk8PUpVrHWSHZSz0
WuxPhix+ZxrB+kxdaJtol/HTMEy/o9Y/ADjQOWEsY/t24s/roLcB+vqwyzj6sxkz9AsVzHQeLL5Q
G9CktwfedgLwgNNwWjcZYIM69Uen3TaT8N1+0QFnXxT8TkW2y8v4bsFjJPe5aymPoN6xXxqENhFN
NpYS0sM+/eHNQinlrW05WN2mtWywJXbGv8bOPhqaMUOtuYypuQ5H7z2kb88JOQpp4Ro46HJmHE95
Fz76ZqQdgWMJZ23ZxCf2w9uYxUlo88TuyXR3ESkHsPpCxfsVobbnBryitDtqdk2PobKhKQfxF5is
koQ3DYaNhJtKifBP1pN/i/MbKv+CNMNTpynE6afaYX/Bq2PKvYvVGpeK3HyVqEcElgoXRbtFY/qX
lUSxzArL1sIzpquro4p01JRlDGG0HB28PSDcbLCrUMCdFLOT4L1lTWdTsHocHFg1i5vAy7x/rsJT
K4busYqxsiR9eHHY0M2hcwh77x7NJbYUDnpQ1twKQVYb8KmalnY1E+0tsqK7M1QwOJpvYDDQ2GQY
SDpJRzPyc6oJQczcyc/jHrM2mptzsASuh/NGiQ2UbTV9LlJ4wzhULIbpIaIW1nOyq6jjDeqjPzbV
U+T1wRSC+66No5u0h9ESf3lsWbuoxKcdemJiYwfYLrFofnOGe91GCxmXIl6p+x3MWH2oeeSKfRXD
vDFsD7kUVczPqsHZ6Dp17B6lWfwh5CabDTLXJlo5VZ/WbsqMIfBUcYhgGncWztXJfIY2hJHNPdWd
gm9LxWWB/R2DfJm9SpxtmdTp5IEXNohlsZZw6duz8WWAVp7k9Df1y9fQaSsb4gjJzJ2ZtdfZSraN
p51bSM1eXG3NLgqo/zxWHl7wJn6wqHgQ535y9AZMuZJ8F3HLiwr8Bux4lh69yWrdmu2nwVNeJyss
/AgGTNr3b2xcxqe8famUaAOK2br2ltreU9oaoNKxVkFgxevR3YoG6GIKoWqk39dL45fOzA5hyBqj
FwxaZEB7CJygR6UEyNe2d+C317iC+ApGpbbL18jJ4SclgUj4Klx5Yi6+q6XzyQpiYzfe1W6qE0WI
4JVSIjiJj5D6FiXhpqs1X9ghdPoySG2KAlxW+mJYmu3SAuok2GIbfttYtjel9FJMTixmES10XaXi
rdi4+ZX3PjU40n4lbHshAaD6RhHt9E7nfTHenYaXnNs4b7MC/EPHCRsbynGq4LOJeKA2AYEMm/tz
oUyHOm/3VtXspENzlx7tDGxzrePtCFXFq1Ljp8bESBfdJjasYBg7tKoXlj3YWDF6Fu51VLGYMzKa
c3tL1PoeZ/QShB0SYwqMXcFDpZNFLnyipNQUxO1LU+hcAChKKBMF6RdIbOeJbwGnDSAiwWQ39wEo
Dxwcw3aCw44m6GHUME28krw23faYjNyX0/Q98zrFQ0NalsnIi97UOcQQXp9t0wvEYByqjolMk29O
ST9DVwThoF1cYJCKFC+tOZzczlmVToetpHhuI+NJ9d6FHe+9yf0rM21DlGpjL4TusWAbm6s/qLyb
UXcRghdypUcLNuzQIYnZtA+fDTwwggLFR11goqmA1pGxdVd8FTuP/9tF+Fr62bIw3GauxD5rNp+W
1QAf73+VBOXBthlqlu26YwfllL3FOEoxQbMldxc7UOYcC6UOSM5zQWJhGRIMJ+gUifmI4HBoiQ1M
kyS6RUWlrt84A+/cfABj0fFLcDl4zZXY1Iz6TdldYPJ8Su0X/g5/uaXiPnkXUGpb0jCmBROmaaJ9
mJc7WWTJ2u7054nQ9CzD17RIPlPVo/q936mjea5VmtLdGN0NH7PGtbY2BCXXUdFsE1XZt0ODSqx/
AjLdlLby0GWU0vw2nkhgbN3J2CZ1vu0t6+zhSWdwxBaYxQSANIEBN/mbPcW3OYSZ8DggV4YTNNQY
a58yHzRprngx+gNiQlTCwu295xGVIHWrF8PEEWvSGZE55nqOfofsApYVTRD1hUdw89N2o78kTQZd
glBksOaboGUm3tE89rPw+czKwntRcUnjv3DpHh7EFuv+ETMID/xR+TfMQ7XK0XdLHrxn4k1/PVXd
Sk3mprV2OC43hCv2YrD+ymEuNiT880BFsWzJMAExWkcm9LC58OV4lapc19gHQ/qecBkx6XFawGfP
8pS7aS1G4wRc/qS22rmpxmZl53DYYg8KI0Uz3eJr097YMqLYFzuzpG9qcgLWqr/SVZ5DxolxuQRE
vbWhnTRqtUfdWxM12IeYy1wFiLaNF0lGd2HCucNFOvflvqT5ZRb1OStD+nSG50KFFxYlQa4rz+yO
drbWsbh2t1XOcyCnQjdBpHEslSNbsV/IzxDwxY0L/88NE7rF5DDs9BQGWsyTpDcuca5coBO+KEpO
Jcz8xyZvMe4yNrau+eF52dUd6iMKCvkqt43sm9L09g9eIdgLLCn5D3JmdMAQLV2C6uuQF3a14QGr
Yd2p8/oCP6P37SLGJlbSsqixsXRfmg66u2Im4UHoDhgBZ5h3YQu6MnFb2HlJwUJ3pQ5ucgllyXHK
XHosLFsJZD6K05DnxrVhPHmx5ww5c8Q6p6gMT3P1oUV4DWbWN1vTin2nM54yFo1QjnmrzsVVV/Qm
uSdRB9u4dM+hJfJTjLnUT4GAEAwRlnagdRTfkdMjMnXAhte8GKnqqavUfHiTjbA+ushR1YzkTPVn
7XdhYfyUSfNsybned0rHglQhekYkJ5bUa0tDYTk+Ns+d0bcna4hYDmYUBAIW8H7jgkQFZXFiP5Dv
uWpaV1KHwlNYji29T56mYmVwFJwDir1LKRI9jlUz7WtT7b47nSVhqBbFyVDS5I2SP55mRkrAxRNk
YFaDF3n/11DxPBwwptI1U1eH1CZn4YdoqKtBV7v9aMKJw/sNHTqHwg2DLcNeX/MedHHFZc03OOx1
XEVM4OMqYoNV4hXysIfN2wz8NVj00flqBwJlg2PzQqWeqrp60zgSeKrznyS1xiDKiufYdoHdqqmy
1+dQha4exwD+iMxMm7x2XJWObmYCgzDCBUM1aY+atl5usTBmWWCEPs2t1amME+fZ88oXS2Oech1T
fSLwiLHEGz/TOXcOmt0oflz3GcsUdopZ4U6btsK6q2vJVk/ifiVnd/g3mxRS9k5UbY3lsmLNPzV+
TUjq0hXFcxNTTVGUWHUr2+z3oq3Cfd5WUKtH0OO5bl5VN70rKVzouKUZQ0Ko3GiEHNf4K/JVG1FR
ljkgsmm4hJKrquaO00V9HWvauNMxpUsLHqK+ENRESIGWOBl8iWHYzCfHFBJQggStL90E+55bH6ch
4/CkOHeSSuDts4Eyxbyl9LW0dTj9jjjoSI+7LGnNY6i+l0kO/axvH5maG/7oTt7W7eJbiif36IAd
RTbk6Snsf30D2bvosQj3rfeqOtnOQ2/3NHoYcR9MO7cP/+xRwQDZm1WAtYWBgs+D4IFicHp2CLig
aSRQ12N6zju781F9wEngSQ0KnEwkhez9bEblM2O1h48w3PSK9SAgxpu8dHlUWpTqKTe+Yoz43dal
+EAVMj6k0t2lbvRCTundmufPbixfBf/M8Jx92STzoZXypsynzqCXNZzmzzTlb8QQM5aEOjxmEmGC
K5xWQ8HF7JkE8lWFhAYXcQi7n56onM4ja+tYaCCOtodtveNZtVZq9xR1j1oYuwSMrKO6e62gLaGE
klUXmEBko53duaa0HZ9CBq+67lUTf6V6zMy3xuUaXEDWbqqfY5XtK+QruO+2g85tL7Nu2x/aAtx3
T9nvkiqkImjr0TbQzxCwixZ9hlX5jFcGUNYBanJUh+kmmyWjvqbtO9xdkdafbAsJsdK0bcumP3TO
3An71MyOY1bQo53SQOSMC0OELyoX5R1z0Y6szSdFiZgvBzSj0EKywj+RdSqL3fgS5vh4HOjhHoeU
lUl1DtvXdAOLnZgp0x7o6wLrS32xRzdcTx5v4jgx4Bq564FUWdM3v6KjEtOai8+h+gdpcO1aI+8a
06uI/tI9Tg5hwBCihLdY1u+jdhlA24Y9hWze3cEszZHuSEn8tUDCcdBBcaFt6QwbbDBfAxNEQtWA
oDua1qeNW8RbowQpNtZjf3X6mdWBq6jxLjMm9Tw5RAIcXCt+arK3MvTxrQg7TPHiNA7tiXw2Emjc
2NuW3SUtQvBIu5Y5p+gN+usjAw8oy7Ws7g2WjHy3RE5C3+vTD7eZXptM5jivub2KmirHkSzTuoSU
GicQJRxLv/ZVcerC+jk2y4duoJZl/QjEunUgFSDDmkae4NVHbhyXaEGGGEivuPNIRY/pkNK3dTzI
f4WQWNtyh3M9FZ2ITtapUnHy8XjCnxPHUL4L6ILEw7LO2WMRPWEoe/4/lIh8fe8K8SS5bMlLaV8D
3mpMhFF258GS3sck34+aW9NjAydyqK9uUh0s6JWskKKeRaRJS6bd5bvExhvZRcUu7adP4TTbCPN1
OiR/kbDyI70wwJ6NW8npYdBRh2uPeS1lP9bgF544UE+F/hVq8skrU05LyZM2WE8eO3M0PI1fPGXE
zEfsvrMqTxENCHwqYNHNkuWGVbbuK9HrY6KyyNOs/TSH+yRGxMBrEkiDSuE4n1AjNBrVyeshvSP1
rSLkMynSh4pWa8zji45Xr3PGcZfowwH0FKDmLvDc4cXr81cpB9oZ8CvogkqhOZoeucBGZbvIH2E+
i3Wqoq6mFfBZV0TI+IZ41QVgfGk1vxExF8s0t7DPULo685CHasw1wPPPTttXVxe3qnGLwCy7fKmk
+05HnKq6wdDHtd0eQpWhxIqecz3ECJOjU9Ow2pbDUUTK0TBzwVhLdVZD78HUfoZmfOwGowl6U9tR
rvQvBY2Je53XZhRbAdY7PLLak5XZEey9+VZr1Klk2fDk4S9lsMczZPYWfoVpfE3pH6HsR/GifSLU
fkuHxXAS2WgfZZxH93z0sKP2rdldTRvUpQE6iSrTHsY6T2O564RmIudXCtP8kOxSvcMPhO001dOb
xlKh5qROICESfj2qOHHCd0ubSZbl4i7m7AVmWXbuRf+Lhdr+mMP+J07mJznhYphmJq5ybJ/cYYby
NRA9SnviE4YW7RRu2wXqMSYcSWt8upBfvf0IB3aVu9qOgPi3C7Y4A68RJdGtjeVbNbXEbUlyGjp3
XQkkdzXUJT9E+NIsX5oN8aro2RC4LRY9fkvWGr30G179VpUcDN3clWq29TSKIs1p5mBWVLiIhboB
783JVqHpYEDLbqguMeAtrUaSEKbEt5x4H+wFyV3MJRGEghVylt/VhmRdY2o3CNBfnYExPTKix2zJ
vxEmuMV+CPMDdHSVQTUF1Y3flMQC5XfKWnGKhJCyNu3sykW47stiR8dvsys58UW6woJzmaKkySKP
ttgCAHad2OfGDr94aZ6F0nlUNy6NKmWVWhddG0x4zlm1LhrH2Sg8r7CHu01Xsza18seoklB0QIJP
gTkQVNThOWGmwR/Ie38O7KqBgNbjmyJg5qwoyCg+ZWZzwpvK8da3s0LrzDzDflKm8lPMuF14krP4
IEadnY2Co5E2iHlny7k7NjyTOTuKwqfolU44u1V+nSnstpLDq88DndAk6c1TZpHYqAsc+G3G/jtr
ps/eptOi7VkrNKHWH0iLDP7ccySdLTPFLzhUu35WXe5Au31WVMfdN1n2lC9hhtRNwiASQ3HSw4LC
ZLNqWmvbJHLO95XH7T960eytRRsV+5bdcFhy9U6KggOwoJSG4NxMEV5fU//u1EXI3cRdy69Rasds
SMNn+ndmDPixhpqJtkoYoqUsOVLIi7ZKyutLZw3vhlbJmVN3V2lXU1xelgfoCSBJo9/SHA5Kh+co
XtFEvJ4m7b3qx41XD9s2cWMioCTLm05cm0K88+zHwJ6dq5LuQIPo20hXNMEewlHlOS3TC8903t5/
LXZLFprArw04eWgtjtKeQfFj1FWPBU8pwuKsHtYojkBoE0bhpLf/WQsarJhWNZkdia85QSFzIEwX
qI6CcIC5fE70CXvRuy0nPQD4xfqVAiROv+6UfniG8wz+C3N2/d7nYRsIj0ewMFyW2rn7bofTo3Op
/TRE8c4th3Kt2gzPpvYOqu2pxTIEOgO0vwUrzvsB1MOf6HkGJC1NmLWs94VDcWjoPnm1EVg0VCZh
/mU1CpAzk5FCj/U9AIJ3py7f2T4fDLxINFDuO9ZsqeHtl/282yX7tC+uRUdCQA2PeWPAQOR5zkBA
2clKx4rwcMsZI+1MP3w211ngIK3uiMyGVxu6LHZKckQObbc+S/w8TmlDAXu1dpLsJcvx9iwP/0DR
Q65m2MgXu00pJOaE4EtX42ltdvIqlXreqnZMpUTIFdl31clInGGXW9Uh5l3A+sHQvqQXEmdObCIY
UWaepVRPzYJW46Qjkl0R6r9EYIv4KKmOUvcCZjWQDmwxG6KAaGtBUeQHqhL2MQWNZS22Y5r+USX2
2XA9xAOJO3U1srI04EuOik80Zh1lXzUekfQoxVvCrnLmGNXZollipxu0C4tWnE7x86V4qU0M4lRw
7Bt9DGrmKhTiMnDa6qe30++i8MfqgyqXwGhZBduKz/KGeP26ADNh9Twnh9Y8FwrzOaVVYfIiLHKB
37Ux3/sYX5AKmIUXg85bQhdTAKzQT3PmHxrr8mEOVKS4qfub6/ewujMDNGy/KAenm5V7kOHbjH7r
hVzpTNvKYnXhwcSKSU/QKuVGz50rdmo9+DbbA7JV64kaQxS3Q9Fzt7IhBehNqov6gyXZR9I1v+VN
UA4/dhoGPYqVnBGi7Ic+A8y0P5plVKVWPBSXjqK9DtW1kWQMAqzGaw4HVU+lnML++cJthvd2PQLq
LQpt3Vl4VJa9icUqrdtPLut6NriI/15eXW0IGOk+IS40Tso2htyYMr/K5tg2r80kn02HhTi+f2pF
O+jtKgn6faZzOiKdYmtB7lF1l9UUyH6HHRjAViwRuCWXq1avs8mzbtK4ebf1AqyqXm31Vdr3aNzD
JViXhr7veHPSJJxWkACy9KOMxwsB+mVXRCxOsbc4bM3C3npfDc5bmPn7WLPpSC0+tYgAUhimx14w
7nX5hOMzfVT6Z27jy6aHXfSflPX9MxTlm5xJpXN0mebkOzTEofNaPnlxyqFq0y6XjPXJdfyObivg
A2JWNswiW5jenJsIYc7tw5AoG2yWVkyJ18FRNxH9dwmdiyNpSfreVfqQOiPZ2nQjeUAPPPlolIfB
gcvCWMyWMncz38vurnqfSmD4yD6lyxFjrWQlfyEQwkC6VE2RTZ453ij4S/t6Q1ESmusjtnciXcJv
CkfRae0VAe4WPMZsxrQtxpYFDbkJU+oYNi45xQ4PHLgC0kpt3B9ypEratQ4uO8XwFccNUs6LQhey
20WHWVRvnm6xIuNJbOFla5N2Y3satXqcvVk7mPwdKQiSZKu29cPpvE1e/ONlXDbvaCWfXgkBqRz4
FROCbhrW69nYZXxJIn9XufqsyPhxJh70df/eO1XCpsDG5Tnep6WAl1PVrjBDnzltNzQsHMKpwGyb
nSanZHRtfN1hSkqio9mFQdkdTBpxJ5G+FVJdCBr7gXi3qXi7QsW1bDQ7wjVfVqadY5uYXoIH8MtB
M3ymbkhQb6DT25wVbYxuNZfRt21WPTfexK2VqppOnI31PWb38DmmIYoDPvYcH5GZWZFj8fhKT9t4
FpJzfWLWtMdAqiH60BS/UZOBD1IAWKMo4rgAr/GMKq5UP5p3lFoTFCkNAnLGX0vWv052y+TYVtlR
yX+pi2y80W/yX7V9V1j8O/JqgIoH/LnTaJ6Mun3c4ZDrT6Nl39p6/KKBh9ivi/zCQOJt9AUTIquE
11bmXRpyEdjloB7VGlibq4nbK5T5Q/WGR6t4h4bVIfrM98xekmRJYm8icZNcBtwfSUSRxEmt/8Xi
WzM5y5B1sSHS4LMYXPgE88MsHmPH3DGK+1yhOUiscthnK/SVZHJ3MG0nHu8mUpsl6aSBXhMideAY
q1C30DxEexzFk4l6s/yjuQD/Ov71TX6DHb92mGWK8jTaB2FAYJBPrfRG/BIAqhTlx+UKs62r2k7H
UHzV9nfhXPSR6IxLEWfa7jXdOKWKuBdlRhjOPQ90IJFjGz/MZrrV2In7sXmx2odrIbfGEtZ/WgZe
nj7PvfJbzUADwvo7Si6R4C51vYM6K79JC/XYAxk6SnPxlfgpg4abVi92RANHq4ij0dV7uwt9zIP7
MEK27kicr7BQMpZSCYh5cNVauIrp8tFhJUAR+pp4eZa6su7VT12crBjbKu+bz2RK2Ki9uBnvC1Wg
JmItGotTps1+juwCaRAgjBf5STgwnRoBJ9G66u6F4t4c0mgOruFOsfkABz8Ks5s2sV2wiunAQP2a
aNrVYpyjqdLisWO672HrPmmecoYZy0/I91WbOpsJysAsGpzPtRaCVtfKD6qG79hreRLAb+cdV9WZ
bydohEgt20zEzrYA+bSbGoIHphimG3jbzi9aHO+ysl+nibdvOjBXVVQdYinVM+oI2VxsNDkXwtdT
p31hLvK4ByLdXiezFncnmymTB7UocchbaEENciA6dgL6g6dUNPzWrCG5xEAjPU12JM6uIwbdj5V+
OnY4lDatDK+KnCi9op1nlQzYW0Fq0RKBq8zRwcSHY/Y6CEAgxjReXPS2m9UpLZINVIVVryVT0E8h
QXhblf0bAsdrkZfo0nQTv1a6/SsqIuhyRF+O+V3TTdRhfDZ1vnQ3LH46T4HjplHG4OE8kBgd4loL
5ih+WLhapq65dFq/11l2TajBg/uUtuo/JU83ZVVxBSbOJsKhQ6nbQmrKD6Ntz1zZRLQb3eONxH+S
jOI6nXjGWg6jX0nlwpjQ+TubZFRGDePbwJlLhXLjiBTWDsa6hhk0g5lM0xWemXpWb7Qk/6tqC3qI
UrpsALwtJTLbEoN26U5bBra1UcYBtSBkKXHns4qAc0bCVd/A6Flb3bli3mG4RToBCMM7An3myKrh
RH1q7dyBsxFWeYuPUwSktN9jGyoKYiHo6mrDILbkyf04YruMMhTWDtVLciU+o3Rnco6JywJOC1xg
sQ/7oA/3It0rGH7I5YKRghZV31TN54Cq34FIpOPVKA6qF3AR6t4/wz7FxsN16Fncii7iGBRSHrtY
ZhDJsuioH1oFVwvL0tc8/6g4UY7zu3S2av/TuOZGHVaoHULTVrP5w89hgtkuvdceP7nGzSMllLbe
ZtzQaKIJdHVTkQNnl4nHeNp5PFPEObEC03vU0zZ+YmkitHcCnk7cr8WT0a1NVm1lkNA9IjYpJswj
0hkklMq86a9CPxjZzpjf9YM67KL4bLABcb4cZcvunU+CouOVg9mKhC937HeUfSQj8gIb3Vj81Bnz
k1B+Khu1gcOOnfCxU+7T7qYO51RroiQ8+mrYlNreJp1N7cs2a6nzw3xYtg6ufu5aEKbkYcjuDL7r
4gmEKBb7Or9oxCpj2eToN5uyaZcwBUqs2RJ7yK9dxnZablUQObCali/YSTHdwqVvee1OHrqmG/4S
rfGIhFYWUhLTHTCuJ8g9+76PbwPUuL58rhSJi1sGZKkD1pyrcGCbXt5c/XMkaGoUt1F9G7we93Eb
SJOU/zlU5LVcRuyUtjPHVs6ThNIQGVtTh52QV+IDeTTDeOgJjQePEdjFXxlpfmz1DC1/afbP0p/t
+D1MLgLnV6tt7fJUwR4BMbBbxIa4YD9FwEjpf4rxs4iQsDGPhdLheqw4cDjbijalAsNM6F5lfo7z
hynuuRF4bJ4ykPcwIbP0mvYPaXRBHaubeHLYyf8btIMRA8k4dCWXxUywqEeaOTfWuBvbaccph7po
6RuyfXel3GcD3zxDec0WEEPaWkIFh7izm/j+FU1uzdRhY/GnEarLk2k91Sziif3lXcL1kaaYiMjJ
p802IVSztEVnvPy9wb1MIZuUuOb8aKJxOxs5W5jsbY54R1F3uyYnJDg5fooNYpHIoPyvukHHc0WT
MqsKFRMMFLIpqGmvD6mrBgXmVwsgECk8Gme/r+hf1vNNbtkH0xv+8iHEuL9YuUR0GdhZRHV5xKnh
V9W+ia/sY0L0JB13pBunxzo5CR54Cn6y5r02lMNiDmsbjBJd1FycRt/Tr36gjQDWgXdIjOoULhgO
vds0LNwXEY0uGBd/ak6uKKSmsWn7J1Nx8bz6fVZxCMquJQqZoJ0LL+yuars/+s35m+eKGj+rWucI
4M1eM8LbVDYnCZ1iYrKDybsRNasXjF94xjO4YZjJsD/6Q/Qz8LwcPA7CS/DJQzOFY3IDv0ZMwq5u
hbmVzl2JX+f+RTGuRqPi+ic9k4MfcPHOn/qYFnIykvvc/M7L9SS+RUHTNbB5vALYuqiZ4vMPf123
fp8Sdj40KkOdiYM0e2GcGaKbwPSogmXQdQBDG6XO6d8smbfUjl7WYgxcL3qRer0WdCEgSd4dzGqN
teThzEPbw9qbpXoAYEr4RCfmluN/ubWK/J0GA+dJPGHlTIw16ONDKpSrF6UvLGigcPKZxhlruv47
oaGA1bnhqz3xwST+YDG1mbA8sbug/JcTc0hcIQa+25XjI5v+4+g8lhtHtiD6RYgACn5LEvRGlEhJ
5AYh04L3Bfv1czCrNy+iR6MmYW7lzTxJNL7r0k0lg52tjK9NQbuaUSFlugk1thzLWP1RsDTsHMC3
C+o8PpRyBiia8ZYo/3emhQO0roLnqLMfsToh/HGWt5fmkL0XqU1jmkP2Tm8g3EzaggkHpU1bmj7e
STbhhJTYM2akbHwGIEKoHiGYf3pVXSkBOYL9qGH0EUR3QhZqs+dIe3Yy+DaNELKuYGVBt7w3CXz3
BkUfcMpANik4FushfSQd27YhG9EcNX/hN/Y511R820pEGqwFi1PzmWoux2q2rM+QZsJWYKfuqPSI
4gdK/MqtsPczci3dSMGXTZAqRW62rJ4mOt3YJBYuaNHrqB3ylZ/t4pnlb5Kz0l9ZY7WMQn9boLYt
wlF/mqHV0YpImdhopqjo6LuLXinegQB4ulKRJ4VbUNSTBh1B1YiQEFa1nwEvDZS+Zw3jjGJIdvLu
wTdIZ41O+OZahBUt49bwa/u0y0k2ahNnCpOJvkOA6Tn+5IVLGaGp3qLZPs78q2cYEfDcmcXodQPz
rwY71tU+bQEuRNoDMwePpYjTfR7w+dSJIHQavgvd/eh9/x//TYBr6crteD2StcXdIjLcEKbK3Vg7
kLzIXk4t3D0tjgcCSuzNcZ8usLJA6HXnpbf8dEiWp9M/SD2rxlevZWlfIx1zUl4vM9w5eQ/JSyfT
0MIcEhNIEMkKLcXvBXt+k86oMmLhesF0wF2qGSRCqXaWwIoIYLzZctzVbV4uGfdIYci31BT7HL9n
jWiQdeYl09zLFBqsvOxzGVyo6b7nGH1sGk3U6DCJd3WgYW4+VbsroVytioQWRZMpTePxkgfMIOei
Kqwp6BHOzdceJvPpsB6Z4Uj4x91XaL3K6KlMZ2G7HgJOzJau/2ynDeP7djCWCZ+wnj7mrNS8odCG
FWHzMbww+GlGtirdfassB/0nErcWybDnnYkffJpey3pd8wIJNY5aCllczt8YWoh7U3QWght21SMV
LovMQT5Tvys+WWM7um/h+O53rOo+68lZTyBQR59wJaF6PEHE8OjZipa2YIgq12V5g9W4gg12ToK9
HT2NCBM33DE+HBddxJZiA4N6WZb0hzJeqpqFjJGeTftGg3UyfRL24lSFy7x6pomyZS4gdvObG9FK
oMzFwzFIdgktbdbnlIMrGDZtTD+9Ren32Sjw3b8bnXNQOet3XwPbGJOVqeITlkL35UXBXY/I8tLV
7jpPbo6P5IpQ2Qe7pnjJ7A9oV57JCtKPQGzyUkYBdX1jq0NmH2N3SeViJjcVrTNjG3iz+7QzvqJ8
WweYxMmgDpOny42q/HOnqzuxIYJPFbwGdX6BUJmp1waDTKHvDc6HWbBxa0KCXxoReSv4N/QHMLCE
+XYyO2nDhqRhODFwJodY/AXx3u7fBmz0BoGY8tG73BNga/GGT2V36DH3LUA4RUPllTAwbWdRhpc6
eur9NaN9pzgGI42t3hyngVARAjiOu3dFrfBo72tnN5QfMUIPzX/ANLZ9AAZjbSv7qayW8GJslrbu
LWcb0zkYg65x/mLRLp1hWCZo15d3o3mJ3btNDC+xCQohyVFfdq4eRv47wO6YlN9uOkpmKeSwmk0e
J8OAzUOFogyJKb+4I4QCZR8H4SpglS+yV9w3HejOaBwXHeZzOgQJnZk437YuRcgZwKVxIlVhr2t+
KtazhQDNNnObA3GprWsv71O87oc1OROjP/XKUcfJiM1AFr9Bv1V5Vg8fGgOzgg6cq1fMHWMFq/IH
W5nC9xdvkuSTn2wL/C5scgqM0ZKILFyvlc3yQGDwUo3Qs31SOMzttQ2ilZMZTgtJJrLYzbJUGq8J
7gfiQNnfKtW/tBLcS/FjBSeDCAC96Iu23yiRe0ZPncxLUPyK8Kd0gCP5Hz2GIdISpBj/yvHdCn6V
mkPYhoTKskEZQVvgHIn7nyxssQbolsIrBzKqcQdAZPrqYq7NU19jEcDnyoUizFe89q2/NYtLO/BI
DLYSLmSNly8fj6WyD4MTTcpN+iqUjqjQJ3A4f+Jz/K7aK1fCMD3aAK4shFrxobAYL+WnCoqATJ7M
bi7v9y6YPDX1VJUa93VaQ+T8SAe8i+OPgq1aj6jlhB/4LlwUSbqH8ksf87PHpYQIMX7n8ggQoiMK
YY7fAVNgWW+m5E0P9/NaWtcKaJQ8HiGBdV5SRhuUIY7MocJ68UzuTquwFXh1sBxwxTaHpD8A2FGr
XTGR78GdSdJxYkDmUcW7Bjk/9hBNl47lyUtDw+BkrcxiZWZgQ05mfR6cq8SPnWsP+7t14HdsqvHs
t/DQLzAD4VSeLa5bPXxV8fCOzq7lzQHKcXhxYpiMsG9J5a+mYNczerDm6dvtpHg5eI15PF0OzoIA
4xCyCT9ATa+o/kbzM7wpwp/J3n2do9dra8Z2VT8nJSrrV4HVx3wVYmOGmDvJSfLR/pIJJhCD5qgK
egxBhHl65PXxmfL1ZjoH1XHi7zPAKdwF1WvFhjZ61waYl8CzdfaJ7G1iUlsUgY4BOm990rWfOGOg
EOTnsW54AdVPRbBAJV4Mee5JsvNwYOFRIL5FW3oCUJTJxw0gMpUIN923Y45bt3kTjbusB7LjwdI0
n0CNiMquZx5E2qhbekD2Y1tjokAdoN9nqfYr0Gbgo2XxoLW6YDxlzVPEG7JSOJ43JGirOxRm6a5i
NV7rQAz9j1q8CLmwCDVq2TqP7hH06ZH1/sqqlx0/Gos5LOkRLY0gqMK30CRbxtkW6drdiQpSxJ+I
jhh9ebha4SNWTniUJbaNed3Ch8KuKVpb9hJVQFeXFvMtlQKCjlLeRCayqtzhuxqyNzM4hnzC5FLj
ne+uh2ZbdlvQfZ1zJxIgzR++PasisIQqs68c2o7xF2Bka08u4kTJOVCFldkchHpTRXEiNpLmvKG3
ZOX9el+gO4zDcwZOgDit80dLyS/1kJYDR+Y0sLVqk92IaU9Xd4lPeCS4h/UhSt5il0x7frDrp17c
guZSWCu157MijjueR8lTusnwjiGOdAfLns2xu1B9KXjZ6MZfwZuHTUT+NYReGIH5RLXnY3Fecvs+
qbfMfSvdlzQkmcGX12H8/0zJIRnW0WAjQylG/eBNzVuR1N/Nqfg9iF18De530EQelbAVhKHsII1X
uhsKIIK0VMawvZoLuYj5qUTu1XNtWFUJogdwQF25NTUG4O8xvPOmYxOzR1XTzEPLn43DbTah1lW/
sE10mlo7zKtv3H9tfq6VUzfunRA9plgZzntRHAaIYRayh3YQ9sGNtq77FZrPMLozBun5V+ogqN5J
thLya4xLox8CY0tKPZIvbkUZ2NVwTlp5tSE68thvuDdSfgd5ruQxw3NQf0869FcumFY8yu5Hs689
z2e72UZ1CXaagBVxdfHeQ8ZGfFJeLcZck8R95dy7+gR8QDBWTJpH+Wei7KLqX6u90yK3dPRfHaeI
+2bn50jbEJEhSCPYLnYMgfa4E9OuCd/pS1zKgSjmTenFJlHqg63/RtPagMxvmZ5eD5sK55HqBB95
HL/44pJWe4GXgN4zjH0zAm+nc/kw7uWvPJcMHesDi1DiUCVJX7d1191wZDm4xGHeV7TY92vi9Aui
Y2vdeYzpn5zW+Ee9CjYnx1VZr1r/ddL+yv63yY2lWn5FTbEMVRyq9Wcc/CYjqbCEVtVD2ndcvazg
+QEGSyQU+ZCCYMEfUMtrrXLp3fxWX5TciLH20sQvgQE2PHpN7HilN+GDB5jdwLMLNnp3StW1U+z1
xqMTnSVimp9A8y4AMwTlS2o9B/GSYFzUwGmW7HI9P1/TzrYZsepVpybZNM0+RV0T10R/hlRiRxs7
zhczxpNwEajLqPplrLHYsaAmjfkcUc6Wbc+7ERlRZ75KoFuOeCeBTAzvFgucJPyngjw0guRQoyoW
FMhxZMWYWMPPsLliW2Y4+2wV2TqcXnGPUAQwYay2WiDIYNHtb7fbV/1bE57Q1Dv/4iLLARoI12pz
DHTIBQHs+zRYiGHRaEA5OKjoyaaW56JcWT6bImLBLyqokeTaVIgwVw3CZxa90zNARIv3066SV2aw
TaUcGvtd819Ee0KQHdSCv/jRBathtfu8cGjh3UwGUwgG0A3PzhS1uMcR1r3RDMh2yeWUNkXLpH76
7snJpgUZMox3i4SwQ6CBYjtqiifyI37WMn+nsXco2UBIwD48Esx1AvgI8sUmEmsI8U3zFKj0KgfU
1tmWhG9IVMJfUBcKLznzpWRlmn771r2fXmmeXWA8cMRbYe/jkifgVcn2irPuy2qlNd8dHEx+Y4lk
e6zDbYPkHnxLjMeEDkyBfdBfjxXvZcEy/aqFH0hhHc7DMv+nTLPqxrXPnDgciVaVzlVnBo/NhleN
xlSKRGxqp0r5UgPPrLy0M74Tn5CPjinFkB34iSfUpQqCdt0hCJb7yf3u0Hdmvng598TXhpeGUH09
CISLirQgAHwLa8ljMHkVf6eoyj2YRt6nQUZTyi4ONf5cFVxlzLO8x/QQGTnrPEselTbZ2A1IwKJ7
wZUKLtXQD6nDo6GRiN5NPHpxP27kBN5ODuqqz/pdleMqS/NLUtV7lgjt0ghAzwXF3mw5wFviz07G
DTtvr+nDYweGNtW4yAegi1p/DxyJlMxjUJeYz3g+j2O3ps6z4VYgqFc0Gw0PeYejAGAYD4VwWCso
HabavgKJgTuc7zDgfHVt/K/x+yPI61Pf9NcuTfBHzOkhN7YQGSSbTivsrvGsyUbNJQXsh1kVCOX0
ZTDzGPHIAOyqO1szfpOk/Rtrlou5Wn8miCyB25jrtmPzMBXk4/Fz8vAw/pmsuuuZPDP31FOKuGGb
xkWRoIk2JjlMCWHER7hOdAZlYllhgqG0NCQIMagOy1bBRBwG/TmnqMFuASa6nXgKpL5FYOtfCa+d
yIDUptD9AmlYBYaYWLREiB6/EVaiKTL3GqSMRa0nH1OirVzS+OnkfrR9djd0pIAo6Nnlj8fWDb9G
bDOySr4hYQzRW4ikgmWKBBTvD2Xs93Zc4V8seW3GTC0wooxsBAZdEQ8sxqs+IlWC7mWSWcd2C24q
AOcSodMgtCH6aQPjmMBLpajHzo0v9hB/jpax61Vr6w7xeYhiT4mCbtHiLNOl8+4WiF+uI/7cVFsr
dJJDNMNnx84nNwWu8/wzV6dxFffTjbzOD5byg0uxUhuPxx7zgdXziKm+yM5gG9HZPfoQfCQN0S07
gKnU3qq8554dsDpzpYOLo07kOvJXzbigYmqHcGssLTCbnGL7s5pkDPU8TILyzvZu23TNTXTGv2Fg
S2o3J6cTyN7Dv8xvr2xHTq0C/KUCRtXgSbXoEoujYA07fMc47xElWTCGAMj04pl2T8NBiH4qn7UR
7EqtPI5WoS5UZr6pk8fAmWlCLkXa+vhDrmI14A8JeJixDqgw1eHrmxV3NN6uY0Kkq7Ke3dzkJ4sS
Fibr2SyKNkaRz7hUVtHxmZjCgKLITrqtNwYjbZi2J+nER+phCFUEJ8qdvDgAidFpf7BLV7xyL2qG
VtUZ5b6s0i8xNQwCOtxUsnc0PbBJSggoYwJhtUHPzXfTp9DZRf/AQ4g/zQcLVvFwhYAx0KZFRKHe
JwNToUQZMkhqu2q8z43RQYon7Jgjv4/qa2dGb50V0v1KC5hbAaiTRICpxugFFGDtM4+rJd1LqzZg
gEqa90LJd1EaLYU77N3K5HiTniIVRXu2DoXxGs2UsnM2UDN31sXAFwx3X4Iuso0nDVB7X3G2RQkb
RC8wTGs2lgpCHaVeW56W6CzX64BNgwtyq9WaU9jCUrWzi566Bzcfz5KFR940K4BTFAixlxqUApJw
TxUuhU3wLd7K8V9oFqy9OUhhUpl6zx/aVVQGbxZv89oONiXNRhE7SqqJ+Qqn9YjKa8OHgSK5xB4D
08zHfYOiqh1iUviDM65m0G5mw09Vqg9NDXhCwSOt4bi0BvwAji4zOwJ2MIRedEbC+W6cbXD8b1oU
+kytvboLXh2FvdjgbGpVsCMzN35FoQrfMfVniyyp4T/5qwxdYojlsovSG9hrT1HlqmGu05SRua48
ipwLOIzgepmYFmtUMSPA44nX8S2P/S0g8WVd9BsQ4lttHM62mG52bl1aI90Jh0W2Frw21HcppvPS
CzwoiUS+HsMXFzRK0uNNrpVoF+Yhxbkm41HCqnP+8Mj+2OqTvTbnOmPu6PB4lmK/RmvGA9sKuZ98
Y0ERNnQtjuy1ts1iggl5ugbXzEHbMVatw6dBUlEU084JlX2pKAczq/ZSRCdDy3cVpD3flvsYjGTZ
oAE5+qKrqn+Oq3quGz5Z4K9HN/b0ofQGznfEg5c6zSgF/79PuGO0hqWtvaeBAXmxPYGRPNEPxAWi
bWWSr5GMt2YnbolWM/ILT53Su1Wyuu5AYuItcxSJ9dr1lJHjmOvsUrgHCl27HSSxWuGoNZ3whAlm
mP5lttCajr+dYB1VWvVqxsM1aOy3otmNyo8mYH9t4uytVcFnPzT4keqXUswbGm+UNrsfmqXSHzv3
ryhPE3cAqJr4WSbPEiWnrB5xAvmb3VfwI8VfQxi38CTdEnW+Sdqrlv6GDPn++K6g9EiQKvuE+oqU
xhT/AOk4jn7KCRoffNuOgcgQ3zlaip8lmy7eY4JZ0/ldxV4Jv3BK8jcNvKCy6eBLuaJ/GYnJllso
JcsiqPeZ9u7CGPM/XLa6rY5G2zF1lnSi8C/7KCAF28t8+EiAh3Tnng+zqu5tfo+SHdSIdRcC6Qs4
szMzu+q59APPTt9DwSZ3jkF9msI+lvmBcrdl57PH1H8paMrUZMkucYoRPlPQfNhCxE6L4P486vZo
ICMG8wYdkVAoLmae1cD1ZeYuE+i2AM42sAPsdna9U2zt2lXpuu83kAEaOImwNW2Y6rG27+W2ma0x
cwTXZrsmFmnLggkqtkFjImSb9itzVqZ/xKzKxtkYs/vUrvlhyXhkfUWqBug1QY6shJzhH6uWBPtv
BT0zOeakv+3maCGphRklFjfmEY+idmx5MOkPxKUrZxdo+pJA4ExrhUDmVLD5CD8aUAoESlHNyopc
W5S8F9lrw+4ICO0qzv5V5q9Z8clUHK97T/IQ0OQPVAGm25Uo7rpgATluZ01oNtRT2J7uicJiVO2W
TrUR/SZDz4MzUA+vGOGWDsqzj9INEVNMJBj7yTMIDYiu3aaAtBztL6bV7X8aYnkpeA0hqEhOMr27
1XoOsxPLgqAkePLqOm8TT4i8fws6amcJQmTdCUsWdZ4vPT6X0fzQWM8Ngq+8R/8A3JR8O+Uz9c/s
zT0N+E3ttTDSxPRXK59leWh4rPofrCEpqrDkDogbWjIv/05mB2ABJx2bHJ3HaE0xFYfQ/wZaHIdB
eXaDc3BrmrqTchfWBIA514KtwvAC8iNYAiDDfR4l55TEl3QsDAivjT5cNNR+xUKkwReVQZOdxpOa
2Pck3xUYq5BnkMcDu3qp+2aRsEFohEnQ2993A7qFWNsuyKM9lBKoesvO6pddstBDr3ZPnGsNoI2p
D+4EnOQVrvEirnPUEA6sXUoKlPbJGWDDcjwhAOIWBAei2aJLRr9Ya5Mz6/tW3HrpbEHCQ50oOHPF
3pgiaGYNWwIVl77FoZeBP59EvMB/RVAA569Ijh1178pW4rIYB8kSnewJb9eypL5jVI9t8hnn37IM
foFmLGMycXpnbSr9ohagHSENEt/HTGoWTLKQY+OjCN9DnhRltlOyVdKuXfNTC9kmEFNDUCTdECGv
t8pdkW/YNZf2eMghRVZqusoNA2tNulQVZBd1RX760LaIH5m9RnS8xOPT0T8M5wLk4BEq5irlBZuG
+069m3W1qcmuJcYlE3/C+ooA4lXTa+deTAxrQRx8FAxJ1vAIsvTFsaaLwoLIwg0iOndJazSu8YbN
6AkEMa/5bTDQoElz/Oi8kl3mGCAOdrZzycZKfmOz/6y4o4RBwbQ63hwWshUt6IF2g8pgWKGn5D9+
WW2IvzEMlqgS2HXr0bg4IjiCSfyHtOQUQHaGGy3vbEx/KvzS3Dk9RtpUHZZpi7d1tFf5BB3SB7Iy
JtPORHVoMduoE2sADuW1Px2Fle9EKXZFqFwJXhR2shtEtAbAsClq3HuDsTCrYWtG2Vpm0Z7YjJl8
FBxMibAW3O+EIJdFOX1MBVsOS7JHI53CKCN79uoFrtu0xF11ps+aJTwFBaqOf1RshD6dh9bfdFm5
GAQHSubeYhj54lB++CNsZtTqN885kQcNx5YI++GG6NYqaUoWwc4WPAEvo4TTIMcntFMNj5DUPqJG
2RvpQ4yfSQSj8yOKXny7pbLxX16vND5EAZmyoviFJfPayX8C/tEPLmOCskF+ZGTNTEcJcx9sPgih
dg9RgUctyR0wpzabrZl2xahLALuvLhG+B4BSXot5QkQCugvFqimvUaCnEcb9luGUzZhk08aB10M5
2znuW9W81IX/F9asRBrMUmHL3NnvFHIBdUc4E9oR64Xs3bJvfcDGdFb1iapwRxTdtz38Jr7hJSRt
rHij2zPsCD7vHGAmTvXbZgOOGWTTesegjapE8Z64+8ptBAaAeNzFmOowkle9pBjiZoJqHqN626Kd
xI5XJqNnWfU6UpylFopN15tcjW8uS/nMR6Hn7sO+WnPp2MasvcXLKvs01HvDEBNSeGwRGJENt2FD
1NRdYMSnRuVGoM02ybmqFl4MRsD7EN8xz2njadLem3oCrreXFjM2N5GOG1u9d8HVby4GDgXxEeI/
a+qHIh/onM1vzpverH9bkmoGcAL+KqJst76ur2TokDebVq3GiaC6aPJsYIXse6+e+yBhViX30E63
Vvw9GTelAO0+nFT/n1m8c8Nh454/aZOP2csCd6Wx67CHcFs7R5+vpGFWV9Wr/i8qy4VWmvv5jBP6
EY45OidZrea/mfuuVbDPUrqEdbwUGYFSDp3Ts2zekoFAOv4H41NTL5Ku1RQuW3ro6H8D+hVEx9TV
NgbdjUb9W3a01uhPBIx+hGF2StyDEZ7Nbt1Yzd6kbmT2Csds8JRPsInLKvzAqgRP6x3EAkd5eJKA
gGr7F2yHJj8jpXhVh3rZY+lDouzmPDirCwy2DJNnh0KaELBTM7zVSPwRRNpo2iTR2U2alWofdeMz
Y3NIEfUib6AuA/EPf1rijImtroT2O2uj6Mo6cVtHLoLZ88hYiRU2bL+BUaxLHQRQGG6S8UX6yoIn
h9a89IYgUheuO1peo5DSjXoWJksSdtlKwrpsq/oE+wrdZy37g8t2sJWXMPoKFM4r2SnxtwDIaCzG
IPc38mgGj83L4E03diWDqO/gaKiJlSa7iS1jpp4bdx9yduFTBkexzGCrGOIcIiHTnMNOVGgfubWx
U38rkdMbDmwUKW35jhSs3XNaGYfupMQ7i+XVWKeYwh8OC1LTtwAOqKhLFphLXAn85nO5l6M+y+yU
6R+Id4FDUgulopwf3uIXjLfW/Q7JXu0fHdA5+WyRA0Y2fBpp4PJLjUnVJwtXv5ogVQs2wiKNNpD+
C/9J7ZftfFVU+yhAE63h2mDLZY5VwMhmbE/JPaDMsDAyFqx/ZKtjkXHAQrBAKv5mh76NNh8EJAFt
sMsgM6aRvZJxKJqtwJ0RzMNxeozNkyb+mRB9Q32v5PRXXN3ugeC31ehm1dLLMEzLOH/0+kc5nUdq
gWaQo3sBBTKwBtaDTwjRPSQ+HuFKdlXUSxMfMcJrcNQk/MeL1lLgigtZj/ctu6D2z+2enOq6+mCo
nGMAtRQEBEnBVkm50tCR3R5KkgspfsB2NO3aatdY41KYP1p7TrO/oF9zptMxUtuvg5gHvLcURBRy
ojQ0D1RZ2f2OaJjmxY6u9BQXnEMxA6mAOcsPS7vm/sOtEy9RWNINT0U7SOoYaW/AP0RAQucTtL+I
6E/kbFOG0FSCnqL3OCMXjF6os6cxx1tBDDPrh3BhBohbJtTlhqchyuCPBcZfm1npT1P8adq6BL/f
Oby4pksPtqHYdIjVQAgXasBJmK1hBKQUaa1B6fRPRs3ZDANLfreMV2N6DC74WLglw9HEH4RKhHNc
59jOzU1TBA0oHTADYBRbt7335WcRvjggWmow7qFEpSh2WkjaKA4RBMVyQD6BYeNfsREBqroHAQah
stsLejlYhzhUX7TJuOyYJdTwwQ/lsU4yTe+voVybXcC8XGED3abWGvEpUA8R62a3Zs3tvNd0Grc8
iRqd3gwEbEBUEFkIQUPNqaZsO5v+6W8ZhnUhftIug30LBgKGdGMNZyX/y4t6rRM4GfCWpCzK5TeG
4qVfOgfm3KKNvKD5l+UXxTwV0AM6lpvJdKVVwU3/WfjUAvM7Dx8RGXljfj1gIweWWsfaBikTkoG7
ZSGlTaekiJcpwNq2dpa1evNLr6CU0nqIbtdxLh84/JJ36qG9t3v8mZJsZ4sBRqsDotstBQJAmzjS
9dZvhElZSgdH57cCYsktO5NVdH+mHG6h23zlcywiwXPCNe8AkeHY0iR7k/w9LrYuOUZYMoKSFgqI
AdDFtOjPkGfHbVfELjD3fLmi3Fq2/LOUZtfrObD/nuMBiD4WqTHPHBoW0KSCQ1NUOLn8c6dxZUXO
Q5m+NXkvnGFl5DDkziVVLH1z5lQXF7/4sozqMzcuLtnhmriGGBSyO/MbAHxBSOFrX5J1IO/Q2+9u
5iOLhls7wQMPUBDSkoUfEYiP+q6FzS63z1qonyzH91SLO6GU2dHizJ+4P52g1U6m4Ig4IScWkepq
VU/jh8b5zczMzWDCYTMkq+Z4nU/uUtPza1b+SEssjPCfAZ3Nyl47Rby0E2JTG3oyRgsGlOyw0GCD
5ejpoU4dHsAcoNKeBqKMxc1B119aBgyMPy4tzqnP/oTvO3BeTPaPgnHPZhFj8nIh6L6NACIQ0D22
kjclWkfzqkTs3Hn6zslivWo2iv1n+79O8hdZxTmREPRy6kPwEVVolmYLw7gyF3X6Par6jvDMNctQ
x0LAWXgboP4A5fKLmy7/DP13Cm8F+o6EJux08h4w9wvnx05NhC7hjcNnouEoxYwute8wIwtdFuu2
1Y9ubK97pt8ck+3EGX6Sj6Cttr71rkuXhMFdk4YF1Xo/WIDvZvL+uyreouJP8282HfFoxRm4MKht
DyV5UkmR8s0Yym9PcaE7/JPNy4RZQBp/rXtUfBgEN/orl6NDCyrQDKQyZ7y08U86xPuY5ZoYnk7H
8QErV/gs03gujsPQg9vESQ6BmFgOXCbolXMtiIsZbu5BqHgtTeqWFkNOvay7WvdLGqc4gGYdKhv5
f8qqe0mbfhvHlyLIAMQMeNURYMZPCztsvpvTziUD0rC3hg8kuIgPogrxSnzV7sacHnbarP3UoUSV
Tg3tSNnpnPeNtm21anLgT5siOvnqH1qq3h9B+FZC5xnn40eGUpXMTBTmsZbDArsDjFWoCjjLdL6Q
UawN8QCEzOY/xrO2DrvfsoHMUpGEIi0zrbPoR528IIeyTeL1s/Jf8QG73OGoaTQNrgzjn443D9bp
RON2VVyxKqBCfkPKYbvwQm9AgQmpCj+zuWzD3jbxOWLeKMk+zbdVvw8RHPQsyRbQAZZI4cyDinVV
g7eZmZqF8T4Bm5+o3UYav6bVgtX2uQFf2MZ1/knXCRayBznW7A84WY3nFKWggal+qozP0tQXxoBP
rFIg99xGlkEWr2XKOZuTxCVt6Ht92vn9yRd8Pa8cImZZx5KX1H5QE4nR/nX2R4KbwvNWfED7scit
UFMdKD+d3DEp9MqLjuUWCE/CR64TWGG7C+RAnzmruOmpYlQJ10QeD3a6RDB0enjWXRaZte0V8qkY
bM/B0anWh2ttJfZjh6nLdeSyNLt3GGZcBlt4ED7PJQK1Oiv8qn44E7IVq9h28ugge8NpvhYKNeSw
gTqDt0e4aOun0xu8ebYTVME+YRrfskrTOkT79tjq8Pr1QwvtiZgNUK1l1n2qBE7C2WiIn2ii4po9
hop37mShsQjsFhw6uosku6MYbxohtv+nKsTE5gojuWjfOr+AG7TygXC19zKAl5NvlO5h6CCvref8
TqmDX23AxagdhXlxcD43d2quFpp503UvbT86QaAG8czF2aBDflD+JFJZaT4Cd1oj+fc2V53KJDPJ
reFUN0FZlwFPLSTb6ucAPIL0KtsXW73a8JriZt0wh6t17vmzcsOWksSwiC5m9tckt8ku19akcOhd
txGs9Vl1OEr1gQ4V94nXCI5xe6N7spGszfce92Pgn0fmNQ7EI9CFjAI8p3tChaO77IsWyti1b6l8
woT81/B6hx64sUvsQ/ZWkee2yNeEzCtOJonu7oM0PETzKUX+xX64TNzkrx1OWXmPpuxeTD1EH5M8
L+5Y7Agsy75E0CGE0HSmOLvCxJ30miX6Cn9dCVpUAoYOUM1ZtjW3ATFK43f0w+fI/1gwQdteWztG
ubTEJrC+BYfjIsR1OFbHERM9LBOvBnjUWskuBC1e14h88UsXQ/tgWnKBSg7xbjDMNZyOdcq5e1J3
NZ+ANb2HWrto/OjaGmdKO55tlC2t2RPRMGrOnsrapdSVbZYv2SBAqSO0oqmmF2vTQkUwti00hnCh
MF+Zs1KSHENEJS1w9pmT71LSJxz6ueitZYz8aJbE1YEYqlI9a7Tr/sfReWW1rkRBdES9lrqVf3G2
sTEm86MFXFDOqaXRv603gBswsvp0napdEQvsUgUoy/mBqudFzHrJ5+fFzJljAO6U2M8otB4gpMWf
K93nsiAZ0R+tJjlMuCCHcDeS/6qWftImZym0WrKVoeCYJA+DhNNiecHNz6gAfyuCWfsej+xVrA6n
pcAg9CHRGexTxS0F+Bo5z2zrONsm+6upyiEetsoWtYSVnlJYOe0Tdk+8RQk+ioBwdJ+MpxRxK/SM
O9e9aONACkZy4YoHptmyufn+g89qmpjG3Vzs4PQT20k/TArSFXy4pUZXjxZtSUDdHSbpjj9cH4Xk
F14UNwvToxnA+eaLBFRszE9RpTF6XEyXmi286qK+lD7Os4fltgEHIeNcAlbAAexvZr5RbZLuJOJf
O0xfpJaenD5AnZXbhjt848c4wbBgT4wVBWEevfTKlbwAm/vFDIS9apWgfdSiX/eaGAN4L7UHS0ZE
rceYnQ4moEryhO7wpbg4wZwhY/qmbH9f+G/dxKVDXNluWpSE4L0HQ+XN430gT2X+1CGt4ooSTzS9
Q7qlwWLr9helGb65zlgPCyZ5gt6J95LSmzz5nMWD1BfdPVF5sk5N0M/2zWPuzyAoBt2p5CURcXut
2P/AxATTG2+GRKENEmfjqBn7dWbf9/ZV2ljD+7Nnb8Pg32SeKGlfuxDmyaoPILWhT8qBgqAYuEa6
y0XBsDZv2+w1RAjmrc48Ne5JS6yoOaZTavmgw4Pdapzy5PC8N4oSeeJxs21i86dzH1KT2jLSCNa2
pOIrDG/N9Eq4qiLhSw2mtE4p9qWK+2/n8oJEPGlP7LQwUcfyYOHV8EkwzniME7YhobFvxafDcxo2
qNfRUcaHuX0qyofaeqv754qJM8l+PfKk/nSA48DlJDM+Mv52q3wGu4JzNPD/4YucQlZL7qlod1MP
z10jIlh3PYawlj6rkn+g8NgBhw40pmTT/cvVr/L9be/xIo7YJLSL1eDeyds92LOsfmq5NzRw5TC/
Z+eGxZaDCV1vpIwedSyQ5hFyzhUuHvI2PZzATUcOEdHuD1r4BpFm2+KF4MMJtpFO4D4DAM7fmmYm
4DuYWKK/wYvf2VqsPawiA+ACE5Z/UFwC3JONI1YlznhQ/CufF4aoDtPYsCBHu/VSLBDQZmLJR+UD
0kMUNdap522izqMUiFj0ZFxUXO09ajOGuAAFDfyQOaHPyAC3VkVMmGAHfBLLhbpYlk9Ry5wz0LWL
Eui1mgU8osPA92PGh2mteJvtR25yZQxDCBAKhJ+DE4lrZ3AfpJkm7u09DY2H5v+XA1/nAXpHXeV7
I2/fAhPrgg/wZgfQGemp3M5MxdJlqC98Lmrmqm+am6moF0m5vS71HMHQvMw0pDh4R9ah5Y2nOORS
p0pInlSQbdNU7VNyJzL8sZd8jvgX6+Sc+MNqiKAqOhUPGbNGDZiO4RLgAyUYiukr20VUjM1AEjTn
VYNnoS3MVQXD3hIpGM7PDON+CyYcAu1KCeslaYghQjhT/68bMUQuPd5zhMLMDhzgAkt1QvvcZmu2
Iapm4mCKNaruAIo1x9hsNwRio3SP4mUQMmt1fGqYzIFjXKuy2zbjS8e7nmaFu4Xk4tck84ggFk0D
goFaPhMUZxtjQOB2G7rzWyn0U9Rla6DGeIqy+b005JZQ8CoxBc3PekU55iYmq+KK5xr/EvmBTaNp
znI1RLb4nljXoZ2fqrF4SWKOQNvDXUUCdCKElRL9qSJmdLzZqSIcpv2jZMYoQagLbmh1EfxBe31T
0n/WFgROY0Y4YD83Nfucn5aF6rAUpnhsERXPTTKqfUPvd5mUaHy9u6J3+maJ+a6HKMs5j7PO/gPx
9woGxcbJHvyYBBo8XbxatCt7U/5stfl+8oxLNmEAaxv3rMqsgnkBNZ9KXG6hUN2qrNz5br1pU/FQ
VTWGIFz69T/BaGIjgXrFPD6Bjrq2I2YjRT3YJP1fsoHXKsQppub8sWnSL5gAK2Hg9SydS2T8S1W2
Le3oy9PqXlaLxE3f6cy3pml3UWq8dgmHP6a5u8qIf3KA6CNLSzdcRECHWIneFlH6ag9ATYgbQkJx
HoLMuQnoNyw80GkwtzQsZrIelYUxt8JC2dDjMlbW0WReEJKgHWVhTtDslDczU/WPXeByLn+mPe5W
IFU99sjW6s4dfgDtt3t3CqCqYmw3jNdERvuCzUXM2jds/UfF6tgkujM0CQ+kqFfVhFOWAcDWRHYL
eycSgy01tw8miRomrIYwG+OsS9CnTUrtWkbfmS3NSIlRjKPXVKdaGTFm6Za8LhRH29p71JkEyj+K
HPrZSDzFek2YLzrKPCEKs+VwGE1wj+NnMOmP8JN204B0KFBcp3zEH4f20JCMlgS1kijdRouGNlNj
VRcr02yuQ0dpQ1U8RDMV0xomSImy3eN3CQd7aePaxDVm91rb/CLIg5Umdbc4mmNnOd6eFhSDmlxa
jCvnBkTj24pQSF0oKVMBcyhx2k0sSZinVXZMDTrRxcDnh/ZHL8XaDTOYgriCCG+r2tmmxVKICbfA
TTHRmPTYzON+6K0XaKErttXnzMyxXdsHd1I/djwSZaDIl0ClB7uM54b7lUGadxrDr6wpvzpVop56
P2DANvYcn5ue0vY6/2vy17xj2Yc3Mef1raimZHQg/BjFmDWbvcr1fhqda+HNz35aPyTmdMrT/jbp
/tQzYwg8RpPJCKHzVYESV496o+xmr4eR63//WDaXJkad9sJ0R7T2mAwJRGZSpHPN17TaEAl5M7vy
GEz0edXhdiwRraWlz32BscJWHArY44h2Z/m3mWav0II/zMxkETwh2/eQCQesx667FFmomy7e62XJ
Z/Un4ZrPdSoYxNuVj7Vv4IeVfkvnPB+bUYFK/tfoZLe4PsMGYhgffyiK1YgQT6X7jW4fLBcAmAtG
lTjlIo9Tyx7Fkh6F7j/vbKYaCgK0Mg5LCXpVQxvrJJWZ4gk19nWAslBAT3dNYzMQiUQ3gd+kNzHB
t5DtlUEhjuFKJm9u/UiDdc1JnH8VUtzlttwUnrnR1dXgfxI29WlCfUfXf5qQK8uMSgJcj7LnIqoa
jn7Z3CytNpqOm77B5EBf9roug11fNBvEqL3hs/Czecxa7zCk6WvV2ivh85WzSdLnUKsKZXJBpAEM
k2tjh3vK6NZNYv1GXFJ6+Iy1znbdwHd1iOdbAlvsjrfATkub1EK8TZR5SMPmM1IEVFkJilDsIHNd
TJW+BZ23ol9iLVx7y3XxLQyBRZgTj39NRyRiH5rillFha2RQ/NPsXPYCsyxpBtpZgmTgjl0BcRgA
amO8GPEW57ZrrpU/r/3RuVjQsc1cIlSba3pbqEXhfUdHMQtsqDmUJrhRsU2JY5oZ69ipuncF2pzk
RZ0zORpj/8mNCU455KUsG+6xr15sI3qtjeYY1RURRy/Bx+VjcWrKb0fRKUvWke96iL6QgztqyIJl
RveCcvpn1eWDsowPlhunvDRXoqvZnUTnIdQPfp+/8qTv6Lrd0/t9ly/BR/ayrBeHs93xJgtZOdrD
9Jd0SPmonlzVNd05aI8p+RiRtedpMPc2uYlJBHydiOS1XvQluZNNMeV4DXvHqf5NcbaRBPF++Qqt
qmL6ijOuqbQ/cBrZJ5p+RuqyTSLwNZ1Oxbvtt+RB5neRxi8Zsnrl58Pa9vUBbOPVTOaLH3YPQCGX
ZmRkEz9/d9IlCTbos10wPaRAJx1CalW8NRPzscMJi3Tev9aoXBBVnx2nclbOgKk48/ovHcgdef03
V1j3tcu1yUh/HYplK2k+MAX/62vGTHLpRuvIjd0Sy64Dii/nieEr94iHuazlgowJLmkwYng9vum4
L62bW0BLSSBr8PYlIpTQioZLA4GoDtsns2mKk21OS3U60+i8kbwBopJ0BH6ZRiiG3gqnQQY4T7KA
RRPdxlz+IW/ydAbFC9D+nSYtELZsjmbLlGtth1z5HSKlzPnMrUMlfxevZux1PiGCYB+OAjeF7b0a
xMxrgn/CM38EVaVGBWm3SbsnjPsHBz//mMUQhWMGmigxfkWUPDb0ALPr59jDClSY87ubpF+zpH3F
D8+OCj9kQ8STZ/JCH8W7Cp2SYUH/1cLS3FXTjNAlfy5kO+ZWtE1y6/A8f1vL+tEysYzy0Yf5SyiW
0kIKJ3rbvVLzhxHKtK79EB0bhX449b+O4IobwUC06XhOXEal0PiY4vgA2Y/ltbqfXbaoVegTgRLn
DvIFv0UuY12XQdlJ/sHxJxVkBeeeQpCVi59ucJAcOF/9DjiMGHZOKe+9INzrZdKNFKKXXXs/6ajR
T/Jok4klbRvxErLETRYUYUYxZjhdAWzxr06R87lR3mYJ6DzVIvPK99RgQRHSDVh0EBIp/tbId6qU
V8GjlHjufdQj/XKwECNNt7OOzxN5rwhpMHX8O4MejbQsj04T7Fs7IOmP/4YN6dlwp7+htHcJvaRp
mF7xHC932zMxnb2lAV+iD2m6XlwWpU6odhO96dVIdnFAOcUwf2e2vJyb/LniTe6SxFVpeJ+69jpu
QBRJ7xAQ8gqCgUUX0TAmEQOjQO2nz21frPihH7vJOfegeXLNQerUFUA9uiUc6o5Z+EwJnTt+dQ3R
/AfNnTZvrwPGk5CRNDHch5b6KMVGjqeML3/dYg6c7ZgFjnB3uorXM6H4JpwAQ4TR0eDdJRx9wBH3
NE8zaxUTwTOvDkjZ/3xyW/SlY5LEkVlf1UQ9AyxhvslUnxA6FUF1LHVDvw3XtwKemsie6IsBktNv
SmYSk4YDqGxbb2ovwLuO4HLJLqv5aUrFZnbImOAlOoOyeJ6q/EjJ7K0ik8QHw2YWqFqSFPcGDBDf
iC54eflp+47GoWbt5OrATpAioJyABFb1xvD2hiowSlrflklZ8PRiy+61LrwbZin0//QH7PpbarL7
I2pi0FgWJBO0rVRyYYyp8+63ouFITGDQLxiotmargw8TK2D4IMzxg+5hHC0mWIeqBeGJEQ/ZvCXV
QGYPI8VUOehJwb3lo+06ur7HT/U5+fx5Fu5mGd7oJNwLYOmwRHYujLRM0CLP3w+hYGPLlHk3B6la
P9FfyOawI/c+i/iYw/2zAI2sBt3eKgzuSTuxHRnX45yf+m546qvmwaTfNE0xkNfq1qnpgbalCtwn
djti2Ylpb/y8f4/SeYNEs4FLvdKYXh0T/pFKFGhTtXLqCDIEhTrEHfy+uhuApc7ZTABFc+cf6r9Q
jq+BQvOh4WnnglW2mSFSQUm7mXgrSjMwGWQPjsxOESIlpkgdrUpZ3XLcv7aNz9LN96GT7xq4MTTL
2VP0mlLmyDPxUVrsgJpMH2aBvKkKMAO+JfYjvL4BgpxlmVcv0/uFJeCxWk4rY9tw77cL8G8yYuKR
91gD1/YCTSHIDft4Y0pCmMpZNwDbsuK7qeNNXc7boWFCnhr/PuHLMhcL0pybwlBPzwXZhcHRV9S5
k1IDTA/3whlNNiZ4csjy2CPI1nyBsEakciaLvNtU0KUBmGHqP3kDkPZQ/m+pNVDG6p3mv6OR9wc5
+j8VtGRK2dibzvktnswVcT9+e0SuJIU+aUKVG3Shuc9uM209lgzPo0f4lHLURDWbqqCNNicJFbY0
8ySPdLevyyn8k2o6C4H1lprGS2411LciAOYgn8IIPcPnmEqJ5+dqfgyo3JSW9YkWYcvhq6VmuRjL
t9ksaLd0HspGrkeyd6bL1qUo/vkzXtUaNRBY5Cc0FV6Ipnuol7S3SSfAlH3x0tspEuCxnaMvOmC3
Soh3w2MelpdRd6SK41MRkDQl7BRKnpmSJeSoRhBukTh5Orz4dJxalvUCTofiJGwwIcsg6WKLiTGj
phEw8bH9tTp3E4/ev1jxPgts4jl4DJsITbkoULLHD1manzPDuBHnR615xU/YxC3/DVY2hX0Fl2Xv
iA7HNthHLO5+bBW+eiY7/ZGTlCX51LffnUuD7eDsW6PaZfLJi5oDjOWXHExCORaEpQZCesyicW0e
genQ1OU+LWt5S+d7uzJ3BU4HQW6fePJGB1CklTw11bcZGquOlqpJdU8hWXxbcW1N4gc+NwYedFYa
JDdVN+1GdlO5sg5MKG9CWCALSn9dB98jgpQUIPwsYZ5NO2J5Bzkk0k99G7Jlcff1HD/OANiTyPug
XeRoueWLjWEwAQIRapxpff5ezxC7yD6jHbH5ShlyZqgaS+YykxgMrH96YlBAP+JqUepfB8jqitpf
0nSmfps7KsuT8artSq+5ZJArQfiPPHPa+qUDi5ZEgcVvniyks1ClqcJin4zTvxvbTUHGCQ/g/+6K
G061IxOZya5pofxZj6PBQT8X1nss4YHFkJpnH8FoBqgceSwkBmN8jfv2nb76TcsiuXbk1cR+5vmo
ujWdij7RbunT/6HAxQUfk2N8IqajN4DJHsdzXOf33ogJZio/E1ux8bLZyHy2mAyrMHnqeP0ZxEoz
tWx3whcsN48u9i7iIWuR04peFi+g0bF5sXu2xu++K08h5k7fwG5CtrjsItqj8UwJdZQJwC8+UYVi
AGHzDsbPSbvjvYJgZHefppwN8hRkzvoQnMhILYsaxyMFr3cjvPNwaB6dLqJ40v9I2FSalBUIvqSO
DWNiMhsMfsOqczAZ+d7Z8px3WDkvYV8cucOsZik/xoLXcOKsmMhGDB8h/46Fv6kea2s1O8PO8sPN
Qsz0DY+0irkpI/UbYKFsjIwSWx1+MPi9j3Z+GCwOM8sXuNb6dOXFJiGAsP6LBOH6MZh4A8XFR+WT
KsqMzxLAUVgM13YICQG2jwYxzHVesztmeg5x2E+nOEZrQsyEvlNsRiA6pJjWrUGyKbrCnP2th+lc
iCuMqCNyEi7gYF/R7IilLTwPOgWAgqk7bbeYWFaSOE5a0QA6UPw0ZuPKbdJjWRQAZ033LR+YijDP
x3n3UMK2F6LEmoocaeqTU3gt0Mv4E0rYZgz5wWBwlXQDKjqg2sy/1zOGFUxYATnoQVBkZZX6rHn7
qWFam1XKLrTaM/wzVsOrLD8yGNhzBlhqurjpTRnjixVNd3LCntH/5HP/zkJwOU2JvHJaFIH5SqXg
iSzRJidAU2cn3zOfvYxgD7S/eizRFYLTQPWxRFCfe/OQJ+kp4GsobE5R2h74KeEopHh5uQlt027P
fACj0YUMlc0YFVoIsrsQZjJZbBiO45hH0CnJtcWZQLWadr6FQTsvz7bEduXCLaLiZV8oasYM9TuX
iMQZ7oke4H+h4ktSWwc9I1bAQU83Mly646Yedx3piqrobxXl2HZDTFIk46OwYXZ1NCpAZfV19ukO
/NylqZ6Mzv2FNUf4NgjN+8HySLCGAD2pma79APwQemqaeS921f+YvLR4FwAgHcVfOOtdML5Xyn6f
fO9iJFIfzZBWC9LcQ9bveAEOa404urKHz84jrtw9x9x2xTDeJ5Z+5Ocio+HUoBRK65nkT7pxuyFj
TQExrHcoV0Poki5+O8IIxdIb4ymHQ9TqcM30rLalT0BRcFFMxh/PiJ9lUTw5mdPykvL2PsH7uTZ+
Ha/+zQqbX0Pzm1rZ45wgy9gp77Seml9eYysyKw/Z2H7EiXvXjEP+/2qnUHBlnBGEHIxEFgDzLpfx
pqUv/uAJeR6gHtiQfsJJW/cB66DOZGXAfMrsDmQovkOf2iQNe4JWEocZeykgLFePoVO9j4B78CDI
M+2me9MvL44VPdhdf7HJNLSTuc3x6JQWQFifdBI6t+MRL+pTvXYJ2RYN5OsGUp1v3bVZuo9dH0iL
j2nZRrp0KcBKAo8ncdgESh7TxDsowz1NY/4aw5nUxMSC3Ns7HJl2HW/1UBwjke2cxlhHTvjc42FI
uwZZKZ8Prhc/WJyHLVneW6jA+RHcE1hefMu5jrVkCRaUZPGD+ovCueVFBoeXID2lP/pFpRZLU1KS
dUwVmarmv7ziNdsO7EybRhz9jEidIQ/ERuk98DDIdMewQyIwxLPhGa+NmVEfm+yH1n5HK6RPMBx2
E1+Hqexb0O0ewEUMRqWkdKt+TnLu/LIfGQDBKAUlDXZOfTUFqzPdPo0Zj0zCuZCzBQsG79Uk4qzV
dFzKWvA5E2nKD102Xrt+MWkm3sZOzOPYlDcP0OtKyIjWChiNuKcYL7zdUNOMe8QDihaUVqXhYk2a
eMNNiokFKSUuTxN1kQBdmwqETqY0qmszgZO+89yIMxMBGa2vgnA38hkd+UM+TH8AKRyJQfbpi+zo
yuZRGd2tMfUeiO5bjvg2jD3DVR+fHcbEqBUTNMRfDo7UGHfMOQdVgEF3gcGXzQCqZflq2bn/3jve
MQ2SB36Fh9qpgAwTc2AFGLNji43mGofADewAgj5NRi9mPpJic1fhomNW9VPsOKdkWRf7NDc32XaI
bPp6q/2M4KczwvAgzhXGHxpXdt0UQuBcnMcTJV58dVGcR1syS/iY8iuSYNNPV0ynoe62NOqBLKLn
j0pvWS3dWRW+y9T4aUg3KFJxLv7UhJtwDcg+i/PzBHDQipK72iUNWahHGYOIGP1DSP0XdU5s80Gw
R9heCGnHafRQG9VnQZVM3aBQD/YlTRGk2/sqBhoi+lso+lcXOa1L6KAIxFshLHw0nkDnskkKwxYa
SVGE1WTdvEHj/uHI+1cHJiYoUOkA9mu6QKa93WPevQsHChZ5sZI+4EMhBtLorPg153qE8xX7NbtM
x4m/ExaLXUtoJk3WLeVtOlTwZdrHCvhHlWYnDrWti6dUpsVlYq3cZeKkIrqJmTzmeTNmxnHWF7n0
62BS1aIF6ew89QHoqYaPWzvVs0flboMdQ3JoHyBnct0+2rvoMXu0yQtaFuunME+2QrZIRv5nLOaI
IwvPrUfXBhvyZaFTvLl0mBgpDAKDqoQJomY80BI6MuiEnkOUhlyWyN699gXU07tT0j5tDhYZufYX
HjCehSnec/G8FQYk57EHTNxX3X7qso9h1huXssQV2eJrTUB5tsAzs5xA/WUFa/MdSg51RX2dDol3
oaTsmnpGrCVtV5Vf5sB/AY0TkWK+WrGFJxuzBGhJH4yUOcNFChzsp/ECnltR5sS3Me8VW9NzPzx6
hWCVnb9GY3ldDqGUxBCROgTjcUbiTcyaco8Jb44RQygp55lbFD9MYYds1ZyTgKskgo6a+HiHcxJf
jcjf5hwqQiwq925I4s8eP9IK0fZsz4PiY3V/3Np64qHa1QJJevbmi1Gkw4Z95b7T9YEY/53dPPes
p90M/lJc7TQFEiPPyLkjibRBeklQrHIk8Du7VXLaT5RRWg3lzloejKjCEzVu2olL/kgnS32v2wdt
5+cW0cKyNtj7AvvUzHgS9Cqw2oNO7IdAlisbdjI2WIdna65e2HUZ/H95GweZ3LjGkrkiaG72P6l9
HnMO40dbvcbVG5h4/Ew5Ji4sS+Z0ZUWKN5CjlNDzUkofHJrZ2taAzWRuvKgENA5viL7uj5XPHqqY
3gcwZmAvJcGLweJi6YdvoTVuOzuly6Z/JkjLcTdutMCTj4aUt8GGORetgpQf+nf4VDLljJQOStpl
KJr9qOv6KNOfdjbXHP9LRUeWTFtr8Y+yupnDq5BfRXhP+py0k2bRAB14cKitf+vsyzidY2fXwYlc
qPxbPM4DMRRedIP/18KnEdswvB9wRMxGejDF10RGXQUJ5WbfKa4lWB47hWrn4uyDQ7f2DIgaaPPl
ThvFX07C0k+OMbvbQsuL2yXkIuytIStSnpGxx6j+PHBLTjnm4xEwm7ha5qugRl2418na+pjJyIje
kaD1k68F6leL4FhRTBaCJAY3v/FM9VonFPrUo/PuGBCJ8OiWNG1R44MwdudS3VIG974Y/4Y0f5dm
BBrXxlTVDD+CeIyZx2zCEZJH837Gj8haet2PLHqMZN+woND8jD4hjtjbLrFtXbBzjMIXQ/6BYiXO
4pP0t3ayvZET8kYHDiG+iJEHB7N0BcFTRG82dva2DI6uSfJeU+pZm7c27jYDNVjB6H/gLz/k0CMm
T5DgcR7QZDfVCD02HFhfZzvV0P5tZf2dgxMsl+5emhIBsfsaSKOkRDCmRtPdgbV/+jNUs0KkkJED
zRpuwHuZbB0cBhpstdp1SCUDx0feWRePCqBS/0Ue13fF/ze+AJE9BGVB1RlFX5S/9xGSbAVZehin
DQ/vT8BfXo5/MqWABC4U8IVtaqePrYmswMhp8haxonvXOczqubA2Vk4P0L6qXtS09eptl+7K+cys
Nw8fSfXrQfwxRm+vQXnkPidbtI55A8WtcYxJDw1Ex5DsLEddLQ/OIx8/4U6R/rbFsoBWzOMJe8cz
faWVxdAP+xbFuewMnOvPHYC3+TrkF58osi2Nw1LGRMeMZx9kYd6swV5Z/WIpwlVKw1+QzoDY+fIH
AEHhntkRHLGEF5HKh720iAr41YssmofcNjbCpJ8DBi2dfSwcSaO17V7jNirw2kxhzJOS7hSUQGMO
V3Ik1pjBwe3bfwYpJ6/4naJp1w5cvTaFK/i1MA4FIHYZJGs4Tnaq3iFfvHr1rSOukATYd/BHtjGt
H1BqVYlr3SYtdO9zU5oJqM6QfBqWGnV3MTn7GTB2pdpROTu5/iUckCOouqCfc22W3tbDnJSHYtO7
2INHUB5amN/RYLPFToxTi5THln/jJh5E7hjM1HCfW+3OUcFTI6lDBwQ3EXX0aSlja/2oJhY9k3wf
OmLIPTuTEsE55cT6m4XbXUubCCP5FmlaqwST9UuT9xjwuRdEPNctxQDTzGTcPiGmPcTzwcFVlUbk
PO1XLziM/bWmUS8PQI1EO5c5usdU3ZL2KSkPrfEcgTCMycSWn2UBuuS8lBwXvLg6SqprlrONZfOx
A/y0Xbh67tqC7TfzNrXmmwZrq8167WLtLazvbE72tA4wPlCQm8Y7Q/q7hi1GL+Q2kd026JAWLLpi
MtrTQYBmAMpTLrNYOQbC7PXbqAIkBHFxyY8Kpd5KlggVu1ty+HtqC3HPuwcjoyjBGz8mhqOI4U2i
27HXitjaA1fIYn4FDgXy/DY9spOjUW8aCG05hn3esMYJrsnaqJBDOv+QTQcaVNe1Md2plueDoTYl
wtCtk6h41Nr4sNLkZLIZzHoQlHifppg2C1LOMaOuAyrKmo79SJCZNENPar6qXyaqQePuuwONbWDP
BBuy8qMAMox6jL3yVKb9LuD+leSfI7fPmpWM6NZ0+/5NFAzZSt4lIwEmRC+Qq4C57zoyXrH57RfP
XvHuTi0kQYw98cvoPvbYG+arzRf4/wOt3MhsJsM4E7SauJKloEiHPXLaED3z+XO/YeUG3hIAWgnt
h4B5DsdxAX4tLsy8d4/t8hNiTi3YdMTWdGFIXHsWxi/NeWYzWxso0WRVHYAulgreith6snBrWTW0
7jY+Q+/YSS6pIWWtCg8OvTr6IYIkxLB6V9QxYOXvVr5WXCmQJokt1lwt3ot+m39aVD7gvVzskrY3
rNLq2SgfHZ/sGQQUnGX8XjSU0Y5d+IxFzyUHzaJmWlUj+Yj0ieJYsBZg8fms7triIR+LFS0w2yCB
xELxbztWXAUhvWdELQfzoLEpGj3byhekEzI/WxFjIEQKce9m+qA6m5GPzkQ9AYfxsYvE7km332NK
D/Q9jysQ0dTfYtVX7gsxOpYxdyw9anZ61KvaRwZ25hPf25RqnZSQM5x1xziGOyq2CdXhfgnuKq9e
Z9V92X1L+evNn7F16EIqxk6GeY3dPfo7P6r+rjD2VelmidBM9wP9aNpel+kL3X2eDVRp6c1dhWJb
2QdlPnVkYixwLyvWl1a4SaiOJR+MaEDVck949tegoy/YM8kL6O7mZ760gNP+TM8ByxMmTLwXxUXm
X151Cyp0DiYm+4j2UhikmPoBd9W5oamRujpqpXal+WE72D3bfp/+NMM+b4+9R7j8kMhz1uxlvnbt
dwM0D01KMHZz74F2aZxT3kOtWBl4/l1So7J5941nbKvl4A00STS9p3OWSe+bUvlD3/6WgFGK9JqJ
J4wp+NiOCbTRcpbbqYP7i1m9VpjsvK8xwBpaF//isVkPkI66bjjM3ocdOVfROQQrJ6Dh1m4oo4PZ
xqR6bSCwRksBcPNOQNq3oO6Y9XM3Vd85J1ptxUeVesOp9W149z3ZC/fIO6euFiRaumScTa1g1mc+
uEYDuTiy8QH3O5d3RUqGpApIibr+jPWMLCDoYQN2ZFcgG8CT0jFme9IM08weoHpDNl6NzbdZj2vb
ubB3T2ua4F4coPDE4e8sHEgjSE18LlxYZ1ymyw55/srb85A/ND35VvKudQL/UH2bEPojGucSi3Qc
jReYeHQF08C59fKvLtivmhjDH0uWgU75m8FPoGUJCRHOpnGKFHBviGNVH9MIw8mDnc4yWZfQ+0m3
DmaR3SI+MZHlM0Wo9kdPpgqzwCZKbcQC6j+BeXMGemeNI6CjtqJ3w9MkKF8rxWNELmVW3c1ZPNVG
xc6YkaSIli7rg0M+WwUROWD3kLoS5fw+UuKiZ4TH76nvnvLoB6vQtsQph75I8oazxd80XfcyRoDO
HJhxe6do2Z/UeTwcKj368OEK3L6r1vA8sPizRJSYHYkJpSEAgFUzmpr6lqRYYzHWMiDbThhDB017
D3R2MQeH3qK+FPNVoYxzo53kK6/YtmCJKV+lZy7xuV4kj9Jscb4HiYtziu55IlXdVLosYomXUHdu
VdWj7BAff3qDdheiCQAkDV32KAQzvpujCS+CIAANon+sBNnMa9pBu10/iyVpOlKdwgS4rMzp16Or
oePppkga6B5NDVHGFy7nkP2Po/PqqlXpgugvYgxo8qs7J91usy899KjQQJPzr7+T+/jFe44CvbpW
1SyUrJdR4acL+ZSn+Liwyu2plkxwFcCorTKganJ4K2vbwuIKGyZh4nxxSsBMNHENZFUIK5J7E9Ez
b5h6UhwR3olLgPNTlqZe2/H/tFiSnHhu0KvX+QQToxsN888KyINprLeuNQ00I9JhDz5l/HVreht3
/CKcZ9lG1ktpwAxemDJBvamdjCyHDCz4ysEkDHI1Tje+mlYAjicp2RSzY1ZIuzns/ToK3pFOPhND
PDZDBMjBcx4rioPXrY1pso0aNomNOlbLPba1opNgFeaNximPE97ROiN0Fmh/ufI4xzazmYMkPgbo
JQXdeu0TzqWFhAfUkKvtvWRNcgeQ6Kh64z6NjU/ZpFRudiP++GDal6jghDeWT9o4w3Rv5X0bi++x
9471AJHBxsa7GkpyPAEFt1ghsRvG6JmW82bWlonB37gEIp0IFOK1qAJTb5uRG7BRe08ZAbK0CQmd
lIxCELm4cMKoDgXNszGfG8UN1pzwfwI1BEZA/cKmYb2d8p776CI+N/2GI/qub5xTa5lbI+c4otAH
nzCgDd7RSdnGTpQxTmAcrlt7oN0pARvklRR4hQsISPfxrTcbvFs8I6zRf8B/zGR/sJo1E24st6D0
Jpub6DGpmxzdSjNwywEYOexK6Kb61Q6Do1v5NDXYZ0MbFcpCe/SYOnfzLCneGPrncsrfvMk6DE5I
XrBfhfasXuKpzKmmnc9sdCm9ND2m+J79ky9De+WzPQkDy14bzbBiFlyPFYiigbtGHo8VgRbYTV1c
u6gQdrpvtZb72IVk4ej4B+sGroEpe2XOZK5jOx4kTrOeEqP+UKQUxiJ4WJz1BXUfLr1Uyk5//cTd
VaZDIEzXBKtzh/1ayYY6hMCbDd+NTRlrxjjpRC8qjt8DCwqFYR1qX/zj0rtrKgwgpVCHKUlBHiwJ
crNZR+LboX1SiQmmFZHiiGiCIo0FPwbHJxmktuWVgnd4R1r20bMfFs2W9PhjltiAG4bsMOKWKJfP
uQj2hZH9k8PfhKHLK/vt5PYHO/nugdlCWPKhGReK9/dppgUnxwFDUO9UBiMjanQvGiJ/89hBk2M9
ew64zlIb3F2kP3yzy3zxBi6hEY8w4j3FU9iwuZYtuGUYIXOYPta6CuHX0/fRUxnDo9tgdNbTfWJK
MgP2mSceu4u7pp6J3zXjdlY0tD7akJ66J6/GI+GcavZco8u/WyFZL07NnhsK9jlP+zuh2EdI9eFT
LhDWr6kxHxUwWJaixnPJihZv5ohsmNA4gcdkzYcGuUUgSA4Yr4eHaoq+OAf5KY/FZ8TAY1XV1jVL
IBSdKmBRcXcquQ66rokHS/7ELhYrgZmI9fEtbckV8mbmBKArNjpyCg9I/CtRUu4EKQL7aB+LVdjS
9ud4QDOytdXC0cftIxx3w35lVfr2Y2Z6p8opVpmfbGpRINP30BfZ1QiCeC39oGHE4gsvaMluh69F
YI4rahK3Caz7pKv58DjfRUTC3KigW4VWf8Xsc6XX+BgD8uJrOR1HEqwFBLdMD99uq5EO3dqHkNLi
ReoObiIOVZEf+cbS8TSV934OObXJX30u5xllbCpvNzYOHCcik9jkuLrZ4YGjyLjYVqmLU5MIbLoz
lw7LqSY1CqxllsU+IA3U+cNjILgmc721EZOiCDZIjOexV5cg+w2hYgEv9WVz4gO/9SauzoQyiVjv
pj7clgi5zIHswcYg/hQYrws6/JwofzMz5yRpZt4kNOb4BbAH/RO6vPTwpAARmHaKZocVLUMOUzFP
0Fx4W9HrF2NooJUWO4s4B74mPkktEjMjgZTFndR8e7ByAAs1mbsKoJiSqG/1EdLNt7bD/sl2B4oZ
/ugBMZOX3NTksGANp3P0a7u4ilyTPTGyZIrlYzbvF9OUn3lstvt3nqOdy3pRQukDrbXyRzrQp9+R
SsOxAx0VfFPih38j2XUcznM5/qEVbIBlstzC5Uo//dqdrRHUSIoWZsGVRWz0L2H+2hmUuGu6ExOz
5zjEvF8sxAz5zX6Apl/L+eOA9qrPwegerdFuVx1Skp/I/13wHdnMdkTL73GaOQqX09ijd0UfAGm2
3H/wOMAEA9AFCkWqf8ZIyYbVNPmXgfgTul6z9lq8Kdl4lfHwKdmHV/E34JybkNmFc+ZFBriNulZU
D1E377MwvsgMmmfSBOJqqdpYdz4Pf1ad47D0D55Ln3WPybUu8kMwWgB72nnnp+rW9ua+mPHLEH/T
nfXRRPF2yP2KvgOw+q2TbaLKfhQE3+3CvB8W1lIPIlJljVzVbgByDLykg/dHFP28yulRoWXv5INW
ISzSMxtp7DcFYqn31Lv2k6kxNMpmP2cuAeV5b0fjh2ctORzUzjw2V7Slcj02w7sCuUkExXCuRDbc
2YrrUF+Tc54hpDKC9VBqNNpf+RW4/VdQc4zn/FcSWz7Fsf0+p3I3JyjxETQSZnjWuqsUns+QHU0c
pUTrJSgzxJudB2500vZHjAG0du+j6NdjO2J2TxgitzqmY4uUX1SDYp6w2oD5Cxom0HB6ENZv4zIv
hFxG4noXO5RPBv8c29u0brCOYvWn+93AQxjyP8iMP5ikeVwhls43D0JtXr+0NEo32SbvWFMvI4GQ
H/wc9poTxwOUrBdyyMCO3+lpFXal6NZJ03FhxoacOc0paxAQXfpoAYkOQ3UgzrcNa4/W9td0oKRA
Tx0oSlQHXv7xYmd4tgtpYEJ127uyIH8movSZEdhY+RWr5qkL6GgpqQ4UjeIIYeGYjdE+6gWkoYbk
dV5gkS2tvyCKGugp0FFsMrXgWYyt8qzvEoTJOlQtI3cbsL+aWfV0BlpNo4ENL2NjV4ptx7XLYwNE
FClI9ynfn4Zt675uzb3ptMfOJ7wTF/brqBeei1FR/tIiJgEk79i70ZRNVzFXHBa4uwSTNf3W2FUF
W8PKD0mXCFsfxj74VcAKuXSBWGA7yzafrycxm2ETR4xAXda/DTq7mFwnyV5Cd+N6+tI0P0mFm3is
diA7nhhdaViIPzC3H+mMXjsF/EQHI5YGR+2o6tphKl336GyNClidRQ+e+HIZVsIIkrOKcV0s/ueO
GARYBVxMW2d61QS9Gr7tRPjNJAQG4IBdotoNwCQMgf3QvxI87BmsdQUmumqJOJ1NakXrJtyiaq+4
3mxz76ZCajHrmJgWsXjYHX35xNzFqmGC2Sah35Lkz/uTNeZ/dKhttf6ZrM8FLRc37ac50kjCgE9F
7523cA+gnAKyV6JnZPvHZEl3F/yDDn8hlwMFIEbo1zbzNmn0YEngaS45KmrPuvZOOtM6N750/S2G
6W6gvGsor0EwbeGwctEv0Mv94V4uPJgBf8WIP97piHvSzjN8LH4c4fBK1RucZWuKaSzrFuJ3ECxO
3ajZd9xDKwYlhz8GUsBKg/eG91YBVezNhTmxddw3H4tuNRwiazepj2i6uW5MjQxwdTZpaObsYlap
a8MsIdonDguDLxheY0ywJb/tT1Vf4ZUQn6OdbGkaVDhkHiR978OjD+d3oIBHQOuLJDaz20jWxR96
Rhf0lniju+w6wmcM6WHVbDwsY9vLbaTeaC6amentBLvSUupGzCiHkgDascv/7B6C5Ai0lK1w1H2F
2WdTiBvr0O00qz3n0VpbAQTO5LNMvuyyPiYB8Pmok+/U/Nrc78oRjk4Liyrgimt7YPGb8lebcm1q
YnP5DNqgh3aFOt3a8B2BZrJhjfUzqIc7xcWeTmHvNvlPGf+VWYPgw6xL0XfzI+qnCR9dhXiRV95u
gddhxkAVenHndlcvjx02PuD2Kw/tN1EFtin9MJj5zbPc/dxbRFLktl5OopZqJn9auzj+l3F09KPH
fGJXGA4ngENPpHO3rm/CnCKbzbXKVf5Z4Tnhp8nKqT63slm5xm8eMjf9SXKxqaTRqzI2Ez8P33+a
jC/bmk7Ci1/9QZ4nqdY58SYGEtYsL5Uz/g4UF02kvsfxw2xg9PiYVBc8GXRdyO742yKwuFhTsS10
1inPATLyAOG+svvnUHykRbByE4Oc/d8iSHqj3LWosGOenOvuyw03CTuY1OVLqYC64CXTEN2x2bm2
jdrBHdR6dRN3a/Ql4ajndH6yRwwWUZ5ccup6Kh7ZeoqOrTQ/58nbCTzxPfZ8h5vwOP7OHj5aWpjn
p8iTb+7kP9vxgWWPsGkdDx+nCMcSyzcrwQ5Q9hJ+dn4FZ/cw9Axl9Br2ZP0rde9bzaGlnWPMjsCG
7jynv1UYpXJjuPoL/RNt3aPGyq26bVLMuLxpdIuvmT5F1XstToD3geZQ3EL7R2yBc0zrfYFwEnn/
xumpDZ5sNDQjrvDM7JPp3elPtnek7Gzu30pJkrBekbPXESMqlwJyKWvbo2Ywf3B8sbG1h2LF1wjn
OH4VnnYm4JDztKsaAu1wLnht4tS4L9gTzVW7nuWtmDIs6g+Wgyc325uzPMrIZ1Ncwdjuf2IcFG3Z
7SCcHVTIdkLWz4JFCptH984EHZB5w1MfmOnWwYBiuuU7xPF1wZVJk5HM3BztECpIPhBoVPTWJhaH
j00IGQD5R7DINaNS4arNyzdDTv98B62+FuG/tKB9OCkOPpxyVTEp27rBIe19z7V9qwN5zXl5VZ2/
ugaYIhyptUf1hGkwHBKk4YeACUzXhLrGeY1l5WGY5JMpaQbEM+H4XLNmmNDlZCAU9vt0BALiKJb4
yBi2HRBZtfBMYL+OuWAnFh3t3IhovVLGyjT9n36mC2GEg1Jq8CQmAsxkBLegZErmXtoTconx15bh
8BjFSBBIv1Xt3OYGhF3Kqj2AcuC3zrWvoRt6YMVijKo6tHnItMQjZ3wkbv1WheS2nb74aUbCmTb/
xLyEnl/a9wD/3wNj+uCgslYRwFgh4vdGzh4DTrFqZuNf0xTVK5XCUKWx2q2X7lJ40Ha/jQ21x5Ny
9nx9zUJSSOYUcmpHNzep2LlTAaTb2bikJfp5gI2X8hnvELpQJVgED6Tn2q6gXd39qFOE1FZtQAPf
Mj+jZFO6eweIm+H0H4SlXqZmaK91YnKzyx2YKcVXngULenz80i1Oev7F3lIxxNyhf48RBlf4ckJQ
EObTQJUkEd6tjFyHlKKLhtyz0mNLu8NN/xDZXrBVOOqHgjS/Ax/N6fkEszOEQKPJjYkY39idl1sT
PSR1rq6mjiqgnWbunB0PKevsE9oFwIVv5NeUnTWvY9k0w84250ltQz+CMAcgMP5rbY2RqcZSejF6
kwWNZLc+BSl7HyqPC2889W33m4Q/LFgyLxkbhM/BkHe6RHSjj6+xw0PR01RwTFTG2h9GUEl/RJFz
KWkSpFqQ3OFLGUYPfZw910plGjd7z6QIVriEgkXhX4B2/c1Th5zh+7Y2T6UfiGRfqSKt9ri+mmDf
CwI1lMNR002SseCoSuY+8e6RjT21LWz06D1pUJOdUpam2YOZQ6opqbQAGhTqGQtCKMiTmVFuPBul
9N27wpzdD+pONLeSptf6oVchvnbH9epftJDmn1WEI3MR6UUK0vmUMlhA6FDc/3pCeX5U1uEx4zZ6
48AmKsHefHge5Ng8104b4wV25NfUydxa+86iYo5+235ZYorrI52fKrtUqmco9iRT8zYvO/OIpVDF
mwkAUVygQ3rLKNZk88A2qfsyKuPRdKPHmQfVXUqpDS34sBIxT8y71GGhcA/4piruk3YLcmBM7/vo
VvaXQoEI4qQ8DVR0lY9AZEL3MQi2ZvIEvYLYNYuLihUY9TobIg3bzMWSRQJJtYJFjCLanIltTe08
gO9r4jy5cXwzSkwgPa5UDnys2lmWnEoj/KoGttGiPcHq/AsoVrM81Au7DLDWh80OkR8zmgUTT03x
2pmZ1Xp4qZPMjH9JD1RnYfuLLE4fopIbfTkY7ZblNMm8CIW1a5ntgwS8RqeaYzzz66rgTgs7ahiQ
Gird8BspEK+5it6s8YX599CT8vDmHBd49MKH6MVJJtYs7k2VcKxyuge8YH6QlMFSe7FxGgvfQ/km
LGMZjSgHr6f02LgZyXJIffx2idQC6h7i6WRBMESfQlxpbfOJWIDYj/n40OLRonSRmTAT6im3OF4L
974RQ7/N0og44WLyhwqymXGU0QJNXP4j8+BqU/fTps82Z7LhG2udyPtYd3cLEdumsstIwDYhNwqf
5ljyQgF0f+a6VZAFGz2rHZMmF3xua5JFHp5GKeD8hchkqezuI6skgWW05gadeimJsK753Jwrm7Uq
29wBzSImLzNuppruwmKmV2dmEwD4LHjS5fxYxMHeUI4BFhN0YkWpgsc3OzL7zWAR9wzJ7zfFjznI
lTKmu3KE0tYGe0FXm5GhYRkWM3JwHofhk5XbfRvZv1RPs4lnKFjwCG157/TepZT5m93hQ898cfFM
1v1CHIR0V3HYN7Tk+rRwjjwEPv/szPBWeC0/dCoOhvYfStfYuKA692SpqJiLh4uZpDY0C+xLFcdW
YuyKqrwkvtj7TY3vhhxUwS5N2/WOXqlNZdmXBISt4ccPPBBnz4heiDy8RT6UXRKyq1zjNjFNVlKQ
SWCHiT8t+2Gv6U4xVXLOneh+oEPI4NZhU/+ezM3v0My/Q5K8xnPIr683iUDmm56SIpORBQiSBpHK
MYq71lvRaD2ySKTvtCTubInPKieDSHAIaou42lAlnbQ5JB5yblMRMS8ZcPB5Q1mc6vizciD+90dw
JJsSN+cAuavJpx05XiSwPDp6FeZZ/jj3Uxd+o4NsBnPaxpDI+m5aF7F7jXFYdKn6Avl7UrEJ+6Q+
W2qCKyWygzmXl7bljGE+K80CPZjLPUC+ssZ5y+ihY/hwDt0gUcyA6ch+54ch6CHwvUlE3y4EZt+L
H7rMgqzowgUw6JGxrGujfJZWynv1kAIwJ/w5hbVHbP5kywDzsIfekCwO0OZ+Ut1r7AOJRhe5NF5x
wx3j76ZMuasQGs9ao3SCszK/29zgXqC2kFHgimhvnwXDb56RdfA9JFvXAXlTz39GCs3Hc5ClCe6z
DUkQGhic4CTUdzIpN8w/RwCguh+PbdG+DXlMCj69xfDXkDgcpBmc1+HkoL731oeZk92h3+Za4K7U
Xohs4Cy5atpiBmB8Ivy2yCxs/brdBzF8smhWr31CfgELjxEvziW/r7nJw2LEMarWy1/Ubez1PNU4
S/TGqPv3YGCuog4nzlySGaD8i3FfhuMxZnljGQYOOvjBpRrOYyYV8aKQxHSAPsco4YD5HTBSAXo4
1Jm94+zfi7D4cAEHE87giwFUvfZnhOvkMaFESk/Bw2hO76MNLzdIq2kfddEL7sCjZVVXPzdvrClP
5Vy/KCCaJuPWBvvhLhSevUqS/rEfcYxmWb5r+TaKEH+J6jEk1Rv2q+OxD6FmZjbB6Tkpbeji7rV1
wzfM0+9RsNQ4DM1PaNm30azPufdVuup1mQzuZM2jA2WREi9PP1XlfEpnQFQdBjZ6CKhl72zesIDF
fkq2T6YEkpY7sXBtzOtuRTdr/Dkk+b9+4RCmatiDM5zI7vP1o48UqqrrXSJ3WrZ6oD2nNo0Pjmke
prBLlnDqI67vK4Le6+AmpFi9hG7T4rkVoF9i9EanNelBLMpHJ8gfPUdx04npRSkCkNmOg9gVFYI2
FhimXUXCEISJ56MqyYDiqsALTzLituTXdUIZTcXr3VPvNXsl9bHSfUi9qdtbBtH+DFcsfYZUoatK
TscmjKMVc1i0zkL+L+eaJixpg/iZ2wqLvpKHssiGWzF6E3xzUg7Es4nRUurEOTI+ZnZ7nysFbM5a
O1m6kDzehUp+tMUQHjnYQxPbAqaV/RAJ2Ihq/ogssbPIkkqNg1KZ53IiNw/xd+PHBkbMtnAI1nBh
Srs5o1amheTeK6e712bAXyWEg9LGFeF1RNudkSEzWMoJ/8ksb2+pdgI0jelnkGZ7F9bBeNeW5b1l
827Ikk4jgijEM6KaO8Xc33sNuQDcbWTlJtqEuigsduU4Q2CLCPhrARzQCVKGoibAcjFiyvfzEvsz
tOjZkE/9UDwxNcQrqw9gUqr5NdLjS5UygSRe+TR4ACGJzB17k+o2VO7FliRVQ2JxglgH+nEoWr6A
ZIV8L/2csmyDuaqE3mRB2UMUafRUPXQNxCUiWlDQzYQwYDQAENI4VctGv+Y4clm9smbxweyGxd+A
zr4bWlTssHn2TDhFE9RyEXylDNYstGhYdgA3jJNYR3ixArag9ownwKJdo+nrJfzUY34MXuD7XTwX
D2Fe9jzXXnvxZrkJ/Nl6NCysukZpvabMiwNWJ222OybpM0GeU04bTBm4+T42AVKZeBMa4C3Yt5+5
Lz7NtX6uqa2npOulQP3pnOnToiap6HnJyuUy0l3miAhdgi8HGNa1Eww6bghz3p9tCFWmk5/ztoLp
X+SaqC6oNDJ81bsjKSqofH0RObf6SWX9KW3FvfCDT35dxQOPTbiKK0xDcaGdQ1B3nFU9REKTbDOx
egucED/J7FjE0LV0KZ/TwcV2gf49spIZ4wdK4Gx1UJApnRGhgZ0wWJK1A3YKMuZX0E2Hwol38ERe
S1qAmX4wPk37vKbMOy9RBcQpw4koEiaqVhzzIbwsfO56RP4M6nJv5/KiHTKow/RY+NzWXajOYPML
onNqWJOjO5l1hEPFOOtiuLOSfm8Y8QPH4Mb3UO3EYxZcJSmcmkWww7g/pVCXEsgH/MVGjN0yPiPy
M/bX7cdUmQ9lFjyq9LnzCYPiESmYoXpWe6PEacR3VYYKpTVcc42+U/MfXqJ1wZQ8Dt2Da8BlI4at
qElGOAjrT9XJ0wJOs2Pv0QrpNaTnmxPRkaQ9UAGicjwVKMq6qh+yWG2sJt7NpKyygvTNEo7Q2Ou6
/i1ekPsGODAMgM14tDoAyy0tM+yMUJixSn66Hfd5htux26Y+pWt6NrK7dJpBIfBwsEf1nGAz4G4d
CPs4LARFZ9FKetViRXhjtP9h/GLsb/dcJ4gpMQFiQl360wUdDXQMpM2Kq5gDlLG62sXGy01cTvRy
YPw1rIeY0EbM6gt/ITKusxtbeiYanpsZv2S5YJzIZHkBokz3g9vpUEjzpDUYNkje+IvbbhN325Ev
Np3vBTjyAjz9U0WMCMd+qM8tQTFV8cXCZYDXW3tHo7215TnzWUU1xRagDZexdWXFuAFPkmlLYYXM
+F/NKCvV4rE5EBYtJY2/zKQHW+8aaP7ykmO1iPeJTxSWpYVMPqltQoStYY23aw2hg3+A0o8RlwH3
0gtyNxclv+fiF9ccDx3RItwrzdEahnWtXmcAmwU4KMqW4NmWtPKc4/4Smxs5f7h0lavxbLc7YZxk
Ax5Yp/smoKJ+JpNLmoLvV3hpCNqZ64JSt2Uv07U5qYgJcssu4ROFt77bgMarqh2DaZVdDDLtxC4E
wxkyn3WUNe59KnGNN0y3DUdofKRj3nGu0fgZjSd+PQmb62Ivl4UFDD+LIqL6KWB9lpTNP9VcaGtw
0ugkg2fRbuBnsiiM5jPMy8I5RMNqKvZRs3Zi6iMUWmTHQ4IfHBM+ufQGi/01rzla+kuuAcReSwT7
bEHPXHLSD7J4M3lRrGfi16UPKgQVhA2yCA/10sMZ7sYOPhXz+VvVgPtHS3EAGaryNWJP3RzLZNcY
56IGFYoqeUcBDiHwCwK+gpbm/OkOFclFuCWITe0nNcrfAjP9eAaqSIOw5lkmYiifi2LdA8oSB7KP
VgCHGHvCSsnPsWYxRoxpDyAl05jL840h/lXcETlNyou7LFTHR5TvQBnAz5CIo6vkX803wqE2EDPn
JTcOxEp52tU/1PMyuQbev9YxSIqSQ5cfqQ3QpDzZ/vMwneT4nnP8Z8lGO8fKQHhXK2c8xzERM5rl
G+/BAheIL1cFmFXRe4zPtqfGjMxfg5TJx0aQ8l9WXQLnFhO+N+6auVgv28/F9273IJ1TqpPmb3M8
+fgUGveHnINSb4IaW0m2Z1FQrLvQRTglIulispjFD5OfQUxRS3fr8nb6EIZT/rINb7T2h/dYui9y
4Rp5z2W0X9rrUqIhZNtzxg+zqFf5EvN3Lj4RnuBSW48mF8vB58BbYgATl6Ex/migDXnUx09JHW17
a3zjoveVsW8otz6f7qH5s/2Atpuv0evOWPoDrimWdyHjA4gXJGcW3FcghLeVy7djIIRhZyg7Wq7l
iBk/mKwErCQJS80oPhwLUg+6wIv3J0dcxV4F+YdNQyLeE/vmzdfatNhH8BgUxncZjRfVGefYfSbu
jxA3bXJ+RQskx6rGDwOGYmZfvB63xdkJXl0sCmb800egHFwKXm3GNeC73aOk00QdmlY9JogqSYtV
pieOUjv/4mC4MgxtE5dFIIrZZmz/Fs2xME+J+pVki4ock4kXaW/NKYW/jLxIW4hkHRDAsh0LfgXH
Wey/OULjlIvZ5o81+xGX60oHQT0zZ/ByEtNC387w+FAw6IY+Gh4kuDR7T40K34DTfgoXHmY/UxXe
TqvYMD+71j9gA3vs8uU/oIg2dHLac5xq57fZfSxjwgAXx6n+eU649XG9ZC5r6a7KYhLkcuLK5rOv
bB+1sK8x8ea0wtiPZTxIe4hMCo85K1vS0nx9FEA+QbEcgh4xVNU8Qxry7tIKa21YpaztnJAe0Ch+
8iebnRDbzqn4Fw4thzeNSEPT3GQQfYw1BYfWzH0hrRn4IrrCuU67LC/VuGrpj+lHlltuURHUm9G3
GzPfs61eB/5PzL2pBoVez/pTdqy38sZHFUoDSsY6CN8Cpnei+TOV7QCYYHhmajZQ6cjBZtce5wVt
B1sZL+t5dZwbdlNVfMONvRrM+OLrZmOVPWQVO+IKNX6JjCNcw55yunaT5fi6dPqWlM7exI+Wsx5y
owKZGsQ11ThHc5yAmCTdS0phCGJ5/0Ci5wsc5nVq6qPIpt+5paCFoDhIJABt4YBKloFDtehnGxlx
WUqHb6ltvoau5t5QNhdKoxHtTLQgu3kN23E1Tcq9paO4hiSNYNM61LrG8VsFeSevxa1yh1PcZfdp
zx8lbfpq55J+twcbO4uPz2tmS7PpHP5mxrgx2GqnBZgyikWvk8VUTRsY3l0sb0sY1otPAZV7O5Hb
QFvI8xzrqm/pC85XxFcvWi7Jh6Z+b22eZLaKKf3OyQ1HHW5Mz3PWMvMfIJp8CMkJ1rJcVQShdyjy
N8fRXKL0+OO3+a8XMnQ6EYbyOukOQvg7d3Ae6OvTID7yEwTzS1rlF1gHX/PkUwvjvFMOqzeNxlsD
BFrlYuP7jIaW9H2+TlaAQReELsP5jUafsxn7m2i0kDsIPdfZDuqXdZpi3i4keIAL6iKmkK7GgcNn
YlVvVrhPfI0XNpuvE1GxVUiQcDYnY9WyQIpFBJgjJdDh0qt1Z/rduz87e48q8n6OHiPoGmuB1Y3K
idNUNx7hEFomyO4NafgWu2pxrHhH3elqC/fj5MrwqoyR/AqvNUkem6aeeTcRJqYc+8EiTJqGHQnP
edgGtlexW6J0qIvcZ8/H38kPy0r0tTFewIiRSME7EwQkVAlB0eowMCF3G0ysy/W3OwxVQLyy3lqZ
v+tK9OmZUL5T2mclnAsxs6NuCqgJqj366W/eEvivwvocChzXuQmwPadMMpCCI0mCpiARIJN4LwPj
a9B0ZHTp3lbVrWw7H+pphm9SsL8MJ4+iKcd7zcrJXEtpRzuP+EbBasor+MZikVWWJDcQbGzhvE9J
ue1QtCN8IXegNDaa0jVi8nc9cELl5pQkqg8bh4VyxuYQxNDeEeEzyTiTGFn0p8WU7Cl8nXbIzdG1
daJ2DyPC/AlrM9+xcwzec7oiXhNpeK/lbMPShp2Yf0+japjO5m4/zcYnWfsYfnmVH2IIEHQYdJ2C
HR8M3K7iMaKqtswFKWsz7rG8TvDWEqqnh5WlQc3GuXuquj64hmNwNUIatWTqdbuEm7frLDdMTDhM
HUQtQt+2j1Yb0pVl21QiRF0wARauwSww3lEXZRQhYPmxMG4gtYN7eKbWZfQU0PkatlA3uPJbij4q
j4SVeEYIixPI5ttzp8hSXwLWLR9VWJl/TaCilfR8Ln6l327oU0iB0ZH9FU0TrS2SC1i7CAA8qqGx
v7vUmB4og/m27ZS3gU7LgVq/5SC/x+N20sGHJc5Cd+OdHp37yjGS9cBFUleUbebFIas1RgF4QiAs
s3BdD/VJZNF5Tpyt4VevqQYmUBZR+VZ26XD2EhrP6jKzDnncaK5H5npysFv2ImVKhCZl7QyPjs/W
ZcXgjRlEp4FyslAmOVsjqsY90UO0NRUze6DUVpc4WcWiDNJxwZ/Q9n5mRUkBk51MrnaNZb/wbe8R
nk2yI0RCU8QM/Q6meVLUOGiDSkLXCd1zXdnen2uHlBkmQd9vZimHKw0K8D5t+EJV0P91/KyBdHvy
2GGGI33swEqYXQ+1viRUriEKFtibVA2VcmXMVUTjnysykCJKirMdJmDOec2+2EK8tl1XYMiNyaRw
aDkvXVkutWpAYJ49mQzP+DPkFRE/xINRGk9E0ASooFR8M2iwD8rBmBfu7H/UQQMAshp4I/AyQ31a
NVUpV/GkrZOfgiB1ByacMMSF9x9pZ7abN5Jl61cp1HUTh2SQjGDjdF/886R5snRDyJLMeZ759Odj
Ao22JEOCcbKysrLKWQ6RDAYj9l7rW4bfo0oI87FjnxpP4jrrRIqxAn3xIqpg0fv2HFIRUDV29VdP
zBsaKYjiImzOjQBxADog4NBFnG24FPvVeTiz7+wcMpJT+sdKEIvliZ0LWJ8OxexoLLqdqTKbsx5q
a3aIsTs9tLU6IsDne8zJoJIHcyAs2UqzY9POAtj+liBfjtw4PAKafrMp+4fbc05sqUtDgl13Bonc
GA3Og06NeLyonQZGcposOoy+A6e41XRMXH1tPrtOte/JCYhxnfXtD71mr4jTQNqhsXEKHzMuUlq9
mS5gZQPQyzKE04PxpOa8RpG0Cd7iaTXlPg1O50h0A6hbatO+85DKFmeka9/29kArqhnRxHkGP0k5
4ucc8Ll5oepnTyJqDVQ2fZZcWHP2oS8vEx3cpTbh2OkxZuZGczAzorj+2XGVw3xjcvd66ou3ySam
onHwDLd9g+hlFCfc/cCPNGJbh4T89IKGppzmU6/wBlLyKL2Tt0sPorzTlHmiN7QxNLG3U30dF2Tx
kNxUD9O9bFEtxyFUAjIFELNa9q4KYiB8mhn90rORVieutQMRjurYVdNb7XSPIsuvXJsdWYrfAG+d
1xWPkV6/1GhLRPWivB9tn506T0Qk97HI12Z5KjAialXMVHkaTDIQ2K3RSuase2ckl74P82R6NqW2
6/Lp2ZKSPXOIzld05LeEKn1rKfCZyXUXUDbgoKzbFhFb7LyyPMRxVTUbK/NmBJJjrr2iplaMohcT
mgHWFLuApdN2oMO/TaazJkQyV6jshnauj/kcVRvanwAdZTl2G+mg9nJy5hLn4AH3a+Lc+3Rj2PWD
KDuO1P+IW6UXQvaVQTg3ZA4deoYzwn+EwaLZ8FYoULDCINcvdnYVPuRRfzF1GolMGpI3LPtkMnN8
y+ulIIetc0lvRZBEHUefCbMuGVhQ7SxbP89IOx1JAKZzOFV8BuhftJDEPVpUXvcjrPqTKMtT5gc7
Wjgn0HGUJNwtHJR9WNovIlOrps/3WJpYp1IsptR4ADAM7PG1+VXTIfZY4SoR+ipN6+3A+4yLhByN
k4VEJkUCP+jFoczh4wKaXDXAvbJJUUsm6zxMLuoBPdBY3ldyWIXZnEvrERLuLSrUBB6cDx2UzjKW
GNhptsXryrffMDL1B6zUnGpzx8nPmlyBhqMgjTxhWVk1yh0PmWy1RNJ1luvqPnRhZGcocLJGWwTZ
sBOBLTahzeEaOjLLoYEdltQjoB+ah8/hrDF+jdSuixzqSeutqA+gzj4afQ7nCPXFyOY4aMq73mDl
V/cOosTAr5Yp52HhyB2thj3amG1TqH3sltuJS0vQyrqlfWL/dGhdtU1icV5ZCtxM/aDV0avpsy11
suA694H5dQinKTKsa4GPMDYPNVl/lUq5aXhmcJhPaX3tDC5H7YfGAdgrqAoWBceXRJ+rRmlwFZb1
sarxluDC1jvvWtDviBNyD8bKwWHA/Um7TdkY1OasSyhl4L+76IkG77Y2dB0hJ73jqGY5dej3rvxp
Tv2LwmMixAv5Li/4BfYKlqUC3lROCP2tUpxlXu8Tp6OgsxlxuJceeMC4vRiSktdbo5xJhP3YW3h9
ixa15qFp2h2y5PGgwEI33msdEFqjsvIxVs0vA9kh1i18gKjSNLM8Itv0J+M5KfLLPs4hrhaXbU9F
tOyx2RrI/ZHLQwN+KnqnAlZWbX0DV66mHdhxbfzJ3eta2a21WcSrJj6jQrloGdzoCPoSMZyF0rbG
39ijQNfy9MzInBf2bAQzBCBKKgeO2rQBh4tkGSRGDwZ7qarIRODrPRWNj27fm1fe1jxpOvyMMZ2m
AxL6Al4WsKTOaNb9gMBSlcjIKgJkklC8pe2v1qNARSQT7qIcXYMl+0szEW9Z/eoAFrbzYLrUigrk
JblGgeytfRYmu9rpNyILspXlt/1aitcIvB347yvwOJiOYkpc2qpGXKn3A+IZ56yJx/vITn6QbESc
CMWZJqSq9WQPt8QkEERr4sgMsOIM8Op9cgwRGIypRaSkpEpOSwyzXwBdvo6PvdCIqSgPdEB3OgaL
svjRueGWqb9pkbFn7ozWCI/QhILTKPVHv0ITGs7BecGtw29GcipHs+isB4XGgcRd2z163SGixtzf
Z2N0oYb4BGtTv2FLD/Z8QvbeBh1TlCzwUaZzR93dtO151ngH1wGfVk9Hq5ZXiTEEq0qg11I+zTMb
lqJr+Eg2kCsno/fkW2yWFc0DozpT3Bqzds5TkV1OAWVvzcEZEFuX7Wje1uarAK6o9fr5YPk+ekGs
j4iKZ0uBjwi8YeGz6CSiL2FIKiTpM+UQSKHDKte9dUvGjd7nB2MYLrBvbzo+GaGGqFlQFc7Lhixv
dgCLQrnQZzMiCYoe3lNXD3JVCOgxaU8+9ahhk/Go4aFYuQ9lduitueVLkTOb68n4Itc9zP+R4F4P
pm+tw/H0s6vR8HdiKDeo9JYTX2+nugQic5KlilYujYe4xgkmCCsOeVwh3ffzIqfk1Obm6wB3bD1M
7vNkSbaCbQkSJty68FOqZDgUUCLQsFwVSU99jyYByzPhciJjsS/JBqnwE9GPvZJd6c6r/74FKlS3
LdbE0MjO9d4dkSEKqtqwAcnr6RQkKt3aEwx+khHnPNfsOfr08SkpfnVj+6qFOIcjjvNFmV8OhZsu
sQc8W7rzYg/0GxN9fMlwYYeoU8aiIdpOjeiqqlNsoiiumpMkRPVisnGvh25MyR+D+10SsJGSuHMr
OffjEixVkJlGyvJtaT1mYSBPmasbF2GE7C2Mnb0nivt+VhiMelnR7PAJ7u3kDapu1Du2sXNjXtsA
QhDflMZHCQ0JbiIDpNdfB9PcJlknqXeG01p6KOkCwGciwUE8sTZQyFcHx/DxaME1WfwTOIMqjWiA
c0eZlPSKpUdklqvJFWcIQgTI4UIPBlpmvvkKTD8SsGvKRBgdO9/ZRL1BWGfX1YimrRdzLF6TyUXJ
FxOl0ueIwnW6AfhT7qE1Aza02f+0OYA9ijVyFRo+jzs0+UeYQcNAFvFA7Q++NSfiCg6sfp+PLwTK
GM14hvsHBDQeN5RsEp9tz8HatZ/QrRG9DXgN6Bmaauo6UHDcxQSbwEuNAXxN9gQg7GeejBvEUAtX
P0PayJ4VVifeceJm9L07IXgfmLGLFnkQkwrpEpUyje5YnmSouclF1H55RCkl0UZaVDooQ4ohOdcn
itDBbg68C2mHRuQX6jWP1TlvoyurQduA2KuFvNZqZ3qHyuDZCMxVkL7hH15oxrhpqNumabKNhb3r
87sIjJ0PmEEWVzlFuGK4RkCzqdmCD9SKNNu4J2wZjGni35YlsvBYtSf0Z/TqkoOrQdUh2orwAE+L
b4aeHZ9x8P1NCSZaA6Q8bXS9Ps3EiBGBGnpSqgcP5HMDVs2oFhdoaZQzN83IK1tkGFMM88KjuNro
5MSkM7K7iQ+OkBurNs9wloGRctD+azdSHlo/XUN8mz+0XUNwBqfROWuVKCW8vOsmPwMg2tCmdVze
G/cXX+d1ELhbLfUAbeQXdg1bdNDuaAjfJR12JaS1AwU/nTC7wM92CjVCG/0YyrlESOq7t3T9u5z9
WYcItiCPNRovzalOl15PV7VwGrHCQHCte6TW6S11Y1t2bLQMbXqyaUpBrdMARSwyh1BZEz25CY6j
a1uUBY061UCGtqLCWabVNBGsvkbfQoEf8lnb4WejejlR9eY0Ts9NLlsdOkTAusqWlsTEGpMedqNo
TSuzugjNLDu0qGGjNqNy28MCjAxBI6XbuZhA22A3dnw0nBkbSv8vqc51mgpwgMGBWKc2R848sAP1
IrXp7enaTJEzMV1wutJ5oe1XD+NVEbNjpYp+UyOxgvIukGWHNAz7BxQJZAGbp8zz4JXsUJQfuuAZ
rO/CpeBKNIX2IIGUaRH9czJ37FhdjBO2AE2/mWpbw4eV0KylwVgJIiDafavhEzKm/iym8tCx3Ro4
RppasB64wkK0S39ADu+lDULskWWBUxluQPKQxtgCGKhdtvFLFN7lub2pZhZ93twSD7KdtUoVHCzH
6dbS53bafEb6sjsv/E0FlzObqs00h9Ehq4aYTNhCHFdveTunwosJATKWz4jZmZHDGKMep0Jz5/ZP
QGTXfQdvTa8XI9YUgL/HoZG3VUUAxW1pD6sOnX3kd+QrK1KIrS3v7nlnomPk3SPYa44C2JbJ9VA5
r7W8KXpiWKCH2SmqGYus9fYBr+6uVHjcerT8MN2Xk4h/JSNW4qI6z9Pp3hyA7Ojsri2osHgcfKR0
1VJYb/l4b8BpLIcSA6oLjpruSWz2mwnnqV7IN8t1rEVD86TiM56WxqHRKUXW7qmg6s92bCXd4rWt
rBWx5ygi0KtlrCREES6GwooJgzCvcksDy4ZVJS3Psh5YdD9BXNBAChV8tbbT2FD7IHem42Bbym7n
0VS45XsVHyBfyJ3mVsM+amIXOJW/VrWltobToF8lV+Kxt/SVabSAbcihHjFtYsnY6FRTWhwB7eSi
FXBpLxe92LIfGVZZ3l/lYqQLQ9tPtggIO42OgZlHTAUca7Hj3dq0yntyW7ceDEo+IPVy6ogtyArt
QEAGZypW+lDSRCztmy78lRPIjtKFCGTHAzgbkBWyoKglz4YJqWYqoP63Fu8bKWH6ykYHvx1rViBe
bsBWY2EstJyy+1C2kH9KHR9a1sUmjA6Bl9Lx0fwqdJyrui5/JUFH2RqVqfuzVaR/6W6OMMnr4H1h
7kCjYaqS+khGWXGO5pMUQ/yk27g0MJd5akR35K8Ml7Fohx8lKYKc0Qu/49gDCcTsUPh2IjJe0rq1
tpoOpGeMvAiVr55sQIfDbRjQMXmzPD6SWlDg0omT62I+EynXR3pWo+k16kphtQmy7TgicvfHDH/r
oBLtLddjgrdZJmjvp2a713LVrQOOFEgt4Oc5lezXgLIqpCnWdKrbadzood2DkKYqTG4DEgTPDNx8
JSWCIoraMViHiN8tEgSk+XGDmquzDfBAhWlOZ1PfD691bD9MpUm8QH7IgGAsUx/x1JgEhFUP1wqI
7KZPfPPCSOG6547pLpMuxB/e0OKsarpz2i7l1ItOyD2FSYuUq0Tv1SUqYXNpglZycYHegm2zL/SY
wCVXjMEFNDfEKWxUQL7s3TC98OAABrLe1q5+CQ/lNNLAWeR1uS/mD30cufg/kwraJm03s30TLNAw
JHh4VlEc2GUhMYjCtTQyftjukaQ89DckgOxaSHoLgA8zpTh9oTbwVEw9cCCJTzxbZU1M7pCvPaR+
hAkMGvFbWWRIIRJIUQm8DLQgw8jq21uXhkAa1KCdwek0bJXWe1sDsR9tlMe+pRLhAKx5JpdAYiNF
wq5jvJB6BACpoqFRltPepKsVmMExxfCxhYgMqX0g7N5L29OIwtUf+UaL+TBP4a8gw70M6O2qM7/J
fuSJPAY+ewq+tJ1OMmnmOURsdWdR2FKXL7Q1rpdmZyl/jZicagK26DYey3MDbfagLNRTXqltpNkG
aKl6PgWpsDB80v/NrJDGxMgHoE14ki5E3lD96GLZ4zSjpGmEFJqkB6w4HW2DI7CX89H2A7KaJjeH
iupm9SExA3BqDhhPc4U2SyHGJCh4MPm2YMBxh9UwesNZnbCGKs1JLts0RKUmY4KFkqwgpieia9vZ
aX/mAhM1RqvZD5pd3PFRHm+niknpuXJ4NjBGTzhlJosU44R6r53jHdWSmJjpts5vTOHhYQvpFQ5d
BFGVXTS7iAupU5ksnIBvXCoU8LvxqipIEdIIlmKJGdnjR671U/7TFesTUgcUbf0egTftnr7dVi5J
E7HWpfuanKtV1WU3aA6sVdhiEBa++UZpQFw2FQuU0ifEK6gYzIJPoZERBBPVervKMVys7RSWodGz
CUqgYkH6hnobNXa0RNP3I5GIbqvBS1ZaSa+98iVotZwEFqAqpEQYJJgkSrFAG8m1dAbCffGbrDId
jrk1osaWTQiLLH/2i4YNAgfsm7hkriqD3Y6FmHfNM2JnCdhEz1JxCbk9+SkKM76eBu/K8AQ1pmqo
QdsWs1MvcDidxuNqHFmOKaZ22yqYzL2aFKlFBsmFFU1YLEV1cdv4uX4ooBaTJpUiG8tjmG205FfN
bPUNlOVsLMvzNqZZ/uxdm20kLXFi5ctbGijptjEkJIF+rGnTisJOH4Cj08bRrV+2nYeHCgQIVUFd
7QeVNZuetLAVxet2Y7U5rSR78G9RWmt3k4GshA8+saMNQBF+RrS0pfmmiimkAN9oW9lzq5SNmCLX
DTB2Zv2IsL9cQVHCL6hGEAO0ThcBLDNsc406UBcjNBEiVFBWzkWJDGUVk2aziUfbPp9U2p23IOBP
4YS4PoOasuyt4JfjQHXzJmDuQ4Alm8NdUoEqx1nvpNgCY9kxqdym3AVmA10OvstKZVl45c4BA14J
a7VxA4f+uqcfxgy2WJ+lNuQ8AMV7Np9g1jyNzFkJE9Yg5m0j+c4hbwcOhA3QQbaGWcbl572ccPGs
5UBVWxcQlmHtD/j38ysPMTQdYF/P9sIpcKKNdk9YXNvvE8m1jmRPscpW3R31GTD7QYCsp8/qHZZ9
shkVp06thvVoSGyfkxkOzxUBhEhBGqxQGQLDRa9LpKYWom6ZmiQ+RI32o80ROYB7knD8uicnI9C6
zGDH0Txij55zKBuMmJ7Z2OubZKhBicDbXnGSg0gv2N4ZCIzX4+D88pMR4GFngAdWrDhhTvhdA3Ga
FUx0uFwo50RN5x9pzZEUFuCd8ZswXOZiGBMAo8h67FHvboTqSny3OIKTkBXGaAP9JEY6WLZNVkyO
MezadnTtF4it+FkUxM6BVxNQrQY9PtmyNuYdU6ZTQbHdZcaKt+XIsg1HDnc0Xx7rFDR9GlAoTF1O
uJJApgEiZOTD9AHsIyw9pQCtYx+YYuyNrVC70BQv9KwcZFDqZ9NHwy7PGrFHE2KSOkkoERXg7gbU
invj681j3AAOw4hAKcPS1XkdExiy7iDpndui/CHcmOCIyg6uh7IIbnRhi4t4DowZi/i1pYJv6Sg1
oLZxj0yKsVPPZk2gZ19EttHt2RkV94EPUdp0i+xcgPJTyNsFIdFWSWkVx+1ZCoDlJAHI3dmIWI6R
XZjOmgO6Bl6R6FWX80hTR89KU1dNYV+XrFqDa/8s5jgTjFhL2nBstzKKGkZnnMayL+lwTSejSy4E
eCENWYYt8D/ja7yhRU7RP68gVZL72ME8CTM/uQglyQ6RoCxEdBKNPDErzJum4FCd79qYEzOxiPgI
7OQscYr+aAo2W3GK+LI00aHHgzxFnXZltFq8R01CeRzS5qAbL37b7e1gXA/+RKkzW9f4ca3eXJUd
icqGgiJRagMVOx+rCfwCQi8jF8IdTxrwxVLrABt5HvlaXcTuvyoiji4ZcdA13kqtuWgq9yIghRb/
NrlIFLqxu09XYxpeBa648kkq21YQSigepojfnaLYto2DlF/T78JMFqskBkQj9PKqCoYK00ncPLF6
nTlNyPXjcyTmjdNMpSFCC4lUhrMFWWHjVKyvyGkAWMCmfqpMsINFvEWr3iz9vqfZCUZlW6V0u2pr
3q9kBzOk6DeEGAE9yzPOlCgGLG42R1tLIwUjhzLhIC2kZUHRvkWKiPv8cix64gUNWlptHd84LrBy
pvW2dxHFBx2BZEElAmRGlEMiVV/Ac93JhKxuzBfBpm60uyRxCCTx2Ax5nNlXATzzPgpvJTJybWze
ZE+sZWwNe1/qN/6o7JvCqq4NzEgXiTDfMrPOAGfbfNZtSWF8dAjSUEzkyjLJFyifygLpCyV/XFJV
RNvCVQ/wCC8rh8N4ZHm3SavO+DZSSwtjtONQNqy4mU6RAJBliUvPko8BWDk3aLcC3apMI4jZHCrq
MXksrYaJP/Y7bRh/5ZnYtvjG+i5mnSJvgud+QjpEPcjnW6mxfu19uAo0oS2w/cMSxy27mt47zs6t
UMvWbtHPKVIIBZplgH4zAmqkeSAIg7p+LsyquCDOZENp51i7QIcHMkgugm4qj1SfHP4f4piC8KfW
EVQmvoUAm6VRZ7e+laWr3jbljlZWuZrwbeXowK0+2aWtTW5ZcRoMOGvDOPtHbDB5OSlE7nbkI6BC
78HiScguOvY68g4ceRi3UCNhjwIHbYBCcSv3jFbjeSvEA8BksfGttH0IrLoguR3PeJ2456yUe9dQ
LwPhjzGLst/5lIx4ZRrFacoSLNl1MD0QWCDPRdKv7Q7tTpiv6aZuXbo/dYW8jIo6esOVTn4wgspV
XfxyI6IDAv82JPymsLr7KCfpkXPN0givynJ2NhY8cskLbi6LpNo2Aq0aLs0jK/xRD2JyScs7M/dQ
hmubgGjfxPX67eTnlzVtkVVIC3mBt0esKxx/UCDkVTQ9ki/lLcY6llu3bAH9tu6DN7W3dZwfPbpW
81JwP2bjurLJeVa4mQLDWDlucxvo2nBnmWzzTIxlkCNNMfJ9RFTczBgHg3w4O4CuHGlkCDcj32Wn
xF6QjdTzDG6V3W1Q11eIDlJEuT3nnNHnRQ4b4GCmPVGQ6BEhT3qVQjdUffboB7jsSeuiUy3NuUgc
OciJUrORj+xCA8JDbEyVvP8lhRsThdZKeIkJp7VO+q2toGXksT9yTEohJSyzTHNOEjnfqbEKC3Sj
N/xMuiy5KYXAkaERHvbiNLG8JUYRs2Kr7Bg0QYfsqKU7ysmvaSLvmJuQMzfSJ1ZtiqnTuVDzio2L
e++BOjYG20DXyZsuKvYhvhOXfLbwCzz1TV3s6qosXsyyaQ8lJ4j8LC0q60Jv2+bVTSz7uZY5NULS
oKJfoWjpSExaB7a8Qjl16oIadJqje8k6j4rhxrGLUS1yV/dwXtTVRZ1zXk5tBElDL93LYBrirazZ
5cfWTPyvUjrSWalhY8BYG4SFeBoz+UASVT7TqeSlHpvlQ5f3K5aztW0XzbEc5vavh0BnIaE2X7a6
Q8nVJmfSIjRQm645/mjnI5mMhAoIAHNB2yKvEjRGLqsUNo+thvxk9ymM/xDtCzLDalMPzLjM0h6D
Pgr2aW0k27qScwZXoweCxD/sv61jVceKoE1qfTVty6rsi/M8QWBXJGGzQgJrnKPDyh76KEZgAehh
lw09wgcNVUkCTFlQf+JjYDgr6XnWRkdHhOOpnFcE6WyaunexshniZzOyC6AR36HQz9sETnprlMTI
6PrYvwlwM/Q3XQAhVIumQj9oZVEKMrotD2PgyB6I4ymaZ0o+wsz2RdKxGBUod7hAL34u7OyHhWTi
xo0yq1hwkOvZERL4gadYz8hrYXYJKiX48X2SD1dDO1rULOPKaXg5mxZzGdM6RpOQKwknnU4Zvrax
Aemp1aLnbe9y4JqF4dRblVYmCHUh8u1/NMSbkQiOTrcOY9iRmEIrdge979uLf//r//z3/30Z/tN/
yy9pWPh59i8IYJc5PMD6v/5t/ftfuP7m/3X/+l//VqbhSKWkJV3DcSSprga//vJ8zVaGf9j4Dzbu
ylLAkGHqTsfGtTeTZe+/HkJ+HsK1DHKaBG+rsiz9/RDZpHOopVQEdEMulLjR6rehvys4dZvnX4/0
h4txLVMSxWbZtm6qDxczQTzreUmgTqBHU2I8J0b6+u+H4BRgztJFW+nKfn8xXY9IqYwZItAvh+ra
1nZf//7Op5uldJylwrF0G1ukKd7//knqjYkesOC0SFbmmrqH6roltAi/2t+PZFuGiZRAKmpVH65E
Op3KVZhzwEdIoRfPCQrQttsG0t5+PdDn5899Mk10uWSQSMf98FRa6Xp8aUf2G6A5YXsvdOMQNMcB
zso4vn491vxDv5/Orm5Ly1SmrQxHlx8uSqMDofOSwKEfb2yxg+uyJdX0m2ck5ofwcRRHVw6Px3Bd
abnvHxLdlrwvQ2pVeLyX9drZkm230hYwvBbhmr3AylsBQuXfdLqWcEZXBNIu8dMu4JEstVW/8NZy
Za/a5d9fPKws27BMR2KY+3DxAxAKoC38WF1JWhR+TGpfZ18PIcw/XTo31zQN5RoYON9fOhJkvdcU
tftyPV96t+pWtHeWEBoW0+J/L51MOi4cMf8GC+Q/Fx6vsiVgiiWwomWx+vqnMuYb/u6BSEMXc16V
gzHVtq15Cv62ilHdSjxFJxeDzZ76gYGDArws+aY39cY493ZaenQWLQ/hLljcvH53381PL+2H4dX7
4Tv8vTQaGZ7esUcV7krJZbZ/usiXwEDFkkpauCfUa/fSLSEDLIrF+bj41S+iZfTNDPj0qvEmsy7Z
wrAIyGFRf/+D1GyRJJ0oB9ZzviVDZWupAGl57985gNTDSH4zHeYLe3/fWaJsZpsw4XniXHg/npGn
LoX/SZJsWJ/nHsA1vbmuG8Q6Y6XOzTJin5x+s8gbf7hIXnAddIxuK97yD2+fk7ikPQcGpCjdOcwV
Sq2IYTnZPyNaiX2X7Ef8Eo6ozqUOlzwjwXfFCfkyreIlnYiLrJx2lTadxmj65ttgzLf30+1Qwnal
zg2x/1k3fpuGVU1nxazm29H97L1+zxb7ALuV+gPsrzAFL91vYiO7EMgDaq7sm6f/afGTPA2X9o9y
+dia6sPTkGajjyQIIxGdj/UNkIPWvCIR+pvl748P/bdhPsx21STYWDKGsb0tugxcXbe9/DlYNwbO
1jKN/z+v6sPj1sGQdkPHcJYDUCBFmaWRLqJhzfx6Efm0eeDu8epI5gPfKR7f+7kc9xOwrgQfZIsA
sQYRE0Bg/9shXAG9StLo4YiPBP39EL7kTKU1gkZkkP+wRR9fJJQt778e5PMsIOyC7Rbfdcdy2Am9
H6RIRak1NtE6WqhvDba/VdY+oL345jX8vOYxjIvyhR2pIw05//pvcx06qYmJz6UYYdxn/aVeosvE
KFTY3zz+P41jGIJzuSHZdH38qIFTYFeJs4D4tobUg4rOWeJxpg9QmpkXX9+6zysLG1XT4uEbOv/5
8QUKQ+Wl2OFpxdjWmV/cOM0F3c2T0MN1G8jt14N9ek5svpkEXJPL3XOdD6+RJuh+ZZEjF2XnmqfS
idEuIOhaBo3+zefx02XxtTaFnPeUQriW+vAGaaHXWtSBqOVUCHYEiq7yhC5r3VmPFpbuv74s07QI
LzZc7pL98TVqyzSNfZ3B8ghDkwrWE29tj7z5r4fhJGEzwXlfXefjR0Dh5rJQwYJ8yM7D6n4ie2vs
vnmTPk09+LHUsXlGFptX3RLvp3iXpROSMzpi1XjehY+Fe5TJwzT8+PpKPi2n7FXBKgqdfaSJeOrD
8ahrxKiMBJItDrDqlA/piKAAOyxCbhv7LWxTUxIXn/Y4s78e+Q/zgo+MZbGT05n1zrwi/vYKcypL
3EEagJpMq9+WzggyazLFay/Lah/BwFzYotW/GZTXiN/23VdScZns0CXwHZ35+OG2lulUd8RrOovV
anVcrc5WxzP+bjP/udksNvv9YsF/nG02G/5usV9sm8V+u11cb/nL//xBxyf7ud8utvzyfnHNv/75
Z9fzr/OX5fznkj9W81+Wy8VqeXW1W12tdscdY63mv/DvJX/u+FX+ifnvV6/H+6v74+uRxEL+2/HI
n6/H+f/Bj3n85qX8PLlouEgOkBJ/oVL2h7tgtQDDhwYbb4S7TkDD8Omr6dXVJP96Fgug4bwnHPWl
svUP34NYdF4EyQ+/MBgQ6U/47cajA+w6Iaji6wn1eUnjczO/M44lLUb9cE2mr5I4dXGwl551WcHV
lBriR0v75ks9r1fvJ5CwWDBNnUtyDCXmef3bvPUaPJAjdVDUOREBjT+7IMbCgloGijqq1lG9WOY3
Q/7hymyHZ+XYCOj5FM1P87chAyMWhYgCAsY66lpp4rjLitbaCRd3980C+vmtFLbjurYOcNSx2c+9
HyqsHd+yKewCgIkdNFPxA1baYe2FJfiCtitw+0gqy3/95Gwmx7zaSWIuPk6StFTO0Hot9ZkO0Wm8
HFE8xtk3p4U/Xdnvg3y4iYWhWrRQHUwIDKtXRcseRZKEyiOcnWJxHmwUERu3X1/ZH96z+RXjwECg
BUeUD4OmiecFVsegRpACfqftpyHBCpPqfoYR/P1YipgdhwKOzWnow/5O5aIK/ImtakgL3dAOtXma
xK5Epfb1OH+6kb+PMx/Sf5uNbtY2Q2swDsFLKzu8jvxHN8UUB9Kw/u5QM38EPrxsnPJNjKBs+ecy
3vuxage/WWJQuauj4mqqvR/h4H0z4/8whKOzaXANzqwkRM0v32+XQwBY5oUJBzqFRWWRYb/EL1J8
szZ9PpzhHv99lA8TAR5gK8DXSaxaQN/at869cQR1DNIVDDtdaphswva5rlc2ouKvn5fx5yu0Wemp
sBLs++EKo9YfqVjTTSvjm8a8NC197gbjH76MvT2BAY67BVUsSmJKDqO3Lfv7r3+AP6yYXPv/jv/h
2km5Cr1wnjCM7yfYDs+jGKdDDaX5Wsslzdu7rwf84wULxxTszZg7H79uRueI3Km44KIC5Zn25SPt
os3XY8w37cPMdAwOfQrcKBWPj8WH3PSxA/qYzrxa3mPn2dG5eCx8/5ulf743H4YhJtMRrCEmu3Tr
w8sWFxCI9AifQ9rLW0v650FCrliWvMS+NXwzST9fEntaPBRUyW1qpR+r8VpvlqiOeE4tsTRlqV4E
/jrCpB6/vnOfL4lhOLOhZ2KRMowPlzR2wVQgseJVaLpTMKQry3LgNY9rDsffHBP/eQrvb9+8aACr
1m0qEq41z5TfXm7X0vBnd4inVZLkzb0EtJM9lMGUw8WpnUJcIfBsigtwTISJiKkyzu0ik7/AZCZP
KLLzbp/UZV7gfkiycWn1TrtXRuNd13lEsCotPWOL0hDsT2mWQKCQ9M2MqQm100YrEmyIneWbPzsr
MYd13BT6VQgS80KrU6daf31X//Dw5mq66SIOMviGfnjJWiL3hjgsFXJ2NJUBLuxZMk6M1tfDfH61
5jOqorhtSiak8WF/ELkeLFE8CPQR0QGL7CcpUfdfD/GH+WFI3aSUrAxOxOrDM/M7whvK2lWLAOud
0cAaDTe4JFRafrMw/ulalEB+h9vZnE8h7ycHnbC4FBHycbf8f6Sd13LcyNKtnwgR8Oa20YZkk5Qo
UpQ0NwhZeO/x9OcrTvyjbjROI6StPUMpZkcokVVZWVlp1rpNmG6pXq4rcnlR6goPbBJyWC7h1Cwg
tSO6S60sEh1xmttZEiyP1UYZvjlFsZf1NQNYkzZbtsksjMlJkEYpbtuA2dL8gDZ2WxYMfK+F2m9B
7uxcqbLI8/DK1kQm4XzpOiPI5CFJaarb5Jt//s2+a++aLdHVjlDg0O3BVNmm7s9+X1IL23nP011y
6I9g3G1ei628+fXDdukz34530vb6qi/sKoURMpCauMw1VRyUkyM/hRJp6DrHfAbaYhSSwfz5uojL
N6SovfwWMTtrzdT1PTTBnK80d2h0AucGsLDe9VKas2WaX1zYFGjBnmhtvC75zTnOFp6kl0KMjs1a
FOnOtWNUk55Wm/GxLpDJ9qsfU3ocu1K6LT1QNCf9e0LjhCbXzDsFDBw3rtoUK4H05fk0KXDqZMRs
maSYMYsznWqKYMoGgT9P8y+IfiCXuI1k8wNoGyvP9cu9RE/dFDU13us48Zm2ccHceisDkchY/n0a
wpBZDEO7cktcuk5RQeFxSpJFZPbFyTqxmI552RyvA3hdb+1aG+5xxukkLX+5vneXBxQxpkEyh/cA
F9/MHcRFpsHdC2pu0mS/VKnfpnL5mbeB7ypB6TFLXN1cF3i5UZaicdGSQuKsEqic6zW12QjnVAyS
pPrK3ebS0bQNQgtY/GzFk769QM/NkjSiLvI4ZKrI9c02iuutSqGUDNzjZ2b+Nj4pkcP3T+7OfVqx
iIVgFjBnSyeBY1LRRda5UgGxmAdQf+Cqh2pLmuZwuKcIsCGFsrJ4YnVmKp0JErZ5YhW9pg7xGALU
Dx3VW6m1otwKufQOsuMtwF4b8S9wv5vj58/bB2f38G6/uR2E4of33/XNPS0uWwBOdsbu++Y9jUkb
at2bT4fds3vz9OPHMV7xSZfWdb4usx0wCEU7JWZdetpft2MoA0dMLAdnHqPlVk4HD1wUxW5lkRbX
yOZqM01KsvNcSOJJVgOkD5sxmYybM3hUNocsCelCDPXtdVnLCv6WNfN8k6/Ae6EIWYzWTE2zm2hh
0e0Q4ib9rrDCw3Vxl06BwICrTSMpQdpFnYkrgBDOwhYsTx678EzF2Ya+1aOtKe//WA5RFPG9Y1h0
wmizQxpGku4PFX07cJuQ8awoYt6D4ntdyGXVUtR7TqTMQh26xMYxKU0GlchzmIxHxMnPoXzXlP9o
4Dh76gCybMGA9L0zPJqQ5DS1JZC0YJpNwBkeDnRprJyvy0ehQ+cPbp2zrCsXbzRTHusMwD3glzvj
XSBp70BN+U6OmqFkGq8d5fPEKAEp3D/1iYypq7LqKDoXl0r0d36q29ZJki5gEkXJC0zIzvpnta6K
LQi/NMuSQnm9vvIXZiTk0dnE+1cEg/bMXQ293jYRUGxuJuvtLg4M+6DFsblVdNBprou63GRkEfkj
zTa5LrWZCyCUtuu+hmC1MHeKAqwCjIViUQMgYsdp7ycS87EQZSYv8KUHU/wyVs8yhBLtL8u6HfOV
l+vy5zDqQh1QBsJqft9N1UjhRTeZQa4VhXpPmBQ0h+S6x7z6mIema5oV+JTG1Pqg2pdm8s/gEVwc
Eq0b6oc4c+rmXUqNYNoZku/DPVm0QenGdRgFu1aJogZ29DJqV9zMxaXpyBqHnje3TK30ooydgPjG
dHEVuaGfgLbmSU8VFClPfkSHPth9/YqbWRRH4pOzScaVYty5PVYx9NutUSLOMm+KKGN+KnfNgsrf
9+vWIa6rs+tM6CUqYzx3MP95vkKbqFtrQQ0xLgxhkAsyDGBln6/LWDB2HKVo6iNdQR/M7HDJWtOW
OXALrjWCYQlaDNNXdbASrS2tmGobCk0m5EXseYXZ0gAU9EM1ctXimwkGVvfRH94Xf15NYL10XoZU
mYkL8c7nGxMlDZcbcOYCBkk9jBXNFF5XghqQYZkrEbUiLpP55ohnIlcNz96LkxuNRpnT4YpOQS+/
ysxPCZJmu/qpp5Xzs1ElKPoic9K/wm/G+D+cBM9gsE7veHfW1mNPoQsgOl3OvL1RwTDKuFIsOUBl
yOMLtHcAIRTAv/UrJ2XJokhMybhTWaE4MUsFdCH15YYJG1ypJCD+D7Ln764b1NJen4qYnQ4pB6p8
sBARQCsNUawEP3JUMUQDusx1SUumS0cdJWPFwlO/ObOTaI8eXbWYdLBlKB8bJq+rKPwVKzYch2aA
C7su7CKUIZmNyxM1JBrlMLRz26qB96sgYwccYgBObPIs6TgF/jfdHKKNxtwOs4TOWvljQcF/0xy8
HXk6viWoTxTUJoZNOt2GktwSllw9jFYC1rKxYsoLO3YmZhZo8DSWMytiRKLpnwsb3Dfgwzrz2cru
ry/hgvGdyZktoeLFFgNnyKmiEnANmJSArP1zEbQf89RwoG+8uAmKQZ5MXwHCg9tipwfdHa31K75s
aVMc0CBNOpMZP7OEoZxuSkd0HjE05NbhLbS1EL8QAj7/sRqimmcTWpIJpQJ2LsNQ5RJy9hae2L55
DkYQY1pylNdlLOghughoSsV3kRSYn1NN9+vKpNUcjrlj3tmbcrQOaROshBQLxmWIOo0iywJCc35u
sgIyLqBxYhA9GHIRHFb2AJDP18hcCcoXrAtBOolnggBdn5fSGsagZTItsRuBJJYDDQUdxv76kl0+
ZOkVNoiKcCKcRlI65/viTB7kTXhrhuei3eh8cOyPhsN8NZQHIQz0DFkfguIVAKxKPpQpM0eKvLJr
S1rSRU7VnNCUNqrZGTLBXTDCHqRiJzgYUwNkwGpIKu6A2cVGGve3CPEJJwbeAritqDUiiu805EBU
At5ZeJ+99t+GL2vdwUvWgQ1iGCqlH7Is57KcCaiSJEeW3YIFnNyrSQTp7XZqV6xwadmAX5cVHLe4
r2dRTtJYVq/bYPwmTfXRj43bFIKd68axdJ5EA50wEJVi7swvgEPnY9qIKFoQSTqGsykh+9VfeAZc
G/cQUws8TWaKDMogAZk1wCqSwjth2PD1rRj5wlJRJCOKVhRyQxfR7ZgpE1TRtJWlIHZC88xwrbry
oFtYKr7f5JlO/s7EAZ3vej32E/NTKOHEIdTY8r426bmuh5W805IY0cXCxtOjYM6TnnLNfDI5qdjN
Wgv8wDsz+kbKZfvH2/7WKvN/QuYWrMsgykcIGWnRZRTWVZQXGfS7v5DCeww2AtaL0vr5ihVyqow2
LNYu9FG3EkAV+hTtvWYtgbIQ5NAYJ7oReHDoF0GOVqme3jQBPEGeDAFXIbs0LdyFDmlzA0gemGb/
/NAgkFiXIQ8SNhdO26u80bcQ6ITjrrQ+qQE0PPibP189sjy81+iBEOXl89Ubqq5iAgLm2VgJj0Fo
3lWGdCjG8nBdzNLJIb1JloIpYDgLZzcqMIwpVyDcLG0iP8oAB5lpunI4l0xapF502vZF5mmmSWpV
pdFIGaN9zKmkU/ChiNoXy6hWxCxqciJGuO2TK6CEuic1TMR0rR9R/6FDBYj8vPr4FwvGehHiQNFH
c/65mEwDTUNREEPi+JYOgIdQq1YMbFmT3yJmmowGJIwQhSaM1oYdKFuQaWRKkK8oIv6W2ZVJnf+3
lJnvp64Uho2DFNAFGN98gFY2iF9Akl/RZul8iuCWrBTujJa28wVTtcExraFIYCgswN2lKwVciihP
byp7+qLYEIRc3yCxAZd6/SfPmj0XR1sDFNDLBf5fBBSIIGZUjOZH5uk/rwtaeEzj1xSSA6ZJHmce
1oDYU/dmAMcKUE1Hp/4a6z88lVHI90kxuc3ayNxbxftCrxNxwmpO7NtMbbm1S8SBXA4aRwEqOhRb
ZFXT4ss43qdMzOegqKy4ocuGIkfcdr+1nNm7rhS+zKheAgKhDPTQTeU8GxFMmfc+UCd5PcIll+3r
P24bn0mdHQHTo33NT5EqxTAt1SDXEkc/pANUQtc3cfGsnag3OwUqcCKWkYlVbTW3rIM9QIsrIhYN
8kSEsKOTjTO6HkYdoF/crqwLkLbAAFKNn7Jv7a6rIg7ShYGQ52YekFiYtttzOWpfeDn0MgC8mtHn
JpFk4CPUD5SWXuD2vOn8z5BPQcN0XeiicsA0i14QWkbnr75OpWmuLRpQnur++zCOt4ogNtF1beW9
vyZnZhCGQza9dFCOovt+AooU5vK9Wf9xq4awO6YVKMkQfdHjcr6GaelEdjSAVkeZyxZoPD8VWNf/
fMkIU5gcoMH3smssrGCmaYIeOjQgoJXAPHaQMSfy8OkvxDA3RslHZOTnM7ZW0UmB0nYEEJGZvXiM
z8OoTb/UK1BZfyOKpxBNVgQrxvylEiZGrHvByKoV0Nt4mdvS6R2RZLiu0ZKB8x4yCYvYHYaTzzdH
0pJU1qQpAfgKqsmsSXa+EpeunBv1+1h+nIanoc3hIALs/LrgtxLC+dGisVYhGaCSfyQmm0kuHSAi
wTkwABcDlWWEq+QeTntnC7XGP4M6qR+rso1uaCYCtFowmVqdBTx04IwHXwJd1awhRrn+SZd+i+9h
KXQeJExBzl9uvUZUNZL+o2PhQ99+UZqVSt5ldHD+98+cVge9VuQHir6Zmqd++NQAkxx594mqrCzt
5bk+lzOLDtIos6GKRA9p+Cl1HkCjd7K0Nst32c3iYJv4Jx4hQGno884LtW46anUqpXIBwzB8Hqvv
o/dqDExSWh9K50vs3fXgmIcf0tBZUXBJtij00OcoJonJ8J9bbWaBWVRqECPKghnmg2J+G4yDTK+J
bQU7Pa63Tv/R1vx9kz9Gxlp+aWF5EU5zhhjwsXg4nguHT9m0hw7DTRt/B7kbPfWbonlRlCfffm21
h8oO9zJPmSTf28UxhEQghDz1NR0htzCAHc33yQh4cLsdrNYNYF3ubdIrkG4m+ge5hjbkV6PTcxY+
6MbjCMyPlNypwYuSgz0Iqr/3oGiH2ngIgmJrdRs1vfXUr731XAb/ZNla/vEyHBN+4beqM4tlNlqH
bhFVKw0YeEEupCV0wN9bju9O0rMDOvf1I7hwRM4Ezjc2Tel76xHYh7Bg6MyhKw5XO3x6arpiRGKb
Zv7nVJQ2i2lj3Gtf+IgaaFVsIPBWk7sJ0pwAOCyg/VcUWzGaeauABv4ckzNQXMuB7pbg+ZWqwO8M
V5RS1UWtLN4EpFPEiMu5cXrj6JkASQNzHhRuD+Czeqy8Z11+BRHU0d6r0o3KnSU1IBDIIwwnh66K
Nw0viJ7KSer/A3C8CyI+7PKUUaCZWOs6URecLMv++wPF/38SuXkpMyo06xvgnlBgTI46lHXmLXA5
O8OUNk7+WoCuVYPy3cJ0G0B8q4MO5nyK9HumeUXxGZxmGCJQYDDfF8BcTNVjlapurPpfr9viQpiO
9dPvTFe1ZpHPmx104Grloa5Zy5RTHgLI1wEGY8qpgGGFNhUqqOl7lx2knsIMAK3XpS8azInw2dFT
WzNMPAfhaqRuYCnfWupxcH5dFyKO08UZOBEyO26yDcw1kKECOCuzKTBM6jt9VMst+XXarpvE2eRg
WwkYpeyQqbCEXRe/vMKmQg8qXd5Mfs1WeLCpNxgysEETRJUp4KaN8aswvgryDjDJE5pYfJgXnC7d
Zc3aSPVbsHah/Inw2Qp3STZBzY7wEdoV7U5lGyHTOdrqXRBKW7nut5P+wZaPiQf0BgCjkfZJs6Sd
0oNrG4DimbqOA5UZMydp+Qko9k0J1S4NGX+1RmIeG3opRsjEiT85MFMD8YrVA27G0dlMxq2d3gc6
ZWJOS1TCZ104bmsPbp3cB4CSXRe+aIRsjcCtAellftX5dmfmXTgZwFMAgt1YkBGlUvdDb4Cg/d8k
zTYDQPdRVyoklQ2YIMxblVF4l/Rr3b9rCs0MHjj+GOo+xLSO52Z56apUZ+BLXFm3t0zipW39t3Dz
y8WxW5WYVYZuEMiqqXMNu4Iu5b2pQvLpQ59RfM/s92r5JCs3fngsuke7O5LG2xbO5IKhnFtPhaNT
DLHBNN/l6mtT3JnmjRK/Xl/15UBK5N2Y4KOUOZ9ONHMBD0epG7oI59dkflWAdLNi6TkpUjjau/52
GIpPYZx/hV/lYDUNAPDa2p2/kIXBz558xMwLGEMLwCgVt43ZALqTtK7V/iqDY5aD05+3ggm7lt+n
RB7XlV+wBWo0YlwG/RWmzs8PVlXBRgDRqjA5UHci6cGD8z3O2pVq95KTQ45Fwl6UUi56h+nnoEna
wpP7oeRswVGH/IrxhY0Jdx5geN6XQkvko9X20JWDGr8pyrbemPG0dqMsVC1p+af1hjQGmWl7PmSb
aN4YBaBib7Kq/mrUwJPXcCIkcFI2tQkVnnzr+YBxK85dBh2AF3cvkpc+Slq4N7p4pXq+tOlnHzOL
A5pciZvGEKuvyRuz+6D0T1MH3UZ/T2UXXFcZapwXqfx4fc8Xoo8zqcImTpxpFrVNKoUswTQYNzaM
76WuH66LWDQrVawzjpPa7Nya26RkyhnFAGc2jTs/hnS5WgtNRHA68y8Gcyn/CZm5y4yxtnrI0KMa
P9VAQcNUl1dP9XQf1Fuv/5G0H4DUua7XQqxwJnJ2XHIzjoCJRq9aqnGZ8gFMPA3m1fDX0NLPC9Lc
WiV1cbPwPiq3jyVKKeebVVlxausgem8G27pR0hh+uO7mulIL7w16tn6LmK0j3YFjMgoRRmls9Pab
Dss5fJX56uzH4oadCJqtnpbHZeMUXDxxLeLtY2ZB8vg9Cej0Kr/66c++ZJY/+RtT/E+oJc+eOAkE
skqT4FgTh45y+hQK07nJpGoljFu0+BMxs3rXRJJ01BN0q4wP9H36wyewTK/v03VTYMLs3BSKGq6p
TCC80srCM6WAcO7TdQlrSsweTnnv6BF68HDKw0PBII4dV3fkmXfXxQiDmh9cGlPoc2CqUXRQnyvi
l8z92zJbUlfaTs4Bas4f8uAjdByQq0nmWl11KRDhbhdFQjIljBgKtU8cnuFVpQbzl7FpzB96ohxh
Xei5weXhS+C8wwluRp7yKf2xQXQvw2fRGh+c/g4S4k3dwhb0o7e/d9TLGKCUlXbf+Q+S/DNmDsaa
/rymZZ99qTiqJ19Kr2OWQCuO3+yT6ejJkKPVQ/NNsnUIw70m+jZMMR3t17dj4fyfCZ1tB1kkq5Nz
hAYlXFmq2XAXaX5xQ9vmuPUbOICuy1twomfyZv7GlAbIgmG03QD7nAWkysAbBVH2JlZ+tuBcWt6r
tNoNu3TV4j4F6hkJKxUwpPOV1fNBy8wBmzN6rvy7KLFdu9nbj3DQ87ojzzJoHypzDWtjKcF7Ktae
eR8zbjLT6BA7Dc9t/8Wn0KBAx9BEL1N29BkGUSZ62m+0Ak5QsP6rla6PxaUGFOctE0K71mxrrTZX
PLCLsfAU8jTft/JtHpjGvVb5IyB/tG0P9lC4VqHwvgYjfsWyFvwJ2v8WP9vpzlOtNmrRXgyRjiOc
LzJTPN+vm9NbfD5zJ2dSZlurgFEB+S5SAO66kSBpssMvgOlvbPnLSNtRRjZWkm9Dk3wibBK1/Y0R
PNfTSlCvOfL5SlgilvTya0RhWoxtO/MklxHlvhmMLHkQ/ZOqn+lN2ZYw/ow/km6t/+3/o/lvWbMb
ofVVk1kyleAg+me0voTgPwBl/WArNtjT5rZMYKViXC5LQZk+1N7RavYd0CTeeARH//ouLKrNoBFR
iix8+9zS4qJWfAm1QUYlvg/hrWghBH/RnW9qtWZXS1G86DX/T9rMsCbDS0epQvFuqm4sCbKRljzZ
fqq+tBrcKvqj3NyGDZQ7gL6wAxs4dXOIu66rvOxTTr5iZnhNwZutifgKq/rsecOtPcDcB5r3MD1Y
8U62nkdgliNYx/83ufNOBBDYjEFhcJjUJMT1xn0YVfuxeiKISvV9lP8K4m8UM/9KqCOTphLtPG8v
vJOrqa/MdGobTbzmP4WCgLxgAGaAUvbFtG8NM9wO9iMs4iti52bF/BooPrS1c3WrhAuziKSTe7sv
JRv8meo2H2RGbuqNEXycug95frei4Ty+opOEmXDRzsy0Ew/VWZggWuu7CQxc9/P+2/725/vvu8dn
qD/Xdm8e/QgxtriK6OwANGTeiedL0PgFUxq6r8aG+c/N5p6Jy427u1nz/fN7XQiilYiHtcGFZzpC
35MdUz01AeUDXjdAwh72nx/+/bUHG+wBiDDxz79wXwLyS+B+HQQK2C3/Xfz79mu32+yyzf29u70B
AOwXGGDHp9en1x+vNytLP7+n+FT6UengFf/YzKycf2paNoZOk0HogorrAl0WvuGOuTdrlV51/gR5
EwSMH8MLuCms6lwQ7L1pnMLb4QpQMhDTUHq3+YsdpppM1pyOUUZ9L95smpOmZQhlcrw5Hl+P24d/
9odPjNR+2q1s8UVa5U2dE0kzP0gDtuI5AZKODw9sG/PKf7ExFBkFMgeN5JTxz9crzJ08qsNJCNhu
Pz/sf24OmIN7sxISvg09nd6aQpFTOTNFlC7NgzhHzsM//3x7eXkhy7t5YRgZvDVwkcXPF0Tv7nfu
zfOvwn3+9Uy1hv/9GjfjJhC/PV3X/K18evlFQJo6Nr2FuNRzzSvaLLJADCNuxXG5fQewHlB3IOLd
gHm3ov7FC+Vf9X8LE0f55Kj2ICsNRimEAeIHfN8HsPpQ9UbA7F3X621o/kIvcAIYonkbQJ89VKnm
gKbkwGsgsAP/xQwU5144AAHl94bqtyZ0eTFPhM4CFd+J4XoraUvZQvKy4UfMDHq6eUVd4P3dn4dP
h/f37+/vdyu7+DaEcE3b2f3Rlh1dtDGCcYH5Zr9/OXxxH9e8ysX429v2nag387SWr6hFFQr1tg/W
xsF9vj9gqh/X7OQiVT0XNDNKymGVIr8J+rzdA+D4uCbhLf95sWCgWhK80nRzgQWuRTnsl6KBiO05
gqK3qXftbrsHEqDYfccqhY3ciGOwcvsue4ATwTMPEGtemk4KgoWFxJvPrfv5tQYlvXdHt9kKrHTA
WfYfNlyWAoygAYxgc/iUbAa32Q0Ag5tAg2cc0O3K3fSGGHhtRWZXhp3RnqDq/26uuEm3D//92PPn
hwcuS3FcxQ9+8uue399O0xuIJovFQV45xeLAXPmoOeypVHplK5991Nun7bf/3t/iK8S3CDDP3dtd
uvYFmrDp+ReoMgkVRnEVIpnZsuS5kxh6pWIoLMcb3qiAHBVoop/Q/tG9E45y+7RfC2su5JKoFFBs
TIQRrV2MmpZxGdiVg1xZyZRNaYUPsjGuoNS8tdqfKTcTMvPHTZRJMBZrXHv55h2Mwhtqfm63+cmf
4Hfnpy9ith16blD3cP/e/XD74XC729zdub9+Pf0grrvdixP0+nS8edo+vb4en27azS9/229+rLXS
XsTIxMViMQihGFW6wF02YpoBKO0w7DWlZe1SKS0Y+CLG7DZm7jtb29OnbDdBQbby1J0/7wnITZAP
wFtjihlk7pk3sj2pHCed6RhFnWSGoxCueZ56TKbJXHlrLYoCtRRkN1r+dXV2axVynigRhD6Qfn7N
rJ8OhJ++vdIKepGsedMHGhdwegC9pNZ7fgsHOg0quhDSWd/C5KEpHxTjp20/p87nmomPIfs0KK40
vbO1x0FZMbnLUE4s5onwC5OjIpN7CA9jD9ZQqOT7myx7P4JsQQtifUyK+xQOx8RfEby4sidyZxHe
WzieAxXjwgjp0ZkT7kuneQAJ/9OKy5r7i5l+M//uhDVwBcwLA+UPqUV+Xw3pBr5i2V4bTl5UiLqT
KlAAeQXPdrEck0bybI5DMJSuF9yaWr3pqtfr2iwKYXScBn3cH9gx56aiFJOVmCVEyUNVbKry2ar2
6vjjb2QwDcR7lJ5MeSYjBVAJQoQJi7DpmtO2BmzcY/HlfxMyi8yCKvCmyhyZ1KMUG4OqAcEwvMxU
nQ7joCdrueaLzM3bGWOq6v+UmgVkZaBORahDIm8zUxXoG8/eGt4R/rWoeXDCWy25lZqvkvxgWg+h
4VbKyotped+AlVLpZmJicLampuFbYPQifgoLd4KfjIHcvdytFHaFLc+uD/ryf0uZL6rap7pUYIJq
sjXD94P9tTX3Zea7snOTO/+jSrMVJeM9tkWJSj3Z7PiDMUobaw1VWTifawqJS/nkfaI1UFb6FTJi
iL17VdrU+QttuyPZmOvmuHC7n63c7PBGeeFVdsbKmX77IUiUXaOuYTIsXJdnImaOVoWqsYxbsTkS
G9LfTrR5+bSWOY9tu7+uzZq1zXzrqPkVxJ4sWwH8UifdW+mzt5qYW9Nn5lhLyTSiVkIIoHrTZ+8X
w7Y307fkm3+b30Yf8E4HgHK2/bc/RdIUJxloEWa/odYWbBYzm8gtr5xyJ4YW2tyE5T7v1hKdS8t3
IuEt/3pidVIf50MNmiaDnmBdBylN1fFm9P6UymumyNvNfCKmzAKnaEqhiGk/a5AWDwT7ELN+Dsan
6/aw5BeoEdMuDegks5ezo1pakUk5RgCEFz+a7MWhJ9qGHLJwW+MYriHzLK7eibDZmZ0gMuFhijCf
5skyDNxIp6+p/ouL8FSl2YH1hkxNiwEpLSDX1vgawmkitysu7vLdK2yNvj9gtgwBZzCztSDMUrlv
uG5BiHKHDoKykIEIy51sgJfUnR08R05301a7RntMmu/Xd21xIX8Lf8spntgH5cnclGFdd7O021Tq
zhE+0DxcF7Lk+Mh9EsAD2kfWe2Yaes3CAeLO+Ofw0bEfw2mlPrOkBBGtKM3QQmk4sxUsZA+a3ZTy
o5mD0VI/J1DqJmuwE87SPQE6JMhJPAxQYmYNI9hJ1KyRUssahMq6M3xuzSi4K2p7usGLpMVGayHA
jfTC208aD7g66IJdHBb1zlELyTWlttzGTVXuQsdvHugC8/YAAuWKa8GHtekSIJcn2EbgsaRZhKQB
tOO9p6juoNPEGCXBY6+mgAaOZoR8y4NfFVrz8ijbnn/oEqek6q9691BAOftUH8ZDoURgvrYmu5vB
GgCS+jdLYU5LlgnsrCHJDlqfvJp6ad5hl/CAN3F9yONegadynB59lZExx+rUHcxUdrzpVB+65tLo
lePQwCUKu1ZrHwqn1rZ6YAzbmiQfJSnIxR5qQKx2Vt23j/EkFa4RWzZABkP8CJFJDcy+atGOphS3
vqIcDXMqNnDHyZANlwU9ggCj9swJvNd6OoXVpDiiqunaJmMoUqL7G6iklZehDIk/1DI/xn1u7hzQ
v566FnaSKu+mY1RYglVbie/h+VQBfzWd4TlLZPO+q+T24ORNf1uloZFvUsVpbj1FD6tNqWfGUYYc
eK2YtmifGkgI4K/wnpzjF7WOndR1zbxfVlZ3Vibg1oqjKq+B5S8a6ImY2WXpgSYzFoxNufZgF5s8
HlxFqzZDZx/71FpJaa2pNDtyNq2Nut0hS4OBcoKdtaP51fty3W8sK+QAy0rFmQ7SmRA/DccauFzO
tRH9bIFHAxcQGvvqfT/pKy5kyUUBSCxokMgdA+5xfuGPXamZRcgWOT4cuXZPv+hKE9WyBLoyBQa4
Ic+NoCgUcWmhTFn57b6IrF9JYegrIeZSvISHgH9RQRIDmedqtCUXFkhAvPJ5WjV0c7fji9HYW61r
Nt3w8hfbA5+cAOgFl2veDQBdcFtOgLG7Tt9pohR9G6Rt44ZjsItSf3td2NLyOW8YSSA7UCudhZuR
nRlRP3IXp4zKZvajl67EL4sCSAsrOsii4H7NXk9xAYw8MCX0sKQy5Pa3yvjxugZLe0NKUQXwCTIL
XtbnewPdsAO3MnNjqXHUnfiTk8iu74evnmHu2jWAx6VoDGI0hoQwB6i2ZoZQFmoQBFHEiHHf3DLM
thm1z3B4bAflfpLbTaLuryu3dFRP5YnVPYkjusLvxgpqKjd2iq9mu+sJlXTPpBdpJVxaEzQ7qHVm
Vt0UoNgEJGsmQ7cO049SQR6+hvKxuF+QSIBxbYFaNDcIci2Tn4ygfEhQDbh9YrlONj46g2+6OUgF
Y9uvqLbkU+ET41GL/wEVbGYgXddOfdMhMO+AuMxqdiudvlG3XLF04TbnD14OEdtFkwmF4tlRcvSk
CpWc2Xp1GlzTu4+8iBYuZrOS21Z+1adHb639YHHTBPwYvQ5QxczHTHQIJAh/0cz37PcWfSu9fxe2
B+DVVsxw8RBDV42HIJFKe/a5GeZ6F1j4QPA5FJ2EbR7eeD7B0nVbX9ynEyGzDEgkW5maC8MoofvI
66+ylr1Y6ZqURVXweKDZi/h8zlgtAQg+TBL+aJTan7HUPgXjuP0LRU5EzBTR5LykaYCz1CoTz46o
vVGdOtsYdXq4Lmhx/4HQZE9obaIx5HxbDEuT0lBCkJV6qhsE06fcTm4zEyqf2C9/XBe2uD0nwmZh
UJlqre5DxI3rM7ZZcaPz2xT/+dJZjHqQscc/kCSYGVpdqVOZetiANRrE9Ew6VpobquOKqS0s3JmY
2Q4l4pYfU/BmJprWo7ZzYU9wCweuRvnzH68aIBh0dNCpYnFjzGItMwSNqet5HGi1fWMExOHqa+lN
f7NsovxKmErngTy7lvA0uZ2n4CuQG3BtCFtzwGibaS3gXnDdBCX0iomxdYgYZsrYaSsD4YeHy6yP
Zp3eqrtby9mZcrASNS7KwQg02EfBansrupzcerJkVr4sgDy0VgO2O9NeE1PaJAAgb0KYIU19Lf+v
X7puyAkE26lGfoqH3PlB8i2rtGxPhPh58V6u2hvFqf9ii05EzEnmqlotQJ5CBC/PranfZU2xT4ub
69Z20V5IXgr6SHrSaKAF7/siL+UYbVNMAs8jmqJjCWfJxyZTy+OY6E9q7NdPUtT13yUuym0djDx1
K3JkH65/xOLuUQsjj0TXNJf8+WJ2dpSVaa9ijGaKpTwkE8e43IdFvun8lffSmqzZQYYdrQxzpgMB
yPf35fSxzu817SAlJlHS2lDnmqzZIat1i2sD4lBXiz23Nxiw06LHKdvn5Xt9+HV9DRecLRXy32so
DPbkBAxW05sOiQK37onL07x8DmLtoQe7csUTLlvMiSTxJSeSDI/O+jrTBPTWz7y817PbSA4ZMv+S
5D9LAyT85s5Ya3Ffcr8E0SZNjYBgAMZ2LlO2izouM1ZSyl6k+iaLpH3lB5vQ+nJ9FZcKpCT+YHcE
WkwQx8xMMfYHr5NClnEkanOhPux2EhRXOy+z0k1XBD9qpvp3upHJ0NL5wa+x8bJdbmrV4fqHLJkO
nQewglLx5i008y9WrQ+dn+vi7hz2llEc9egQ1Xtbig/2sBYVvD15Z4EoRGP/SZsnH6Hp8psiNHhy
Ze9auIDtkh5r4dEaLd7r2nBfBvtC2Y4HM3wpontP20NMFr0vtkq0oveSX8UjUR4XFGtMjJ1vdBbC
XTGa6G1Y9T4q4jsjqVc8wJItCSxP+n1VAH/Nmf06sRdUUoMtmXLiqG4yqMDujFZPf7EkMXyeaMmn
v9jME4nii05ODOQGsUqEhyen+bRMvnftR71/SMkKqLQ0X5e1uIAcEEqfWI4+R2SvhjAWTX7kFqeW
v97ZO83avMeSq4HdjBcEdXsAWIXtnqjTBNGUVxYijPGTE70wApmb/1zXYtH8Qag0KHorkObM9kiw
dJamMP9U098zd3KEdOi9BVM1vE6Po75GCrq4aBDfmSAwajxXZuLkxu+b1MH+p35qj4oiOfsslz5e
12nR7k6EzKygeyNVahGSZPVWU79mouvCue31lbVblAMcN7V8+Ocwg/PtKezB7+TIBGyskN5JlkOY
Hz8rzRRvLDn4fl2nxX0Cmwfvga1pcxCUSJYjpwkdbjjdJH9s7vxq32W162fN525QDtelLWkmQEUZ
XwPtE8rTc81g0Rp1O/N476mx9tiqI5NNTuEcy9DRt57f/EWdmJ4zi04wWo+AhZg5I7MP7CgvpcTt
KWpleuo2a/jWS+t3KkEY5slR0oeplvsACX5kBrssdvbBYB5yaIHsoH5nhv5aQL54e59KnJm6DTFA
MSRItP0UnIFXVX7Q+9ss7/eVvZ2CjzF5/cxcCc/feIDmF8yp1Jntl9xbvaSyc3aytcwbyd8a37u9
uWv2+tP0vQYHyHYDN3fl97myNZ8lJkxMkCM2/ov1j3ZnPaUv0kO0CVbsaXH1wWLDTzJQxCPlfPUl
z2kLQCCJKsDfl61dPjwn04+Kin0K3+F12xXrOl8Bki4mfD4kfMiKnMuq5aibtEA4TYM3SRNtCmpF
RlzurotZ8mSnYmbhbV0YmV9bXDVMcD9RUfmgZdPfaAIHMONw3NEXkMW6FPSF3hEiWfkXJdgDAZiv
MdotLtaJiNmxkBz4Rn3xINACw/VBlg8zN25//sVSnQgRH3Fy9hK/g0TJYUeUKdkFvLGaYsXs19SY
WX3InLMTxqgRavkmb98F3qdVwu6lDYcSB5BEZpwvcTO1EbuWPTtxqcN9kpRkV9dFs7LjSzJMOj+Z
7xEzPvM3oge8ysRbhu3QCv+uaafU9Rsl+nh9PxZdE1m2N74a8NbndV2m3Kys7cmxgI75pen9m66y
/h9p17UkOY4kv4hm1OKVMnWW7qp+obUqkqAAtfr6c9babWcieQmbuZ2x3bXZ3gwCCACBCA93Wxw7
pwnpQld9Dq3cz3vLlcDkct/22gghwgR5IQjzaCKLmUCb2YDiV447c25VKBj1o21kIcfh1o6bSyOM
V2tRPAxKgfEJigCGdD/MtgOOuSgXvSriZS3X7spLY4x3t1ljTmmEUn8tN37S/lTDTZZagFb1HOdY
Dkn2YLs0xDj5rIwF1NEwKpBIxCA2nbZEW1ilss4zu/cqMX1lpJ4Q8XimV59ql4aX6b7Yv6YqtFCG
gOEcJeOhdaIus9HlPJvPtPg0zR9Vuc9RXi94lCArFR0DatOo6iG7jSolM7PIA8apqsBuLJFNZIA1
i4YHmTyjukf0n6R377vm+kL+NcfML9GlqJRVmBu69BVN9C6EmXdhXr8KXcdZytVdsIhaY5MDhsw+
vlQy6L3agOwaVFtuHwZlXfr3B7O6BfDmUlB4lSGowURUcTLTTk1gocqfa3RPU/VJJgW6ao8jL+ZY
NQVq30VWA/gx9sIVSaj24NDGvIWRo+N1R/yy89vqLdYe7w9qzSGWGg5IW3SkbtmK6GyWKIej6OY0
hZtbfjaf+vQczRUqRzuj47jD2hpdGls+5sLrAewoo9iAsWJKQZ+BmuXRUKFlfH9Iiw+zm/rSChMZ
pelcqbkEK7P2KpgvOnkV9H8BvMMjfAm9ZKhfAI3BjKQxATWHYJyjNWgyjmbEe71Hqqd/MZILK/K1
lUhtQWxDYYXgLBAUwMHFszr8vm9kzdcuh8K4da33kBMtYGRW/lDlqUUmEaIUFpjqwHT7LzYpkJDg
ncT7GHAM5tjLjSKCZC1S3Tk4LSNzk8W8DN/qaC4sMC424YqFJA0s1K1ggp3E2FdjfUi6xk0k+ZzF
/wIauaj74IGF4eDoYQ7UeFHLIyZS0Lk1/4BI5GxrtXiIun5Lax6bwYpjwxZIwkBHhkoyu1erUUwh
dA9bYijaZg/Zqh4Qrqz27jvEyqG9VNfQGoAsFsR2mP2TEG2aiSmioKdA549WgZGmkm1O5mEqK15A
jk7Z2+26zBw6ZCBiDMFQxv/SYpTVWcGKgToO2uIIJkQPDC5oPz7ua3e/38sB2dZLq1COf/i+x9/u
u7s/7qHJi57b5d97tzy41P7qOoM6Mf4g/qiL5nF3aeFc/kIf5/Hd/b50pi0dnUsH6dLf/dXOvbR0
/20H8z4cNA2ii++Af2XoD1v+cpZmNS/wggD9Yg9fLWwemtjQxiYF9uGXtzS24Y99/cfS3eahD9fG
3/9pMPvqfcOvfv2IfQgc/EFn+X8EB7uELOzJeu1cxVPOn6+8W3HNZYA2RE4YCQ5kOZgNh7I9aXO4
CZI134TsMI0gGDQ4XUE8G8yWk3RhaJQSNupGAmAMWUlB2QiVsrnvliuXxwKc/O9QGLcs8qbIFArv
nwXLGcXX3OK1id0fCMSGro/bRC0VqZgxkAR3Eh0L6KjtMl6SeC2dYAIPjCw9/u1WL1ZGybFSajzc
QzkUFFseugQ0u6o+KwcJrCjfKmUCGyStKqoGxQwiME+MQ918EvCPIi8hjWDuusbCyTllADfaZa5E
JpCceYzE36iXqjMD+TGBT1LIZKceqGhsoaWFF5BUlZkRQPA3sg5dI1iVb1ZxKW71NsmHYweYCsRX
UUOgnoL0pcq5lteOFUCIgI/D0xv4KObKbKYxTqHwjGNFjtw82tYDRLfVTabxKKLWlvHSEHNrFlIF
ucXFEEWZW1ceTfoK2BlnNDwjzKllagO1OvCZOXIBNhEsYJfadcvpPFt2DhPJgBwI4lpIiIP9lm3U
klINTWExsqF0lB3TOBilDN3mt8l61pEdbT/ub7C1N+yVOSZaL8NMG1sDSd4Q+G0LsF1Z9xr1Txvu
Y9DRyepWTHfjwAlA13oKQTaBioaFsx+uscz0RVBoSAMFor3NnUqkR3Hq9933uXjoimIDNtmDONV2
C5aeaHoiZX3UQGCErtbg/shXXPPqE5iBt7WZoaiCT5izukPHbA/WvXmrRlNnq/X8dt/Yck4xi4rB
4rpb0JWiweJRQx2zq+ZDDiw2earS3IPcFGAMgniKhfQPGKe2oQFlTdXkxHlrb85LwyzTlpZLyGOC
RwIkwAhkNkDT9I9xMVKym+IiPfeAV5OzGPWV6MotnVFjyiXQ8wxItr4h4cHrmFqdBw1ttwAmgYCF
7SUl0dy0cT+CH9kYuq0wyd81QUF/XZO+ZDR50LJgrsCKKY08ruSVrQuYBVBkCygG8Adm6xZDVWhT
IuYOdEzfmlKAbEV3qikv8bQSiYJdZsnJgOAEAS9z3nVKW8tgV8iRlqlBs7SjAkWbji+HnsgVf18+
mfUpFBckGUgVcUEtXe+hdhi0ojfB8KnNDzHxKQiIhvOgnEr9pKELIItGW1TOWbLtm++SyXHo2/lc
UsJ4eIMzFce7ztz/YkagPC1meBfHaHMat0OPNiseVOqWAAQX46JjhQo32LlQGroeopBZOW4QeCXY
Rs7gP3l5eUJchSb658kGC86G10W/Mip0i0MBEiBrPI9YdpPRRDfiCEiAg8eR3YW1bZBvRfXj/lmw
fPT1uoHS5cIIc/DoIi5dq4CRCOmnqTyoPU9AZfmFWwuI5XUQO4LZjwkAZz0ZAIyHBQlamW2U2oXx
aEaNV2ecjs61oSgQ2wCpDwQB0bx1vT7xPGmdInagARiF8rGsNGMbF+jduj9hK31OqHIqBkrsIs5O
9DxdmzEi1NZHC2b06VUrRX/Qo0fSjK6l9x8j7ntjCiGYUJ7SSB/tav6WaPn2/ifcnltLk5UOHRxI
HkLgh7mvajrJUy5WAPs05DTJpi/UHzjqJ6cc0DCR1PPr2KqeDk61+3Zvz5Nru4yvkEjQer2tcUlB
uaRUqauMEiB8RfmnaKYfFuEFqmsbADUf3FG4qXA+Mws6pEmoV0WDOn/2OYRvpTy5Ylo49wfFMcKC
N5IBTchxAiOU4nScXWglOSqvIL/mmkBjIMWFZgYVpMfXPkOETAA4Ate7gH4GaqAcM/GqrSuxE1bn
wgZzPGXtgL6ZxYalzK4oHcTyMFdgugEaLNTwHpV2cFadN7IVn8ArAsAp7G8QMLFVB9kyQRqg0gKt
Tp9QyO5HK9B0p2sOoN737q/UykGygIgBLMJ5CHI75oopoV9TKm1ZOJoY2Yb1WOhQ05gbm5B/ZQi1
a4QFgF6y8WBTCGOvjlUBbP6mzw4WQQvcKNmD8H5/QGtLhhH9NcRsqLjq+jpEMODQZJvGR9pvSvLd
EFw5x3oh8BGy09xx3sorhwekUlHwwm0Nvmo2hSOGSVWZY1M4ddY7ojm5eW46Q1LYkvFcNKVTau9J
z+kZWl25C5vM/TyCKVeHOl3hmOBvr5RAysONoewgscbZzLzBMSeGlvV1rgw15OC1nyDqBpT1oRBP
TfWqV4ObxsSdJt6TnTM2lXmy02EqAb7E2IZ5o7SybaSlnwy/zWrkeOXtUwx5XvCeKBYCHLRzM/fo
NIp93RMJk0gTT5nwUK4PArBXaTX6VQeZmZKXulnb25cWmWXTtC4BN6lYOIJUBs34Q8gXAgPdT9Dm
LWQjZ+1Wrcl4/qGwsXAAM9sbWDMSpzXG147UnQrDXnR2EujoyNFbIfB0jm5UVWSA2ABVEhH543Er
sQrFcx5S1Uzy3PHJc34skXHb7B/37qflbgbOvYl1uomBFmN4aCDbAikyhZnJOW3jWeogEpTWpBEB
JdImE3paU9b0tojZzQNFLqPXAkzEijPKU93YVVnE1V5vSp06YUVRKFNB+bEDDTykbYFMk78XmkxR
LwllKP5MLc0KF6Vs9XWYKhrjxRpWqtsaKNK7g1ZnYKWJ9UIH/FHuK3TRKzrxEjUcrXNqFWg9ShHY
zjujwho/R3OW5S7YYvPc0xsiNS6Jx874lM1QCl2RyMZBakyjcEslol2Q5XQiB+CNJMjfKBWkQ/Bf
hXAj6ok17euJCsQrxcEYPX3KtDmwmkpRtoJaZYHZWrQ8Is9E9ECz+rnayuUgoscvNqbmKdKqYfbn
JslecfFQwSVNgaST0c30I61qC+0+Ro2W2iyfqeGBM2RqnZRW1oTW5k4dHK2kMvVVQSGyi94nyXA0
Ohqq37aENA9ip9XtdiJiO7hdN9Ffch2mxDZKXRacBp3Mx1lEFstOJKJIvlxZAjrLa2v4yE0ZbI5D
0TX9k5hT03zUQ2mu/TwpJfmUV2EtnVq9gTI0hKLjAeJVYRwGCTgMQO0rVU3jTnjuKw4KvjXdJXEr
F79MsyZvop5qBfAUaOADbGNo36vcGB4TdYKM7ZTU1a8mT7I/5rwIH1ZgSdnraO0X7DQdFcMFMin+
IfaqeIa8WoGUiZQXXgvP+UNDy4j2FUAhbwWNK23TQB8lsWeaJT8TNCy3AclSpfASdJyIIAZIutTT
UzVTjjmWpHSjvNULW1W6egZoWRF7O/x6MZREjuwklgJpVGooxE2a/AHHRM+pJda1Z3VmWu4RHaqW
S+Uhip1CHiagpHQBGj2TMkIWT6YEgIEW+wBoZFopqW0JZhm5gqEOrd0182gE2hRJiRuDkL53DCvu
PuN+lv6keS+VnBPoJhQE14yiITWqL49lPCWvozSxkI3RAo2KHRWh3dFXFCZtWkocKzex4GIFashA
xeEguIkFxUkuuiiEFVF/7yC6HUe/74cVXyHr1YuLscBEgmGsthUlYIDRg/lXssm2/rxBI/5W2JVv
ifMT6mSObosuTlo/5kQXN5cUTKMDAUxIItKsAM9cT6GEvOdMEwP0Ns2+oW8kfRHS1ilnjwy9HSc8
mMbNfc+YY1asbhuKjCTuCU19UkU/036ZkV82hwQaHBBiFmJOILPmIZfDY2YWB3ZbTmQZXrVtBRdI
frtuOClXno3lf7/IRpIyz4E0hQ29RW0t8gkI/zvh476PrDkhskJId6ICADdkggljDCejWdZpoA+Z
grds83nfwG2R4Wtp/lpgrrwQBA3gWV+GERiHWtjNtuDBH200cftDMHjjpnIlT3vUnGIvuGjuSOwR
sql264gb0JOAXvL+B/FGzISGJA7l2GrwPVML7cQa0j2J/P8zwbYcdWXfGNEyqRN+utJfh3Zzfwzr
roHWCnlJb6Ch99o1wlHWe1BjQz6UNHZKvXR8l/Wn+zZus+HLwoFPF8TIJjp42dcPZM11Qe+XhXuV
g/feTd8AtBoCKUi3RdBsKs6YbgjyZcYeMyikQjtRLmGv96Vn6b1/l52n1AkbV344DAf5YLgoy7qc
QS7nEHtEXg6S8f+sAjhu0jGTNbjoG+ukjLPT5C7RdnruDqD/qMn70NQ2rZ+qgbM1Vj0R7aNAsqKs
AJLf61WsDFUIxxoDxg0e13t94uAmeb/P7LwGaACjzPH7CVEdSxs8kYf9XJbkdvb+joDZS12Z6mWV
wkKdvPaSP0Z7dBKD6d7jrBLHDkuiX6udQIYIdpDaNSL3e/I4H/oNAM9O/FnswSfr5375WnHQjP+H
R/53eGwuOwmtZB4HmEV/y/T0mH+KTgJ20UTcDx/f8GDevlpurnEOj69s1s2kYust7YSIQdj0RieC
IGxeBjtbdrXTfsnBFJjH6rN1Xx7Q+z2dY+yEyK1t8irudd5UL8/Ue9aXDXNx60BeHZilEBsCykJz
7NE30PeCdCX0hED+xkOO33ZMLXve0r4SzwCXsSBAmqNxf84wVnKoPqs32cmdbK9vpWB8ou/jDmqR
TrVPRVvj7PubdxjsLg0JxsIYgO4b5m6VQq2W6hGjpGje1zW3h0gTeUOxGhINnDBvdYwgJcdJCvJ3
ZGsZW00a9l0pYIx4RXWe6BWo6wXFXnvK7OEw+aZvPQ6bMSAe4Vhe2/+XhpkDNZd7DTrzMGyUgO4R
assVpweMZ4E5wURJLUJMNKKH8TXLYlvseXTdqzHs5SCYQ0wwQFIbAjVto95S2fKu9NWH1rajQxO5
um3ar2hjDB6VrfbA2wrLujA7AY1ZwECoqIwCIMYMTh7LWJtrMDRWzSsEeUzRHa23+wfbyvzBBM7+
BeMEri8m1QGiqKpVqxkrJEATpUZJRPynmnS4VZFY1KFJh7oL0GHMES3rg2TVBdgwyvAoRs+t9sIZ
wvKNV9OEKgvUGdFipkGvCd1L1wcGHrJaE1MIoO5H13SijXVWbDMgbuhXdusn+9Rr9/mj6kRg/m6d
+e1hCLSTjqdHYecPzRkHyz701NNpDpD+3ELayH3lCWfeTDPzicv/fnGmdch6pGWRxY5sPBTKYxJy
Loq138fqLdSK4MIB5cn170NUETi5vkBWp/HF7KngKbjfXH/4fjDsgLsFNU2IgzBTrNYtEqU9xE46
+WOsvw3tboj9fOaM4sbfGSvMLEVWiL0QAQUmQ9NzCHdgXQP0jnO73T4HYOUr3oGwhwHQKrOrsrlp
gJ3qIKvl6m9oD/DKQ+opp+8Qh8fVGgXtIdn1Tr4FBv6knqsXa5u7uOYD4YV62va+795etVAWBSsm
YNRANyPTyHwMcJnUyoshdmqk2j2t8ZpP65w8JWAO31fv+rn/HA70AxHh++SHnaP79+2vzPiVeeZs
ywiaTcQY5tVpo2lnVQVXYcp5iK/4DsAF8EnoyiwtmYxvKm0naEoLG1SP3Cb10+o8CK814TjPyha4
NKMz2W/wU8g0G2EmAlq3a3a9yjGwNldIlyioVyxMG+yNraZNMZStEqNBB1RW36wcvfIW58K8vWzg
D5dGlsm8PCiKpq8GHUaETf6mGZuyt0dqh0H19PIwuX8q+0GYHCCtas1XEHVueIxJtzVl5gMYh7QK
SC1SkGo56FaX7aSxZS90S6+JgglkgThf59/3XfD2lcdYZHwwssZGykZYrAU/eROQXXaAuN9Hhwrx
l/pLM53S5Zhc85XLWWZcshXmRSgWJrtdIRxLwK2cP8BROuJ7AtjIZEu5K6BJ/r5V5ealp4JtDQw3
4OvEEYoS5fXaZmFdkq7RYid+0bYKshGI6T/DwHwbftQPT4j/nCpod4WdOEqQOJDAO1TbbhM5oZO4
wmQTu34jtsB5ot2KrXx9Ffr/wH6+MH0yX6UI+twDKhk7aEg5oZppmzvjnD+N+IzBJ5+6C7VDp7XT
Q3H6VLzBPgGcbJun3P4x2NHP+1O0dhxiiv5+DOP+Zp03WkuNGCoexIGwaOyqkw058IPqxD9bD+ye
EH91qBs6UArGvuDgNlaOqivzjPMrBvqPlQjm+3prJCcD5JlRqdlmxLHztdRMyHJliPF5klK5amZM
+uQpi2rKCYTwXvZCnfyp3UibOXjtHdXPbMVD5eRkBdau2xSOxVn7lW0ASWsw8y2Z0kVO4NohmyYM
0cdj4SZsAkt46BOOx9/St8O3UGtC5kaCJhT6c68NWFMFEpMZXAnmsd6Kx+HUl+5s2rMTN3anOkmE
zO9bE3Fu+Nv3DmN2GffFIVpHoMhIWphtf6EjBQisbJvsI8/cxj/nk3jWAvQFx55nbSXedb5yR1wN
+GYzJZVc9bDceBRs8e/qZxfM5wZ9UY52FL5XhyZBLMF7J6yt4+U0M7tmVkSVRhKsJrVP8wdd/31/
W97+PnCJqPdiWpFJv4kuk3iwlKaOEAShaL0jkVXuM9Aq+PetrNx9C/xxke7DHYMTkpk8wF11IoBl
3yEHxSXb3Bs8y8P+R3rKVgLyiR7yY286k22446/O6XggxZWj8PoDmHlMLD1XQlTKFlEhHw2IiS0d
zM/28P7b9Kfd6Eb7ca9+yp6Kkoxd7NMXVbaJI+5O7exUIfLFvLL36sRfzAhzHg1GHEUKAWOdAi40
Sd2GEDm4P+m3Jx4gZCCXwPIiokFh+HqraOBCA5NuCI7x1oBCdGJ36DIt5u9R9Xzf0HKiXZ94MGQh
1QG0KYDvLFYtrTSixioMmbSzHiOlIHtNi8ijUmgqWHzT3uvmObSrvuKls9YmcQn5wcEGDTNw314P
UbCo2QsGJrGrEyc0Cs8SeI1WqybwNsE7FB1JwORdm4hIpWcFOKQdgJAe0jL5BuJOzu5YN6GgrVrD
NY2xXJvIR0sdug7Zx3w+jta2Brzu/gKtbr+lDvi/Fhjvz7K5TLseFmLFGTw02KFLonWHH0uhpM09
UOv4xH5LX5ABjJzfIlAenC9Yoi7WRYDgwn2hgssBeizXQ1TNUUiBuM+cPsGdvwQd6jl6GLhsESvX
kgRymL+GmJFWKskyOYEh7Tk7GGiisavMLvfJNne+yb9k37TskLPPvpCQ9wbHbLQ0L2at0Zf1s8sX
cQcBpI8O8/nHPCcOup7t/CcPTrj8ImsRT0qwwQGziyooM525Ws6o+6LfOIJEUCmDYeUhNCCf8tBK
m/uus/zSrSWEtAghFglLJokk5xFpB/TTOH24m2dXLs4jDyC/EhkuiE9kIcDf8tUGfO0cRlsJZf/F
XP19PCOTWAW9j/xOv4kCMOM07ux5g4sg2cld3im8bhtZMmBzFs9kM1imXo9SYrag4t2QzgbtuQ8u
HuyRxolbR3Aq1/oD7Md8jPxxtpt99298B0ir/7XPFh9EArShOsJ+54SPxlav8UQCesGhwew/zc4Q
u5LDOa5XYijM94VNZk2TsSddrC71DWqTbWKnO+NdoPbP1Kl+jRi8G3ujF34rj7yc8e0pACACIlLw
w6kGTmxmo7RFPmvVFKUAqI4g2A96wDhNvEEQn3YphMrw6vjHTXsLDvbCJBONl+0IJUEFJlNd3Hby
byAz7MbgFNNX3rnXVthHZyJLYTHDSnlQftf+/J7v1K1yBDGx5qk+YI8dZ1uunOhXFlm/IW2Dk06E
RRE5g+90M7rkPB2jp36T2fkRZPYOSt6Pop+8SgiqdmVw/1hY8aFr+4wPFUQKxUSH/XgrnK3nCOXb
6g0Ar4P5MkXevIE+S+FUL/IJ+ef7pm9PpGvL8vVpkc0mKJ/EGKo9xVuh/hkG4osxZ0F5NphLvw6T
gTQDRpf0MRTfop+C+mESnbf5byO066EsgcHFY2aU4jQNF+cUg/4gko3oEDf5M1k2doJ8HtxxJ+9R
wXGVl38xhUvaDnSN6EVm327inPRzrWIKG+lFoJuavvXTPy3eLPsO6AELfwP8wZ6rchX1Qr+YyKWI
BmKRfouKceQYWV2mv0bYTTCh0pYCSQAnTL/XoZuIo13yWGdu4dPXI2HrtEasocynwIgqHELVbcaf
KireldX5YnVsJG8uf8k8zDZvYIyPg7zPwuBgs9KEydf6SQUJfWV6UjfyqEtug8+rhWITBTnkYEaD
EgyvOvX9j47HZs77fcbHJ5LJkEJJ4Ahtii4O3DY8IqrbYAgjWITx0A+2dBUvk3mxi8A/EKlUwwiM
uXAIyE2V+GyAH8wCzEOVOKfP7Vvn2hgTX1JZis1igLEGOkpy7YXSd1Jsiyx1Qz2ocl6gt+oIF2Nj
bky9M6PSqmEumY9Zc4RinmvlP+6fBmtDggkLfSMLJprtvm3mjmhFCBuC2iV4GVieOAiGPRrErUTJ
FRplBxWR+zbXvGLJ5KCbzjQRDjAXZpWE2iTJsDnS4jSMyncadZwM2OrG/WtDZdvcI9BQou0sXVA+
pWsmA56iyFapXkz9fKq9oSzRstI4/5y2GwfGpV3maoS0UWImEewaSf2mlYLf0+yUmzxupbVgSpUQ
sipQnUSOj3GNQYzx5icwM1cCNOUUSKMjHRbPqFwrkRNR41zHQiBOint/6dbn9cIwE1JVCgR5pAGG
E1S/XuRWpIdkGoAwmKH8UIjgoJUhIBoMSdfu0IWUHUeBCJyCzf/xEaB7+A/MlU24S3GWo+6Gj6h0
LOPo9N2GGL+E1p8KTyhr1yg+x4gTdK06LQqLGuQmlt48ZmFl6PeljUgR5eXmEREQ2ocLTly1FhGA
CgnyvWAIWcRIrs8yLZFzCjlRQGfpm5kGqfLbErz8Hws/LB6KuUOjJEoVGktFEidCOBRljYSNXu66
SAuEuvg3XgLyFhwpBtp/bjRLjaxMJJMgtlEpOEa1EO/TaC7lk6VUf+RoUJyw1vA4NwTTwZFa4Zku
SZxDZm2H6NAjRO8pPgJIhevJ7DMBF0aNdpK0yb2sNh4VoNDForWNpNzGQ+hKDfEEqnLCunWzgL2i
Yo8ujNs1DMOWmBkkhUwgNFG53ENm4xFdUl4BnRk/s0x0ZkSbrjO9+ztzzXkw0yZwEjr+thj/LCcK
DqUJ/jnJ43aSFS8MxxMter9XebxQPFNMgFL2VjZN87IVyFzZtBlcGtVv4xh5GreJZu0OvBwWE4x3
rarF7QBbrfnDgniWUb5R3nmyuMJ1mkNG4u3v1C1b/yKGKC0IStYWbKC9wULVQpu3oeUCcTEOnJL5
6sl1aYrZ4qUQS8YUlSkotSp3HKE/dp6RaIiIXeXnHkUEObYN6fm+a6zPIbQmwRCJY4XtQyJDmaS9
jvHps4wsVTg4nW6dwKnLsaPcIPxwtKAJCXlnY4mL2a7hLOx0Qc5wtKhB8g3ZX+etONCjAqjdXvAm
J9xah9FVkXxEN5Q72+HLe+Wo23GXvITv1W+Vc2KvDlv9In0DGTakJ66Xdco6rZhEHKdFaADjle7Q
BWOr2vh4f3ZXMoAYNbLQqPxCTxjEBNd26JLYAAk6Qo1H9Uny6S7yQIE5OrKPgpSfuuVgOzzc0drY
lpUEZcpSU2H7SGiJ9zdt2hQibD0BviODNu9eBq8PQNtiV/Mqb6vmkJ6GLXTfAHd3PcROsqaGij3M
Wcdo3JrWj1QL7k/j2v0K3QBcfZaqAlTGBIXxQKRKXFTkKZIGEgntROO869eOLRRDljWSTEDPmRNS
mfRsFBdpdQRV56kzbRQTH0kd26rKY1FcuwWQgzWwh+AVN1QVcT6aRT1OCM/Kx6H6McVBLu91M0j6
k6wfxu7j/tytLs+FOeZAjkepA9ZnXsTbCz+not+kYOQQk+3/zwyzoUiUzFE+YAJpNNB3TQgr8Ebk
ij+i5Y2zd9eOZGxZvEvAYYx7lPEGpW0QSjYYEaTfznlnHYzeeqSgnk6k1Ie2KOdhtz6B/zXHdtii
EEqGuIB48ox+M7M81EVsazFnTDwjjP+FEFKv9AhGhIz6kP5oQhWUrCNnKGsz98XnsVRbwK3JzFw1
56KSEg2nUdu+1vngYmAbdaTfc0MC6GLgZGHWNtWFOXbm9H4kZtrD3GhNeN1DRlE+CNl+aP/NEXRp
iJm9uMORh3gWOsbpBlGVICBLJv247+CcuVOZfWSJSbwwwGDu8j9JHWhqbPd6AzjDRs85kcCaM1wO
h9lLxjgqfbeYQkOqOvxIpMgWS85+/cLzM4ENNM5xE8Oz0crD1maVNGqrBpc/SNGyDldRr9APVRWa
P4KiNU/gmlOOEGaSWqj0xfRplGa0D4eUTD91Oe0U5/7krhzwi5KVDLVTSBmhDHB9h0yzWKJDGW+C
OvR1guKjYXAsmPgFdrjL6xvPYRC9Wl/lnos4rs7mmio9Emd4mjXbzqCKi9J49IzneOHIA27L2KLH
OR95bClrQwPSE8RTIMI00Fx+PTQjSywpMfDWsKD9CyYpp2k5r5mVbYZbyVrQ1ghobi7gIQRtVRYj
bpxC0L9U34w28SrrJeXlvldKqEtO4a+hZY4v5zDWdKm3itRRni3JngKozNjqBw2s04wi3FtzsFyV
A5pa2Qo6MEQQRFlUyG60PcAqQkEAu4SnwiHTg0T9nZv+fd/jmVim92JUGjTkhbjFqNp2N+fHMHlV
iqf7JqQ170PSGz0fEi58vDuvbZAwNqRmRLjZAXEnvo4Q+rVVtwfeD4WYg3kWUcUU9q2fBbzm/9XR
QfoQHDbITtx0Wg5m0pu1grBbnI+NeVDG74nKiZ3WilxQpfxrg/ELWqRqB+GCpVph2Mkm8uSP8ND5
VoCL8gGE7xx/Xx8S+MuWJIIBbrHrycwrNYH24ZKkkLZh9EuvAxp93F8wdMEt5zl7YCwvokUlDrE7
S3DckrEGR7OAQt2go9seR/A4IZn2m8rPpDqG0bmku8wMQrQLjX5LAiXyaH+Mu0BobWEI9MyelVck
nGxztiEgoE6uqe9H7WGggayeqmZvdTtAD+3cerCErShBMdwLxWPaIri1h2LToudr3GpGYVcWQkWw
XDoGOXcVOtF+I2055Sg4OLN6bKdDFNpU8ls93sWqj/Z0tzVByWGn5cEUtjIerWHta3WQDj+UatM1
viwERblr4q2kb9vODYV3I/ZMVF0hEhX5ebPT0mOePOfpVtcORuXqyDTN70iVkPY4TuAlcM38oACr
OgY1/oD5k0IwnsrBYO0tijSGrcDBaRy7E+QJFSsg2L99vp1yTxkOmmSPDUSVMaFAT4FApCxOcRba
ygSNLLQcI4noRBkB0guNHNOTUAek+2GK+2ggjgp181H8JSo7gOZJ2ttd9QsqDW7Xv85ExFvuJemh
Vwp1M0X0pmg39QdVPcn0N95gNjoA3IjGhwSaGuMye6dE2NDmez38ksW3MANBcnZUVBDC/7LAcFDm
x0p56av3Tt6Q6LnE5+SRbE81SElBQlntFvtN+Iz7BHpaGwMq88opLg+y/hJKOyIndiMMLrSw7Szu
trPyYIHTN4u8XBPtId+XvRNpuROOxBnJfuy8rrGz0ms7xxL2CjlM2c+499Rir3RvHaa3iBvHLPZd
DLDDonIvA7of6Oaf/hz3v+fkta2CSfgWASSRwttEUBQJKoEwCzIW5Lmm59L4CA2vNV+tfC8Nv4G4
bqKtYmyl7yYgk/pOEHdS7ZZmMKquDmDqG0WnBGaBHDrj0GWO2iaQnt9NwzPe03afQ/Jd28/G4CTp
ETQKdg20XHy0ZrtohZ0peDUaWdGaMnQfZudqkx+hZCk8DO1Rqd1BdQX6GItuLwaz5n1RbSD1Bq02
N4OQJaCUthGLdpgHuhp7ltHapfnaVKodqru+fu9MP4rw09pjYT5Sc7Sno5o/DIPbR7ZlPfaaAU5Z
dyLnDF3yhpuptgbW3zmD+gT2rR/N71HigJ6g6RU3e7aApx998UfTvWaSV4XPakKcRgjSvLHH4rcu
NNhcThNtpGpZDsjd26DIVJO9QFO71YO+PBYThEXhFV6i7ybpfzg6j+XGkSCIfhEi4M0VjgSd6CRK
c0HIwnuPr9/HvU7szoBAd5msrMyPttwKULpTpHKGk1xepSKYGzdPL4l1MsPtmEW2BPYv7uTWjhZf
yv22OlWTl4deiEwQehjDBlfDPAbw+Yfjg4LGlLq1iC+Zqz+Jya5UOKjhL63f17dlseUSGy9HqLnM
f+bwqaKuIB3K1sWIqMz9MX5J2Yxq92MMrTzdFP2mrbZNfzCX92Gxo+QHRKKrz43wrVrHUuQb+O1H
b+1HdSvClp+vufaWN9clIwNv536XrC48Vy3ci3rtx9MevHTlLfWaqxK5JA8ml2Fd+ceEL2nwcmhl
2Jq/NTAny632Dtq5lNuhdrprdZvbXTL6aoH/k921fs7tFWVX6XlbrqQ4i+ggxN4RQByr9UshKMTM
D0NvUq7mNKNUY6+zH8NjFndj8opOFoiOHVZ+2H+07eIsw7Y16G82g7SLTT8Xr1r8PGSReTP0u5Bf
SrRomKhLq2+0AXdzUhGHZtZeXNLVj437ojuFuBdaL8YsvXgx8z9N3lZIyFjHOX5hX6dV7AzL4nH0
+IoMzBdhM6KFUrtJTQQcPtJ5Pyl2qOzM+JQ3ly7Zm5rd8yOLyumWg1x5VNWS+TJjroS0LUxPxTom
psts3J5aCPiRnRLFjdQRxu9O2umip/S2VnkJ9oaSk1eFjZ1xqNl54nea3y+Irvv8CqnYy9KuW9/j
yW8g0+c8o34w1XeYdnapntPYkwc31zrcUgKDy15zfHpnXBCt4EvkbpPuC2ljCu9W+Cs3fpv7svg+
ktr0+G1t+YW7pf43jn7Z7uXqrjd2bARD6cuDwcn8Xa1NGY8+KvRuPzb20n0sqKcADeI0dl3UR4LQ
lzjdMvUxrINdTRcDF/IcB7BaSxxDv1rclSwQu5MBOTTZLPWPJL+Owotk3qux9PWFe0pmCMTUsPWk
wVfyaBbncj2ELT/yX2F6kwDH71hLb0ZxxfwUqeAo9wT1bOm7EZWZAZWx5dpZBx0CV7tRI0eN/VLl
fEV2Mb5K8UdtvOG9Z1fa2RCOmFAcjfgEmGYY226Bv78KntU/TIOnl+/Qh93OHI7sU03xnxQbm7SR
wff3en1TCI/pNuxdaZVp7HdV2XmAZW5Gppl1dRtpl3jqYB6dZpkFIMNL8u3Sn4Y1qKa/Wu1IOAm5
8QeZn7n+J4THQtrjqc7esJeQSQQRUGfJXCMrbTFtvFx4z5DrVDX0hZBL4GSvuuIN8oVb0VePerGc
NjmEUJmLhf7O74S/uvwxDEJM/d11/3RLP+hz0IuOuf6b2G7NP8Zs8VL5EhXLbow2kgIVbZ/x882L
UZ7E8Cat36O1jzAGXkRvQAUKfUFFedW773BF+KhUHKUo3ae/Wym9989V8nW7TH7XfAntfdUl2xL/
rOjy/A8k9bYmFTqgbpPXeIRuCkqFvHTydJ+VXr6+WfFeJiyPXlbshvxZC12jJHEHs/KGipFq0FaH
ZvqUa8SlRjbZkTOSCkoRX+83g+UK6kVfWKcpZz+qT715UNPG0XJPk/xVlmyBsirdVctVM11VvFvZ
Q1deyh4CziXRtkPyKs7nso/tCC3qJqjCwjOhq/bHjhpFKBDbPIuIR63ivaLYYdLI5LHYVNNhbF6b
5iWXVXua/JG8kpeHPHmqc1bOMv+bIdzl5PVu2qjtPh9sOb4LaaBPzUEzvjTzyLMmRehDnGYZ1BGE
IxWOHfdHufSz6T6lR2HIvanC5nQ7d+8JJaQWvkj9qc18S7ou0IcML+0YrC1HRTs2zRtz400hCft6
uAth6cScPG3YdppxlcEki8oVzWOXv5sNZk7vir7FcdfW58nuZc0rq85DJrDh0E04wXUmgouNbQ7o
sEu+Kh0E431VT8ko2TlBfapNRzUu1BXjvE2kt8HwU0Oyo/E+m7dhlKnKPprQnWW3Gf8y6Z+8btNx
G65f1uwp+fdSrrTpuFfYknwzSY7ato7f8sRw2kWivkDr90tF9DTPX+vlZ0Dgp1CxYF8/QJLtOf6M
gJpKlThd3RspGKW91W6XOjuZ8UMT3Lyf3TDcLs1x1j51BiyaiXUxTn76SoF10BH1WgJLxmH9yyCp
JcJzz3DkUZy5/9CH77aebTkq/XbcccRgWftm5tXlayYeF+t9ULdDmdqpdq50v5tVp6iuufwo1suq
PvRh04/b0tiaox8VNAkUw0aE6Bw1gRRu+8mf1iAujml1bsYXtcWnSPo1mNCssWk3ZFtzzJDlIVZH
p7I4dDjqsu9s8WutYxZem5j/ObbDdSuJXs+G91Bsmwzlsf24BHPiqUvqrjPvxXiKt46t6RlFMPR+
O72VkYdl7CScmgmVnDbA0ZBxVDtsEvOAXEibHSTxe5aOa3Yd1HOCM0WziQV/yTatWNpl6Q/4cjTN
b99eB1knbx8i5SRKgSz/mOEfu8abmopsibZmeFAQ95NW0xuIAvn4W/S7bCb6HddwY9TfmULuerG4
Umb+gYsoNXQjQCbI4DM8iDdmfanaH2n4iervqTpEVW0b3E5h9udU9TnfdlFapH/fYu9X469vTwmL
eCLULDwHvGjs9rLs9MpwaKqAgzG0so0KPe4BO7TQHWWovay5mY3gayVbsttGq+hOTpX+juSnYpi2
Lnlz9cH/TPFRo6g6aAYFb28vWWcL4y5THlIdJEJDXoXL2r3M2upgGmlL5mde4G0V0zU9v9Ks2EIm
e2v4ZdH4dDlaaLrumAULyWvqthqdTd46ev0QB2unsJ+mrkc+Waq+TenOUs/Rs+rY6qafcXq4vnhd
bEMtdcL6Z1juWWE5hPS6fKnYdp4eS7OZ5/2gbWQLKnV6FqzcNlaKKYT3BhsIOjeRHh1vBbbrS/Fr
1ee6VpwiouWstiXFKG2BqZqu1AZRdq/jz1IVsLXaJN0pVlK36retmEKr2az57mkcpja+JDkqLVWv
+k2sIcAc1M2jj1/L+W3g9JRs6zcnK14YvtQ0Eh8TzlVquVObnwr3JzNN0R6k2qv2qtpw+/gK3bso
+q2qbFpZc9IYbnQdbcQ1qKvEnUZ37iaWPvZSJYJ5oHGBa33aGUQCGAUvieAJyj8p8abwW68/i9Be
px/ROKu5X4ZktjUYxe96ZiWVUxnl1MkmYqXQ0yTid33gaQ1za40PPflqkLjTRzoUdPtiyxbXUw9H
MxH+Zqwd0vKdltORMLeYtJHmjtQgzXaUXULpkpq3VsKzIpjZBc1mp9BQcB72+kqBV5ChhpsgHVpa
d7P8TQbVNquvCI2gljQ/Zf5Sv4aURqp2koCgJQ1NA6u1RdTtChbp0/YypqgxS4q9TN4glluRGXKV
37opyCyU9lV6zvHXHCPazbci/DTlyWYJ0tOy1dOQdpLE3h0WBNMm/rzPvEwevLWk/V5qhtK3Oflc
WdJo+bQw9yrzhdbdjtSNMLzrZK+YAk2aCFArXZJflb+ZGlQKMeIqZSK3D9x8OOX94sgpzxz9GPMJ
mWW71Tf9ek7bm5ivnk4orI3KWaW7LvxFEiyQDkUYJKUH860u/5bSRYkvF49CaKeFK6cbMz306Dyk
x7JibtwFcuatqj+zvyy3WIHEL1N2FlUvql9RZo+63YrYX2Zcm+GjNa/qiD1pfGBShuLnPk84hc2l
ImJUtzjpKUu+15YKGfBWTa+DuBsqC3zgUzc9hciMYCFOJJeG7dnl2g+bTPtnJK/DfDTlz4XYa4gn
Qw50oiPxM1GEfTrtcsGLkYhE7JleBrdP8CGsOmYajdu0XFc0GpfrlO/q8VGmsiO0O2neG4bBZuo5
lT95Or0/LVVk1/Mun38q/hVJ+srCc7W6U3ONQFe06W9FNXhWtmp8lJdALA5T86aqjx56W66+iggl
0rp08kbits4Bi0wFyVa5Y7yG8M4Wm3uTBB71/soKQJ+/LtavNh3bZRs3bm3UfhbVO0n2MRhL4muX
bUqY5obp5jobEahxGLmdlPtmHW3DfG1EMpf8G6l3JCz9WnR16VXU9tX8lzcaL/bXlC7D8q0kX5MI
ekUNjcfyZFej+xTtG5JdIX2ibWZX4naYfng9My47rdiepN4fzA/NfKkUOGWTDHpy1bLAkm6tsuEF
5vGPZZ3aIRBlatlbip7l+m+JgKX4bVoWgksdwvGu6pc12rTSXhSPZXjlDzv9vZTiQLOm27TeNbV1
Orb9omyvlhbb4gu9173UAimebL5oQ0MsIa1j+mFHJyP9yvJgh+OvUO/66BNgFszLtAXzpVE/5/JD
bncav2Z9Fms/ffpP1ihwkHSPJ0LxGPT1sVdvDPepk370cCeV1w42fwi+MRpOM7Q2lQyirROyqp1+
VUjFegX+cEPStABSbJpdJH5o8lcDFLSoO0aKy8AOS/o1UXsZ8Q8Oln20E+a9tr7TG3qV2bixuX3W
E5EYaH0YFCH7jSnKOiDTjeBmBF7qaiF/V3vDFsKNqJ9SOK1iDhK3r4arwnpd2e9X6xO7FkrjKkhT
0c3gVqazDgZguIaAsDSKls3801i3nBs/CO7auOWEUKm+b42g01mCV70xnDdZtGmocdv6WMf3ybiY
xnlWfvV5Mybtj1Xx+VbJt1b0P8Nral2aYbgNyi2tLuV0NcPeyXvOqGkPSPnKaCeI4VloD01HJZuf
GsS7xp9UkO+65QjiX0YR36F03RBgojeF+KQZe9DBZTx1fUUARkr/xezZS0UtKqppPYutHIYxWNND
Gc5qdFWBJivIW4PJ28Wfpem+x9AR09rR28aPVwbUe032iuJqNqfEesjypY3PemrZrfyqAmWNqC1k
BGV6baXmFJyBYwx5cpb6bBHB9HaCKGKRgYpgaouDHNOl0jHRfmluYQSq7lcziSO/IOC6XQrwiT+z
+gbvKwEQKjRgobfFsx9as62pprdaoDXqVZtTVyGmpXFtm9JRBKGbvpFGKPQUrVRnGB9NtDPzwray
wNDCJ/wX0ZDmGBeSxdcETYyvydxmFHb1i2bUdD6gsnlQhp7S8DQUp2gpli+j/kmT5kzVKewFcJSg
sbynfGxJ+R9rPQIotIZ0F5HwbxZBzfr5XAHYmctnosR2Y75X1qeF15WwHuXmJFV/SjptZPBevTpK
6L02VbKJq12V5K6a8BriXWMdl2fVL2/zqL7kkuYP+nf+xJpVPijJyZAuYodq3LLplcit5a1Q3Gbr
rORBGK7AdoYrJ+m5WB9aJf2zJu6OIm0SLK3V5VG2hd/oxyY2vpT+MxZnJ57TnZLp9io0NsLBJ2v4
YQvei+TbMpzC8Z/W2Iqu+MOk4qRagrEPBK0hUM1HDT+uG8f9Gr2ZSrpTuf9qmcaYKb3DoyCYxZ9T
cjGlj3S4GQtLDKBVXZohrLwZq9+Mu1gvDzP/HGTZnZZgzIOcam4MnwKCmzF9adoGKOo6mnyHN/Ip
erY632VWUj9F/mh5Mdf3vD7T1EtcF3EY8H53ZfXcsuQsgp9jcCuyGh3RHA8MFyvKmjx8G5GokL2x
gXX+YXE+ejIZdIx8OberW1svZnoEUEJhjaqCm9EayIBNp3mUMFT01xbjq29BbO22PI5t4qfC0cLb
dqVBat9T6xUGdgKhvdgjUY1OxQEOlZ2IAMuSFzffRR5k5ZUIqfXbmvtc+cKzVi/9Zo6CKbpN+n7N
LkJBJGy/sgnu3MzYYXCpMmTN1eK7SiGYr49efbJgFmDh2M7SdddFx2F1k8hvANvYsvBNGkypGZxC
hoc6v+nxfirWoJN7p8+OGktNZUnC6Dd949f9p9h4Qv47r//m55UZnSGRfyo128QJFWu9y6COKHEA
KOZKwptIUzxMMvlncqqcqJ5S2qXT3xL+MznnSvLo6p1KbZj5E1qkYDYy8HJn8iNCoL3HQhFeNrVf
iPXGwAi+LQNKyub5b2iXjsGMBEYgmAAlFKZjg6JR1R8KAOFm9cb4I08nV8oGt8HOvUl2ZS7aeXqP
JlJca13klP1fXfMNI0FEdAEZtij6dh3i1up8UVY++iNjZ1wiFIgIVsf6FWzVQpmT7jOTg4U6R2jh
uLXadnza0A4XSJliEx6WdSfy5CwyLzgNxDqtNvBd+Ryk1V3kaMBKxbao7l14TeZt210HcnSGOtGs
HeolCkSGJABJyauAm08+bXsAtr4P6l53Rav9tTCKM2dATMF4Ddn9SkXxFMoMenJalyanOBmgNesU
YhdxJrXBh08Az58rnqlVbBgN2RGUcT3xs3TypWb6iRKEsGfS/VwGNUK7TZKfpSZyYiP3Z51HuAmG
flaG99qkRqteVCVAv9nO9QSFVCRk1YcU98Cx8kGiOEyrk7SOn3DkPUFTvWGaSIGrsYtiDAOplqrx
M5oar5LFoOj/Vvy3ItDQaVU3XdjdBkh1RoE1Vltuchiocp76moI5FXP/RlI2Il0eFhl2pIW7Orlz
NOxS0+3FuKtSZmsMAhMhepeLIM/Pg6oxsDiqQOg6EzbTEbXcFcZt2n1J074NrzDTGFCm9SWWGoyS
mbUIuZshHB9WrdMLtKz11jLqQ9RqARPUTZwpH9lyDmET59LdoFtX/hjLTuJd7SdHVxmKAb40np50
rkHtPDKxTPsXvRDtBAHUsGy3ffmp5i/SVLxGUMHNT0G6jfV5Ll5ikIspYlaCQ++yUcHVe9mLMmZ4
oqtZn8OyixT1XBk7vZWdpOodwwgiK9muVn+s8jQgmNstfWp3DfO3Wem9cQoEhaTjNOap6r84dnUE
6KK+1VK7VcWtlcyfFq0CZgdeKEDRTPst4/t9L+IYJl5GMCLBPNXTW6Onu1k6VHVQZj4QZ8+wLcri
Tba8rsq1rcqNmG9y8TVn+6gFF5FKm9BRUhqp/1JWpnPtUEgf4vN1knqGc0ubHArXBNPZNfStWj70
HXWwgdcNAPF4zszISUJmfH7dpsewPyd5wRQsdMr11K2nSX4Jw5NKvTzBX7SM1yVx11IOrPGWCiq0
pVsteVPOre1/8+XOBDsVHr1060C72uRSq+dR/U1zjwmEUr0K4UlKQTfBJ5ropShPHQIOQuHhLiSw
A2Qg6J3daP+mkfgv+zCwV6qk9kDAGitwoDjczysjZJ7cDB1L3lJh6JCaW0LSUh2GaHTlhqr8royq
IzQXocHpLH+VCmp22m7jDd4CqU515uKu1ce12kl9EEU8kXCIDK8BalbbR0lBKUyf8VrQChkXlSBF
/s6zraieeHF5U21liL2L9FZoRLJvM/Gi5ZPxttFeGuWaVN6oKrbCZVUR4QzVnJBgBYb1qrcMa0vR
1vVbmk2gxb9SpOIHxxH+GkmTqrCdyZEZBWI9D596/U9iwjGEwBeqNzevSzzwUlVngFqsJAcYnpO0
WSP6S7Jg3jHLK8JNFYJXToIn13990bmCda/iY0kxgWAaEOeSaEENrNCYr8r4I6Sq/Zx/Z0QYgbnD
Qu8oN1NATznDTlCK3J+U43yWP0SmdNRf5Lkx8keyZ7s0uEwmgTndahJptPx1HEnDgiWnWwT7xKsI
fIa+wyzVlqnRlj5x+xhknrFnPkxbTWdll29Ravuwfk2yikgp+7Pc39KBKE8JAIzTM/HNkrdoUV2r
Z5pCjSj8ysK0l9uLpT3AQt2W5qQS3pYnIA8lOf3XVZrTzHkQa9+reJDNjbR89VQv5mDuGe5GRo1X
BCKcYwkoqXv1dFJTaaPqxI1lm9H1KkbnEzz9TGQ6DHPAqCLnqSYCIQOgEMQbsAFhh9VOLceYbCH9
V1D9ya4IZgQcxJRZFLdtyRSUGwb5AN8Awxuio9g5snlKxJPWAWXEtKG2LJzkzG+7AOiCPpigbm3z
ydXmB/D6MrzSwCu9s2S3qvdgK0VM4TDT6F3mdNq9P/cUqUi7DYitsOHuSobL1Lzor4nlzRZRhhkC
0G6s4Z/kmmxm43ed+cLI6GrTVI6m0PMByztxfW8NkJnbk1kgjqRDhwCXK65kgXQQP2gRX7XEVffj
8FyEXso9H6PtdiLRIyPUcGPK2q+Uv1h8ySUXPJOQYHae0R9VXNE0tNgPJLBQeTdafx73CQo3+usy
OEl/gl+rjJw4zeZ5ltVbKKIS0eVmYNXa/jMUVxAYOJHKgzSzKeuZCsiSLy7e8oUmxUTqgiBUbA26
IjwWuRGVOy+n9U/OXeMz+aIpgY/SALMz93sOmh4mTJRmF/cvUXHsB1sHoQAKT1y92UAbAxfcWZlv
3MPWDVHXsLAjcxrrpLLtxdiFESKpS/LqK6PjeAmyLjA7ZzHYbnaSjyWiex4He9S+p5wJncHr2ugf
MCja+iWsj5axlWHDoF/NGDD1FtOhfdIRDuWvqFzoOSEFqeo1+YMuLEFARz4bZTBB7K4a38i9ngOv
ZAfevnJI0bNjuCT8Y66bxs8v39Y/SeXEzNd/57cVJGiwo18BkaMvA4YBvtOZEUzpxqKXMvBG2oIC
1eSkwRceRcTMkqaFQb2z5DsIA118zMHfKHQlb4jBxxM/zIFDDum4qUFFZbed9upKR8J3dRPsL14h
cOimA+ttbe3wHHae/LNGh1HacFxBQllBwnVVH48r0vmSh/GJzVi5Ao6PqManawIcdLTC3ubeSdiL
0w6HKZG7sYf6JGZuGm1mwpB4C38GaYN5u6lAmgZVBLRw1UKx12Ybt5/QFixIRO/dL6ZJmMjDHSJg
tADfUOUKN35K0og2hsSQVPAIhU6gdocl3HfZ1miPiXwhjS+6W5Tgf0Q7dox2OE/Yq3llhQz2fi1u
dOuVJkQUg3EAkyWblRvcWhTrFD8o/RmSqtNeWR4DliRDxLTDbSmHRX+Q35Z8w6RdkJxC2CpLsDJR
hIdkwp+ynm3p7GaQfCwjd8UWVxo3Lv4GWCEpg0KIRtbWkP0i/aelx6R9FwTAkP991zZJS1BnLKv6
ohb7cdmg0eIL3XtqfHZZsPYbXYdXpPjV+m5R0jEKHQ2/VraR9TJS8sTFbz79PXshgCcuXY2txZ1r
VC//qvTjacSS7Nf0xIRZkfZs7EK51tdHgTSZ+R22QVgdp/Ijk5617kHEs6eb7hqHRHJAUnGcVZjF
tfuIyavpZeStRHZSeBXlcO7PSrGfRq8hRubGvqB4MetNZzEc8bIqUNFgFvRDru1z6B5dds7jvZTD
j17oYBO/1rEU09EvUG8Tt2M5xOq6U9IXfbwTVIm5zbCpp0OpvITE0UUIrFnxyvT5TUpX0vbahP8e
/DbB0Xl2k6GlCjUviW890F5yDhu+dYOWL12VOHPa8gqdzpnlqfwQibT3S+pES+0BeYCyxlDxcAVJ
Qq8i8i70PBnVWLYRzdimJvWmdgIpSN2hvoeLN8kkdrqSFZmX8Z5Vv3H0t4q/ake/ZJyi7IwPN0jN
59CPXCk3WfOXaVjclHUBR08Kz1JZiG3WW8h8bdSzX3Zk9GWrq+mlyLdI5eFU81sDn9WxEKzz6C8S
jA7VcKqsCEoL2TxRI47+NOat7INkPtTpK964XmRIG1GNvAa707F8MXQUaUTdbqV/RvYVdQcj3qnl
RtO+JCsYWJkZkRhPrc81fpN4AlXQ7NCs3bT6WPjkZuaSrntr18kX3NmCxJzOY/pmcO0t9aZga44L
U1QhtZxc1wxJ6nxfpbesP45diZPFk8uYTW968Vf0t6Y+CaHmPtuGovdVbSu0DajPUSPkpMpDyU5L
d8WpNaNqmcO9mW0LKvciu4vpu1F7ZZOiiovb8qwEoVZhfEz+p19bBC+PFbtmKGiedADrrmnduN2m
E5/mxUrP6KmXSBHViztTJjIFXLXDk+tQva/Jd1jDeyleyvDPLI+hcFCE66ylNiMXNGlL7RoNJ0X7
EfugmQ69qLgajWo7bbFB8uFzYFOS2jMQatgBSlYQOXjAUYLKAE6Vd/ulkO1WfTHi0ca/apWubFzZ
Ju9APiQC2/O0zg2v6YEGni3nREJT3BXaKV1fomgHgUSdYFpCBpOCgdi2BitdanKWa6BkdbEtkMkO
LlHEFPke9gBlzSEizVDkacVWzLWzCiCIihYjn/JqdfxFFQ2y+c0dco3uboX7Yvm3ElJH9WqFhzU/
NP1HV25kkgItdv0UEez9DOZH/bFwSSv5IMswIlDFz99r1a+mTcZwlU5MqSuACpC1AWyGqY8ifsZs
7hl3zXqR47NJPIdoaGq+1P1WyU89fevZWafsSX1oGuqwrUTG4K9xzKxHdBOIj6gmCj8zOLWWH6Uk
qLWtEl8yinjGue7Ugjp2Jr90PxmwRcFLVPlvFmUH/wJnBrozxIuW80yi5sndxqDA6ZS3ub3Oyewt
UGPZK3B76TiLO025YAtld1O3wSTFFwBqZhlIZL6nJNzKxIU6dQvAsax+jICtK+8xlN4aYZtD/ugI
R/NQQxWbbQWMJtcnp00HKvH70qmeNH9XzXcZ5bYc/i3QFRYdZCHC2UtscASGVEov0eRMyyJg5MHX
8n5r0kO1UNiU9FqjLmzWKEaG49vEUDNlVcYQNlgYlyy9WRW405RskyjeTHLxolEk1uvvnB5YTfLZ
uXJbQL92INcp5lnWVFsGT5PaziV0MeFVYKuCvasuU6lZeA7XjsnwocyPZrk/K3uhwICkQ1g1lTz2
vu+K8ifpbj755syJn5n0KtQN0+hA62ogW/TptR/Bv35nNskkbSW4B0s3gP/tcTeA+zRj0Ycx4IqP
lwB6/RzefUnSo2tOWcZ+JyAUfBJzYIKTH54gRDMCHWl0O0Xc9xsGvJccYCGEXpaVsE4haCncpNIw
4CwU536MT2tYvRXUEvNsi50/1o/kWTl+xc/+Qt4nhorDqepb7TkUQN2eImXjbpx2UniMsh8tlRyl
+5rgUhfEXaX9sqYeq6N6izXDq9SivzpY3iTum35X4Bu1LkDExW2S9d2UrLY46cxgJ0/V+Je7alN1
yaZTYGt3d6HYrpppmwyPVwGUQsfTWJ3xglJoME7N/NoPNBQMGORd14A2yojtat8ZU5UakPuD8Zlt
9S9an9q9OO6s7k+JGdH6VfhZiXujhuB6TLSvWMqvzB9g7HGApt9mOWJR5i/RuJ9pMnTm4yssK6jR
XVl501TzjQZnURSnh0yu8lkpX2J29PTEHdH4Y2i/yRfTLw2FrH8XGkB88uyaMWoMBz5+vZOBgcw6
9k2SwKQeS5W6QX3tu3yjgwd0uupNRevqAMxWepIazDUtyuGDPrLV8GRJR/AH4truYygv8ntH7ErD
90opPi0BFlx2b01k+vtXafRTUtb0H0dnsd04FoThJ9I5Ytjaksyc2Ik3OqEW8xU+/XyezVD3pC35
QtVPFe8z0usstJszMPpQ6chC+NGqThtUsklsEDHLLUA+ZnIdjMmNxKvDY5tVleUparyDZosd9W+M
crcGsCsjpDyvftm42rPbV7Wb5GR5f8Mo2MrXbHAPxtY6tqv1S4/Rc7A1IZe3wo58fXwmC+c0h/VL
Z8khIRHKmZUw3W17SsPLqH8FEcOlUNui0qKhb3y5/GdTEUvWGsDbjP4MRIuR9XSM+ljAO7+Cl8dJ
PlAqN80tyuCJkN2Oo/jN4yBZKAODM6JuIHzRTIyFFUya31LVV2STZtHscUi53bydwW1N/ZKGEecf
BjvMXAOLEVLdSDp3oNuthewLytlG+Qqmz4Lwm+wS9PJLPOUghpONvzEH7XbUtyky9mVib14HaFZh
5oH2p1Ez3nppPKV0MWVmeblO4h7kqql91oM6LrooQJQnh99xnWxGllwynhMFclImLAahuaI9id1v
lnOpX6OadTiaFYHXXY7+wjonoLY57EDVbGEXr2ZSLQYkIEXI4jcjT59nkEYbaLX2M+ZMKhMAfGh6
c/0hwas6q3E+d3VIIDRSAO08A+noYjEitsAJhbRlXLS6vSGHn5/4ran/bBtFhR/W91p9D4pzqt+S
6lFrN2SwhYHNNyzRRQS70gl3dhS6efp08mtPL9GLcKMXbynLKEAP3FdLIk2Wjr4xyTPI0y22Wqo/
4cXlOUne8sTwkt55SYrTcLonLZ2o+ZeaF+zNiDWXVuBl4Figs2HyjxTWQ5+Ev0ok75qw9pgVgdIW
LcBIRy//qkkHPbBSXncwfPW4bA3SsYF+Cr1bNva2CatFJ1NCr3sKmmYnV8eEcDl9R4J2pHQbRuEx
zgBsc5rJWa/ueaT6vTgO0jPJ/JlecNLilS79CswRQfmrZcpDsaHZKLCrnmtzUr6FOrs1/UiHrldF
76626SKy7xJwQsGUxLfxdx7GFX4+0FguN/1tlmJvMm5RUlOQgEjYDF9slJhN1VvAG71d2sskTK6z
kwSnttXoRiUUJpEVIghvg5ELvepuo6YiKo0tnrGi56kdAFDJsj8C/bXsMpiZdrTRNzE7gsRA6JZy
qN5tQiYWZaHT3bba5Ima0ZAoLNkOjT4uK6jY1YDIlZdSuSNjtw9qHHxLMrSMofXBPtDwvhS9w9il
vL9KZae7cjkCX5oA13JBPqoc1eKavoYa1KYot90s6+upYJMYSRzw6UXijsU4r/EQhr6V9hk7VaFt
Cq3uRxUB9d7YU3RUjbhKDnhkOnaEqhsxEaSJeu8lVXGZna1DR2m1r49Ff5xC8JIxaXLXBqlYEy8l
gc8Zf3OXFi42dkJZSzVb91HwpU4VuxPrvCeJGXoIicJCSNZfgYfKJcK5vKJSFvgKTKDgOgAlNmPN
PMoc4hBaEVHZJXWiZsP2NHR8kNDdiDqt/uvTXr02VRxvAyubl6ltystabsuDYK6nr+Tyb66Lf1Fm
dH7QTwEehHL4ctKW35qE48WukPHKmhx+9o7JoPYGxKVq61rZNlmlPstAnuDxZJuQzXx0qxnjg1Qk
JoYj7VkH9MDhYF5GtYi2Ulb1ri10rngjy0+kNEUeeXzOapiGa2tKw1Zr68jvuxnCSsjVxYxV049i
2tfETHCg8NdHVFnRomlGcUknHAJBxIgTtJ4jvp1YmX7lGG1K1L3w/DjkKugUub3krQbi1IRWiXNK
GbfCVjRvUKrac4I48hnB8mcybHCnCipknlDeBBmzaKVpKnxNrxA7Rr0Dk/dyM+S6eYPOuNuDMviB
VDwl3DyAVaRQZK3DNM7EOtklk+axyzKAISmrdT8oYOKZBmzEzLOdPgwIx+ag9mpV6Y4ptm24p75d
2fb41apHvZLvZaKPN70aZ+S9HNqv6KWX4LtJb4nBRjOgyqkXARl0GexWe+kWlTS7DHLd4mamG9MS
u8WoogNMx2m1zg1rXvBBQ1/01cx5W/c8yvgTxGhhu1Goez21pYPAohNbu5d3Z5Jld3YsV6m49tFr
hMp2kEZK2XJX9vUiDJ8aKgstgvwwmBA/xIBF2rxUivFoRQUaC1pqJNWk5yJi79E8Ux95JcVw228q
nIi+IiUxU9CqzSAZ3tw+RWihkIT3RpxdaQV6TvQ21QUOImGMQg8eUI1UZvWDqJ0TbFHZv5Qc5jJQ
77q0y2grI8w3Wikth8RaiulZIZ1QMXkXRrVsZjCK8So7l7RkapJ2Gl6GJk+L0VcFsb0oQGHzUlmk
9qdVv6dIs1M72Qyx4Qon3Ymxc8tup4gELAFNT0iOS5kxrruZvBbbl5yemRHhxgqU1Ew1LB0j+Ryg
T2ihSpM+8WZL3GLG/wZC86RROY7mVcVPONp/LaWpnqN3sYhqoqeW6t+ho/VskcJNzXIIR1bgw9F/
rIQfrJybTEB+Y18at/nr7O0goM2WEviv5t6B6cAgRJ1oW147VyubIc21De1hqWe5YAzW+GDd8aV0
yE9S1wh7RMUzpFvuMhI3COD4cfmoTXy0y1eGEgPj6thnWjRpTq/G1zyE4K+SLLw5/m5KHJF940+W
vYrwTimKrzklVIPz0iqKZQ2+PHJTz/34NhPkHXFYVvQS5ZyvyE9bwgj7Cd9GlusMNN6PqbmeAZXj
7sxUW3dSoJhzVxQSkt2HkV+bfvAixjq0rGQn67yYWmMc84U6mR7anNBI90YhLcfuXY9sVx6A39V2
89JjxhnoFpaY6GVEm23bh2qplvmAZDWpNgzSfk9wvuVYlxTwSWp9ei4tvEth9JC60jNhKCizFmkb
PeqyXFf2Pp0cv0skTx9q17YZBappa0PPvT6fbw6VrWBd1ioIQ7zrixWRXAu17leWXS0c42hTYRm0
qRny3Cq9NQjTlSp6lFGDRwgAR27XTFTycNl7ajztyX361Dogh5Db0ELFLTVXtaMpBeCwCm2VxpEX
yfU6BoFs433H/Mv0LUBcQ0DYohpSiJOjDbgqoSfO1XHX27de+8yFRW1Vr+30w+gpUcR4Cqd8HQ6C
e1BZlCBDSE8ug/EUCMWEjT715PBQU7rQX66LrVE7+3ae/ChsITwgVwzw/NFVqFimWFl1PGtdBa7W
q+6LbtP09szUt/U0Jb6u0kPlkA4/Dep+o98o47M07vL4S2LyclJK3xBXXX1wvtjmp25uo67ypxo3
Hurx0Hmq9neS/hswkcwCC2P5WyrdykSt1oznEPpBJK2vV6DcaX5iza50OuCZvauRjl6hERFI+YWs
7tIk9XCBoUhbT+OnZH/TGG70+akX4oo/0h3lFhABAU3h6iiqQ/06UM31HDbzbZSbZf0r8flBn5WC
fjT9F5aw1KRKKWJrdH9xTk4lqaK18i8J8qUqDgmsl5ntuSuxuKzmCT3Zl8XEWjm65DqeOh7AWcdV
6qtQIZ316DX6O05ETvhI/i4qZvqYyHm/5lShan5ztD21X4vJTMqunXTsOmOpAz1RVDZYJXIwu3nj
cPFV4lxDVBYCXq9ndO0PU8yXSb+f09QtxSpPrIV40SggQvxjmT1FjF+StjcKLyAwAocgEriEodtR
zbcpQ/+XP618kqqbgVjeqG+9eU3jXzH8lEByQeoZ2mFqtro4K/OXXDWMqNYXRT+55VQt0uwos82D
DqOqQXdNHHfvNlhIJhAhAh14+p/GAs2a7gFK+Vkgt4ciipNnlfcejHeXXvviSr6jP9b5ImxGAuCA
TsNxzaj6vvu05L+mC9Ax3JvsWKL5fukl1ZXJaNZkK2HHTAtm0eqNC9Q5DCD0eoAWGLksRu0X5zdM
+DE/ExSdZlH6mirvS0yoJjiLcF5V/6qBQVH7ahHHZLd2gR/A9pXpKYJIy3k5dXjM8dlpTb7orNwP
DHmftfXGZJFw5/nS8DZ0d6tdSfWhr0mToErBNTQ5bJLxXVaPansrgG0jiBm+X9yIlrapje8MXWrl
7EywK6f9Uhnq1FhUlUD1/XfBWTQnb52JFD547ym2a/BKJwpZmoM/UgT3Lyy99uc5fZTic5JzX+Ll
Vk2xzdNpzX92jQyvh3FNtJ+sXsuSWEYobqZTbK6CGmfui7W4J928AFScI5SW1Jm96erhv8GmcRze
x27cE94BLzwu8gxWOJIPpfIdm6kXV9siQNt6GuMEBsDc5LnCkhOLpDtRwCxLW0XFE6y0wRsmsW5h
sOoB6LSUkMPjbqIqsQrharT92L3t6sca7oa4WB2Kd/D1Cbt2HXU+nDiC0Z8QN6zd3EzOx2n6zqz3
umPgIxLoznS2Mii7Iv80Ur9qkDUk9Q3Nf6UfegyiTt4BYt2s/nNkA0pGhXIrh8C56c672sN50lZD
VzEQV0XXjwO9Yryk4Txmom9VnD7UGROKHS0/FqzPsnSN/r3pN7bFro1OWJUKc69ZzVpRd+rsY3Dv
p4th0IY1V0NeZ/rBgMTv7H+M3EABiBPMgQSE151+kSYZIG5DectoGTqCq4O7mjA3kB2ka5yqSObN
mWPKwRl9H4Bk2xrP1zOt3i0EHKAnfmDdLE5PWsMoDDx1vORYCGX7y1RvjgjRioZeAAJQAaDPHwjl
wThWU3YN1SfqPB2iUQJrohvlm9PDj4wMRJr2GkYtl+B92BMTRvKNUrw1ZU+sJUoj5dMI8Y7Zr+Aq
29VQ3UyCgMaSrkrI/0h5odm/OsbTUP+Ao6qwprdtX4D+UP1O9bso33KqAt5+qy8SbMGA1C22VJ5H
xxCgmW5ceDokJMTE8BwcTzPLnXhN+6zs9SxyBEHSbkZRMERbpQWANyYaydArEM1J5i5vvyvbRS/B
SXeTWArS4HdFt5XLpcy8I4fvALY309YO9D16hKR6TzRUJgYtqv1pqr8KWB+xurSpiOfibSavROua
7ac5XqryN86vibEZq395/mnlH4X4S6ncWmljFH9zf4pV6ZVOW4nAHfA1m/YippmheqgThPcraQCl
VJcmOF9j7kTlm+2X3q2GeSIJ4tSSOq/gT3UMXye7QIlV1wrfGXdloYhT9Icqe8ArTr/Wyx+T5iGE
4enRoG5VLDzlxLkG3y9rB8VcJq0rsi9HgaACLa+Tp5V9Wsl5tGqv7f/GnuMQtXxTHJ12l8v4sVDj
F+NCik+vERV9WqFS+dPo9gSahqw/VcVdqc9UUkZ1z5itnLnQsGTVSsrWoVCGxUQAGBuJpwz3FN2F
0VxSQUxEszRI8K0E9sGzgvui/QoMEiVmr1J2Vr4SBQE1P5EODE84g91wHHzW03uY3AWU+mvWgb3N
UnzXRDy0J2K4NlrLUsLmPvkdpq862Mr9OqXv0vWbaZD+UHx1ydMMf/DADPxDgX0Fn5tNrkGIGiuG
RdqJFCaVTme65cVGjFh02o+wLV0JKWJZswAtbufIT8ntpnxLZeRdGJ3Xr7vim4CHl+U9cw2B/Wth
wnqC+qDGW80HBzIGLTlmRQ5gHLDDAutP89Mq74W+gKOUh12HyqDui+UQ71r9mA8b3DQTHHazzJFx
JCuzOsS4lpwFLCimVMI8esXj7RDQ0L6X/WY0DnL+Ddo4fwcTwszSJVKAGhVCmHZOM9SlZWwU7d5Y
W1BOp3Vry0MxOtQbpLeN/s5oEI6xCsqHKWdiZZlYCmVUbFxRwSmm2puhy6Z1WXivwlN+2sMbvlPF
+lbnlaT5cnW3JVxRtzG9FO2lN58oiydV8TCStMkP4EgmHyVOE35AraD/vRgQAMUWCTzW7Mg4aPaq
eKU/IP4VOwsd1ACFZ4zR3oBusTnDCvEtT2e41tm52T1yDiJSxMERCAi77wrgBhKhYqGCDTnzD1zT
ohzflOQwYCsYAySPvm2/Z9RGmgVwYt/NJvGkmPQU25PtVanxtZPnME77pKP/0eltCTgxJ9XvQDFN
XBayuieDcJ3Uj3bMlzIyFgl9YxbympHWjrQ1QntTALs10ORuqtDNSEd5qClLFj3xGVi4PIskjdzu
ebiIRhVdPn1gmCOag+XSjI8m2MXlxSzeZZk3RcvZKrtc5YiROVDlu0YstE6pHtXfIJv2LHhgtL3g
/cW8bNNuW5MPXcBidfbzlYhrm5c2ab/ywo9pMGWJ3wjTYeEJ4V+ZRs4s40Vtfv8fGbKm/XyJxBwU
Xy9/2gDpxYdE7L7Qo1WJoKsyHjGmj+qFRTvbgNQ20M/2Mr3uBSxuZYlk2Q2aZht0CYTcvev9SlJ2
cVAuFAVpyEvAyms0X0wAjnC3B1E31BriY+9k2z5ldHeAvtokbEsgmX0ktKLRWxR+UXeq8pcVrPqI
lp0TOa16TzjxCnm0FyO1yc2vPgXD5sZuw12Oei5tPDX5NpFgN/G6p2B4+Q3HYTuYh1z7S1C3Q2Km
1uDLCmRVMy4qhD1ZJNaDduyGWxd5Sb1pNF9xkG+C6aDTIxhF0m55FG8ylQErv3lu02boMD/7HnwI
k0kee3kzILD6Uo2dZhwnQYeOqvG1oYC5xUEU1yb5tepnH6F3ydhwjGckVmA+AsSV2naeNoFMRYx9
rVFo/9Az9hhdHT/D9I+cSI9du7ARbMNvcOYE8Zsofpv+0HEuWfIhrtkx2BmcCfftcA/IRahb9tle
i45T0y0FGLfGH8eWcTBqFeUuY0KNxkWMCr2gth4bwN+FIaAa81NNxlqCLX2qsAZrGXjVHcmH45wn
5pMon5ZC32BCA8C3tEfVcpnJhhOOs7VbZzCX0bsSbnX0BKPzFkO8RgTFov9U9zKfTvBnUp32wTnq
UYytB2I9LP0eOJjuBmoEBCHFIY86NuebVZwjmibn7rS+rX1M2QfAJgIw/C4xfMfA+a+7Q/I+R92m
1Ge/TBrPppaFJ3IGzqtfEa1LKKuI/ttIHIRECa2gF2oYs9jHrwFgVnTuu5WNPzI8BP0nQLhXSL4d
sGeMQzlvA3VTY4Ys/bbc1VyaZPh7srauZqwqgj5gk0v7EbJpNM9hiHpOA3NQ9013kjQU540ErbrW
hjdLoosylkw4QPf6M0F92AF1jvLJjGNAxEcN1ZdmfoDmfih/8kDnoGfj1yuVujaKnxlEfkpDOwEu
EDzsO8Ubrlab5zXCjeQc5gjAX95mKsXovpZx0/rM0dCwoAD8VPAznQQ7WLpZiLyzQ0R26Mof+uhQ
+ii4I7Jyn+IM6u7dr9yX2K1/Qogz+HC12wmu/jZCNTysp1e+DINwYuSCvHBeGNqGizFT6miMdIKT
nuyvLr4KaRXkvtYxFJApuKgH4g4ysvtTuLQskmdZdyHJMvIRBAl8YN/ite26I2Oy6LToZoa9lK9s
4kcSygR93Alag7o4TeabYezSct2BYiXlKhRfaUaUicn7wMwxfeT8nynPbFDh2HSdwEHHgRinWcO/
Yd9D546As8oujv4RS38pltmp4V31oRtJHck2JkJ5NDPYY3Rz3ynfcgxKu87MyxR7s/KrGh8O7pJK
IZ7BcUWLoHvfUqhryOiGHLZXd0dkDwkkSiz+TPky9KeJ53GMb/tlnXCOVbXN+heH1WaZH4NSRuO+
S9dkFnQplS/qCWUzo/JCG1PLnEj0V7iLi7yD/bOXaohMxFiEGtPIcKnbGiyG+RGZKKI5QcHQyRdi
7yKDp+TiDl2W4zoHuHkZZDNJnM3gp4eozTNQrnlYFVLtS3jBHeeUD/myt20vyntyb2iU7GZbj09T
SW6h8UkCU4J9m3VCNZ/QSie0XjqlxCSMZSfvqCh6s1hpM1BEfsJEiANOW8TQ3VS6Oswxjhh7/BEM
Rw23IbFBL9J3ZwYqZDVi2kPRuVWxT9U1CUlz5409x59H9gh4fn8h5KOQiYxRf9NyR5ASSV7MBAau
aCmF0Mm+KLB0VycrBJsGBYw+rxoGw1orypNoaRVv1Ix07ImgmNqr7TWRj4qxtHCB0X6mFxwW7PfO
od5dBB/OsNFscruQAp9sZ0XlzRR4jSypgyVOw0lH6U5RaRz0EjPE0m5OIt6EIHGhr0ugkHDThc/T
lCRiOe1JQ5EtXIMBSh6lc9dc42KtJtsBTW3Bzz5G3LkIVM0vZ8YR/7RINSGfCNQbcZm6m9VtlOA/
3isVskFi2SmYvpQJxSqqGBQOM/YkULzjOG6La1e7RHIEO2hn2Fw9dLlLbbGVSQXC2/Q2lI8RzcaU
vk3yPgd59Qp5Z4bEk31l/NEotkgh0J2ToPguVyC3EzygtZrMLbkHGilH7Ddzlz1j4TXYBNs1FoIu
9jJk/E60npHaSmua2uHRUKVwfFYuhVQ6rIZuE74FD5sMNuHK7UMvPwMUv81Gy8iq2BVfHGkyQSd4
0nM3hrejcf7CvGb/zLdsK4+elXqdgbFp/JCTZ9ZTJ5AuMDq/VaG7ujKsJCz1yAmpL4LRWmZOCddX
0Dbs2oCENlcfIODKU1O8Y8ut+sGVkAJ3xq2gO9EI+ounD4NN2B/HrFpDfVexr70VyEC6wQ3/4GVH
5FsG42EVTg6GYyy4gqFARmVJHhxWmfDL+c3TtY24bUnQZTxwF/PlbFEb81IRI3YzoUZ4fxfNUhFu
+k0OFK9YuC15bqcYkB1Z8l93ZNSGUPx2WifIh9QlqBWQUIePtj2zto0tGTSCkSBgUiqd2nre47mB
5QXtBVUB7aUw6jA2JuDJzjFArQ3F+keuzrQMbTfCqlpoVxhfTHsD4iy3Y65v1D+kHEjffhjDLsZC
isyoQHvvqPsq/DKHDsHfvZG/Qw6gcFpFSkLhsY/rnyneDtNTyYnxsjecMHh2gdXq9Ead5mzjckWy
jZJw0bK9MZZQddFeKIHXED017GqyDNm4M3eVfmBJgnEmho+umqhX8hBapivDGFbduQw3Br6oYWNE
pwyxYwZ2g0pXnbaRNhG4yMDpeK96kbkFCIAfQ9op6ED9EkPTD+KEOTvEEGbpxhZUTn74TJqDcta9
do0+3DCvYP9OuSj/ps5jWQWXuCR3ZKW1O7tcxs0zsjfmu8LKY+bpD8O7qgWmjMpZ2P/oiyVAjcQj
Z6JDJDBe8eahKVL0A8hVDkAVrmv4b9nD+0X20cqiph+flnU3dVJfXL13rfrHJubojNY8KTyufucn
+pvobQ8vRXYoPCBL5l+Zt/LW9We8+FKLVmyZP4pj8bBP5rHXfUtbFJD/+L3/2ofsOb/OZWh2HPx2
74IyK92bpt4M59pwF0cPk3MrRYI8M1ZOwhW7QWCrIcRasLhi+HXSqQA7dbb+qjW22cXC01uuUQ4K
uiQLLs63P5xsJb7EfAA5lQk85LDfGjJq+4/pVzg3pNcA0LxFPdnP2CAwBNsn4iwdMFuAIpcNrjg3
aXQh6kttWVzGa/eAWci/4Q/RDpKqqFCkz1gSVq19DIytM7zlwHtUDOuBuT+TC9u76C305Is2vYj0
PCI3lD4tzbNCiESdBnE9sFrTwRXcYSnCqhJfo1ilMKRzSxRl/AxqtK/cxC4xTXG9Sr9qUDyLHmwP
x2F6OrAGm2KCktaCZw95lsjDykgfQQrUnjnoLpFoav260agI5HIVV4TNQdCVanxV1DdLJPsivXdc
M2hpc7P+0NIJFf230Wo7q6EMm5KXTFL/DvVDbAFuNiACnJamwgFfLXvD8NWm3ozlq5GDDCDSYR3r
6kc2MYiwsQ+j+Bq5P/K5Xo6ISAtH4lgVvDYDARegqzagFKHPmysvMzEW1CE0iYrxjphGMBsdytpK
QfiY5ZBrRNJVvqXClVf5W4/dEsQ0KKdDirsm5xPUqZfgaraBRUhc9SPd2I6S8awkaas1NtkL9jJC
tB/qX1LB551hQNJzH40LuCRfC+2jylrLsnWY7uvkHIBydDntKPh/aJ8nB5U3L07aRdXRQmjUOA8a
MpU0aZq4jDHAXfyVWNXCmHAP1eYCy3RGPhOEoSlTHF6V6qlH79OY0gOuRODlHPw6AYEKoMlMzdpA
NDjBry6+cn0zCLwfqw7SNIvI6zQugbbXwDshg4W27YBadOXcIvsyFOJ6jG2Sb6XaJr6DCL/vVGwd
Z9/3PyaVARJnNAXRfJwUDwZyEWNcr17kT+QmKYacnhbTnYpi2Sr4RSQM4jYhhhKfn0JPKj97ufdN
oA61Bm+5OOFanz8Zvw6ERr4m0QaNHcETriITD8MjJDypRKLfW8ho+HNavwK0YUBU9B5VfoJWQbEO
dvzZqesiOJT9Uy228otHy/1E1n1y04zsLspjhyzvpYx7AQz3GSkLpKepbXgwcuqc4Rn3v4qJL/pU
zS1N7Nlqvsv2EYD50IASeNCOZ7Ogr2r/dZGrpwQ+3dShwAfpx3Qr2G9ycmsRsCC7J18I89UswMNG
4avVLe8fAwVY+0oVO410w7Fz7anx7EbBNARpH78BwuD+9cieJ3ykJYhILBy0AzgyAGRWeoPRyJWt
b3MYyOoYoGvvaMMU+S5Zu3SiEhO8vQ9r+qjmlYYusD3OYpMivOJbUkzCKYmyb2YdR4FJ9NxjbM52
Q77lpahOBpEqRrWzeQUV6WfivTfBs1Zj/56k56Q+kPPGR/k2kFy/GIZwPL742vJQyZ5SvQ/2wYIC
a0w6jn1Tn19BUlrwMNV1rXKxnEPo9IkPya8WyHq1OiLllvHym7b/14JZW+O6rX/0+JSA8wsHYoU0
tBysN09Hz8AqYcg7nZxec6V0H0b7aan/MG4NMZLGfWg89QlnRLWpgnWFTq49VmI/RG8BJ60VrQvn
i/zqRv8dWz9HCDSHW0oEmsdsOVZXo0uWSbY10w9piv2oeo7FGQHXwgHDVQ1UVAhQ5kCmPwhg/HAX
MuSdMhRiem6/QtlZO5Lj4RybWUg2Nkqtu47dZuIY0JRb1p17SUPp27hpdjWsNbqbhaXPbvoSMMF7
g2XYnYeOHfKYmU5AwQM8e7BQme9Mto6k7dNyryrbWKKw+rLDj/QVNJw/FUK79OlZW/vA3kXiaL10
P1v02al1e1HQGcx1quHM6t5TkvcKZ5VaeyfevNSNsY8IbKEBd9jyRxQfQ4TVINe2QvgnvzDyN866
ofwipapUP+Bz8n6voBFVLkRFEgWrOTs53dTRT6Wc84DdbnhAdPQyZBqgjdAt0JpHUAB4M5gKJocY
Wo7+clO1npRj8xtx779CeQfUFM8EVTvpf8kn32od/3sNoizAheEhcKs/M8I4JeuQIX8u8aI7+AUr
L3D2MRlNvbGW6MRCFVeh0fuiTjFBQ+OjdA7s7pxAgdgoOKTxzaLn7GwiHy+F+TGKH8H9ZZBfo91w
wlbpAVFQPh5n252MbdhSZ0E/0MKj9ZTB84xz1tM5ySghwn2KyaMp3634kTrbwbhm48WIriU8ZrY3
hgdqgACQTTeILDor4Zr81pxoXWyJer4Cl0QMRaF3TTFIKJ29oLMwqBXq6EKJO2Pgm1qK74dS7Krg
nkxPY1xZYqWC7lbnxvQN9VjN6rKM/bHFlvylBFvCLE0smhaRG5CThq4sX5HWDmJcuWxJJ3tmBA+S
NtGdHEBYJ/5UrJl+YfsCJFtShamce8DUolk23EpS8Ib63Oqxn+1s7r5JpssnOJ8ENG3ApDQSZUtw
Kr7VYh0lnbSaFDJKh7gq3XqQMATNgen1Gn1KYtqxL89Vt1awn6zM0Ojd1p6GW545Gzn7C8VfQrln
0zGJ4dcENx4dzbNJXcMTYzSx13MFlWb9bs3tZtQVD6vSQBuZqkG7GJyjGnxEsrmM7MSLlHM9bZUu
pDz5tdFk2joUErcjA+I3cg/C6ZpYSGYjdGkI1IHDa7A9G+pY4eZXmmesVT4f8iNQhkuI6KF9RaeR
aWzRJyCJ2svyu0b0MqTnTGMfYCaa4/YsUODXVIJjnhDICYFGF5TaiMlnYOXASyff6rIVHvxVDZKL
01dG9pc4ylkZkeMoJKB0CIb6Et1Ec+oIt7BTEJ2EfInhPOfgnNVDzWVkuyT9NfNNRf6TIRUbXviu
sNY5EMgEb9OluGvNFA9UGh0dlVQplRa1ABkPVBCSJnojRw2wOF53ufZmWL2nO9kuCPMn+RokVmBM
5JbBM9wjocFOMxBxxyAXXoOpfir9Y0yIBcAWMp/0Hk5BWfaZtE4yqtFYwmEqS9tqYnnA/w7t+ZUh
KPp7lMF/tsoq6tH+77kx7ILsxnfy4U6qAhuZ4EIWAQIvTjj8dnSKZvI9M5Oz2CmB5QXj+UWBWFR9
pcT6RBQhSg0y6Sn19jZ2Zi8VMPu0W0F7icjc+I+089ptW9va9hURYC+n6rIs2ZZrckLYcczeO6/+
f7iAb0dhCBF/soF1FGwPzcIx5xzjLbBXFAHpvyTlTvtaAq4m1UUOfaogXGqkQzf/kIV2kaDXVzZI
mofHBj3FGhBBGfU3XU6v+qXpb8vuPlSitVe+KnxjtuHv4hBNIp1ElSCAiEFPxPNN5m0tOz1PgWhd
DSsEHMDP+mUEQDVU0OGkmFHl8X3Wg9WJdpJ937b9rVntDe4rtp1vpWTgICVrBWJzWNyjdbs0aaDI
PLvV7j2hq17qnxIU1ZDGXc1hiz8DKE9KtYADZBi0Im16zYkfJCjhOVr2UQM91LaQy7NZypDaT9kC
SK7kfdRSvpfydY2adxULp07jRBHuhfQtp4umth6KcEjRoLNhlGzZ4N1EAYeP0TKxb7drnuwg4sFt
+c47X9bKb8KtlVvomrWrUKY5UAu7nKE2kXFbp5irGvamRQgdsCn1ZHcHK6XmMmya+7yzaYn/CN3n
mpsfFWifMymTO26N1qbg0Sg039QEpKCYIqv+LS61BynmS6f9gyrNg8eLITffBg3cXu4BYfA6DmvA
MfRBDITkETHjse0qNzWEwVDyt3F4ktheZrIxIvDlACQytOFdGJpmCCzf3Ghuig7VEQ2hJuOlKVob
8GItB5D6GaMBwJ4FbscbDcBcdOzqG9n4UA26f/a9l6Pxcx/SkzB2krtJ7TejVBYmEia19iDnu7ZF
ZQF+fZvScHlT4gZc9cltbSRrqPHAtKv8Wye6a9PPvn0xB4HQZy/75mEZJx8DHVr4wVa4TxjrxvzM
1cfQeAn0Ow8G5YCjxWkBlN3JcB5baYXNAsRBuxLhtUJL1F8MnuSoCeVkXfOA6m6qSTjj3eTUcfws
4TJOfWAdt5DTkY/4wse1918scRNAU82Oig2adWv3ezRwAJ/r6oqURA0HRKMLTtM//1dq6A8tFxNF
3fvtiVol1iOhvSmiL6P/VBFZCPYarbfEhslqdltUHtSUEpv6Q+Kmk5yoklrcvkOT+wWq9TU39r0S
PHshMsQ3kNEL+7U1HqQcwcVj1hwtVEHDTF9bkQ3lbSCXD4o3dDAgjUTtE5rokH255/L6LaNbzXnu
QCmo4VYwqEGbUHZTiqQmmR9VAkFf5iymWmwT+GUC6LEQpDd9kAUdrmBoM2i7tuR832bVm4WIOA+W
mj4GOnJKtHVbSEvfHZ99lN4kUMboWtctdag7wbvvyBeqCnNagLxVnSqJ0oMdbAGjb1qHLYSHbNJl
i1a474wIshq6eG26ISdKfbSWzFsh1nnbQCf66XMLTCoLuNIDSgi0SDP12PeQP00eB+IWBSVkEkv4
krn+KiILnSZPuQu7vcF1gRa7+12kY63l6EJQrMz3YHWXWfg2zIrYfblkDUcFJlwv9WEX0DVXl1Yf
3TTgTDXqNw0SD8hfI2HLl6frHyEg0AzaNVcxxz0hTZ2K+9KG/b6M23cZgFbJmzeiPNHdi6W3c/qj
Rimcpu3AAfY3Nhx9AcgPJIA8ewu51So5dUSyePWqRGcBLWC3Qc3Dfenjb7XwLr6jIas5p8Z/CzwO
N9DWlvtUlhy5iJ/hA7qkYwD5rMhPprJTgE84NOog2/P+6qn6NJBajoiJhNGZRzJiFJEGcuRR0FYg
eVLtyamOtfxe+j/klv8rkNk+rhGX4dLnrKNzgU6mVexhIjO5lPyCchdX0UfMJ+BTHFAjA5TR8MIT
jRvXSBb1INxS/LD8L59esJ7GW1x2aUqTL2MHnc4tcrKt/WrkP+ry09TOavYKK08xAWXECGbKPBiF
Y2WaZxdMuOEqR81RNhFT3VKgT9HXFyW2aE8NnNpLJVCAoKFsuOm2R4Q8opvqPYeoZ1GYF/wHkU54
E93qtrly0Fu0aOkjY7LjygIbbjgd1fBsxD+1jCPcEU8Jzx/P1m8MzFdqFPZqyuQmlfce/KM/CFFI
1oqDmxJ+7b8Cb4s5oWGdGiBKguIR2numU6PkMAJ/gEKauQ1NZd9GH4YrIdh3K4BIoH6hPWgiL8/g
UFR7HV8VBxEXjyovCcAAry1Rv6x+avorSA8DJRBH25n6k+JiD1KtlfZJ7x5R6tepdKUo/bvHnNVk
evJBBgQXEhtCi7TIId7R9K7kV10/9xC+lb0DIwMxlPCmg0ii2PemdICGD96cI+Cxz06R9r3XUyrk
r2q5t6iXa8ip6Kj35WhLuDeFdq7h/0BcKsIn2mMVRT6HDAu2Bqi9Ed1V7RdaRiWEKmNnmxvDvEN5
WaGGDUCxLA3g68+At6AMeNZdAPbczKgwcMWuOZpTD+UUa48/SKo+IW91a3rtUkLzF4tLxBjEVQOJ
3w+ctY4KiYEIfYJKk7IT20fs7pT00MS3nvMsI9QXvBrUNasPnUlw6m+9/uSZZ1H+2dQQQE3wu+YJ
9cnM2NvVm0A3sRwQrhRVBPNQgelFJx66C+/LI2jtindp/F6QCt2+pKEaAaC9r4R3FS4UbIpK+B7U
1JZfKu2nL2CDCtCABNLUYNbinQHwOVLOcIWoMaLvRIqNERMCl9C8B0C8BySaKPAjyVOi4S1j9SwK
q7y8Sc01KmVC/FqZT2XwZXQQKoGvui5qSzckkdy9qUljabyukKLzIS4AWQnkV5zfeO/diN0t5xSX
Cz76ijaVjFDQfaM/OTlSEDsv2CTViyYdU5r3GvxSrHPEFANXF3Bj8YAOxl6RjkX3EwRqITzEQDKs
9kNV98y903+IgLCoeNnAQmVtEwytQRh8WQC0wPhB/8mF71Unr7wOfbrWuvqYVQc+yNh/aMO3vtw5
/kdmLG39pQhQyPZ2QMe96L1QOWm7Zd1L+ybG1Ma7kZrvIsh0+TFGYBocV/sFHl1sbxHOkGWenFSd
EasE9yM5DxldwF48apw3IDfk5nG4VHNh9l+6WuFNekBv6OQCoEPgywnuPIT3wofIOQfWU249JgGc
tgxuAOr3MGlQcfoeK8nSdk51tmuC25jSiQU88uQhA5ZCvNiUxq1gHlE2rIKGbjvGAyoCzQdc7RcZ
FISmvXON4NDRwqioMUrZ0aSG7z5ILpVB51FybCiDYC/AfecflXjWYXZr7kNqvLPXZO81Rjxd3Hoi
VRYSSuNlfFjutkeORMY/BmV7jpNaftDBF9sLM3jWvX0FcUDs79NcB2H6vU23sXFIvWcLc58CwYQd
WWnh8dS2jDdUvVrzNoaOKLpo+D62BUgxQHOL2D4lyjkOUtTR0LZVEABAkLdE5hTsE5XuAnZMyd+B
sbYMKmqxwqsm7GOeUKVITwGGwrNknaRq1zrdQvXODcKmzWNGN7C8Awpm6Ms2xh3rAJfKMx5sbx0Y
NzJwGhUh1iO5MIF0SEcrje9jOvhyrh1taG6DnZ+xBxUGr1FDnEnZJ9XWLakfa59+fAysrdlsPWOL
1qxDNU+UHgNhKaJs0EaPGPPYNVUGOizJNh9ky4zHUr83KdJmb4G5aaV9h3GLAzIZBjaK0vgtmXcd
pU9rW2SvjXPWpWWpU4ATQCvT39mx2FyI0Z99aJAGlbZl8ITWRWd+DQrQVboa1Fc0Lrm02SkNr2lz
VNhwCSiNZ5mySygstdzkUS1cRFUGiIcuLYV8+ZslHXqkm0gAPqLWr8ilGBqodCdZeEXHCX2vlm+S
cEbfLe62Sc/jq1oatC9jynGiwCMpfkjc+9C81dBpa2HztXiC69q9JVOwt9EyUOtN6CPt0t6DK1m7
AIbi4DWC7hL/HGpKqXiMuhcVJg/6Pyu5RegAy56Q37XrkyOdQKBianJfUMV0BYAo73b4BD9dQw6j
2uTuQ24BfNmhBITUthTcVTrbw+bwqY5+t4u8bu3E5xidDZheZvGmxi9B9moD67bvO+SPbI1quId4
FvZivvakcimtKbFXfQNgEwh+s8574GZ85WXJCG8KAYKbeGd7QI1pIrADbQRsTdqEsYLkVqE8Bdm+
YxLDBEsMfkoTPg9AYoRe4UquLBcShe2uW3BCgfjhSPdu26z1Bpm8FFXYBK2dbaidKYQPTLfUP1T+
XRsgV/0RCzcZAOZI/IEhLpCvEqCgsu48HXgmlxv6G9E5iB4ierTiEv7ZGngYyvvQ21EMrb+pXHWp
6KEbadRPdXgIuHbSYGDm6niX6J+Cfl+BbBR5QeOfkqFYXLg3mnTulRMeCnX90An3YUisLY1gS0V/
Q6PBQk9fpeQnk76FW9u9AcutW980b62l3+3uu40liLlH2kcW7wrrPuxedRftPxTX6HvXdH/DoUck
PcUDBnovxCce5pH1LYs/RWQ6BQB46CcZ1aou7nqYwka1T4OfNEa7YA/RdpnxGE+9bak9JcKb3G1a
SsC41dDBO8b5Q8EOjuzH1tmVzTvvNomraVvidwKiynkWlX1cIL+6bhE95Miq1YGojwNl8yV5UG/A
njs8GNp3N8SnxPqhc3zqAJiTxyz+skX36Braq26HHe9arhhZli9KCMXfed0CRdOSzzjZEskCYsnW
wRZLXFVIiEWIEG1Tmr6oM6dbVG87hNggMXE1kPaFugvaH2F/l5SvTfVT/6qNrf0ClE5A9MWBjLDC
xQZtKlf5gaLelqpmLyBR9aI5GfKjcCVWWnLm9SAJ+waxDhDc9nPzOlyRB6N3oEvb3DqC8W1oM8DU
oT/7UuZ0ACn04zcowvtdmcWhUWn8bCwbMJAMJbqj0rCJOeGaZZl+Kq1A9QcCARIP6x6RduXBKp9t
iNX20kzueodUfEbuX/np4uJlr/3kjNiaRqnKpI5alXsB3y3gWeFrA0gBIHThg2+lF3bTDepZBSKR
N/xqg6ZIc4P6e6cd+QV2/QndvTL2LhAgd8mRZuuHBlSX+1EZfBJ3Gj3oCp3Tx1590pM1sNxa5CFx
h1oHMjw9lZbuW4uW2WdGocvzHpWGzxZAPzfiVd+he7SV211jY+eAzNqyAqiZrqkc0L3O+g2UKsqQ
avgk8PaJjBspezAjWK9DFwW/nc0gl2uj2Mb15pwXADwNMhV3I+HG9s84qWhUzULSk7TRuSQDh+7v
LT74LPssoyffOnYmajQPmbqL+w0asGF1iJtPyKMkcSSlNI+rx1E0n2okSzAKqjAxOcqorZN5BmrT
a4agqX7sa4RjPvQUw+8tYF6f9ERnFDAYTDE8ujrrFtUF3d1B26mGOv4ODecYtlWCwxdkhogIWw0p
OTU51c029E9QHAIbFatl7J8sXiYJNA7QUQoVvE3Tnj2+R7vdAfWKPwxnm0T3CBZpCm4IuMvcoyUT
Q2o08O+W0B2XA7w8U2Nv4CwitVCs3K863JddDPgFE5782An8rGyZayfNHeTGLAy9dBuKBjCndClD
xK/BHrhL+dX7yRkLz03yfpoRPNeDhsKavEkgTyC8RPmzoSX+pqf8Whsbv6WvvfbSymiesuqmVcGs
LlgdK1kXnxCMcMZERC1VDjUgWsAu5jL74MkMftJIv3FdD4sXVZe2jYmU9RZyhfYfaM7ZOl23kNLH
BtQfyrkcpv66Tt5TlDO1V3Jhlh9bY3ircR+kqvVpKz+hmgvs3KR6VlSR28+M56w86dlr0u2wDIVe
tzlyk+Yl2eb4zvJSX4Cp3eRv5f6uWXNe6FuUrFYG9KlF81beMPZt+sWYl9azKi12GHJI6+tepxPG
1ugC/fopI29a1+Myq5g2mhYlAtnCW+h/h+0gdYgDW7vroaZ9cC3V0iTdFEVRGsVS1Vx2fH1wYUYH
YQGfhHapR82bytLBvWeXnLB24AZwX395iO88wdC7/gsmvWMvfsDg1nxh9lsXUm4pCj/AMcPvIXBb
owEqb0ozYSSRvzN2j1VFTdYsXZQ0SRom/SIOUHmlkPz/1hd1ZwCInJs7s1oA0b/zPq6Pacpc+DLW
yH4348lZtQKxrMhf6dmOLl6FpJWjHoJARMMhnbHSlobNeW1wIwPeJMf6NIkISGNe2eWf0Q299aX6
Q1z563YbP18f3uSmUUVTtzTN0BTVHM2lKiLhYwuYg8sP+S3Nv/0dstxHuGBwdJfyPXXTfYx6y8m5
E2Y+02Egfw70V+TRzFp5D9tt2K74H6b78Mu5hfv34m+N2+tDlAcT8GuBRjMaW4Fng2umKoDCy2Py
sum3QGYWlGEX+icMtbP7gfnPyYkX+kl+reYWdCoFqLJmGpqqqhpOzqPdagg5chMs6DE5l3cmjbOF
tMmALC2Z6aX/PbnvDkjUWavo9frAp9f2IvKw1S6+E81yE8sdtlL5ZmqLOwG27laHVrNIfpjggTf5
wlsVB+8DNwOswvYz0Sc38kX0UTryBPpdbkz07AW1JWd3BxEhfGlW6Q3ia5u5aZ7KPaoiGyryV7KM
GffvY7UzI8hkm0U2nTecPJLsLsu210c0ZTZ/GWKU3qJKN5PC8agY09Krn2E6XP/78twYhn+/WK8u
keTClocvYgOHA1jwD5YtSg71rffuWIBAYR2gdbak5cCzv8G+BJTMKzWyhIqt/gNJBvPtfc7jfHrU
lo41vWKZhjn6enK3EPzeG+4swj0I71j/CxN6TTQVTklJ1yV99PdNSez7sgZKK+b2bZMCl3RwGMWQ
9/rkTs3tRRhjOFMu5tYP21oJ+N+SMoFe3CXmTvJmRvLfATtONJcxRl86xV4tklxigNAf8CoYBChI
v+JDKaCJoeanCu1Th6FGvXTMHG2bu+0qUuWbfxvq6LP3M901xXgAJysvWPFV2VOkzHzcU5tCk0xd
1Q3FlGRttFO9wvXcEiFRmogAjv2zVny/PoapK5zG5Y1ehqLQtBwdS4UmFmjVYkMfgWWC/8vtFzkP
GiLXw0zuChKGTp6SJE0cZY3c8ipk4HB5QGQEpyqEQNrm4d9CjLJGHatRKw9GEm6AUvW3Xt6i9X09
xORqXIxitBpG1hdGY+ID7wofQXLndTOJaW6WhsW6+HZyyayKdBhCjpMwIsNm8t0zjMX1QcjDXP/x
9VyMYrTkqB25jq4RBS6/tBLOzRrfGVB2q3KnHKD1noxd9lz8tDfZfX5ubgGMhpBIl+E/rtfoWlIV
qlRK6jCZ7tYB4VdoL1H/cX2scxM6ynk0LUzBSBhqIbwG2qOYPfTCzJrN7In/7tAXa5YkQdP5OSGE
7t6Fd1Wn578YA48NQ9REWdeM0XJ1YhUgVQFqMZIGY9E0+hLtw/UQ0wn1IsZoLWoFbzMR0NxSf4je
s5Nz6newtVfVhsYOYrjv4m4m4OSsXQQcLUwQaqYjD4Oi92ct0Efa3dcHROPule2ztRJv5w7XYZL+
2POaIoq6auiqpY7yjxhWYRljIUvT+y1v7tvuqAFoqZ4jZWZkkzvuItAoC1VmJCe5QyA53Lq0nltQ
YkUxk4cmH2aapquqrJJLFXE0fX4YaXodEcV+8O8MINeUKm6gK8tr5dOe2X+TS/Ur1niD62YAXscj
VmXiTHYy/L/5gAxcfWRF4kmtjsbSlEXTVzYlHzk+NA1cBu/H9c02uSS/AmijG4mmVJ0VuZyhgnjv
CecsvZONmVw2OUemYimirEr8N/yEiyQQWpktW+WAcXDfM/kLMub//xB03TJlS+Mdx+Pm978vtmGQ
izWKswMxuWp3Dmy3TpxZ6GGix9/IZZDR1hUFP0eFjSBuUaa3tQzMKChjhA67/AeJKYa/Xg3+qLk5
dN/axV8MkTKSzr4WDfO/x+XFFIpSbgeVTEYoKm+XIz4B9TC33q4HmaxYcZX6XxT594nse081ep0o
Dvd6Fy1U4GkLbfUYLcyH4F3b9Bsgf6fqBK5oHb/EX+4AZ0SCeSGC+FgEe3/mCjm1cXRDNyivKBT1
xlUBJQzRrlWGdIG0ZbdR6pmNObX3L/+++ft4rdhCaa3l7xcRtEBquzF9AgVu08y8SlN7x6QUZnAv
VzVjtEFVU4rRbiNOLEuvotFu5P45L721rMqILgBIBgzbojxsILHjBthyKsJJC1t8xqOdhZa8jOWx
qlM+BVaCUjjuTHA++qfrv3JyMi5+5GiDl3VS9dUwGZb9nsIt6GmHJRjXXY8yTOkfn9FFlFEuiEqX
egCF6qWrFFT9QYorn0kFTHgvJzsHttn1cJM76CLc6M5olE4YW8OgcuncpHfB3N1getIUllRFLI+H
6e87CHIBynNiSerB10jZYYqA6p63vD4IafiVf07aryijfdrpidrKPpMG2gqzNpTjT7AT1zhqrPQ7
RIBX8Zf3VD2acwfp9Oz9ijs6fOrecIV0WCyAtt6pvJfBTN74i09snFbCCkLrMphZr5mRWqPTyJIa
u0oTIpbYV8ItlLJXpP/o389N6fQ+/N/QrOGTvUiodmODArfYGOG+v1UOygrI/8lapmuINj/EH/IC
zuBOA5t57u+vr+bMpFqjJGtbWL1mMlvG9dIdHctDHQjb6yFmduW4ChXGCPIlFrOo4yCZdPTiEnnR
5NXm38KMMoZRip5S2szhYKxkNmcXrQOck64HmZuuUcLohcaqMp3p6otwbfQ5NlQzlVlpbrpGScIv
GrUQdcYRvFi36gMu7Rt7rxybb+XB3iA1c+4Wc5tgLuQob/DsyhW1YIUEvuZe/MRncNEo+czXNHln
MQ1R5FKkS/If2anSvVYLK+burTlly+A2uMeRZ+m9Xl+i4cf+kZ6wS1Q1VbYsrii/f0tI5PpRqxIm
6x1uJlj6bjq8cNzvWmfOjGhy3qyhSKeKiimOr5IyLIfAxox96YhHHyqHCDEE2cbr4/mvc/PngH5F
GW2I2jcCDdIO94I1aq+PGCFvvJv0NU6xe1hCYNpnj/6zgNLRea5cPbnbL8Y32he23kZoSA/JwTyn
0DHy+un62OYCjI6Spkp9sVeHAwtMlABTq1RnTo25CKNDQ256i2LtEIGeWIX3tC3vro9hskaj01WV
DMXgwfrfB32RvCPbkvu4bCnWLgF7ndFQo5PR7/SXDQzSZX3U3+AnclCZm+L2GRrpbiYnTR/IFz9g
tEFsW6tazeEHdOujvbJ+gGLbtwvrqO/9EzDGFRCzG319fdTT8/pr0KOtkWimqicRFFdwttVaCAz1
NgDlPLN6s0MbbRBF9tpSzwijH6n0G87KuvM3+tZ7iF+1o4Go1ZarvrT2Nsbq+viGORt/dKhAUd+n
caJr1mjfdKriJvKwqJbRPmpZvDdS51ABA8o8SJ/XY03NpUFHXpUkVZaMccG1EaJGzqVhLltPyzZi
E2cQxj0DIt9fBFIk3TAkSScPj1Jjwjat5IpBmUa2CMVjoc8VLCen7SLCaCtqSR3FSMEzbdKnUbyG
3Fmq/Kkyvl0fyFTiZe/9byCj3df2vZ40w/PXw4rZjou1ismegBzqv4UZ7T7R19XCiwgTJfc9pmXJ
i1Lvr4eQpl5jhkLDXhFNCweF0UZTYVgW2EtzXGE2dKuu8Ra8FX5qN81TdXC314MNf+uPTa2Ymjp0
EHRqIL8fjY2pmI1Z9/TO1U/DwyxwWfsIfsTf8FhByUONZxoW08v0v3jq6P4sKb6aCUjZL8syXuut
uBDAQ0lIk18f1iQ8gJ7L/41LHV2fg9aDnpgRR77J6+VTARb5M4cAu6WzBGUT5u/mesS5gcm/TySg
VqlKYjaGgeymunODG6efuQfOhVB+D8H9WKUaTggZ0YVo73QHZw4TNJl3LqZt+PeLg8vw9L51IpEb
M8I7IKYafw6VMnwgf2y44SImiWxwbVzO03PcJUhGDAL4sVRwZykXCIkOuK4QWiz07uvrMpl+VNPU
qL9pkjUuTGlGEaZFTDwV7Tn0FaW6XXbZk199ux5ncnEu4ozWvww6L+7zYeYiGG2oZKgALV+vx5je
1RdBRjsg9n1BqgbNo0DZZtrBKk+e8ax0t6qFX9uN5Gyw1cYXxzVndt7khcYA+oJXDkCxP27QdhPp
UmWz9SpJlY4xjyrEDVNh5ePaiDhgrDlYZ+CKnCZlftNqMHSEFruCxkErH39CPN1KoBRmo/uHPpQH
7iQqO7Yip0vcDIWVg3f2EUudFmK4BUFT8oFVBlE0k+wmd7chWyJIM1lEMO/33V20ctqqloJrYXeK
zW8w2q6vz+QeuPj746Mu9RWlCVRuXa24TyKYWYl/CntxZkvPhRkddUqj16bXE0YqnfxGqECji7wI
1qEZRavrI5q8bRkXQxqdd02eSp1sMGVnbHG1O/T7vyHbBT35oDxABlzLZ1Lq7m9en5dRR6dS0rop
9DpGGOHPKcobTGMK43h9aDObQR6dRHXoBqKcESNG7T0HYKk5M8+0mXUapx7X5ddHwygCcLFtupPR
I+20u+vDmAsyyjt6CG6yN1kg3Xw0zI3NHb+f2QSTKdRUZC5XMhl7fEd0HFHLxBSgRBvfafWXYN/D
L2rmHk1TBwOvZt7NJDjR+i/3XRw9UtBivQZ/fSmCc9fCdM0RMghoGRHusBg9vVyft8k3NH0KUZJV
qmz6+OYTq4Hbewm9hObB2qjb5NzvIM+r+3J9263gf6aL23xZYRUzk0un9h0Xe1U1VRFgpjj6em0d
aynBpuOMhcW712U/9NLZXR/b8CfGZ6wpGyZ3RyzdKOr/nufyDKWptKde5A56tf0hgsPmi0hcfLhc
fv4ilmpq8DZkXdXMUSwh1WI5pVa5VFuygi8s3arbdTWQK7SoA0il18NNzp7GBmGrGJY+hlkldZ3j
RoHcqoGsXy5uPPjh1yNMfVCccAM22KJv+t9ReLEPEc4u+jKn8mWiBlTAoccFYhv2yeZ6mKmLN1hH
i6FIBu2j8QU1NSLX1njhJarz4ObFSdH1taSBWnfTat0UDmp2BZbhysx6TQ7PlE3erzotAX20XnST
/MI2eVz0yo/WXgj9QyjPHLPTIYbqA18xHj+jEK3bK7GncFkQY3MjK4Pmroo9VjezUFNpyTR/hRn+
/WKhRCU0E2O4cYkm+pSKPAix+c5Z62e23Fyc0QerVJ7tZSZPCTVDyRS7piL9nsFDr7V/HNDorK09
10zbjnkz3RJLwsdePEu5vq2Dl+tbb3JA1vBWxtgJAtnodG3ipI6FlMznomRTHx3vAFXbSWZOv6kv
1ZJEUGlcHDV5fPp1ap2GjkCNMspCHEi2Mcz/6+OYizA6+mql97ElIoKgRw+ibaNJPZfd5kKMLtxN
UeJUFg3pBrU3qb3Lupkr49SpB2xCMyyVMiHYlt83cSB2KHTlfI4JlDs3eo66t7y7+6ZFp3bmq5xa
9YtI44eX7EeOng51mLYvEadF/PykoV3lqTP3qqmv/zLOKLH5SdWJWk8c0ci8rSh00EcM+HABHoF/
sf6/5k4brX9bq5ZkDU9uCQVYvRh4Ow/XI8yNZbT8KHz7iS0wFszdPJ5c6Grl3T+uy7AFL9KYIFSt
7g+kJ972CErAtNU/kCWP9JmxzOy0cROk1hPLyBvi0MpZNr23MuBn2B5uicoqQW2wQS7j+uwNiXF0
DaG1o0gSrReLQuZo9uQoNYvc4IhzbX0jpMiGHwUZaTn0Om1lpq40MbqhjWRZ/DfktVGStrWkaS2b
WCr6Eg0G6QUiS0aOyBKS4VnvIxc4d5Gb+KAAfuioAfHtqkBjf184va6kyJM5F0S6zyYjNF9d8bvm
zeyPiT34W5jhZ1zsD7dT+aJ0wtiif1OowalUs68uKdfXF2tuNKMJTHBitd2KMF6ib0WkGn2MCwzr
mCN4fz3S5LaQcYE1LQlI1HipBE9nxw/ndqxrryryKG71ZaEJ4VYPXay9/Fuw0ZkqqEKjZaXMFwz3
0MoeFwsF2Ihf/v+/wgyR+zyXUl3i3jOaPc83zDIsCONHwrpB3d8A2h6mwUzzY3IvXIQZjUaDfC5k
ImFSAyQp7kcH5HOuT9jkPjA1jScKnjLcrn7fbkGkY3VlIAoTVYgxe8jcPbY8wrti5uCbOFkNEbt0
TaXsbNJ9+D2OFNthaJnEKXtkQfSdjzjV9ZFM7jMQdxZ3ENkQx8hbh8OuA6jK8ZBrKDWiyXnnlucO
LuNcxX5qziQR6gf3aWbNHM2Z47Sy4CDsgxBO/NUYiOOLfb5zPD1aWN4cmHBq4iQTay5eP+Se8YPL
b3TerSkeFHoFW1eOuhZXEVf7i3RwGWUY8kXWKR0nxFuSIQ0tlbRSb3Gl3juxu8q95C92ggxACWYB
HY8/XqtF2IZlGlCh1fP80TBQbu708/WtMPXdyJhS0kkzdV5dowXKeCyGiUclxmlRYhLWvn9DYfLf
YozOcVeIertrGQbWCz1k8k5H2ND5eT3I1OJfDmQY6OWyeKgRwhSlpNRhDBo3a1WfO7Wn58rgac13
o/3BdEwESchyhYJSmHxr/PsyeZGEr+ujmAsxSmOCwiYAjYtninLrYXaDQow+8/qYgooaisjvVw3Y
N5oymqm0raNA9DXyGBD48DO99c7dzZOwDA/tTtvkB4SobhBtupMX8cnZCIcHROcXc9TCqeW6/BGj
ryjMrF4rhh9hSt+QtUPLdSbHycNUje9YlxFGB0/TWYWRBUTQFjg1rWGn7tGqWte32gbpK7Zhse3W
i3yP5NcSut8+j7eIAYB7uHVW5bsbLPSZr3kY0h8/SJEtQ9YUQ1XHtac2lIMWfDDXWRnTDlyEENb3
qgPayStcz4qZu8R0NJqklNM0SR7fwTRowE3pMPxU7hF4PPg8NFJEExD8ur5lpw6Tgdj3f4FGK4l0
a+ikIhkkTGIsGgVY+tEPkQ6pW5Wb2oj+4hS+DDdaVjUHVmzrzKKdmlhryVgVJQ26SToy9vh7Bf7M
qk19kZfxxl8kLBXcQpjH3pDabSP25qaWRHHrqp28uj6Tk6Hghw7gKJPjeXTwF4ZXGJgKcyOrbnuA
E7G5EtCqvh5kqocO5FU3JH2gogIv+z1R1rLQB3nCgAyxOikoRrohll4y5ps13uxY9GZo6YWOvKtU
9ybJMnfmB0yOcqh9YWmlU2QZnThlFXphqA/XqNZEBxRFF9wHY7eb2SdzYYYEdHEeKJro2UVhcEzX
/lHtFXxFsQmu56A9k5/ZxWhGs6kqddz0OaPRxe4JjbInH/s2JAxOQqbOoE+nyEyAH37N3OhLi2Qu
2b3HkAZNgUWiGN+1FMFwDVflDmSCZh+okSG3rhx1pV3JvrjLzfbcZsbj9S00mbt1UdVF9ira16Mx
ey0CJnHFDirQFtZwD6n/ojUNr+VXhNFIHUqxZYi5MGSjLwcVIgxVDXPpeTOpa3KPXIQZ5RJFjESv
HQaSVxLioW+2LC8yRJ7+bbpGGSTC5d4tsOfAq3anwUNFMH7mrJsbx6hUlpptaMQd4wgi59VOrdvW
HKwf8pmn3GSm/zVd+qgviEG20lktYcAt8TztjlIonPrMPte1snFNBKKuT9zMsPRRPox8tByTiHhC
M4guodaDhLJTqzOzN72dFV4NisizbownN8Ii1ayA11Al5ptSDjFSldfXRzKZJZBx+b8Q8u/JKG29
RhNtvlybt4JfuwfJqTZh1q4LqBP/FmqUXhOlZNY6RqN2zt4qun1sikspNsGt6DPrM2zcPy40hiqL
KhQ3YFKj9aFF4xqda7EfsKCWo28ZupoiheBBLW7tz1VpJ3ffRbTRHGp1WdK9Y2CZgfsdmLwO4wqt
3nOHQobvbxbsIthoFsW4UmJ7cLfWS2WTtQ+OV62c6Ln2Z8oWE70ugLC/pnB0Srlx6zZmwBRWqDIj
g2xj4uPla9s7K8I5lBF4njlEJjf7gLwdtrryB+8+4/Bv1ISAvKB32f8j7ct2G9e1bb9IgPrmVZLt
2HH6ppK8CJVKlSSqp3p9/R2se84qmyFEJAdY2FgbC8jwFCcnydmM0fR7NzIkDwwhBGalNF0zTeQd
ObdYZlLlto4HstVHlwom65yh/YYVbHDHUx3VVjFfeb6fwMhrWopZ5VDUheZT1OVGWOcNDde3kmhx
LHT/YUDZsXSVT/jElee2qgUUZ2roYzdDVtkZm3lXdB14rSD6Nbl9FZYV/LCwa2u3ji76jAi2KPub
+AFIBp3bWHuQVTK7NoeESLVPbZBMNdnjOsTnDYwaFHvNsio/Rjy5cwPjJZGRmQO8r3l2y5/1cAfZ
h0SnQTpAJKmSxNnP4RxoyGuhU9hw0M7A/vvJjWwpaZflEdDGGTy+FJqyexWk6+smff5q5yDczWFQ
k1hvS2S7KxsqHx9D/r7+9z9H8vO/z10ZFHNCRomJmloLeN9wFkE9WauPBNy660DirwX3Q8uf6jm8
882mGk19B0Oa+japD2aE2Yz9OoTYln8Q7FueLEi3jHE5Mwhr+gFmVheS6N07NSQhTrQiaCpz0JOA
GV+L7+rARc4qmmGCIRBj6EbvovHqL4cDzPC5eFAgSYZtyjesLO2CeB0hb17XNxV5y2QZWdFauAiI
jgdNWvAVcIveJ02W/k2Va857C8/VwEdZLN9Y8FMQ7ppoDf2kVyxLpuaHLn/J1TucDpLdoX0OaSxo
4jXHsj8WSk/nSz7NbhcVNvJLdBu9aS+VG4yQy/DtuwYkmmG96cYQlK36zYIn4RxUj/Xhbt3n/maX
zi8NeMIgXYCZYFBZoWny/BfYilOr04DbMDbN1t6/Ye7bCZsNSImRjkH7o/98pR+MrbXBHNfi/yjQ
nTwckJHxIcWJQSvi/4w2cZBczbtcEnAF0dBCpFdNzUG6BC+t819GMZBUosyC3Fvn3g9ZcVulzUWi
mOFM3fteN0K1UmTDjMxzPn0NdFhpBk4ZhEbua9A+j1pw12BzpFDoTeMbI3G33m/tykhiSbAXNCyi
cx4FORcnGg4W/tlWVXmWjay/2O4i8urgf0BQ4cSg0o8toxv9aqJ1i96NebqKpnqC0l8HBmi93kZm
MkHcl3jeHy2qQfqX2hPEE7Iyyt4xxABxpHUfEcQlCxUW20aSEu0RfFddlpX1gBQaMgQF2B6zeWfY
BMPUkAlInFaCJVp01CXAFGRiV6Ake77ojhaVEELDRc+JkHFxlzqI63xHVbRCV+mxW8AM3taSPgAh
JtbcBGeVhQORw5yWrFX6BRckxxsgjVFc5KUKRa3qqPTGkzWB0riOvx4hLWx6DXxIOH3Re3RuZong
tmD2CqE+fh8TCG20sseAIMyjVetvmQKsTpi+P0dwnaxu6yGCJ5cPHnl0oXi67hUCbhDjDEE/R/Ds
XlEVis+mPtf6Jn4y3tXXOdTtKxNFOEkskFnD7cvWMSo6xcAqlgv8i28sTxJr2K/ld76BoqjhYTMi
C8atSEuXdKEtilWlBVKBqYNMaa/ZRxsXdCiCQC2wSgYQ/CldE5R5R9CUNlXBqMXO49At82b91zCw
Tz8GdJiGBaYsC62R55+W0naw4xrCM5U3h4Zm3dZMzLEcJDDiJbQ8U2VPHh3eeI5jDG2OpD92m+FB
kqoqC1BPTIZ3G9X9EiQVAUd3nmcHNwXvfJkOEApf1D/rpv7trvpkK5Lw2OvY9Gj1Ov8NkeUmEzjD
82CuE5DXzmkNBcXWq+xnakU2lIcdxVMOtGncaNM0al8GZREhpzfm1msTpx4Uwek4QOeh7eMnkF9A
HDG3oBMTKYSArUbrTbovlsLrNg4FE3s8zfU7qSo8WNcNEUVJcLJ4eB3gcmUbnB0zWhIKhakSFCS/
ba35ekQdfy6sfZ3IJnhEAYsxT7KDgxXxOSgy2ObYO3gIdV4SlM5jMvy0l+fKvFALiBO9fsMuxH8H
pW/MCfPHlJvQpjVyCOHU1NtafQc+RjVo4uGiHKgkEAs/Ie6/FhLR2Ip8y+zYZOhDHmkeIAsIKulb
VX3W6eNcSO7ZomCCLhjTRbobEYzPY6m1G+cukheBY0PrGWJSU6ZKIEQb+BSCi42gXEB5ogEELdvQ
6iEeZ9+M8/36yojt8Ay0MrPuFP5cBq/kFDtemqP0Yv5aypLejqRfJM8F4Zq4nocKGcq5aEI/357e
NEcjGiLzwETbX9pMEDE/JFCbhEDFujXMafk4gJEWbCHDQ/WK7/XsRxezlzk+GfRl3YwpRB7BB69C
/Yp0EpcW7R8QQIHlDK0jrMx+bhMx08qJY/hZnR6N+NaEyhe4xzEUpNnXZSvJ0opW6RSM/ZiTV52u
gWDIcWDXpC1brQM/pC4r6IvWiL228PFQRPqUMY1IURhGgTUa5usadHqQHliyawiXSUKcyKtPcTiv
plaLSQHcW5H5R6ucZWy7FHIWEKn5uiecwnCn0gQCR9WLAcNk2+rplsndxBpUfslHZsueeUJfYGRX
YKYE2SzfZT4b3jK1Y5cHLoFy3DHWRz+x7zzvGroAPZg/100TPfhAO4WXKwr9INvkQ7fWgGWfGrhm
NKD8r0HnrjR3KoUQd3Kfm1ctROKqX1S5MdSDTY6QFFya5qKoH/LlomigeQYZVTXerv8m0aqe/iTO
Qau2MZQqxgFM6J3b3kABlsQf6xBis/GoAqeYa+IY4aII9MpbLbFgNoW2YplC1PW67KE8kd15ECaG
9EEN1SarcUMNEnGVc9+6d3nzK8qPDn0DTxfonIJi+L3+o0QBB6fnf7+J8+baq0qjZnbn9gXoefyU
XMyQvu7SCWrd3wgCNih3UaCzQEDH3/ebhiSRy4RBl0QNkC1FdfBi3RrhKp4gsBhxEmaytvbKOAMC
iPzAaHWEDEXkSJZRhsHFzQZ68B4m8PMgGxafWjcqCNPNVOKOomXBE1u1bBs5XpRXzw2Z+wG6aBXi
5QLhTJXsDdAXmGgf0n4mqeSbCaBwpP1t+EWLmsMfoMk0t3gSAkrDCRArt2O2McgLKBxx0G3Wl0cQ
Zs6guOUZiR7nygSojOybDmLJje27GQn0+iGDFhYGmNfxBKfOGR63VHgYWgodgNfOEMpu8pCgy3gd
QuANZxBc3LBTT408dsfp9A6Sl5s8x7vPeloHEczzovCMDYMkFRJ9n/pVYwym6foMlMZ+8eyrVtmr
oK/X1FAjDyl0u0n/zOTJbXrI8gsaJ6GR2hgV2EEVfbEvMnULEpiD3oIhTd0MUK2iu/UfKPShk9/H
fQXVAbMeTXGXaGgaeBSSiMmhUd4qSNu6Mu0JwVT1+cfwzvcGgR5zji4qeFGMnoLSN7zOnywKVrtb
y7oywX/X6PckXg4Q/bUgJr5uKvvr3A3tZCl0VeXQo1kbahXoy4AhCUhBQ3PKgvjO5P7oKZQMmLBU
/y0vgzAE5n/w5EHC7BzUmquFdiVAywZqdJBUWUqwKb6vWyZ05X8g/ISto9NGTVOAjPlDVpThsOyW
fpB8PhkIF9hYT1ZNWQgYyFNTPvXpxna+HjvZZCOGSVSUdly+kbjRmhpirEgraRZEeZAypE4eThmk
rB4rGRWjKMJgytZk9Sq0LfMLM+lDBXefcUvTbmfvJnW+XLZEDvbf3+fXxAVNaJ02+PtRdJvHr5Et
eWyKlsPRbQ9zfyqSLHyOZfEqao3KiItfsevzd4fsIbO37lbCT4QaiK0i/4YZTS4I0y7P59KBCdp8
mU3g9Zd8IlH+BiSj/wC44POXMBEydvhG4PCCXqy1hTSb3v2KkKSfjnmMyACB+HWjhN8Nfa8eFEbw
XuMTZXhRjZ6Cbskgyi6W+VenQRDy/v8GwR2WVO2I3laAcJyrsrxevI3VP/7fILil6dLCSbUeECR9
K5rbSH0eeokV4tX/96G4xWnbZpoqDRBZixhZ/5j1LFw3QobAxcZYS0aisO805hAgb/8U9n4dQNCc
iE3I+O7Qm4yLK/86sjOl09C+gmuEAWXSyA4Hu91mCRQm22lng926sZ1dXkOyK0kPij5IfI0tNH/i
nMJzjmCobTbmHuC99GmYf+f5S2NBQrp5WDdTcIZjJMvSQVOHIWf0c5+fMWlUq5RqFoY/8cospmMD
vU4PdA6Q5Cw62Sdli8LZhN5+6GMg4Ynhen4qwimUmUaVjTyh3z73P4uN8W6EyQeSybWf7qFWFn8k
fvWju3IvZ8kJJPAXQDtIULJUzqdB18jrk8HGkRC0IOgctp7M45lH86ZhNAK6OKoDEhueLRypHUpJ
ouDv12jXnnYkupmhJOn216S6rmScmQLnwDDOf2h/g+PJi8fD8WMNY5QHvQUVrhqNOvulP6rFy7pz
iD7aKQx3bA9qHLtm4eGcUOIA2vI29KDXEQQR9cwQ/dz9SGQsrtvAkHFa/AZvEO9HNX49jYfZfWQJ
WWsJ1p+Ld31qxbTP4HVeVB71ygm6FvkE2z4W9te5ZdBOcgLFxb1ZyxrWFoDoDQ1hEr8jbPhd8esb
3+wEhAt9iQsq07EEyKRRVIOggp3ZPmh/JDtGMLVgoormuAaun3iA8NUJL2kql3bx3/L4Dkqvj9Vu
PtB9u3H30JF+SgPzJj4iRXmtvKGDZlPvyDGER/rtJg6/3Pl+/lO47zpgnlQrHcgvVZB7reswaqAl
JBuq++yLAEHhW0VGmaX7OW8vMd+kJBPs1VzoEUOtlgz3MXlcX7zPcQIgBlrSUOnFHY+fQWz7roWy
E/uoxkc5Y/K1JP4ARQi0vdj35vC8jmaw/XMels7huA+ntSXRoghwxs1bGhgv7eaB7NNdv3n85fnL
S3r/q2g3oAQPkIMCx5cZpsfazw/VQ7xdNsbGuS137mb9N32OXec/iXNfTJ6o8VDgJw3thpYXg3do
u9dWpnyyjmLwDza0z9RQ0gUKMlJZEbjUaKEbW6K5DAEcAqlm4kpOUkFTw6lhaOA9j2XqrMXjaANy
DGiFQZ8k8Dbde676t3OIofEQzaHtpXIhY7wUuq2p4fgGN6T1ifWrVb0ocSBqhZ7hfWQDRrnqxj5c
X7TPJzdsOwFhn/vkwJmtsdAdGyAdODUqSF4ih6OiE8OtLozidTDvWtlG+Xz2nCNyUdtptAlVDCDm
kGclGNiDIu66TYInBINg/RYaHti4/JwbZU7EXYYcELN37fxsq1+je0xq6kdQzE4fJ8iOm5LPKF6r
/xB5YsWkbQlyF2ytRrAXpQGpr4dCNrotA+H8sJ0XC/RFABnd0Dagu4sa8Pv6pxO7wz87uGNbU5Ta
6ZkKYTlfW9OlVm2KAoxjS7vxotRf8Pjqsy+/Wc8Wi+9BVVMH4hwarBowRKaMkT9Nb9EiY1qVfTvm
lSd+Tpq+UChzCQwE1cZNpofTN7rrYAniP9J3LtK8JufZtK8n0nvAWMyf7K7dlaECgdr1FRIacgLC
Bf5yUPR6dgDSFImf2UFEoZEte6wKgqytgTbGcHQNXcF8y1gEETKtQUUZdK7vmNDyEt037V1pS8i4
BLZASw99xxZKFqiicB8M/W6DZWZpHlgOZO1vh+zBLb/uXWcQ3OdSnKRRmhkFEaOA1s+1XcbBpNyv
L4kuCGlnIFy8mRpkSipWtKYv2U8T9XE/94dnpE238dG4hiJ9YPrJz0OPw7o9GMT/80d9yyV+oQk/
poOQh3sOyvR8DmMG55Q79eiv0TTf6H1z5x7Un5Amy56rnXtEj/dymP5M7Vb3162X4XInSGplk74M
wC2UW9t6NA00W+aSa6LgcoWy4j/bOEcxBzRy1DY+cFH/sr0/Ds4qrTrYxh+NXMXR11mGWRHzHxrn
M7k5T1NHYJEx/TaVbY9FVCUGCTfYCQTnMXVeV1btwqA8fWvtF9t8iPAw1+anb6wNuOhYPpAV6ozz
qFfOjemCrDsPFOPP3L32y8M3iKbwsU4guMCaebTv7ZZVAZeHIX9QlIt1E0R7C0uBAAGNArQyckvv
dCmWAjSlf8korexPKsuZigHANwcWPaR9+Qe+gcG2GiUIrLauhN6Q3y+WLKcphEA2lnUyoN+UbwDt
lVojeQWIqPoVTY89nnfrH0m0B1m6938BuGM712fFtcuCLcKllzaIOLft+GsdQ2YE50uD63ZTRWCE
R1+W8plmm/W/L9oSpzYw/JMT2s2rxqUZbKD1Y2yOvgsVowyP3/Y7AQtZP1ysDSaVZXOG6OgrqdsF
rRi028y4pBXFHf26jgJC8AkGZ0zfg5FGMYCRu7s5xmtQNlYjXPETAPbfT75W5zqjOXrozCP1Y2o+
1hO0dxJJKl6IgT4sNnuHPko+UdpnilW4PbrkzGhjtZe68dGrT+uLLoPgDo+cxm1m1oBoaRo2ykVf
N2EJ6oR1FBYjuMcyqFrQBY3COIZD+KOxMdrCGlhNPCsuIO0T2OQNbM128kpA+LUOJTboHxRnULso
VR8tgMLCj9qF2b3OqmQjyiC4iJi4Ke0iVnNzyBE8jz76QrPxG/dlMGvZGhuwYy1E3AHlNl6BsSGU
gI36MdPjwKIfhEgaxoWG/MPg1Y67xvY0q0Zo96bthAbotnvxjIdvrMcJBvdmaso6SuceGAQjo2m1
a80pdL9Ouofd7qF0BBIdDCDx/qWCnoKkIFxE7sc3cfGnIFXIZb3pwvh7AsJ5lq1WRVsrCCkKnmbq
0yRjGRc8/RhTAlaV8fbjRn4eUZzWmTDUhqYxb2xA5qFduiQLSaNsrcm4ShUMY3Q2mCLQYyjpIxJw
DphoWtVYFh8nPQYFz5FJaWA6olvQGX6tXRY7dC2GquJ3vrUzJj/aLMSfJJB/C618RDiF5K54aD/u
G9ICUt+V+/T+sdzHra/9gDpMkKU+0jq75Fq7096gjB1SxVc+vu6VBq4zjOKW/cN9614vcjstsbvi
/JB6f9J+48m+qug4RTceuxNgIMflqS0rtdaU3IXjW+amJ5dm/ESSwzdoDbF0/1B4WssWvROoR7Mt
vJiB7l5V2YvZ7KPx1ihvjO8cqqdg3F6mUV0sBgNz2r1ev42qLDMuCkggP2LrApo3dE+eOyLVh6Ve
amwBrem8LlS8ZqnDytGhWmb1qifjOhbt6BM4PmmEd0abuQwuoqbvmvtWdrqKzr1TAO6DOYtVOtkE
gNSufeI5gW1fRektpNKQximDdZ8WWoO8B6gmMemDNvTzjzcZi4YKGsAGw4U4dqxVFQa6zLl4XMcR
GoUQxZil8K7hZxKMFtoCNAdOHI9B6R7i8mfk5X5pP2QyGisxFBKwqJOgVqIyfzm5ZKmF0Q+e16MP
ys3Dpe5ByAPeGtzvgxzsPKSdf66bJv6E//C4EF9biz52DWrfUXHoxqe+lLylhP7tMalglC1RAOL8
284c6IvkIw7Dotr2Qx10eXfRfSdPiXHD/2A8rqcq0ka842yYYUzeY+7VTxBl2A/Ksl//WuIgfoLD
uTct3cbMF5iz3KhJEN+XQ8DyHdfeZrlOg3QfP3o7MCmN4RgmG5S/97LLnnC9Tn4A9+yKvCKlVMUP
yIxHCG74cqk54aF8gsBtKkdRC2Ui+JTTVttaD8ljkoRDaB6aXX3ZEH9JAucQxK/qCwbFpaI6YvPA
S4BpLVyd+RnCooCihp0A3CR/eqMLSu/P+goK9xdaiP4XgPt+eFIORsL8nUZ+RV6M5jVzb2Iw91Uy
chSx56OHjF0v2EP/fCdrakoXw5qwk8GDXVierxpHxZCNS4lQ/k5gYD4c1LQ8+5qduXNqFMwhrWGT
1eOmQeugrj+vfzVBx6QJbg0MevwPDBcm0kQhlU4Bo1xEV9VPBSQR9ybdZEcMVt+6kw8ZqXVE0TqB
SAsaVUhfsKzw+deD6pYLeZgZccn9QdAcqZLKz5wjBWvAIMnXsosXfzHDCCkGgDAjCEpPbk9jNMeI
oL6FU6TZEz1YlBetvjL7/ejtc1mWW1QngjzgPzDO/9TCqvqkA1ip0YshUa5sM0/9olXDarHbENzq
ftVGG6WiYUOX1/WPKtpdJizEBQm5J3SHn3/UuZwcvWR9QNBv8JPYwpPBkTxGZRDcLTdx9FivMxXx
3rmvlz1ZJAkCgYoHPPHEBm5bFdq8jK2Ga7R6Z99peygC6nft76Lxuwvy7Gqh8hTF/hKkkAOWVZtF
kfEE2uAOGXdp9FhlrZpYunIewtp8y6PbuNyqdhQa842S/FpfL+EmQGsgHiqejSI/55mg5ysLGuFj
jtEPJ7tTjDfdSKGyvlFa2X4TxhFURKDNynq4LA7K7fOitTA4FgzIFObkxi1VNJ1IFk8IwrIhMAfX
XT66533cVjHR0eq+KDd21LwTFX2W9OuSpXCRExhujw3oMtJAi4dgVRaBPtmYDpCRZ4sD4gkGd0qi
fRut9pGG1xy1LnsHdRabBlNhPFhV+mSUqJAp2nDAnfJIQHBrN8WFOST7dfeQfU62F0/uipVlR3PV
4DfUya4n11116cwv34CwMUuIGyJSI3waOa5p2fQDWvp08sNtTT9eLhdZTkZYRkJG/z8Qbr2SAuca
FhQZuU35gtfxTTJs28AN4y7EfQpSVwFoVKv3XnLECEMVRsiQBQDvrctXHAfatSDWhct3822l3Uy9
LBayQ/HTwXICwK1PkYPqza4BMEcDGmTvGwPdHOVv7+uE8fD3ExzmJyd+0JpFb2c9cMzswUS/Pckf
TEU2tSAzhrsB9Ci56D07uCbljWQvUx2DMDzfqLI5aaFTY0TahB6Pa6KF6tyYsit6Gi/MGIzOA6f1
jeR53amFppxAcGdUA+6eeFIRx9Ox8JPhtrNfkvKiVd/XYYT+dQLDnVQ9teweTP5oY/MGHwb76fh7
HUHyrfhUSNzkERlnIGTzgtboXdTcFfZuHUN84OIa+7e4ANkDzgyzno0lMdiBW1w62+FF3aClFzyd
xJ9vS7+9tXb2Qx/+xASrZH8KrfsHzOdq59zMW7cE8JQp+16rL4iS7/JilhxKwmU6geFOvrqr0QxC
GIwBwcL0bZYOq7J7wac4cILAxbcGQ8WZ2QPBLf8QLfcLSB9kj0l1i8LiQF2/VPdutVlfNuHV4QST
O5+mZFBtMwNm5yyF76pIMTa6valSxiun4Uo9Pq0DCjfVCSAX7DDGNlZWDMDMDYn1NoJlxoMIpKxI
IFotjPyi+ZaxsoDd5jw8zPnUJlln46xwAkVz/HmU8WYKj/YTCH5XlVYau1XiINtznW0mH80F0TZ9
WkCjnX0MJSYPJX4uBeQ80K5wq1RZEy459n/KfXQYLjHIOFF/+aP6IJJStutLJdpYpwZy/mjpcVR2
iYuX6fBUz7805yUfLtYhRN5wCsG5n9fqUFusYZKuHTKCuRAb96FL6v5eh/n7YuG3FqrbFlqxMa+F
WZpzd8DJN2otUmVBsp831rYEM4Cf7siDg/Rp4RcZ/k/1Ysx+GvaXhuGjRpb5zmv+hK7NK3MLiW3Z
pUJo+L8fxActfcl7C3Se2AbT29RfEmfx24qEQxdJvEYGxDmNOWtapWkAqrJ9peyKUQX3ekj7QoIj
dJYTgzhnMZLeWsoROIV2MLNNRy4aNVxfRbZInxbRYx2nKJiihZ9zlq5TTDr3SK+CtzEFSxAtD2ox
z6EHLdKrburVm7ptNsTob3tiySrOou+IShqSTSAPA4sU9x1VqIcnBRv+8ZQCqqCoKEAc1FB9Fffq
dTNFX/IUifuSFqFu31Ig9dBhKiyQS9BfjfO6DiIzh/+WY7X0MRvIKubBd6oxVOLiulAyv7c12c1A
FItRikFOCBkaxjdzvvkMA61fkNvBGXPUQhpdgoY/f0YWqvQx2FpZPugIguUBubVvmHgCyz7ByXW3
0OoECiITjtP+yaugaDdt51zzk++8fUDoxLSlwOqJNstznAlqLoM3mkjVkDe12tbFJZkkYVL0BU8h
OFNMGjvZ4Bl4wRESKGqyyydV4nUihziF4O7T1KVmkhBYUWUX1bxTelAADAElVIIj8m6QceBlzw5n
1LLOv5ZLJ2tK2DzW4HZ+026NPto6tqzrSPjB/qHww0qlFQ16qwKlT9JAH8B1YUq8S4xgox8Zro3y
MGeH4pmdOaY4ucxlg1a/TH9a917J33e5JJIX9S0EVGGBamwL7Q/9jhICHoNM7RNklBj1tzgL6q4l
aNYAwmR8jPmuNn7mxgHjpn66XLfjRz9vDfO6S2/X7RKv/3+oPIt6H7vxmLJHvNFBfCl+qqrXwn1c
xxB/u38YXKx2R6V2uxaWKflrq/xx4rv1vy+0wWNSFYxOFJpY5z5sGbkxY8gFSefsgbQPGgTXG8ny
C7fjCQS34+c+swojRm4KdJR29kMfLpD68MdJ0uass8OEP1OhgvGfKdy2Bxd2T72Gpdp6f9k6D56P
HgPi24l/e/R//FgCf3PcbGz/wqi/s4FOkLnXNVVBS4kZWASc6U0Ho7A3vayvkrD3+dQ2zsFJMRIP
ClxwtZsuCSdo/CjXStDs4itn04QNTp2NP23ihzEsn0zI3sgepsIn8ckP4H29dCkkuRT4ifumPcTX
EEwKMfBEHn4rb+2tdnfoQ+rTq6/zObEkz39LyvOt6XNFlM4FalX+dppNXd8O0X6pPqjMR0XbAILB
UBtDkQCJVO4OUXVRBH4dbDNQg994Vvw0uzb4OBpJxGDLxLsoExlngikYjeaZA6gyjMTJcbOcMCNX
2KVvaqUfO6gOX6npu0dpmMssE72KTyFZgDm5OpgkrZSoB6RezT6OEHR6Hl1tqy/XpSvrABSWelgG
i9WUoEjD5xdJUepE6zycJEXoGGnQ02M7PuXT0TGKIIJUXAP58VpWpBCZ+JddG61hFriSuI2fu25Z
lDZQvdJQPpK5g1wKeAAeuggiQoEyOcYu0wpTptUhimugfkUaFfxpmPDk9qTXZ1GBTkRGP4ke2gbJ
6B96DzED2bNH5JsnOPwFoHGUpkw8DPmCpikwtQ/iXVNtux5gNBaieM+EVKUK2gxWKuPfBFU8RnEZ
wRh4CHiBiz/KTXo5XdbbEh2pQXp0NiO2+bKxr5ODtZeAs0PsEzhYFT1GW4pBPO5LamPVuk0bF0GV
BIPnI7gcs6tmfMj26I3bSYlhhP6C0idEbzDS7PEJFSsDG14MHodgzkEpVnwUGLiqq19lfdtQyQSC
cO3+QfGJlUil4H5PYBlKUEFKlmMBLfcFr+T1LyiD4W4JtjLPtaIBhpY3VHvKqeHrwyw55WQg7Pw9
iSSYVyPgZk+KwIquYu/Yztd6+rpuh+i2w4rS/7MyfMde5U0jHqKwQy8w39IYfhX9H78UFw6bnsyd
zr6UZx8cZYsN4U99K3kYCB0MvLjQmmCRnr+OZq5aNTUlRaDE9NnolcVXekyvkiZw7X7X6t033lTe
Pzz+cIaYyqSrHhyaTubGjIfrKukltyvh4jMWJaaXCr5DzsMyp9MXIwfEQt7STvWzZKMPH+urL2o1
cpjUsIbKr47NyQXyws7poDZNgRHgZesdzSA+xL/pRfIjvqvfkR807t3a1z90VMdQ8C5xK9hnP9Z/
g8DOs5/AXeUwZBNbjVIXUHSfIxMphKHS0ZIbpTo4FqxxCtfhRCemq1lo/MEVHwTpfH2Y1o1tzwZM
Jtpz7MIkqwCXyHs/K5tIcXxdeSSYopzbQQIsOLzOcLnN3ELgDFw5tAgc4zdy9YGh3qjKZans1u1j
kZuL7Gcw3L2qTRXNaxLA1NHBLBX0D26M6d10HvP62auOUK/9epA6A+T29+Ii4kYgTkUB/FLBjI4y
7qWcXwLiafSgnywac6KTSBhXUCXNclhF6IXX7SmZgpw8RfazkW+hpR6mSH0m5Tay96O1AUEOpMh2
iVYFnfmQjE9q/Do3j+Uw+GqiScwXfm/bgpjbX5FwvsnbSLOiSSf8sr5+7ryPFKrGEUTEMIdRRe/R
aISxLtPWEdWyIRnpoDrBStagPTz/GkYKYZ3ExSefD+pv87Vp/OGiCa0ge7SC/lLbNxskaqPNumOJ
HiSggYCwHARVcOXkM3EJHgYlhnQL9OxBEvRn9KZvFpAyoOUy/l1e29vixmsCY0/uZLUL5kG8S6OX
HENsDohwLP6mlGM2Ab1vbRFkykMGptVEEswFN7G/nEkYokGO0eEphRIHZOMQ80UE6qpdn4WdeaXn
Wz0yfFDLdtrXz8MzNG6/qOpQD0sFtFnb9emtV+7Gr5NmM4kSTB//j0HcbnGVsTTyFhCGc1jIVQfZ
lXVfEK7ICQCXYGhmyGAoKQAcPVSWu86QnAmCWIlWdbTvYG4DE7/8cKRpN1YCsUsU4Np0M2PlIxRR
QAqJoU/JxUGGxJ0+7uBNBMcscn3ZD5W8g0gY1NKq7A4kQsHgOVob0eCC7CV3zKZV3WftgOJDUrQB
HX/ZYBonRe93soeZ4DDFUNA/IM6cGXM0nVIBaJkeOvd19G6W6M/62gt2yxkE93SgUbwYDWu+j91A
ncFa6Nv7+Oj6sytxMtHl5BSJL3P1rY2+AxVIaec8Voa+bZMFxSc9rJU7W3tQK78BJ9KUbGI3P9gq
2VqtBc3nJz1ScTpApQcvm2Sxb9touMnBobL+HSRrykcls7fVUmvx6/oM797tqD17aQiGvXUU4dcG
oyo65qCmhp6581Afm0lUtzNmQ2Z7MZ8xgGe+mKWdv9Tg77rUa71Fs3tpg75FzRKPSEz8vM0h6oMR
JlwPoXzzic8z6mboLcYparjqzejsrfFi3bjP3vr/RYMYhIVhbs64YqhTGhH8/RbFKgI+1lrNIIP4
so6iCc1APyrS1Bh/B9b5NxxjEKE3Fka5qfHsKYE5bUf6rC2/2ujGWkLoTjjXw7QJ8C6Jv95JAH0E
kPEzkk9cs/nmShPFFzXXYSEl2lHz5k2uTr8k5rHgcX48Mg0GGyJI4F3VME1+bl6Xl1qTM4kEpJus
R3U3hOpzcYiOzpVFg853roqPMigu84OMyEfAFA5kB0IDNji3PJRVz5EXVcUIuIrgWeV1VPoWOJp/
59A7qn3aNcsQuCD7ugeDlPJbLe3W83P0jx+0NK1uiWJH901T6ZhnyIvB3LhLmUEcqTJj2x/cCvS0
xBiNJ8+ptXt9mgpHEvc/7yv8dHQng9MKiUGHj8igTcltk1DGKgHRaAjmWrsKWXm/JvgBWmQpfjNj
kGRWF1ntR3CXBTTeHUzRzRD07Ee5h1o0tjTZ62/RT8Ovjwryul5g7qOwehmQ1r0YR7/0D8WNeZ38
lnVmfA5cZ/h8dstOhzKHwDt8Uov92L6M0t0Q/VDd3bpfinbdiZm8XNpSRYvVQ7QGihe3Gs39SPu5
DiCKHuBxQVci5NPZ3NS599l4OeaWPqDIRaZbr5mO8VRe2hGRvMNFdjCiCRcznC7Y8LnLtkuGzGjY
pG09a2AdQ42D3H/DECRwcd1hul18GDTqPm+qGCdJ1Bab2HZCDCBEnuTaKYoSUK/6D4R5xckLqhgS
OhpoSgwm7zBEl8v4oJJLL2v9Ovn4hjke46NDehHdIVy47Z28GG0NFfsieSnLi969mN27dQjR7sU9
/X8h+Eksp0nq2mUDSo16Rcu7gVzO8ybzjrle+UvRSY5BAbEgmrBP4LgIGykFZLtMBnfd3qmTrzx5
wbwZdx/5lRVedYmfhM7uh3bhx/va10w/R+DwywACgVDlS74+zXn+a/TzlZy6KvIqSCoFcxF2w6Yc
b4dB4pFCZzkxmPP5Tlf6aWITaC0E7oabsQtUd9NYm8qUXG8EbWnMGJzKyAHBXfhsTJ3OTqOk6LNo
/x9pX9bbuo50+4sEaB5eKVmynTiTM+4XIdmD5nnWr/8W00Bvm+E1b3Z34wAHOEDKRZHFYtWqtVB6
Ng7y+qqm2y7RUCXeqOVOst5qCU1ltXJnU5TB8U42YjBSD0CzkZcz6QfKMegl0IVUQIofQuxCOCTA
C1GAlYMxQwV3IkYezj+VVehjnpvAK1bg25eKw6AnmAETXGUc4l9EJywiaGKpIg974LQklPSUjsM0
w7WjHNGOl7JD1G8q0wO/OHASrtm4sXm8fAZ5e+TEKnsGM6j92NMIq0sEWFOgaB+gsS6VH4mI1JW/
iP91j9VE1gt1yZyUGqq0TRpXkDPqg3xYvP/NH+ZYTVapWyM1o3QmMdfbBoyoSfc42zmxRAOC3J33
94uxFQfMLmuztcKWbL0Y626ZBG803hWPOW+ZUsFYYFNhQnBdG23b4AHtZjlARcmoSmRppW4DpoXE
6/RY+oe1QzmVCgFBPglysuf7XJehyih3uIrj9U7Tr+f4tlLQoNu109vlj8RZOIVK/3wyUoD1hHEs
tOu4M+gIrmo3o5f2/eDbC6r9l61wdpwCPiP0RaiCtfKlXZWiEJSBP8lN6nQhXSZvlln1VxkjgpcN
8Y7uqSW2W6XMA3IOAwGiKdLdOvdAA5WB1RtBu2j7Me48RwetS6/G7hyrD1EpajJonJ2CH4BtAtog
OpHFfLk2SsfKKrETp0hWy0AFTX1EpmpIfkGefjoU0Lk+xFYW/UQXExSGNqZ2Mfm5UH2HJm08VZVB
Ld+qWVmSLKfkgKY0q6+tojfgF6vmD6vvMaak9nNf4g7JHQ9SQjOKUkbm41/yjkirlb9JazXuq2KQ
9hhEzyZiRPH4LOlN8bT0dfMWdg0UchBMA8xGgyp0TIv5vhmj+C5voT8j+ijcz48pcsrbgbFatvNS
61B31SugjNIBNzgastvqWkvd+ircRipxAqMmZQBMxsvlzcDd2ydmmQCEDVetNjUbhbln2wfIBIk8
o4kK81QE8w0a53RcWIVI4Pk5RZFh7JtYRy5rNFnvWm2Wz+iyVM6fsbecjyqde/D4pQDXLfLSjqRp
jeGPpZXlY49XdO5fdpi3zqBhNDAdRRUw2L0XDbI+FhRpZUdLvB3VxPpIlmIAuZAjIkb5zNJZz4Eb
pK00PPi+iFolRY3gZQGxoN4PzyhabzQVWZu8g5KmX6Ev8NgJahu8r3lqkPmaST+OJfQGaAnzOir3
nXCbigywOZo590pnUwOOTKZ6dI1E8GTgWsCThPKQK5j8ZoKtXskSlMHRubWXyW+telc0+vPlLcAx
gSYGIi3tZCCe0yTj5FVSFmOTTtlEO9yj1yTIVES4b44FPLTBXY0Zbx2CsUyAC+sYgb6BE+Y0eRq0
dipFhErlmrAgFQfJI2gvsj10U40UqaZIjqn5k9WHHvD/y6vEab0YAL38tUB/wckyjdPUzOkCQMoS
OEdQdahu9WBd5bfhXeL2f9BywuSN6qdE8hrBHuBg/KhplK/wiah6JRMydC3rwyyDc8rROOp7fSNt
0g/9/sO4GVE5cyF9XpJhuxQExBSau2zTYBLJCvHX9+9PYI5SteCeGBf8BMv6aMpbJ/mHBPrMR+Yo
pXIyGokDA8ZPzAb0IWCMI6UWV9Ev3AwfpoDfnwP9OV9T5nPGSR6PKcWoxLvhUJmk9MLrNdABotyX
RLmXguVlIKn7rD2K1DR5tdAzV5njIOHBk+sqXG1f0x0oomxvfNEBEiMK3Uhu/5D53w+EZxZpBnKy
d6MkweQ6dbaPSmQHm9X4/vTI+XIyQSSVU7MvqE+lmu1KefFG+1jVAjc4l9WZG7QkceJGMa945i1w
Q3d633YyT4sOVS0YE+RkYwayZ9DDgZ/uq87RstYNBEJhJJ2Pk1IQbfrRazfRbAgCCteZEzvMBgSd
c4STDmBRXt3qISYS9U2nvl8OWvR2YG7cM1+YnWYA11F2I2w04V2tNHhgX/XrQW3vk3InO+/RLMgm
RGvH7DMTIglSYmMXTIYv5ZE7NLJbV1eaCLjHjUYna8fstmpUJ10d4BeGi0kX5iRtBJ6ILDBbbU6h
OFD3sDCtB70KKkvU1+FlQ59jUCBiQNUFOpfnm3mw1STSO6xVN6xkcNzCRPrlGqlDtPbBrt7b/KjZ
13a5a6uaOJmooMb9VPS96GAgCjJ1TLyVpxbDJBW2uWmizg2oRKlHruxMEIz7uLwJOVAJw3BU+mTE
JwOvFvO1eiM22yVBltR6sxfu6g8MqmYNcdycRLeGWx/kB1CMivTWuAt8apb5hKmkpXAdGGAzwDjz
dvYjQtqr2R1em2NzZX2/RH3mJJOojVGkZ6Vi4eVQB7V+iIQ3MC9enLjDwt006H+rCTWAQT3Sxc9J
dbvMvy5/Km6mcWqEyTQUqZlBfgIjHYmCGX05x01vrRtkNikpghA4tNfIq7344ajtWzR4vamFPJ8g
MnLv5tNfwSYb81D3YYwNs0KAhGSHddu58dHZ/FZ3nR+SNqgbMlxdzW+XveedeTqXSBkJqMoKs08N
ubcbvKUxSrGCwPWXrov0oP8fW/KvBWZLTitUYtoFjvX+6Bnb4QZgyfcC3EohGYNpK8T88mob2JV/
DTK7cmgVR+0UGFQDJffDYH6M7qvXeXUVk8Sg9bq8gNwtiiKEgjxZp8XC85CWW3IGehGENEP/VUbX
rbI3pcd/MYEEX8fbGZ+JcWitklRaJoQtxXqP6bvrwbS3l01wt4H2XxPs4FaEQcewX2FCSp5yHVXw
9vt0qwiIJxaYdZrwDlvSApdLjBdpllzLrSCH4X4IHRMk6Eh/wgbOP4SVyUUMrTvke8NrAdRoi6L0
8C81GsMBURWtrQO7/PliOknHBi21oiXEeRnc+WePsFAQy0dgJ+oR0mJufT+7neApxM2dT20yJ8gu
1X40I2yx2df/ZFfTxvbWoLrOb5pd70a+sRO9++iGYlOoU4PMhsuNvjWtEQblIHoonpLrbDdvald+
uLzp6O++YOYTh3OylkadxObU0mxgk2yHlHS+AXfGt//NCrPx0jJeFK2hq/cToIv7EMpmeK9qu8tW
BEv2ecmc+GJHatjnE6yk12FQufFL542bxBfduBwUMY7R3/3HpjCDovdROsOOfq/ggu+v2k1Iltc8
mO4vO8SNCCeG6H8/cagbDTteNOpQGCzzvuiPl/8+Z8Eo3Shmo3CLAy9I//vJ3wd4dWmdhSLZtYda
2hedtRmHh9A4ODpmu2Vf154uG+TEBxjUQA9Mjy0kXRmDcrKOAOPgjWOGBOw1bl/HRI8FOTS9L5k9
TbM9WZZVkBF/0bZSIAzeqQUV0irawGkw/ZgmfrbEaPKt/XW0ZoJEk/OZzuwxaYNeRVI3AQvsQjOC
rLY/9z//YdnAHoCZdKAqTBZJ1A5hnTtorbvRUGCITYMsye06fT9248//NcJ4IfWSbUgOjBh2YBt3
2QAtEsEB5X7+ExNM7o9B+ExS0gL3j4WEvHoctJsyEZwZkQ3mzIzasA69DTeKSYP4yIczamQW9fB4
CRVoCVAaRXEUbWS2fB1ifjvUFVjR8UWMpCah/Dutt4UUJP3WqH/MhreUV10C0q8nqRLsb66LJ8bp
E+vk2GaSNqaSjP02F2WAUblfuWbcQk9GcDVwXmpnPjJpqVO3LYR54KM6gO32KjcOs/K21qKk5KsZ
lGgtcH/quqMC0MMEIS0eI2lYrdRFCTgiiV1eg2bZncZ6m4WCvfE13lGgAdj/oayJUi07ENpDz7Vf
VxOCWfONo/0pw6tqeBjW3p20ndwH6fJ4+dx+DQwU8gtTMk6tjIm78w81RVPWKZWFeY/0MYsf9FWU
2H/dCWcG2D78JM+JBZFQqKdNaYDetTd1r5keXPaCk/t8Ipc1FXoTUM9io3aoOAjTow0NMAWjinbt
Fn8cUl91GulbYv0Axegx86pvZ8PnRplNHilQ0OwwuOt2c7MpZgVDSAK/OI9OmACLPPYDqC9xI51/
nqbvozhpQsiObcpHaIa6hZ+COh9Qoh1gAJVbbrXy2Qpq934iznUaONeiWUze3j/9BUzMXeuxX6YE
v6Adof24VdpA7fDEjN4uf0GOGcC/aBsHs8n0TDOOOp3mjH2CXHLdGs7VCP2n5S4WSYZxIKHgOMQO
cTBSqINmh8mR5U51GnAS4hlGiofsWRlJtEmBmyNgptsnQejl4Lpy08O4ifziKEQsc+o95/aZ49bk
q9qB6wTvgv3qK17u62/KzeKrJH+yD7+s4P3X5WXl3AJnBtnkeZDXtkhtGAx/GAqZZDd7Hq8UAhn0
wwBy6z8pmYjAJP1U57kNpQz51GJB0DTY8Z9UXqTWmOmO8aRjetfcjMfU8sxrkOGPZA2cH4qbeU3o
aobwqcCJZpAko+oLgGqhp0aD0cm1Y0iLqWRhhEaUVf9u7NIKQGuc7y47yNuqp0aYY29oixqrmpS5
aGTv66bat7l+rDA7mun/cPFAKgnTTLgSoNf3ZSnTOg6bBl9PXyRSlU+V/dR3vt4JWAg4y4YpLQQY
cE1DeZBtQs4KQHsWJdx3hjT7WNdSfQdbQSKaRfv6kLM/JfKgVw4Shy+5/GQO4JmiYyZtH3Tr6wx2
tzTZgT5+iWp3TkRlXOC8v+5ExE50VgEAxzQ5iycAP0XhxBHUmoZRalayokl5ZZXOkBB7buWPci2m
YG0zM4IOsqxt9TByoNm79mgBTa1RPddaqO0qXV+eLKvKZlJG87CNk7UooV5ldwnRrcWxobq7tItn
QfhDInphQbMJvdD+tnRSc9857epPyZLtrWjsvAzyVEewWNhXc2J3u6XM50fQFEZPUpPNMRlarX7t
0Pp4T6uqUMGYGSUfcz3OPuSzhg+rrcArFBfyjVOZxb2WT8kDcAulpyW2Daj6UNiLW5dD9RFqqd0Q
G6MlQaLkvQ+2wPC6Ay3N09w5TucNaj3edV2ohGQyJeO6hebtD10ustWd07a6auXZqEhuFtZtp1qQ
N6u6tm/vsI7G/ZxO4HLN0hHaUbadWodVWtTtXNXKHx2ybjOa5FgWV5IqabfW0nBjGo35XCdTfJyj
yXhQ9CSeNiYg9qTs8nSTNJiNINGUz/d9O7dv2mJFQdtAMsjNQxug91Exu3mbLU75u+p7KPyMuVo+
hnin3bUAabwr2pD40WSuHzmg47IPkSatc9c+nDZjvRivtq1qD0MTDa9hFmk/nXFQX7Iyj68LzKuA
3Ujrtlaia43b986IOQGgdiRBUORtfYgBQvzBAioYKOrzwJQg/YqlpkKxsVgx4VGTJRoCZ5i3VqYE
qdLdpJKoLc2hiEGvDlcd4GiYUvsiZDwWTRNHFGUnHUdAgq5fK9daSXHQHx+jm/Eqcc2jAXZHqA7d
FR/xxkZuAaJFTeA5L7agmQPcHSaaQSjBeJ5jSnQyqW7IbGxyDfRylUgOgiMUDUdPTDABWZvCubKx
MSBI7xsDUQ+L+4GCAYalMb7oaffNLrmGUMNOVJgSucbkLKPRQZ2XSjc1fU6wq0i0fLtzcu4Zk64A
VtD+ZzDPQqNLnfbx8HD5LuMAnEFqDXoLWwFdFoIyk5D0GAesyn5BQlSp0g9rtMAMGedq6yaa3ha+
kmkAQCVzpGqeXhrjr2W2Szwgk+5qdRbzRRk69ffln8RbVVPDuxVzvJB/Ye+8WGnt/+DHdVBPSaC2
Fykq8m6FUwP0B5wkCUkU60PTAD6prtUzqMvdqm88LfxozU5QrxC5wuz9xAZIfabkgBM0vWr53qpE
A1w8XyzUkFAgwwkHBobxxUmkQqXY6qlpvVY/aN11Kt11+vb73wQCTTIeiLAGdOu5GVVeyyhxgP0D
gaJsXefNP+zz07+vnv99pyjBqJBip0VxtQWewHPWwv/fXGAKO45u1HklwYVUvXYa3Msfl/8+90uY
GGsGoB6pDQtESsZFHRHl8ULLSh8KF373Fk7pZk5FDAoiQ8xa1THYhxoJfUinLIPR2C155xXJu5UK
+gkiO8yCzQoSlixEj7iaQ683E6+dP5ICoIXC2vzD0uGqQmUFM4KgmTz/+mPq2FXpYOmMSiao681m
DTgcYB+dANnEdenEEHPyOyXTlxIFRIymAEQ1eo72WgJhlD9f9ofTpEUvD50fdPRRVTHY6b3RMdoY
kEfknZthY22d42/ATH7i8kW7DFA4LZC305WzrV8nxxM1ZT6nGpnnF3D1lDte1dWvsMh2BAY6MWC8
9x2UYY8Yg86J7NyAHf2hcnXpTrbdXQIc2abYxdtkh6L6I3jknPtst4KPxtqC1JxcXhAa5y78JPYR
KpsoYSB1BvPwfMzGHa6MKXm8bIIXak+8ZgslxdquTbbA6w5TKNcAdQOrbmqL4G7iPG1P15Zt3/R1
HSVZTj+s/DY1v8IK2DTZc9QXsJdc9odXKTgzxRyKtClsRaJvsuTdeZRvCpOs16aHOb8I1FuAHYzE
vrH9RBDFuA4iS0PWCCwq5rrPj+KqSVZRDeDXczB8WRiu3tyBecmtzN0s0uLmm0I7nBYJwHTDOOjE
SjxFlY70dAxtYoXDfRhrR10fZE8BtizBw+LykvIMOhBXhV+yY+ERcu6b2qiTZk3Y6raGWtY6VXtJ
u4PgIATj107fDXEtkLvkGvwkEMSQtYM069wgnrt612S4cnBpdCPpoH+wG0yrfh1HuYvdfG3bEdMv
k/N+2VHOWcBgiGZaNuq5EFVkcroMkzehPKH5bGQrAIdPCBWCiM050P+RDDExfQLwEuOZhBamrQ+0
Kxf3jpc6VEQdksKejuaMIHbwnEH3D0wLKCkhnDLOmHluOzON2U02BYMF4r5a4MxncZgJT7QeSDl7
QX6BtxL7neYoLqi6gz16y0Y/xJ66M93wevEx6OCtUGEBw6aL+os7VV4ZeO97194IUkVeZfLsR9B1
OM1KLQxF6VSQYwkw14HS3IdzFXrdIdlVO+dgk+ZX9vtaJdlt7dkP398vp/7Tr31iup+0RLIb+L+i
/JEauChmQcnscwkvLTG9mU9MaE1rjzaVMsNrKYOW448fqW++/TT29i0QTMS876+TH8V99djfrB9m
QiLdVTbhP5yLUz+ZALCEtmL3Gl1iZ3GL4v8H98HbracmmAdblMslOqQwYZH8rcmIOZP6o3i6xrjQ
H3urP/TZxvp+8Y4OplKObrADKZ8XycnSGsuAmLbgCRAZrxbAknovIhvnpRRnJtivB4x0KdF5wCr3
lNuGpJLfbSRi3T6mFvkpk/iP+fjSEslx200RNN5UExvFLNxO5g34/0XFFN4imxjJhT46HYphh3IL
J1SjptbgsbpzuvehmQUx5/PZdL5dKfQTIyWQVbXwfyboGHkxLAlN5itQ43j5ICWlH+GpuomceKi8
PqmnP0qpJgcoYCVZgL6GablG2U+/Y6NUwrcl1+qQ1NA/tyFnB1E7aHImTbxfjKRXCabUepFix9cC
E34rBoUhbIduLwpa5wcsXLIobFv8Yi0zMA84laGrd52008uwxXAllUWQAHGO1zq+/270gGVQVUAV
Dvg2YAPPLev1slR4HoJhbAX5/Yo60LEbISh52crXGwdW6LgjZj0wi83epbOTYvQwBS4sH8BjaSll
sotrIJzbcRY1ML5uL8xygGkLqFFHg7448/HTWpOqKad8XlZt3Sc61e11RhXzD5dd+poeUNYVJFmG
jaFUKMOeL1xujI7ZjWCpqrPrWH6Qwis7emrq3QhqksuWuB5ZmDPSLFRUwPx4bilSzcYqsxHd+F7d
dFp5nxSr4A7hwCnhzV8bLG1HWGMea+1hQ54rEseLO+IiWeubSfq9zjWmljdT3m7kLCJN4v+De6AX
BmjH1pwvKcLQQRklqmF6SoAVD7U7aRWxhXDqZHAPiRMALphDhafnSzhg/maK8qVwk8Zvywc7u0qz
Z8QfQ/cc5UON7xYZc5+3mCgQfDsOHwto2DV8NaCgDAqCOrds9oaVxaEOMrOjNJCKzNf2bpMFWdBB
7oEsvnMvIUWYyDqQJykQcQ3ztg7IKCEh7SA9QnPo3DqQCnM3p2iIQI2ExIpFJhHHAt8CBrPxBMAs
H1sgzuLEqeZPlsvm0dZ+6aLBeQ42AAsI0AaSYbSIvlRmdJRmzEIx8QQ3rrLJc0jpj2S+Tw76ES2c
RvLf1W0jKJip9EpkbxCQ54CJED0v9ECZw73WRtUbDdatIB0Z9q8dVGMIVE4xRDWQgtyOnho4N/VW
uwm37bKxdwg3rmWQCNBG0Y/h1CMok//fH6Oef8RsLdo67/BjUB1XHJKOJHQjVB76u9THdS2/Wg8J
xnrRjXNvfl0+mxwEw7lt5mIa7DJRshK2x9fsz7L3lGjTEP1uePtp/1qDGfD1fjtdmxZJ762gooNe
wmkH3t1x6j7dgScZ0tDoad3Sb1FtnKP2irlhVzsYAc6yO2+kw716Xwuemhz8JWZ5cRljiASV2S9Y
7AHcB1PUot+j9MESg42lO5RXy23XbbK7WWCM4x7NglBxokARi4UMleCfKqsWxJdGv4nzxpXAKzp+
n+QSrxPcHDT+6Ui5mM9oG1WT1LYCI6AZ6iUX6YYg0HEqHqD7VjDqj4OKIh3LMxSGZYwxZKtwu5su
iF/0iQCEOxD5eJe9gkQv3aINLkpteUfjzCiT2qpSXJQ2OLjBMNwF0VYhoNxtt91b/WId1K16a6Sk
9eNDcaVQkrLLZ4Pz5oPHCOxI2EC/JrPgK8vBzRgWNrDoXhg0h3Rn7yOdzB/qXeTO9+Vz4hm75C17
SY5p0L9dNs4JUCDEQMfAAt4MpuXzQ2EUodGAvLuE1rNflodFOTb2ri5EXBWc6E5JoyBXDB4z0Nsx
cbCwoDZgoCTujtlT0r5WIqolzuZHMqihQoCJwK954VBkCdKesnRT+6ktfbW8zcLd5ZXipNYm0MDY
+bQjhYvwfKVUwCjNaWywUubvwg5C1E6ttiftdLsMN4moO8ULmKaJYE3FqcF9wbLWAQcxTF0Nc5Nb
Pjq31Xb2DMUbckz9dinJrvtN6GfXUWB7aKhu8Kx8AcJSkJpyv9rJb2CesSXqgLFKXUbFnKiYwJxA
mHJ5VUUmmFVNqy7SQBJcuol6n45/wuX5f/r7rFC1EQNmq674+1Gk+F3f+8kgb75vAiQsCIf4BzxR
dG+e3CvWpJeNHsKElFp+V9r3plk8XjbBwW+hInVig4lPY9/mZQ+9BwAA83iT3hVP9rW8U6ONsneC
mCg1Wf/h/XNmkkl1u8SK0d+CSRQoSTk8JYlg3XjP6zMLzPaK8CxCVICF9to6xpCPJrprPOieSQp/
8jAS4dq31h6MLIL+Dy/anxlmNh2k3hNnhraea9/nd6NH1WvejCsVNAX2ztpAldR3npXn8eBgYufy
h+QFETDyg64C01+4pJm9YvQo/GYdLJvxixa+N9rDCrJY47Ubg0qEhuU8LJGtg86TanegbMrYQmRx
8qEFow0UnRewikeQc43K98k6DI4ot+QdY+xQiHiDrwVQQyYvWLR8HKQSkqCp83Ow0TpSBJuFU53F
3z+xQH/BySlDQG6ixIKF/rW5QYGyJzOBjJtOpIfc77cm6Chz0uxyonSkuJVwX6Mz0h7WY7cRpij0
UmSyegs9cCiSUGExlc2COqO3VSjEl274JO/r46psfqp+YxOUFAW5Af1GlywxXjddt1pWOJUg1sUb
Ij6my+xWjuh25uWpmLFGpgplCoCMWdx0UoC4whwXLG4fTBA1lt6d0XtRwQ5oCA4AL707M8VEMmnN
UjVuYaqE8uNNcbB/xb7pDb7qq7cuOAoP8of84/Kh4z39zmwyoUypmkWdFNisNjGoZyu8xWIvQ96v
HeKbnuxtEehK6CUT2iRZmcd0gBSFhZfeT/k5i1ywFe1A0+U5m/CouPl+2ImYbjm53JmbTFgD4XUz
OzPclNY7x7mvMaQAmiTSiYZjeLfRqSH2Uq2K0TD7T0NQvd6AXrtzLVc/llepd2fdd8dIsGm4pwCS
PNihSFMVttIbRo0KfS4Z2aM1uWMbu4r2Vqmiljk9S2dnjdI8414ASBT1I2TE+O8nEQZZSDsNcoKu
rgVdguhhGgXNnS9uMAaYTVEPUZHVMwxMdUqS4U1Wnx0RJz3Phk01OhGEAfhjq4lmjId2MYNFuixr
Emte6dzN+fHyefqyz+AHCho0lwcsGTn9+UKBMhhEVSrgyPWseGXj2Q7gp8/q8nLZDMcVPDLBaGtg
Ao/Oppyb6dM0U8amBk54aUmUIOCvP+px930jOrRrwEiJwAdo5rkRPazs2qZUfZkz3fVQIoO6635a
RRR6PF9OzTCll1pu01B1YMZ0sq092IEkhTdZ1G4ve8PZwnRgETyeuPNRiWcigBXm6jytwLQpFl4I
s3ZwSlEPj+eJgZeJSqeTKP3g+YKZYW8u6OSjJ1L/VLodFWPSRIzrXzIXUD9DhAB3OnrKmM5g7gil
ldoRrXt0rrvYR93zKtUyN3TMF6DovGFZBSWHL0kZY445+OpspWXdAUqlrMgpmoc1fbTs0bWc5zC6
K/o/l78R5/SAwe6zJw+MPai1zxcwttq6XylMdZAHN53qzaw6ATBiD32rCbYD/RZMRAPdOhBVChRc
0RtkNjfSvMQqCgAPpbbxGy2ozf2QeLl9dIY/IcSIy+rh+76BolHXURnHQ5wleV8zpe+zGvn0UByN
JSa1EnnVeLOIJhV4awiSaLz3KWs9ymvna6iWWb42FezUqbSzq+i6a4eOpFkVhGPpX/aJc6ZAsKgp
MgavcC+wJX+9rLrJGLE7CkuJMbO26ndSoou2PM8jFV0LWwb2jfa3zj2aVLtTQqqFi4ECV1YOlgYt
Ef23LMqjeVsCg9SUGQIv1S9VQsfJFmwXNAjBNKhBKys6rMCQkCZ37ibdeR4WQFHy6LCU5evlZeQ6
CBw6nKQ3ONu5y4tlWsMaOELFbn4paR5gBqAhir74Q2MKigoiW/STntzkddgXC6oKgBmo1ntigiMt
sXeK1bhzZPy67BYnHIJ2/a9bzGmWOl0tnBTruS6p34f3ioKyzLfzH1QVMPCM5zaAS3i2Ma+rquoT
06FInkSzNoDxkH40NrFtC5aNE3bPzDDLlkTjVJkhfDGs+E/pzF6/aDcKaHqibvZtkGN9f+nQWKVD
Wsgn0Gc9/0rLuqx9my2ITtpmUQ/KtLrrKHqrcWI7mp3AQ+B/6Imz9zvoemRrkID26mUTJJcp6atH
Iy9JGXb3TfJuNIK3Bm/rob3q0OEmDPZrjFPK0g/xWON6BDLBB/nHxkyHvdzYgDS/XV4+XlwCbzJu
eaQuWEImuJdWmXQSlbevnOoDQqfuOKwvl03wNjcSMA2PeiRiECY5/0KVFcu62iHMLoNyP0zLj6nP
XNkWUZZwzaAqjMIB7euzhYp10fo+sYArMYsAY1wkc3YTCHwv+8Lb3MjA/muEfriTmGDqSVE6DXyR
JRODZ4AjFpCRBCYDE7NNrWAMBlTukyi9FFlltkNHO06WQV3r05287CMDyqKhZ5QrUHkCBBB3GdGc
Qfkb3W/1szV/4mEeDhgH04CHmVUTMojJcG10kIrJSpE0B9epE0Mqs5SQInMMeqbCIiWKHWJe7U+4
ZniVjSRvHy5/N942p4OP6I5AS+4LEYecRnIjgdXXtcPsvqiL7VCKtE54ZxaU4DiylCwF8xPn/qiR
UTpLCxNK2EAdKW0XDAQvpjWH/qwpTUyqrKh/X3aLF5fwPjPoVBbQRSqTRrfaLMlliDhR6quPAcWn
uFW2saz4edZvMb7qdonoccDdH7RJAn0QyJaxASNu1hnceUhkrKLx9drY2ipG72xDMMTByzDwpWhY
gi38w6ymlWZGRYWlQXFD6nqLq4uE5aOyVkSTdk14tFMBKIi7RbDjsed1OlzGriVq/PZCN76+SkRp
9etqdQR1OO4W+WviC3TdVhI7MWBCHnVPwdcyhk2WPZWp4Azz7EClER8H1UUQuzOuRAZYR9QcVzCm
LQAVDu1fTjNZ7iih25TMXfD9TUillfEKQT8XL4TzT7XKzhivLfIKLa72ISZbK9uqSGUCexpqG3XN
39Qs+zarJ22RnBhlokfYa1rYGdgfue4A5hD1aC2pmWtqIgFK3n5HPRqqGUhzUa9iNqIcSalh0CzQ
RpOJIL8CnVtf7OsOCN7L68jbgECKIXJY6NQp7KBHp7eOPlOapTkt3sJiedUzVfCU4zoDamW8dXBF
Yv3OP5XaYwZOpVyYevmrmRIXc7RB1x4v+8ELSnh3o9SCgASKHcaIXUnLitoHMEaSEur7Lpbk5jDk
aw2prFZRl+3ar/Ho4cmeXCVJIokojnnriGl93NIY9f0KuQM7zWA7aMXjlOUTIEY5AFay6V12khef
UKCgtSsKaGLbdSnGqnO7QRhszO6ucPqHuc59WQ9fR/CZumuYQv4QAzOpLIhSX482npCIu1hdVGe+
8Mgb2mRMNZIQt1ZM4sQlBOErL+oNUpaCK/Pr/QxLNtATYI/BWWPTNhRulHF20FdL1H1p/rCUt9zY
5/G+mkUl06+78twS9fkk5Yiz1apKHZZW+NM5GwdQl7V6v/zBREaYHKpeo2HOqTuD9FKDmCasdnn4
7eOlYC4Z1SwKDwMTDhMrEnvEqHuEPktWt56Zj9vCyn1NKr5vBshs3PegpkBgYjEEspHFUqGgkK0V
6juQhoEVIuAOsghS8vUg4bnz1w6rSVmgAdnX2mf7IYLaSbcZ20zgCtcEFBrojYuEgp0FNVTM/0u1
CXyChGNTSREgiWksSs2+dqYQDYBMQcWRMrUA7X2+w1RFMmYrc9C/hzbRMGLAZHis0DoypKsmvqMs
3aHWg2RA4B3nCAGlgpcjKsMYBbEZs2bSxWmYwGyTpR/r0N2GdeS3shRUzfSriy1BZ4ATGyjthkkl
pqBkwO6LUYvSHLjpyg3BZTdqH2Udbucp8Rdj8i8fJp5jJ5bYnTFLvb02Myw1/QOG6ZFnbCKtC4bF
h/w8uWzra6TFRv/r1RfejUWZo6KFrRRzVsrRmnzdukkn31RfEsveyLZoIoATKRR0u6GSBbKUr9mT
riWpkXcZVLi0jizx/awuXt4JXvjcFfyvEVNmEFPgmpbr0KReKZrnFJSWHFOk/asjP9uSiEGUc8rg
DajWsQvhEosfzQZUQc0GASOX9klKB0l+X/5GnCUDYTyVqMOtTfOk8/MVLuiydD2OsRyiVQk9lh+a
iWFYZ7WGzWVLPFdQsjUxdEePFdtjRscql3LVQit7qdEy2Bm9AADJixWYtUVjHhED0w9s+jK0cpa1
IQ5tHLbjfrLWVz21x31XTZDyGUBDlE/7qp3VQJP0yY1kbRQcLq6LGJqkfUrc8izAPi10M1azuHJN
ST2Y0/yAMqToUHFsgMkPBGeoLaHAxJbYG9TS8n6RgD1AJlZGTy2YIy9/KM6WgAWw+6sa6t6gcDrf
EuDFaop6iUBLqjr71TaDtvsYyt1lI5894vPeBNoDQBoAr4qo9zVnzvU1VR0co/8j7buW5NZ5bp9I
VcrhVlLnnpznRjW2t5VF5fT0/6LP+faoOSyxPPvKF+PSapAACILAwrgFE/71j9HPPxq39m2vatzd
9LN+uaf1P8XpnN7Ubvb8ID1Gx/Ld8ieBuBwvhR8CfncdbVNfI+suqQpFSyGuRhIPE5UG12rH/UyJ
FOrOn4L6vsUodDeTROSf3J1E1RiFRtTBksGQpi2KXgdwWyej26jjWZtDQamTCIMJ0MJMsTMZI668
ulTcRp+uVaK/re8kb/0oLSs6ShDafuGuT5MG1EkBNtIcMaXhui9eY4ykH9BW96FYt7FoSLkN7WP1
ZglH/74IOZMEw566OCGY5veh9lu8QPfloS5/9trdGAqO5a+FI3jDQsZdw50EOoqxOZdgaV8iN1hn
ANtjmp99J2+Ip74hZjd93c8P/S79+Wt9NXnGt0RkxAM74tQOEsSr5uFaVdHTEUdnNRgFN1YeDJ60
0AWBbhKk8pibf4C2NxvtbZDGbjZTMByquvFHpRfkgr72y2ABQVcIM0dXB96s6O9Y7FbrDOmIiWEE
PPXRedyi6R/9Dco7Oes/E1dY10dTB6xuLNEYbccI6ABVPkAD05Uv7c1dvFNO9Wm+RiJqRM/F+lbx
bEtzsE4yzjO8hTNr6EySPupKha1CGbCDjiZhceyfm9oXgRYQVODF8lnoBsblABCa4maH9lX1ZleW
UPtmKn567o+z94FHob8u8sem6TheVLQsILBnM3hyUgU1MRtEo/U9SX52ojqYr/WXFAA3IDDJ4NKF
O/ilWIFRq0E9DuCtPCQ39tWj+QsdnNfzUQY7p4dxJb6Hq4sU++v7xdN51G9TehEUKMJfMaiKEamV
1hEvbVQ8x2hubAVu1giu+V9pqP4I9wlD1WaxZ1MRWlFd9vAZNxh1PmyKX8SzH9HBkO6sK3Kun819
dXIOs8Bx/MkYs7qyFI8xNQMTaIsyh3jq7n10e3++Kc4DfNZWewCF/j/luULRWx+6LdoZErd6kY6b
rvOyj8nHQPaDqCD0a1MDswyMLZpSYoayiZ/TNhtjbz00Xn8y/XKjPpTEb7bjxvH1fXWOb9IXTzi6
hbvVqILCkx+UDJeQyz2IZattnAIKZlRvmqHijvhEwCC3rk9UAmbBUWNFmWrQ2It3KWbBG9NKMLi2
Lb1oinx0CvstuUWW2HVGWeCteUg6mGQgDorAcR2+FIfOQ4xCNFSCOCV51briVMVt7SoGtq4RvZ1z
vBqtC0DVFQ3VkU2/xCo0pQyiWCZe2RHjCCOuPJT7ic4fnnqAewO91Xj+xd2GpY5IIis082FC1PBk
v1vn1rdQRBjcOrGLalBMoPHno6q45JzsMY9rfd94XvUCm7HQCg88VVcBW/Wa3/lzfc5utVMOnkTo
pYMUoKdVbvkkv6zD8hZ2KTGjLnWFop88A2qSnGOwP/716C/EKGD5BnMn3BuSJczGJZGpBUOE71uY
/a3Gz3lwDERFHLyA6AKEOZDKNAXDcgkQ6WTu2rNytk7zydlI/zT+5IMpVD6JJlTSs4C1MjQsIy+C
TAxt9L/URyshs9ZM0MdMTvZ60W6T0nadst/klbyxs/HvA2Y64xFzsBGR43bF7BLY8QfwYWKQt5lH
u0gmV9UQbNYVgRMw05GtIANAmR5uHsxGxckIWlBiEA/FWZhv4mXxQW/O4I6u7AnnUeJqpiAMoz+a
XcMlIrNrqTH2Y1XoUPhglo6Yi9sfe8N6TrXyaV00ERBzxCqkNtuGitb0+SZqW6/Hc1kdi05ynj+k
tQLowEYdHYKIS52YHHmKRwc6gYG9GMxge8qY+kp8U5G/JrCHUS2Q/qQcFof5nGRDmadgeTdSe9/I
up8U81aOJMGzH2/dQGsDJgu8B+OBh1m3fCBjVeE9wDPU8MYckx+JBcauynhe3x6O5qGQA5S7qBtB
Bwq7bnISKKUUOPDtg3IVBrh5F+opkNRNbZhHLUu9qdH+iUIi8HxfSQHoQfyJy67iOPZmnncQLyHK
yyDHG5BT7KscxZVWeII324Cx1ivbcgs2qHszVnfrYnPUBVOjTSQbQE+hYYrvpbpENV6CggbkwmlQ
ucR5nQPDVcMfg6jFnLOLNo405DNQcISmX8awTQWUkjaJkQ3HxGhMx56yDzl7XJeFc4pcYDCmnClR
FY9BhPE6eAQcYx3lOKJ7zddWG7pdCzkYbQSpyigrDeSQHurCVW/Ju3afHvOr+mVKXB2kLj/nm2SX
b+utdLIGV7/BeGZ1W+4w8jV7EpFnihaVOazrqgZbF0i5vNE+ZtphQM5VfVhfUz4ErqegHqSFaIw7
yQelGBwb8jrTrV2/j8ZrNr/+Jwh2gnqT2mZJakCY2dEO7vvwLp/u1yG4Wo7UKngpwMCCIstLLe9Q
Fz7GBhYKDdT3Wda5VSdXqKCeTpOafGPFaEYa/bYIEtEydIlljShV1POi9EKl9IMmvQ8bdCC2ytO6
SDxlR1CDtmi0dyBNxsC0Qz06dlGV3iAP53GSduH8ex2Bs2jI6iC2cJCjAKMp6xqGplNRi4OrrlJm
/jylIJqtVbQJjZ19O+JZ/24d76uqqTKAZAUvs6i4YN8ZtUBtgshA/DQXV4P6IClXPVig1zHob748
7YGBrCptVIbbY718HCha1xCEMGX3qhT7GO2bYfccIVrrDutIXGk+kVi/brUO6eUepyNJ9pLtpsaP
KRUs2NcjS0V6BbUwSLFgThv7amCpMrxdayJ0SffTsCuRiIte6nBfDaci2lvN27pEvLVbwlF9WZz3
dTvoMzocEJsNozfJBy3HzA0UDjfhrZpUgo3iLR8SSMiyg8wIxMuMejeDGkHzbSQkpOwUVfn9NDQ7
VCII3kW+WhEltaNlwxgfgH8ZHW90u0MJPRxDWMbu1Fau1u/XV40nCO2NR68p/tFZpsFGkeoxHtLS
6+qfxnRvkrcheVyH4AphIWlDCzjx5sWsVT1bTm+agCidg2a+SRjZtw7A23mYC75MOZ8Q813ufKYn
QThUSelpzs4sn2znV9eBI/Wgtb0A6avPUeUlEpPiBVWzZJcZPQskxY2cQ9PeGEbpNsNuXSLerqCe
GyWvqA9Glo051qJSalQ5wpIF03tTnqeUoPhZxMvIBaFD63Hm0NERzLJZRY0ZGXOGs3O81nu0Tsun
QhFFJCIQZsXqoJXDQgcI3kcyBbyB0mMXCfJ2PAVDtxFeOP+MdmKZ04oSHUBpDIymVrtDU8TPkjwp
3zAUZFeQkgL5P8q2mS0hThJ0TYBzU0bkNhuorMem4GnS+8bO/wuDKqdLXe7TytSQB4cs5qss/UzD
k/H3V0oo8QKCsUcTtCFdNwBCsQ+B+qIY2zJ+XpeCayemhuMZGQ3rS4msMvWNHRU58mvR0xC9tsYx
JzeqKBnN1S30mclorIDps12GkR6Ug5ZDkKHB9Ig83sxZ8ZAbf1+MiPVawDAHiz0NhDgpYIrhpehv
M7wodt3v9QXjqvACg7FForWJhHxJCV7reK8aw3M0irIxIgjGEkdD69OuA4RMbvPkh2P89UX4cpkY
A6mNNETSBd8PatsP+h9JFm6dWpDj4SvWv1vOBuOgRxyaSgeI0pkP4YDB5UMalJumtzfK0AkqhwUr
xh7y0ySpxizB5I3OQS3+uRw+/tOuG+qlsct2PoHOkS5ZTzZEG32n89cRBCbC1scnaa+blQqEvr7q
7a2hHlVROQAXAr2KqMtEdsJmK2gxCkVOM8yO8dIicg1MyLXBuBSLGT1FOIz+RsoQj1YPHEx73nbH
+Jpckye8RuzByg7KpdRNb7u99fiN9QNNKcgd0TWLcO9yh4I6rVLZKhFaRE8aCFzyfzrRDDquSi8g
qBYu4lYrmi15DiBXQ5676EHtZZckT5mhCU4WTioHBroAogu8AMKjQNPmFWQBfa+CoedvxQmT9a4w
TdJ3duGP9YWju8HeZJZgjNNsNBNPdBruf6HtK8FPLe58CTXjzXQ0zUM1iuLxrxyLuJkt8RgHmrZj
g45j4MnTPt/IXvyseyFY1vtjvU8PzpOEgWn9pj1KO21X38c+2vjXBaYAawIz6il1zWjCgUNT6mRj
RM8DxrQauPbUNSj7O4Eb5NvCp1oyvnawykgaNYDNGpJhZfe7ccrdUBaiIgoabawI9acSaKEykmH1
SoU6Cm+KHjCkqswwdC/08/Kqw2OZ0e91THeZRZdggXBs4dysjJFRmgC1suK2VB0w2SM/3M77/7Rh
GuN8NZy5hZEARomkQyNFXi1fqc3bkBO3cERXFO5R8ml7X97l5//5kVmbXKnM7jPJuluXR7RsjB9R
u1iJSA6dwGSDPNsj8HbL+K+TRxdWxr6bDtkwWSBGBkZ8sNprQh5z++2/icE4jths526gEKQ4GcZV
gJnkIusR+Ca2cHK0g9BMekDYY/s8T9I9BqG5koWpzdm0GbXoAOLb13WpRJD07wtDCmcUatoRIHtN
f4qS+rEc5o1lTcdMj4+REZ/sMtyvQ/LPFUTfmFGNjla2p7AIurzTWnouS+Vjp8qbWB631kSu4lb/
jjtCAIDGBVxWvzQjRaiRK6sYppT3qm9Ww6YxJ1cRMlhyNXwBw1is3tm1k0xYxFEf/RBvAL2UXmtN
eL++cJwyEGg5uuyRTkZZHO4wl5sFN05iPUd1QPAuRS5ltceRdVXvQ2QYDzhAjqj5U96SgyhC5+7Y
ApeRDxPCVLmKgIt3FLdF+gptGTOwUL/orovIdUcLJCasaUiP5pCggYuFJnZPiSxQd+5huPg+44us
TgnSvsL3HfUfsOr1jYbpgG6XPgSKIKrh68TnXtG/LwwrHRKJ5LSSY+o+pP43GvsaclhfLHqYfjkE
F8IwHikoilGJC0Dk4ZUcYrgjxvGcSXEe1WMb+sYgkIinBXjzoj0TGHNr6IyrcGQwRacVbh2amv1K
dGWLosLUzebcTQrRsxdvn2h+Hh3iGKqCOSCXqzfpzizpPbBmszzFir21OxRz2DFSmdkPpzRF2SAR
HiObIhUFkWl2Y1TTXRT6qBb1QeyD8S33sSgrJMJiYqS8qotcjSCbjfPQPknd79C5R+WKP5nhZl1D
6M9mNYRmIDDCASWZeEG8XMZmqPtURnGFZ5LTUDwXqteiW93GzEaQt/RW5a/Dcarl0Sq+wGMcRTca
oeLUwAtBKGHpBycYXM15nOybsbwey6cyB0e7pQtgeaa2RGWchh5lrVVqdPOkK3vc9SR1ragTaL8I
hPEcgx3MJvivSg/tmKnshdq1VH7jtKKPEqoN3n7KOnu5W5hLliKqxWkVxfFxqnJXz4xrfVQEboP+
0i9KsYBh3IZhBBGceQ1J0nFPYowNsUtBfM51FbRTEMzylGGEUXGlJ8GAIbSQRAGRqO2OylM2YUr0
9jv69i/Ol76ZIlDwxDrCA+ph/T63jyHNtQ+xK2u1O6PLuMT01jjBPGhHRDTCXUQUZOJ5lw60YvtC
JiRyI6Whe5U81eBDUwWi8Vfw8/v074vjo+odMyT0fq8o9R5NwtdOCto9s0B1OhGdI3wshw7aQIGe
pjG7BfMJ+0SGLDJyla5hZK91E/uRKu07QxUc8Fwzwkvy/8fSmTQyqoa02taB1Xean6YoPSaPoSqw
VYFAbNmarOWdFWcAMTLMMvugRLORIAXHKTaEqwP7PvJLKLABN8HlBmFOsGr3KMr1pjvwbwR3/viT
HM3EDbb5oXgJd+Ox2E1+ekA58FFUCMuVb4HNuNlCatrJpjmMqaxhXBGqtwM9dSXJuBmERyNnx8Bl
h/5VzBJBSTpbRzSNXYQ/WXj6NTd6f9dLGyf45+/tGJXboIVBISqleGA8XwpqKDM3UUSkgwNBn/Kd
ZpZbIwB1S23tp1y90wKUBja115FI4Kp44qFKCsW2lCAB/17uoznLQzEkqCPC5NbOJ0mYYjRsHO/l
SJgp5PgMdFmhCh7FB+iMY+sA1aIrpkCBizLD8qk1wFE8IU8sWEqePNBKvDz8GWfDvj30s9GYeYcX
ukpXrzIkReyxv9LL6mgpWnQObbk7gDQ98PVp6HcgBih8FFSj8LdT5I0aIqCLQwMRnajthSs7nvN0
kKGgX519c0/rCIQ8GmTP2nHbtvYmVavtuuh8yT8hqNUsXGZHtFouTUAUkZ3sMjl9S4gd+QPt8P0O
El6NcafEtY81iSSvnbJuEMHF8WDtcj3DZKopRstZF4uSsHyhPqHoui6EUs04keoWT4glhtlX2lbH
ULxOxOnHiUjRkfEJQn/EAmRWwZgRlXgVG3rzStViJIKOtjW5JMMgC0ngOTkxKSJEcK7i7o8GF9bW
o3au1WyERF1Eis2kNf2jTuKdHc4ENHHptCN1nzzJdZcLwiuelODGsdF9haZX0BJfStmOaVx0I0ZY
hJpF3LjGIPkGMxq3EZocQHXegjNnHkUpHY6rRk8ielQRB2FYB9uFHdeYBl+nkNaaMK9tvO8y8DX9
7EuB7vNy6Esctgd7JrluxDo1+8TG869t+OXc4ybT35pZ7Kdq8KKYYAtGfWYvSY+W1gt2VSAne9Oo
S7lvuxByYupU4ebj6CaUEa3NVdCsiiZCccFQGALOIQXJHRYsN5xQNmiBQASjkO1XJU79IX+PEn/d
znmqSsnO/4fDnLN4j276RAOOHQz+VeGTIvSc6lZKt7a6WYfiioRRTKjVBdclKrkvlXN2xprEBlwK
KuHPRXNXyM6hLY7jd4yAkl5RwiZYPFvIFRhlbij0UUyXe7iuoN3hf4PwfGwktycNxoVliahCgSsb
0lUgDEX64Es9R9c0tZWOCFeKdgcngyuHazsHuxW884pgmDt8khYaZpMCZrQx7Nlpmi366olbk3mD
2bPfUA0LNPh0Ojroe9miu0rPUOFHS0gL50aSPDX+mTb7Zni0rdwNRBkDGoMwNzZlCcYcAjLRVYck
qO5JUtvtpx86rgK28pImb2n3u2jPqogHkHfqINWD4412O6Gj5lIbyyju5YQCSgq8YmaeksnYgCpr
+/dKb6u0+UjGKoL8+RImABFUJBk0KAAbc9HnPri4fa38mFCPs47EW0FwcNPKRei8wVZiEVNtkHGm
7gkmLNnxpp9u+u5XZx5D677AiVeEv9YRuUtI+SLQiERnKDFxZUvaMJsDLGGlpXdTXd6A8v+YaI1A
D3kpF9jyvzhs4YE9Rr1epFhDKxw2clufJkP9oWXtUxmGm7ggh9hOEzfM9AdbDp/XZeT5R0pfiyI9
ECp/eYQmgySNqUwPndB0u+FRzg/WfJtiqIsFxtmg+4aBL+EYMwhjLUZRL+A080mVD1NY+mHzGmii
Uif6HdbcljhMoDBrddZrtC4wnW9q/ZX8PTelipsGypzxLKHS1oxLtY/QENRNNr5f2OrdEOcP46D7
RixK/nHFwPgFXKsQZ4HT8xIGyHmCFz2kEPSD7EQuGp0E9+w/FHVfVuoTgqWwK0o5lzMQGXrWDQF/
2Hk8pLvptnrVt+aD6X6UvzFpd0M2zQbk5MgEHtbVjysgWHzogFoLBB2M+1BHEioqDcPRTOm12uQ7
miBk5Cr4AoEJAOo+0+waLbBIID1V1iHPfHW2kf/WvKx+TTV/XR6uy1igMXlMtQXrFfgbcK3HM0uR
/dNZ+0pUFMNdMwsMHGBiQ4U6W2VfdYVlhzRDW/QZJsyDkMjTe9GUGK4g6EeDiiM/glTjpeblQzP3
Bq3oGsdu3llIK/kqaF83kpqIJgrxgnrbAfU5nCzCNDa+RtPAMEX0CNGmcmOat7iLgZPip4z5VtPr
+vbwlo6SAKHGHkwGXzhM5jRsE4xhwhkCksbiV5kIvOn699GCdrlqUzXbeWbj+0r8UZME9QtP6wLw
tuVTAPDzXAJEpk6aIgHAZG6d5K7IfFP/+7pwsFv9b40QO1xC6Gklx1MDiDq8nh1/NAUGKRKBMZGy
79s4UPH9MiVbs0y3U+u4eZl8IzABmxDicRTu4rJKf8biQhw3mF3z5/mp1iM3DA+5nvu5dOqz+/Ud
MfEd1n8ucejfFzhZrCHfpMPiZVhI8zvMjnlgel0qqEPmUGaAaWQhD7WiBU6lTulUDli2oXNu8rrZ
FJHiB7X2OEnWaegnr237jZXlLeqvym2WJdd1NYp+BM9Ulz+Cic8zOWsKnT7TdEfpxnmY7jAly8UQ
OMVynZ18CPaTX2ySJ/vFFhxTImDmIJx0o1EnjGPwokF5gYVdS0FymCZnU5Lk0PXF3fqmCuBsxo4j
uxw6nZY2hvHVOP6Y78PsPIE7QXlYx+H6i89NZZuz5rzJTFAqwZwjfa/kw0nPRQ96IgjGnE2lmGZi
YeVIudPlEFlC2V0X4uvANpCbLrSCHTE6p84chlQrjJv8Ortpt5Wb+bfFdmzdOXQtWj3Z/Oiv6so1
RKMIBdZnU+kvrELHYAQKjdNd7e9mTXej+iD3z+sicn3WYp8YZ1LNxkDyBjDWoJ0w7v2EvOJd7ljf
8iU2EmtgAsWoHkbL66olU0XLNS01Dw6tHTieXmcqaJOq6twEfSZInHN0A7dfXH8ReKEkgM0k9HYQ
aaSm1Qez6Q/E9orMEigHJ/wChG6iBAAZc7wOXG5QVg2JA657aHim7Bq73ekgeIvbGDTQw2ZUpCe0
Jolyu3yxPjFZl9zGMaJaiDVoyKOViFne1tWB4x4gFOp2tT/T2dkEfWGWQTxKeBtNqruk8zsXlOBS
jtJaEScFR+/QtIexTXSoCZJYzFmJOkxzxnMQQr1mo07HiDzP0q91WTgWdAHBWJA56o2hxIAwHS8z
z1OjI249xJnAo4okYfRgavUpGQj2RM4OU/muaXddL3o4oebBHMUYl4tLES6zmKzMpjyyXOobNZ2x
7yhC7l3HKz7QQ35WMc96fc14hzHYq5BeAfcoGl1ZmvY0Ns2MRApScFcg77+frmNQ00kHRBlAE7UK
cNg11CUaWylrEacEt4CMHMs52iXn8hxt4ysM+tyGu3ln7Grh9F+eAWH5QEFPKQu/vv3rg0RAcAOj
DR5IjM36+2MPqZL/ff/Lm3+qYs4mXqugDNJtP55JLfBr/P1ZADBhsi3N1hD0VIC72Z+ukcY2f9Wb
aRu8RO/SVvLX1YGn23TuAVwVctlogL70ceCIU3tM2UOyAW1kXlSB4N4kdoqoUxcRfwqg2DeCMYu0
SKLlpRXGbPW3RfIipYJnAJ7HXkjDZubVTImtiVa7z5bpSimoYE9Zsu3SdzKey0ngSXmaRgku8L5C
ie1ZQ0JJWI2CNDzB620T+lOutBtrtg3BIcTzcThRUcoCEJSsMuowdYizHHrOdfrkj7CbKN1muu7O
zbD5e1XA2Y+skAUGZGj4pSrkZg2e1AAJmypsjxYdt55pb9YsKl3gHUC4/NGuGLTZgzX8EiYOQk2S
aDwSWU9tDwav+kXX0WMruUbwa10iEZR6CdUnegYORMSP0H5w8591ctdJrZuFd7W0W4fiad5SKua0
M03KHO0AKiW3fReB+5K4oDisVUQLGD3a5gI3zjOmJR5VzkXwWA9pP/UtrlSoHDwOlvNPnbR7TY9E
FbH8JaRvNZjHg2JpRikaxSHSGMBobRCAqOlzqV9FxW8l3juRIE4VILHJPIIBV8RSgTS10rEL00M3
5Bu90+/MFnQqtiSLcjc8y4K6/080loohLQmYuGmjQ5vJ7qx9DCjOluKrFLu3rhu811EcuJ9IjB5i
3kWSzQpEc4b2NVL02pVRLUvS6WyV4wY1G6gSCI+pMntR2V1bOuZTrf8CrrZQ5moNL5ag46F/X2iL
nZSIo2l74DDJfpwHfjNlvyJZxI3Jh0Fimc4EgK4wpt0FgTQNEjwisTHW96FLdjMKMb8hCo0pFEqH
/aVrHm8sk5PO8IdqAqaYoXQdK/G+MdEQ2UMED4qlUO5lNhxrI2dSIx0oqWH802XOWbVrv0niY15G
Akvm6v0CilGOmcwz6ToEsS36RN0KA9ANpT92dnGdWMqNrYi4urhqv8BjPFWEI9LQJeBZXXUFCoJr
DKVwMzX3u0S0V7wTcrmKjJOKolqfOpuu4nRoe1xyBS6D+32HNlKDSgUs84xzKseh15uix12mVLy4
2UmRiJqab7qfEGzQgpxrpg4ZViueNso23IDLLH6Sb41gk22kcykau8K1oAUcY0FOBNrhKoNEufHa
acdmHlEasvmGBS0wGIVLA6PX+4qKNB+G6Jg197LoqUywMRajY7khm6ERQwwLFRJqqLuDqMaSh4Bp
EnRoL8Ykgwbk0qOh2WZCYggImoPBFptgFKgWzyrxdgpfRjmFQWly+f0wbMZJpdNTrHh2w8hyMWjK
q5TWB/FQLmRAV7niLODoz1k46G5uNTznA27ajb720p/0R0v2HOIrJ/s2Hzzrvt88DbIr3Tat2+yl
kxfeFP2m+qE9/rVyQGDkb0BOgNnRbHlUheqQNOzhwougfmki0rtKNP9M5lZ0G+BIjCJEHYUF8OWU
k/dSYinKpgIswwDKy32Ct6aoIYLbAMeYLiAYRQ+G1iqkARBa8SYZd9Z8qIjgtsZxphcQjKKrkhNH
eYdsSkxfTNSnIkXOVULlfPr3p8QFEF3OhYLMdkVCawZQptWPSiNtbZKjOU/r70ifIEskYoIVrR39
+wIvD7SkLWgeKtN+DcGvUL6NRwGFo0gDGBOzyjYxbNoMVc7qPrcxOdVRBe9BIilYs4p1MmYhpEhG
7VR0kSclzQnsT4LNEWkB87SgDbPz//oAyvTdbrdjrbqxFrqGIqoI4y8Z6EpBZ4fbE3vgTYUcB3MD
140ZJD4ZPXMm/rr9/+ncZxJRULR/IdgDLwPFTjHS8MDYavvBmza6N7rFSXq6lm+Gt/Cseepj7WpX
5S7YpLWb/sh/p6IclUBM9ho/O3avxDTxmg7oQgliFPMJHvL4O/YpJesaUq2NCgIE5H3dRrsLHceT
67siuF9fzj/+cm05GQfRlxYiRgtAVeYafr3Nr7vQ1W6mTbGVd4bfeeaddRr39t3sYmbx7fQzvA09
a0f8txg1/IlfudN2Im4Tu9Yx9kUlDHz7+FwGuhELKw+MCQOgHfw6rXdcucZ7WL8TjjcQgTCuJCwj
wyE5QEISYj53DUIMz8T4uvWVFukM402MZjD1bAaKYt5j8LRbKR/rAJyI4MIwGF9SFjNq52lMo9q+
Gb/UxXur6G7evbbJz3UkkSiMO0HOoA9lHaLUzkfZfhTpZv37og1hYielAu2YMeL7rRN94Ma2l/Pi
pS2N7ToMJyWyXDD2ITLNnSrrqOo3teZK9laXrwZF8vRqV6jHSlT0wcs0X8AxAUVcm2PemfD1Y7ix
D/FGLl1lX5xi5BFcXfWqG+lxNFAD6q9Lyd0sEFSjyMdAUTfbaybPcdlWKg0y6so3y+6Q6LFgv9Yh
vqScTT1MrLijkmm/zZq4Jijv14XgasS/QiAVfOkHRmJXMoiHoRHxE+lu4uFk94LqOa75LCAYj5uZ
9SAFKrRh7F+UIHBRAWLjedVxHixRJQtfGlQyo6cEOQL23Y6YKcYh1ANCSzRE9Ri7rOIwHrWX9TXj
78onCutwAsrAq8EfFPbBse7aShAe8a6e4KL/BGAcTtBjqEQ+QAx5nPZTBi7t0DWR064HV442qvUI
2sjW9kcRBaZIMMb9xMh8WFELwcrgYxxvHNH9k+sXFnKx7ifrkkaicgXtU12+NtKtbZ7VedtlDbqF
9O/EZp9oDlMOIdkYXBVhfrk3VLWnSg9EeZDwyGFbglCTG1EscBgTsus4RfaeKp0CDrzer8d3R80x
kEPUKy7QbocxJKdCrILkPx49a8s1K7exIoCJrmdccwWhO2rLQYmL7C/jEeQgNkKa90jKqzHeOuPP
WDnrzt3c3a2bEVecBRBjRrIu2do0wfVk5DGWN/1wtmvB1nAVegHBGJKUVGFZ0nugPV9FLcqc/qMI
jMHUg4MMBY2iVPSvymnoz/I+7v9ZXyeufi2EYKym7ZuiwLwFxDeD4Rda7jmJP0ybbha4NQEOe2or
UylNNt2PKLovg20BHS7iYxwLyrEEe8Je/4fEbLuCZj2n/ik20THfCTZdpXbwJfL+XDCbsROQ4FfZ
n0SxpbjOHhcJ4+ZdvcVwnlvluvKTF/nQ+Fnr6n5zfgpbt6jc6vT3Y+XpUIR/rYitLho6VMDPNJJL
5BaOwW2MZFOTc2mcxH6BV4p/AUaXfBHMVxPGHBOa17MH251nxZeV2Vd7cmhQ/pWG6dZ04k1V5dsc
LO7ryilcbMZdRAEplORPEnurnJVtkLrzVt0Mv3MvGXzzMO/IOTjVm+JZ3t6FP5rj8zq+wInYjBNp
W8XM/tyLraK7bowyc+fIQEUV6Nz+GxDjSlQ9rLKKbihmJpDgNwbbD/r7f4NgvMmox07S0js+GKj7
6li095G9WYcQGR/jS5QAdTtDCRuvzR1pbtAPLFimPwQpK8bHnrqTZpXEobex5Nx4ZKfcxxgbNd6i
sKCe/fBq2tqGV76o2+A+eTFfZHfYq9ed5/hP2g6lrqJ8gkA92HcprbHH1JQg70xuSuUpCI5z9/ad
JUWnDX3Xxm2AUQwr6ZUczzjIF4fowLJ2USLwZ/w9+wRg1KJLh3DobQB0/fAepNrgFnYh0Av6I7/s
GqpAwOkIinokmRgPUmOKWa4htGgaPFvrdxOmR2vjIUrQwOGvrxc/ukVNg45advT3s81XuVk0+ZhP
SGXdN89N5hZ4wTmjuRFMerf69ffSAws45jSYZMfOFAuiSfJvfTqWsqjcjceOhcFPnwIxmR6QNRT2
QCCQhGzOtJGv4qNG/OylfEd7+yHZJcf01vBEr3lc1V6gMk5/NNqiikugdslxbg5zfjKdnWCraIj8
RS1MMCMjSw9u9y/3KT0bo1ZCbVpbPSrpRrVfGuvUhLuufwyLm6l57f5+jiit6/xEZPx53alSqkmQ
Kqty7RxpVnUuslJE9M01qQUKY7NFU1ddMkOutLeuc1O6Aqe8wBFyt2cBwVhtWnVZaDeAiNWrQb+d
q9tQ1HfKKxi7WCzGm8tFYpDCAUZGxr0ZXfdkm0o70D7b8akbHvLg1OOJL/bV+jvvKxZtPwVLFl6N
mPXLTH0sDAOPVhWmnE0Y9Xo1i+gxuB5pAcGsXw46i3bERA5PLkI3z3/YreKOzn0wbftEIA038F1A
MctYR3FgpAGkGZXnIn7rp3eSH8J8u25MXJ3DqDawYel4/mJZgccmQOEy3aw4HDzV+JFK3zknFgDM
inV2Eg+RBYDW/pHaT0MpcNx0GVhngDQOCI3pWYQijMszAlwDUmSHcKTpnCc7UHxNfjWrKcaLDM0x
0pv4lEtRvemt6a0d1VLgi3j2hPJLG3V3aI8xWA6TUo3qNCcjcgfmq2XdSclLTQSxLA8Cw+ZASIHx
SugsZfSgNbPJtkINIZ4++11dH6rB8gNkSf9aEVA4iHZ0vLUgRcU+kTcg7ZdiDKz1WilHxn+Qcg91
VqlgtzjCXKBQdVzcCWY5H7PCBMoYVLdNQq4Sabj7P9K+rDduHon2FxHQRkp8pdSr9yWOnRchX+xI
1L5vv/4e5l5MumWhBediBvMwBlJNqlgsVp06hzDtHxaDzwIqIkxDQmhi5hSsm+rIGOzETWW71ezh
e1LRlbR46X5lhmlpYFgBcv2TGBAfJ5rKwcFSkmtmg0/Gk5r+kPCnafgoph9+8KMwNtR8Qy0EWL+n
tn5Lwk3JVhq+SxsKxT5MfML74ITq7ycbakuWUiskiduBtGqX1UEFKZpRG3/HNaUrpatFW4BSKZwk
pLfmPC9dZ5R1V4Z46oM5HHOTmQeAuLWJWL1yqhZCH/vD+gZOFOzun1ztZFE+6DUToqWpG5fvvSGP
ev7TaHxhrSmeLMSOMzuzJCwxKfQ7LNixmS/ScG/WalRbRJ0tZH5bmLdxs7l8ypa9RhHa/b+lzT3T
D6K8HkAk06exYuPyOw7u3HT4OXAS3IXSzkoMSnFD29Ku5+g2FlaANlhUMFRZO2njl/FcOq7dmQG9
16q8op4/xFW+0fVwzceXuoUYWcUpAjAWvAfz/u40Rh012yB1zS2xXP+geyCGEsPml+4FgB+1D8HG
PIIZhyTCwL4dowNkbzfpvoOU8nCFpuKuFe3mybgunzJ3rfC49PVOfty8M1xABThA9TF1J0wlluZT
yw/4kRrZQr2yt2+Sf2DPPd2MeRe4D3AwiNqMKKx0Q4RFx15IBVrb1khSuXLWltpHZ9ZmvlmkgIyn
anXsoQo3+pWxcbwOfM4i347b7NbfaN7vy765kAqcWZy5pl07LJKxslg/TnSnt4+X//2l8fgzA7Pg
b9GcFXUPA/bTK0RADqgC/TDc8O5ad++n/b06gsK6lltzE6xkOau7OQuTdOJVDShj6ra/7efptbv7
D9TAO0fQ4326G9x4reCwvJcKiY+5D8ueRzCjtvzYbxEqTScSNLvXi5XNVGnTLO0BCpQBuOYY4EL5
M0d4EiKjJkxJXCHu10rTkR4s8q5Zvwrth0a/sWSNtn+plgdznIOmQQ1rfSocDnVSh8o3tN7wIlN+
twPiZU65awBe6cpSos7QgZou2madPFz2m6WnuWLTMJVMKGV0fsfFidbolQnjeB8FWzNiT7qJHkDv
YyZgKnizCWO73PKYDa9V2T2l0BzZ6CNoaC7/jqXr7/RnqFvrZMs7koxDpK4/rfvZh5HQ/J9N+P4P
NkyA3RQ7rQYdu3MbGUhmwjqOUhdDs/pNWNnOluQ0IK5fk2YNTLp8IMHxx6GQC0GQOTGBQSUFLxys
GYlnURH/DDb+rpICNWn23FyRH7ITtnYDgYSnovJAIhS6K+tdPCcnv2AW5UJ/qtqsUL8gYqKuS0H8
l8s7unhLQMQWEAKGZILPHoVtn8SyLuPUDWIbozdOsdfK8uCP6Qt2/zlM+9ssmQ7UeL1sVl88oCd2
1d9PvEXXozBILdi1Ay98dgoRhSL5PW7KzZ1BxPfeC570UdQHfuh6sVacU674KTpgOkLRZ9kKi3xu
vAvqtLMoEpvGenecFxwgeOtDsMojtGZHfd6TRWZDnGbcVAkUjz271sFW5B8mWhwpX+vXL54+hX7H
Ext82/MlkWDsoCKJxAmPpEE0kJJyQYwXicIf6pWDvuSUoJCCmh/qgJTPj4UMwADYaFkKhaRY9M5P
Ov5DfmtZmpp7xeifNh9/QNvMtkpSIJJAaSU/0vG3A0Fxk3ys+KDy7bkbnNqZRay0JJRPHHbG+Nha
N2bhcbLzi59BAgWNrTn9kv6BktfScJO+FUbt+XJX0kO3qsenK4f7/EtsRRCpmBXnpzCGtpwx2vgl
CdAv2vRclE92fM+qO1YcgYNF3b9tN/rwHHY7/V9ethia+L/Cc5AmVhHixEl1PyWVqde4+7uhE9D2
xRgIku2Vh9jSUbCA/maQZQXGYz7H7Mgs5H3cInuyb/3sY+q5O7TYWHNc885FS5gEsTASZzLQ0J6v
x+Z+EFYMlupN4uV7a4dcaqt7yXVniG5Pt6+90Lf2nRT8logaVVGRidx9Czemm7rgx73SN/Ehu3Uw
pS72zeuIjKt7mXa+eIDQ7E24ebnshUunicLXLW6hgo/q+vnPbeO6HqjVY2O0A49D0bcrbr5sANxR
Su4dRFKz/ailk7cQtUC9ItZSTFnSI3A9K1930QYmK//w2ykKuPNF9HGSB4mamuvrjEsh4fyg+Bpb
295c3q2lMIcRdfgPUA4m/nNuKAX52sRaGCqi68m6K8nNsGZiyX9OTcxuJjOjGF6jMBEZv4l/zckR
0Ge3m9a6XIt2QIaGkhK2Df85X4rdhyXIyGCnHuBYPLgJZOTGWg+B5jWNoDVTszQiL02wp4Ii1a3C
VtS5Z6MKUlFLVMVKMW4xEaYni5o5QlXaIWl7WJr42xTYYgwfOudHWD7hDwizQisPcb4Gtl+sGpxa
Ve55EsK0qfarfFReEe5qDGKZm1479rGXllAE98Btsc3Ta1Zgjq96HftDF7yScq8n/132zT+lxnkU
P/0ZynlPfkYcBTKIBiw+fqlV47T6r/SQgrsf7S42BDmE1/Q+3Dibds9ux5Vy+OIJRH0aMjk2BcHG
zJskunMdhNhTN3VQgEofGshiX17e0tFDHgwudoqpPTDinq+ux+O+z3KJf70ut5TIfcDJ1g6NFTNL
CSm0gkESgpFE1dU8NxNQ1qFKjXDVsaGtN1M6kN+kq1pk2VY8Mk9jZdq4Vj+8J3gE2G5AiG2vhLNF
N4Z2NcIlppUQbGY/woxBo5yC/BTNQYjngHTjv4F5FGrzW5IJcwVqubSx0BWGvJHijkKt/HzFHKMi
rRl3yBKtPTd/lLpwQLH99Y93amN2LkMnxRw+htPBaCliYx/hKDpr5cIlVAnaJH8XMjuG6FFnYRRg
IbJCmcsWXSNS0b295rtUAAv5nu9sG8B6N3HJ9eQe6fu4X1OrWNxLsMbaaGQpN519ODDU5ch08BMs
e3gHTDEtNmkrV3o2a0ZUuD0550FKBjwfYKTsIZddgJj6kIKKQeBBo20vf7elFNU+Wc/s0Pl5bJMg
Q3aQPNf5LWvuhulGi+7WBNGWLohTM7M7rxgS03ImuAfhdzFoWTigHhIcOv9SkwRnAWQjDOh8WPMx
PasbMiPoBlxEr2nuOiHUG6Oj/zgG4h8a7aDK1BAQDaSCnyToi87QR0ODpTjeK353A/DllW+z6AZ/
TfwJIiduYPf6NNUlvs0IxcvurZ5ui7XcfGm853QZ80KZ7rekQqxTgaje1AI1DjyV21aAdD+PNt0V
lLV21p30als4t/2D7/KDvQPYhHQYNlqJIUtXDOjQwT3ClO7CXGWpwHxZJ5meupn5QYdM6MNK2F2q
CfxpsWm4xVBRnwWpbtRbWhgM38x4G+luAl1CioTFKAIUrL+BJmZlQUuH69TeLF71YQaNVwp7pKfg
O71ugko03VWgP6Vr4w4Lphyw92BG09QgvD2/njuQCPhTylM3h6ZRpyWCpx8NT0TDnzq5Miz1pwo2
y0NgDNUc5MjUwnPrPD6BFj9oZeXDMV3L7Z56jL2kYixF/yKvmoO5TY+Tmz3C+pCI8p4f+K7NBPeY
iDZW7a4VW5aKy6c/h80g3Sz346wiWHt27eyYmz0Hm/jG3wtyE16ZR/mkPV6OmasGZ7kQJPVKcPVh
/ZIJjJYIxwsemj0Gsp6GF99NDsXufcWi8swLO86M8x2fegxgdjEs9hjJEETELobBtvegEj9mEPpd
axMvVSbPtnR2UsK27520hL3Ga67N66lzoewsoPh5hw7Pz/w2EN9Z5d3iE2MUGl27Nb2h1S2eHZ0s
rHJW539+QH1TG1v4GNv+Co7f0efybYGCWivWpCD+vIjOdxkkWKhSgo+eIwTNszIFcM/sDgwgCBP4
tr4X5wbEC4I9lY8Oal09fS1QNORB6EJvLh5TUXb7QssfeFC6kN9k2ktQ5iJosw2pEm8wVy6Ez7eo
+n1AjzPEL2rMA6RZOoWfQZrYpZjD9jXoS7npyEAc8uX2CaREGNSekOFooLubV+BqTiZWhyxx9TKu
t3lvd9A2sNd6bJ/ivbLCqWpv4hb9FLPAoFSwTKoOfunEh2iI32Mwl+8vH51P6T6M2AYzIP4FxiqU
v85PTmc2Pjgd8apgmeW2rXmTENT9ykOPxlBmJl6h7VFudC8b/fShYFQRDaN1DiyHPkd/Zg0xE5R/
8UplH5H+XBeZCMNAhNlavvMpRYAh0FWi7IUJYMOec07RiI1MYizInRr2ZAfBXWUWz7JeG2ZZ+FKo
IiiiGGUOMjznm5g15WhaBBVZnQVviWM9JJO2smVLJgyqg8NB3fyfylR6rU22gSPlyqihbqJllau1
a6+Uhe+CEiE6WOgtmEjdZoG7ktAOBQ0V1gGKHxuzRSz5OSV7llSbLzsAMDyg+NcVrR46kOcbVgGX
An5/K3Vp8cDSxwEg++m+Sf+7bGXh66N+rfoMAN1ZOErnVkaK54HMKR5d/ng/hrlb+/wq7vuVp/+i
GUCfUOLDIUUd99wMIQ7QPAxmJCAttlYj6lmbHBrXX1+N4qHn4IjEKPv8pPokbf2kSzM3jXzhlB8k
AO04+FUuW1nyM4iUwsEwnAWhjJkLTAONo3GElcIq3TFqb4GdfvwXE3ghAqNjQNxhtl9GrlWhRbPM
LcfggI47KGK64tdlG0uerEaxUIvBqx7sLeffhNqpo00++GZY/ssZHgr7LQcKw4Kty3aWtgsfRIN3
wZtR/Tm3E1jVpBu0ysA90l73OtSekjVMzpJ7nZqYvQ0x+QPCIwkThUO2k6yuI2q9B5x+tQqCQguS
cbzZVEsOvfTzlfDRB4tACzOseZTZfxP3oaPz5TG5MyO4dM6NJGFtlbSDEQJhj6I4FDrdJhhn6uXj
sDbRtLhv/1sQmlnntqBqFoSFD1thHW4xXXGIrRw9hdS77AELngY9FJ2CwQvkjyDYPTeTDb7EKDBm
9BGC3ACDhbLphW+++Gv8HwvrOTOkXPHkucskCXVzhKEuD/NH2qrmWJEOV1ZijNvLa/r0EERyi/Y+
YIPUBmnQHEk32iTpOhNBwGLFc+cbLk+qUVCwKljcv/Y1HzPVa6QgS8uD0hhKRkgLnE8F1CQD63IR
tpkbV41Aa0qMSQRRko/LK1uyArdT+jXqWpg3SqTZ9SjgIi4YpMOskPNbJuzI8zUJ7oWwAKpYJFYa
oMsopM6cAuMmflbFWMxQjq6pP4KsaHN5IWsWZt4QOXHOWdhhIfW4S3pgkriz4gULqeHZItRenjic
01DN11MswhgMLwkjt4bIbR9uBnC6Zc7VUD1C+vvr8ZRjlgHHCZpzuBxmUajRZKANOpYF4otnk9sb
GvRfD3SnJuYTmwPxaasnMJFQJiaf/pfr0TNv/ZViior8Z48lnKE/V6hqBgDiMFtJTbowqJwpQxsr
3ERpKfLwfhp/9MQWUOL9F2+w0LtmKDdY1tzfSjO3JtlhTaCiefDr6jqf1lgZF0/OiYmZw3WS+6x1
YII5gZsFILoCLzqxh91lv14KPQaloLiCxidy6tm2pdyX4PXDIFXCki0GAjDCf5/X0aYknZeyTbVW
rFl0cg6FW4YXI4fU4LmT5xL/d5pD3dMf/MeE/7LTyTOb9zS6AnG5phTD0mZliUueAc1PSJKo/MSY
j3LJpOuzZhwzV/r3NbsP5Ztu/tDGl1ZfQ1AtWlLi1FidAxWj2QlGjWpsc6kD29r5t9QpPLOKgTFi
WxNwXSttVgpfS98OaqmgmcRW2lA1Pd/LZOqzrLcsuIjW+ZXgZkEPcefrx4J31R7y2KVLK0tHC6J4
vew1nxtGOG0A4CFhVZ1pCCidm0b/2+lLE5/RALoHcAoAw4bgjhPrKojzqywYD4Pf3pWFtpuKYCWg
LO0yEMh4XVKcPDjvuW0I0VZFGCKftbTM04NJZJV5rXdvsr62TPfyQpdOoU0xOYBbmVtIbs9tFTZp
AM9JIEZb9f7OnqIcjHtaf5ubCfMum1q6YdAr4EhpOMiu5yeR8zTIYo5lxVze9UX0vWujb5dNfIZO
4t+3YQHzI2g2foJOprygo6XyQS3OtnKyj0PLv/MqOVIa7xNWHKr0pSiqOzy7vGSM2OGy/aXcDSpE
2Ebgbyhax+e7CX/VSDqqQqXxoPtgpBvBHt68NtPatbb02aCuZNrqVgNVqnKhk6s0yzrf1qoARz77
iLIftgRRfbdy4Swu5sSGOp0nNuqopeGQo3rTTndB3YrK9sGnvOPZuOIYi4tBeOa41lQFTP39xBC0
IdvAQfHelS3kqNB/IVALY9qXmUjgG+Dw/p8Ztd4TM2FtxoVvY890G4iBRMQac6thb/b/sm949TA8
FA1kBrNvE7Be0a7KDCDBox/e2JILou9i3NiXnW1x207szL4PIzVP/DjCekKo6ExXxNxOJFqJD0ux
CFHwf4uZheA0xsiI02AxfrXlRu5StIIxyFiFj2G4//9az1wbXqvruK0I3KAG9X0WP/dQn/fjr7Z6
lRP8Xc/8rmxYhlo0xXoYf8ra+7h4y9dI3ZbiHDjcMaBE8eRB2+bcz6wg6SKZ4l0lfe0QdezgjOU/
uJhiR+UQs8SzYx61gZNu4pbh09cU/Y8KSJypcZW0sf7t8jf5U2mcZ52nltRiTw5No5dRSzgs2RDe
ikWiT3RCH7mv4o0GjA7ISYKMZxs2jAyNCZ80cqvzVH+jTd+XLpDf+ugGPnCCz3ZQ1m8TOoLy4FdN
3WwxeJdfGahz35VaN+zLVEMUa+mgCl8tGFlFGQJVLHzHid7y0BmTm3GwxtANqF6G9wBZ8e6GW02S
enhOhwcL8urcs1lZBhtuFOnVkA861ODybgJaAeOqJgm8NGgIyOGtPEvEmEJ9SGhsqAZPIyF/sVvp
fE8rJ+NeYk7NkywxvbernNKZdg3ShF7IvoVEtMHlNGxp4aS959SB5m/KnBa+yFubfdjawNl779jl
72SQU7nvGuQx25S2MXp3kz8++UPjF8K3eHEj6yx/imsWgJSvQQl7Yxb18BqagCMIQ0bOGr3xUkg/
/ZqzSNsCAY9/Vj35DRSvitte3nfAOVThx2W3WQpNaJsoYQa8iaF1cu41vC90u1AVOWK+G00mHBBP
9MP/p5FZPB+NrNIdH0UFFvuiMMpQdGHxUPE1QpDFTUOjF9gDQDpx5M4XI+OuohzAb4DLpz0+ujcA
Q9xr+nfNd1ZuwqVoy/+amiMQnAB82rkqlnJpCdo8JQlz6XST+tt2GDaXv9FnjDJEiFBMUJMCKsmc
42qdgCPcViU+UpyLtvwZxP+xphQWhJPHx2rK0KM/AnYrbNsLm52ZkS/fX+f2jfN9LRniZB/Afhcm
Xqg1XlRXnlWsjbF8Dscwg2FRzAYoCYX5MkE2Vow0aBArwZ0AKaGjpa9RxX12d5hAuo4+JkNvbd4V
8vuOFcmUZ5hk1M2H1Ih7lxSSHVEKW9OLWchwlS2Gleh4lWAQ/HzXfB0zAXqMDDctXyT/iEMMVcSd
oJpIgx9l8EasRy2/q/SvZxvndmcXAcMjemQmvpZtB/tIZ69N2G6x219OAmBGVb5R2MWU7/z5PJQy
qzKzxqHOpGiDyhvyyXWgzHDZ+Re/GEaAsIdo6KBAdL6LaRm38H7lFOlHVccuUB5etjaPsOh5J0Zm
Dl6FcV1xhrWk04F0YOBZA0asGZj5giwmPxxTrMLU72mKwTtjTaNjbZ9mX73iQQsgI5YQgAa/HrOX
bKRuRKcflz+HCqHnWYb66n8/h/oZJ1mGIasWAyhYSNNfNd1rhKHgaTgQJt0keSqMQmC0Y8UDPkd1
oLTxTsPQC6TlIFZ1bpKS0pCpg2JkLRsvTX85te3l5CZam6Jd+kYnduZTu2FcSR6qMrQeALBimXep
XBMOXjMxd+Yh6axWg4ky7XdmER9rYw2GuVAPwXaBYgTzF1DbxdV+vl192RdSU9W6Dov5plspfceq
7RHjXr027mRY5uYmgR4EEUU0WD9a2+quoinyx3+4NU5/yOxQ9W0xJegmoAuTZA+MpD/Bw+61KB9e
9sjVBc/Olp6BNWb0sakZche9ftahPZA015r9EDYxrstjll0P0+ay1cUvCf5zFPgVtGwe3INCxkVo
oFgppeNvo1KjR7yN14iBl63geYqSmuEgRTv/lh08XpM6rGg9OTp5dBu1axyjnxMZkFhBLAs+wyFI
OS+ExGWWGqmGYnUKyJZh79IkAr7xugPqmxnfLm/aUozChgHVjZId0pjZlyKEa2MxoCiJCeFtmNZb
K+o3cmi3l80sLgnFVQX4g6U5GGjgll+V0kD9PfohxxtgvF2SPmX9MWxWouHigk4szR72PMpbzUxg
qTE+BlkINpVutkaYpv6RecjFvYcEkCNlwSj/uROQqYIer1oO6XFz1MBmtE195Ga+C2pAQZl239jB
7vIWLi0MJlHkAVZHuca5TSmp09eYKHKrhm9R/N+lAAYFsthcNrMU2hWDDFplDmYb5l9qcmJeSNWo
zSrHwNU+2TuSo27hDwC4hDaeXJftLS0L+DCwUwHAhRaN+vvJ7dViXkEzpyR3ow6xIi0tiVTWAENF
Tn7/gyVAt8DyosTb56ywJINWEsezGSTOkG7fDGPcDSKHhu1wxORcZa1s5NK1bIMGQ9NAMQWN11nQ
d9ogKbLYRu+k18WkV7seaoigDDad+8K6Y2wX0LUe4dIpA5sVPh7IzsAZMttL1hQ60G8scx37Nezv
nVTzqvq2p4B1rTXUFkM80kw8UCn4szBceP7dAnByGlMqUdQy38PgUPVXbffQYNaovjXK+4pqboFH
5de/oIOGtAV/ASpqHqzsbvAJDwl8c7p1iHFoyUOR1ivfbWkT0aQBF56FSxjLO1+Y6YRNEydYmMW/
T9UDLb9XA6i+kydFkvvl9eBA41mlQgmabLMjbZR5kY5NmbtjS6OfzO6Bvs6DzLhrMLu09gZZ8EeE
DQuSjxxU74DhnK/L7htSkwTGbBDKohXCbSLyAtWFj9Do3L4y3CpeU4lWezWLkzpSUzS9MFuujt25
zdxpLT9rutw1MHfg/875N5OssZourut/NtCtPbfhDChH1yVstKZ2bxitSIju+j27iXzjOE7kLaHN
e9R3XybgA2bh79pwr53brcqEmo0Nu7ENZv6AHR1tjUBu6b2KTswfqSilFTyHs5SJGbcTtO+gSWfE
6WZ06jFw8cqTiCRRwF71bgwewQRmZtuaOUO7IbGu91vwZKUHA4wb5PvXHdY00enHMJGFDt/s0LOh
y4fctNDZjvItrwYBLWYvt6uVc7FwB2E8F+9XQ1H2fFL861gajzYkslxU9Xa98WqXphgmG9obr5fX
s2gIODHFiwIvnT+YpRk6PGspsh9b2zKUOim5iisqqs5ciSpLllD/UnShOOuf8IIsj5LYCBCaZdSD
Vjjwcn4snDuQolxe0UJ6CtAjRkZgAj3/+Vximci4aTTUPjOIywnwg0A8wFqb9fnM2gjft9BgRYPL
xNU2T4KzjllkYHHuFvzn2GzVAJ2ePOSlJZzqQPJvrL0y24fKv9G+LG02szxL72KFVRlLpAsyH0VB
d/Byt2juNAflvv3lrVy64oCGVsBLW01ozYHlkQVSjlHLMZo11EdMQhdi6BovL0vROMaVTsoNqSu3
GuWhp+XbZeMLGSZsA7+M6xyl0z9f4CQtgmIGbcshyyGj4j8RDBRUUwjgV7+Jdfari+sDSTLvssmF
iw8UsGouHkVnTDbNDjcZRjP0AyyXmfJpAl9lW3eBi6HUQ+cnG1b6K0jdpcCtRt9w9SFdAQDjPIDK
FrUjXuNIxMHrGBZeomeYzrgru51tvtNsF0UriIjFD8ogT68YbJBtzueOTBAK8kDDcc/qfYCaUhkd
EvmYynffMITJjkaei0bfXt7WpTsQUE7Qg/xpbM/R1cCIBmXo4J4YTBk+RHER3UqzKUBvoBsrna1F
U8CwWDZg4yhPz64k3ayyRBpN7qaahWbOeCcHEGjowYq4x4IZADjRowM3PBCq86FkRQE3FLmGlF1z
NjpJN0mYej2AAZc3bun2Q7YOwANsoJz5Z9D95Aw4so3Qv0LCPvLWC3q50ZtfAYvcUCMeSvObGIrF
NbiVwhqiRtHXUQLqrfDXujouJ9aDtqJDoZ4LBOqZsivdsgu91k+/fjHADO4eJVsNv1SbfWKGgBkS
PT8c9NHBaxUNsXugSm8tal+HBlu5HBYuIYDiDUQUFO5w8GYnfIL6gq6nWJJtf6u7m2aEHGP4SKav
42LUhAxq7GAghQrM/KXVOqlf45gheDlFIyTLTDDj9DeJv4ZPW7qIFDgNeS2Ii1BYm63IGVLM0BJY
suPIrZK9Lq+7wRBaf2XSHaSyewNKwTsjfC77rx9rlbGDkwevIAui4+ffrTX5EJIRlqlTi8EItnF4
xZO1atPiUftrhc6SW1bGEjNeKiY7Pmi9Xiq0rC1QlV4+aUtW8NrHNqLYpJhpz9fiA7Pco2mcu40J
RopammC15DeMl8+X7SyeaEQNA7MzmDlCyfrc0OjjihktPceAVicwmSnsaR+3mjDjI62v7PSJdN9T
C83rVfKphbwIBZu/lmeVz46PUdTEwGBo9QjyomCnV/pK9F06XXiZcvBAwR8/6VDZfgGCTt/BLpJu
g/TZdVjnsYAIY6pWDvLSTQasj0JqYfRPIRnON5K2FnRwmxF+UWnRztfsTJAx1h+tviNeWA3spUsA
EA+DMQa6vwZ9Yp6uIY8W7m98R/wX2mEYhJr3qdNRt7uoxccEYJOKJGl3PXi7IZbnOVa245gnETkv
90HbrLjrohtRatqgVkEzD8+b89Xb1lA4eHMiNI+j20fHNn7FFI5temVnPo+2dmdN/FunjzeTXLO9
5Ef4tGD+Rx6PDG0Wrmt4r4wn3H0sMPHsY3W7k864hidfOpCIZ4q0Xg1m/dmAk0tBt2uoz6l3X2QZ
e0cP9xHk5M3OWXGjJTPoFaK9S1HIxJT5+T4OmkkizONBdCXE9FLw64M4a/xBS/ulMKjIokGm9ano
lo2SRo3Sqa/zoDY3NJJhtAFezVlriC95I1cvckAHMcY2ryP2Udf6jirRkOqY5xsEsmL6RUOGvt6u
zHZ1uoKF+jx1rAoaJwZVODj5RpD4zDs7hsHR1b3qeyDI439xKeJrR7RXIWi07o/hB7lvXdtLVzLn
pe92anqWmjgW9KC0CLJg1PgNELVI+K2R6CvFNvWPzGo3Z+ubvbQ6xGEK2loIQ2Wtm+hM5EmzbcHf
m5HQwxPBu3w3rJmb+WJhDV2sddhOhzzRshIKgwSqAx58i4KPy6bAnrO0NhTS0b1WPGPztGGK0sjO
TFyr6WiN5cGKIbZznQwTx4mbbArd0pjSQRikliDjIEMz7Uotjawty7v+qosn8DTGQ+/cJyxNcoBN
qog8jpXRaQJSDzWBYLyfRl5Hg5IIp4nynyMnVbvXw74ArzclnbYldj1iFr3u4xFAqL7o3Tgss/dh
MPziehhz/toBD6+5Q5hqIKiq23G6MoyMMTGEbfWjyg2p7c3SBEl+NCbDZkwa7UdhD/YkIqb3TxVN
zeqGhqVx9BGgE3A6gJTsXrbOaGyMzG8HwawKY4sx4kDnoQTfdF5pBom/0YM0eSU2kM0eq5t2b/cj
L44BN8ZD7fsDaJvzzLKhegI/vKKhUTXAgnLo3PZs0Bu3aZKudoMisqg7aJL+aGs9e8plPvliKrBS
0dExsx+dtjVQDOnGCPmhNV23U+18S3uthL915hULtfQdCgrOT1Ao4zKLuCWTLVRkCnml+0VtXmuJ
mW1828AMrnSapjmmdet/HzNdfR5DIzeOMw4vlhOOH0Y1+pnwge+yXJOGiQWZGLMhd5BvHh6zvmlq
4et2DqGroSwh9JNFcXtF6KQ/WRWQaKIsFRLOMHNDv+/xGiBvg1GHjsjJkNoijXswgVz20sUDATgM
mjGIaeZ8mLGqmqbo0wKpLZn2pnwztKvWTr3M2mnO2nD7gi3k6Sg0YMZM6SKov5/EMlSI/J5EuFAx
MHkNZBacZWAiJnxbJj4CQPfr8toWgjXkZtAHA94HpPjzWjQPE6eIjRZ1YXdHr7VM30iotgPYhyK1
Z2A04rK5hcwMmR9GtfE/yDvnxx0n0kpHW5VReVAT0MVU9mMX2Fq78/UiAv6H+NGazYUYjbESjskp
jM/QT6P8hOpJWTQEOUpyl4dgrq4eNdqu+MhCHEP9zUG32ICyDULZ+XfzQXygBUUAPYvKanAL0S4a
N2gXR/8AHEAnC0mVGkSGjsHMENSmCaKbMsSo2/qZm/v+IeL6yqW69KFsE/O1FrJbdKVnZkanykMO
vUOI+yrg0p1eGy4xnv21dvRnxg44gWMhhcOm4ZabO+CIAoZZoHnqFhUmNjcAnyYfWiP9Bvx4Qazv
U/CP10K3zeQ1NugUiKmm2lURVrQW/aRZ4NWItDbYjCOKEcB0d+Eajd/SkcTvA+OEwk0CPHn+ac1u
7I0KsyxuaNYiJN+iyNjB0TyWoRdb1f9wQk6tzTaeyjHWCnUGs5J7BfDGHd0M2j5aIzVacFhQJlgM
IBgFcJhnaVMJSsdCQzqoOxLoYusKKiIrA0BLr4MzG7PEzOBNPJkBbNh0jzksMZnlNcaAQZ7xUIA7
KjCqXevnmy5/bIvvlwON2qZZzqR6k+gmgNpVVTXPP1pVajbeXUqbLtIeLRK+Af9/5P64Ushc8I0z
M7PHbAAFgTRwlJnmBkge14qvw+HB7L4740qpb+FAwhIWg+k4BnLjmV+kJSpWKa0hQAsyNy1mt6nR
bhuZb21/jUVn0RRm3dV4nGrGzEzZI4h3Ex35JvOhzjXKjdnGXmH1otD54fJnWiiug8rwr6mZh9SQ
yBnyUeXP03ffwWwc+DFDr45vimQ/rMIAl74WqGwx2IRjDFKXmVNYsTSmsIeoURf+oGgkyNDDbeSV
7ftgrTV5l1aGKXEgUjhI2tHBPndAomUyD4O4BPOFhbmC8snXas0dpe8SRaPIMTmQZmv0DktejyYl
CCRQc0a+MvtyKQadeK7GuH0jw+wJuQ4CNGZ60Pde/mzLdkD0A2J28PzMGUQSLhMnamBnSH9M1BaV
9TYmXxY9w/AZwwAK1gPQ+idoo+mj3DElwL/Y1Wud2aIEDktCX/XyUhYSoFMrc2CjXsd1YWoABBvZ
9xpfqPg/pF1Xb9w80/1FAlSodquy2mJ7XeM4N4JLot67fv13ZOB7rKUJEcl7kxsDOTvUkBzOnDkD
hXKMlREgElvkH+3oRgUnO8U8FleG0bm3qMvNoR8BKXWKPRjlLtAmD3vsrCsg9lRRh2dD+suMGugd
6rflwEsXsfY3WDAYVrB0YqNGcemavhEq0jxhYYtBeKqyxAXr8kquIQTb/b08D0LYFRT1dA0w9AbJ
84XDpMheOWkHKeKJMrA2NQjQYK1jrCCchfL5qTbURFxGTJYm6ayykT8Skjy08uSGUXslSNLdtsOw
Ls41HnVkQU0tr1E6XvqiSmuuFUvjze9h7S4dbcnLHCzU3GlObztBXDaZFrYyRnPjrYh3YW310Z9t
O1gH1AqFdnxIonb9PIAZGjbyQTKGB0HTrqJcswU93ekB8fpA8LYhmZ/qyzDa8edM1pMwAelVlX8X
UeIKoldp5xD0Q5Mn2cT8Siso6mKO20gW0fIC6/zrMX0M6pdtU3j/P5X4DOOqDppl9ToidRYhdWi1
wcC583nrtfyI1WOw6MdJGkyAkLaFA5RWYHg1uVOjd011t+1h+tyiOwUOFLr+6G4/aIYSfSqwXkIc
2yQf7bBED9jPbRBWspyggv8fCmWQXoij0UkwSJ4Q1dbNTmiTY1kmrj+FTixLL0LY7DpFs5WMN72d
uZYraOqYUAu1ldIZ0NUg25m8y4w/evkjTnH7B5wrhb2WaEWCICn0VOiBllPQGKms44SYNaRgEBUO
xr2ayH//4iR40UJwDykJEMmoAEMJ51zpMqAIBjKCSPbIXAFz5kWxgqA2EWQe0GCiAKKXJEcVCjdR
rgLkJnJeuwxzN62AqN2kxzNyBjWAqjbY1Zp0MiZ9z/E9Hgble0Pey9MMqXC0KMaHub81qkM973zD
q7rzbDhknKxeO43Kr4ScJ2gvVe0z5xcsy0W/SdZfjHbBSsjwyP38YlYa3UjgjnWqag11ZZW5a0Ia
AvPj8vjkNy6KDdvgTPfXFYy8RLM9+rsobxFQv8QEWYhraIbwo0ByFwm4qyBK7SjVITfXFpzAnr3V
kQ9ZhOdBY6FZqb0mY8qij5BNlrSDovQWisd2U+tO0LyLRvhaxaVnoGKkybxX51KJpZcZ3CTps/cK
0lOUqYXS9VpqwFTJ19xQUJwlUxvmKKyMOXKnavJzGJCs1NqrOit485tZe38NTm2ZVCwqqC/DbC0I
XNH8bZArAQXw7Y/JjCDXKNR+acEnLqNhiYdrZCWLV026buL3sLlPfeKMSB4jM6wLt2AYcI42VrS8
hOWfDWeosC5utrqRGuRlCqRycbTJfwb/pzmeDWMn94rThsdeuZ8DTqzMXs4vvCWIWeHNBNulq4CH
umdVuhpmzocOiGLpXd9L5f32svLAFuNXYNBK0TIItS7n9ruAl1vSYR4D4azgNgg46ZcgYPH7TVbi
03Vhc1AGYmMiJ6qnPIF2Hgy1Ccy693M0lGATjIIzjyLmAurXkzj8yzbHYDk0+SCZZEA6/dIcU88K
9JWLS+ZjtuOpsQLzd6ntEowa1Yp919wX/lkOOXwk1r20AqW5GNjTE4SCAJrWaGAX0fltQlq8vU/7
l22PYJ2aSEwtlBbUgL9l/uewnRKULxCJJw8auZGDa1lEzUQ5DmLC8QumTSsoytODUJBGOQcUiBeJ
vmvb3jWE0QnRrr9tE4upg3FcX0ZRnyzqDaFLJSDlWQ9S46Fub1RtX5luVh3ywgO92cow8Xl+L6Mf
29CsKxjSJQuxRcG7/nNu6WqDSQ3oqWYG0vJc1E/BPN0STLjahmD6/QpiWeYVRCMVegvZAbQ3SZUd
ziaYcTX6e3mSyiwYZGmxjFDMw7A2ag11OZvRdYRmrUhLUhuyEYnVitrgZgrKe9sWsRwDvU1I+mNs
lEjo6hOE+DLE02i1aIUBzDfku9vQbvrirMWFsw3F+j5rKMoHlVJOAyUAVCigGzFRWtXqE6nnoDAd
cA1DLR7Kj3GeZIDpoW8vE0imCS+x/xyJz37/UCkHWfodm6dGPZGWk67lrOUnk2DlHYGwrLIOZEGL
LaU8qODtCOSlVP8ld7UykeZ/jpFBmi4IUMRW/Rc/S3Y9okyprNztD8a0B3k+0N7A+vkmTEzwbDIz
nPT2oIqHNtCdRpk9sQwdqeZNnOdByZcba+iNujIUQImCdBzaZCfIkitp42Gu278/3tEzCiUSDePh
0SNG3V0CXL5pDXwlsa1ap+/TyVV9zcohUYkBymn/a3sRGV4PsSY0Txl4ZCAXuOz1lVPkZaeFWQYZ
ZLWIhPu6hG5KheGWu20UxlWCWhqqkMsgPQOzMy9RSh0DD3MC8nFrgCBVncBEC81nw5wwr4KnI/59
8BR6s6BUjVw3pmdi/iplUl9o+ZRV4EY1YQtdRSJ5cCCraE23q4ddTsgeufCjJKXOHItuMObPSTLZ
5kB2qZnsxCBxCoPXzsg4MvGbwL3+1K9ADuByATSxGFC+AEmtbRqQGX4l4as2D5xHMRMErX7q0hYM
mhMVn6K7uQv1DvVlhFh2k7ZWPI8Q/uIdYayPCYj/YOiDchQFw5wB4+fPhRmCmPJalK4i3uQFj03F
2HcQfwUjDJN0QeGlOwnVUhxzSHzBOwMvgA5bnEjOnDwbIJdsOygLaFG1Bf0Ax8m3ilnpN60mlcNC
f+5t2VXUyDHr+3x63IZhfaE1DHWOhCLk2HCnAKbwBP0ph6xYXfJsYb0+l+NwEYVXZDwfKGebgrGu
SQSUcn4okVyUptoiAQTPCwwcua9B4e2yqzC/37aNuYQgQS6NfUuhjvK+HBlUYR7Hwu6TF3Q0YqLV
W4ChF8rrNgxzCVcwlPehjTFoZRVfqk8NlMOzx3ourLloONnH5b+h3tHYQ1/WUCfWZLaNKHaAIZ3q
Trl8FIJqF4eaq1V4UsTVY4TIcdsy1r5aQZrU40j2p5iMLRYQh9t7k5Z/OpC0SqV7EAJjh+EevEhk
uUk2TDTpmyYtEYyYMDGQPZLvBQPiI/7jhGdzEz4hBiHaYyj96nkXHNs9v5bWpDZBk8it5OvALaXR
CczUy9BtMGAWw6LFpCTIC9UD9MbmnS6L++0l5vgonZdJFG0qhhJL3AyvevvQVRhpHPzSu5Sztkwn
hfwnlPnBSJbo+y5I07aXFOAIDfJsiSX7npS8/YMtXxi01J6KsfeDrgLD1GsnrfH+24PYJikPfw2z
DP5DEyRazzCVgdoIRYwRlamIw6ROwfyQm3uzEU5tYliCqP89n3QNRb9sA72uAmVp0zXHZxW+kOdH
CPBa2/YwPs3C9wJjHLoCCLMor1dBO8yyGtFBMp+LorPC9DgF/9C0cwFCubimh0QeFYAYxUOefcih
5we80Q+MyO0Cg0qDxaQUw2gJc7Q8sIxkXBIQfx9QoFtMNJc33mfv2GXUkleTmSY6ohaxulGM2QrL
j7jk9fsxPwgaPnDvIsnwrZs+RltaEokAkeJ7MX6LqrM4vG9/c8a2hx1fEMtSroLcTmvVXvMBoRUf
kfQrNx7DerbHgHO6MO4MiJ+i9RPEInSx0FsFCcOiTATADP5t19+LfW8N8g9NvctBSBh7Dhpr3VBf
1tHKi2cbkgqXRs2NVivGhDCsTlUnCpAHmkVrmFrOUbbsb+qW0JaZm6BjIiwCT+0SxmjCQvYNwETd
K1HuenIdFj8L6cHX9mr7nkCcY/tbscyCH0DRBpEL6CPUeZOmYbBIECGITUerhltHPTnqUbnbhvkk
W36z6wuHfg0jf56oFaY/2CoyCz4+VdocoezgkPleDK/7/ndeRpYi+7YSHBLRyytumLYcAt9/Ad4n
JqbDo5BFBUxNAIb1GKgIBts6/UijWa4syRzyO+RihVtfkErN1WNpHE5k9KfIyvo0IbtWndv+ByRY
cNjjvcWrUjKCEJTdZeingiuKWgm1/Ebbj3E56aDELjPxai+K7+qxsjC9zuqKjuNbTDBIQKALEDE3
oSOBpEG5ImsAlpL3qTwJ8it6NHCW/Spm3nQ21hGAaqGMyUKLkiD9NhJIXXTKYhe6rLWfPgTJHTWM
T2Ua9me02vPUIFjMTl3CLGyE4HiKfdudYapUURyDqVqMuZS5oiS0E6IOwUSuLJPhbmQOchHRvwRy
j9EpnQCxkqCG4IwujYkLoXLMBsTAW+kPUWLlV21KoMhvbwHGTsMQAmRDURHD65wehxN0UPaq8bXt
QB+uGvRliWO1Az2bc04xVh7SBqDtoRgFgRGa9VwKgTmmc4IBcfEHXAizMvdhf4dRwdvWMHwJJyGO
XX1pkZfpZqxSlwSw5dFEFOilFavnIbyNNDdpKq/redK9rBIUwNBHhJ5gRcdz5/JQ9EUhmNF9Vdpz
+KSau6l6gLJNKYx20qiOFMZWGrwGyo9R/7FtJNutvoBp3koXQMCygVaQHartSWhd07ydyg+piMFC
O6rRozrvUXKf4+tYPEfBi9Tdc34Ao764tpwuvAdaRSZfxQ8oS3NXIiEr1I4qvsZ6Yyv1PoGGkXBj
lLyhoCxXRewJoQdoPSJJRV1CIypRTaWASzuYptuq50h7C3udsx8YNx0uOuwItPMtCnnUR0UveYG/
AkQ19110MxsHI3lThnondxB0ASeZ8HqbGAHDIt+GQWQShKcYrYt+pOYJCLSp+RT3d3GAVj6wP+U7
WR6dlvAiRtZOXMMtf1+FQYrWK+lsgEWrQuKq0vTbSm2tNp2sKTY4b1nmDlljUZcbXsko6RBg6QRN
OV42ewJ6WwoMDuwbK27fzeJeKO7I/LbtnyxHQcC6HDTLjUqHYAj06rhMUeHPMGhyRCG4qx7ROcPx
FNYTFh/uPxj6pVJB8WRuJXw4U1CsUjkM6UOPShzy+JDZtpL8SU01S+dKP7P95QuW2gZCAw60FMA6
ZTxp1SltPE35IP1BJPeF8Q/F/Asb5UtvkWeEB+2ylD5GBxSvuvwYybzyDuvQXq8jFcP6fj+UjYh1
bMp3HCa2RE79fMYp0ld/th2D4fsGGPGINdDKCi0AaumSuhbSWgH7uYsOk+GIvWH1mQ9h8n9IWRpI
8UG/BORSBdTMy2XrtCIcfAGkbqmrdnV/66cv+tjZRb/bNoixdGjM/RTaRZD8LWM5l76K3qwRrTAY
Pl3VHxmGYQgoYw6glb1sQzHcDjq+SDXgkMIjgA4UpF7U/D6VcPqGhaDZVRyjVwW5bj+wxEgfj2pL
zMDRg95onVHSM05FZHmdUXHyBfzy81bHVjUrUgn9V9zskfHiB/Uha3mjklg1A7xx0cQEESYighl6
iWGoSlCjiRznhjp5mSa4TdW70RDtM3lIrd4cb4cR9U4h2g3J6PV66bTpYIvy7Ph68xAE5SExB297
2RlnGeIZqBOgqQrSI7QQTiUVqVxlMUj0iHdOvoiYeDZ7/6nuy4xTOGYsMdjQOhq4cHAuk+0vzR+i
5S1ggPURjqMGb5qTpX2L1ybG2INYYvACMVUBoRP94InSoDdDsQa3JAy9olHdyojdoDRv2o6XvmUZ
pKjgmeOFjP43unAgRYM6RQ2gwibbowru5b3obH8eFgRaAFClAz1C+iYi4YeCWGkKVI67siSWoMuN
nbdi7G6jsC5S9MRjAB4OFXDJ6ahEK4swNivMYYjR5hkM6QE1wB2qgQdVrPdKPOzCmdgkUo6oGe6I
UHPOTdZVB3Y5WEXQNcG3oxnmJSlVbVzUSyOlc7WpduKovS6g0opu3hsp8V2MhnXbOPNiA1Mcto1n
LTG+ILJCYA5C4os6SydS6YUgi3AYTD+CGIiuObI0aZy0I8stVyj0ZY7RV3Uz9GBMZMFDJdS3PfRo
IlBcdIGnW8dEghnyIkWA/hHqJOv0edIlX65AC4TcsiG/D3F0yKZ8L408ATYWlAFZDnS44cWLl8rl
jo5qMyWzqlR2Guq3UyU70Cqwy2IEdewfFGExJ+ILirIK4jdKECA6t5tu1F0/L+sHcSrK/UwCmeMQ
zN2AnkkME8NYNiSLqXPanwqh63rMDEuMZh/Jv0iFmCTXitOch09+rR87qb7qkuTKDMffPSabcSI/
1pkMivii7ADeF/oiL5c1N2o0h5o68APhZ5HE3hjKd6BV+H+fBcOd/h/O565c3XnTVBoJxnxXNmnL
zimmPDs3lVk5umDwGmJYm8xAvQ71aawrBJMuTZKn1lBA2q5sZBndQqtfwt54397HrOsVRUFEXpDf
XCY4Up8tEPwm7BK8oTJxL9ei0yX73DQtyXgKW+2U5wddPflm7cYm+u6G0Mrm/dAfy8Arht/bP2Wx
5jKYwEhWvO6QkTAg9EurvZVqD3GRDh23hQaRtcELip1Ro7mveY10Ttj0fQsCCvPLMJx5kZej5xOM
Zq/0NZi+dpGipaoW7DENrFQ5ErSZbBv13SuBBKtwUH8Oelz+vvIWrCwGwkQpWvvA7CmGR3mqbKPj
5bS+OwpaSj7TwEuFXKYJbOaoksHwkcgRZShNl7Mh2VMV8PQGWKsGz0fG+VOikg42m05QmzrEk6Ab
h/zkS6JwS0ZZBp9heK6yiqefwjIK2wwkg08xMtozETuIfevj0S90ptVkzbELGm/76zAhUHBCDKVA
14HuKE3TqPIxfwFtso0Tkl9CwntFsQGW+cyfelZ0JQA1oFIZMjw5Mu02n1tLxLjKfzHhC2H5BSsH
S+S+q5RF6QXtK67WkuOENv9tiO+PDCSdIR5gYugeqg30xlQzXwRzEe8ZCHBfIaBzqqS2tHpw5Xm+
jaDmJBaQtdnGZB0GX5jf6MhtalQahlzhzBH2qLEPAbrcjV2EkRVV/ffZVuQkUalRNAzMQg6aujkg
2JF0xaBgCfUnAdq4CSQ8hZ/b9nwyO6jTDSQjsP81svDU6ZL+JMYQQ2gRk8ZF7EyYSDX7mQPmsiVP
8fPs5w9C9aalnZP4d9HQvYw5OYrdrVSljtjwcnaLQVu/hcofmFqCAWFLfJxi5phJkCbsTl0034hj
80GKX2HXnvFM//uJ0VDyAL3WxFWGdi66wi+PkEuNixErINZPyHFNjkr60lJNKAlsLzZj10Hhdila
QuQWUrrUnVaUUhQJBGvcCYN0VHwVwsBVwquJy8syUcuIYANCixACR6GIPj0ks86NQW9rO7+Sf82W
4UTu+0vsIER1Ezvc1S4ks9xu/zRYqnXHa3WWGLsSO3LRfsALB/9QwQExhBADabrahlxdU1vBTX47
A9ZR3eC6t5UfSmqNXniTPe4TS9htLzCDKotPiIQ2qqlgDWr0BRpAxkdQCmjbytfllWIZR+OQ2M+o
Ph7w+uB8TTYYyjXoHV/eWnT9YFT8jkQt1ll4aOzCM5zMG+3sMLvoFN7HHIERLhp1oIapHsyaCdMq
VzsGR8EKz5iflVrC9Qs55THnbGU84rCSK+OoAEE300qSehg33dVO2VuVNVp66ugeRvNxYhFGYfUS
a7ngV3eFJsXYnh2whmPnvo2nxOt+Vj81S4SDjGfeoEbWkXdhGuWhEumQB15Ma3927vSqn3qrP2KM
F7HQMfrQevXTHU/3jKG5dmki9eLJwTQYpAKYxl22h2KDVTuTHV6Z1k7JrMppXbIbvZfQRUOb94Oz
KZTv54G6yBwiR4UnELQHL5d3SE2hmWpgS+/mR/K6869lu7W6HW7O+VgcuJ+TcUde4FGeqkadmJTL
5yTXQmadBzu1Y6x1ZQce9Gjk82wXTnod28N+21DG9XGBS7lsO0xmJlTA7exyB2ra273qiSLfXdn2
LektyOigREn5TyrJZShhFLXdHGWv+51dK07oCFZmm3bt9q/R4TU8didUE7bNY1Ty4EMQkfh/XMqH
zFxRYgy5gXD3z+QVHZcQeLuq32pXske3iOC8H7z027Ji1E0CqjeEP/AeRRmcLsRqRRdL+eI5Ythi
8HZr5ZN4aCTeSaowbqwLHMpj+hnTOnLIakORkNjmVeOepcNkn+9/+o6/A+PP0m/kw3X09FuzppfB
Ca1g54WnyCE35uOTwTmOmEab6FJB5yeiSjp9No9m3SIew2xO/9YfbNI/SLG3/SlZEJiDIyLkwF2F
XXm5I+cME6byRMUO0QdHkjOb+NcDjxzKeEIvKqcy0kZ4PuO9Qu0HoYilIslJbWeYFHuM9rMlv2C+
5J0W4sVnNU51JVq6M99yVSyYlweiSTyaFfQvAfvSvpBUXdVMYm2Pu97Yl7cBAg9XOwtexOvbY7z9
8L78QqKujkjMIikbgVS5PbHBnrNyXnzIhAAZbCF6Q7SW3gTSWM9ym+JjtcZT3+P6U/ZVdIj/XjD5
M4rQwGxZdE3paIKQcSiFAW4X97dytdcqtzTvt92OeQshCYW9LMmQ35Wp1UqMjDS+rsGU99EZbN1K
PN0NLO1gXCGSmN32GFo3g1Xs/etmL3IKvEynR2QIgXfkdKDifekUSK3XJNTgjmIxX/tjuSco/+ch
r8eHbeQXjkKRorNZyqpuBM50lDOnV+xStgRb8iAMcj94aOkwLY24sNJFi3Nsm5MrO/isnKVeYnn6
6JTMT7FdaPdBXOjS2i6PQikp4DXadfNq3AeZA7UQ13Cmd31X78NXZbbA0XGDR3Gf2uV7tDN7zjnG
9Fs8MhZ2PbQVdOoXDJAObKQRv8Anu2G883EXo11xCHgNksvh/N3SLxzq8EbjjDEVIXDqosXYWGP6
aAyO47Jd5wuCOk8iJPNjowOEIMQYJTeh3zPqHk39efujsc+t1ZJR+6MpUS7Xlq2u+69S+yQWr43g
tK1sG/JhNux21DBighO1fBYKqfUDcRHlSMhfLQwh6lUYK9UkIJeBYxoKtcahm6DcZGdwz94pvPJU
XSm/qqtup4a2nNrDrnVzzYp2vKiYscQQOtDBtkIeQPo2vrzWolgKBQG/Im2sWX+J04dU4JjKCvSR
1UJEsdwLS8va5aYo5QA0jC5qAGJJu/JMDv5OvRY/Wrd3QVC6lk3n77/oBSL1RXV56kwMvGvsxk0d
UBRvh1uzsTqMD9jXfz8zaiGJf1lHxYVdEYRVmwEr1d4S3S4x0RzDebYNYmy2CwwqBpT7Zm6zABil
eYjL9zHj7DRGueTSCOqUzspR62ozbOzwoJ4xNsKNHSF1B+dh8vSPbVtY201H/xRmKy4jCVFMuHSH
OWtSsS7iBg8TfBPBgk4tLiJweD3ten7hgMnfjynEc0urMxgQyPhQvjdG4GkFatrYsmeeRXc++TvT
Lmsrfo2t2EMEsY3H/FArOMrxyGzMaZvljZ0UtaOgRWzgzoRevjV9cKwtovwt8Uk+K3LW2HrlDHfE
Cwsr3kECS0IqApdc6yp3y4uktIqr6I/6uG0f6zVysZ6UJ47BUGlzDnQwVZbM0s1bvxNt/xZMmYfi
o7b/frg8HHO1oJRjBtCVN/QCC6qYxzHbpXVkTzwVzOWj0Cu6DE6RiYouOCTPLh2y1fQC2f0CZXnz
ui33lfxRRE4/cKgTn4zoLRjKFWVBrmZBBgxGvQnWcNQ81T3fnsXSKvejFXipdcQkkM7yXa7WEnN/
r02k/HKua11uTWAXd2gkt0zbPyde7/7pIBjIOe5Z/rmGovwTCjpyOoRlY5Nf+VV4bvfCtXDXcEBY
99YahHLDtstCiLrAHr2pLKVymtYZZh57j3lHY14q6sdkeRnSPJRWb+VISqrFlHnX2C1oTBaxEnc8
1PuXcFf8NK/lx/B+OsVICiRvaA7m7LblKPzuMl8/gDKzLvIgGAf8gCb/SPObOLmaivcBk+2Hd0Le
5+aG+I6i1lYj/0i4ETX7Q36BU1uvzuZuNMXF+uv4MN1pHgSnPPAJD+JHduit2g13vTW6/k461ghN
dA+KCN54Nq0f+kFzt1eCda6uvoRGRfdFTVDUnvBbwraCANUdV/jsM33zbakXUriGlAd6Uym3xeTu
ao7EurF7pB4QqniZ1d2EiFUCSOl4ZB853X6+hRQfx5NZGV4IyX0BU984FzC1o4HKmz2n9nwQ8aQV
7dmKbN3GaQ41u9DbXkrm1lnhUZ9VV2P0VKbAy03k5GUEnYKPGZQcs5jO84VC889VQWxzUccHi3Q7
ak5B7viGG6pHVSmgSv8vSbL1ItLV2T5o4rgvYNSv4IgT4Xduydipsx1a6Faw0EvAOxsWd9hwF32J
O1bJ66zMWhTaYR/UAPLSqcmt6h+iVLQwkuF/+l70g66eJllD409jC4En12dZdjSZQ5xkhmQrH9Sp
G1Adq6xTJWDEV6Ld/fYf05PwC9pEN0rOsYa5kVd+QV2CYYpMbSFh3UrhsQlu5Jzjd6z014UnUDdd
qpE2wHwLbKddeMDj6ZijQGMGVgtPSA7NrraGvfxMOAH0Z57muz8szcpoPsBYwuUkX/mDWqUJ4gjY
ZT5oR/2kPJvIDDfWbY9EC7HEXWk/47C0U6Rtxb3oQMNxt+0m7IX9+gHUJyxlXTDVEHYb2k2q3GG+
6z/8/yjsIRUNKiMkFi4NVIbYyMcWBgoyLMLEhUzg0OuY70ScvouuJkYD4GVwCRGi/UfsDJigeah2
2fFHGFrSTXQrOKmbesMhcLZNYkdFK0BqzbrYiP3QBKBqoZl9GqznF9lqHqZ9seelS9gOssKiHL+p
kKGrIYRvF67ou5rbuYmFYSkWObTPE7aalYXWrX/7Xt4HbousfnKl2GJgbVvMOJUhVw6xTST30QH1
mURbeWmS1H5aLaSfad4LJN3nQbzTysbVZuSFydRbjcJTD2AclGCCQ/oM2sPINNAZsbQj5SwYpLKh
IuQImqe0t122mzHeONeet61jHWNgBIExDETxe6NalRJtrkMw1CStvJYa6LEP+XgWOx2jY9oKIs5p
b5vG+OZPgofpapwzgHGxXqAvi79a3D5KfQM6kZVtRnjRznhIVKaFUgDHaxkLunQAQS4dtT0U+Kj7
u4p9Kc77EIm3TA53OqlEF906qpWXfXAvVEr2EBfqcNhe2mV3U8cbiGmIisBhAJFBpby37UO/MyB3
ZSeK15m3ivlSTh0UqX5vwzBtW8FQhwwJYLJOABOog6NKt4lQumjowqyvOwmfdRuM8b0wwRLKPxp6
o8G1oWzyjX5SKwMFPTTC6Us9trUj7hw/1sKtQSiL9DRVy7Ad8bVKyaqG2FaUO2IpAo87xlq5Nc7y
95XzzVkpT3oEnMq/jWYvift9p15JRWbVQcs5RXhYlKOXWj2NhYiKZFkr+nUN6QoZsk3gFObtVVFU
qODnLY/QuxzFtAOi7opUAGZ5L3fQpX1kDFvMEASm7ntz9IiGVI5RLG9APhbHBvSCwbqiFjDOdH9q
5Rkerv+s5zehvImHx22HY8UmS23gPwxq4UY/hLhyCYzJ873sz7xrT28zqhS6q96Th+C29EiANNg2
Ks8wauXyOpfRDw7QrPzdR2dleI0Jp8bD+jhfdiHRdvlxaiWUojFfIPybsPJEf7dtAou7ASb3EhMs
Gm5oEL4ECHJ99qVEAU3tXBi26GbXgzcipsOph7FPVwNifNNBjF9xQhLW2q1x5UvcqSNzI3bArQKk
DM1fWRk7YsdZPdYRAfIvBM8wNQet59QHUnVMc8P1WdtRcCfHxJnJzwGd9J3Om+nOtuY/IPpNNitz
L0eLNUoNfkQq3ccRListvtv+WjwY6mPpgpaOEJdESRMC4nKHjxMLB1Ia7jYM6xSCGt1CFgdVHPzp
y2+T93EzBjKsGccHvQ8hAYFRR+dGfKsazgdiGrRCos5wOSRSm0RASnvDeBFKUz/OtS51yMro0z+Q
L9DwBJ79wv9cZs5emqW2ctvX6DSxiQZlx8IazSuh228vHSvZcQFCHURKlYxNnwNEl+3xVB2le8GO
XO0wxNZ81x36IzKt3vgiffj/spSQucYoUhW1YNo6kcRTocVYykmeHIyvi0Ct79xM4rXEsUJ79BGg
DXGZ3AR5P8oJo0KBth+6kOx+TM5QE3bCePrlz9JNaLSihXkmuyDz94GZnSp/uJk07sQu1q5e/wDq
6BjrYmmPxw+Ir4gX3av7YJ/iJUpa29+Th+yQH0N0KnkdLxXCctY1LvWIAsUfcT84rXYRXEvCSY6v
Mp5qOc+05TpYxRp1RjSjUXHcmwGxRv9kCIVDyr1f8ZIsPFuoLV4lrR6WC1AdP2ESCxJHP+ThY3sv
sO6u9XpRm9tE29MQlFivFBdKKZ5r5XkbgGUEJhxJKC2gzRCljMvVwphqktQpjOiq97kq9ph6CUqy
+7+BUJ+kkgY5HFV4W5c+NEJgSeQlIZxAgnkL4/ZVMWUIfDRw7y8tIeDcRNMs4XM4umnNzrnxIt3F
V3HLa9+F7BP0pcn9P9RXTR0vj2WCGOi99N1f1wGa+3SsX19O0NhJXbUu732uYAXLqdcw1H5N0Rgh
TIsf+G1kR3Npkeal7Z+SWHG2PxXr3loDUf5A5lwLmwVoKlJ7TExrGpUf/qKb1pepEykVj5TCdMDV
AlK+MUEaKM5ELKBvunLn1PkPUj1s28RbPMozBFkvZjGBZ0Rjeh803SEVk2d0nruhxp0Lxdqw6/Wj
NqyhjdCGTYGlPDjkiCE8PxXT8R+a3WxPB9Q8d83E+WLMBcSVBX45lHa/9QiPYR35mBUNv69aTH9q
vDqN35q6dbcXkXkrQ0nhPxzKsmKWxMQU4Bmi19wb9uD2Jwnlltwie/+qt9HZ4ogn/SDfb+MyF1RB
KgF6u9AhpNnzsRJliHAQrzWN/tin5WuVlpyjY4kn6Ncbntj/QVCbS1ILo6pTQHSz+rMeda9Wyutx
FrxqlK/yNvvZxu3jtlWsZBDUzr4wqX2mBJIx55iXYitacM5RXIlI4+ZC4ob9tA9y31ZJulMH4pQ5
T7GL7TBf0MuKry7IpsiHdK4ALWjohmgVK28yN4w5GVnmplsZSG26QUAbFDTbcTDK71L43BYgyC4T
HF+2F5JnDOWVmRonVast6yg69XDlKxh+9LYNwfRAKEvB+UAP0mhGiBLnpZkuSZJOvhalk56+b///
7JtrBUB9kGlGn2e2AJDr+afeWcpbjC6Dm+jYPmuH9q6813Bl/uZSNb5rIKEpBSTchboNVSK6RTEK
9EZHeRlsQGNwx+foWP9p0te+WFoqxv51KjhxPfNqWeFRYb04kK6PS+BVyT6W3ke1g87fc53c1hgr
ur2kLOcDpRQ6ENBjQzfe8lNWLj5VWZmINXb0rO0n9YXk9+bcIdfEayxied8ahzKpVJVpSgrgtOR9
UE6kwMxlXmsnD4N6gGcBmVMlBAYynLtQro7F1O0zM9htLxkHhpYPKIIix2RewGTjEwanYBz5Ndox
/+W7gLiPJl8MtvxWxh7qNhcwER4Z1Dy0jPRGG44CJBF8aMv+gzUrIOrD6NUw+KEGoELdmWpmkWln
DLxOYuaSrUCoL/N/nH1Xc+S4uuQvYgRBz1f6sqoqmZL6BSHTIgF6AjTgr9+sid290zqKVpz71jHd
UyBB4POZudbEzBf7togAIZ918CF1vnT/m5TpBnb4v3v2tS7iC6us6c0BWmy0YlIJNxRsUBdrFj8B
sG8P/NUR3sbJUXh2bRs1sz+vTc/XeW4dJN5OUT75nXtRi/5QFxOwl/PO7fNo9ut7QX7i5vz2tt5Y
QRDC/NO9+3NZw1/rHGxDsOGyiMpypyiYjWVW2j/A1b79XsgNQPqOTuh/IBzylgwWiGpQRCX6hs8r
aK/ysFM/RBPfvg1mVgEBAMPDf+AMmIvwvFuxiSNgN0aGSlBgtujx/q9O37/WuT3Hv2xctUpXV8vt
Y437XL645IDe0d9v0XdDYcCaoHKPsjamgb+OGA0Gm13VYcfmg3+E6Bm5llmXscOwrR5JCPH3fJOf
aEx/+2NWvv3UNP62TPLv5b/cYlMUQscxRAyRtMexCpB8NG9o/qcsElnx0yjDf3441B4IqHtBqQyY
zVfBBaPWSCUZJj9bkgo3dopjrkXK2Px9T//zEGIVELYaN2VBlNC+lH6MCl7QUhj5tPnrZNwJL9Oa
n0zGN+1cQHrRDEedTr8RXn25yApSkEs9mQJwAw1zkKB9DwQGpMyjsfUTDIq1qTDR9gdLabF1N8As
iRDIpZ/q0/8ZOOEp0AgEFylmKgBI/fOEohEqVDfit2v1UHWnMX/5+1b+9PtfbsACydi+tvGWTftg
OofZ++H4//OAf9rDP1/gSxjhTLontRIvoJ/lvg8BSUnMFG3olIUyG5M8LcIuLtMGDXEt4rG90VMv
tg4/pUDfBIgYxDeg6wDqImzm13DGUiudobopwvxpeHdiiJWud06aB9pvN24yfrUPZPuTVvk38w5/
Lvrl8jHbX5hxW1S+q7CL3GDNhj3DRAAUP38NR5X9/WN+dy/+/Y5fjmylzczSZyy3GrEgn17z5JD4
70v8tI9fY5yxM4xegDoyfOo23sEN6rMWEDQb9ld/y+7lgRz+62bDH3v4lfDT1JlZz7cFe55xe2Pq
KXjZ/v5St335ekb/tW+28eclU3XrUlphCffevMrAibqAPTSp+4OQxDcIpj9f5UvCuuir5KPCOnwz
tAHZT2VIkiqxHnAX4najEoD3vbj5Z1KYsuQnAKRxO25/e88vSVLu5NQSt+M4xxQgZesoE/5Sx0iS
dstlym5DKS7uor5hm+OnupCzEa0xe6M4qD81QX7ciy+GrdUbblKJZ8mfxhhAW4CoxGeT+HG5R+nl
uXvCAMfxvjjMIU9/yqK+qcP8+SG+WD3fVrZd3j6E2joxTTHr5O9UTDIS/N4bgfdOXumdl/001/Gd
rQUtz82hQD/B/posGsyGxBHxUIj23bQ3vQ3r5X8dnt28xP8s8cXgWPloaP6CJbx2ThtTbMYKsca8
/tA1/c7Nwx/p6L2AoB04jz8vjGtWUrYS0eZC5zdTznmAEHs+zch/Qg/zruHf7+fNR3w9t4C3g2oI
o00WnPGfy+WzBIgSvCEh134pdpDzkFokNuadl/+kzvTtm/3PUl9BhrS3dQVWMWxgqbLJ7o42Cjur
NmF4qxY/JFjfXUdAH26M7+gG/odLGnqgtaDJijqxPUFJUWRLAUuquulhmell1KeIt8b171v5rf3+
96JfTojQ+36odcSD1WjErqPtK2d8H0cakRysJTlLICRfBa3Szk4rjtCZT1dXbKga9iAbiLoyv/z9
gb7zWf9+ni/ftpdQFTBrPI8ctYSOwxFQvYCMP733t0cIYRSavCZSpK9RuIIiESaOcDFa/QDWooB0
RTh6H8LVguonosZvzxCQuDfGLwT++pfwlC5mwVEqQhlAH6Jc8Wc5NoHHobPLu+jvu/ed50L96f8v
9cVzzYXnznTEUuPA4pqj5yme6yoSY+ZY+057X9fnvy/4rQ3714Jfbj4UYJTv99hH5heZXcmo5v5/
XfWEDfvXEl+8FDFy32MU1wJ6AIGowJKvPfPRBJP7f1/i+nOlLz5I5YYYnQG7xzUVIFKL1gIjvFD1
NuRPjc6fzsTt7/+VaTp8aYHqwkv5/dm0MogaB9R6sgfvB5vy/fe54cABvvP9r5wg7oI5E5BAojDN
0HzW6AH00z+EMd/eWFir/7fEl+8DplMkfh2MfydLPSrtlsS+zj0IQ1hu9PfT9tNSXz4QCp3FMo54
mxmD3VCP5MWzpdXx3xf5fsug5uyBJQr16S/X1cZck081HGkl/EybO8zJ/kQT8631gWQKiJs8sJF/
HYowurIeMX52Kwr9HpyL2V/dBcQi8JuD/Ik17zuvgnoqWGHAmQVg05c9a8wVAzUFUvACcKlm3IJj
kWosWJuTmp6HnwbDvvtCAP2bYMAEUR96x3+e68ZCPMsbpOJtTuxsGnLjzmdWvqvyH/s9332n2yiQ
a/uQWQa9xp9LrXbVr+6QAyg4FlFlsMMCE/T3o/DN22ByGi8CygbP+o/aau7Mus84ULiWdzTQZG97
DHCXZfL3Vb75QjdUrI6GAXRB3K9d9rloWDuP+EKjVUWVq7+sQibM1yPXbElQ+HbYW9Xj39e8cZJi
f75EUWApBbkhWNEg2fi1zc5br1Z2WYpwsN57eWJgWmZyiQ2Q2jQfNgbuBhuz02Dmb93Y72XM3Sbo
FxrWZLO6JO5LFrTW0RtQdW73Wm8EYxVLLTX6R51nzW0koXr3wJXdi4+2MyLpfwzCzGoIG1aNSgSp
dwLdJXO9DsYTITzyLBCXTHjh5nVwM8J3S//i9PdCLaHWrAlDZWWtKFqyj5aADvQLXR6k70d6cxrd
XVG/0FkElvsykbSgMmzXLbwGpgV5oPugJwfRHKK4AfLOK3kyfTjGYyO6AKPNGn/oRKTWQz+jqxEr
6kYmYG0YNWytlIzbnJFAWk/Kf2rA21QepEocaIeoOh4wgGiQg1pUbIKQZCkjTl/9qQuEQwK0EwLZ
ZuAwcPoPUT7PbAiKfNOr2J9SjB+FilqBIJndX31rP81tACKHYGruFv1eMzOvJ3j4A/Xv8pmCUvM0
yS6mjGdlkxZg0CV7s83a/GxPJ00/eTUWBDtqOX7W5rmZt3KCWHFm27GkQBz8Fsuea6D8+z15F93c
gKRzAf7B9g+Fvre030UlkymHMKPcg8oZG9CBy33NzOUZch68boPe2ozF3VonnpsY5m5eV8B53rtx
67QLFMY3Lkqx2BDWXpziWtjpVFygaibUZtY3JIfYemLCuHFhBRP5bYrMoHsnv3rNyTcCYKoyK4eG
s22GPdn2N/ZVnhSWG/he2uivJf00vMwYswmQCQlSj+LU1WvQN3e+PM514vosbswxlEbgiNfVT4ZB
D6tyCmwPeTTYqSHOASdBfRCbNe/WFGtSi8rx5LBzqSO5Xp6qInXce5tcxvFQDW+LOCpYyGU6KRLZ
bVS+5GCjQNc87Ho8lJm1EAcU5J59qM7aDvNJ8E3u/eIt5tq80Md3r7pzw07UC9c5dSGb24dybhIB
3rjp3IN2kby6PFyHyNFjHALqDcFAgCjzMKc53vfyUnd7nAJZ7efuacJelJhXt8xDL4097lau0qnW
wq6JSz8xrNiekgIT7aV/R8sIxMPlehiw6rxsqvUy01/TL+FkVLsxW3BwT9z4RjUJZSGAxo09nx5o
e6LGxvTuvKdSXdicNWK7TCBLe2Qy9czMIo/olwXQn4y8bsTI1FEb4nIsQpsdewRIEHolVZjPZ816
W+fYwexdNW+E/lgB1Qgx5HpvaBfNPzTzhpl3Fgvm5dkSwN24h9l3oE1QB/xdlm+G88BFJPi1dLaA
LkdcMyPXugisnTexx9DIaM3QW06iqoIB5qC1rlZxnOQILuQ2qNwtsGAIrNdgaZ9q1A/Im2sce/rA
MKfmTYG/xN2gohyTAVzUmGU/Wz2UOdZoGeMKSiDjEuflxnKP/nTXVS18VhfN07vpDgEtz2BR00BL
RV5Xsa0E9FLrVFdbTD5Ganib6guxoC/UBGSC8oEFzFQ8guMHaOK4oXfObfugWu+uFz6FpZZ5zo44
dWDmiJeRu6ZFk1UsNCmQxiohDMYuWzCSPt6LZdxJRFXtdqhgdu5o/bvqCHqjoV8kPokIBjgbd4tM
EcYlhYixU/BA6+bA6fY9v7b5Z0si10tKzgNSRgvOb7kn9dnUwUajJzpaa5qJm2nJYF4z7pjQiktG
jscb6rAB/XFPHov2rrOHVNNSv3t1jGyowjFPaPV7McKuvjhDMhUv+rQT5ZOqLraR1vRSiEgbsINn
ozBAoMvxWQAt3OtVrNRl1UJOt54V+UviTSRpReKJk1Ln1rrrsG5XZMuIAW/6Tvmmnn/V5Slvdt70
5GiP1vjpYHunR73LoNkZol69XU3nBXw3YWPe1+PHJOegKAsQRF2cOkVDT6vvqvJc5JdOWTHK24mj
2ZFbPhb8ThheOJT3LXvVnGFTaKHHrxo0WrSDMyKeyEEKEwoIKXmR7X/gYdrys+zSAjNIZdTra8x1
EfGuC/Qeir1z4N7Eq3E5L8ZwmbDp653bbEzx4uQQkd63XaJpZlji1aSK9emBAIu1qrixk8o246Hc
cZxfRpaMsJfW2RUT2nZ60i7v03ywmB+WGHqe6HaGkffPzs0ezSSqy4hoBa4fDaWco5rGylzCogGU
mHobs1tTozNTLuYA7Y1YW2CUPC+pCzf0jTu+PoGPqGxjSULHTcslM5r7XrxBJp2Dw2+mLKa9E+Q5
j0j/ay3Tao2dFgdxS1gR8OpNk4elCimPRgNPHRntdnE5DDcSXRrNbays3TCF9ewFTNssnQxHNxra
x5yFFduZkD/taCSqJRycdK7BbTfagTO/CwvGygtG+AxPveleSuYmkLm5aVoKHwd2HrfbuV3q+GPQ
FwcAw4LWPg/qVBuHHkAzo9/ppoDxeDUMyCAwd8fwKaw3A5ukfC2muhtyb1PYR8T3gVlenPXZt5uU
8lTzDrz5pbw8WVG89lMlx9jHgAU3tkRqod5jSCvPw7kfcVXjuYAh1S5N88swr+W8a+eYVxkvAVOY
noYZTm19MWSdtLCk2gRKJqfSIwMeIrdjW2H81M3QNQ7sAua2qI1ohNccAQ4c5dbK/e0McsHKf/Gc
qHaKrCrfpHNHvWM77moaQqfObC+8faDlU5nHdvFI6mfV7FykELeP5xkSspx+tjYihm5maeFKqBOA
MCGUpQKR+2CkA/0tO87a1i6XjUcPjXdyWifxcSINJ7b7PfBLAeIj2PuG2lHrr0HHjt1Sh2A8SXRB
40p6eKcnrbnDRFnQu2YAOuO4Q8SlfEQ4Ly6iIR0qpLazJyI1BytGzGg1kCzMu63t/pLzfVXATZM9
qkolzCD3UsM+8PlKcwx+sC2o3w3WR6OErsqS5joPrKIOCwa99OLRoMfGJdgiPxobSGo6+3V+WUe0
k4yz7B4xGWWsH7TUwy63IlWDAb15tslVLYD6q/2sEhuuN3dl0paHdSQBc0HWyfcdOrELWJnaIZD0
bNu/HCcjIuusVHrFBgVB+ImDCVkIQJqL8bObT/W0WdZssXZACx9B1rIdGhJNrIttD9Oecd1vR/l7
wQYv6TxdHBuwDz2c83G/kiJwx+e23VN1Vk7U8uPcHRerCkzlQ0jXCqHEmNT9k7fmYIw7unCupQPV
RXsNwH+70W6abjLMx0dab63q07ar4BZ+s4+VoG6WP1owS6b1gbLTzXQUjRUasFuVeiBqCj1xkfnJ
a3YmtnY8U4hI2oKHtdwBWWhrNJ3bEppVMKFWKPl7MRwc/6XU+d2IjaqmXaMlI26KVtUBFQyGVg8m
8SJGlpl5kWBYJViGMyd5wCDWK4QXarMGyZz9bH+UxiMRj75/Jd6ppEukO0uw3B65SQGtn4eNs3wA
dRbQHj63Bfv2jtAmnmCPoBI26MfBlDddoe2snUz5qWA7BrWbazseMZPSajEHe2Vtw02z984FPeiD
gbBHdgGYSjKFn1lNFYKbMXBtEUEupSwfej6lJjtZ45ZNUJmWNOjgKrGa7mB+jO+ZudHZFv9iJhuo
uYaqJGGD8+gZdwYm/vK8gIvccuPRpgfTTVo3hBZ5ZMBMowkJFRhkH2pzMydNf2imMVEEVJsg5fOf
/d4MHfLcsxZxSBNOffOrIoHlX0dWAnIpg1yeeD9i5z5KZ8cNqP0YT9w3th3i8AkNI0QotTPFgMlR
Lxm7l2mw7qEsPEL2ZT0X5FWzd6zOYV1Q5GwwE4JFXH93S7YgmrdYZeT3V734ZYp7VqcNMAR9YmqY
zdNjx6qhyZN1TdZBeBS5hIdkWwPMdXZ49E+KM8D04LiWiAKdf7j5fxXSO3TzC6cZrR4s/QXEXGE7
vhEEcbN8UbMeLLW3mex9q32QVaW2+FQcgdgMSHLxm5XIFTHK1BU3N66HwtJjbei3iz4furLZO9Ub
wXVoIOU4PzmlHnjI7ZQfCwz4eSvHjAEU7EwWiDlrwdaiRVPOA+b87vImYwXsTz4kDofvrIqAElwO
l4WGwtBKsSunAyZGLXaqjAchD34xpJggSmpaZKyyC3BmbL0CY6V0Dkrahw1Lawhv0AFdYzVtjBUc
P/mn625KhGfwjfZoR+WQlgSSlnBtfG+SxOtWEGR4YSW0O52SxFjW0O5eu+lqDff+2iYjRiQQYvjk
2Fk0qBsSegxMWUbiDRe3aqHzc9ci+2F+F0BPJVrdc66w+xCI9Qcrmi0bZClrsppwZjmEZFjE+nIL
2HvYle82QfTBLwqJsqI0KIrtgGiLwpy4A3LLk+RtsMp4rM59N8UkP1RNptbI4yKg+Ny9Ax5RDP17
mC10jRepfS4w5ODbChiTSCv2EFLymycXIyXefJ5qK7AsHgG8DIUZqE7ozxghCysYvbxhMWFtQJGh
QpVY98cD8901KIuDdIy3BeL2Yn3z0XdoZnADWDXSSHPT8Tqc4c6HXkWTfXHYluEzOXiHzB+utnCj
YvhFchEXpQxcngeqL0LGu6DhNwIDaHHiFkALTyC41Vg8icy21rRSSV3uAKQA7LhNdBtReMNQEkEi
Uq+J56Ptui4bur7NhAEQaG9YU2wr4L1z7oSmSlxx5xhaWsB0SWNKOYKCsUGCQciDatdQK07t7VOt
4p9qAa/fKDq5qhNJZeISaWOEhtJj2TTPncZjgz4snQ3nGpUI9/pyhfAAtMSg39Yh/qEPdZmZTI+s
ARlRBUlg2JepGjZdodtA25N3U/OSZjJS25LHbhC/inn6qLiWSY0fG4PTZPavUzWm3XpopJU65Ipn
j7V+3SlbIag/y1tsLXdkRuA8DLuaD4dhnLfeqF5t4SSLCzZiliOAxkmBq0mI/WkZ4DyzkNgbHxB2
xEWHkMmldkMINIQWBusg0JCKFhE/Picvxs1gvpv2qbKdgBr3tnIC0RRXkMlH5YyElHwUpX+gDTKG
DkgC36n6iLW3wIinroilel7Vac3fXHF7O++BdftcA5O//0Cd8zAcdOPe1e7o+OCAxEc2sN1G7GGo
arWRiHV1NLqvnfvplOCMnzik98LJTZY8v0OpLWzlGEBUJ3T0PuNT88u8lTDaKZ2G4d7yx7Rg9aZa
2P1Ql2Fjk21tjgfles8Lvrcx1qFGS4ArrbCZr8R/cHOUHH5bTVq7y9NECXDaiU+bI9Nfl86DdCLU
nec+buDiKZDujgJ/wc7OH5ElNBAQmh5pg/wM6aALX9AUJ/BTpyUGtnx9jXLPgiMT+PN1gmNfVeIX
dkamPCiXRzsnewPTk7l3dd0R/Vc77sgMpwcziXCng+O0eRHzid4t3Hkz/OIDWi3xIskGQEecM+Ae
OgwkKv+tXB+G+Z07HxodE4myG7YzqiWB153O7fxqmhioNz+UdqydOfJaFaw9TIG0qLaToqOXHCEj
tM+mwJznD31FEtpNlRaMID0z2qhvHBouwrkOuZUIvLhNmzsN7d1wsWmY4y4HSrqxjkyxnPRQJwDy
TY6O/4rQ80Vwv8pWX4FLWiyfOQYtceM5CTyBDSuZwkOimEUQhBEOw9c72qlw1yOX+UcpzTZqVMUC
h1vBcOstmV2q6Vfmo6LiTiIyJAbEW4Gy2qSpVwec2BFmX1Fg7K0Sqj2obHSsweSXj/Fkc6RV2Ish
HnU/aVEbCDmDewD7HOxm6SFKnM/j3Ca1bt/nteZGckDttLaaxMYhkHodyIYhaepvlUzwfTsGpHOc
Pqdx3g933ojj6+jKfRh7tIMXYeytASzdUOAudev3WBapbCwVENcD95HLftur+MAkXlRxuuka3A0k
RU5bmij+lLt2KMPJXxOC1HmY3YgZKq59XgVi4vei1HYthQoYUGtQLK1ir/MSrhiS1bIt9+W6FoGv
FdtS1eZTK8hGLloTMFQYRqiIBKTQz15bZDW6c2FeqE88eQ3MpxUKCLcg8HofIc1FdfYgfO0Iav4k
b1e8I5z1AlogiDlebN5uW2M+eJIlGsoCPULiWbCk4GvSEj1q5uVmZ5urr1Yj8B1712l6xNzuDNgg
CFO1rJqaeG3FJ+kXcP4uRTwsMpwnL5atEZdmHmt2j3Qkr6LcVHdgar0WiJ7yIl9DOgyRUdQj5ljN
59obN/NEBZIklB6aAkUMBCPKLc4r1bbWah2bnp9objzDYh8Gnm/1QU/6rkhmReOWaJGvzDsIPy8A
oqLQPDUDZvOpejAgS2YTDrXbNZKQY4aq0euIYnilI4vH9dkOnB4rW1x1R14a4t55JgRYbMljmqOK
63dJQRhqMpjLQeGLlNZvvzKfm7GB8LLoT6vtn/qJv03M/70sCiIVZbtHtS1i3bJHOyZV4FNQS7dZ
ufM6TTbq80N5McoapWzWRaAX3xUG/rnmTluGsJlOOjIkmppO/1x3qJfKmSFXtVE+kOBVasHlWQ1t
JHz/1zAhBLbm4Zi7eehQ7qLmbFqo6bI7TBCDbbautiz3kMfByXReZvltWuj9VorJCkbB11Dat+uO
Q6e3eVygRoX8gYnY4zjeskWCsaqgEH0fNTq9zpWNGi+IHLGtnQhct4Foq4Vy+A2X0MppQ9FjCE0+
RqyyDgPDj4h2PFdNe9IdqJPMTRlPTpVMI3lqLR2oIPQsuCtjyAdvvRxVyRyoDV1MV0E6LVjc5jes
+16fVZPUq8GDGcGBab2LAno9ZQm/qcecOTvHKi6glUhquArfoOBqIQ+saMGSADKQ1tU3Zd9fSqu7
Sr3cGB3bjWN1rIflbgSIw9WGNfSkeFuV38Q6cLbGBJbPPk8lmVEqll7K4SQcBEBQ3sPQ4tj/1iG+
FZC+9X71fdfCm8DqWzcWfwM1dov6H6AJuTdQLlhKEvklP3degQKFtd47EDiy6FjEpYdrxdTREPwx
V8Nvc5Jb1/D2kCS8YwOSK00tR1ei1FQzhohs2Oc5FL5dDdTaiy6SVqnNKpekqt3XFg3gseLQ3DN2
c+NiHJfeayN7LloET4hPMdaT9YsGNbc8st057Wao1LT1fYeIriZaKtfxDFbhcGbwcMQVyTLWD11e
nYkcNsoysko1z27ZPc823KHrTr+h0tgHjocszpOZ9LUHSPqGY2tvwSaN9haK2mKdohzR02Sb6aIj
TKPDQyfVVvHhXhMfxbrGQ2FlpHczubpPrrGm5qx2zVi9Fob3ZDWwh0Ob6aaWTGtx7F2KwW3NBs6r
6DZQFL3ynBwry888geu9ttJALanXUQq2EYNAPSYoS+vTMNAC6vKdJlAgkbJ5Fp2D3IY9z75xXvyK
R12FsrarRCbKASoMJeznopvXmtVu0rjsfkYdg2pK7UrNsHFy9RvlN0/awj2IxZpDNsit6amz64v5
MOL2r9JEithjnmexWco659ErpqyvPIT3/seU+4epUM9LgT5ajcvdGf4npeOHY01NoCH+nAawI/b0
EZlSlpeYhNBZ3Oreg15N167Q4qmDRcnhhzWOwuaQ9MBU/wPAt4ZgUuOOmvm5rezIqsRhavSoJ5Tj
B+xXh1ontdbAE7O7llLULdmuddSVoChYIynyyzqsXPY0DAKKckV/7ni3WSqempzADjTHtS/fGq1L
B1eeVk3B2HdtUjRl2jZl5os87ucilg3ichS5UQuwxHUcPpqOxdw0w2I0QrMUscbsncFY1CztHYE7
UStLRrt8xnDTQ6VpU2gQELcvcsO4ERVeFdO6CZoGtRP0uYN5ZAd9NT6VUaCrMakuARU7smk+n9qF
OqhfId/IJxG31DFCOrmPSH8izwE5FiQA0Y1fn4emR92YrnhZlODdqQmNPN+Sjn4WU7HJnVvvebx3
9Oqtm1HUhgXfToVzXpf27LstjSbL3mk24yDF6C+WrC79mL9pK7R6R2o/GoMdIVXMQLDSxW5ZHjVF
irSrhpNDFXK3ltoBTtpWlvkNC3VvTO6xHoGXgxoCrI2ODbHFR74aV94Xe/D93KnFuDJuXZZh6/cF
Yucpsxh6OoBzGyGMQ8QQCdStPJdI1zobL6XGcbvArlO2njvIi5GmS0k/wVbUJ3uhqU60zaSPKObl
qemVkKw2xrStzUAZHTaiDxAA7GQ+x7kAnTPK9CDAuqpJYacKeh7XKbDA3tsjdUEd9QROTxRLnSwf
/LAwoKNq2EenMLdF6Rw1WIMRoFuMsyHM8ig9SpQyBzpGC29jalS7odDgwSDD5kGND24s8F280SxT
MbvZspCUkm4nCdrXHShPzSayJgDIFOQOtT7pVLMhaAKLqrhUOcEn6TTQvDdZ6boxkTNay2PoCCe1
JNtPkGFzpnpHeb3pliYF7AV2HqDCYB2WlxUQPia9+0LqR2For2uVhxZ3k5p5esAhix50c4VoSELN
1DrLFRmrGHdFr3VoSON/AXdJYFJ+cu36kWl5VHYkthyBPCWfD0zUCLTcZGzKE+eY0nC8eJqNjbcg
JzcsDo8tIwqsrmJliOHRV0n6Xdv6bxYud6U5b3n5Iabpvh/6GApncVkXW6qjIzHytEA5bSIO5k2N
oNb5eeF6MngahgW9tAYAaW7RrsnddGRqZ+ga+hRuJKRxrGcnWpohNvNpb5S8CXg7vRWDGa5u/9RO
gFMMYJkSFFNf053FzZhgGIygQ8TXJWG0QP13Tgy7jQ1N3rV5fSrQ6c9ROEcHJRukcw+5emThRUjz
eWujqomq82Z1qlRZABIJnv4f0s5jSXLmWNZPBDNosQVQuqq13sBmemagtUrg6e8H2jH+PcW6XXZ4
uOCGw85KIJAZ4eHuUST6eg7KUz9Iqz6G8u1wFund5GpMpXOZx+rnmfOiKe2+oNhuknlTWzkdzvDY
GmCxlTw9GfmwarvEV/vqw8xakGq5Pok62TsGLmCFYJT96EtOwTSv6I0K7UHM6DiEusHH4ZSn/UkL
kOA46VpP49fEJMhG+3cWth8ms05qSdzIhfLcqfkxti1fVrRDZsbbXpS1P+cSwO14YwMOSAqqCY2m
SPqrKJpNPlO1VfG+miRKy1R10zK6L4P4Xta0yU2HdJ3m8TEsqz9tbtxMlpruI4sh5uCxVC/xDM4d
v9ZZfGsIDc1a8VhNsG0Uh5mw2UHpR05S+v70Bs3SecibmHqgrQ66zWD7ThQPVg/yoZiQGOik9Tiz
e1rZILc0byqJ8k44mjsPzqMjkT8wjjjR7cnjXz1Usr4Ju8ZHWL2uDU74FHrCbP7SYoh/tXTv6MO9
ntV/8Lmm1mN8mOlwfJbSwbIp5OqBM7jycD88BAEVIZh+oAlQ7ux9mHJAKgnTr/HeVulbzeF9Jdsr
CeDC5JpsFbp6cUAfdCju4jBADVLG+7CgFdioDpOmYXqUdfCWhsVb1lMk8ssSj5t6VybGY19M1G8W
DTirzvZjZTwlg6Tc1gaZpZSQ33fVgucs+W4k3cxt6/eZ2GFI4872O9iDL8LcVYyJ4UuFP8mmD7jp
M612bZuPk6q+tOX0nKn5wa7CNcwkT4ePE4p8lTfVa6xYmCVPHrRP16onbzLBPkfNL8J83dCymnDp
YvSMWzCmrylnP9bz/STARp12lRT2Kcv52iLaroMAJwr9ud/jkeFWzgdXGX55ybZPFdre+wEKymDl
DwxbvoE54hfBLpI11+lHtx8eAyYrk0G70ijvu7z2xMSwzvS3mc6uqY/Ar08BN2PSPLVxue6cp5Sj
uBUD4LFFPknrhqPK7BnWkgZuPD7FaXJnUGlALPONpr2l7ltbnAu6ku6icFrZcEX6IXMZabmuyUaR
PdJd7R5kehtzE4LvWEvBC2AJRg4eEPXxxl4QYQtgcCHcKe+6soP4DJyskORbHn/JldSPNhR+3wO4
0ixCMOwPFLVj1cEikHzmz/J4b9rsDZpRbr+XMWiWeKpoZNIAQg32u5ks31RizzBiN4g+hxDEDi4T
l76oiz3Zrpr8DAUoWR14Y0ISDS1KAyg0i2wD39XN6nDVGH+clsKmmbwU/A8PSJdTzR8cOBwdXCuH
wYrDRxN8OuGzQp4ZZU9lH68TriDHHDjhDLeigTgP0V5p7EfyIxInFYiGDaj4z4MH4vJ4bOzcD8rX
kA8lN2q/iu4FXINYabYmTlQlXi/ZfRZQTVjABdCK7aReKdqfysgOs8TMwKl/tuXfZqdtnAF4Hb5K
nR66AiZMG3iWUqyoRbgTFL8cMvgU8p57Bsw7XIUO4TQ8whoFSu9xQYv9puq3RQlDDOjW4ggJFQak
qP1xkg9j83M2+tvC3keZutJlrs+IdkZb75ySfvx0l8p/AlxkGUULu9abenauKhvNEMCsuRvFI68v
cDtiJIg/Vf3N4tllIFNmexhTME3D3s6V5Re1ryTOoYPZEla1b9ANCfR94nyStbqR9awXUMTrDDRq
NwmQ+YjRD7ZYBxLsyvCpm2GyvNLudYX+EkL+moKQttO4NdtXG1paM516mrbgpUDbdJ6jjUHGY+aJ
b5A3NQ29K/zO1elzhiFkhp0L0gB+Fa7D+TUoH0Ia/p31YZcf7fDWp5JrGx+N9aiUz0aJJlbSIX3P
9Agoh/rxFDrpHV4bXlURhNCjprE5WtWjQw+q6hnVxxUVlp1XywIkInqbu8zVaeXphewWHXQKmqw5
TBeSa1LdiH+dQ483Ww5U68EClLOBr5pU+BmcKGveOFO9ClLhCWvgmHgoHbglc/agjTo2m68oQT3G
yXoDsw46QlFXHnLlPiCNk9qRNIbOm0g9w9km8y32puuMkKS0MSOdQqjObtJOKbno9Mc+1LaJDFIV
qseMND1pQr9UMX8e3jh44Ssm40971FeCNkVspY9VkTA3o4NSF1bbjGYmZZhwU11dzWP5MwbWNyNr
2Ejqm1yWH3jz0JENutcwa37lE6cv0Gc04eVJfvoic0bqQbtx+mrN4CUBD0DGngjQN+mhQEmKz0wS
8jhyaZhuLVBoEJ1mpdoWkLIGWeZPS7t6JqdV9I8OTV4IEOmkVMU4VsGFqW+UgIo1nmA82I9Vyj1s
KTd1Ba1gmt7DpZVVRBaoqLaAO4ecRp0KzwVkep8o+MhThU6hvE6ldJ8Ks3JFJv3OE/nF7F7ldlx1
IYEXU5oJiJ61VN9N5cJGs49aQQOff18PwQrVzkM6Z6seOJsR2D4IzNqZQYGyfDtKyorMdq3DHMvK
/tXWnd9pwmfdWQdGTZduFdj4Mxb1SpB/O2IGKcvXE+d0oMc/iibqUQaNv2ul8bMwy9bZOK/qQQDt
T36g5vdM0oOZWfphY2WeWQ33wqo3Qot/C0CFBhuoPMnXTGPdW3zOYVNvyvQHauqjmOhCj+22zPk7
TrqTenCXLoCJmRq7EXjEYIjzNKi7aNRvqjL5rEW1lWCQx7LJdwA3rHSwO7H4nphYZNs+U+nXYyON
rp1y8soy6qKp5Gokic9luE9PDTa/XURRYC3Wih3EHNnZBn3vT4NGE6R9xI3OK6ruRZuVNRDJ3kxf
Cq6JMO29AcxKHpu7yuRYL0r7EFTKgzUE/kyL1CyYCEDgT238HjjYD1UjLQTJz21IC/GwD4LEbZty
J9tiJRKKSFq4UhT4fauuJLtLQQEZRVbJD1PbHJoZZ4N+8IcK5BazqRL5tVVRsiQwswSjkGNnP1lc
cqV9CgC1u6zbxg7DHuRi24XAczRw4CUeOhPNj56s6Fj4qi5tlYn7Mof+FeBwrnMg9uFu4AF1ovN1
LsiiMNd5MnATlvyo7NZsA0h+FbbMdW8/SpxPUwE1ziIFLXRy0RoOmpRLbs2NHef5rg3bJzm1Pztp
2JRK8arn6WnM+n2UN6tMio9TUjznjbK35nKVwNuzu2iV0ytskIeMFNSBupRIJQ3RYPD0vtjQiyVf
EVvLNrwgYOBKJ+EL33arnJQUV6G7SYvvoz7dCoOdtKM/JRTBRU9EdYdQlbiowkNEautiBr/NVXXT
ctLV9R+kfW6sFTfl3O16i1TBptCh1pCJnW4O9mGfbFvu07CyGVgSrQNz3NCzWclcihBbnoE1XRmS
Qwrft6XBZJl4hFnOixTVuq+FwBkqWXlHz1S9z5NuV4qCw7v4aTb5HwnYGRA8uW+ihtRrcsMcFhaN
3DHoTrpB/90xnrOoXZPsUO+mMObS/sXO9INR9l4CXSVsxDGImmM/xGsOPOY1TJBv013Me9dhDchV
Gbr5gLY9LlZOZ2ziUKz6nsRdN19iG3ae0/xIit6L9GIrTI3kExQ3AetQNcDZSNt2eboRpjhFlXyv
1vSLFSgoAGA8YBvKL2MxGVPZ6zLDv42VKpxNkGcreRo3qWGsKzXiTg457vM91eXW1st1vEBqhnmC
9ns7xiUMvfIGFs3tAs/bGtP2mt9DCuzdGn6lVn4c6D4p5c9+ktdhXdmuLMsnqTHWDY1WyIdgS9Wm
tNNdAbYsGrHv+p7iPNqNwglwmG1/qR2JCf3dW6khqEnGqkC7MULTzRbIoQNBHFPzaEJtyrvm1Lft
E9zJhTN2DCxrHYTKaYDh2UjSg144b8sVz2jGNQQgCtIyeYjNjg8axYQ11z+MRXinZ4CBP2WDkA4S
DzfETWGjiS365ynu3aSrTlZerMNm3g62+hKF7VvjhNsBsnmQGu+io8q3BRQw1bOoHCR6/1rb3khm
us5qc53ayVa2rUPRMijYqldNn/wQCn/PUN2s7A5tm23KrtgIMfojxOOqrPy+MR7zZri1RvC3moS+
hjqiW8N9NuQnRZ2fyrg4iSg+MH3LCyQsW2yxSXmYERSFFuKNZt9NDbPtcuOjHxl4JHGqZmHqBQo3
nqKdjChfG9w9hSNtWhKMoEu3scSENRB4h+GsnaJubat9KLlVlqyOS3CdlPXtYGKz1dapZyuk5o1m
3Bd4e6mE1YK+1iSGelHxSZT08mCaV9NDzXdPG7Zyu3TaSU6urazZeQgnpkZmMf2tQCpgY0IMkhTe
Tx1D/1S5aeD6zBlsAX1axVVi0ZAreh9ngTeSUGiCzUrG2fUwx8MmEnwymUkPQ1Vue6WwUC9QWAG7
0bp/pxjDd9yhL2FWfjQ2e2qbQ2xl+6GoYFq0+B9A6CklGSK6vaJBusedhkYRcCWN01/TEFHNOz+m
QfpTWvw/M+mpF7DSMUjxelM+RUX70TrtdhRAOWW3kqzpiFNl4hoBGrYGj6gkWahn3EQVZ+osqfex
CCe/z0c4oU+c0LyYvPIM+uIZ40+rPtj2MGuqOf01UKY6JOQWX6+sUKgm8SLZGKU/WRnemtq8CYdu
XSu5T1fHddA7ZH18l5Qy5WaGZVDq5dR6is6j7Lqbmf5mn/EzMEWMQCcLp1wpztaqnLs2DG4sNqU1
mJkH5cqo/lQkILU5/AiH/DeJy0OrmamflSTgnaTDIiETg66mg0K3Os/NIe6xOq5I4m0HelxZr2xJ
21S0pAVYvkUeqxrbiNkHWVisZ3ip+hyiAQnpL8Hc1+RkY84VGGoMl93qHtWAkqNufMUmhactZWn1
KUqlj1avVrkir9qwIuG0JcPTpIGzzZqgT8YC1qtlZ7ta2G+K02u7ugE9DvLZ4aBVUPxH6GgkBR4o
CnHpEJgcT9Fcia0cqjSHp5IxUFMI3bwahkOftiQGRZOsxsLWfMep5FUpSf1GccApRT/yPsIJ14Bm
QLgrYnQcA/XDaIDYN1JsLt/PfLRnoH5NzxxGdlN2Vg3MNcnplB+NzUcT1RTMeb/Cty1C/5AhUFi8
evNDVTTZHyVUFC/OSue2liDJ2xl0iaS5cxLr1Cjlcj2AjpuOL6iFTlaiOm9BComxBcz0pMZBuZ9I
vWtMTuUjHku8IUU0NI5Zckzz6rORsuZTTAUynPZRMai66avbx8pWsvtoZEKmbe6atrgN8/ItCdVt
rc2UKLX6bOn8vYT5d1UMFJ278dQd6po/nTnjzTjRGmoy1HVj0d4mZaAeFCGcVQOOBtU6mH7Ycpfd
q3JFbhjG9N7qtvcdfKC2E9J5r9GKRXOha7Tx6FdNOb/bDp3uUTPn+5wevJ3eW8FNOH7O6mYe7zNg
qFB8hvQ8i9hah512TGQEMDO6KcZ56S9ab290eV+1GlSo0O3NYWtB/izvpQTS5bCyaShpdcVvXurX
l9zk4NXdMbE8OdDWAfk6HJIGtq51U0MMS9LIz7WTCGw/6WmmWF4XnCQeII0sG/A9y37bzrMcECFA
QCl0dzslTa1OpbwpJ37974Qai3lqk36jFOW+KKgNhx9VM7sLYQeD8ijpvZjMC7VAikUBk3TCG7o9
Kz04KnXiJ+mNYe4MqDam2rqSxHds+XVpgi/G/misi246zQF1j+41A13YD4LDE9JHD797HqZTNN3X
EWlxdh+CfHQ/KELhTSJrOpT14DWVTAOMcmlM9gFYyBg6+AjBkCKGUFkEBhQM9ZCQdZbVe4AWSYUj
ZC8NbtBW/XYk0W4iXw62bat6erZXBs237SNdWnkIkPI8OE34oES239IarZfTXi7oqKUowBLKsOCg
a29MSfHn7sXiAxtN6ygjtaiK91m8c9yqnbIemKpld/pP5Ju7xIScqhyr4GeDBXoAtyKh0RZ4tA+A
drZhNLsGrBCy3Lxb24Fvtg/klXq3cyqmU1L5d5O2VqcOSOE5Q2JAGQn0shbQA5obINB7Gt/rtIIG
Au25bkOvifIVOMC6QYdSgHJC+ZSlO7u0Hkw6XUERbnPJrw0VZHBfwyOIxGHmDLR/iBaQCUq46O8T
6EhmrGxM+70bq7Ws32qCO9+61xp6DMFOCpx1Wlg7x5k3pR6sEbauA7n0RnMzZdKaIWr3pqVsBXD+
1FMvtMmTLccHmxRcHcx11z4HOrSJrveHCd7lpL0287RVREFpWcIPgZFSNC66xw7aGU4ZJyTl65Su
sCR2PSR2kRR+htygKspDCh6b3ZnTuB8VSv1uU6QHp18XM611sfCa19zmSsM400Djrd2OdDq78odc
3yryn7on2tNVocS7Mh6eRiiRoQyLdknFajR/6VA/hHrJZX2rWs8sRwYlwyiiD/gv4n5f65prqAYt
OeDcIxiEBU+tbLEOTFZOcFeMp1LaUfdlQXTQIXFN0IfoqmYK0KbOZebQI5tETy0nNkhHVpkW7s08
9GbM+gLongk5aBhsK6s64V/63JAjpFDmHFU82P1Tly5Ey1v2otokO9mJvqrFgQBcf4jkbiukbkM8
3BgCEqtFf66xkPBo8PtUjwkQcbCph1fYerAySYUee2O3FKRtS3PrsbT2udgX6V63QATkQ5Yp6MrS
1aKYi8k74aOD3QRcC2qF4AA2o8QAUOmklqdy8CUDhPAptV7U6DHG7VI1d31xUko4MXTIkCI4KxtC
6/gUGT06DgGAhndEsYrjl0R81JrjmfltOb/UBkNG5Wg1wo2JmSUQNOPAJAYLSVSwcmKN9jLDAKXP
vN7O5UtmH0JlcuFy/IiyZJ8hzNToP+RD/tNKs61uhbed/JzDPEHCK9OOSvnw4R7oxiaH74C5xa2i
AYtlsrEyE+A2rqiS4AQDtO8K/cZSPxOqdQU7u3CgWJEyWO4cKOlrgHyskY7F/CMaIQhAUJZPA42O
TKZJCHvxUCC0ipINbWpHht69jrudLN0bpCFaC45j9ZuwnBAY3AJ4AgUoXlrfagWc98cyPVTzzq6P
mTjO2SFTUbRlR0M8APsozlpp71TxRzh/svAJznqsvDhz9DCL7MG2BlLtLeMrXUvZt9GnjnorDCdg
jLeMd4A+ISkXJGI1GVqMADyKoKqGTIJWuokcQ2uGu1TLqud4kpzPWtalfdv1OGNJ8JnGcTFhVAct
eERL7hrix4xusPiTwhe0lliHdv/Z01+cFWUdkXobvOiGxCaA/emg4ZOVl8LK3F6FBm+HON5ke6HN
d3po+PV0mOufsHvvVBrAzK8J6yfBtZCXDRX3n9zccuZ0yUtrP4/pbWBuRf0sGW+6fV+Zb1H1VAeS
a8Dn0SKk+n0MOMmFRT00Eyk4s5U3cNc80OmmOESgmQwuvxEA9NnGiQF0AQ9mStW5W6yyNzZC4yH3
p9g5QZITNH/ZBMC1IPFdqM50OUxEmQc5Wnc27Q7UG2F+grDnahChhkV7Z5f+2Fe+xJze8FBXXNEQ
CDKL73Wmp1RvRiYONeHGTDExaBE8AZ4VUDjjdcFIT2jwjeq38p+meBuUP3rcbHualTmKSGfCDlo9
VogSEbXkpb1Ks49IJY6rpeYCoot3Tus7es2h8EKkFULeJHTTlGcEQK11bPtf48zUVG62sj2ZoLIl
hpBRwrWOfKqjBQYNECTLK/RbWDcKCPEgfiu0QGIEOHX4oCLpMcWrZh7r2TnUqny0Bwj20dP30nTl
kupeURRcdxys2WT5zFNkdKzcsFsmDk89jJFRha0xo+hFKprQ9oq0+qmdhZ/kDqy3/rF30/1PczR3
VW1e+SUXTDr4Hf/8kMWB4ItJR6koUA2TpTSvpHuOLBANjUJCaBTg15xbrq21PJQva2WKlDFuj7Vk
9KXj0Ph91ZMO9OmLrTnXTH8uSf/ZF2ZN3Di2Zpy5NEhSnaiWg/S/nhgiPbcPlfILy/g7PZ1Oohj2
QOfI6QGt4uCKe9sF0wZFwbHJwhMEO5x/2QN+2WZo5jmJPEMFxya7K63onUnd79/HzwUPnL+WOLNW
maKhx16DuXtTDIk5mjYCKlWC0tp6oqoS0R5c9H+/oiovNkKqZurYrPz97hy1Hk21aYmTMVobRfDc
LlhxW/8ep5qKgL5hoNzX2ZV9XvpMGGCtYxiFI6Smn/lfRGgUNa1jVbnR3FGv3VCFpYpi6PvNXXpj
Gl4oqqzg5KLZi5fJlzdGWVaKSJ0W/5A74ZQu6tbvF7i0j68LLPYYXxag/lLhLrKAOpEeOnXPZFVL
ktd9Lk9X9nJxKUNhoAVGG3Cgz16UqaR5KzHhibTojTRUDx+m9EqAX1nCPJuMVQ9xgeMvS4gYYqq6
V20HzesVS6Rri5y9+rm15LRXWQTRflWCOz87ypWYvmBRozD1T4MZxkmBuODvt6LNkjGlqcIScZS7
whh2+iTfFiqy8mh6DHR61d+HwaUDkBkjmLjKBJtun72buOsV1ZpVML+Z/FCYrhTNqzaDQHHlDSkq
P/3c+IS7RdfZnK2a558rLUo8i1EzeNVb4S/5323zSna6ynflLwwBpN33G7v0snQZq1/FUmws3M6e
pGj6GZ8arjO1+ZTrD1W+Qf/yv1/CkDVFsx1OAmaK/f2yCrkYRKMRD3HzOSHSq7UjYyKvvKBL+/i6
yNl3Cg0GeyyqFkgizU2WdKfa1NdC16+MJr503piGbNuGvXyl54bZfepodh8SB7ldbmpN3VpF/1+8
ERO/RaZuYYyEd9Dfj2saZL1qQwJA6oHO1BGzDIHLmFeoeIp+/2b+5aJzHmzm8hFhamfpinP21CYu
B8nInWUKrHiz0Ejmq0PHtFvdmw/VGrXZfbG1VtYzPsIut0azL65YQF58nl9+wNl3NTpNSvrJDxjg
cJjjW3ZtWMq/joL//xbV82GAzlhrIp1ZQdqCYtSrU77qfrZesMGxYld+Bk/t3fjafCRXXCCVJQ/8
z3UNDinMi1TDOHuNhqX3TbFwOtvG/Zi3NN/ij0jxwt0jBYi6RaV11T17+ZPfLXn2NrVwnsc0YKuy
N+yULWRe826AE8SQZ+nd3Gp38kG9ke7k7bXZd8ql49HEOJwBZ47BSKazpFildxHR0YYOvBFH9Rld
aOLHm2ALZ3ujQolz0aVtxsPL9+F76Zv/uuoSXF/vZiMsdHtpxNT6OrRXs1Ehr7o2o3iJwP98qP9s
bfkRXxaZ7UFMScgizRHd73BI/hQv8ZoLRvn1/W4unvxft3OWGtKVbtMY/oaXwxq86d4KXGalVSnW
xsbZd5v09fv1rr2zswBVAJ/MaGK5ssHuyYTv/XuE4N0aH9+vo1z+xv95gmdh2dhBZSmIlTz8F28g
vHv16g0bDHkXPMrrH4ACVzZ2YdQO88C/ROPZoaKbIh4GiwW1Twr9/ER9plIOv7VP4exrT1e2d6lc
wUqOqkHHNx+r978DRDdKJbFqAmTK/O6t3ajvuHSf7Ftjb1yLkEuvjOmSbG7J5ClR/l6qTdp6GZ3Q
eXDvH7THwc9QPB2TN8xCHnR91R/sdfcj2ThXromLn/fXdc8iMy5MLQ1T1lU+mVf0Uvhg+zG0wAfL
9A1PvdE/EsmVN9HpmhXhEhrnH5+laZruqPyXeX4XmtT2aMmQGWShU8R+18biFrkc83KaMa5cAIas
8nPd0p70Mhf66vtXeylwv65+Frh1n+cZKQTloFlB18+203jt5Lx0hFmaCbGDEk0lZv9+o7WcxNpI
78tLZ31xdsB5ZgxSdzCin//NXv69kHOW+U9mm0SD4ElClV2XuQUr2tl8v8TlMPlnM85Z4h+Zam9P
GZsZ99VR+dWCfXD5yYh63PD3UTrNP7I/MjzAK6nf5SD5Z2tLRv3lhO7mkg4t8lc0NjDptWALnrrG
xthjMMhypN1LgX7lTLvy2s6nyE+SbEfBzNOUq5uufq2lfT59fv80Ly6hyyrJGf6q2nliXtSTsK2A
h1nh7u28ZLCE5Lfvl7gY31+WOItvMw+kIZmW4KPXZ1e7Wt1+v8DFJAjzVZnyQkUVd54uw20cZUSV
nMS3Yh3BSHKtG/mu9s3Peu3s+q24Vqdd3BJ1ITk6iAcP7u9YIGs3bFFy9DvV05RsMul/PTCWQsmU
GVosq7pi6GeHfd/kmUqfkvyxt3CYwqKk+tUY16YmXXz3zAqRbYeqDLDr712IOZNHY2QXmXOrYSPQ
IOG98rFeXAI3T2oMEAf5PLwiZACSOnBrhSZGUU67qcF8QYGv2O9efB9fljkLMZXmUFktV3EXSfgb
HW3r2hCXaxs5e1Z0AcKozpY7EU5BdJBpyV6bT3xlCf3s7NTHtp9yiWdViYPcfOjZh9xeiauLSRLD
YYCxMOXTNHv5DV8OMQm5sD7WETKUH9CpMCYVe9R52gZRso8ACtMSeJKFp73/N1/ol3XPrnYFyoZi
Nsu6e9wgb3EL88UB/l136lad171fe5aXjwRmtPEfBtYo2tn7kosmkMom7ry4vlMG8PyatKI5Ig+Y
8icJPi3uXvUjLpmQ23/b8bUT6WK29s/y5+/SpGEd4ovUeZb1aVSvffCIu1UK60Yud11yn6O76DL/
ykO+mLd9WfTsVNIaZbTknj07n5PuOq/RI/TyUxq60BKR/3spUrOTfCjhU1+5G5ck/j8SqC8rn92N
YVsHfVqkeFboHVbEL6JHZHlblqV/9cVe/Eqc5XREI23axlkEy0nUjg0GGx5eN+1J3iNCFvt5Nd1Z
m2prP2YnrXLzW/XhyrNdnt1/7NABNjUtUwXiPosnrSzq1JgJ4M5HC+8NbvAY7m7aA9Zyd1eWWg6r
b5Y6j51ktJ0wmNlh9davzE19Y/xMf5en6VY07rTGnewuXcsf4XvkXi3tl3vlu6XPI2gatbJfdjn4
3DluvskO1k2xfX8OvPJwNWouZ3L/PFT9LGyUAaJL86+HunZcZXs3ePFpcC1Pe0Ap5FnH7JT/vDZk
5XL8/PtFnl+tamyOQivY4hSejPYgTR/iGth58TZaQEimXJo0ls5CFLG8Q47CCxS6BANHwdD8Goh/
bYmz87SMMbfSEs6XIbJRmR1T/df3UXjpLIHDYiuqKRsGfG4i5ctFkVZDntshX7SMRVsZ6DtFplNO
e72AVPH9UpfeyNelzqIAid4YRhVLhfRwMj1cx807XtHfL3IRoPu6yllKhdwlCWOVJ4YN8w7npnpr
uIJLCMFbc6AhDyn3IG1Ht7gX1z7oS6fj16WXl/nlWVa4GhR9zdL6xvhU0VIyRTxdOSsd5oPn3Otr
SF+7eQXz91rNcu0tnkfiqA1ymvNoscFFoJxZT2O4aeWf3z/bay/wLBjRPBooW1mlFKsifJejTT5c
CcfleD0/mBB/M7TPVpnDfj4mSIg5zKQF3HGMVSih1ShQOWIXnsI4hJ+dJ3vr2tDKS8/u65JnOWWi
pCAuC9g4QTybHmXsvHqcWeO+cb9/fJe+ZUdlcqS19GPsc1QTH+9W7gWp5VgcVOmXI+7/b3//LPyk
ph1Uafn7SK/u7Kb2s2hcf7/EpSvr6xbO4gzFiQFywhJqeHKyH1jlhOUfUe07Z/SN/kq4XXgxxICm
yqqlKhbXx9+fE0JAOccJFBJy/KEoP4e8W804JSz6o+93dW0h9e+FhGQY8iyTkKeVdWND99TyeDtA
S5CG3v9+qQsx8Neezk4nQBPFiU2WwsYZ1a+2CfX+yju6tpuzMEhh+CVFxxKBfihwlIBTNDkbGQeM
/2YrpqnZJj1mBq78/dSaasr0YOKCVYM7VV2HwfP3f/9CrPGo/v33z6dRYQUaFF3F7TrZ6CLwdZD7
fmcP4U1nJZs8tfdWn14rm5aQOjt+/lrzLOTGOZ9oaLOmFH/ATw6jUywVXh1DYNwZM9pV6FTTna2u
vt/q5Vf2z1bPAnDO8iiysVf2YmCn2FB9ZTaPAhqtFdZXllq+0O92eBaAspz9T72Uo2qzwspNtQjL
6l/fb+gSZg4CKcuWzjRgHezh7+DQkgorp4AdGVNN/1Q/dYGxn9FaZFL4pvXdvUNYirTcNfHj90tf
3OCXlc+O8zK3JUdJeYUDXoIr3Wjih8SC21stWdT/bamzL2CwgIacnE1qqPUojJ40GNmGFVzJmy6e
GZZmKFyIGgNFz14ZupxYyDI76qZHJIAiu4LdXIy+L3//7MBQxTDmQvD3hYFxYzZ4c3FMh00trgXF
tY0sr+5LfqSo0agK7lomD9KTCk7Kuj0xhmyj3iFIMvb6Nru/hkupl9dcYtCEkqBrZ1+0g0eNMsSs
2T3Bk/ZRbW4ZKYD5WezRRV1pG0ynVvka8H9v3vA/HCN3PGiocq6clhdGIXOTLQNo/ueHnH3jdWqP
9Mj4IcZt5r2kBxx5c+TZnY/sw628afsj9TmtpafiWdtFV0LoQmb61+JnIaSMklnbOHN5qXw7tI/R
5Cvp/WziHNtd2+fl7++ffZ5FUyma1BnL5YGvcez1p81bK7xhm/hQ1R+6FeKIaRNc+RAvXhW2rDG6
yGHKz3mnYIE9u0zOOs9W07uq0o4xZmla0JwCLOmjEt1Vd+2jvLjNL0uevc40NISMoQw3hfY7huCd
Q5s1xiuv7XLQfFnl7L3FNqp4ZWJj+r44nuh+DHfJXbc1nyhlcB5xNQ8Hr1+Sf58wy/O/ONy+LH32
HjGDCfG8Yun5/5H2Zb1x60q3v0gAJWp81dyDu9vdTtvOi2A7juZ5oKRf/y3l4p60ZaGFkwMEewcx
4BLJYrFYrLUW+u8lMHsGyQixRm1l6RYSfoHcmJnFhLJqRMDTYSbNLp6SGZXipgDwgK0GxCqPlXjW
+pVwtxgRVKryqjSV9OcKVPjtoEgsYRHXUCcDVL6s2tf7c7cYUW9MTD+/CXSlJIfCCJ1QUFziIlHY
4wjKYODgePu+neWhKIIkSsjCpHkKFqp1E0skRbVVAkSorJ0olVZMLPv5f0zMszAGXnAMFCaS4RSF
U5M/n7j3R7FmYhai/b6UkjTJUEMNzxLYDtPPHDTl920sr8jfYcy2q1oo2cBDnh28sEqyaaP41QMh
wfPAAEPKQ4kz75tbG9Js3ypZICEvwqz57Ceg3lr4xJqX+yYW136qLxGJRwfhXG1eUmpVCwbE2cQP
KDQaJmwc6Hqs+1YWB3JjZebJIfSOuiJBmAshC5MCzieAsl9Y6yletiKiBjU190Id+Ot+kSu/UMop
mNYdjmWwlvjKB6vW0rXlGftrZZYZjmIbgMgFPkBLhrIMCsx2VGvjytIvnkXaXyuzpFAALSd4ITGW
SjmPaCoYiQU2BEkEhYsZBOKKtaWZ4yFjoqlIDaGjO5s5NPhSJQmxdzJN3ZMYkJtI2Y91/A9blCdo
IkUDtqKi2Pl1gdIR7e2gz28MT3vOAs4MikHvQMp339mWzoJbK9MC3oTNKCyKRm0nK0wwQZA+dIBk
AXNGXI+eJPZjjK/3DS7P3t9hTT+/MdgV4LhNkmmbNrmRSEB7e88N7VZiz+JliMe8KchQeBlB6KuZ
HvwReKED+ZBYnwX0P4LVEfTmEIoJ+YcUJBRknGjf1hKxaU3mN71bq7Otm0kcA/4AVn1wiLQSuLIC
iK2DDxpEzCC8p27NQMof+8e0G+wO9D5tAmIoYa28tjzHfwc/81CvlXu+5eChcfGRgGgtfI5b6x+W
EU0NKBahQRIJ4Nf5lVjd1+IAEx7vQ73EGwSH1RB+EdTBW6sQLB0kaBL/j61ZEOlSZSS9Dwy9zwlP
WZs6qTw4ZV3aKVOMXIMWkPpSABCKWxvQrPkGB49JUU4nIogNOn5feZlzf/TL7nXzSbOIg6f3hoe4
H949hdHkSxD2gDX4o4q3Zbcb1QsDOr9Z6bNdXFQePb6oZmoICrMZBzFuSQeCWWB17giMuiFIgHup
WAk706/55sLoV0HIQcP3t4opuK1TAHuwP6mfvRUF9L/48JGDDFmnxI/DGKzM5PKo/pqbxR/wOI9y
hzKjEeSh04D/0wewjSuzlTC3Zmb6+U3U4Tyhi8HpM9VpM5OrO0vsJFOWqhUzi5eHqdvn/8/eLAAw
kCsJ0YDhlJB2MmO3dtrfocsZ6b5yMxecdSfhouoa0yFx5w7n+165NsiZhxQZSGwTFPCMEJxpNSDD
YAh3OKBD/zczs+0Ygt/n/51/efEZAPg5EbcBrXnfyLTu99xwtsHw9FbJXI+JFEF1gzYKGeKj9y2s
zNYcSJPThngozTVQRnqUI6fTDkO4MlOLgxAkIADwHzynz7yO1iIyxhGDSLIjYZsqvdwfwmJgBGM+
elYBWlDmmUhT0ZIbK4SEvBV+UD66ZErgKCHZ17n4et/U4mzdmJotOhuVrgVfMjYQ0pASujr5Lyat
IDPWbMzWHBQldSz3U5zXDvLYgX1hI6/tkek7v/kVYIEQkJ6av+bnVsxALSFSNKxAdbfV67pFv7my
rfrgEPSgMPPpg9ynKzFu0Q1UNL9CIxmNZ3OFbLEF/3ieIreOtI2cvXns9/21WT6N0LCBXFTR8K42
m7iii4AdlafFqVRT8988f1uHVw7dKREIMgawY4N0zl8plCw631+j83bUURLVgICw1FDHoyocqgo8
CJ+J+g8veAJ/Y2Z2Uw2KzvNVJKlGB1oohl8fSI/3p48uZW2AN0p/er8lYFa/Hg6pMgDGHjTAl4Dj
1CBbeSvjJVse9NAN9U6PN9IDsw/R9vXkmQDbvVzqXWsmO8kp7UxnOqSvjLWuaWG6HM/99Oab5o0q
Bej7KjCH4tHq+MJZWE8nfsgfk2f6UOygMfMMcmkL8sK6dKIbzgQQvpfWUuglt4VutySjy0vDVWc2
83FVZDTVWjzSBqiFQdfADEwGoREDUt16fKK6gHbx+0shLPR2AeL61+Y0LTfn9JB4XSVDkcZ4h14K
v++fyWk4kZfSfIWinDkYaCgwg624w6y70ua+8aWWmS/GJz+5Mc40Gmla1mHA29wVHTC2gxjX4Qxm
s5PkgOxznxxAork2z5N7fVvqmzFP63Bj1sdN0ytimOXc0QS3k5FvY6iJG/XHvnwSj+hBMcFGZ0LX
0ylXkr3FUv3tfM9OqGZAd+9AMd/0yNujflXQ5Pt+Bi+VLZv8lpzIEbSVDrQt9fj50tpMByf0yqwv
ReTbT5jizM3wu6ypmOzhEwRQgcPFGusMgWWbM/5sPUihvBSOsqWWZq4YXpx3RcD1Gg3vPJn3BvSd
ONR+h3lHGzBmHbpuOiQQX6gN4UcA54odBF3AzVkaqQ2CnbXHicXddWN9tuodA86SVydny6+S53D9
uJLfLBlAeyY8migaRYLwdV79tNDSLuvR4N6Aggu63GKxcgIsZrsij9kTMHu8OAez8FnCohD09RNA
DvRGLiJ08w7H2X1k10L/9Df+E552tq2RXNW1+VtKFm5tz9ym9gQ5zTTYRvVCjyDCK4EGLlxrL1ry
ERGPWDi1AeRV/xwdN84pd1UVlyOsUEjhfIBrDE9J6Rtk0Aww0uhSZYRGZ+Sv0MuDOJizGpGWB/nX
/MxJGJ4hU7mfJnjQpY/+JX6IoLtQGD5EwHXViN/Q1GWkx1/3d8bSyQ7sKgYsUhkA5tk9Imq6yCsZ
RUMQfwWnCji8/OlFHg069+0sHnK3hmZJpQLgTNBFMATOyvixcyH7eMzMbFdsYpeBspjq/EEClMYA
nfqlv0aWjwP6B/ia73/HwnglXHQJnieAnla/HXQ0kL2sxEN5DC5tiPCCU7Ylv1W24kwLi4mSMRqs
NEWS1G8vZoIwqJnMl5WRRUMNYW6wHg58S1BCrmL7/ogW9r6qyBTv16h/Ab86W8EsB+1PQEDAKXIJ
VBjVNxqLK1nTmonZ2mVhh1xamjg+QYDXgO6/Abr4/iiWJkydXnBxowar9bcnRr9umAQRYkMCU1zJ
BVYpXgn7vG9kYfFVMJQAbILrwITy/Rom065NubptIMDNPfTDJ688luQAyyvH3NJ04dEGOwosAwDp
z5KpwKs7xrctzPigsPOKTa1EK4u+cJBiJH9NCF9HongEbIgRTOSIiD50HKA12g/Hpt/7pNYDZQUX
srg6KEbBkQlaxebnixarHiepDCMqHxgH3q7gPLT/sjhAuPBYHvQ7zWvgGYiM8xxdYaBffQTBrqEk
NUQW3vn4/b4TLK7OjZ3p5zdhHszTjEHRrQJzthlme28VQDst7yzHA+GAIKMeDRgk4NVfDXBKmPQe
gZeBGGIfDn7sDmor6Ko6VEbbaZVLAY90gpwUW2EAnMD3stRCVFo70P68HX7/EDCygkUGvRnzGeXF
jHo8CCoMMICmvyTIdj9nTV0dhTiUP0CFLENStlS1nx26F97BGpojzZe7AJoH2dAclbJHN6CaxDxk
WMbx5GvQWPG9UgRHI5EraIYWUF+WykyEQAUDyAbsuEznI9Dnmch3wJuZgzQwTsmmAnEClIxGEv4O
fb7+1YZQOe9lOazN+0u76KboE5dwOybfT3BvIJVUqlhaljb7hK+cLlEOSS2vFKkXzSBDkHELF0Tt
W8SVelGLwxEeFOV7hfXmKAGRNwh05Ya0kJBo4HrAex0BiTJuZV8daSx5BmkUDKfRQAGrtRDbrYka
fjYp6K6JzEYDQmegfBsVHGJezC73Z3M6OGbuo+HpE1BA9B9OidFX84GHvoGIwH2gWop2XfD25gfo
1oXVk9BnK/FsITJ/sTWLZ6IXIEMfYAs0wVG7yzUJ8H1kXFxq3R/UwtppPCrqSHZQPxHmg4o6dC2M
PuYUAC71LAUFD2DPSH/gBS77cd/UQqDRwHaDXAN9MzL5Q012E2hGJRQLqIcgRoOGtOO8fVkpKx6y
ZmKa1hsTHZo7tEFDXIEUuCWNvl3K5X8f+jEKPEUgl8GJNj+Yq1Ju+CiCs4NAVoASLU5MEBSvnP5L
Va0vVmbr349lSsJp/bPhIhFwfscvGdnw/A+aOICI6r0A8tC1ctOi06FFRSWKgq7xOenVGHBJFifT
0GQo44guAxMj8yG9SFcSgsWNjLRDQqc1CLbmANG0K7lmqDA6rmAb3wefYN++ck25D2m5o7QEEz60
ZdVkZQMvgfc0YE+A3kN6D9D69F037sGPDWi8KrgHX0v7vE9Bx4oX8zaN3jyoHkVjc+5jiAWX6M+A
MpfNWLeJAtAQ181/HzHBGjPJldDpTPzWTBENnBdKmAAlazYS7+l53m/5fOVkX0iKvliZ7YZwVLNW
mgKWVhfsMKZhEOijKGe1DgWsFpo+mgP1WUjY9Gvp/tI+FBBW/tA88AjVXyc6UgIFNM/wJB7Ew5nP
Dk1Qr9wo1kxMP79ZyySRghG61JjCLj52JIXMbrtC07UUG7EbJkozpAsSmQV8lEjiUWkzbMJJEapW
rbxstxpUUO7HRbpoh+KmAkAU3pTnswXB064SxBzHdNwXYNNXW/nS9eOwyVIUjyyxV4tnKNs3ssGJ
YA0DN3FJwb6XYyPrhSJXFghsmmLHJ1oPPv7SA3mmVEDhEkJitcrvaS3knxDUCVtj7BFT9CiC/hQa
R4K3EUh0tKkSofkpD7QG+BgqQglwCFydQNqT/hx7CYWNEs96qHCQBECisdAgNFMNvfRZlE1WQfg2
bdMNlJwDdWW/Li2xKuLIR5yVkL7M5l/QuDpLlALRvMpwQoEcp9egMRX64coKrBmaRdsE9fGCSTCU
i8WepvWFVOPKO8hSyFNlAZdsFJOpMAdIs15AzwAqKgDWEcjcCh8iJGkCFbLsovZWA2rECWQjgm7/
vm8thXSgAnEZRtYLzP/sMhxQ1U/yGvduaTzl6EIWUEWIEhe45pUTa9GHbwzNrsRpG/Wp0mEK0VnV
QtyZ62wlTLUTH3XFys5fG9MsiockqLk2hykKJSKoCHC5UaS1b4PYINxzghb+Q7lNA1eqjGZfOCIq
C19DTQ5ZVnSMwmCalZnOyw3Ta6XMzRJdKCueuDQ2Dfc9XJOQ/31jBhT7Eq3MItZLSAI03OYD6kNZ
grIi30GFJgz6/9HebNm0ouJpO9VlZEogE56BgdLXc22TZpv7jri0xW4HNlu0jEVdSzzMoQDtnjJt
da74h8TsxsKf55WbA4H43FAJKXZYmh9kkOJz6kFk0YqbrwzjDyPdjZEiGQSkCZivEYgFUPZADKr6
71+C4W3/cYE/hcMbE0RMCy+fZqqRIrAe8yajlrBagl/KDW6tzE5oUDjkWpFiILxfoMD/otWnBitT
5z9CxVG83/dXfyk63FqbpvVmTHLOAM6JsTaV/M6DtjmuHoJmZd4Wtw5PwIwz0aeI8+wVqD70IVQY
kYYRQdMuBet4D21i/x9CKngCpmoTylkguPk6loR2PQcRcoSfGDqQxKSdZqQEInvX+3O2PJ6/dmaH
Uh0hr6oUzFkpQlylomepTXecnO8YByGy+7aWrra3Y5p5Q9y3rRIpqDY2Wfwh+6KmS10O1aYeylYQ
UVAf75tbG9rMHfgmhC9Mh2EMZDZU6pCzm5r0UvlroPw1Q7PI3RCaczKFIVGSkBMNRtP5+9wf0RHQ
rbjF0gF/O4XTp9y4+Ahq6ZSJmMJJtQF9SDF02dleIu9V8+n1vzJ4yv82ibOj3R8GrZJaGGRIwoqc
h/hXfgnlYB8QaSV5WZvG2SmRZDjJBw2mvLxBv+NG7h7LejDE8vn+kBbdEHSTynRDQzI8GxIH0VZN
61HFzdpgz1Jihp1icpBXk7MS6d9KLF+zNhtVX8jyMHTYyLJoilypEwEgl9hAS6qeatS+P7Tpl82L
RyiOTc9ZMgE37uz8S3LCx0GO6FSmUKNl8Qda3TdymHVGofpWGhauH8bOfZuLVYQbo3MwBR9RoWfj
lLiEjUsKcYsSIzgJ2K6Ic7dv0s0A7SgmT5ibf2iUQ1kcdyZVwQUKRfKv26FPyiYKSyxlCmr9qKRQ
NQMUC0Iq94e4eLDcmJmtodJrahtNdf8kLk2a8xvk8QbP9SuvvctmVBCC446Gwsgsjqi4P1c+eM+N
NoQMQ5hBp3RTr/aDLm4z9H/g3owyKv58nTMVqrWc0uFVofBkOxnABx6NuT5Iqq6MycppuRiu/tqS
yFdbaSllWod7p5FLqcF3H51n1/yFRZuhLNH2ekqgUfYPS3VjcX5ulhA1VigsxomnC6BSl1Qw6rQr
lZXFTX1jZXZqgj8tE+j0MlOMF587y9pDIF5q0SLK0/82nNmRqQldEoCwFoZaiOFwJgmqLYUO930r
a8OZnZRxwU0Nt7DS12Q3RtmGq7kzTYMzn0VX6BVd75ubft23KHUzezM/rwWWgJ4C5rpmku+IIc24
ik6YVuCbDdylRMDIJoDxbOJiscgBu0ERLo5cvnhmwZNX2LzyFKmOVgcQaD81ylPSQI2W/5dgcWN5
Npm0HAqKtg0EC/+QQ4mtiHd5lK8YWZzCGyOzKYSqeyQxyDgacbylVW+VQ7NiYTFMKAKghCJwP7iW
ft260AAL+aidKl/BucFh4qtvnA+t3GwlKZx+z7eFurEzfcdNRlNo+dBVBexU/CeRYMd7i9foc77P
lggREoIqqICyLFQbZzb4fkDZCkFBU+JjD7XdKF0r7nwfxlcTs4iA50efxhSrPgoqAD4xhOeGHkpy
iqettbN9361fTc1cW2B+w6XTUyoXQYcquvI1Csubodtq3uf9jfrdByZLCq4AQETgMWJmqUh8JZIo
cpdGGiF1CdX7vnolfAXp8GgN7bw4gQIqHxPhHTx7tkaCGkM2UUQZuYUMaARF2QYqbSVde31YMzNb
p77OOIWPCHJ1JT8kEGRmSn/x+LWGl8U1+iMVIBNk/drMqycSBQXVS6wRTd65hmh6X6XdHtDGCBpl
2UVUmrVn2CWT2Kxg3AemBA8P089vNlJScGPPDyLS2hF6xeJW6vOHVEQ3+SUk5/t+sdDHKeJlDSgV
CaSr8rfbaVvnKOymMuosaBh9sckFsn2PKJDtZEih69Bqf/GNFndw/b7dP33CX4PFV7uz1ePrMFYH
gErQUPikbpP9eKqt8djZj7yR4N9aPXNa/DMkATT9SbIA0X+uHc4CUtFC87SLvWLIOkGLcb6H7LDF
numv+1+40HD19QtnW0bNQRRe0OkLj4EDNdZnxQoM3DstfMGusJjZ6ONW1YVzpm+hJwsS45V4urRn
b5dmioU3bhCqFeOSHh+QVG5D32To5GreJsvf7g/0+03j6zinfXZjhi+EuvNGmIEyFS8+0InYCjLY
ql0PdgG5y/vW1gY1207o14iyMIS/VUWhT60wKLnE2kM3vNy3s7SHqAx8Idj5FVmekzNRoQpjyik4
VgcoXEIqLIWCVik7avEUr73Ordma+XIFhHhJFdhSxEkG0Vbk196v9NH7Na7dQb+n4ejA1VT0xiHd
x6vkLDT0Rc8FyIfxst8fB7LJ2AfeXVvtV1LaRHlVxc39WVyKsWBMptNrAEVr2eyGQZoyifMS5rzO
DAuok/+UhDUpk6Uh3diY12EZTvA+qybpuyQ6tdCxL0P5GpWvWVk8qEKx83PBGnsIStwf2prZ2SmV
l32nsmYaWiPZtSjYJE9tuUEhhsa24vtW0o46RMBW7lFLvnI72pmv+KJaanGO0bbjYPnC76b+GSku
HV/8YMXSytrNifqZ4tNGqjBAsJ3oeMo2CwgF4pHg/jSujWcWpESvH9ECME0jlzmhOBiCEOC1w7cq
YkSks+9bW0r/bmdvFqsSJgYiJBCRmw2HGqKpTEhWxrMUDW8tzOJTD86wNilgIeqaUJdTCON6zZ6G
HNQopZMUFwYTtZUHqrWVmm3qKBEbHq2DKCz1vskzQVcaCJWvnrnLZlCOUKBCDamy2YEm+3IYdCNc
LwrOpWDzkQdB7zWk4FJ8F8lfIzN/qAvqeWM27eY6MD0yQdbZQQsCo2XNSpFlzdTMGaSwQa8mhSlS
nzMOUrrRJisMJZLd+063HCn+DmnmEnUdSyh9wA7F07bm6Vzem1p0yaXPMDhWk7JtunLyL7s5IA2T
TBXQd7PYpPY1n4+iD6WXLkSvkBKPdT9JphbdircvugRoLXg0D0l48J25hMfnrJUiGMrVg1y85Ska
BNZYaNdszDyCD0AiDOg+iOOg6p54r34JTVlNWJmyxUW6GcnMGQKa1EVaBICIKCaVFJ1pn+iH01P0
9Wr9C1h72nZl1y5GvhuLM7fI+RL64zLcohKvXATZz8oc6lMOkVCqrCzTglaOCAjm33WaRQg17Zjk
yZhDT4LMMd4qs2M1fpAqswYeD9kJ0eviUgtWpW2jcWVmF7fZje0pYt7khzSR21CpMLNpJ5pBD6hZ
fZY7kOGsVOIWryK3g5yW+MaQB127MK6nQXbDa0+U5zbQ9CJMTJ6ku7H2nF4Wn2VW6jFqtmXPflGu
u7bq+Cgzzc6K8dCNq1nCAlH9NPMT9zCyHwLow9ePGqJKG6MmBKqEPMTdJFwMVVhQwtWBUaenTviB
DkuJtyhoolmoRxrRu3DtCiosu9rfj5i5GpRA24IJ+AjleJRfByNwKjPaQLqc6KLR7ApJZybZ5MYH
aOL03xXEaezY5OwEOLDx9X4wXPuUmSd25QjQYYtPGdoWfc0s/kmzwcxS0c0TatIWW+++wcV72O0K
zPwv8X0tqHlYrExFz2z0pH3+1A6h7v0C/g2gM6Cm8H950nH3bWnD/YvKxlcfmDkmraso5H18Qac9
qdUxzNaeU6kAL5rfhm/GOMcH53JXRoAgAH/m1NCQdwUHucfmvTLTd0mnvwbDt9DSxemqGW6ybWdB
h91gr/T8wYNgLd8kBjNjs12ZeRQalqPqfxxvXspp64aq3fRdaXnNhV3c/Jb5nRTjoWHYDR2oLgK0
bTt1/txD6RqVLL2oTS/NjYbXczlAIHZrCbUfsim0cyY5tWe13bXEJQnSA7E18r+q2ttQAae2aNTy
Nq/efX+r+cchOkXqORb3A7eBtrkfRaDlO9XFWYge0f1YkjfmQ3EdHWsDHvsCX+cgXi+GEIe2aB4Y
Q2QVg5tCbVaxW86NLS8xY+geBC5oWuluRD8aqlLthgcRnxkzo8KzFk33YmXLuOSHT0l0BEet0Sc2
6IT6jwRZbWaEbWrUyTlRRuCv4goDhKi1LxhacNAYkGbcphw23S9v2IrhL5lz29KGRngMBanxnPO2
ljjJgN46IzyX0THI7ZKZVXXhoUoPUfru91Dq2XiuXicR7n4rY9mZXmToOtXjbAMKGb1mBs7/NjCE
+LFkNhnfIScDEFaIvl4vNaViy/cOvotr9bawlepCkTrEpdE/N8qjklgj1DRzcD1t0hgwp+cwaNA5
CK3tI1/ZbHCGjxpqaL1Do22QbQi+ptAleQ8dBekHkZ+6zvWZmRa2xusqPgriOaGA3sP690Tjq0D5
vdLVbC+3Tzx94N7HyKDpZyscpPDYDFD2OMSFnVS2AmZH3kKvLLQB8fceeWF4GjmY2dLOwskmgHa4
x5gOcbRhxb7CS4ysC6kuc8aQuUnsSNRUmxOEXMvObjp3pKey0sMd/0oGQ4oOWWRp+UPTbP3ARklL
HJ2avlJmU98S0QddJ+8J9pi3zTjLE1AK11GXLMDYPHZXrwN/t+MjekZWSaE+6hSBmUsv6lbMbCky
6jc4Ks9a0x/Ocuqqgqs12+ZCIyMO0QmoR6fMdwX0eIgfZb6Noo8uNlLpoQsPPWeTQa9KqwWll7wJ
BTseDTHaKYlTBwLobdElGuk95DHwnlxCOuhQSebIX3Jhnw24WelKqGv9PiF49ACFOlhE9OidRq4G
GXTI2QwQfRt62xPPhO4hDaoPgSNob5166AuLow4BlwpRrJzbYBT8qCvpJmW6oLg9MdraAgQi7Oy8
vZbaAyl0Ln4AOXOlOfKPUd0wHqVivL11VgWZ9ciNW3sQnQgNH41JqRVTMLQo1yA7evxWah2/1MVw
Tz0RWYKrxTaQ6a0MisHIYgGxEqw7PZLc1nK3at764pL2B6FxOjEz25dR6HWfl3VsljY1C9Um9EL4
58bzIT1qCKGegaVQsSRRsChhemyrjdOkoS4kNjec88bMfTerf+f5D7ltTTUadT82R9kcA3uorb4+
DOlrxuc6rx486AuC2CrkAdJmViL+5NtTM5xrMM1ob1pvJSh9NpuwdHgIuNdXMTGEZ5bqaacLgJjn
p8Qz/Hrb5Cbqwmn+WuCGDWRflDo+Kk2SgdJtcdZkC6/nkHyp4ocpNKWoNACMuvfDLf/BQ9wmHywi
oaV8x3Mb/F30DCpawhVzE4y294oPqTd9vfPYppTO3YBSLK7WeAOFb6kG9whl3uDN+5UXRgF4hLCH
qJFKHrzIlVXgWrBcZlG5ItQbGz1gG5FYiGhSfCTcZ+M9590lUF4b9J3k2kMJkteN8JjmJleaIJzj
JauNd9WrFx2zECTMhgoRURF0Z0SHZI+udKFec5+02vX0J+9Tk/hmC7mjh6K2OPWp6n/76j7jD6GM
h+ldpuq1bw6Ri9XlIV5Mtgi2frehuSkN+054Y96VSzdidGjDHQuvBWqPIh5h9RpCsNq1jB8lfwsu
smSwVbJFCM+aQ5A8tqVBRHsQNuX47kUPfmopkT6kRgA+gtiNKPpKe73qnSA0gnADnBod3Op3eZri
2AfJHyX+KT7G8DGic75B6AbhR2AHX7C8+qKWTgA9lwQBYwTYvkwexoohLu3F9uSzK+l/o2OgrXay
2OpCZdeVB6Kp3zJ9gQZpLRk+pl21gm2zFbRPrrEbeinDV358THyX/fYlx4NEaEE/6HACbHeQ0D7S
miLKTX6+LXmAr6x0W4lOcEkUnX9WQ6d+AyQ9SDh4mG8M3F7apIElBYcyBu6C7OIwObSBzflbbngh
il2OD2P5JA9uwG1oti/YtuL3XfhDFLaI3mm+g+xELbikO9XUzfv9qG3rBKwY1zD6ySMWSXulcrkc
MR/irW8iSh7dg4K8txGPsnotud+Z6MhgF0nID4W65RkpWa8YHsAtXATy7NZOg4+iVTbsKORuij/p
Q+3vuXgKrAVOZ+/YI+LGzKLiD4AIU7qVODvzXOiaAgGnRCaLLkFrlq0tvKMaUoh6MbpYqBhpjwIn
NwTMi2Brw0uU7XuUMILwEIubkv8xLV/8IBO94m3EqAa0TkJiyIqdyCeVWFy3wY8L9jg0pyE85nKm
E7ItBF1MN0onGwnZDeB5VowIZLmY3hqHt/QRhT+xW8NEzwSze1dlq6oh4YQKLF68DT6y8JMqPIyJ
QStlm4mXlozbRHWanEEaInELMbe76XkqVIAAE6e61a5Jz0mOZH3wgBMA6bi0UaRUbxvk82Vjp15p
cwAjEYHplFhaAya+nlhD8VNRdFUxNNHid2NnBoqZBtdCc/KzfJIysxbM5D1S9fYKQHgQAAjg+Ogw
IDjMp+d59oPTrDbapd5nBBo6cRNzWH2d8lbItlL5Lv9Sc1vBIRjuMuYgh5LcTHZlyBsNZsRcRhxe
/U2THSksucBibcLkweMMX9x0Hs5hwwNBdHvqNj7/2PB7NroZMbv4wRehMeVqoNZj+CiXQzgbTRby
UAVOkEU9jc0rDne8MSGgj3rBkGxqnI6SuoOLmVN1peEh4W5ZZafKQ9vIet1+ljQ3BjTBj9JxiLET
n3vVVaNTnmpI044D5VzwBXIZEiNhy5A9FNpvTX5hoyknjsIZSCAG9ZBOhT2cErE2QrThd11dot5M
WlUPCXCb7DHhAmN6+E20c5Mh+IfPOXcMhk4fsCBcegxLFAWxb4oKJZp0z7itQEcsoKEm50A0pPA9
wC4EaKZu39AdmUdYzYE7sVIEzTV0ImpZH7mNVlsQQtGQK3Cqw5G3mtsnVaVXValLwjXjPz3JMxvq
eFrpCuAmIgpuA+oBx5bqB4aESY+6nQYfrpEkkzpCOSLVVf8tbvFAXr+PSrThtAPEdlEH3nfVGcxb
hhfA97jnkrsmyJvz6pdCK3MUUCWOHgnav7TmwgvIVVX8Qukz0no7H4+VGht18BiKkZGpoc6z55T7
TIcHQTtH8k/KjbqMecmi14KcvLaEPvFRYPsKujYechyUs7D9iSmOkI7yXxDiR1wr5OriYZWAPrHF
5meMjSvkTiOOWz4hVh26SiBdifAcyI6cU5uPH2rVjMN9Jlz59DFpHLVtdJ89RWjBawCMoi4dGp2V
sR5yuBDiRGDKtW7eqvqhzX+0eAZSZUzDU5Laad45VQPmImKPiiuxawbRubANjYYzSu2UBM5Ya7qS
4QKzE/O3FJXtuPKtTOWMDtp0zLtkXqZz8mvAnjUJbJn7ZoQ3p5nJyGNeXrs+M6W4Nen42o+2CFBQ
73mA4R09Pzeg0IkxI/Es4M2JS7trTXy9xC9Ix8LxmTU0Z64+eNHzUAC/R/FMllZIVUbOknvZUtkz
L0jQYkysAimL5yVAvBCDq6AMU//sx59Fdem8S1HYhfCaiS8lQqGQvvLJO1oY3Y6vTSU7lio3nUFR
iwsUgZgYCLD84cq8Y85fY1zp5cAFKzk0BsEpkRS4xyB8iy/AQQ/C5/9xdB7LjSNLFP0iRMCbLTw9
KS9tEGwZeO/x9XM4qxcTb6abEquy8pq82Y8XNXsnN9SJyiJQY6dfF0dND2n5k2eFvVkqPedBzgK8
GgZroVpPzz2R1c4rE4Ja+xOZ5mk0P3Nhv3BjVnFzF+XekRieZU+RrtG4XNPtaoy0t9NFahMn7eAy
rKslvdDEJqW3/KUArNQhoX5CZ7Det+ia8+AUH2n6Yi5eZAFB/YiMjP6um7Bk4q+poIIYnzWAK7L2
Zh9slksnshmOGHtz5Y/SsXiv/MUIGYd6xIHJ5b2hdIjqVU0YdFq+1Ixp9KtSX9vYm+SQuXG7FGyu
ZNyFCc2k6nbyvlrsefGnkB4pqo5FuavTL9bd1NON0GWHwR1XGX7Qu+z4S1v9FG9J48vzXp3CXLBL
6RBZttnuNMF7FPcr8qvOx1ydbPUf+Mi06+aUsOujuior6/OOc5zbhEDKw6mCnsi5truW9FQs0odi
OLPar97OKaOKgMM1nGdnlnkpbfE+JH4q+DORh3nC/KJTQrvN5aemv7B9oEj8xXpXBddIfKbYZPMk
ZzRHQJpQER1rDVPpN43+elH2Sx7nlIuSqYhl1SGlRxmy/YjTXX0tSeLark132KqrIAaAnVp1a/Oi
ir7J8p/NqekPXnS/F23rIdLaLXeMp3UMtQSBxy2ycEhfRMXTSbLgKrojFzI7acpuWUNwtVXtF4Oj
7Arfs+CvmV2Wf3X6kpYB+Q2aBEd/AweW82HICENwaQOrf9mnOr6o8Wv7lVu2EmrfhrVn75pZnnkG
i8i36HHjZcRwWzkiTkfTFNwsurcmGIkvLRH41MQH8pHzerVZl2DHNKx62rhjdZVmb+TMtuXVYv18
rLqxfDPBWhITcfQEqTAFNevAtUM9/ZjgmVgJE204WaTdtXXBH7wT1K8moiNWA96vQUVFawSnW/1S
qh2RcQtx/JuGxJVVBm4KDsV7pm12Ul80wL2VX0yq3tR6Ejch40ISL6CW91r/nqbT1Bp2at2EroSs
W21z8Ax2FgpLwGSUPQFw4q0Lm/jJLMGHQJ85dnXTnbJbLVwlBsGWaPE6Nsy0w1UQnMqwXAlPhnWS
YgRT/berxEOUvAzrMZG7ULeOClJ40obLHNn6RvJOlDOiBIQbTHviChqVElgmi5JNy05yrB+EcOYS
lqsNbzFltpTDbjw0eljXBj1Q7UfDd1y/idFrXTV+lh/KcbeMT6Mlu6v6tVq3hv1zRR306i5LVadJ
nrXxjj3I7XRauru41H6pJnQXt55GLaUXqFubWUG7LQ5rFJq5b8mHfq6cOSIK/VWJXH18XRIO4JeR
/kiV4uhTMERQFTH4R99ZKr2u5RjdIUsXd2oqohGPa3NsU9neaCarT8R7T8je2xJMrdqtzir2tXaU
6K+GtqE0Tl3Y6QLf2nFmO3VzW8vajtiwOwhtOKhwXCbVpvNreJVR3uwyO5sUpVb5HOQB3gmjTvMM
xo7HS6WTQZ3ue25QnKKct2FES5pyW4DBUt09GxYfOnobM8kTZiDmRomevboaKS6XqXiPxfsoCY7E
XgMllomkSJxMSz3F9MT5G+uQLUhJGG8naf3qt2Nr6a64nqdeDVrtMor7LVl2jdgEQvWXx0YwK4Od
q4Pf6gc13s3jfcbR2FkeE3hu1OmMUtwt07hVjYKz96tb9lo27xbpmutANVoNVl/e5D51gPnyoz1N
K3ukGUpND2OZ10YHpT2W0uhJ+j9Tua3Rjyyc1fR7iQrYsAE04arRl5nfDDHMpH1fAbR7wxbXgFa+
L08lgbJb9MK4Dgevco2NUMbig9T9gIRbST6IvFYz6zlWLsJiQVP6s7iLhkfjt2srr1V5VaWDEg1u
MtYkCXqr/GzMHx04IycWXDZfouIuF5e0/hYiWtE56JZPckTckbBlHsdsYhL3O0NHrATJ7bLrWuwF
KDMzd01ttKU1iJcvPAk2IFWvQ2E7NGQI6q27Dq9r60+Phz6d7JanwaTZMZT3qjOdnq5Mi1RXaz8E
2EU5ddJhfVmFWwWuWLRjZ9zYKEpwefuIcK2AX2X3poui15oxsd8r+/JWR8DjWvA5JutNNs5d8hsp
XBJpL3Mjp36C8jFtNDUu3ET1wootFu6yHmXhWC2RPTepu6LYdCVPPshIiSO3bk/a8jKxpXhdv7cs
5qacUilMSMaTwPRzs8u6r3V6t/Rjl+10gIv812c3unmjZ4my5m1j2K/B3H5UEdeP0FF6JIFxo5zo
qRzBJYK0GyL4UpmMr5yCptESCW6qstdC0fhmdSfLj5AUSDOqU7RfoF8jfmND9J79cFmBXX6ZQIv/
75gS09wFzVj1TiuW0ES0Vrs20LNDnO+sMfkepD/drM/W9NZxKM0cxJZ7ujG7phiKAhTzDMd4TuBw
VfimBYq5bzklsx0zTbTVFyX57MenxExY16U7CYyREplelQquJr1qreROj8JvnYvyvkoAg/klT3Q3
gh/O9NyWh3/Ng6rTzmUzB7L6Ho3vODi9gr9I57z0hTeXT4Qq2+v03Jd6IAKm8+EjmmBHoFqXyI9S
1VZN1Zmk3SQrREVBUUMnalV0yTYoOw32L+HPfrQIteLW8ng0oopAiecphvbt+d5NX4H0MOnVzJ5e
AEIxyU6NxbNtHXLkN72r7SoNFusgzWvYKhLDgk/W9qGJF9rconnrYOxFqHSt4BUS3hOGFtX2x4L+
NgbZFvXE1yuGefjeMtFWzLDPtnCWc5+5Q14PrxHvkkwYvry6KYCELTe7bKLv3d7TSH5WTGjasfFY
FOr16raTQCR6zSpDtCFl3Qs8A6NW/4pd8ZS2RyFj/+X8YkS1NzeWm4M16j4U43NmnYVJY0BKcMQo
8urSlfWjZT4P4Kbse5huVZ2dUh7+Bnop42M0MIP98t2zTsG6mull7JsfBcZEyWAMt6Dlfaimc6Ir
Xs3NyGCP+gapQvXSBZxC+vRAqa62Y/ronvl+xD+cR8eVglw2qSf0H6PVv1gC9GQ7w/8bdgtV3rIc
qqx3PSPaan3UHu9udkiqq9q99k3sicJip9CjbDhzhNoteXZgIGqt8KelcU2cM+MoBxpfR05QXjnv
hIJ1PQpcHfsg9HwntyZ2/ss6rbYkXNToJ9XxRaEjiNfZhKIvFsdoG6fqvBlq9GEsVxYokX7drY+n
R9DpWOBNxcyOatMrZ8GTuU0jtFwcT37C+0IVMuvvHkdZyWGYrR+r/Ojrl9mqHHlBRzojR+SITWPt
tf1sL8u3KAXNYyNOhhj2lBDgI8b3lk5u2G5GTSAlhI5cfdZKhQXJPDXLc83Xa+0TXABGj8Uazbi/
JYghypo7SbUE+nCWKWkFt6FNJreGhF2j580I9Fny2UclTu+LECr0wnH33FpmUDRXIT/ILDIxhizQ
BP7vP71+MRo/Vrh5zXtKrLCAFq3VR2HhLymfNK5TB74rqSJK6ox1DqXldDHUWGIX29No/hrtW5wC
mWMhbJMMIPaVSeclVzhPm73B/Wx5WIrKaRrvJoW4gk1Qi33RLWhGp5l3SGva/ZQ+SU3N63IlHJqS
8NQVlZMg0qRQr5V8bKAKJNrjp375WspdurpTons6O8DnBMijO6l1sQSEjeyeliVyBT1lZN3S7E0v
dmkmu4r+Ykk3gTLcLN5Q8uH5cYr8moMR5fm50UCRf6JFQgpXVxiuIkNyi7qLoquO2DWkC7z76yQ8
WRUzV83rplnubLpMhDkLCCsTzzhUaHRehoewpAWLIAcNH3D8XOZDlXzO/ETWXybt+iJ3uujUaOds
8OibnIQGk7jH/kM3bxNNHaZ9wMRnLe/JfuC4qZBvt6IbHUvsgogKJW3n6tGVyY/MFkceI5epeQJd
Ficn2lCtXhL1zk2KO14XRqljKUQZ0qmnvdRyfTmS7SlFIJM2Lx+vJcx6Q9paMUl0LyQwFm4hGXbH
j1/3hSszR1oupzzh59RoYPDHwe9xa6XUK6oqUEx/k1nmqLzMGcG5Y8CeFKZCn5l0QJ36kA1YEZno
MN3FvcUbRlPbvqbiqW7eQWCT8GXQJgnd0zLxWj+0wtbLW19WPob2Zkn3wnod0TmS6bWsS5sHsmwX
T5WUQNrei7XyK8iTfvw0i72c8GuBz9fm9yZ7keCo0uiUcxTwlapT7tbZl2jAKQLdtjJ3tm2X52ez
+N1SyVVaurf2K7VOGuR2n1zF5WnYTivUeJOWu54yaubPCECmfNGYtEbhMYxdU/wzsdkZCK0xDvQL
4TmRfI4F11IvY3q0JD82K6d6tKCCX0tkiU4h4DarrhlPdrxBsr43KoGiOMAkDQAQO7O17YYeWl29
1Dx1tfBnyqwxSfZ69i62Xzp0dprsABou0Mw0d5Uu7+a48gTd8hfpT8ZPLn7WwlM+/IrR79YWdol+
WSfAEDCuydtUEOCY58YX/HNd72Kd5xDmJZ8idgmEVnWf6Vs0rkRj5A5JqXa1Wo4s/c35CFVClZze
BUXn7nybqhuNmV0klyyD7H2fpdRp5b0CAN6YOeIfoo35zxzCdwP4v4iVV3QH3NK1wF39lad9gRxD
5hRHzVNxpQEIYwUOAvgt939sZbJl7cxOtIcM3FnXEa5iEe+KPnmi0rvbKPmEpzmzJp2Mu8Y9ikk3
yqPa0Sxfr2+lcGVBr6bgqmAviFIFgiLZrBG/Ders1PPbOMwnevZp2iXLIUU1lCE1+aQPVQ0+VF0/
hFX2B1rDsfJzTEPWU2+xWdhbwDQ0SjO/uVSLYFhgWZSnWd31/zcg7vjg5Zsffdh1+b9u/ddqAULP
1N6mdvYyc9cpZ112pPqIdJiwApfIqB1uLIZyFVvXWldK3mX+Wy0NGqH1mYXk7rBP6aILfsaS3irm
BsZBKt+r6Cmun0SmGUusK6caPMZsjFNsPHmtAdN4WbdDml2H6VXHZ6UtvjXuk/qsAF8swl6tPfO4
2/rUDBSn49AqIUmEgumRluVtXQK9+SvFn7OK3JKESi8fdfjZNP43QfJBXRnzQZPehZlu5gV6Re+C
GBSxZTul3I56JAdrcpDGz6Z4bvVjq70SLWhL40/Whl3xl6CzMB6sGKNNRNVunhcP59ElLTpPpUur
NcNtlIMy7/v5nQWTtqR+DeVejyBAN0jK8dOaDvHAJ0OhFei3h8hutC8rOpeWvCNINH8USVGefk3Y
2yLf3KrwW8NDhotNTxuNMJk6+DzAL7iiMT02f6rpRTWhgAdP4cZrnpC+6J1kC8peArUsFCBAbU73
zv4I/UEM0FpsjY/EDOenQJ0WZJea8T5D3NnoJYwYYBsTFkwX31lTUCT7xkw8k89mPrhBE0HxB7Rf
Pgpy98/on0wx9gVoGkpgoYZNP6ANzHYEiVKJQUEpgAWprL9qu/Tzd8Xc9iZ5uXESlcTODM+UaLZv
Wn+MyLenlGRxuMKVCN3slMrPwPoLDTfAyjrMbG9BrgiIK/NKHCQlCjW50/EkvM/D34yHhxGKvHET
/meS3pqIjG6rDYotWJgCbpv7jMAm+v3oiNWruR0fvwL9lk/02ZfY/Jya8zKeejkY2cI5cVtoPGKc
BERHb1yupttNc4MUfHlct4juQzpYMkuuNTdanheWuUuLK7FUSVB8uihJY5tmemzWbK8yKWM+S3zu
er630WxbY1Ann0Z1GJfrkmv+IAxwrhDV1j0VPiwLs5u10GVxnpzcOncWmevNoVXOgnTcoA6L9NTz
+TL5Z8yDCOZN8laQNaSfYRLDfDfoVuDMUuseo3Vbpv9YK9WA7CHEUdeijTKsnOv4rk1O334M/YHt
wg19Y5rnbsuZVPTRMdj+Cvh8y/XzA+diICmyyo5RyzLlZ2NkxQhFVv91oWT649Bz1P1K8idQLe4I
qdlvqBvlWDl6HjbSKwG69pLFh5jUNlXzBeke0ZwN/fMMiWZuJ6MtfXXykNBrcXIkZXZXyAECw9T6
ICmXpD9VqEErZAyzJ7ucb8hS/grtPsHLwMkk6AqEotAMbl3GsRy8eH4tkTJbGDAkH+wyLSKWwHNl
SOxg6u1BWR3CFuk0sn26vStQTObmZ5BtaxQdeQrq9GJFHu6PKP3uxrcmPwvZbuAxV5WPbPG2NHV0
6tn0R4i53Uj/Ujq3jpprxAJU6T9qlABhObAg4AEABMlZVKyKLA0ZhJMOYxvT3tGr8GvwO+XN0I7z
ykFQ7Dh7NFh97kyL7pSNtCMd6iDp3pKSr1/QdevcX7l9bN20zQSxrfG7LvFiTgyxGR06jZl54xb5
MfMABhfGMlp4L40W2Hqto9dWhnBCfVeajvbfDGXxV8diPRb8ek3ZUSfkt72VnlI4DKPsDurW76rl
0Jlva/7VtpbbWsEaW+yRJ3QfVXmLQml4UF6jV6kHDdCTKsUr8+mt+FKgTnfVvsOVztfqRuazIXyn
1nOTQiRbSL/Lc1aqHAOqE+BfFsKYnScF2mZJQze+5UTOptvH2BxGAL+efCRNGJXHtf5X8KzUUe9q
06N5o3h3mTfF3yb9cRoJh7bZGIBEs94+WTiEd/Qk1wWXRsV6JbgV2OBhK+90L6f7jMsw5WVOrH8G
TE1R1lD0743UkIK8eHr/VpVs4NXCVRa9HK/G1qOOC94sP6vVJXtwa+M+KzZ/6/k1C45QHOX0MYKJ
302LHO1RIoiCNFp7FrpLXfu58C4rGhiiCOv0VTf/0KiRkDC0wfi0zReqjFhGr/3ynvC8ZhrWXHoh
E7NFSptbp9//0/8aZDiT8/W55LLPFULi7yZiSdGwbN37TKuvUzycm5YpbW07jF1/FjZcgerE9U57
fHz5Rttfd5fGyIAo60KzmsUDBGWlAecG2clN9PNozvbFIn9lKwiJHNxQU7ePNZJgGJY3dfyR45i8
ugcdbYKq2OcL9p67W6deY1Eis3D1dPEYC9p95ESIs+jFdbVPzNKXqjyku93gMgyr9lJEnca8m9MN
o+ulid4mQHYW1y4GxbK6SNtDeg4ELffiONBHv7MOE20nYHasKSq7vtX9KhNQajeJjgpRSz3N+bMG
TxaMbAZRTmoZZDKofuLMyLSAtFBv0JALV2EYf7XpVY3CbnGXzhNyTyr2NV474TWertsinyf8nxxX
EGnbaqGc3OvUL2MZinI/6Kz6UIRgnq4m4GRIjoOBuC+xE4V/XDTZXkZUWPPa1WdZbe017WziAJ1N
fF2g23pJdLv+oIDOssYk4QviKl9Ee5F6T2GEV2Eqpco+OkCfPuWeweo+If9bRQUk8FxRYSbxn0Tz
bwpHvT5uwyty+kMQVbnPi8kNe5updJUerNJvk3yjcRHvANGkOckcNtN8xAWT8Iy3TgVcTLvnNTtq
Mayd+DRRoTPOFPZSWfjWJr8Bcsntc5N91FzzdcT0A35tbFHDhkhLqOutz1dOEvoXucu2TpB4ZPQs
E7tWvHCU0qGhVzmXmrAb8eoQWOMQMs0yzMDK/+XS6ipm4Y2Q+TkQkWeNsX+zJdxUpjmlm5S9VS+6
XWYY9zxBUKgI1wniCM+QruelNw0buASsGI6TRnc0rwgLbYNk0cjfpWzomMqiJWTC6HFKlvTbWDiD
htXn30VN3CYJj5tbVxSUOcpghTSl/ysIE/7c+lnbj5aVHXXuxMtUmmM4NXmy70jPRJHANEfgWPc0
JgVyoFlCsY98qMmwqqOR9+KTsYxLMOc1Npopl2Dn5zAZX9nv9CxwqjrWJYybX1I7agwac9o4kWoF
yvo1LC90xLYF41uqebBqX0rxXMRYMyWV9L7Dmr2p5uCvZubGswBp/K+dXmW59pu+83Srqqis+Z7k
wtnXoYE3WW93lSVuN5i6zLFweRzj1TT3Ro4ZLVunkmJtlq5osi8tLwhRKToh91UpEzhYo0gCyfQj
DVniAU+nINKG4TTGCN7WVODfKBa2rHVUFSO3lv0yJpOjGS19BdXTeosy2e5g98Wh9BJ09E7Nj90q
4MNsxkBC1hBw35atlNEATqeaM8p04lXLSP2xTrEieOuMrmPiipQkwU7biF9AdjOzJw7rKX9oC9nk
k2O7JwPJi9Sic9iX9FV2yMaDAv7uCCMLjahpGeUwv5P6fawkRywvcyb4EmGEenorC3o/rB29kjyn
NFLq8FEkb1g/7HrqAU1vxjzZSXyd1tsM+LfKvyVKuWSNrWrXBLlo6ya3qo8WsFpTz6t6rcePAhJZ
jA+duiuw2G5EE05ihQust2VeIKGJ3ZpWba7vSfcmrI9w7J0FytsOfX3XM1JfRF7vMj3KVun22QfJ
UaakYFrC/4pNMsHswNdlT8t6yDVcvHAZlTX4Scd9MJW3goWpOWTgpHwp6r7L/i3baURszs0/Zjjs
Hjbc4NzN+evYcPiHW72KgYC1cdmeos3vdctWOXmG9DSCnjv9u7X+huJno4quBQxodZa1JiijBxes
7DrTcgc2jRjV4pgxITV0kXJ1yjPi4mtm30zajO6lsP6MkbDEMcKGXNu5TrBudcMX5FaLJ2H1fIhA
hjTxVOf7YhboMSuaGM2lcPlyN39HdRwYeeUZSekYsYYmMDv4FAz1KC0WNqPWFkm3NHjy8uJWYGiJ
axCsClv+6EX57Uti7+T67GiKzHIbVhqlHw+wQH7fLi7eLfMPzdFSnoVU8Hr00B4wNGyHLt/OKpb0
FhCd8DUKTxIyzrxcp14MZpwAzGTagvgl8vWriXBcBhX/O4TJY5q9V3wZO4aWyrsUH2YHUTo1+rkd
UfoNBR9EGUTMMpda72/Zzyinbja0OOtVrqn5VLe4lnQY21b1Hht5ZCmHReH7lNF3+1OiL2GPJmOl
MF04YNslc7XNY/unP+Xvs4HVvW/cVv6XYAFZoy3o6MILZYH4z5yVE1dY5m4pQE4ZGRWFEFrbtFcg
naSWBUN8a91EyYSzTq36FUUcCWUdALflNRrG1yRFf6YvLmmu2XG+N7bVGUCg6viF2wopZsD/FnmZ
wGO7xs+SOe4V7LZtaoRtXzxtQ8ZqnJcE3zhQqhrWcFvX3ybVgaK59arN6c7QaaF7RFIKhhXWbcHo
QsrJFaB6lo9eMg7kJJ3yYTgz/sEsOOMB7cd64K2AVZrHbd+ciuqYsyRNwgoBfr6Ull1TduA3aFvN
ajeqzJHxXVmYNGP+DDo/n1vA0Drfut2B2CNldGbEhar5WpHU0xlrLnBYX0+19DkYdz0d3GFlTVPC
TDObT6Fr01eTy5AMHh48feXJC3DbVcxBFHBE6fTeHnp8JeR7lXcefBTt/LelkxbVzM4Eb0teWgVf
w/RMrHgv8GHhWzEEFzNdE2cvDa3iwfSWeJ8Vz9C1PSxFWr32lJUZz9difTase33svyypOhH3y2K1
aNSie9ARFCt2ml38EDYLUt4rcZO9WataZh34zScZQyb140uOxZoeg7QPe9GzT1FtocJIqyga7Now
CQxwYT2LeMPzLdjmGdtt4mfmtywiEGxsaJaszhcSQwyqXF5JtlWCPIk8jfpYj+1FyllPP9TwjwYT
GeNLMmf3mvewnTS3g+82TQxR2UYJ7RvWfwndq/YYaixSrC2qBbHa6QGZX4onTQiZxkmV9QuPT9Qd
yHuKN+tQ5IWzzoOnqhWsjelYX6XqGuJlXno3lf/x0mG+rP0l+li0lhYAKPeaieCJVPJRV4L1OJZ/
g2S8LDI2+73SnOfH5MPy25TQ1v9zk22ojnTLFQTVa90DArWfSXJMpJscUY5yP/MMTzZZ6r8iUvnj
CSuxL4Pj1/KXkYTNtCs6Zi2c2/OkookiDBlVyYCCgtPngWajYxMbvrJQex4Uf3Ska+BnGhEWFWVf
ZK7Mr8S8ROj3JUZdNWXbt9i9ZtSkpAE+CO+cwA4TZnUZDDwepq3Oh/bWarX90NBmTgQJ0ZmjrvBW
ONNwp7Wb6a5/2k8PoFK13w0SszhBoir1hD77ncbYEiEV9OZQ4M/lXljoYkxDsCa3u4gWvrwnNb1G
spPoNue5GPbZeDLkp8T4EoWfWjzAJG/FDj0OXJPL2JjCJXWQ6FTwnHY1hn0zHSpF8iuUklwPx8Sj
i5GqvfbbCQwoHalGzBJRO6bEs5Zzn/zqKnuz3wulAyYcMIS31qsK5CbYnKriCsZOwXCzJm9rvJdH
Lx5NjOWKuxRYRb7qIQ+XNadqIox2P1rykXWv6rR4Wa0EuNsy4Sk2oAf1iP0op7zB3/oYKNFZxKSV
H5G1hJtwGBpWLD8t45lB9rwLMoXZh1sWmbtkpn6Ykas280Ff2Vy3Hg30el5WW5s/e2pFhZrEeC7D
HLb42/91TKFEsEMIw0yhuAZ2jQVLc6j1cLaOFTld6yg8dUfcrXERDujDZZilut1eE+stjj/bMsh7
WqU1MBO/wfOpNkHD82QJPl9ytDGPg2CUWPvc/CxRurUbjEvBIlsjbISboXyxrh7jHtoJ9hnNuCkD
QyfnSfpUp5av+0KSDPJmsBTP01gg4tFiHuu+dGPzRedgS9mXkp5V9RBH+169khqqirgMjrIZclfV
6HM1nPWQ8AkV44Mpa/7y/KARFgK/00grTpt/hoWRQfKT7RRLA+X+wXZGVrAlCBd54iTas6jiGN+t
Gj6snYYVtT5E2Uuq+jIpjYyBTfHmRTBWw2m2XKs/Ar04VLDCqTTshLnxMRI3+C6sX0mEbJsrAESQ
zsO3IuJDV45KwbYNuxTeFcTyUT+Y4i2RE6zn9vRGuCsg4SCDCrPrUkSBLnomLXUOEFMo2lm516JQ
Z+8EfbrJ/hFffkzVQgniq8PgoJxKpOSJf1MefRGkE+8fxtQeDe9i0LZLWDxgThNbIYO5MSx/juDj
qLguwwndWanuneDn7a/RvMTqh84jw2goSElnWE47SPiocCk/BOaiQFP4TphMirwJu+Xkx6unTdCY
5WGFBQP1d/eV/1Tnb83yf5N8xnxF14jngw53u66siMm1o2ngT4AP0ih0zRIMC3/lWqKrS6dOCivA
XtbNP9EIhTUdSryC0dcUQ3sdLXUvVyHrkTFjLLj8JXt8qeloSazLHr2wEIAZH35uRf/XRCv22s+6
ucarAAdxhUbtxps13qaZmYhbNAHUjkZxleLf6o6W1EvAibPc8ruHiPPa+ZRxm4uzKPlCG6yAYJ75
3EZnoh0Z8P0pOxlD6jg/Y0vE6ovNn/mHf8O6y/qnQaltPTql6hv/CjQPEol1SdqfbCUGewRME3tn
GX6nfaWZgZr1w5iNwQPQbUzI4WwlHt/p5x8BFTRWDHsVDkaFwy7oDaAdl13/jLGnwt45cX6iy24w
kEXmuWo1rCOZzYyI8pfojvQMmc/ABdmSmZsXvwoZRx30wWkQX8fqKA1nYfiRxQRYHJE3GGM9ZLIl
MM23dAqTmak0NE6xDRG1GXswcLwkzAjseAqF8U1TAqg4JgK7LYz3ZftdWzQLqnFoLYi6MgCwVsVz
JJcnY5UPJcbEVOBPxCDcsyO6FRgbbbxU1L1eZqaykKSLuOARVrRgK+l9GVaDuEbgPfeF/Fwan7n5
mgKzmBZx+lWFl2n/I+3MluPWlWb9RIzgPNz2pG7NsizJ9g3Dkm3OU3Pm05+Pjr23KJiHjN+OdbEu
FOHsAgogUKjMPJjFg5TA3PO4wXBCPiiV9djYY85T5rRgMCoJbDuDw5alXGJ5tfPS5yq/TiUeADqu
Ajy+8EWwAue2dSgSP3BcdG6N4mj/8Mh+zfpOCMPuzK1h+NFz2Ojva4MemY18pqHIgU+wqe8VSpFU
3N2j+prTzfuru8uz7yWFS3obwh9NcGEoP8fHEzuMULZg7x6+S5/5bJts6D8K7ft4Ayu6N2iD/CQj
3NX9rlf2lf+UvPhP3bPGwflWodK1M8Nq1zXb2Dlh3EtclnzQxglp6DoOXhiGsudhCGOyI5QeXXth
I4qdi0jfJT/PeEZyStTVkyNfVPnePV9bNa+DnPCR3noKOJTfjJ8S7YE/hv4hezLuUzolMlqWXyAA
BvpjT2sA1876F4stra8461veY2JeViltpsqT499HzXPF19lTTtiXFeFlWx9s75NpXMPPVN1N/N1j
idHsmlLt8t8y9HL4TEkwki9d90D5uDjv8/xnScNOdtlQffL43G8xx+Ctu2lvsvM+4FKiQ4uFrINJ
MddiuvrSXcU20NUt3OEIXmxJ+/eFR5fk2C72k32zK7440YP/OXiCHEs1xcDB/S2vNvWn5gvNoPI2
vlejKwWOa+vuc5/2Kb7r52sOiFWzV0b2kMOj9AY2m/WIM+9V/lZAPenuvIQrbnmVMXuxd9K5W7Mh
F2xoHIg/9fRUvTiX8rfqmi1+JELZG/uuu+M26Xyvpa356L1WXfc5om3r7PCGKP0o8zcXFlYaPulo
2nIhzfEAUr/lj3q9hyx65kWB3kCkBW+Dp+zZpBh0CGzuWxseVqAxZ79UnlSortE8daSNu+xu6T04
0zn5S712mSzc1i45YvPap/OZV3bVNbu6trMC/vUvnDfNM3fFgx7CK6XdmX7Gba1jD0CNW77iApCa
91yxy/AU0/gBo/db922Q0NHbpPtWg+SxrfodZQK/g0x5SR0ihFd1PRLw7nv6jE1IW5vywVI20WPn
Hr1byIYpdJojOtY9B/R7jQ6xEsLongohiobuMZYupIDRhKaxjb7kvwb51PjHgY4uqPPBtqWAkMvH
UroKpfqoFdSbs1u3fa5q9c7XboriNZbu7bD+KpdPxZn2/OSqqeyLVOGNxD7JVqGwT9oQM6FCkc9V
u8/hsDZ01JsXK+IHo9LLkjDAKBww0cTQKZRrkcypSb0JPkHs/hbu7mlz3L2hvXCh3mWnYPfSXlmn
/uBTwVkRAPgtvbWELsjDJH6ZOc0ovWBfvNbs/kf/kefx4YEuq6/D3t6HDxDjrGvrzr3lZg+lb+UH
zIoxOYqpm4au4b8n4FPXcXTdgxOgVpm+iSXprjQQ68/w2GFNSVe+Y46v6E22Inkyj4skoj26yWi2
IPoR22GCd13CSSZngSQmN7DIh5141qj0eya8sLCOVbpOjsvTPSu14rzjCjof3hCWeueB256T67E5
32cFe99V818DFFQ8MPrrqohT1zZNjFtVyy+dc/Gz58GAXpWLenAeRy/D/3tsOHhpoyeKbaMM+jGT
pThyjE4P6eptr4Yeu658n3CVrKmn/w2QbaumjmqNbglAVY49pdIBpOfc8hPugzn9oiHUkBWBtbks
MRDGMxGINmmbFbNTd+mVKRhEqYGrF990EqxzbjaWfggomHXnlc1gTkjJQKkJwydNVwxLmLSu1s6+
UnKT9qhImq5z8EII8U67EtYsjIbrqq7KAKlCWF5jOC3mvmNH7ymiAyMtaAVfW9lrIIIoVJpbmqOp
gPQuBOnQNmw6wEgFPO2T3V/kwyQeYTHLOvrr9gBUo31SfCr7XAiyHzIfxGWccfjFzZL0xjWE2ygm
rwJOgD5nKEngpLVJa3tU3pdK8t0PeKBPJIrpVCb+DVDYLVSlSryu4b41+NqWhlZ6rLUnZ8g/N3Jz
oeIysgw3O2W6OWrE0jlGIn5cwFbEWZM3UkSI+pc++45GHZxLeyWmcd7/GETDxINdZr83VSHH1cQr
uhq9H6r0vGdEv1Tp/+zRhjqdKWumKav8JwvZ3aNYZFoZUahyc1mojFMOP/3b8lApc5/tKYqQ3mFF
ubVqQQngdSk9Bcws+tRnmMxwIvFdO6dqgIAtzUyobt5JriOtJOPsZE3CFJLRzRVTyRK+3I7JJaNP
dm4YvEixuuKfuQYjpKBuU0NS3TFO7ZJamW6+YjO/khKKOpcT5iiDh4GmjBDix8RzEx/6W80pYKij
Hz6dWJKhbzUUBRx8AktKItB1DJjeDXz7TH7rMo0H5PDX8pSOkfyRmO8/whb8D7IY4o/kjAOaIFB6
ZauXpUYrvh3tl3HmR9QaraJN7MBMIT8huhot32Z2X9finpbSZw0jS7NPyzCz3y7zHUZI0FLpQ5ei
H4JT1RNP4SlNDY13Ycf2turoBTmvRDW7rCdwY9STY2yr+rZqj1MYGPQGjbwG04f8vxzT2tAJySjF
he9JSGLwEHXb0TaoJ18qykHLIHOKWKOjx+i3xtOAKSSjTY+F1JUc0Uq6oM/dD224senFq6NvXnpK
6Y7J8/Zv1rKNH7OCGyAt8MKBJvULivZqVm5zxGjC8uBXb5kdHJbjmh08vFdIJUXG/lmYoajq1SGL
AEGAYtPGJ2lU33CD/b+hCFOU2Dqk/IHRU3RkPvrMREmsgjCQxl7xV6P2HpDwJck0NoQu57QURe61
7AQXNMddebm/spBm82EybuNCm2R22ARSpY8wboK80V1mPGZBfodczM6h+uU50Murn8uDOHvQmEAK
KSi5o115ASR9a4fgbN76GXRr+lU8GhkUGh1XUn5263vHE7c+u1JjywpIjYby9xmK6plGrOI2RSRp
ObCVsbSFRK9sNwjzFCAnahzaj3P7KvBVb+sGVnqwe96T6oA6WKGkn63GD/8tYWz140zGvEd12Rhm
7956dMVpPCzYCMotxzg7mBjBscRs3dIUYX9X4nOe1T2TF7tUPQ+19MMa0s0AvWAZZ1yvf3yvJjjj
jjzJS09vPbyzwekDVFBpQ+YtYetZ0grM+M/8CaOPHutoY1rK+DMmMGiuxlJfM2hq1x/iJP/aa2su
7vMj9g4h7BlqE8eDNG5/tZI9pY39ucjg/cndKaE1eHnQ1qIR9owylNJUrRg0eBoPVZJWmyJKVmRO
Z1cvpg7/HTFhw/CcTKYtg1JbEz0Z8i9Nw3qBOnvmPXs0oC3HszZ0wk4RWX5XZ2eGrtDQ02rZbTvk
a1KIsYnUBytgyjyazckSfgOnbAEt9BIJi1LQWiv7qXOkNRSTtyvpWLbtU2rwbmWWV51bv5bqa3LW
LqWGGp0+dvqFPMS1t3EkXSzHP3vK4bv5n19kCoc2XOAKua0Yay+n64uKY021N6r2qnxd8KoYSm/L
eHOLzpQVw7Es2VR1Tcif2kQvHItjFrcFycxPzb1mwubHXHIZZ26kpzhCDmU09nllV3Ai5hmkueqo
D8MMq5FxWcaZPXpPgYQpNc62H9YyQGl5DOvbDhoK1Ko6vO3Uz2VAy9L5pkTgQv+pQcFbxl4ZS12Y
u7bqo65NgE4ch5cvetfoj9u3cnlaxplb8wicUuowbVm2DWEHU3Iv04IMnNyqLzQz/aqgKLwMMZeG
UwhhB3M8zXRrFQjKXxCorgKuzSoCfihrRM+u/H0ZbW6DmaIJSUhipGqqkPRaT3eM/jigbFL2jz2N
RqX/F7WiKZaQiIiQhJptEVkMo1/udp6k8nz4VzNkc9Y2qa8ophBQkfqxE0usqgrPvg5D06bJPi2P
2fyCeocQ4vCrpq1VnR5ow7T33flzUsj0sko8fHX6mkL+fDa8YwlratD0VA4rsIbA2DS81Buoau9s
Wt94Toqs/XJks8tINUzdMVRNof768QOtDa1n6C2DFyGvGNL+XRlox1Vfl1GU2VU0gRn/PjkHdHmk
JZZHUIFBGxcwEg2NrLpt2B4iqFx2czCTOyf7VJyPcv08IAzif175DerMWcSc/AZhJXthm8RDOYbq
85S1U9Nnk/7IT31PMy4P4urepJPM1u/stVUwO6MTYGF9G3RsVuU4xh4to1EbbhOEuRAhk2h8H3iv
H4Ln5VDXJlVYEWhR2J7SA1jxHAU9HRGEuIj/ZtmpDlui7lCQE0/jjV+fO81D/tJDvqMczaUlM1nL
m3EXF8+P5gRknNNJ3rRoH1kOo7cdtOcWJtawzzXYoDzVOehKV7foA1RrhczZDXKCKSyJQirsphoD
k+iwxpwdpV2ET6nhmw4Ke+WaZc9sdmiqQSe8JVvUtT+GmPiwi62eEBP1wY5opaJJG0dVKutydeQZ
fjk1VtDEzyZd/ZUapqAp6AmZNiuPzrIUmrDGm9nYORHFK4izyagZDlWR0bNMvAJ4sulFigFiZD8O
DtQgBJuxJD8uxzWO0h+JMkER1lgja2nZ1DQcBzJqlKXJ+x9dnUgHGFYC3eZLhVZmiMzLMupabMJC
07ipZZoPamNAeaIFIDifAsd7+hsUhxcPnRfHP2pKdW/T3NDRmw0lN3Cue3Sc8xWvlNn9GYD/QFjC
acqr0yKrayCKtEe1BNFHmhX+KQrx3c0YdfqlFoikg28WZQgh3rb9ygl7Nr3hL6uEMlpACmtX9hQa
bm1ADNP4WoXy09moj+c+Pg569BAUMWrpSBguBzY7dhNM4ds2nJNkCGDhQtCy921Qn+zeWtlrx+z9
I7snEGMeTrZBN4xzbkKE5aOHJUHfs+2o26BUcTG4yso8rWEJK8k1nC60x1SoDP9ZU9CronU1gFdZ
GfXK88D8sQB3Yg5uJluDI0xX7euJUw0MXZx1x1St750oudERLDRkSHGxctDodk+76KGNFIiwSfmq
t5yF8PrIzPbwN9PoWDJGh45jOMI+rHdBX4eGDd2t6C5kSf4UtWvTOJ8p/4VAPuvjNCIDZ8SDD0RR
XLvNSwxf4V9i4Gb2EUBONcnNO9gZmYF6C1SlNsn3/wahfoTw/CbW03HKbO8RlQgaodbcLpTZj77+
PkxCVqRmNch9RRQWctYNPVAtzYNRfFnSDo68ZmXtzzTH8YVeGb3Zb8gEV1jIrR37UiGDa58hgxQv
KkyX9sGgsclXH7TitvJ+LI/l7OdjAigs60pyw8oayTRK9BlbhNrDAsLb/gWGQSFxLCby6ixgRFnG
Z3Gcr8Tljq6UJxsxXTf/m1d0VvH/YIRdo4lTtffNEQZOUTtAvceOIUlvUvjjywHN7k8TJOGbq6sD
JbgepFz5peUnFX5n3HxPYmX3bzjjp2ay5yIX1pYB4gVbPbkK2wuF9lxYGUHxsgwzmwOTcMRtR26c
wcFAadvkiEhGxV6ttLsiGp6XYeZHzTQovY2vhpqwMxi+HYVSz9Zj5m/oNMnRTofN5kIkWsaZD+cd
R9geqkJG1dgCJ426Y+JqD3LhXkRFuvLNnf3O8w3/bzjCFmG7g6n4NpZ4ES4ixa3uphDWjhXaGwUm
YmuPrrP79gRN2BgK/6xEBQ3IW9gvsMI3kbHmNjl755ggCKuUwhO9ah3Dhr+g9zUYku+8adCbSb85
fgep9ajx5ruSErOYfIRkRzW5e4gNG3ot+VXbwgCR9O+ZjnAxAnSXrVNvDIqTy1kxO4DvUL8bCSdr
KU9gq4UR4TV06cZtyCyt9G2sBCMafztekxY+tM2tZSKtjh2OPhxLJJGz+hjynPxv4QhJbp4le7Bq
8qHyDQoVypNsKhfLELPraDJiQoI3UuoqZcnkyMNN58HO714remSXQdYGTcjrBO4a1vLjKsK6TUIZ
RYJQKNUPsFm9tcaa+a/6JCIhxUPXChUdjh3qui8aJDq7P+XJcFDoVu/qu6Q/pBAOomgtMWY3vgns
+PdJ6vVyXRiSxf7qIh6Vnm9SN7uozRsT2OXBnM9xTccoUTM0WTzLhqaPLvNoN6lb7b2ShKieW1Sl
l0Hmo3kHEWbsDA21Mh3SIjGuKnXfKeedn18bcG+WceYz4x1HmKwyNmw9HW1OFa2+jlVn60ke1P0G
JZ1M3psqhJhlwPl8fwcUpkmRpNCSQ0bPkbHbQA26qQtUafuVl5G1uMa/T7Kh1DRfL0fDYgdlFO1T
ybOEVOqwU/AIiQ7LIa3NlXCA8GO1tv2EkBR/ZyIJ1Fq4gJXfCoT1l4HWMk84QhhZ1Fvq6LGrKt8G
z4ebYbwuI/x/Fu9/p0cRby7G2dOT1BrHzToV0VsSvkZtg63YXQs7rJM/h/4xQL9uBVVlNv649prv
qMKhpZPM2BwSUA1sYNoUpwEvxuMdCrLK6bI65xdm0l3ljXuoHOlrpxf3fSI7K6M7eyuY/IjxR05S
xrdDGbo805j2L1DGDPvBN91d7/7qzk8yTYgYsiyHPZ+jJk3QiEAodLR9BNSUPs/P3A052+CE1+3R
CUGsmM15uDTQkl0Gm01SS9YwkqVo8kdXam1bjeUW7MoO7JoMKhe7pA21MrtexplteTQnQOMPmQyj
kw8ZTQ/jB9qG3/m5tO+a82nw76qBvgBlX8QPuTMgAvewjLsWn7Dg42ZQu6AhviGyN270XLYZ6uQ/
fBiLy0CzG9gkPmG18+ZdqlYJUB5+07OnzrkdmtMyxOw6n0AI67x0QjPONSCaCB6pUf9QanVlmpaj
4MHz4yyVUilJUTCmA9LUpXd5Vu9a8+dyGLMYNg/ghoKSiaOOf59kgu2ghIZRFQXvKrmT++zTuTLu
zN7+vAwzO/MTGCHhZE3NWk1j80iye9M/nVE88WPMANf4BGvhCBmm9lJZImKGbbZr3pWp/zao/Q06
Zb+Ww5md/Ek4Qn4lvdJ0XsU25MJWylHoPsvubhliduOZQAj5lThG3tq/HeFzCFXo0GKfkUH3thBZ
Miz7uIy2EpAmpFpStHrQjVc4zzzYowQUUmTLCOOQ/PH5sHUO37Jlj/fej4lG6SOteN+k98671Muf
7DpujCFbvjOQGfbVldGb/U5M0IQJqiw9JiAmSLYf1fOT2VypzrOJ1YB2qyQvgbF2Q5jP7/fohNmK
SlfSs4zoihRObn8V6CimopOHLsDyMM5P1P+ARPNZKS96z1DpuTdjnzdb96qTpMdlCGVlqhzhS++W
almnHcHIsfzAUpU2yHHVm1R2i13rVahFIXULh/mpdIdTL9PK7dntXTAK85/PMbZxcdpucKJ9Sxve
fdoekRcsFKS/+Vi+T7EjHAXQtOnLPudXnhHZ8RDi6qThJoxQ8BqUr8sjsjbowiHAsuUwDy2yKUKw
LbdU5InylYSdX+7WWH/k8RGjsY/LI487yekVoqmUZweRCpOGZWTcDOOx5Sq4HM7s/DpcijRZpbQu
Xo7QvOuSWieH0GzZeFAyE2XbhC+ycePgjWmd9RW82cUxwRuHd/KNKdApTzV9ZCZi4CXpwb5AxtG7
QT9lOa41HOFb5id+j2DmmBHGq1Ee7QpNUXOv1M1KPLMfGXj5ps3g2dwvP8YT10qV2g3poMYvJhWo
PLuIkCr4m2DeQYRBczsVwa8UkBRh8LEcfSrRjm6itYvRbG5PghEGLcZIwD1H4KDJYhoRIrPySiTz
w8UiIbk184+2U9lvTPSPmRY/uPZRxTWQv4rctQU029HIexHNjDRsQvX7YwU1URLR1rKtqAneGJ/w
6/xc3qr37kHeyV/OGzR/sTv8NfzNs/MEV/x0Vk0Y0JXGAGbJZRTeR8H3QX1ZzoXfBTPx4znFEHbk
IDWjpjKIDcnDDfKs3sbDTB4Tv/vkMrnIrzBFfJE3yKcevB3GmxgjSCtn0bm1Nf0F6secx8olUmWd
KNE27duTXH+uOiSnVrhYc6kyRRFWlpE4qdp6oESIGaC5YzV3OVYLy6M5+32boghLy7YbT21G8h83
upsBkelHpO46FEswWnypntxPVxVU/22w++4i9H9aRtfmdt8purDg1CEK5CZk98VM6+B+Nu/DFzz+
9sEeZbALj8l7CHf2Ds+Jk/Gp2Enfqo15uii/IDC8ybflEfqAs7O34emofT0f5AfpKlhbsHNbggWl
zzIdFQKrLhzVMAWLtCGGKBYhQovSvIpcyfIgzCPYythaD3HbFubZlEqljXu+CEXztcCmrw63ywC/
W/P/XDHvCMIcw8wK4OODICPOF772dr/t0WV2A+zTq11tbfHK6/xnNERb52D08lqOza+Xd3xhlmOY
snJijRQ0q9lbiNKaqNhzzIYXhD1uh2CaHv6S5f4nQoOY2CHt57UXEQ9cnhfvNFO+CVNmenlQRsyl
MRl/8+Q7TJsChp6jPoGU3bRSsR0qDvpIUS2jzJanLPk9dCF96jYpDWVM8NY7xNJhaJ/N0a8k/lKG
T2jcGcWpVL8vY65FJhz3pbxLKnNkUOqFdGlY8jXudw9Wu8YrXIMRPjFFbTiaaxFZP9zgAoV1k4r0
xj+FIh7wtVQtBq57JG74otK17WrDIfW1i2WU8ZcupIJ4xHeSClesdkwF5Tby8WN7MdsLq9zFuIYa
t4rtruCtjJx4WG8jPZQ9H7w0u8MauVEecmguyzGtbCrisTZSTC2zM0YuyZujVZhf9BDN23/DELaV
EP3I0Bwpz4rk7hwzf6p6lvJfYNCap9vYDsKjFTbHtLTZHcetKzeDT77sxs+OntVvyyDjIvwjARTd
sdFCUG3y9uNegKjsoA+jWgg6BTtPvrOLGNmreK/4v2D1rkS0BiaMGp6jPG02fFCUEE8u49JobkIE
5Fxcgf9qj5vENSbiZI9T/FBi6oHqkGrq1ceq+6aln5bHbjbRJhjCPhrFIaZ+ZzAcPOtlFBSjSl85
Jcx+PiYQ44hOwkjiMD/rKIwgqPuo5Qgz3ToRInYrSTAbiKrYhmk5svFHcVuuTTfDb5J5aTHfqKDy
mcfloZo/uU4ghKlPdRWDiIgFY9/4d+fjcMy21Sm5wWON1mEuHejq7bRTupVuEhTtEItE2Hblmem3
CMYfuT75DUJOVDVNbOeIXG/e7jSOzs84IPz48hk3HXuHLOHWuLC2w7Z/sfcYIV4OxrY66Cu/4Xdj
7dJvEHJm6KIuKT3GoUYlFm+zrfGpu0L5/xi+Fm/+g7ZHTgqXOGW/PP7zZ91J7EIijZ1AZlmAix4Z
b12Qyq6qo/rD/YFEEK8zzgXP/6/xSbtDMVSz9slKJ8D8rWyCL3yZR9565ATgG483CK/6L+41uqEq
/dQHLAU/1VfuJ/XWHTbe63Lgsx+cCa7wqVYafVC1lDlXuitFv8FzCfe4f4L4fQ6arNEwktPQHktx
dfkJz2anQTyavF4Gmd063+P4/ZIzAVGN0tXC8YNjeAmmLtz8XPOnWjS7ovL3oRavtB6vwanCvtMb
56rogbPMNyPv0DwstknyKZA/FeFwWA5NHf+xhTUh0ms9OlGkehzAfltsLbQOt9YX/ufnO+sWydJq
/1V+xcbnc3GVXlRP6GTGDwi4Xiz/ipVE+d0VOxlgPxl8GcotAwyDSFfVg+2zPN2VaVxDGf8+QcG8
8z9lW6dqt33pjObQVeDtlmNZ2c9/L8YJSuVVlZZ2DGiafin8N4SpVgBm766TbBR2E0PqMIwdd9LY
CzFhk5CN22H+HXXD3rAeA+9v+lutCZ6we/iyUrQdymbbpLju4p8mZkfLI7aW78I2UVVq6jTj9tj5
CN9/9sIjrA/eXnbY66580lfGTmy7MvpzUDfj5CT2Xqr3kQPl9nro4mOC1TsVgZXI1r68YhNWbnPC
Ds7jXJ1cuIWXKG3m19WVs8du+qY8hJtS237qD0/xRXPZbjA4WsmVtU/P7+U/yUbEr7rCHj/9bIxm
cCV/DTGhxkTb2dXGFgnATbg3k41yH7hbJbjXqm2Ga87KKMyeo6DzOPh0UEsVFVqaWjJQzeIcZWfP
tX+ynKuqeHaM++UsWkMZ1+UkUrNIBssblXVwLvG7H3p3G2JARy1nGWZ+E3kPRthEMBqpinxUZWua
R3yijKzalMYKC2B+C7EtHug0W4UC9TEUt9M73zfRZel4vkrocMiqlSPB/GC9Iwhr2s4kJ2tN8rLP
R9eu4FJBvTX2DHTVo9flAfvdSPvnF+YdS1jetuH7TjFWPJRCRvde+5JnPRU/C3lCqAuei4PxThkP
Zgc7Cb6cLY6ndXXJUbm4DoMhLyCoJNJrXNoZGoZ13qd7DKE5IkJ8vRmCKNyHw3D+WTtV9yS1Z+mL
mnQmPrSYU92FVdydrD60rYPTu0Z/cEppuFZbVX0y0FKrjgrOCWtX4Pk95n/xiuofGDTWbkGjNCcF
Gen+bqN7z651yoxvenkMAn9lic8n5DucUJbOw/PZ6EZ9rhjN8dG8NsSjum+2y7O4hqJ+TMlO891A
DUlJEyVQzrCu+qTVn5cxxkT4I1E0VMBkE/k6hGg+YkDllROvB2PwnxTrV6TgwzDsrfBCKl/9Fmnj
/TLe7ERN8MZFMtkxvFbx0CEG75zcWdarTI+dmn6WeKDoHtEcWdk4Zhf1BE1Y1LEVINmpgSZJXwPt
DUuOlURYGz5hTXdD7GuFA0BrXPnNbWd8yuV44xp40rz1zl3iayuAs99t5CnZ0hFwQNzp4/gxhWgb
jMpOUoKcPo53lhvcpH5ym8jBfV7bKx3usyk4gROm65wOYR+qaI20zXcJ3X0Nx/c10uR8SryHJEyS
n2ZBa0qEJGOJ06s/VLzug2Dsrnt0cbKI10rUc/swhR/1NxdUllVhztiC9SYak0JNsgeZbrO+zE42
Nndql64868xCoQ84NrahpCM20aVNY8GbRHyzlJsbo02fQtN9bbXuUVbWenLnZsqeQI1LYbKwMMJA
abkBSsMIwIgeoXtvRrul5eW7FpCQftbZdoZsRPGyn3gp+MkX1XUwQPT3yzizmh5QRHjQNBXofWKe
V7EjB76DPkQafFPNL4m6j2JkAfAR0N2fTfIjRPoIBmfD96lalXiaHUsbWVHQYZaLNUIvqVJcwSAL
p3g/Rkg8BwY2id1KEWpuKfMC9D8UYcaMNutTbSTkKxiYBsOFgzeyleLt/NI5z8vDOTttNlJ9vNnD
3BXFCT2H5kPlt+USnGTZt/aY+JnxzwKr12Wg+ZH7H5D4HcavKIvdUZ4qt91XLW4uVSXfJGn6F4+y
FIn/G4/I+lecPC9Dh21JQQTd59NY9BVn0KvAXeOMzAZEt7fiGGSCJuYhfqAOyitMkqxGBwVKcu4W
WFHWf7Gt2xOYcQInq9eOiqa3QmDU9FbvPhtedGFiD2JYp1J5+r9PEZutQzOxjMaxyMFya2RtXQVh
AU3F4Jlu8BC/93TtBDqXcVMU4eyCJZCRGSVLKHNuXV7mY+VSCbCbeF0OZlwj4vFlCiNU8+u2G3p9
AAY15SNdV7e65x+WIeYyYAohLNM69AcrqYHIwyen/qVWl3658plYgxj/Ppl9POx9OZCB6Lr+lxyx
6UCq/uZ12srUz47WyL7UEbJEW0L40mr+oOuFjlBAiKeZlGJJmAcrD5Kz844o6O9tBuk4ASKvsrCn
8Yjs0mmqLKXwQRrdTjQvw+6oW9ltZk4OyECqYyZzjMM24+O42RnfeCfG4iJWrg37eFfT8WSaUK3+
gtH8AUhYno42mOjglFAA1J0U/VTCtcfPmWEDwJQtGV1mVRMPCloVm3ntAOCW2Je21oXmmd+6s7dL
C33lGjrOgLBk0AVVHVhO6O3IolBRlcLB64sKfnGQHmL8LiNd4tH9urruujXFopnE/oAlHLVwmDt3
jQRW0Nx5rrNrnZ++l62Uo2ezYBKQcNdNIfzGpQ+IUpxy/eTbJwkfM6c9aKm+RZR0JelWYhJFKipD
DfJcAS7D7brvN1F1isyH5T1n5loxHTdRpcLR0t7Nz2D4Zbx3uwRNLiw66uZOigceLX/Kbf0YKNra
I+98aiBFh4CVatCD/XE9xVGLkINanzGnbDYYce7j6M1rfiT2KbXSlcvtzF40ytP+D2v8LZM9L6pw
u4X2AVFNOXKgPNhmdVwexPmJekcQki/HqSXXB6Lpk8s8RXvo3ihXrkdz80SjELQK06D77o+GoXPs
V57bstGl1FaKuuxuFMvv8awzrX1XuvEuV5AwcWKl5VKorDVfz0UIW1HWDcOxTY4oH8ewTrJat5qB
pYwcruthbjncGu6v5WGcm6gpiJAUJeWesmt61jBGPLH3tVp7kZ/T31CmCEIqBHGFeVBMGHX6c1Q2
4xDX2RyHLwPnxqnQHcN1903SDpqJR+ihtb4uBziX9VN4IU9cjKG4VQNf4hIsRy9JP+yK8Bsm3Rac
p2WsuX1ewQ2FkyQSyejDfJyxvj7HrZKrZ6zHQgg0qIWam9FUWTot48zVoOmkeAcSTi0O91mEvQDK
cYaEvtX6z4F80xXYK175xUUVXsfRjR+oG1u7b+1T216H1q7TXqrkx/lvKBAffoyQpyXqw9K5VuB4
Gyc7/lRhCgED+4zAICbTNarey8HPLgtTQctF1+l9scdVO9laTNtyY8kCrgzLMyaepXTIjZye8spY
a/DQZlcHpTNNA0f7o/k2Dgs/ymkc3Bobsmbf7YxNuYFBvIlu8VQ/DZti3+6DyxpLx1/nY38IrsOX
n5iK3Km3wU65sDfyS7z1r+XjWlvwyg8Tu3PNqJLrvOGHyebBtOMNKtMruTw3zHADcUqVrfFmJMzq
oLV9HKcowybnZ+9sbPPkXlHXFsxcGFMQYfdpdcVza20MA7toPGxH49PlbFlDEHYfyRkM/F1ByEyc
saQvjb/ysjC35qchCPtLBr036saZkMqTbj3r+V3uUotfuRLPhoFVhIWutonTixBG2dJaW8ughOXR
KR61aOWpZ85mCRsZjWswVA0LAsXHVeXqviH7IdONXdllecDAz9mVb8HFS7+rD1zyd+4WKQ9knLEe
Pmb7tT7s2WybwAuJoKAZp0ljfCrmgJpxUyvqpnQ+L+fCLAinb3TsFVsjqz/GqFqt3+JTgqSCfB80
X4cUv6pVcf41kHEmJ9uTYTZ1wEDT8XrGwW34JMFzk6SVw89cMyrHOCQALMxQDF3sMWjVuMaol0pd
Y1U0ne0oK0XD3ZkN14+QWlXvkhB5nHi/PIBzBFt0KinM6KgLy4h5fgyOxsMWcmvPvT9/NszzpsAP
12weRkNINX7t1Ltzt2uyXUiNdxl55ig2Fmls+qopjWM89BG4tNLorDg6F8/E3MbyrX/2KXFFhyau
6Fo9tA7+vIr5ZRl0ZtGpo4i0YWGwpHGl+ggahE1Z9Y45Cop6Ne6xxqEL1hRDx+1BuK+p6ljp4rRA
LdIRApNbxYzOjU8/iI8PsXawMXaj6L+pg32JOV1gH5ZjmknPD3jCdnUeNC0fOvDk/LzzrJ66R3wb
2OXKNfT3B0iMi35udK9RfDUpR3wcO9/Wm7PrMDvtJSrUh3aLf+2GOmu0qy+zCyRncfzbv9KotjE+
NVt8fbcYL+7ekl10rW3ljQUJYDnwcSAXfpD4xQxDT+LOwA9qhnJjhOnWbHce8kR9/2Zm3tr6nEsd
zdR5okcgEJ8iYatpPCPTrRQ0Rdk4G6yX9B0xv5Vf/KMTbb62ySazNlG/cjT6bUb3Z5DvsMLmo54b
KoPId2yfkz0KBh7+5RcZjAz3pN8H18PROTRXHBY2zt755iOtsPnunL6XR8RrtI13KF9vs2FXHfqt
u7ZxzHwlVUhSCA5w89QMsaTrVQF6wy4/zH3iuHbt7aq3utjYO/fa2yt4/Y40pm1yWusWmZ+Gd1j1
YxbmuUaJQgO2V3VqR0/tmnL3XBPmh8CEidbk1mgKC4TurdlpR30f3Ga34ZfyKdi6jwbl1433qH+h
jrCxX/Xdpb+PNr+WE3v1JwiTnuSR4cW8amyb3Wu9D36Wt/oue7pPbt6+5jfGRfvibploaWdvjF1/
Za/k3FxDzocRGHecyQfPUT2PNxZGQDredHfJ/yPtu3Yst4Ftv0iAEinqVWmn3p3jvAjjnhnlnPX1
d8n3HLearbMJt2EYY3iAvVQMxWKxaq0/zEYzBN2zw/trsUMHkp9b0g/9gT2YO+Nusn5dtl7Z3tcf
U7ysvBX8WKMORo9gPbm5YTbd9X8pzoiC0ODuXbFLu3U1ux4tgXvb8tpQxUJXnqrhXOK9m5mUEXiF
ktam8j6B4I6RVaCXfB70g+Y/jKJs++axqxk6nqtUGf/ymQBKYr3pBwzxXITuVEGBOZTRQ2uAztce
tX2d6HaoXI3sOiTO5eHdOi5Au6zDSqKheYo7AtPWpOHUARkzqoW7HJ0HFXv7bxjcJh2oJquNjBlU
ErbHi8wNFOxmpPZEvBPq5lJBZwAF64mBunDOmBAUxApZlop549vIPOz8O+amh/GRPSo7bQ8Rg3vp
nP95IL8qJ/A6W/UaZ7JGu3kRbZqt+mEoNn58CmczquwNNARiXJMJu7J30gaXy9iDrhda9uwRcbDV
72RvPoroQbcCKcQyioYODAXydtxuHSdFDhU9bhFE6R4xml0UtA6KEdF0OZJr2jUPuRx5ajMI3MSW
J0ZCGrqb2DVomOXinDHJpppB92JRf2bKC1I+/34RUbIEG9ghuB9xvy9PUIwMlpOvHRgepKYikRS3
awo5thsI+gnOs63jbI3GRVEZRcbDXDZkU/uOtBSAD+VRXV54NdE9fHPgYBeq1mQQTPCvOv5stLLS
F9iBFdSR+3wvxabgCru5JnAhghwQckrId352oQg/E0VSS7gXCnddVC40RU/lnO5zsNhXIOUwR8U1
+lRwp/2b/I+PVlCOBz5y+Bfjy7OI2meB1nc1NsGQ3VQ1OiXG+lxO6SGGkHMdUjfIIzuTtV3aTQeI
+rm4BRwnDRkVqThksm7rId1D+MoOdHrK0LIkWLNbzg/UBQhiNaLD1XN7RQkzdBbO+L6heNYG3Tbb
+xZvUJcX7tZRsgbhzq+8ybWoaQCikcgCR6c1mzqSscciTI91dOWTwLsMuLWg1oDcbMuyr8fDuABG
0ZNqZLdQGRbYtNWmqq4xuP3RTHXSsr+Nql4D9B/HdYaeGNtnL4l+atvfQQENYyS0lV+qeaCzqKJ0
q77kEz53++gCGkzdYmNqmmj3PXVtZOX03mem09JXljzqGlo12FODUpP2/vL4bu0mA2kzCv+q49VS
+7ybpDDIY0NB21GoP6tB6SgB2F0REVlDtGtNtwMLxmXAZcK+bKMV4DLhqwhIS2uiFXqPAKy6k6HA
buajFYQnKM9ZpBM8iWxsCZMZuKzidUdBAQ+3JaaF46OXUV3VFIkT6MZpJPFRH0qBR9ow6RMMvymM
ZG7GEEVjZaijf0ffF/6TPt0n6jXTBBZtuHJAodgTcklLoSRnEU1CPU+aRTEqLVwIQaAqI71rZtNJ
ClFdy9ZTiIkbEO7EqNDQvxSMlRFR556gsKUmexV809L00iBxSO+y+FAqT35xp0tgxPpZqKlVmAd5
FHjcja3/CZ9bKeE0aFJgYlhzRXqp87rwzFatBb02m0tkZSQ3oBrJ5nzsYGRMZi/JtF3Xh26EcpfL
q35z3lA5ZqKXFKeHzm1xA6zW2Thj3sxIducKD6hJ8ZCE6lWklIfLUNvD9g8U4VikSrmD5PUiMBdN
hTuWqQcRCsFRs3EKYGZQiILWVdwr+COYSWEaBjEK4oZgvFGN0Iurq0HOTv4A/XD1FGejAHB7+D4A
OQ+toe6lMxetzTwzdtAswJOVm5WKLc2S+43RM1UIj5jg/4FH5NzTGKkQ9YQ+k69IEOa4DmVRyefm
ilshcMu6z03o0AxAmFoK6rVZgtqUbpQ6lE0WCZzL5mylXk22QuPWt9mXQ29GQFNCCXQlcXKbyeW1
WbBrE2FJ74eu5Ef7BEEhqZVv3Mc+gXOOsZ7HASL2WCeog5ik+tgPmacOAjexuTZQWyNDckc3GN9d
EkN9XU0XkKl3TTxr1c1eJzejIiI22jqmYc0HEDdxPqri2NBhKDX2DjKdHZ1avAPR6JmFzKGsxYNQ
0bwG6mgpuemNpHMLkMtfnk+Rsdx05s3Ug5Mf3xCkpxlpZF/CSa2ZO/AfClbO9jL9sJafu9rUIn8R
RSvQlWtUzoyMW1oJ9vU2COZtEReC/h8X3WmDmvs0QrEZAX94m6VeV7tqHn7Hx4Nh639ROO/hMyUZ
whhSWwV59UEaXiaJFYaTAGXT765QOBefkL7tcSNFdWYeOH5muGEwCN69NgONDwjetaMTSMnpopY4
gbkxemvQ3CRNimegrhWFdoKltgWGKlDDYAgCIFPEzU3io06uk3AyZsX80k7RTaWNOP1LL6HxrQlZ
n8sre2sprOG4SZqJWiV5Bhc/m00OKdum2zXIVqNDXYl2l6G2NtEaipupqmThFOqACst8N2IxzD2k
5Qk4iXXdvQy1tShWUHy/4dSVozouUqxaTa5HTUF4IczOLIkgLqJGWPHPRH3pMVSRmcngeuygC5G4
1SZXy3KvD0PXp9RF346TNaFnRLOTzaNNatm5bOP2cFKodYHDAOk+LlHFUAAmVQSrsg4Nr1LxeDLJ
HtP6+yGfRbWJ2+MJWUNkFxZZGg4Lj0UUj/DwfwAc8OaaV06IArFvzdoHivo5CPBLPw78FCh5STRb
J1rsDXUh6l/YiqLQo4ZHFwObTOYPLmWKMjXRMG60Qt+/Knc7IzKcMBt28+jbUQFW4MEQOKnNXYYM
JaUoi12SpJ8to7MUEWPxIFGpo+FzODHyu1JFAsQiFG4v64rUdeMEVyhBQ7DKoQCG0MKH67i88DaD
G3NlDbeRtTyQ5nRxuXF6Vdegmunstvqd9r8m/9hXT6lvZbFIDGrbNmSXVYruBYTzn0ewguSxbkJf
3taMYc98E6+5rUPKSBDVbC507QOGW4IdodMU6AsMy491b95AQVdwmmxbYigaTl5ULvPtdiokw6dJ
x+h1ymuJrIafPkqNiMZs0zng8eF/QZa/X133y1zGOkhgBzVdXzlrdLZ6EAkM3+iNwMH4gcMtbEif
yUa6LLkpyHZjrx+ytjvCibiXl9zyM1987QqGW9lFWFRqunTjtNSVIU2TRIY1F89l8Kelo+DZRjQ/
3OpW86hN1AjNEf0UmU6vtOZtMoNsNqWxLtLv2PRFKB7As42pL+18n6cJTL0oJM6AFRaxI+eYJH+X
Zn+K5iEt/8giYp1Nyz7QeJXpsZnLPkOFql0ohyz8bSYvfi9qOt/K15rmCoTbqHjmq3y5GTBVjpTa
gRvtfaejNtpxLbL7KZ0np7mZ3cwJHqQrKlgmIgO53RsGWR2UBbDDXt2RNPZ8Nd7XaSQIn7cIbT7Z
yN1WZ6L0Wd4BJ/mpu/Soujpz0fbpQjrkvgKRIhqCd/JJdK3beg/6BLs4r9WmDgZck1i5wD4Xbho6
0t53oU73rP/Odvl+Su2ps+s/MSoXvuOy4Hfhe1HE+aWiZ9LmptR8AHcGOnlSa2rcWW8E8cyy1r/s
8RUIN3kgMG31blk4Un7o9HMUUkdRI2dM3VFltsS8VhKO6PKblzC5iYz7aiLSYliVHMmYo1v9qugf
qg7CoGa+k+JXY8ALW+db3XygsigDvXnYrCzm5lNHbJgW2IL2zNrAGosBegT5X5c9pwhj2TKrNTOW
ftmBknrpMHwrlTsFQqv/DYA7aUiKvApyhggG6B+qv6vD78u/v7mnUfsEuQGUCFH+za7omdFoiYyk
V3KspyupuU+/tbwZweMNquTwD3eITbE/BqqK6Kydf42VcTTUtPTGIRcJuW2eYisc7hSLmjzJ0RGH
KFDz5DLZh61vDSiroXHpxpR8J5RZoXFnS0ZYNFEGNEkuiaWwwgsm8p3V9YHBnyhhjqeEPsa53OfU
NdvuuZ/mbzTwo0fkn9mh3IGS5NX/pBGmaECbMUrfKpKJ4iXB1NDFUay2yZS2BM4HgwVpT8ef6usu
ad5LkuxT2jgkRnnf5VW96ez+bl9F7RdqJbltKXXzlI6L1nI5mFbsv/nNlR48thoOSaOwuvgWPBkC
yM1YYwXJbVR5ZDHafwGp+qVF9QcS77XZqVlvyeTGyASrbzMABYWuoquyiiiQM5BNhR4pIdAKkz6N
obKjuXKSh/EI/br95bHcNGwFxRkWRxWTjUVJWld8vPyOe0oDC9kMNxwyOygfsig5XEbcnL0VIucw
5lqRu24ZSh314ik5z+Gtof2JMmYPIBkyX8rh8TLgphNcAXKeoy5bGhU9AGXwqvjl7XJCxVInuKWK
5ozzGEGpBQE0DrCbyxF6voFTD4GjDPtGePIJ7OHp4+ZqqSVYrllk8pkFnquXUo7soDG9y+MmWBo8
g5yEOvaOlMDx89uaun5wwOXb8vF4TrK/SjHz8uImvsQTyPkRtHBSUOVwvkoL6q6ToQdrT1CvRlmY
nYyBE5XK/YgmH1AiH/wZKV0z2NG+PZZj5NQmE6zN7Un8+ATOk6U+SeqyRlChmDdhcCziswylisIU
tdZtB/orW7nYqUlLneQMtpIyvtcbci8n+WHM5fexCdxW9lFgnnqESQ90NL2JdKfKyN6TqvGqUvoz
proDsYXWUsLmVxQWdpkH95fnXjQQXHSlhFWa5WS5W5HWMro/Ne7azfSrnQzBItv2Bh8jzrk6qUcV
Ga4DiI6DgxrfNZCkIwgZ5fLOLO4jVPZ/q+8G8gsfkIvtq+OqmskcBQMm2TdSR5mmQ+tj12qiNzOR
ZZyfC/0uqgg8na3GR5o4RnI2zbu6u8rmxqmbH7ok5M9eNsjnDUSgA0rAQ4SuIqQ1ubEcQkmWpHkJ
yIvrtpC8JD4OvQwRqD9m5tZB5k4hlDQbq45EVcAb70yAVpaeMVS9yQb/KFLlUTjOy+2qGsGzNLxq
KKeilQ9NgQx19yMy4rndJi+0RSFeeJPWIrW1r5H6Z3zOx/fIgpfygt/QMDrWWvijYVEnWKtfHS9A
IFaLtJWMZlNelh6yKHWJ/4s4Zzyl+j6oHvNeUJaxCYGqRUZ0XEdlxi2aqikRpIF41ZaNBoqN0S8/
hihFTXXr8v7ewkGZIOSkVYbENF9lQvshDNPFFKYcEyyHyNiHpahIaWtS1iDcRhupGaB0WV/2Nqgr
36RGlEATAXCjhbJDbUwJrEjZMZqug/73fxslblXNddNlo7SMUnKMwLQls6PcPV/GWAaB37TrQeLi
Bj8G1ZzaA2PIH1LlScvRXnolpCnbRsGbOhIQKD+kHEqpRFE1Z5gK8Op3wz7w76Nwl1UPl23ZXlX/
oPCt/X4EtQQ5AUom//Chb6NWj3UtWrpf/SoCBGgdL1qHIDbiqR4CI0IV7DJgfh9ohYUa4B5P2qVP
ftG4y18iZSjf1TYI/gwp/rC6EDo4l83cXHZ/956AWQQtONxgZiOE20IdZoLSHVqgkZ2IZHY3B5Lg
p6F8g2s1z19QgJMlyWdjKQJ7Z31vSSiyaPrvrLwVCBfsmHJgxqgPQLBDj2R4UKJHs0mtuckEd6fN
4Vrh8LEOHr8CSQNOpRxTM3Gr2RQgfI1UsSRWCMsXrE70HHqwftMBIU2fWLRUdj02dK/SxyS+mrLD
5dnfXH/o4FwI8ME1wlfbSKrmy4Nu4vZpnrMJ7dH3+F9WHf4i8mMROHLy719vloj4A5Czron0pAZL
GDzE4ECMrqZeRAWXl80BRBvVQt4JJD6JU9EaMWUrIdwDnbv/mpTo5THfDP1Vbu06+PcdwzBo0URF
TgoUYfz1Nu/lKWNzgGroWfemWNuB4Mq9PEmba24FsfjD1YoY2FxmWgmIZN7p6ECtJZHkqiqC4A6f
OaYqmxYraq+4rnb+IfhBAvCqosnKTZ+Jjf6369P8S3swnOGVof0qtusrREeXDd2oeFwGU2cLoSEi
P77vS6vArROUUWvrqaMeRyf6Qd/QT7zHO+JVUli5az5KpQB00z2tMDnPoasVaVITLY5peR5VN+28
WhQ9b4/uh1mc0yBdSLLUB0TQPE9oYBz2l8dNZAK3qbq8n4Oa4fdB4ANWhTb7Q0RqD5tnrslUA62t
S3qUOya0PK7ZFP/dCJqA8swbk9e6aS1c9C6bsjVUIMOAcg76MpaD8fNal5Nu9OMQjR+6OZp3s17J
qQ2JDi37xp5a43Cz3qK3J8O7UAuOtdssOUFj5LIdW+O1/n1uyouk08ZYxe+z3G3C2MrR+mxOOyr/
e+E1gpdwBBHLjQUdQhyQOXZySxV4u3jpUi9tEPPWgygpurXA1iDcAoNkwxQMFdyDpL2j8aMLag+a
Cs43hmxlyfIRKzcXoQRqMlFSZc/VIZedukLjafIyh6LHlm1jwFEBMkmiofjjMw7L+iVaAM4kv0kl
VLASmwlfP5cf4SNhbJV/QLhoO5jDXicBQCrlbSLOgNcWDe9xCpoL9E4QMWzuGbTF4L6MlxEwOn42
qFFIR0sFe4aRAS9yd1r+8/LMbBmz8G4uzKWQLuTpA5g/lkZHZhRPJ0pgyQMyPSroN2pTcSWNnYiE
PpTLiFsmrRG5BReZJvg98HoMXi3EJmV+48ejgCls0ygECThYkaUzeGKYIJzDHAsEYYKGkAeM1oOj
N4HqLF3R56bWBi/Xh04AumkXan8Wzh9ZxwL5PFVyGhp9ECH8AVWAlWrzVZP6goB+y/NouBQtTVLo
JOfpPWNtRH/kiFu3gbdZA5oiGSqo0G5WjwIXurWPVkCMq3OvpmIISwogTW5AaYVy9OxBGtHpincF
vRRdj0Vo3MHQN3kxZQXC4jmEqOmoJdZASrcr0Z7/jaWHlBMxkRUBLTA3RVqu+MoIigOYlR90Eh2D
QvTavLX08H6Otg4Zly6Z7/kxzG7U2xw+WyYDWDG6MkBvUzF7yqi9xf3LGFavl23aGrw1ILed/FbX
yVgBsIoyJ+66J2L0lqaXPy7DbK1u9L1BNBFCSuDd4IIEv9daee5wlyxpsssY9fRMRAG0aQnKTlEu
ZSBo43etaUh5Do5v3I6a0MFTYx63rqoL/N3f0QzvvdFEiccqDewDX6OQBjQXadOiKetg7ttX9aw5
I3jIXofrxIYIufoOkixvvqbWU36mN9PtdPMGZrm9uQcbjbVIOPz7cV1/DhessDFT57nA50R4U1WR
edJExQEbbfkEBZAfFnOrPioyTfVbQGgeufbPaMW/bR1jb1xnx+5NcvpjeaYWRDJgZXaVu62I93tr
S6zxuRU6yClkoWTgS8qvNL0KYyRbqKNqmpWpgmh5o2pxsRVPgdB3gCPmm5pjdPmhLgkdcNibr1Ka
o6saYlSztocGyyHN6D6s8Kzc93SvDJDmujyXWwsYNbLARu4Kt5xlIFZRTuorc6U3uOLESXdUK2lX
Db03MX3332C4+COtQNbSKIDx0z8mKJqK0kJTxjcw4CgVitwrksmLqStTaMBKCuo6zNnohdkjo3/N
4a/LEFvLwmDofUd2DFKsPJWBVmTxAPl4hDZ+++43YMyYqgONtYe+Gm4lpv51GW7LgRkm4kLUY4Kw
iM8sSpKq4tEBjdq9mtg9gcjs8I2c+AqBzypGGu3UJs6XSNp/COKhsZIsdSYtEuBsDRzD+pV1FKaj
TJZzxfqcpb0yIlafMqXyWq3p3aqXe2tOxxn0T5KPE0ctBJmXrbWNOmq0KuL9BLXNnBMJQLwa0BGv
JWH8Ix5u++y3Kt9fnqFNu0Dvi5JtlJRqfLoS1BZRMarwE2P6VjaHOH5Tgre+/auT3y8DbTQlo8Zd
x9MsQVGrgT8/r+5Q01lQDWgK9kH81fVek+0g05Lj/NQPCvE07WA09+p4qrtHkggc/mYiZA3OuUP0
RIDfDHxSNmgXfo32nbRvao/9uJeeWY3uSLd+/sZGYwQ9/UvXHf5Zxn21l4tIjdBniDZkSMdbpXnI
xpc8fe3Na+FlYmuPrZE4zzSRcgCtxKKzOCV2Kf/sAkGMvT1zK1u4tR+MhjYyFQh5i2JMMMpaqZUf
tTsk0Bunuq18qKldXiwCm/gqBr+IUyVeEGvoFkd17AbD82WEv7t9+JAEkYgOlQ/QY6l8amxujKLX
ixGJkR21lb3y6BW2rlnsRvkRPMx2vKtuS5BFW/PbZeDNPb3C5WIPWpO88o0BuP3T7J/64KwFArex
IYGHrbbC4LZaL6caCDiA0XupaqnP1dF3xgM7oADroXhUBie3NRsUNk7wM7VP4H+yRaVlW5em9Rcs
E7xa/iQxa5mlGF2JdLdmJ3lZO+70koAsZzxcHtC/X64vzSR3bE7EaCc6wlrjge4KV3mXbvzE0u3g
OoysaXAUB2toJx9YZ82oHXkNdvORvcvv4TPzIkfwMcv0ff2YJZoGOyC6o7mhbyMjoHMIly3viFfs
/N0B1AvglPOU6wqUqVbg6k5zpf1WDgE20S7e0Scq2K/bK+zjE7ixT6M+aWQdR6IeHUzVVemhCAQ1
aJv7E6orC2WkDgU0zruFvtnWUg4rzWRwOn12WKdal0dy04oVBOfW8ialfV0tlQIDOjmKc9+2VtCI
SLk3axMwVwq6BBAXGXzsmsxQGQx9wERl/AZhN7cvtavRICfDyJ3YV+16Cs9NlLrMT9DsMR7GIHm8
bOliyZcls/qEZS+t9oreZL7fyxViMkilojrS1erd0E9I2+2ZfC187d0cWNDZaCgghNV8gSS8apHq
Co7CSdKPpbboGj3EeJm4bNRmXLFC4YyKcyiyzSjlwBvLOTaP+K+d3Lxq8a41Ru8ylMggbjH66siy
pgaUlJfWsKRs08YKeyZYkJsubWURtyAHpATHzse4pZR64figytJeGm98EU3q5t5CngQOBCEj6kY+
Lwea9hErSiyHKBitCCTZeSpwEFuWoLsczUJ4eUBQyw0Y4r3RALsHrkzxD2hoxSBRZyiWbUTMYps4
yvLIgW4pKI9zKaa5LuKh8zExckV35EoNQisu6NkMiPvvV4C5AuLO1DCFUpERwqBeXXhrnxeetPQ7
V6c1CDcvHfNpX5QAKc2frLkZJheTZGWVw0TdhqJx4xz4nBDNHDQgMVqif8ItNdnO0qulOuvyuG0+
U65tWrbWyvXUeUKn7O8swR4K0i0Iy8/tQXdNW70pT6OdOamV2Io7747sJrx/iu0nPFwKJk9k7fL3
q29gQ5NOZQtrjabyYoM5aBmwis6dvtGcDx2B1TLh1n2NNp84ZkAa0/FY0so2WR3ZlWSKop+tLWyC
mhAJGAV4fE6iNxs9HTqEr3H6w29Ao9AK2oa2vOsagPNFFIqdMriw8BqSkSMesqzIP41N5pbsNhdl
kjbKUTFsK2u48D+vKmga9bCmgLb2H2hFZ6+aI99pL6A4CHoLyVbpeXLkvXqNi7Hnn4OHy6t0czSR
VTKWghoQtHCLdMz6jnXjQrCUQIEmkayseflvCNwS9CcwWPbLcCYx9Na63zgdBTttg0MSgwg6XgPN
iNAe5h8q6oyMaR0AIstvx4ShXva1yXfG+D6y0vKlE42PJH5RM0HaYnPsVrCcK+nrAeVIM673Okgq
u8ZwJPZ8eey2ope1YdzszLSQ6wiZThuby9anqxD3XYlZI2qCZzI4gyxigFl+kA+X1oDcZPUV0QMT
Jfu2Oj2p82vQIMUvGLUNCBAZ4lEelZyg2f7yntCMIGlWAJGWpR0Q1Q1S3QrmQXBP2+h2xO+vcLjZ
CZJUHYwcN5cRNMUPCrJJ++gM8aizflvXVnZAZeTJfFMEzmMZIG4AF/kGkF3jeXuhb/rscFVoBWkE
vUW2MZxMllu0dgoptNBy5FxeGlvDuAbizAvzppfSBECaf1SHu5GcyPx6GWIrN/HJGG75Mb0r64Xc
GNHsbaHYwXATF+HBT55kdlf3J5LfNtHNBEJR+X6QBOBb92yAo/MHj4NobuMTtkojE5RU46G4dIJr
7abDJBY/dfs+uuqv2n1433kZCp73yVWOp41j+NTE9mXzt6fy4wO4vdAabPKnBB8ARjN/9Dr/uZuv
s1wRwAgN5U9OqB2nEQGOFkC9ZS8TC9RLv0Lvd3L1HnvxS6E40SG4Haz8qrOix3L3cxA40GWtfF20
H5ZyJ14EKho5MTHPuMOhNONx7P99XubTXPKnHNJoegRhD7uor1h3UPTCauDDLs+XwAq+qy9PUZHM
qgVEPhfVD40KtvbykfwoGaA/Q2xPGAJvzgiC2gtZXVjWTfWXol9Vmjfnp2l0dO067CN7bEX1tn/X
gnOIYGDG4geJKMgH+Rg/DJqmTPH6ahvKbwoNW7myp2FX14dUfQkJHBtiudQtUIsL7bXApPusPAX9
eewOQ3svaTfj8EKHO306Z8VuAufT1B5kI3Tb3B3kUxZez7VqTfohZj6OSB1S0AnUvU1bG0y7GZ/7
sHTrBsLbkCXIwJ/StScwaipd5oVFagWiGv+N7aaCiVkB/xjOcZU/F5AIKXCrJUiEqldd9TRA9SVt
rxQlFjhOEQ7nOKNoGBuQneD8aXeJcug7XJzq26DaXV6NG0c3GgjBaQ3pERx2/GPQoIRqN6uAgdAj
hg4EsCDfapVXacBd43quRHgb58EnPM5bpZDUYtWCR+iNDAYuTX1MA+k/GsW5Kqq1IUhuABJAOXxi
oQMJKrtkLmrwvNJgh1gKBd5x+UVuC2gKyHtBeoPbxReGvQjrpAPpdbcwglRQSGyK333ZWnWaHWbm
Xp6yLSz0tTI8BxGqgxn389md5dDSMgMTtDCstdBp0sbIDxSxFVJvyAXhycZ0oZrrA4tbhaWihXoj
G52dS96YnlPlMRJVmW/4w08Q3Ok9VVkzZxWGLjNkO8I9JhwFodwmAgoYkNmDc4KE8+cBmyeSUbYM
WFGXL0QuD22veZfnRATBHU01i7tknheI6h2duZYhUh/anIiVDZxXV2MimeYEgDB/KytXm2QnAjHl
ZSsEILxAR4smCZBeYSoKcjLbkz8pdkJFF2MRCJcRUrWy0yBZuoCgC60t3CmAsJHITW8ldVFj9s+k
a+rnSWfdos5LAdMXzU8tMQ65HqC8qdsNDNombeKoQ+wmGdpwJWLPOC0apb27PJwbvvXTJ3AbVYcq
BbLJGE6zeGTFQ5Xh0aw5Zca+i71OFIiKhpXbqarsT+Cch72GVu78SrcKdEg2vy5bJFjmfKa8lHDM
ByYsQuXszSgzD9K9Ak8qguAOiFCHim0vAyJiD7N2Fbai5gLRrHDegEbpDCUjDBSdzPc+J29sHphF
c7ACSLGX+qD8b1Ln8rhtlcd8Wgqcf6jAaqzJvd/Zc7szzBxlnrvcuGuMfUOPIxIOVXqH7kTBUG5E
gn/nn3C2I8f/Jcs/Rd1QKWHU236GC0EEGRB30GOLUYsgO66c1dK9bObWyQSZPpBTo0pS/SKR1k/T
MIx+2NtJnx0zoh26Qn5TwTHTzYFDprfLaJtbfA3HDerQMjWrEtgXnfraqaEkf1X+NM7+w5N6X78X
AuaqDYIg1DWtrONcMPP1NFZywPXv8nX0bDwk19NvsB6XJ2g4aa5DDs/kLvjOylmh8vSYJehSIKoA
VNwr3eFPD07bMzR4Uyu0SlHMueVD1lica470CqJeI7BkOXC00rBi/dh/5yRbg3COec6y1GAxQLKy
OektOtfr2BlbkYrwlh9Zw3DOt1PCWsvaxZYIsgFFAiVM0YJYfoIP+tYQyyesstboZTQm0Nr3kN0B
ReWufo0f8yvFyU/Fq/6Azr9IUBu2Va+wXoF8rgEtPnKfLPPT5M/BT8OiP1qnsUDpjBrClljS7/Kk
Pva1Zd6lz5f32uJ1L5nKeeVBIlHSVkCuxh8De5bq1IrNeyZKMggt5JxzP4G6Ql4WBz1rqBL6oVjt
KTqS3OkGWFW8zsfxNgEzoaXumOBFTOROCOdOWlOi4bjYmJpQ1bOUG92WweVSWkXgvsl4qBfthI1T
YanrghwXutwghsg3WZtEzsOsVVDbKxuOmlyroMeJ4oepOiOD33W70HCnWTCTX330ggk+PJTK4/WX
L04wUBiSD0ujbyE/SpJdDDFo/wwU2dxFVCSfjF6ZL+vmMxq3RQoWsAjZGjRIV89UjZAgvh3V66Q4
ZcVVXb2G/mFSfqrFe1OA5OipCX6ZGgUdWHENxgqr8Z2moU7bPVAt8GatctroqeqhsvRcq5JtTImr
96D2CmWbRM8+uoGaZpeT2Oq62xj59aoo8A6cOn6My1EYOikJXDJ5bQIOt/46j8udpv6O53dTfmqi
c90/JOOZli+K/l7mEnzGXdHvgyyyqOSaWeGY820a3+TJz2k+415nxldmdmY98hIPvuFM0S5nBz2/
R9xFp9jGhcAylMRh9b5sr5OgdkokBMtj2d3T4ipPXqr5lzw+tT10kObrJDtrhTPJv6TheUTayYf6
T2OG1hiAwCp6b3Rb1c+KuusN1S3it8r/UYLCCDx5dsHOSv+Yxw9S8VObGseYRlBbG07JJluv9GOV
Yg8hUxIXP+XpWl40n3dl0V6rfbwvq8aNiye/2lfNLkERtjncjwbUjI+q9JjMrzpEhNFs3oNzo6Lv
C/MKunPp6OlaeSh7dKEH046oN6mGEil52OXDI+phPDNBjCtqqt14gVraFxd1CF3G6wnfE5qRwK9J
2OEhubSVg3GovdaB1JqVXjVWK1vyrXY2nmq3qJ0HOUAz5WX/twVPkfXRTVOB/CWUiD/7+iolRVcv
1WjQdXZUe7ATO7+pZcu3Xh4oxPTy4ztaBV8atxKcMn/XRH52vcifr5C5LUSLiRo1zpnFLTW+qx4r
a36BrGDW2bJ9b7jGuXSbq2kfHjDpTryTRkt2AudJMAAbO/nTZyyxw+qwC/umaIMBn6HauLoB2nfo
Ds5x8IrXJwS0lukYV4n1av66DPw1JvlsPnfyhGY7mlBYxaNZEVot3TUlKhWy18sgG68wn1G4c0dO
sqEyyPI0Z2XXuq2dQi+BlZXT71rXPzX7zvYF0bkQkztvMvRImS3DiGbPlRUecg+XttqlTuP8bM/X
6Y7Yg2AtLUvl0lLiIthhTNT/Xyaag8af7of5XjCMS4D4fwOYMte+lAxGFAUNTNKLDg+ZPVpJdIvF
yinv8sdJfe2kqbKqRrEnNDd1sYj8V/0apqyn8QuPsWmmamkuz9SIx+7gPjUvP8ROcu07fyW70Znv
cepYeKGwGo9ZvT14yHs6eHS1Hv4fZ9+2XSmObfkrNfJd1QgQgh6nzgO3ffPdDjvCLwxfuQkkBAjE
1/fcdaq7Mh05Mvqcx4htmw1IS2vNNdecf/0gfvoe0OWHNBsmRz14hv3k0TNUFYRs3MIkugH9Ev7r
A/0cxXUbPvz1dX7aHLgOBC5Q5QXQL8Nk1R83ZVOJuW19KPcJNsZF8SbtyfnV1MPPvOkvF/myA6E9
AoL7iIvoOg7P5ljxEMsGmqggkh68BFZHEl2f7r+7Vr9c9cuOxAIxkFZsFoh93TTuNyZ3f/3ofsqD
vvz9L7uvAiF1dGbcFWkc5yDaoXuaWFHfCACILK6jrcKWH4T9xRb5s5WBSRke4JUx8Bi+lFhrR0fA
amJJPHJrzG51vi3ee8B/sS5+rlX/eXf/vszXIst3Ta0snl60BzuTrnmwK4/uDxIl5UV439+pE7ts
DyxB3+SvH+vPzdjzlV14KwHyZmdVij8uyZJv0RLVLZbkARvuwJ34Sccm83YYLICbXPyrQd1fXvDL
i5zLYa71jAsGl9NFDVffXZSwW/685OuuOoZXv8QBzkHsD0Huyx1+iaKE2X7hFS44wI06ReIauzTW
YeLnfQJHqV88z/PX/4urfaXBz72QBpo5EOdM6XW4M29oao02c5NzabTtgusROVCVTC8YYbP7Xx1S
fxpgkKBDQxMDDD+NI4VlsznO1uHqFckwds8jxO2Z/eom/3RXeHD5889DiP5XhD6YQq4iPFbkVfPn
vHNAMCMXw1G9Fjc800OChvZNmU+/Asj+fO3AQgV9gXNW91X3fg43+NSFuO6c0Df/FizxvEjFq/uw
JSwZrufXX7xM989e5u+ud/78d0kUI66YqkouCXfB8wCbWcReUu/G1AFJJp4dTDr+9RV/7tqfF+vv
rvglb+VzIYKO4A7D59LGw87UeZ8TEzc5BKBtPF7blO/IAaMO+8814c/qSC6a/27/5fwdoC5MoUOC
J/0TFY4bg9kbBCNdnXz66aOV+dd3+XMh/eUKX2IAyFZLB4Nr1EwD1A5tAXGIjrc3sK57ZKbbGemn
8Fed8pAZwGak/lV58HOS/uULfIkJpg3bwXFxiyQ4BM/LC6zVQRC+V/s7FWO0+q3LMQXv7L3jCjGl
FBVaev/f5oH88StEX3KvyhTTHJ1zgcKHwQy9d9qso4+t/JVb5p+GBIAV8JfDRv3JDXU0kxMOUA1O
SpC9vGCGBFWUQ8XnF53HPz/CICFAYVcbYEDny8pdez6V9hxmMZ/LKNLy+SpnJ6+L7Q9MATyw47QD
c7POf+VS/+f39+/rnpPo3+1RTwRb3424Ls7P/VTbm3WeLsrwV7o8v7rM+fPfXcasbAOyi8t0xRPd
0qY+0F81Jc+L7uvRAf4HyCDo7yMJ/ZJrcKXhsEPQVpidMaO8iaMV9jW7sLQgY4wxr5Pwf7LVf3/J
LwFuxDC1a9sBGxHBberAEPqV7++fPbffX+HLsqBLAdM8gSv0xaVdd139rZt+gQT+VCZhJ53lkiD+
wsBo+ar2IAZ4/K6gTSZSvVfTSUxvvwhX56fw04v59wW+qjzIFWOevMUFHC6LHdcALJggRdqb6GlC
LzKxzYvxq0dQKq9otJ64Ky9LeH//D74GpCp9OImCHvqTcAasWAbP9Pga7SeNKXxZZcrHWF5cNbsG
OMbk/CKl/7NXF4VgyMDdBobtXzVVos4UgVVAtoYAo7JtDJgFhuP/RX/6X2/r/y4/5M1/PcbxP/8D
/36Tyuq6hM71H//5n9fqo//bjXh5+xj/4/yL/+8Hv/zc7kNevXQ//9Affgd//F8XR9398od/ZP1U
T/Z2/tD27mOEB/s//z6+5vkn/38//NvHP//Kg1Uf//jtTc79dP5rZS373/710eH9H79hLvd3b/f8
9//14fkG/vHb/VJP24cWL/37T7/18TJO//iNOn/Hi4aKhIeRDyiU+sjBlo/zJ+zvmDSBRQo6dlBV
dmGL9tvfeqmn6h+/+fzv4VmvAVxb/NJZo+q3v41y/udH7O+hywIw2xkyfYySuL/937v/w0v690v7
Wz93N7KGVjhux/9yhnMw1NG+OI/LcR/kKoym/DEgwoK5HGiN4Y3NtAkrodIXTrJKocUrYjGDi0Re
pwlMsCksIBMYGqgYwHw62QrXxgYNOf+hLOV2NWAWKK57TRO6MjeOguWSu3fNJNA4w6CxRs2SDT4S
hNYJ38Nmfdx4W8V+fW9NUOxX+VZtg5P1xptjb3K/j2aTB61AG2hAsSGr1fGouNwJZ4OnjFhQ0IQl
BCR0EO3QgfVi2s17qN1vl3MJ8REWolshfL6jGo4XGh6iRloowPWEZTVmcHKXuENiApw2PblRdcH2
G53LOBzsfoCJ4Gkcut0s6suhpG1uSEvQR0UbWQ7TkC4EkBh1u2+9Gc0RJk5h3FuxJQq7mAxmTauq
1PHJdUE2rJtpzreye8WA/vVSFusOU+V9um7+3Vq4H2ooRFYhs8+s/zAHnZt4Z6K9cpzUXYMpDkTz
YXzz1rXLdKz9H6S9oMEEosuIAs+dwqMJgvp+oSHJlFn81C+3hE8LNIDcrjwq0r7Og6L70Czf14Co
nS7sISwlgZK8vp66Bt9NuKjbtMiHeXxcm+FHVXo2DvDQx8GWRzBsU7sEKHRUfXQqh6bSLa7WttGZ
4y99YqbtsLJ2zCuIsJQzv2D8pQZ0cbJbfV8OLoZf2+jS4d6UhnWNAmNs0oWKPg/IOmWVVnBYCJdv
sw7rxFfFAEUmMsabt8bB0o532FgJ+jjxItl23bpmPwfyVHadjW0UhNBNfvV1Z7OW+ncDg5XrUBWn
rnHzqPOyeqF5Rx30H8reyyvlidj3qm8FHeq96Ba88JqCCDM96LF2sx51JESubFZ+HyBRHc/eeDAQ
v89DrU089PI+HNdnTLttaVQZDk4b9OmElHFpnRKdfme8IUbGk4AhgIt6n8ia7czqr7uBY6hm7KKT
WvslE4W98pxqP/hFHavFA+C5uk0soXm385bez8zypGZOY6dg4GLShicstMMxGt176qn+CuMnVyM4
Z7TxGdBEiBOVi29ivy3iWrRdjJq1Tt2eFPmgzVN9No2vMSsfV355NbLv3F/vN5Qup0lG36DXsN6y
kr91G4mnGT6k1nchItXRdJgAx7her5MSvI3cw6TpCcPotw6pngdy627MZtPoPMLKvrioneWeWOgK
qH45VRsKRqGDq6W3055NaJ3j0akk+I4WGAS9lwgYPg+3lAGWhFzZFO6Xw7otdVJ19FR30G0dzVrl
0yz7S5BB97Rrc0iG+RkYEDIrqnJX9Mredv0Y4a5oXMBbOq30HcHKoWMDTGyNzh6MBQathyDuSYjZ
5Hr7UTiYgSRq+GG24OS3o9n7k7rlzfixdiC9lsPqXSi2qZxObZlOfhVmmuBVwqCFEh9a+52dcM/l
aYOA06UIY6+1LMa4Qjq7QZn0zIMv3ezuCrpD+7rMdR/5KfXelcKh6xSVPKGthpYNqYN4EGdYvXSX
GHQeBMVSo/BdSJuF43xYefHqBSKNjD8dojD41vjyqmPE7ie6XTGICib+JA+jU3V4ZhkjAM5Yug7O
+qIwRuuGQ4lKdykyhpBVblO9nyzUxf0+w6jmEIcK5J6t9lTu0/mpa9RrhV85QKoVLdfripgB2z4K
dwHrrjcHdmEVnZ5lGcgUoceDYrRIqsggwIYFS2e8NqvvGEat6r71oMq09jFBk8uZMfzeHrtVLEeC
Ab60KcMii+w65sFqw3h2nXgNGpbRzqrYO8eGBa+NTnC34rP3zinkrwMxpJAkzXixVEessCoWfeZK
qFhZXzgpX+WTPxe3ZcsXsNPHSzqsx7or85bjZnQU6V0d0pu6hodlJS1MHgUYK9HGYrFyzHnQaldF
H6rBz62UDbHLtxfoSZhMRPoYdpXJSOm3sTZQkCj2lZ26dFDFhqZjeOw5r69NQG64hl1moQQkemET
Fyx1jYdf1zkXLZysaB1XBCwLhuOxEMD/8B8RFkNmRxDjGl1Axj/YMg//Ldm6JZIMqfDqCGG8KY6C
nKbeaXe2X5eYiIbE0jFuWnBfw4yzwOKuhYoJn9IoEInHtM6YKHlCOs0w9GvP7M4Z5rGqjlsOjdNm
gHxsMLxZYo8WXHAYQpG7ol+eNeEsUd5cx7X2pnvYY5dxH4UXDLBzhM/SsBmP/lb0u8LuzlOnCTx+
pnRVVCfNOH0P2XpAWASiUuD8HQW5M3R5P+93F4fL3kxgQ3lFtWvbOiU1Eu+V+g9dOIrclvUlJ0BL
fRv5eWPGKi7hJl37tYEAIOUYQPceZdFjC9lR5SUFfxClokhHD4ximU7WuzQdqGNimLCqOh/DlNLS
eKTYzdI6yHjD1D0bjPtBbb57ekPmn8wtf3L15iRrM+EFK50M2guvLCao2Hq+sRFMd9/O/QGk8xar
jr1s+iyj12+7anE+WtElvEWTvAiXVLYi6+FvHINx4EJZBZa9GyaKand5rGToHq27ojHi6g82wOdx
6Zq4qNlno6dbxu3e4N+R6vv0/IFk05ZSn2/Qsve6BE3RJonOWlZVOasUP/raNP5ey43sXe0VV+j0
nyA5gXzEG8q0XPvblTY6Beshiuk07RTp5wfrw1za2ciQc/ip+RzrdV6Pk+qKSxcZGeDBLmuXMtjN
Ubd3CUScEGvGGGXaoZPE7JZ6u7fl+gOeBeswtmDB+jrGSXyBKzeJWFy8vGLAxMHi0J1bISdqQYtp
+MuC2JN6yA4WEnNBjl246GwL0fc34DZPS32sRnfOSIM5BbMEXhI0C+TPBb3Z2KVDQBSl/nAxMGqS
ULmXYRfeRLaC71N08sYw3C1jBPleFHMIUb6XQTR7P28VWIXnA7KboqxGZGq65TRE9QslaAjhfquU
u3uYLb0KiEEmesM5LLREhsBfWL+BrKra7nz+X9Wrg458aC8Cd133oVV7p4Jkk7d02M11YriXuy7I
VHSpdNqVK022jiRNv4LOQOTFQPYbJmfiQgUaM3kr/rJBvMdkWLULuwmCTM4CUYpSmXi9wJVvsBcR
YpVpYqRW/vUG2Y6xm9K2HlVi3Qhz1Z3sYuHyQ8Cn+k4L58EY8joX/nKYNgJrbSjzJqwXQ+yb8UZt
HjrXAux0Mnw2Mw/vuILhHKSR3bS3EX6mErfI8epYg8CQ6wpbqYIZRos5wrA61FIiFfeW96oGAYPT
d8uhmmnX8AnYZr9z+jlv1XI/1pAucmURF6V48tUGoXdi7v1+h7qZnnepqMjRMZCLLcDnaOn0RtEz
g2vKUUXsxxCGIjaNl0Ky7aqpWZiMIcEBHngma3svLqONXgR8yCx2Q9y4vU6DQqodD45SLhm4xd/Y
0st0CfBbXmDgzNh7eyVqdAZwVPrFc+A7OIShIpmi9MmsswnY1wx1PFRuk5Jp9pLFx/+ZzQfn2ran
0O9m5G3s4JQldBMV3qhtMgUS0Q7JaLeTPZC9sgiB+1dgRFCnP0W0BzsEGHuuWCRjhdL5AtJOW1J2
S7APNpNsYBKkaEtV2YbIejcodofRnfnUoc2QBiZ0slUzqNEsG6p/Ed6Sq4l1BzWw9uSDDG4WOe9W
ttxW1Kal4PwENSwcsp2TFd5m923jvTlIFA3vv4cB+Yg4utidVghF8oWaYTjqsb8eHWFPfmEvhqp/
5UMw7xonutHl2O23dXgJ58Dk0BeddutsHyZG2lSC9r5sTjbN83YcarLvu/C4dWV5MwyDmyEruYXp
yPPWGvQilcW5tAw4CZsrJei9ETL1OeaQipKi8lqYPW5IwdGVHg/RGqyxmstyjxOt5v77uVyctTwN
fhqiH3Hr885BkTSjoqEF2TvUXhIMqmNXeu9DT8RVQJEDFe4NnTZ+akQNLe96msDNhztW5dIfHZZ5
zCvpZKEhPOlCNx5ohCg842bFviKKX5QOaDslxursgu++1G0eigHtgKW90dLZy0hDy0LqPoGI5pYq
sX3TWEalcQIUvs5jRc8cJ/Cl6gWHE6Q90PcOuwhCpQnAQXM0JRAeO4DkI4pnzbSbAcONe2Zega4E
OVEaNU5vUP5VW9p6LjICgb9jCix7P0rAIvZ21GxVCs0GNo4mmfvmEwrCXticPNNeGD5I5DHnYRTT
oxkWMvjtYdirKlHW1ZjxqawdMQ62HGdkckf7vWxA1VrrdYwFX59mZzny7dYVCHvaT501imJsUYW6
Oa0ptOU9SUsohcnrLgCtqPCmE+MOvgWeOuxzinx2a2gw9IG+qCx/lFjJ9QKQyeCcSVS7DHHDsC7c
rfgx+OVwMc0BAAMEinnQ4GMXiOKTuobCa3VYC2iQucFd6FRPdbegiPJ5rvQcghI1wXi3R3p4Xwr4
rbFwJTATgHFPuPDYkPBthbcOThIBq4keK0GJd1LCmCFkAwh2ejpYjYWuRbiHacAJJ/e3kiNDgKJN
YvSoYgx7wa5wsVXS4uGoEKTVcGJD2mDLZlIiTA6kxOGp27dRV00um4NlH5SAaOZO130Ji4k+BhSy
7hhbqtQjpEUk3FYcd81p1v61xMx0HNbOd93ND7oeoelQceRUc/BJQoSSSARDJoLqOylYonvp5AFb
j4sob2yPU9oJLoM+qtJ5WKFaRRlSlTQSQMjVAvntgZ6Eh9mGSPLntrsbo48eczx6XA7BOCPi1ag0
1LQ1WS+392YU8iBCz08ZQKh49lmIot8cZucbbDvex9D77BDY3U1XsXbaT7+13q7xcDxXgEZHpEaI
Bmui9HIRKifvF7PlkQ5iB5KJhQ2iZJmiBzzuLQbES+DNOIyp4eLSd+s1k0WD7gEA2JRuzXXI171U
5d2y7pqITZcuCHO9Ie/Wpz88Ej5AoNnGVFMU/sB70HctjgAkc9VNb9bpXiJXJRpbqZkodrZ6FszH
AHJTA2JPB+beSEVSVZHcHfXJotkIJqEDcCr6RCVdxxOE/YBi1xEkqboMQ8z32JefEwyKYqc2BmP6
U953EmrDPOiSogaQ6QRvS903CeiDAo4FsbHeFUeZ0ZfukBNIecQODmuPodW1bMUnLezb2DXPwzKn
oQweejYWqEDdQxtgPpoqlZtF21g3yJaI1yZlWUDo42pUuNcW7dJsnsV1ZcVe1AjBdTAiEyaV2LtL
dQEtASNWFL19/S0K6x7tBDDPvE5gIDOqsnUx70G5iXTzixl50LM3eksq3OFi7eY2tSXL9QiKJHBC
kjVo9s5BcAE8TAJyxKf0myHDs/bDm3LqLyPSqKTxeJO4E3chyQSt5x6bRoCqkbf+m+hDlXfefAHq
4I2Rjry08JnGoe3q3I9bI/zrwX2HxMjDStw2byuZBZP1L6yy6SZHAC1llAUICX1H+6Su5ocxc7rt
qAWqIq8k2VL6O2uBv/iiwnGqm8MCddXEPdNhwuFhEx00J1vT550SNyLgzzh2P4ReS+BMoNourLxW
k4umYEV5Emj4l7FBYLi/QrtuHVqU3IRcIO3CUJdkkIL3RM7NCJ0pma4OeooFxbyzeJx9jSJr3l5Y
scSm8+gF8KgdGdsYZP1oJ5lxYaBijtYp1LFlRGSqbE6cDdNxWnwCj4Euk3x6rnxtd/DH9eLew/vn
cICNV7eA1GhxM9udv6n5XncGhdzqd8AT5BpPrQj2be15iWmQKRUUfTnYhMNnEBxbeOmsOP7rThx5
W99V4xzuVnQhRYjywNfbATK0Iq3aGhHIAFJyHX03rMVNQeci4waw08Dkp4fTete8DsLdYKwXywkK
I+0MizBqz05BMrqA0ggeUnTdbeYiEvMPbv02rwkEuTd+9sB8aIZpO0YI9rzvL9vmFEx9m1VtsSRg
UX3f1h7sr1UIDAL2HDPKy+dE+PPWB3cVuFyJO9/3wFtT4Dq03p66oopb1dboYWEslivYxkzhXVQM
Ox/aPDdnbCjWq8dSN1x3tHPMZdvj8Fmcs8SG8ZNqrSBg7G7YNNhuioEtvwobpf06ZAh0kNyLiEg9
UT4IAk8dQPDlsV+c+yoMgVoiQy/CukiLWjYoNjXo/Y1L9xPxb+vlqfJUKiclckDgJvmBql8mIZfL
P9cVHVtQpdvRizEBl5SiAxBgqysKj/WLfuBAidGoDgFrJdJrsChDeZqjar0uWxTb/uSzGCLkfdxt
DpT0GghqQcvTpKxQTiI46eLNnfv9BE2LzJwBQtdfMnhZ1jk8pkU8g42qCpErhxV5tJIplmg0smK8
21T1QKP65A5TD4yG+AktJaQ/VZ2WbX9DPTMicIKPHjV6Ny4tUp1SPYbF8NZVwdNGQeixC4tH9IRT
K7s9WgmXfAB479Y+NrvxL2WX1zr8DvgHLYPhbi76mPYc01WDgmzNWP0IAKjFrtnuagpxjfmc7ITX
yFVqJHR+Xi30OaCAqrbeVTEyh5Rv24rs2WwJ2Jrf2+EWFe5lv3ntA8iiAIOR7izGw3HJP9c1Uolb
ht9nWtzbkXupgHA7eNFgJBVhrjXPlFqdlMwhMk4MmUXjsaeXkLNzr7e1uyglvDNBVihP3Qi1aICi
aqJyPzX8s7U0dQYEtCCEp7Hjk6etHPOC0SJGmVrvO/2928Jnf+xflDUQWR506hDzY5ij3I26Bm7L
mPmq6DChOuTHtQ8+5MTmGEaWDBlkteR1/Y2rDfnZfIWyHfRzWR2BeHaJYouIyTY16baNx42CML7h
PIbucdXlngNke1mUSATctS1Mt44GFtiw54iV8PukrCI3IULcjaswmPgP71rJdbrMSFUWv0CsWfHd
/M3B61T3tHSPVFXf6cQvvMGHUYU8wuxsgEd13C/hiVjPfneCKTOieR90yO8dTuZ47pcl1kCPWigL
pHi3gL8aFwMB0/IKAG32RQbd6LQQDYjsflVCaEcDC+ibdscX/libAX+ixNkXIqT123Oz6hrY0nJd
DspNWjo/QmgBytV2rXFwYMt7ZaAT2QBRcsiMMZgaHQGjHgehlt3iVo9j02F587G9Y235bez16/rp
VDzXSpR7p/6mIg9q3xxkyo1CNwlORzK3CIiQEBhvdRRUOXOMwuEFs9t5ftKTVx8JisHM3Zq8Cxby
ZOv1VK4Ty/xSgnRGqirxRn+5VBqRDbIuacGWbs/XjWWtcYG/EEDofjmv3zsWoNVVv8ie7BdffGyj
CwRsgZSZKUgKe4jnDjIegL66CzXSHN4ne+V0bDfQYroUV2iXs7QdRnNbdIvMRFmQS1FCEUTikTRt
ESattwSxBowVK/TR9kZ4j9osuWXD5bgVh6qTH220FijMsK6WqAjTDna/qFxGL5siUx94c1WA+IH+
1RIcez0B6anbTFSwimSz8A9j321J/8Kd1b9WSw0I6GWVxZIHIX1ljYfQZUhKm6hD28ibkxZeuInW
q4OSZNwHy5i3qLB8oDUKbKVUUvsJ7IZgMFgeC5Ti8OIELuw4g024AMZc0znIA5fsAZ4Ml5CHuhcV
YD6OxMGz1ZoAL3/0pX5rVe+ns5RezBoALENYb/HQIk9pV3WlCsTcNWgfC2Hv0XFnB9YAYgwWxKC6
UBxdm1vlm2uu+geN7RhHhUSJKXt19NBQvfad3ubKpUjBJvdbK/bamCK13UYTpjheF87gvvKqNFLF
D0OAxBNTYDLEdEPG0E/qsZlWZGk1HWOogr7DL8zCOQVTG7PXp1HYbOncDRTB/VDNRbcbGu/B7Szk
NNbtyeNqSIbP1lN3FRuu+q6TCI2sROeevy7qvTkDfyCUjVUND1Onv+MmAN7fXzkNUhv3wpXiTq3d
hwnGvJ8k+j9z8YNKn6IbhNanV4exEyw0tp56mCOxxKCQQLvECy/CCehJVJrHMWDZwOEK8AMFiOvs
dRF+zBSoAgpl299BDeptCCSS9SJ3ovUQBfbAg3Y/VcUa99p/g9ERNMJZPGXehuRg9LuXeva/Y0lb
K/FgNeAldjU5FPMkRr4UYTSlWoZXVGV+RFLs96t52l6prVLlNFeyp3Pcdcun2FaGs/1m3aAwFICm
BA4juo99ewhJSa8WjnIZ3ZmxNVUujKr3LdPkpjjfJHj/O48wHB1hxBCN1PbIi+NqVIkGsmGAsNH1
XpVjj2U7/TAKvsaNaY5TAXANUOXljC+6c7rmgAbiwXa8uvTD8YcTaXGsUGKMi41yjLOB04HeECr7
WuZLZdLSX3Tsy3Lcm6hAGj8yQCN4Sg7wspPWYX8a29IH5F9IiKmr4OhB7hCkEMwBBYSPx6AJoJDM
fJ2OA2T2eXBflfIFOvNbPnjDQwPVFifY/CtmnTH3/RrlJ2C5uHXbcef4ARZ+MZ9k618iXYXHduOR
3ZZFNRKiijlzXMJGU9v12grv1neQGzvIxQ9DNN8sgfmxhXCfC5qYVWMAmGdFBuRhY4xsbza0VARI
YpATqDHSxgskNT5G/NmCRn155a9bZqHaklUeRaePeQZ+ZCg9dSevekhGXMhmKIGA8vloydgjVUC2
Bfxgr6QTJE6FY34M7iTt23SiE83KEk1vCBEdG2/65lTFEcmUA+WUvoUgTUjSQq/7znACGgO0l/Va
QfjezicQHyyCEfaTxdFwQjII/4sZnk/CgZ4RVMAuW4X+Z1EVPOaN+21eJToHrY6RwJYp9KsRU1YY
uIVue1G6Bv2FdsXvouk6LBM6NiEYf6irUcVIDERB4j8xpSyvohlRf3VJLsPuvnaEjnWAGl9pWmY0
CIu0Zs7rynqZeT16pGjbw6OiWPeeIDjySHFZELc8EgQSZNkwC+hofiYX8A3CO1QORTzOw6Ow/L6q
p4eN8DllrHqtn4ZuOtsmh/C3WNcR6luouUX76rtoDnEFpnZUuT/YqA+Q/8gKByQMNxnVEbSI4J2S
z1Y6YWp0bbHJ36Fi+4R+QYse0PY8j2GZcVAPY6t21VyipVNteUVlylrDbv112nnzqlN3as4DjmuG
oZThOWiQDs7Co2hnLu+2+5RD+xGI9RvFob75po2n4kUhv9hatBqDIUCBC6EGpJt6J8x45xR40CNt
mgN6QI9doF4YZpmP3th9BIE5ypnZ2AX7La2It+F+cDeOh+E61wC+boDC1sMTYBlUuV75qJ3+sWX8
gbQcIaSlQVysMJ+HLzFyyAZSP0CewHrk5cFpCA50HaaTKLvr3p3wznB8FdR7nUN+bNvgI/I3P2sn
PyXVGO6hBQDoZwTC6JPUP8P9Fs+txxS+w5Qfo2pJoxYjL8vqO/uNOWi2bm3eSJgAEoCdU9gCojQu
luAWQIUfzlrexpuMEghpl+X/oe7MluNGsjT9Qu012Jfb2PdgcJV4A5NECnAAjsWx4+n7C2Z1d2X2
WJbN5VimwUiJEinA4X7Ovx25A4JaO8kIL1IrC1K7oWlLt+UEXV67/sIpYrj/uiWjqYz2lM3Bjpv+
3tu8oiI1YWdDaFEHEn4gCo1MDCavWB8DlP4hVRV5NtNvEdY/SxDbhe6ofPvYMM/D4OYL2X2q0nqv
I2rL4o65hk4BObio7VTe8ZefXRHdAIrOIsrUFqUZWB3EfxUBqlkdyd/dMjVzufONGIIujDbx3QrK
qlLbyEs/BlWNK8bI/4r93ICHLWKQZZyjRsHslPuFugu3Ya+z5YjMGSgJfaPf6eaYtsmnlcDfzBpP
vhs547qV3bvlxnvTSu2TDBmBJc1PPDz5xogKlxHmfKHTQ/mJwcxOWQsrawzg6PBk7XqYoWvmzNpH
75Ji+VTf51/q6AfVDHFGfXRkfNIPo7MXfh09JSV+0UKPVCbxpbJ5X+W4GtzsNW0t9o+p+157/mbu
wZf66bXzVcc05OGpsJz01vDA6X4e2tScH4eqvERKFhsnr8Umt4NHpy85c6zaWuQTu7Htxz8ZFt3R
OesY/LVOVnM9ZKt6mPvV2EFidoV/cfs+PoYDfygDAigzTz5YMeh070rkWE45rxkE1e90nR0tkb2h
KkoPY91068qbIed9mrFwzjKyB3xwIh3OK0PbckXfvevd/NbOM2CnZ38MnQdiqgj4agfy59iEezGe
y4kEvmlko6tzDEt+zybPXSPZk9swvZkcRYtozuKdNy0taY+b2uzYlEP3LfMVh4ljPOW2AQNPjbWv
G4APt9+kbjGtcvikpbI8tRCmtoBP4t2PvEjTq1ZvYryV4MV9ZOhVoqaPyABHynFmlEib112tfqWT
uNSiPhs66dZMB87XEDMPfSHJK/QLemo4124C3jE7d5kk8spLnr/rzCaSuYw2VW7cartoF+QAr5UW
/b7swWJYo7zRxuDsoi7+kUotlo71WCtM1K4jG4DpvljPlUPATq53nlH3bwhNj23mV7B+sUkVPGbH
qa7W8cSsg9H4XZeJ3IbSiRbg3EBUShDeNidvROZaxEvNRzV2AWqyiBFRiLV8wrwL9jSe32tfE0rU
IbJbJt34U9k0jYOfv6OBs3fRXL6040WZk75lGHa2nWMYVEHFj66dDBrL6ccctPkpJcUGN3y1kNWq
qkV3kFbaQIIDGBP9SltvTvXO74d3KJVs07UFmF04k2RSLw2LBDO/gjJNIhwGUat2aeVYG9kar90U
fI66dQ4mU1DWw8pPQ/5tAk2WMjuYaOXsXZ0S8l7O3x3lAgcwnuHQD6LalYVkVFP/7NwRZFmcBMKR
ZaQn6KmWHSSrC6jSmimkJRudhi2LgBl88Ok8PJakr7zTpAHwuu9pLCOUGV63ERgxjBw9T5Jem5De
s+3d365lnkXeojLS+Wn2C3o01zj28uKkeUUNEgSrsM5XNSlFTdjfI1ymXRe1aLfuNPp/lK6q55Y4
wEVbI8sRTvhRQHba3fAEvYvOyXtLsmCLmQj0bhAlk9g2tW8/p2FxmuMZ9LxnsY93AjXT3wUJY4v/
6Px0TmeE5YvYQ8Ux5rTB9LMsc7nsKP/SASxdGPH3DgjHHSCVPCF/Nkb6pIL8gfEI0yIMeJa2VAcf
rTs7Y7DsYNUXKUFqHNoxgPB4s4y8PWTFdyMb8+WXCPafetw/6Uz/W+P7VzHwc6n4/291wGf5C21M
+bv926/6/0gtHGKA+T//Jcf9X2Lhrf78/PX5rzrh+9f/IRO2wn+Q2xOEITFpXuAyWvy/ZMJm+A8b
uwfabZBKku5M7AT/JRM2/8FIaOfu38L0isQbRf0/ZcK28w8mTEHIIWm/GwJd7/9JJvxngzE+HkL0
XMyTZEAz58/3/uKacOzeVE7siUVcM+tRevNqdm396AzBigHYSIXaEcA3Qg5pTirdBj19ZjPRVruw
jWFEsTCOebtGTH+tTW8k/AvGLS/GapdUGHSqN3+e/H9jJ/hLsMgfPzQ3k6nztDj3G/FnZXORG402
J7AeZdvVulXD1QaJX8aTApX5bLSwwekR7dnB8BAH4bAoR6/cOUm3+5en/M+X4V9F1vcnVP2P7+CP
HyRgvh/JoNw/y/2LO4NzLQ4LN0J+lc1ylcVERVSuoTdzawDROs7Or73f4dBOS8Es13VRgFe64fz7
73+MP5v9/vgpMJ54rnVPKWV8/Z9vB+3N0MSRjElWxg2uOXwGcCSNwouNmO7z77+b6f/ZzuETN2mE
Nv+Zrs/KMf6a2AmPHUeZhRQRJVZ3qVD79pHzQ/T6qgVlqmlBZaG38Z5Tg3nYXTz9tIw0Os1Nq46T
yX33jIMawNz9VZeU6TFKrPPgmBpqdajWDDoM1lY+GbtsAGWu0+ajpKMGPjP3pnCtnadmSA54RD3K
R2Z85HudtS3KifDV6EZxIFs9RjmRBcs2TeWTUTcUxMo7ysrc0I1e4jzaDH3dbToIlI3ZBD7pIWcN
unMsNQjtk1Lz9Dy0Pv5MO1g3QRKd3Dx8bTt02LmpHlzIOXi5cFlITIbwiHKVeF6zov9z103U/+7q
e+JH85iy9h5oJbdDYsVnUlOgBQuA3XEs6MSJqWn85ImequDnml344wjpsWLg1DycU0yWZz31+yi3
2v3gjjsBOrocfATOeW7Xy0E3SG8mnJwOMksq2ZDW3L60wzhs0CKeCQk31s6iE2NybHS0hKvpF6Zb
xBvmcfir0Yufs758zh0C/Jxk6zr1O7mwaksD9YbkHzK6yd+rftTINz265Rgh2xSLGASpQ1Udi34z
10G9yLo62xsQvWfHn46tHRYHP45nQI60uLpjxQQ8Jbdt6TSHsOp2YzBNx1oU897225fRE9Ex1BH4
vEg25tQaB+06KH56V128sAZwNNDZNW8mdfdrBdTfJda0sQGGnlqfmWdJ2ROpEupgHbT6uRxc4wLo
Yx1LYR3R5qTb2DaHbdaE0RJuTAKxi3hH6nSyddKYIbBSDJu+qIKtiONvCgyA7+/+jrDWHALmeC58
qPzdQPnTRwGtUxTqW3u/OARfI7J9nWDDD4YNb20KFS4Mv6/WYirDxd+/dH8Z9vnHO0dCrkkoamAx
9eMvO01Z+JZimk7M/CFzTW7avrPa/uhQiE643n1yTY8ok+uN9t9lhQ3AUGV06XPrNsDudxiOnwfZ
7dM+lA/RcyUtJPakNiJxR6Bu9Ectc7Wun42m6dg1hb0Q4Wzs4rk6B8Ukj12w+ft/j3nfov915yTy
18C1b3v46DA+/tWxZRiTkwxgY0u4lWLlJEV4Fo8+LDMqEjrktukJcJLuHs3iogj60+DP5VaEUbQu
q+zfOCOd//3DWOi5fNM1SMQJuFd/3kDzpkRXxujZhUERuMTgBYzUBmo/dXF1nRSTQhz0iifrfkmc
YILLN8x1yxguZxGXm8xYVoO18UxVHYJCJ+cqtZK1JpRzMwRMCe3MX5UN+Rt3MnyIQw6D0VpGg+Ov
y74sT3Nq2NBsznEQ3XTua6960kMtTrg41ELL1H5pmKe0Eabxm+AnC4x5iN6sWDlrUSTeNq+i6K2o
mu9qLvWDE3AL/92z+rPv8b74eFzk8N6NjwRc/fVhsZ7HYE4SjjlzbjapQR/t581JtMJYxKZfA/Q4
8cYH3HvRgftLjkH2GabuCiJ04Fy4izla179GdT3t57tKSfVyW9VFfkV4F8EuBNaznPw3ATF90a0Y
H6uggA6L5qeYJpiBKu6uaguf12ssHpn0htTdbSm+TXN6Cu4U+7qdPiubCGQxDP5Nk8h1sRMQ2/tn
WdT+cEM1nTUz6BdT4rH/3O+qJyNcerF9LZK0P7kdILTFbOC1ESPEHoIoQBOeeE/5MKpVk5IQMEQp
a1EHP+ykuhWOPX/GtO3pcCdwfXkbB3XVVCw7Y8QUWln+dJLlIPepgV4Mfs3BgNRVvGqTA4vZ1Stj
cJmSN4rqrAyTS9DINVszwGfv/C7TbmEEAkURz6TYyKyxluGAPUp2MHIyREwYZQBwhENUP02xS3DV
PsBaRw9xha5jDqd9WDSa/C2pz4LzUUTK3Ifaqc9M1rRWjakZue3N/q4WxqYln60kyXmtLJJjq/vt
AcVD8iadDqmYZb20nXMTheM9hXNKyjTgMt0kdFDnsshr8/kJrS9xrEq4jyCs3qPfFiXdCmppt+2a
RdGkj6KV+ika5mDXB/SZ5UDv6gX2dMnxSsnEZWq7VemzxUTlm+Wwh9vIVhJ5NHyrOWI0ao7Yp5sj
3Ja///slHty3zz9vRw7ILPUvMZtEd3/Frv2LeTj3hmaqhYL/dd3npE52TV2oU5KF9Ktxna3ixGHC
SGEszMqtlrRoPKmwCc9zaH0OhlOtsSH2mzZ1T6meq6MH3Q+fJKmAPbeyQUsyfdAOMxCjHgYo6B7L
bjIw6HjipmTzAEnG/BfDK3aAeJy30XyQsgUNyIYOOS9Uonalt57UOD1+XVQGVaNVc/UZ6DM2FRK+
oA9OeVdUyM4DyKQGskjMH/YEpQL3AauTuM2qUC3Sv+l700HS5G2fbEdqkM0Ql9N7U/Yo32X1OqXG
vBgYke6kVrCvRzEcAWiYa5EGrz64JuaNsNkXganOmeeojTMoFmOgXIbZ5O4qnwYEi+OQ75E/Oet6
6rr3PrDWhqHs18gu7D32Wf3Hr7tds5ON6b3E4L+HpO3/bZrJX4tji+WC1ZKcMdvxSfT5y8GZ9Z3y
LR77wmrszYDs6s3rvHM0AlTms0pwHQ3FIyw+EUbYuR400SBA3JEDdrxwNGYLBw0KY1HkfeKoZT39
/cKj/7tHKfxp6ZGbbOE98Umx+b9srvaoQ/gJNtfBkuu2d4JTQarFociMDeMAEbuYKDWWg62ibQrW
JnGXvLVpIdl+55fab3ZxUdqHrwtZozb2lblc1cZ0zSJGYY5THR3TIGM2cYmXp6zXYxElLz5xNlsZ
luo0g4KfvTzfBFTSiyCgLg6rOnuxMg8zuIJeLK9Tx4ABItmZEoQu7nXyCwZBluU2nWx9itow21ah
dDdYKBCU6cJ+qdN9HLX6GFllohftwOFmKc1QtMbZf332dUEZrTZuRwEXsZsuSxQDIEyI36OEEp3h
OtGqDDN/U8OjA/aj6UhdT52Akkiqs5R6LHxUu9bYHRgsYa1ciJ+m84o3kdXv7TSi1Bmq6tCZfg/c
3KB2cXsbWWzOvsd02bdiDH5JX44fEheklwsbEZA7HqvMrJbAKPabN2MeC9qGGstCSeAirAOGnZZ3
qdpL4f8Uvbvzi2bdIvV4rFPWehaG0d7rIu/oCSs9yLr8cM0q24oyguiRUbECA7QWVcQf6Bplbk0w
0I2nCCBP6hitLqRxOgUjCYute50qZys9G9AqSfDP3T8yyjcj6fSxqjwJ/VQ7W2YCC+5GF+ywGVfo
z5po0erYWvauLpee3SVPeNfOJc1TXMglG0C6V3HTYz9regy3NoqSROKHHfCcZX5rcpKo331ZLM1q
JAI4jKyDKK2ZORd+djQme96gybV2fpYiQaiGapEMvk9+o5kczaI9OpjVrhyeDDkbU7T0WPdY9v1b
Vjm/RNTdoEVeE9If151ioEXURt5ySAPz2OrcOn59VDl3zS8T1N7EJYzG+MojGPBrBTyGtnlL0tE9
TRQsC5XX1qPj+5uxHMPrBLHfTG2BaBzBY5lVx0Zo7KZTOLZnWyGoEYX+nAO/PQ9NFx2aosrXsRPM
aGfiX0mxyOba/rgTW/HRbuN+O0F5IakYnUuJkGErhepBJrEUcBobwfhAlUN3t3Riex2D2DxR/xdX
qgjY5+lmN1P5049Ka2E0s36oUiM5JT4e06/fsLwHyLfNmHj2DTVsiF+hzJaJrJx1TO7KTu/J0AlX
Y1noqyjjkBRtLFBY80wk61Ie8gJKotHztMEc6+9ijRWhFpH5ZEb38az1bK9Rf0XrOpiN7YC5ZCPE
EHED8gDCQxfmNo/ddNPrIlo57uAu0S/GV0Fz1079/DnH+bI2huiZEZrG8R6rsfQ6QZReWXW8AsFw
bW28rqZ5+fok7y0CUgrJkEgYtksvM3c/JOlpRr73MFAkX7JRlzAAob9sHCdeETNt7NDkEK4m/OnQ
td6iMcjPU1WMMD8akT1phEVzO5l7YcGQD0ZQ7qoEqbwY4/wyWiFOrIiV6aS+R83S3orYznZJGC/Y
srudUdUksAI00KcX9aYqcRwOnpn/nnZ0OMF6dENnX6npWzJm/pmuaDEY8dbForqtMl1/3/DPhUQq
rJe+VfZx/O9LPoAmtXmHHc7IrxLw59FmUPrVsQkQDnr1w2N/wc+HINVv+mSlU7s+NgGvXBiIM6uk
fHLMCnWJXLDRYheZ1vjrQ/CFNjwh5no3JOkAq3K6p6riBJW+e50zuI867oszyUNyadlM//QYOLXw
PQrLGW79WEEfLiyXwgTGffTrY1Lbchdk/u+vZ1C5oBMhz3hVaRXfkKTsMtqW0Q++GRVW3VjXMQJj
63dQZtOxieOVaKzXHtzyMN4vbY6mOss7/EtDHO5kMaFgGpMSrs13LniTPyY0upcgyNI976m5rngK
e6fqBrpsf3wMpmZZ2MX4OoSTu/JNVTOopmq+hRzJcgoeU01FP6aV/RZgx84xykatY7/ZKY/ZNlqx
z/BKxIgGsVkZryguLyRdTNfGxaipw/GhbYT7jN/jEldThHzHrF+SEN1qgC65bAxrg+a/vJj3i5vh
YtXVmxH11ls06zNtz1oIEx4md6ot8oR5k/XOL6dsix9G2V19TuTr8NXypyTKCuTwJsKqk0T/thZd
6TFWJx1ONuGIVlBlN86CemGb3rKxyATwQyVWrNvn0huMdVaZ7d6XHlgSo+7N0tRPTmyeU5FFN89G
nY+3xdv46Mhxk3IZ88ZF19gqnIkJ9gQ3fJi85Jzh4oIonOeTmoWx7Gnjt4jhPosmOeV3PjBO7o5l
bJNHLC9vlqjxu3hjnp7iaZL7dmy/eXL+Zcve/iZVtmLIQblxYdCXRe0mtyiuIsqiKlql3DtcwSnZ
yZqJeraFr0e5pXluJ1RcdkdaKWLaY6BqaxWHEq9iAakjM9ILOmQ0fuGzQVURwoRA/ojcqcV05xWP
yPuvhk79i2X0at2PU7Q2877dtG7NsVS9VtKt3qWobzBM7a4IJ3HwWxGQ9DCu7UZ0x3AcRnaHEPe3
Ke1b7ol93kyAvjqplwKJedHW9dN0P6Y9VxzT8S2J/eBHhrjEknVFf9iAavG+5K7fYCTQzdk22amz
EsJStgHuB22cwBmHRUIeA26zAHQLcRmixelhdhQGbEyZBTL5TV3nxaFVOKHwCYUI0pPuAVVWeEDu
g7CFgwOziH61qx8ySO2n5i6BEGXo3fBf1wsPE2/XCtAjJxtOUs/BJXFDZtfxXv7UjN314oatcphR
BNsFoE2RJi+o1x9av4+Xdg5RC5OcckeqEfX+LAAXa+cURO2zlBNbCj1Iv8jcclohYp4J7ZIHm537
V+WgGfUx7I1eM5D/MKDtbqYNk5LrU1yn8UOvHXFtnBtr0PoGWFOtcp96IgrFQ2hP4upUj75dHKoi
NLYeSny/74p11amVNRvBsiSH+53mcG8S576ypsjbxN1cISWPP3J7TnB5jmqnOzouY57Sa4lbZOGw
D5wZdTg++cFwrgOPnqGs8hWdS3o0tBvBP5f5BoQE40fQBhdn4gkZVpDuxoIhN6r4GKa7qFwJjJId
ejnDhIhDYSQ46nx5IHpkvLbQnsvUIWIAMdlEJ0Cfivg2vwAzjG/e93r2K9jZbLzMmceE6u4wmKJP
1qKx+22Dc3Rhh94ng4vLS16GLAf9yCgc8/g/F7+R0a5lg0qDhP3dBEmrjO4lTrziVDpQylDb4S4y
i4/MHCNKJ6QQWYBUtMeHKbHpX+y2/07MQXaoHZGzsHK1HXzbfvi6BCI4ODIP6Mcy60p+vJ6EdUmK
NLymXfJrtMx54w9ZRO2IvD1xnQPW6GBZVd1FmEWzULzGt8zwg72Mup8Yypud24jfESLGh0hlH6ZT
iJUSUuPE1HqHnoqBKxo3aThV6tnQGoVSaPSnuvJwJIydt2XakDoFMnbOwkzGRTKGMz5HWNkSvujc
ChQSVjotQxfFYll6J38u0psyMJ7oz8BMyFoAdlAcdhgQQfgR4mG/33L82se0J3816It31NbZSgB9
3fEN5gPrINrFUxDvfCcjpRlr3yQ0P4+VdWef4ZzY1DHw3W/mMCTewfUFlsIgvnKepQv7HtIeuupX
UncIjudyPaqJlzfQ+qHTzFRMtHeebEop2zG/BaPZrsfW7A9Z39qb1IpdpDc2I278GWhDQj88jGVq
AYAbSzP9mOeJUMCwgULvHLXIWlUeEAQm37ujJv/xgva2WM5j2YNDcRv839ZUh1cnxMWclTOWYT8Y
T3aJ1t6byp1nt0jlwLZ2Vv/ROrN7MRu1SeNM4VQL2wXdL2eJn3g/UowRIVw6JNF3WZooUarBxKdL
qgwhD/rh63InXyJTtSeHmLmj59qnZuyaa+U45bXf41yLNnRpT6TLzK/uvJ9wGK2HmlIGTw96cmGb
h+b+ETZXzFHaH9eYrbZdmiN3SLzqj0tSp3cNT3ute4RWpM52a216AtGMatd5jzDCw2bQVN3eHr0f
svGzb+HwOhPnkiw8t9zEHhBCl8fVenSYcxlnOtvV4d1E6QGtSy8qPmznass6ftF1P5GKUnc3mRZI
K5q6J/ZrDte+CdKQtoG3qkczpzcp8k1TG2ozNuZTdsdgZsP5zkg7NIhOQKoDQZLnsOhYq5wOdUpm
SF2n7Zp8lB4TpH4X5JSgY8Xd8qbugQXtSH7D16eDK1I20wjNa18Hx7KMn2Of3I82NkuIfYvxjR7m
ujLPf4RltWw8pV+qrE9hLBGQTVWrN6XIeQ2srGjuMRePKVLSa+h7+XW6joQhHuXdHDwl6tNP8QI1
Ag9HLn83SUSfkmXJsQ/x3d8L/1VtBctxLIdzCbKAdtygPnRK58BbbVHIGPY1dGo8nBX9Kv1biA09
sR8HsJDVXBXus2mJH8Y9goccT4Lu8nwb4YhbWxlHwFcJFbTJB277YucrpCTx5BQbhHvhUw10NcyV
fq2jdHzgwV5909KvCt7pXI80hF+/CbkT+vjCYyRfb85UP+XEMr2pNN6JLA0OaWQEhyYL1XqYyFYg
87dH/NqDejfJr77JjAsOSprkVIFYhNZJz8K8wqAlhxTr5yrt5PTNRiVCDMpAomHlF6DW87RVWX7g
W+pTlc79sy48tn8d2lsnypsrHrRml3qYISOg6aO0J+zmysi+tQ2KCyd5bFPgbsDvZBf6o/9Ru5IE
g5LRB7JLn51hqs79XMhNUwTEBCjXf+jtPnhwywI/a8XXE3AiFiTD1VenrBY9nq1ln8TR3mddne8m
/jQ6Jh7xRn7YureIqGHiQFIatCSzD1+Xpo36nY97fyiD6DbXxbG4/xlI/QNP+FsCm4j/GQDA7Y10
WnQEjgygiot06muo+Jrqyc3L6wBc+EViAbNU+FXS7GThCFNCgFvkQqGKBrfLKrSHoZ/0T3HS9TjX
EN9kHQO/8vTV0h0iax2jlXItb5Wjf3uuhbcKXd28VWnUneq7vYMmACuk+5kSfJN18hM0GVVtnHtP
Yk4m/JUZHX17j0pocaQoczdl6jZW0acfBeLaO656nJC4STVuzKyi9+2QEXhOe2PLr1C2sl5vbYEx
t+j4i6cez+wUgVEa90tgDzQ1fUh0aDymC8uKmm9FjFTSCd4hFZLrmObptqlnrFXynlzU+fowiHnc
MEpR3ozcfBy6u2GtVdTfup5xlJcUNZ6Rb7XbUpVFmpxg4l/giVSC1316MWftbHtowZjIA8kJ0rnO
MbzHo6aCoFhjDkM85YFc5/caO8H4IKzobE9FdSL/uDqNOB4oBXPnxaz96VvAiwfAgRB+LGgoytqa
3mWafrhVQdlXu4vQlt1JJ0Kfc0RUpjFHh3oKuBjlb8PU5dYOORV1uXG6tj637rwG4OuXVYPZ2o9c
9+j1CfEHcvpQwFHbqDSGWyQkXUle7a1UdxekId3FwxJ0AZgg1Al/y3kMU5rXuB2fp7B8xJT3rKfB
efBCE4snqSmWEvNbPdAflrpiNpctT5zq6SltDXoQkiX6ZLzIpr+PIeVEph57HwQTkVzh4ykIjO/c
AfMJs0nShcOZbF/MgqRwXJPKT65djCK2MNS5Js2kg0l/dQZ91ADMv7M7II+kK8FA+TKOHyCdP30x
eluyQVDluRbCdBjU8gJmz70KabcAxoaCYgw6S29TfG+b1GQgiOEKkjnYAQ51gj+qwmLZt2H0nEyX
Ph7LS6rznuzIH82ACJEh5zPDMmb5YJg3zHruEzogZqQa3r4OCIuK+nhr35lrjS4GMTNsy8C4yWsT
h/61ZWLIAcP0431Ba17/b62riNiJGtokN79ob4BPrLMfxt3IVMcI3VSERcPM3rEaui9jnG2S2nSP
wgc74saSEASIiULkGTeQ/5Ci98Hqyj3xQYGPyB4w16VBu87GAc1okXvrPM3d/T3foQzjAESy5ngr
yYy8f1YO+S9MwQ3ic5jKyZ2Dt4QvRZI2aupLhxELWYlcrREmfmJyB/irMkmivTHrRVRHJMdJ0CdH
AxugFpYrcAV8/qJ1n8bCwh1RIM7suu6uLHKMZSLEvI+8IT01hIAtZ3McyRFYuJNWv7yewTpm4TCo
S+XfEgtWJpybju6zxlKHyJN5AIXfnS3V92fyKpjJ0uGe7buAYnRmMHAz6fUAo7tQWWmvcxsd8f3u
VWHhAZVwC9sp+CHEmD2LoWjfSGG6tWUKivv1otwvxFZyFMR4qKhhltlYlp9WgK3K1qV6wa+abxIn
+RXCSO4Kay53eMB+KbNOcH52wbegLr1FQITAwW8Iig08eXHzwrwUZqrR5aJfjrKM3X90UMXUjQHU
l8TnjumAbzbBD5y4ax2/R90wXRr0OBggR+do8A2DdBguLhTHOrKIr0OnuYwZzXlQoczPgTNscn+i
XpT0xv2bT27QETKpPX59lI4FSQZqbbKbs4BsazGqPnuYCyFuQxVl5xqPq7DJPpSjFlSInrmiwa/P
I2mQJ+CNDUOx7ddW6efAkMajN0rvDAlNEEQsFVFOgb9VFhWsxViAlWkm3rMN7QK1Oj8Y7uQ++3lH
kY9vrUSC9sQDfDV7x3jtI2pDmWHYK92PQmcOFXZiX+Y8PExZiE8rDspXe4SQaeOcXK7Kb5YCb9ix
JMaoi4IPSjrx7KJC2sRBU2B9Lti9/ALEwrLVxqJXZEX4CD3GjujBQDyb6RIbPqXSQLGviAbUns0S
G9zmzZi/tSENctvnZxuB6q024vZBarUo/Ezcwjj+aakkOXjJFF2LznlVzkC1n4KHLSoGmi2alJTE
wowpExKxJEc02pLGkzyHKcxuzD+HxDUcR3PHLw39m7DQ/crUOCXAM88yy9YxybnLih34m/aL8BJF
0njOcw/1XVePx69PTam8ldYq20q/uCWWNM6u6KyNjpNpy/a5lHdc9uuSO9HOw7y15sGQUTQ1ylk0
sUzWOathF8zORMGq33MQs61T5vELiTi8pnbJMc7sYrd0GzqVO+YcMuqgC3pa8bjsHwbVFCcIOApk
Iwh2ZjqUG3xf/0nSmS1HimRB9IswY19ec1+VqdSuF0xSlwIIdggC+Po5qTGbUZe6qqtUygRu+HU/
vusyb7qR4tzhmnHX/VzIj3kY2MERRIgHVx6oG9TbBNDLMm/udALT9PbDiCCVuZE483VsOw6l1IZX
xU0HRIKlYUa7vEeEYrGzFkMNWJcZJa7Eys6z6tS5jB9aIrywgJ2uHZrowramZymk/cR0s/YYRWft
tqe8Je4SSLb6k2tktyYP+1PHjR9aDyCmzHgoUiVPQE/fiy7oT1JPiEX68++TqNFv8zgAgnKs498H
w+0xjzVmc2A1da7CNP9wwaXHJLFVHh9ro1KP1ogIOk7rOgvDF/q1usWkE4e3W5tQjObawy6L6Efn
kcEGF0LhIScFQgk94f3SL16FxqJug9dZaGaEs/aN9zI2L2nlpP+JZL7gpP70nMRZVZn3WyFKnDgp
UdY3i/jVCX/DyeBtY4wq3Y8+3imiG+2WoiT/ht3JYnVkjwd/xMrUq2beNwTZiEe13hNnIUp0hklv
ogo0BflDczbbp7n1QsavudnILmzAo7smVpiKRnJdAhHRw8m5D9fA0rqLuH8Ap7MR9Jdt47sVofMb
sdVjJhfe3aIQVoiqfnCTfgZDXwwV+2t+PQnQiGKbMKbEvBa7vo+9A8zY+Zg4ZYSQEmF65xvPIINl
IWh7lpJVd0hmhGgbQDdHiuptniXAMIc3ikpT69T3rnlqzcDblXWDPwLMzp2OpuL2EPucuLoizx+c
5nPI5uLkq+Czcf3kiT7q5Kn1Q0ZWBSHUA6S4Kmo0xCYU/uHvgwfTYdU3cbv6+y+GmDdjdS8Ct1cY
eIKdLCpx6kQRrXjwvDc477f9mHPEyyPvQOqKaVu+oSnmD0GO4YejIvjHKakeVBXYZ4PMSYCCnUfW
zvBz5wy4B1ynSbZCN5m/L9i1ZcvCo6XM9WuIuEH9mEpnz1po/iZJxzkocP1L6XjpScyzvaKLhV1G
0o9Ic655w05XIatEziZQ/1Dtp0Om64GkT00nWVnulSIEP7nZ2TKC7JgY09XprHmtlOnvjCJUH8o8
07KWMuFAXkrbKN+ZJeNRhoXnytZ/JnVjnp0kFdsixjLcxZa6JiGMqvsGehjT7GAFKOZN8OQUg7lt
i4ntNOfiE9lPbmM2BlG3qrgD9gScifDLzzZ1iV7Zz4VhBV+RHxzjLuR9XasV01nzUShMVCVXZcsb
g9hNX+Q7htoemlswH/xgitamLhvIZFqg87fMucZ48hEgNxUnj0M91B27hYZ4klX3W1XOM30IbXfp
Jec8QyJtdMq64gJNN4bZx7tBei/Q8Jy3JCKtY05NeOB79K+vxM4ZLfcizHqnPO/dzTq9syssrFwJ
3DbNqV7GMcQo9uXVgx8PZzOD0VYQAfx7dIScvYGCeCuLsxQZfhu5r5lY3MZltMsoiF0VSLAPQHae
LdGr/d9ncWu/ZdzqT1BkUeIaId///6PJf7bG1r5GIV7Fqe/ldhZBfAs1ZRZJRGrGqZP/lASuFvbj
ga1MuWJjU165Z1P+PLH3drpyq+47qqQ8aSsosKrxWqk0HvZBqE6KvfmrRdP5KZKOCcSS1SMRGrb5
AfZCAKf+Lsq4JqTs1p0jrbVGwUeKqr9bNekDca/q2liHP3kT3mFFZ7HLxrvyXuPIeZWW4+06Gw9Q
w/d1Lk+BjvyHYazMS8l8fKll4B9zLz0EGVciiRbzmOcpCCZp5q+51xAEy9L4w9YpTskUxPA4g8ng
/ENCrWg2kT/Pl9JV5SIbrFupXfuaN238ktU3ZiJvXdcJRgwCcg+M9P22A3+y+Pu0EhibqHJwt9Y0
W0/cnn7HEpNeZEEBU6FL3YvKho+YV2uK8/m7mf2ZlkhZPjhd48I8A1ky25axV1JwpCT3c4WakKzS
xk4eOtFfWjUgZmYNGzS/vwYBaCq7J9YjK1usW3AzKzDUzunvg2eXLvBe0W7LqfmSo4p3Y+1wcOXE
BATPyt480WEOThEC/z5tRrmLSmQhGH99Kouf0LTe9D3pIgVtvOF9HE8JxHzqmjpWInv7IQuLK7HW
D5bv8aFoYPqG2BT8uZsee+lOjy5CbO0zuEdR9zDmWDHyPCi2OZalFTdJ8KjBLE/R/UNa3Il3rdHj
9Zjjc1+f/Yw1rxZq70cBn/19qFsm3zbjgu2D5hohz+SmJJ6cDPohziE3W4HehpOjNjZ8hHXfWPYN
fLezjAPOilUZDaDETOvTFNULeRx1sez4xy+L8Zzh91hZhHztXNXPrgxOsdk3l7/PVF1ipjAyF55g
COrO9hdBbytW4i7xqRSf28adJx+GKh+AN7y3AqTtoFMMb/Y0b0VA8VUP5w0PTqHArPXjuK3o7rzB
oMhucT8ftUPlsS5e+nJAr0VDvwwpmzcjL+MNKPnkoE2OCJVpavg3LX1v9fRESos+b5ajC5cz9x4b
Q/jEZs/Zpf2oeF/VuywJnZM128OTM+MucKGUzP1g7YbUMNguw+IsJRHfuu3zVyM3KRzUjfpmy7Sv
6JqYCLiyTWQGk1OZnP9+9Pehimdx5qTyMpCJ2EC925ga4rHMBY9b80ZSH82jFNW2zxLxjzq1J0cx
YoSWS2F2fN/eZfVwLDGOZKlfcJXz2d+/z+PAhLg6kIbD33RLOGPujLYJCDqWZ2HTOaqN0ryNEzFG
Q3n1cx7cy1kyV23LEioHzQz6FvNdSQvbOolE69vA5efP8lyCFtyzCeMJM7DHGup/QVCsSAIT7Jy6
kAwa9PvBFO6j9Od4N4cIAXPP8lvph0T0ejs4Tb+Y60JcqhRrX9fNA5738KR5Cc82qPZD18MlnObJ
OJX4Lje1n0NojuuaXkmWFhuWYv/FDTQDIw6TXW7lzRFJn51KT3RsgHGxUeTEF/hL1AnYpmJOsM21
M2KfjFt3Q6o33fsVSEBtoG1ZbdFbwNSrljsDMAqUOW8TdnHzkFvxMz4E+HuaO53boqLoZHxv+3A4
/L2z2M8TIuYLnhIus9J3ciwy9x9yXAMyYgZRuck6h7d3nb77vFl3UyHjcxEY9raseI3/fhfEcrX1
nppj5QLm6C3EJKAlo7P7+3yO2Ihrl027Ng3ue249vRKnfqYjxjuIAVRtP/Xy7NnIq92AGbphOgA4
uE3qEHogVDSTAMgyAJJQhgftRbuG5b9UYj3grVnU3nCLeCJiBl4a/ZYlBBKC3MsyucmxuAgCF9Tk
bpqe6zaKFwVOtWaytuYs13IOHiRphmoK1kP71o0ICSfW8tfRNL4L3BVZAV+oHLyT1b1LFjITqKxk
7PdYOIbIOYD0VHevyiJNqyUQ4nURDHAvwkN7x+gkFwtYipo+XQTesvb2uWvAQT+G4Vr772nHYR8T
N/U8aykPtYoe6CbZAc3nde//8Vdcpa77EJJGBvDVv1fWp9PbV1aA3HCStYV+OZUkgasPFwhXLdBM
IpSWBKqSPhQpNMhMokx8x+e53QE+2FjQdVXecUzHn4Uo3MavHm5aNpEU/crEWjfiqdoGzGiQBxYN
8ASsVZy8QT2i/w9z8NQ1352Dx7iNkQWgBkVq2w0/Xjsdgn1qFdvQ4vYLLi+b8fCNMBLgiRh2dA3/
0xBf5YxK9jKnL6b1QXph1+UHK9rHZrw0C2OLTW6Z6kfO7AEQ0tD9Kb+KiRB4fVZFuZLgPovpEPaf
0ulPkU8XLC8/j+l1m3U/Znsy8QL4t8lWq8AFD6oAZddP8x8tgLMqJlWHdXXv1WdhQFwz5m2vDSbW
YnmfGkZfHQIYAZGEqYJHbDYnUBhstnMkYIXrzayr9dQEVAk0Gx4c5HPdZS/lkcj1UlqkYttNnpTL
Pn6LLZtNEO7NjkP8Mcm47/FXdyqxnJN0n0fzFtfjsi1g5QO6JeGTrTMPabZ+Tq0S5YMgt8ziPZvc
0OrOEMLCxeyTXaYdY5klKJ8+Xrsx3+NgMiL/k031ySEx4QyAhtDFvswhXDcwbhu4ExHZYogiAPH8
cGGk3qlMnX/inqonmEdnYclVajg7XzEQekP4Yo/VfqrllUzymgZ5cn5cYZpHvvwnuViwQj2gvG3s
1OZYZixazyazvlfT95RiXYzEZS7FGYTVlzazrUzFy2SyaRFnMffbnIQKSKbYk7siz6xlw7lSgOCT
Csc5yEfBd7Sasg+fZ9o4/8Ml9myGyTFXzq2FcIm/56sceLBU43MeCfuBV2M929/AfFij8Bei8G3Q
6gGvziod3StZ5wJvrFx7VDNyzSppPPB8qDaAXS3wy/u6NdY0hWxcbAHayVYN3QdYWTSRqPwRBMAh
CUhnxchx0V3SJSQ0JYcaeFMUp+ss5IAGfGOKq6fRr/eprhYFfp0slguJQCfFmYrSJTjUlQ+bhHKP
QzdCCxlIJEZVdMBdWIzcsTCJg+MItyYLCBTP+VWwS2e9cizKZF4wgf+mlQCwHTmfZW3weoxnUBun
zJgPXRLBWUCa9uZHFzd54Gve9dwiy0hs2WTu6iLZVzxgXA1CNDqQM9ncO1LcbHplaUw4sPd2fh2u
MuPA/wz/q86fh4iS6Qbww4rpAHRSsRxFTOdiuzC85LeiL1wI7zoWQFsrotKl4k7tnfEYwnqz1BN6
hYCJ2KbM9taI3tR3G+EFh9wpnusZywdsx5FLC7/wIjdIiZKkXgh+V+axt1Tci8kxk3cMG7axmGfe
XLnLCgaBsyM/OZv5U5xb74MQ25RVlglQw5yHozMF/+WmsQrHj9H7gjz4red8HxVcljBpl3gHfkU8
bYZCr5RhHLkEL6w4l2n9D7EIV5q1jZqa2N7bNBsuzJRho9rqRzqfckgXNpzBQdWXNA0NBq3oiAN1
49riE3VjKRyfOxPFF0uZdJsha4DUq5hlF3pdw52Yty20Byu6l6bQ3my36xpaGTwoDVGnPQFY2AYK
jkFlo/KyfOnw4DSTAUG+WydJSWM57hwjpBSh3ZVeudadvXLs4ltzB8L7ve1EshwgmvBY2YAg2nMv
llbzPkFQ5FJZuXV2MoJ2F7GmNur5KqrmBG7wpS2Ha4HVjsv/lFre1UnMVWtXG2O0VnM5omkFD0Vg
/svdYCuzJzEwO8cJcg3VQTHVQXF0lAPheMd+lbBb/ABD9HjBhRg24a82o20wsj7tQFSSareGoqXC
FtoyNO8YWhe+ROtKJwpGmHo/V+Vvy1eM3R9gsngCpP1bj+6auxDZXZV9k1auVgR1kBVL++CI6DZb
GFeTlLahdhU7DRcxHRduvG+RAKleglnkYPLr2UYbH4pU/MJnPaA8BuGM2p92OEz/RFGgwHw3j1mc
v/o0OCB3bS0r3VpOf4jrgkkUAaCQ0aJIsEhDpEgMvFtBtW/q9MdNnNPcdEAkHgoAsyF4vyrMnyOQ
t56S+1I28LaNE/U5rKVbRFUZb6qW+5Mj/QM338cgAk3OEU/Yco2y9Y+z4GGyzA3Q9tfBbL/wCsqK
vQW0rRhMj9Wd6pq6h0BsvMl/BMZBZ9O4y2FrmDTDTEn9AEsdFSM0D1HfLMvpP8/uAfX/Tg7BqCHf
pkV0lmm/TXtvo4PmArfqqc6qDeDIS++h88cFMNybVdtwJGzQjkOBc6ElNAippglezIkQN8UkPqJH
QSwXem1uZCebAAnlEMAXgttoCKx941rBmEMRKwYWAtOTnq0P7boh2R4IsamT8PMJk0S8huG3zyvF
Gai2x53NjmdrdUehqAkaUgbagk3byhIPCQplZ8x8ucUSYscqBgJYSdYbGSQcmWLDwXpbf/f4IVHS
1h5ZAyJWtjeDaO/tRdw2G0+be8+L74c6mMzs5gUEdTv/9jm9Kxmv6jo61PZLCq4tJnTainLdFMFb
wvxZcgW1PFFq9VpSBFAJc9/CbBJNsok8c9OBHbYLeA/pcPFLcRtx0Kig2kkjeMQwjEk6xcnbbTza
9Fp0YZs6DEOWn/2dHm8b2W/rxjxoox1kGFx5Z9Nr4bmgaCXVoR9ueZjeukAdhcT7Az8kIFuPxSoh
Dzn06dlU4sl18bXwPFdd7xLDCf/lGWOIhUq2KCKJiolnw83M3zGoX8TspWvV1tO+w66ymlv9pQde
5Zn9F/u1AF+ZImVxS8PyMCkbMetOmGRCiuGgbntRwyb2VibLBQyEDkNowkqa7MWC5WJyDoLqWMzN
QxE3/1EXgLQwVhdppI/1WHkkuZ1XgRtBlbBiGhu71YTsWwLYlF0vlqHJeVnzA5w9/4HbeaLVRC00
Gz0xGvswGeu109yZhxBXkogvZMo5S6Ssvd2guye6f/02fAiU+Yv3Cho9+HycaDl3r2kZm/bR6jEx
VOa7isRL3Jbv5hg+5UB9rAHjFu+X0eAG1RPHX40TNq3Ku2R5AM+oykYy2eUpxLa4rOomxR2PTt9T
xdTK//CSi+Vrh/x193z9Z/kyAKZ4iJiEVql1x9J2bB6LCf0XwM7ShCCCy5uDZ2InS65ab8r7pR8a
LPQ6ojt5sC0JGrHlt5AzJ2ONRdpdWJYmq1S0ax+/qV3BeIY+xu/T8m/b9jso8LgbCSg2SLMrs+BA
mQv4gFG0F37/S4cNI1PLAOSOIjuwihttvaktoOyOBbR91u27n78EcGyoisDVTVHBEjhtvww0zDQD
tJY3hW8wVAwMg6CMrRaos5WtUsfplj3TFxYOya0nZg8Hn93JpnFNhjNbrBvT3kZlwTg/Rf4yYdWx
kvEIjle+3lfJzgweko3wx4gKvsUc/57zh9X3r8EW89XTnJQ9nf1LEzqt5TyobXpioW4sujL7LJFf
FkFJfxKT7jTDapravWO2l79FXIrJrp49CzMyO/z0s3PccoWVmROEtl6ndjoXrY8Z0If4OvnUhIx6
1Q4plyTNTsvZ6L8rvPmx+58/HmEkvshYXP7+CzbGQAONoyuKQ+UXX0roWzNN0O0ARE5IdakIuXcZ
d6uDhWcnhZVrxO2mQ6hfoCZcGtP7rZWE5+ID7Rr3GDcYsWLvSOIlQJMdtq1DgZstJjRb6zkg4sNP
06FkWy60Opp7ejun881yGd0Mf1dVI207OWohot3SlNZPaYvnu1638C3LpRwAzGXf/tdoDwI+BnB6
2Gny85xjaE2PdvlsjvfCmLRZQ9f5MWPOunl0tQ3zjeIAwsbELqhvxyLUA5ihz52ZC/iYxVrUx2Og
TYg0aR1cpoGo+6BuzQCqVkdeviTjx471nCmikGnLhV2jlzTovH1W7F06OUd/eqM1OVjmlPSxaU3O
XlzdJxGaFu6EYAAii8Is/w0TjM+sGH8r/7u2ad7RnqdWNBf9FwD4RHurWX90MnvJU/a7LHU+JWZn
nAKYek3HwESW8BQInO8pD9Bl+4eswpMQGZTm5ZfAZ6mpcqj5TlavpTikFQYQDCLRIndnMhaYs8xB
PlRO+cjyCbSa434K8Nxj3fnLYWSx6BkunRdyNUgG5ZgbQIGOvzQ0s56j1VdW/TPh1i54AhNwJRUM
uZQJqixJ10+HqvCa48TCInQMmo2tblwaEMknyyKIrF4D9gcr4LtEPYCsU2u3QXXhIO7xWC8dZ5HZ
zVsdMbw5cU94P662cT59FZ73wt6c9NDwwxwyLufvll0wp56mXZKr/zbNf2YysC03Z2cTG96dJkcz
W55MfGFEbxqXo3oDdbL0X3uyy7A7hp0zMVlg+8wW7uxclItbq3gO2m6dP6Ye8bsGUpxrJQU3xucq
Sz6GVL1G7uPQ8cT0i3cpBf6QARZdRE3PIikLCB8dhiT4Sqynr4HhoYl0zbaYs7emtw5Gis6Orkxm
nPV8G5invgGZR6znUt//P0DTt0dYVCXJeJWwETbLL8/n/J45SbeOMu7Jk8Tu4SPMQBW5KirMyE9d
LARdmXGiqV35SGo5SfSDDgNq8PLjPGJwxQRgeOPnSLZSR+rcJ+EhNpu9F+IqCNyr1wN1FPkuNcq3
yKSYww/03hpJfAAkyPSX3ZOFGap7ZvsMpotwie9x2VKLONPKeVcWFmD92oXXqM+0SM+lzTKkHT65
S+o15P5bGfv4HGm78yKOsEP8kUSBjUBGiLcPIGdF0NzrJNz5jXuVJe1NynDfW+59/fSjQ+PDU9Ne
D4/02ZzHmnRHBkO0ML4lnjLDexlsBAjH+okJCWh6YIKYdXyM+3ocUTybls1sS76BGcIZX1LLfM7C
+WTH84081SkhmLgYTd4jYcZLXc/9roscmK04io2Mg2pZuzsdgHs0uNw7Huojx24NZ0STIVJTbfI0
RlX3U/dGquVb5t5NhjhsiePrhW7zfZm79irFsUi93I+fspkXs9Kreuxf/aq7mBHwutCv3q1qfhuS
c1/4t4IpkdyF4fBeCQqAqPyNmtIho5+K/1yQoiwE4PIm2t8CBCKyZBlPFo1QXMS8HE73zrEHVxmE
WgYOQa1ZvgdySiHOELNWah/MwnpJO/V+/ycT7qvRKAiUqGee/+RH1UYp65W41poWx+/RGT7LMsNW
59BkaOAh0dqgk6ykD0WfoiL/NXjutwW8/zZWq7HkiPH3dxAFUc2qfxSYKfMO4vt41gPPKBoAoQlU
5ZNojb3bD5dQm+feoZtEgAFPiu+WgcEcnWts433t+3WbMKlISwtkTnCmeOZXTsOzE5GsSvWzUVQ/
Dq8s2XovhnXbSwLlPLSe3LS/OI4EZHN/T1PjnnPgUofeLNkPVO7SszngOOYubB7T3oiXTmH+YwFx
iNpyZ2C9CUV289Pmh3kDGWn+vV/kHYNXblLExoA0DaSmy5TTVf6tB3HWofUzZBCNq77BP6U4J2IU
aLrtyJGLwUmvodAgWBf9peb9ljblt6UYueL8EU7MRvWIWdZ8quIIJaM6Vu17OsNvJgCFzyZLnmmg
xYrm/ty/RrO0/4vS+KuMwfnq+iewHeJPHEZGuzUW4FaJyswpurxaWckdoCbGxVAnmF+ZXbkRy//C
YJ16MCF4udx4fO9c/8AL+kDqdu8MgkYLFTNa6XEzOOaKS3yLo/swzwA9xF2WcztAgFSTzuhcril5
4RNQb0q4n50L3LsmLjPYykPEis7e/S0dRJJJ3cYhLs9jGLJmpoqK6sptaRBCcLRdLnrP4+zmXUbZ
/lqkyUjV2u/Uz3Gid+1tS2VZZ9SsTlyHPhl+CvcCQmCp3p0g/x09Qg8W+WCac4YVIe+JethoXDLr
HQfMs+zoTrY/nuwsJs/reI9OgnYMB5EevIbXJ7dhcQ5+f8nR2CkSYcV+R4qXEE6Ah97rdcyTKX2w
KeMdllKHp3gAlyNN5LWakjYGLzbbWHwCM1pEDa9CCdCvbhU+RJseCLgGxmoaOHKMOv5u3bFYowWk
ll+uK2Db4EELbz1HbD7cZlYIpvjcoIQHS0u0HVF0sK5yzwEnWkd1pDdOdaSZBUSHTR2AvHpJ+2WL
IV7muPhW4pMUubuIofC1hoeBQN9rxkB/doUJboURJQzyb1EYj5XiVlSiMmNpK+reRba+gF8eVn0H
MLWdl+hyPrCz9KEIs6tWkJsyr0Hqcp9lHppblepw05nzHa3B8WoahxcVuDY1B1azDlgxH517CsIz
/H1VFfFBFWa4pRzhIZlrb5s0PEwCC/YAjbKbGr1vGRV7og0ckHIT0Z91IPbDPqWzLj6bpqKFtPmc
5D2ZMDAfRDV/klEY+7FLodurjMlOaKSTz7kyv4cI+K4y+DXWtAOXYq+bnqHOTYLH0IrNpTnb5VJm
1rF2R6ANE6mnccBdjtg52j50WF/8y1iwLsKKxPWdsAsp/MGLWGY7bDkifq30u6945ODWYLRlxCri
4J9FnQO5vEX0Ch/GWJrmkC6Nwt0WTtmRrSzSReAWn34Xv+LDJcIr5m3KAX075fouJYS43Gh0rLrk
4kT4D1TPyaoO8UywvatvKFf2WnXTv74EGJawezZRe/m2UgNXhxCtrebkNbTqYDL6xet2aMpyl8rG
WdD3C+vO57nbjetp1DjoAYUs7Dr9NQtyGk354kzegWmbs7jbUFY7P2SxbWx7+jY7qjt3mZxeBdSV
xSgPg2LwKRMOXUZX3/CVYmsjZdbwRgQxpF+go3KwrQbGljtggbmabKO/lbbcC5uDl0HHozNyFC3J
5CTQXBJWqZjDGanKkhKhitTRQG9pBBIZ+fpNY9gnO2K9+eyPXfgGkYCx6UyAZirYAawHcbm4I6cU
V+mFHXMo6jR1YA0rNH9f1vEJVehs4dOu50Asr/4A6rQv5FcfTwfbTI4+bcaFyT7f6R4rMm0xNPnm
Hv3hD7eGu4qA7uapu93VBwMeeohKZttvfJ6IDv3FOBUPOXLCcEmGrlt4kl5zHGisSQ6jDlq8YMR6
EmmtMst/J1b/Hab9L+PhR5TSX0Oe0COkmKasLVLWY8MEf7Y0/wv4u1FClx+UwuxXzjXheqQ2E6Rz
Dr0YlDBUG4/Qp8b+ARng2uA6XQL2vhvOVn8/m1rWD6JasyB4KXo2YK1gwV7ca7Q64dPgN6Ct64Mv
UtJYGDLn+8OpDAS3JesF7+i3WdE2KFJn77fZVyhMSjeHjxw2rNWUpxhCumm0zxjKti5z4jB258Zx
VrOc3zKp3ty2WaWcHsmycjbnuI2PeXxqc+K95ZgBhMsOBSIil4H+DESyjUkN2C6iktLEbquE9h+2
9MuhSEgYkTNacGyIBGFd/6koU5CmwYpMqElzA+nkikvF6tone9bkqGbgRKFXoproa9fRcGXN/PJ8
Xw3ySZbFi2tjTjTu30BNYTGHSg9GQcmtN/3KZ4stMJ5OkpbZI4Wtj31vv8buvAu95jpbtUEF8KmW
Jm9guyMYVZGDYHvva35Ly+xfJ//HHlS0aPvguasTDDkw5Xc0A0CpcI4x11wMXDBGU1WdOoH0vdQV
1G1fTOee7rMuf4LcR/u3TxGKVoemj4+IRTgXXiOZMB6QtfHS4NXTn/WcXhyKxQ23eaaI9WQLItw1
wFg98824Q5eDYPhyHfUJ24ezX4YU0xrRegpRi4wwndk29tfOHFmUM9TC9Qju2zSjCa9MEVzjfUKO
lyamobnMrt0vRWa+tvhoI89aEXHrIY0wHcOpDf3xPDP7LoxPN2fQq8iWIJEv8mTE2s+V7dcec9gY
f2QhwELr0dE5j9w5KplbC8p2PkoXLT5LoWCJgastndDBeXPfV2y0Xnr4Y9ntoc518S2ruE2XI32Q
2XhoouCRqM6v1dTnPpx+wNGQ8w6es471HOsc3LHK2QUJPmt3ylJCKsEXhK2XbBi4Hd5fTY8ipQV4
6VeAbexUuAHAQufIU7WaFE9QP5PO/lRK9Ps6xYkTQ+kDLDevs3gNGTVcE/C8g6XDXVdnZ48RfGNR
8VpNydF2UJTmnjNSgUu1OeVc/hmIqgUQvHEFjgINZBMKeukN46ADuobmwHpvKzLQNqvJ5FN23YUx
GIw9FaLwS8ODrVnh8eTm0ehvba948TN8gTq7ApWhZre+vpWlYXF2rcnG1bRXlAHnMJoV11E/vEuT
/mWbjgcKnCmpEtP8ieP5uSiLjkW+/VOErBBBovKq04Tn6YqhghLyoQbWpN0EhHn7CggGXxupvWNJ
JAT3rrHnutvOZcM1ICD8Djy6CIGhD1Mn6Dv+DzFVqme4w0TlLiJyVDkm1oDpqwkRaf0yWwz3CG3v
1FcnnVeN9PEkJDbl4SljixTviFVfXLBbY3SbNVlfemeNfeUEzd61hjflZ9nuXp0lfJ8K6jg4Ch22
7AMx6fcUnDn3giItkROJrMPOd8hxl/bHHIdvjXvyKTpmdMxRPRrjKVQ5QbuM8aE+dNN0Des8WUQR
aL4heSSwd1eQ4+e53USz9evVmsQFzQw0X9Xb1miPgQrf7PIiOt5CukJ9ak2uDZwuB0qJzjmtLsVQ
UkQ+4DMpaFtiDTlwj0tZ+jo5NOd0M1XwtyElcXbtHoOJ2LXHYyhYTRjeF6YTbHX4AhkZhmZ4bwWp
zS8bQ1Mq6ckOhP5tVEDhNUd9YeqX0FZnrbtlMPCneJEAhh2YcmH7J+6qyF6tMyz8kIxLazXvJE+Y
++3hcSjocakwItSxeBtVfovs9IgZ6zhnTF0JFXyWXZJ3hcq1DHjPYBlFZBTnqbY5RGZIKIWd/wyD
QwyaDACrbV/gxQQGYPfTUzD7wTJqHto6edRhQSqwe23Iei0JTfG+pnhgxgxBzrf/hF3zaUzrBvvz
giyVr1u+Ay03xj4wyf0F+L1fwfNTIB6dmMJPIpO7uU+qZZuTZ8kBS9kGSjn5IkoYDbxsZsxc8ffb
WPkbHQrPpBKY2f3qTLPwr2JnQSN88Ym2AYhJP0ytoxjvydikunmNQ+eIK88vSenao8V3obBugbAw
vSJ4aHmEDwczDjGbibM/Jf/j7Ex2I0eyLv0uvSdAI400ctEb+TzLXXNsCMXEeZ759P1R+Tc6Q5GI
ABqFcsizEiUXnTS7du8536EheBcSlE5M115Z4wEfOcnLMaaCRGjI8wiyyv2XIK8dgvn2fdLjdypf
GAhexkr7iuaNUwmqJPelw5keuO4NmdV7X6tvBXqiyZXf/bfQ4DCtjfTdSh33qWlAzBs2dhe/CrSn
4Bi5D5QBRniov4Zs8AjGw4Od9M4Knbi3gNdkbFMtj6ikkK34yyh6iUvuzNBwH30bRrlsNlbN/loY
jJ6EbL93mfNc2gSPtqGhU0vaxNSgB42xZ7R1/dVlTK8RfVvL8tp2ww8GIicdQAwgn60mSIhDCMhw
utySKX+L4ipjp+EQIEd10EsKyBbcMF624cZATeMUhksMzU6JwCWx4mRh52+EOK4Ht2RvHXGDa5ss
wKni2DXXISrZZLRikwycmAP6SLJxTjXBDJhtozvAhckqF224rxhm95yotrpfPNhlYlKXk4lOd0IS
pctu7YzR0ugMsp512oMIDJd89luW5SgFq+JmJqQe+B5jZEA7UacIP0u0JW3YeinirFp4X12FMisq
ACIDJg0ogvNTERNLMPjWLGyxz8SuoyhU7Mi1n+ExHatgPeVHyy2+DEWPpVCnWp9EvqM/yrzWgYbr
MhlOa6J4x5hFNW7873aLPpvUEMD86X1b2pw3SUxb4L1nLG05mOJqyvgkvunkgmI2IMeEdPu74cY9
xmJhcILhuQsXddJ86Tq2WGJ2eEYl5SxJikT9FeprqeQptK1zVfJn+ppdboxO/4Zxel5lCECpfAgk
wHazIVw2HR1FwGYUiELuSXB9tsA+MlU2+DMT7jcNPfadZ9oLzrDbVO9/sPJD1PCvQrighlJmFhwX
iQCN977GTNun44WLBqQ8ZffEww+ACA1wK05MZbYsEjnGD9LVmF6jsykohb3yMmS1trZ9ld7NzMG1
Xtv1qYEdfNcipVqLqN3kIWGrQ0OmaDpAMPPLc5+6r00ogiWa8Dq03JWwcvJQfWdaVkj3EyyDu9pc
pFWEDEQEjyGBKaso05eZxVX3NB0VTlyitHaES6t88FAfTPUqp4nmZrAXKLY0CB6KfiJdL1Q/1WPC
if/A5rIOrORBg4C8Efps25la7VpbHuw6EdJtwqoli0eThtYhLHVM35mRrOKyxgUX2f22VdwLocor
Tn3ya9z13coxZcFhMA6IXGE0rXvRkcFf7vRXCnh3ZfrW9yqbslXW+fhDAnEzAjlum5rHAGMKVOO2
RQ4vCxR2ycT5xvEhylWXTBRMh3u6Cx7FHaO5feGk2pnNnYR3d4SZNp/tvPEiM8bLEUOdPfVAsbIa
8MIGIjSVho+dpIGBDN5aArIRS7/x1V0qOkarAlSZoe0ore4GKDx3qm6yF6SKBMGGUKK6gIzzoQnQ
vozTqg/eBqTme6L2dhH19iJShb/y3Gk6oL+mixEnnDhc8z0gCHphyfEtTIifp+80rAJ9xNoy5gdb
WzaiCjZZ0nIL+5ZHJLsZwcUKkiccckw4zNjfoIhvj4MDogJpohetmgKGEkAPzhENxh4GtNW9nVrT
XSEMc1Nicd6RzOktS4aFT045rTtlnDXSXn+yMq3h6sh34gIh5WZlfyIV6FtYtbSOAv5tw8hpaBsD
sx7XN/95i9wnxRcEYRA41SkVWnxLynvpV0Ril86ra77Vw88SCOnxH6JpXL7i1yc0RzxKoaMVZzc+
dmWQ7uC+0lKOc2dVqCY8SNqtSA5CaNheXj4bKr36QUfwHf9fC1GU2uXjBR19sgti6GPYb++Qh9tP
jI6KFXys6sT4myZdaXEr5NOeEB95JIveujfwIQObil/1aPqi1ZN9VFGCnDARwwLHr3n8eJkiFSGV
zdeZJ0m/TBYK+go6s3J6qSfOiX2mskeNdoNdOu27e49Qu/pWzwWj5TXYfp1pBAwVg+nqvR+9EhcP
38S17d0daN3xXHlgr7L6lYIMgX5nG09apbztx1tCPMsN6F7Ww3aSO12wyRgmgHYq9UatI6sut6Od
CNqjZBaNcbnL7WI4dSRCLrKmLY7ZSLqWJ90dqiF0q9hb3pr44MJ0VPOxgFk1mWNSd465A/5TsR3Q
MqQK74WZbSOYOndWaXYHtMcWq1v2VpegawCStGcxyasrLe3kZ5jg8mGIT6LuZxijL5g5OPrJzT3w
CKb3GnhQUOI40ZdF1BXLNOSMXAeO/1h4w0M5Ee056gjlOwdTklHl01mHRr2na9ox/wqcA24JBK8R
0U/AzEH+aupeRml5TYrpUdg21IKW3RoPg2DjqoZoZUHmXOcGsptBC5DaDbBDcoM2RGsm1HuRWiOq
yi+RG3Ub8pchnzm0yN0ydS/tzC9kZIJ9NUfZ5DbK3YAQu+WyqdHLOSgyi6FcxpWJzgz5+grnQM5A
fIgh/PvyW6vl6dk0vORMEMn//OSntbuj6Pjnn5tmMu0ymyVS5UNySFIs3aae1C89Pc1YNNF3l+lw
1yyQFTiHGCTMimV9hstU7XaykZeAwU1uOeKHVV82sLm9KQS+EciNa7eb0a5oFoKlGaNg2HH04Wmk
McDOj4ht5o32wHSeRMC2NjAmTwPjxfEQlIZMrzl9houqTpt7TCvFnAWmI4Z5LL0mv5d1QcNp5gT7
0ePgK8VvCoEb5/wxhZtf9QrYqLQGtKZ5wb9To4sASbvSOEWd0oYurTvQa5Wmxzy79/bkW0/nITxH
cc3/ngfA4tswWRAVNq4VwbHnHoSMr0X7iI3mYLnvZUBk3NRY4aNHl1AiQWFa1WdLr50QGA8vlshZ
0+3BW7vQlugXiewCAXwVVHq7HvREnfAAhwtTTPjc4hS2KwwIsgfnH2Pb/hH4yQEH4rhVZto/OwNU
qmKUI8jjqX+2LO0NNCyMu5EgTyhl1dLhPPA05qRNCrt5cXuhrUpEzRsn9tIXBJR2LJEz6oNcmFZl
3ZURbJZYujhMDHdbuOaVNKHhZCR5tvE7Th8k3xDWxDACS8III6Mnoot/dOhqEIfRCL8x6rTxqDym
OISfL5kJ+XujZLzeJ82uMcto/fH1xMO31ByCeyNM7+vcq88GEcwISW39wWTRWGpVnN8H/clXSNJA
oJX4PuA5jRSlWyb3/nQcZZFtes1AKj48uxifHrKWMQoBacF2kHRSlEY4Hw18TIO9d6mHuFt7ZFej
v3NAN/RJvWp9C91Vq6VXo+oPA4pnjiMZM0FPnSTb0RA++fDjbiNaJbDKxjt1kfYkQj6fEtUu0nVt
M8jE4evhOOONX8piCSZTMCH/vwZQ3eY2s8iTroPZm1kYZOYiZ5nqegvgCe9oa9ubgSb9zpxjw9GO
idHr8f2iN3KBSG9Hf3py8ZxvdHtQB/oGJCfG1N8FtgyiBt2FRe7EJOvwZMvs1eti88EaYyxmGk5X
zzXSY+kU2XEY1qQ/r6wOAG9zIcP0bqpJObLNYeNrnbvPHOniQiffyiv74Z6oaTwVtg2rjyMyoshl
5dWsLfMxtkKQde0xbyD/GDMmVNnS8EsEpEiBgoF9zSLhydJpNXhMqZHUjPk5Lo0H9PXx5sP0VGSo
daRLz2r2+3aNqi8BKK7cIKpxNjMF5lhtOoIxMNqK2VXKKLOZFEp8IiXHnERPdFrFxsLPzFTVvp/J
nmtbdFzchh6A69KD0syATDKr2Bv2ZB3hqigO1yWz6NmNZLfxJcsjtR1GOuJTS/kpk2oHha8CQlrR
wECJrG+VPXfTUtRCXUlQsxPF+aqfGQsGh7GFrYS7/3iLimlXwZu8WlYxHFVadqdMz4MjDcgFIk/P
15uXsbPGk1+U81Xz9CP2nGRdGjnqB6cPl0aDBEbLGN7IMehxFPMN4/TtNknQdgdcEiugPsFznkOQ
SX2YOW1IhqExaD+5Efmgs0zC95P+CJZLX4/09q4ekkfwRqN4JihoRzLYxhtQcFeJih+G8NLrOcjv
RCHPpItZHlO7yzaQQDk11GDgQOxD8ASLeBNe4p+YXT/UPreVEQ/jkZ5Kv0sodBArmvQxZt4UB541
uZ6sRD2Y10ma/tptE5K1UPKCa27TZ51ctTjom7VZWbSVRDXssYZraybWF282ddGqM9eMS39+MJba
st5WNKJ0K4hfHFIdtGEaTypftkLz8YUMwZrF7RgWM3a6HPh8nJLy1nsCM69u8Iqtwncfep0tLDUK
49bZ46UARscWRTe7zaGSOe5aJ3Vk2enYLsuaeyLKAedVzbtRqfyimc12Crhc3fTV10EK2g6+/G40
7V3Y+ptqfsiD0QlpsNVqKyEG36fODuDrYWROdS7h5nIU1eQenNgtKaiHtJ6jpdXRDk/ipn/MXBN0
Uvg+1Xr9gqASnWcLgC1VOH1yG6UYMdM5tmMEL0mz6RpaCnJY83eZpw82DT5ij20XJX6mJL47EZKN
Pv8USr482hw20e5PDaFpB51myBJJSfqF+v+FhtJxZNLXjBIOn1UieOvo1LLU+jFkgztHm+L9AMXj
oc1qxZ2e0JRFb91k0Ftp3JzLpKrYHkYX1g3kZ3+QzbktHONMmHi08NzZqEZOwUPAoj61FRMICxxV
Q5P2ziZS5GbXI46VrAUhVKctTHGBESLy0ncyLI6p997T6c7dBnqJ8jNSfGZ1TEj4L7PhSLP4BZxy
nfkF6W8CJaKzMYDwFqwIcSrTJDeoX6CAJvn7P+vpvKg2fj7sMlbkuzKE92bhjly1yrEfcG9AiTDD
59TSLIYT5lYyxFvao/T3oxtFwA+dc2vG+THPG8QmCFHo0paAdWYpi5v/8GLX2phT5yydrgaiKoiR
CdPyMaNbD+nfpPSFaoA8uI+PHy9Cepi3R4dBsp11x8IbaZUx9HwjKpCmXytMso+RR+GqeRtbS38b
kdEtFBrepCrg+kYfG2JkbXqEffdJoMgWcvr6FbzgczhG0bt0go1dxZtZ8XRz4BmQnIMsHOrrw8e7
aXZHDmH++PEOBjXQ+PqpqCqi3Ku65CidpcwpC6aNQVY+thEJvI3CLxbQk7mqxmZIOCOmNBJAmR4m
4pTKIFxTQZHuqFIHbVZxIFnSeKroLks6p0c3sKdTH8X6qUxsZ4GaolnSVooZ5ifxoxXo923oyB8E
/Cw5yGL+vLq2Nr5HLe1V2jprRDf4ccvBYy5bVVyE+SVDEnEYEO5jqaqQhxvV4eMncJcUCeEAvJZ/
ThxIbr7ZUO1+otzTpPET8843BqDePduWt/cCxztlonkBoKfPpCjvNPRBw2A3t1Zg0aILMAO1m/r6
cZzfOQgB7lxZdxt9Ri3p8fSdNmD+bBkEMFZGYG8jFcYvSQHKCNBJeZZN8ATkksOnBrF90KR6dcb4
ibIaOxeylFDq2nUUOkODCM1i6pIM2zIP8CCspVrtHZwgaW9B3321ZlFzKCsLLWOsHz5e4vknTc4S
IaTTK9NtYC7PQdvKIJvZynTzqSJKeDlOurX94O1rEemnKQL3bRIRyzQO5c6DuMnk0OUBSlNri09E
HD8OEKJhvhQXZQ7/f6oIfjZUckdmZHQ0O2u4jeBD9AZHY52CpdLD5honTbyNHDJpdU8gORzy98xC
JDpC7Lg6ofXSMwy8E4Ml34YxWcZNCPXEy8W+NMyOlGVhvZH9iiCtb69iFNa54z5gpOF0c8OtXWPm
8C9uPfqnyO4WOrPAy8dL6nD+tyOXlmen/YiVSywYSeFXqHXlsnHEhTvwSKE6nvUyprtHgsxXnUG3
ntCni2Pojx+ladYo4A9ErmgTLCtNN/boSNKZ/k+nPx3fCJz9S5qIRaTfL5EOiMeUrQsSHSyLVzXn
Df0rTcTusy5p44qa1RPNdizS7t6db4N2aG6dnjQ3rfXajRY6O+Ksv8Bn36o66XZhlsUHxunXZD7o
hX4gGIjxtf2/t7medxzgi+8k2avSle9FX7pLyx7tg6xi95I6zD7hFlu7IWO637hFjBHEj08fP+mt
S/EdWjyiZtnttSnieJFFR5ez340C81vFproJ85aU89gBYijaRw99PfCrzLn3FEyxAMriItWeyNAu
UlZvLat7b+HIQ9OE5lOHBm1lMM0TrBCnLCrMZTJEzvLPmRmfEz2kKU2hhKTalFA/9DmU719Xt68m
L4gsYAbQBp2tJdu964qfNAQ0bB84Gv/824zP4VD8OmXqRA1SH9uOo38Kh2qxDnOAIAYtw0/yDX79
neXEzbe8xMIUQr6/jb0bbALZfCkaBMiWCfNy7FZVWfgvTCV8535irLsvSmHuQpl8K+IEjYKfuLvI
ImHHcEvrWkxDPFcafwm2sj/nE0pTKcdSNhQYw1S6rX+6VFFKYCwZ3gu3Eceei7Pn5BwQxXZPUQx4
J3FNTvd8X6a25tqZUF2LlzHP29PIDG+K2OTSQVaLFHIBjoJKW0vbEitO5R4il/sx0a03zy7LZUGg
0apMAlxwBH/vJEg+PxjCjQrKn3rNLMRCJLzoG81YpJ5GB7Vm78ltOdFIIJEsKuuDNhUu8Xa1iyLL
PEpDec+2Wa2S3F6HxJ/emTRoVlSRa7f3ehqu+Czbcq6TCyjOBZZXzgi6tU5r3WNsEp2ksNZGEOin
0BiLdR/Bea1y/Jq6mxCWUHYY8wXW+T/fLSizf3v2aSEzEXcsaeq6+ByoGQtQR8LE6GHa4mzyQuvJ
d2mVtOF6wKWHM5UStYWFdzGAxG31ZqQ+wZqUZk6NEjBb0nkqb4o0rY1XlMwaE0aDXcmZtC5Z+Iph
7O4b0OaoQRBc+sn0UhEre0d+t7tsMwYsYHPtPaVtc6LT5jz6IqLDjJrUBjiMeTq/tE2T7ayqCjco
C92nui4ewFW13xL0kwbNsfhcT5F4RQUdYrgsk68GIjoDtEpnzV0Er9ZO40ibwQmMQ92lzKrngDwX
p9lKwB2+xwJ4MRrfvKPtwrG69vRbJCxxGdBcFOQ5OzWswVw/AF6G5Gr42t6ZCm3fmaMPFYd2Yt87
jL40x93bWqvv0j7scROk84CMvK5VWJvTEuJDdcN7Vy0nDBImAdGgzNPmnDQGKphQoGrA1Jrk94Ze
HwMnLJ5E64lbU9kL2n3OrjPRC2G6uDCzC59MoqR3hhEkdPD29HOGDZk51D+B2W8hhchV7zOecDW9
YN/HBOizZjyQdo2UQg8k2QP8hDypvbATO0SKh1vNcbIDOLXm8Oc7TH6OqpK2aUohbBY+3bXkR1Lg
v5a/wjRFi+AcgnSqP8ImFh8HvlUN14sDBo7dtq+2JiBcjIEEHsYgbe8ajmirqC29RWv66pxr1imE
WReO6as/IQR3pndQGuOcFRSqdDtgXz+OjbaEmcMcgmCYrNG9y0AySarL9qiFL6bw3Hsc9mZbulww
fbbKQ9IKZGh8qSOAFWoPFedVs6B5d45L8wVSPONjP1j9+XpY8xqWJ6OfZ7vv//t/KYPrMYfkEnGo
A1539E/ppzp5PdCHUSu6JRBQX7rjXus7PEpSaYve719dgUzFC9oeyyp4OxMt4Rmp7MGG3XxUXOpt
Kdqevnn3EiT+iMZOl2ckvNFSJ8AKDKHxo8E/AIkSMMawtAK+Zqsei8fO3uum/YyhQ8Myz84T6uIp
WtLKFGswYBqo13tvAqtE4PQ10nnYNYFbrQxU8o5JEapUTLxCGaubH75hlLN3nuuGWHJFdI5lsB90
mf2MROssNUZefwnR/Vj7P1830zRYq3RXcdk+FSkcVCPheXGOBYWZPOtTjYPZz7+U9ZyANR8BrD71
donQDwbr/ImD1j5/7wG8x6hnImdhQy2hD+lkTzywP/LoLaKINQLrGTmFsei7ddZmUBQa4dzRM8UT
qzx3USjHWDqkBe3tHidNrY8TF8zyEI9ga3bbN6uq0WHn5DaNHVlmgg9IIf0ltOcoCoxjSchRompY
5kAerUbRYePvAFN5dA6Yzpnpxg1dY+MJZx5C2V/zyGyPwkiWpmQiqOt29syR416LRXHvmQK2WnbE
OFTfWqLBC47uiz/fn+Jzvhd1Csu8IVwdZRWAk7lY/NfzGiN01GXvFwuph91x6FS4q2L80k3sHrIy
xD4ng5TZNWhRQLyH3B/7Y9uo9ySPYLmHqrqKpAoXXh4zb8QuAbm7t7eoh/+a8/hfn5SAtLlgBRJL
cfXrJ2VGwLgDqygugWAAfhPQlgoWqRuJR08V7z2zkWNbRmpFb8Nc4cbdVcTQXNxJf7Azu13lfZfQ
zom+YDxlmtOmTIpLz/xL+fdbcc31dAyD9c8xLV3ac1jlv66nl2JV85o6X4QTSCXdIhQoJiN5SWA8
pDCcEIsixcf1l29xrvJ+fVrotFmGQ73Jf4XxaZUpskZWI7wMfle58aY84FxK8wMSSisJz4EhK9dG
lxSwWADBZdNo7ORgvUGzAvdaawa9C0ybf/lQvy99EqaV6xJlzxRNyU/lXRflVWWMgDUiu9m1qmxP
MdD8nU9zaDUSK7INRDvsiiRqkL/KXT+2T3/5BL8VxzbLr2sLyzJMxyHS9dcvo2l0GJn0JxdJhOXR
hXyNrc2D6MGvkkiqNrm0aH3G3Y4GCttmMLxw3tx2NnEvpIuZf3nYrPlr+PQ1udwXumMr5QpC73/9
PE6LIsZIQvJUgvYU2F25yeI2wqeVqLekAoyPFGanZ2F6og36CLtQvICBhV4eSesUa5PaA3J9sdMu
2XGGEbQi4mBtkypjMyw/wGYImOe5EICtWrSrRoTe/dA9CyvoY87aprmj4IN1xyDU8m6NlWk/nfLU
1DJ4Jr7tdTIG8BVzgg0HMA2mcpQch759LeYW58eLq8C+pLZFyjU8w1vl1O4qmoL7hM7B2SRG6y7T
h/B1MpE8anXbHz5a7h8vWtj8kE7qbXuz9o9/+Z5/f+hsQUnDPstxiFPQp9vfis0QZxNCBT/rszlr
cmUOZv3sIAraAXSfljiwuzujLNxjTtq5Nw7pgzGPlZ0go0nyyhkikF4JyM0RJ6eNv/7585m/P562
sB3DgbllOopt7dfvXcsKSFYTR4ISd8HJUfl10ut2FQwl/NihZSDRZP6yCp3vdK3atTMHe/d1hURk
Dh4aCqtb2S21iZN23iX3Z9M95fvHCzRqFL+jnm8/3jb5cwgy0TSQ7xPd7d98561KTfajAfoc7DV3
FxZ06lI5hWelqwPFiXOme/iXW138dgy2bdMQDgGpgmOe87kOtDku6fQhQoZZ6Z4FIrrYXumeekjO
0f2IL2vr+TnJ5rV3hoa1I0apPpjzvzaI6R0D7yuWFs60Q3L9y3fxe4FKRaYr20YtKXHyz9vMvxfo
qoRagPt80TJNOGla7QJNR4dskm7D02mstEAORx7JaecCtFqWtDyb7E1PYQURXlIcg2mcjm2vm2fU
NBlQzFAuKtuRJ1BG1mke29MJU946o9JPsw6o0TR8idpuWtlYQGmjhNZtqBXWVaDES3AgsGMU5NSG
iduf/9b/2NxtyzKpoEzLJDPuc7poWUlZM2UJF8qwF0Tg0ahuDHRphtIuyLzXQ1u5t6CE9onO8TAE
WgBQ5jVOzWUbFvWRmDXz3A8N3ogUoQsCFtJZRehc/vwxjd+/EmXQA6AYU3xaqr1fv5I0QLDEXTnH
x2MkoXagHq/G5nnymFOl5Gn4Y25cGbCIaxKlHPzzeKlYlO6q2HugOKJHlOdQ/J3YoqcF40aO066F
RAvamBeLAxlNXIl6wyV+5c8f/iPa/Nc1nQea047Juk61Lz+tPVqoEQRej4jf6VqDmkUS3rbDY+Mq
ecTg9B3DEXgXBI1JRXQeJ35xysKSkO4IV+efP4v5+0PHgYD5Lrud1NnTP1/IWMaukA3wpuqUIpW+
yxN3fO599A+uZfVAvrE4anmyrx2RXDrfUQe4rc+659JjjULjGJeOdXVbAURE+d8B5mg7O6vmvOlg
WhkiASZXtsePvDl94hnKDfsNhu0x7TjQBaoLX5NWJ+POhCISl9ZwTFP7DYisOrVFBXMWneBaJwdx
7Sc1I6L/jz+fnZV73pktDPqn2gvfWZyUVZosKsP5MU2WOhFV7G05MAvoLlKDh+gW6woAxNXNDUmy
6NC9CJupitda4SYvAib6VTEngaOn7ALnQbNGBvLWG3FOySmmNbKotRCk1Py2D3O1D2OzvdkCeeOk
p+qYOla1rRLUkH5tFGoFe33F0T6Q4l2RedGP+lGiJc8R68q/dALV7/UxpfF82vwo5yl7fn2KRj5O
ABM+W3gt4MipuMSl8l+xUSVHMwWh77C7bTwLUhZf3bAwivwVDFNz0qccjUmdkHAVkKfQDFH46nY1
eiArOQVzuywZXTwEoLotDZtiTBAkVpBwyx87HGTjTTARw/apzxGL1QURZ8aCRXZFCgkAf880UMf6
RGulwr1mOBGWlirUudb8Yk94hg82qtUfZIorF3jrsPZ7i0W3cbKzLxt6HKACdNI3tNo3n/E3vRE1
/tiZHokx+NTuyryu0UaK6hqqotg6qO36tp7db/WjqcdqF0M2WxttbO1HiAkqD8y3wvTsjR23ZLeM
acpZLGAYyWRwFQVxvbPSGYO7IrJ+WnEBAzAfboeLpbef3dDpoD+I6UFohVzi5bc3f76F/2sptBWb
N51jk6a7nCuJf+1O7RgTwGjosHaJqLQKz75mXfVdzzD0ZQhuNrF1n05GsamjIcYWSoSBHIwrJDXz
yWFA12bVHsuqdxtg50Nodu8TgooOuYNcr8eB9fGOhuN09+fP/R8VjsIb6jo4ZE1D/VbZgtnEjN9C
RTQBH1f4EMyhXLRj7a9ivQDLyFexzQBX7kRu7YIAykNdM82pgdEudM12D/NbNX+Pcef98JweKUcz
kuhVGWScY/ZbRGOLoMkgj6HTG7XxTHxijDKo+bjbG8ysB+E78T0z4H6OmB2wBxhfzDCZmFLU1r6S
OFf+/EdbvzVT5zJelzq7q8GR76O//a8vi9HRmMoQzKerE47dw244hCQC33Wj365qogJ3jM+ik+PR
OnH64Dp0EotupW5MdvTlR8RMMSeeQuoJYcfDUycuNVo4PanNIWe2Q+aiUcgbbM0LcM/hytbz+DRZ
WDgbfIpqZcRVtOsH8VUGRk3/yK+JUFpAASDvPdjWQ8oIBBzennu53JVdV6I0VfVmHD3yFirdoCKB
oOMGVJS2HhDV5XRX11oUpCK+mt0WmYz+otFLotuGfwtRZ/uX+/1jd/y0ezoGLEtHWgb1sfnpRGR1
NcQaJ8sWdhSa7CAkK+gihZsb1MF9mNE07GkFAG3v4e9ocfuA6CciB77LblM7GXejX4xbV+vCa29g
WxKogzmbxFjnqkjRBCJ/YT2Su7yWeZ8fDCNGKtB10ZNTVdFad9zp0HVASdxS5AJ+mQjWuc/w+eMY
g5HTXfVeZsAKdp2l8DB4f7SXq1LmW9SS7x/v+shwCTj1ykWq5syNShdbAh7wb82NIx8q198etv+o
l1xFf1W6tgmU1vi0SEQuOkdm4hAMCN5Bk/vU5g3ODANxwsfbLC+2Vui396Xbs6prjrXSwOfu7CK1
Vzat+G3WgWtL4Ox/waYsKx1vdg78I9klqrfPvhX3F3860DGGTMAEnl5uft+Ho4+XpFrlEaA0BP7D
zp/IbYl0hcTH/MsfKX4/u1OcGw7TIUtJR34+03WebWdFbKLvKOS0CeKk39mh/Tpa+Rs3xz/Ph5Lj
Lcy7YSmBBR182xv2noJAg597+kst/fugzYYB7WJmoFLFFvi5ITloeRmyPnEG0JIN1VT+IKIgvMgJ
e3wdILSKzGorh1E/BGn5VljmqWNVeNXa4ehN7WvbjsfKHiS7siuXVlcS2WpIBA80DhlbjuTnEnhe
9z8gCjlf/rJQzTfEr0+ZI2wKAy6kZXPs+VSj2gTZ4Zkc8di3MLtRZjlrwPC3sewB4wZJcB5JTj5n
JDb/82L5VQ/2tCgXA1gonAlEmwYgFdTFMM3qhb+025eIwmAa8TY0LcyGkwso8tD4Evg+Md1rO8rU
4wQetgCO96AnpNwMnlaebU28VV5j3RoCZe5Kt0ou7tVCivxCJZ+vbcMQOFimZlk3PO6Imklr9VO8
LO4jGQT9OcyzcZNoL2XS5TsfyvsiNmub2qpoF0XmNCBFNfsak6rrhw3h9Izb/7Jo2b+X2QzR1Hw1
uR8UbtBfN+nBsqtiQDaGLhjkMAiOGW2q7el/aPcSjMVKD5RcRJkEyl7hkGJZqw8fWSU1pNCNN+LJ
bZXECaqXwXaMQL3PzQhtasJ7c7pPNHDSmuhC1iL7f3Ixw8ROj6nVHcjEqv+JykQ2TKmlkTSYU0sf
/t/LaGY9MaDXllHAnZmm/VsTMakrFZ6Upg+dpybiLIqF502FUJrImHtn1EL/weySW9mDmSZ/A2M7
oqEIJN8Bpni5SJAhbTTTBYjV+S59YOc0oNuPYtWs9Ko1V7HhYLkugmzNMdI4QfpmVaB6q0OmimP5
MIGfJfIWmMNfVgrzP1YKBsmGjXjKpNP3ecTiaJmHloPl0JlNlaMZ4VBrje5shkO36tRoXNEeQSJY
tTauOVAwRduXB60g5EHj6wLVJKatN+I2mWLgyE1PdJoSK0MOoDjJl8Vz7OpHfm+6DKqiXuejEVwV
lBCrmqJLbbAUomz2Hwh6gCKJKrrOFcyICSoqmNS/9bp+7yHOPSSL/zgWC+TnCjFuCENM8TWgOHaT
q+3UX6PUUW/lrB8JYlft0/9D2Hkut41t3faJUIUc/pIAAWZSybL/oBzayDnj6b8B2PfcttRl1VkH
RdHubpEEgb3XmnPMMlrcnsme0wyyJVLvQ212zcFQNmPTobFWupB0nM5w/n6V0d/flriLW/xy3JWg
pmpvNiD07eEYkTu1rYbYDXucXk0rjA8aEcpHoYexB/nvYX0qMEqoopFOvlHasLKIgrNQ6hLZ3qly
FQP5OoJDIGYlukmm+rNEWgX7ONV3CQO8jcRse1Nz8zpUpQGJNvbPVdJKG2UWrGsvSsV5xKi/Deds
/kpT9UBiXfoiD4LotQT6bXwz+0pY73hXloOR6F+gfYZEbAwviRh+R5OaXzXSAIg8ZDSU+jYJXqQi
lQ1aytx8rklxOJB/UDuhLhVePvQ1mlIzOBdR62/SRnTTslj2z133hUlodIEyti9jHQlbcBWk4IMt
P22Gd9d2S9INTeWdQNSjvz37+RIO3KMB9zRT3Xs4oNiP1eEknGt4UkEkn83Eyk8ZRgCTEBJHnYVp
b4wFWHU1GrSNyGZWVm9dPwB0rirFG2cbkxhUurzXdxJRfj+USvrKBXtkFY85ZC4DNJpmLcNI6srH
IbGtGczQKHbKc67jeAo7S/yhDGR3A/nfWp1Iw0BH5CQxAdjqi5EgA6nmmq2aOamMO6DsK8ltqgzr
+TiWDw1vH/1A3E0BHBHyNzxp9hkXJzMRjbkKIaqFLn9i7L7kxgz3Bpkr/gcD54boN7bSWd8ri9Vc
XNbqffCZCVfKSQzA+G26fvlGRBCFkhAoyhyJE7tRZE9+X/jngqwhhLPf9CzRQV5r2oOFRZHJ8Qzr
e/IKrRPpvBJBzBgXXk2HvuScLn4OwIHGhmxvWrtdbLkFc1pEn9pimpG3kRmr2GhFeF6wpXAZ1pHT
wHm8MQYadhkxU4cEhm6GWg5iKQc9FEH/isyjpaZlRoXF/cXs8tep9aUzht2I4WXTuRlX8a1OH/FK
3isazULmX1bLBw2WPhevNgZWHqeLTQl5C6AeOI5zYkeplB+6OYGW2YjVri8nzR2xQLhqJkUXOa88
TjbrpCyHaIloH1VOBSXNp0NUa/1TLni6iK9gBJH5xITkm9HR81I7r+tY8Qz/OzSi9Pr3y8t/LMAs
mf9py11XRNX/ZtUrJrUcN73OtjJTzqSPwwppU4MYlpHk1IYwLC3uxhfEdk9kyQJNntDwCFX1s2Cd
dVcJmrHnBsqWpuXPUaAcEGWU3wC4EMWLhVbzX1oZfvuy61JL9YMVwzp/+3MBxjyEYSDNOZX9sfHm
d4/9cbEJlM02Ywa7MwVOmrJeRDKsFOwu5tItsZRYgor7h7gfJxbtTYitLbfQQ+k4SbgBdeQf2jmB
LMz8jRTDI7L7aHkkBIPAlUdKPbmU03OVj7DMewOZ0zgxws4e/v5BSP+xNLcMWsoszdn+vh+robrV
JLqxfBJhNJ1NZZL2fsgQGG9BuB0tM9/XuVrfabaI0EDgEGKO3fcoVi7ZJB06KzHuSl/Fl5G54ZaY
kJlZUxKarFUIXl1YQbX1tUvahzDs5wua8PlJT9lemTpx0Pybr2IcKkeyV5RjAgNq0yLyw8LDj7pf
/gPWJD/qWaU7oRB17hwWPw0s2LdavNQixMWqzDFHjcHJn+TsFs81V3hEUUhhMQWYkvyNDfNuFgT9
sza+DF0+elrVmDtF0GPIEL2bi3HjRXJCkt/QOK0KCIepZnYlDlLB9GZAE8WNB4dqoMUKvanygNx0
jmw2KMERLu6bUMaDiPagQA5KQlTU3/LZVGDbBwIrRymzlcqSHg1b7PrpUVoeV33eogApTmU2p9wl
kYEQ0JkciD7JH8cKOABxV+jJhGwJsFAd4kn6T/liaGIAcUzQkTtWDQWoEFT2ssWPkEH0hZCt6ZTi
2d9mUb4Ayq3amYnls2ktykcaf7cZD7qLjGjECCGRiqTM41do8Zt+0BAHTKFABsbAREMIOzCBRvys
NkA9/362vVerGmgT2AMaosyW1zTffnWiqkgrGTqUKtf9fsjhU4zKpwomup0meVC52BMHd7Kq1JOM
ZGJ806ev0oK6amXMk8VIBzgBkbApNADRQz5kXxO0jyLqpe9BrR1ThIc/BRNyT1yCvsItxUXx2JTB
RAjwiCyW66wNWKDzmiJ61jCwf0bcNW4YzWkX8rzlu5aUNyO7wBeZDyKjY5Qgy8OwaueDmvo6XBeR
FpUWk9zV0JS36L+6oKBKN890grf1auTKm4rXpmpmQnp864uiLc7MWQNxTxbIzEl/MAdfORTYuPKN
SFrTB4s3610vi7eZpgJTO0QmyyD1zz1NCP4s7gxu2EVXPNMvznaC0TeORteLJks+nKSWBMSi6F87
se6ZVI/zaT2ERYglK7z38m2Ub029HLv61gc3UbpSFkFV0nW4VOqhCa6GdLGkS4Dp8tboMCO4iIUQ
CTQ4atWCDzhYrh5+FUIBfhMQHEdr6/onBsOjn1nYeMJEp70uqDf+9te+6pBO5+VgxxVTrKV06UEJ
H9V2KXktQ3tMsieqn56i7CkQftdcP/v+U6M+j/VzpT7n6QtVqM/Z9ELF6Ust4G2ARPYpF14oiBob
oc76gYgkGIYWpIe7FRYuUVbWlyxD3Yix7VVX03CHNad96j5s+8jiu32nwSYDwSxqWVlGV/GmWSZp
Mk2IBG27pCOQPJAKjpcOouSQHUfroPAmqUeOLWjq6ORjLiNnqjk1wol0Lu1I3GBdnpt5qdE66/mF
Hjulmhc/v/Q5UsOraWIkulIzRlHrWlrXqrjVLKvn27jWPN9Mf6myuvs+HwM8vnvLY+keMJdwUt6T
Jx2OC1S37KlpM3UvJ8FJwFsFeVmv9kFphNegSNDAa5JbyHuBhtxBXGB3B6E/GKTO+7ASOeeXCgkn
sQ5+eqTM9Jig5CYkQj3qFeHip8A/leJSCuEU+VnKz6CwJkhWGCrTCwVMV04vnX5p3EE5Wsm10i9T
fzWSa6lfh/6aEzipX5P0RkXpLR5uhbFUONwy45YYtza7U/p4r7O7Oi5Fvl0rO/J4T627ON714iG2
7q3Uy0eLuI6kU+ixLhJUrjaE45lg9xMh7olF0rggGWLgQnRJ7rKAIiPo6sHFYUFe6YOWPyhrSfkD
5RuQyx5M485ZhtIPM6lq3NXkng5LicnvyrXbr0q1mxWRMnMz1mPYXpXoJjRXVSER7IrjMYuuSXtJ
omvUXqigZXd86dRz2505lt25SZbCkIOASh9O6lopTDLrSHuQSupjVB/D6MiQOB8OQ35Ih4NFNFD8
gSz8vUoGPRSqAYnmH1tJ660/IQtgh9WhiqxTDovHsEhMp2/FwRkxcTxOU1df/Mbi5aTaIxN0YsgW
zV89dB3BEyrB8PRUJBQXx/Wp9UAAkHJWlWM0aRYp8AZycagXJNj18z20zOYidN2ukhBphxNsxBRy
DACRYvoSNvVWlxLzU1wzwOCbGe1WI9LyvJGBop9aU/fY9Ea//r7IwjrUm0OA8nKXAC7eqEbZX9dD
jk3vGvVq4LZyo2+m4nVmpXmplSq9YQDDA5N819Uq/dSNTb1vsg+ED+/Xz8uQHY2YrqBmVpjTvLnC
N2T+IvYuttqsPcVJbCEYmnfqgkOLBrau4gQWZq4r/E/5Jcz7hj08OScTKVxjNj7KuvZsalpyx+4W
aWxwlaRz1LLTYB3D9RoBFF/R5ZFaXHxwb5KW69ofq2d+c8TgEioSBh7vtrgmneCiy0YoP13Yue1c
c5es5ecU+4qjqtg4kqzUb2S0AE+2ghcNNToYDnqbRp+1NHp6An+XWG1DxsfVJvWhWpIE/r5Okd/f
QBkB0ZYB8IDLwHw7DIqNeWJHAeyonUAIFzoGFy0wA68T4ebApTEuU0cXjjWyM4h5DLqkmLbJwpaG
TSKQVPiqVVntDlKnQpvpyVsYslNsoU6XJ/8z4JprW8wfzV/ey3R4a2mcoRtkkoAO+o1igNlSMDe1
km1jsfbxooEPNDVyERolJX4P3uaWweuw19pj3kBz06vJ1SoVHWhmTKfcFLwaET+Wm46Y5YH74t/f
1PcCFn49FiYqEmoU1O+GADN2aAIm4baFnV8+A/8mWmuoY1oG/uCojYIcma3f2deJNMQkdpF7Jotx
IzNeNKcvYtQBe/Tp6RWqzngXVIZnaSbdzlH+YIf3vgnJb2otqgtu26sI8823KyP1aqzhe4bTcomt
UCBbDco8I9FqnGlqnW5MY852tdTKyNEIkMJThYe/h0U6y8v1G5nCMnyS7Lbs8b2FRLLW1mScJVVe
xjAmCJGuR6EQZpLoZMhyLkFG4HYiahP0HWHDJst8oYXDiFrypUddjRW7nxhzyUJkEYWh5TsjZIvy
wUf0H+e9guQfuSEDa5Vd4Z8vXMxKOqfo6Lb0sftjV8QmUZctjVdxk0XK9xix8A5bMv6e3tF8Xq2Z
gs/6+y+h/8cVQuGixgoIFdF7oVOKjMtMpWwBaoQ7USa0BkK912r1kppSBgfYnrSk2WLSNyTbD0vo
DiVN/EwWxPeQuOEfkCYODfEjp0aEOzmww6UjDPVUbtVvBZkrd0R91XVpnGz4IonHMUCuNNXZ8AhW
G4V3a3P9LJ1Spe0VNtMJN3N5sYKOIMUMb/u0tEvasiNTAkpykuJ8CCt8G/Ca96bZijclVawnoSrj
jYLwHZd07D8ZBoOXRrGK/fqnqtjGTudv4jZHtGX4pCdiDPe4NsZeQJ6I7Y+KcZ1D4RSIZfViYJeR
slBcEmbo0UXSA9qY8yBCWpzErPIQklgPeqVPyHNJrPv7B4Lh4/01W2NWAxOCzoehvm1TQ6PtOhpO
JegzxChzYJ1NFf3f+qhUu7uusGxdKu2RB+7JGKTGdqku3c/tvre80fI4d9qdTKR4u9SguJbvTspS
rJ1gppLXwLYFO01J2p6EigPugnSfaDiT9fZ5LI+/SgyOinLQ1koIuesPqBKpyN8r0lKatCeUZ2qx
uXmLulbyKL/1gs4zfZrDhMK7o+LOCiFMrt64auMS2lgYLgmKM1IYNvKRh99VG73oe94DfCRFaU+1
4d7X9vO4r6ODqYEgPejVQa0O/Xxge5iZSyVUdwzTY0S6UnccglOqHCmEsr+qmk9KuVQxn7L5ZEBn
IRcUKkl2psCTxNDwPvgI1/XAm7uuiUKTOy8XtmV++OcXO2/ispyg0KLYbMarBfzlUkmHENUZ1jAc
VTGjlDudcsxrhfmz6ZVd0oE7D/0oOeE7LQ6xnpLTFbTRY+z/UMMqO9NPzc7rIyFNp2MgG9zI/eSg
F9FnAe/Oo04OmB0arfgwT5piV2SyeBUrint5wr2Yb5AvfsIrV92KwqhuU2NVXhjRETbSoboFgXoX
J1DeqrUkhpqdTnBb8z2Oy/naRoJ4QwARbgyrVD9jZEvtMk9RC2Xsp+ZoHk2b3oe6aXmxoLYgFCaq
Z+Ttswy29owP2zjHRmuAiFH1XVZbcBwQIMLb077GOiZTGYuBrZBGvlmVGxK23g1b9vZOJPlPArWt
W5zVKBaXZnWB5Q7raa4hMgcW3fRy7qn3VCTvGutlLrhE5TZbvU0MmIRWA6IBykITycoOEyTcsh7v
bqL0xU3KhJd21rPvkVl+R+0LPUz2eUs+WjqK74YMeEwZe3Or0UxsDasI8l9KFwBagpplEtE7ZPCJ
bhATX+dJXEQqD8FFE+1bEoSAAEV7c1rKn/alscfEbsYHrNZjc5ibQ+4fGukAkL3Kj/1wbHJ2rXgh
7TQ+zcMRpy9VknAWn3r5ZDZLVcF5lk9UWZ27YKkawfpafcXFbKlpLWWBzJ8N/yyvR8snMumclReg
W4K1kcCflJdYOFNNeYkk9IiXobyUwpmq12qFM9WzddMJFnIa/s5ag3SmJuL8wjPiTTU86+FZqZdj
qp789ciMg7IkuDJ1qd8Ncro/T0YsbiurKe4ZwV+ET0/xIxGf8gYQn3ybtfJTqcDxOub0MstTF5ys
8mTwYD5piIytE196wTxZa8nZWVxrHJZvfD8s1Q7s15Zq9POYXPh+LeFA+jnTz21yiQewlaQJn/Pk
EunnQAerstQd6aKpnfW1hPiy5F0OW6k/y9p57s/jWpN2Vgxu2ecu/V2jcaKq9EwOQ2uckEjLqKSL
pcLiNPlHavCPqbSUXx/N+mhEBNJCQzgobBrZK66VFYcZ6L+wT/AbK3ut2xN4FH1Cp0KtS1Bv5pqL
y6/zSgih3K0VV1VcZEsf3aKWDc+fFzhFlLjNGbgeWLO/laiP4txrsdyxk9MNwca2vaexKZ5iYqnW
CuEaENSGUWvx4C1FwkyQLTX67uwTC+AWihsOS2GyFvBZR24CSU1cSm93db6bqp1C8q2tKztV2UHi
+lVNCnKIzGf4ZC4p7IbuVpGnIdspPaKIc+COGvotLwoRZS4Vlr8LCR2FjrzV9np4wIeXq7G1G2YB
iKxcwabIpT1VSnuI10m7j9p9YHkhEb28HFS5YF9ar5S8iTtq6g2+S02+m3JnU9yAF1Is5YcuSDiq
EXdauyPjBApeRDD0jtJ4IbwsZYdt7ld1jUvN3At5RbPETMIcrCcY1KH54Z6FBd1/fHCsNTWV3ZaB
SvKN/qKS9F4VCKAjBoYO9HaCVUKWNljQwIbwQCmVHaDplOxoYJhpEzsQcCkN4Gc6XeYMgKUbZ8oc
+puUpDpj4yjqUtpaBgsz1UkEJ1urIJoXkNlapF51XBsEx4CoLcBnckjGo2rNaTWW4U6vLTXyY0v+
AI0LZ2C8gXgaMDS71dwJkfGBnSPplkRjxaZYp1Nj87v6yKaguFnqVra2lcgMBwj0VoIdtVYA0T1Y
inmQUNpmYrfiUvVapUAqoO0nTk4GbYLFbam5cgYaKGzTSaAYHPJsaGJRk+kApS15Eqqw6TRrScw/
IgQkzqJ/MB2KDgwVrRWYDh57SlmLtHDUgy3EKQd+KcmIlBw7PSKY2JlixyJp1rILJE+Tnak2FBZl
Qtpjp4UdkdsX27HPkoEc3m0GaWdJddkCqk8n7MFbbNa+ZxIiQZAhn2tgz6mtVjaYcBS7Max3yQZg
BGRWhgtn2GrgkMxCzWsxnZkaJ39J0J039AkcYmyZuymTw4Yp5ROceIucQCNLZyk87ovNnY+Mj1tb
qlorn51GA1vudJrTtEu1M5mhDhRWaa2JaRvO3shpTTuKHLA8gbKURLrgaA8NIyu7ze0+x1RhIwqB
MmuqKBO3tbgcF/3XtBxzAx0Eica2xXI9IVrUjvulGtGuCFXTlioE/ojT0jYSh5r4QIflOFCyUw9O
tx5HPkeZ3wTCI7/VUvVatK8iPnSaWKYDZImK+ZugtAhbj3a65KiSYxmO1DsGmLfeESVWULhYnaFc
qltrjh3TskFKIoHOVTtVbXWySTZvW7smAJr1G58rn66Py2wr7el+YCbuxK3Vf9AdWCWAby7gqoX0
R9fwVtPRkv9coZZTmWbgc1Gp+TIuXlUMH/GGh49+rTj9MGQeGQchgjNTdDCesDxpJOVVMO4BMgzf
Z/WVKvOd4WDhmmK6H5DOuUkfsEyFJIY0Pbz+/0OKH2JrGK+W8Zp0r1nHv+Z1Dl6r7lUKXpW1yAAD
f7oSUD8J6SddfenmT0r9YqpL+eqLwWP/mQqnZ+uQhvd4em7S53R6BmJrqE9U0zA4eAqDpzh4MudH
TIBa/misZRoP4bBUPDwo6r1JHjT1Xiik4wA6LouMzOVINx+TSSAqo/D/ifUofyb30KvR792QqCCN
6tp4m+Jjfvj7rfQ/OrYIrxijW5hfVXpfb7pIYt8A1vSXjlduXNUSK9d6mFLyZooUqU8xIHAeJ/lF
LHUSNVtNOlZV/Lm2uEAT8qLYAyskUQIt2ZDaRLJMEr9OgF9sk4SyfRqhU4FmXsuKtNN8GOdxsaQH
Fpl479KZpZiVHDNtFO/rUw0/bgyYk6S6hhbDBJNcEwFFl2FG5uM0jtqmZRec+vELCevakdCwfx8i
yc6XMPe5kja9PLAOJeEWo0RwqFvBfDI7clPTvuYaAjXNBivraU2ZPdeouz84wY33bQ1mJrh5GcGj
GmAs9+cJPuqyn4j1zAlemdznFpFmYTTTnsBParT2mbSfLdYnS7Fu+VUB1F8Lr9NSLF0o1i1+uhxZ
t1CqaXcXFi9C/3vlggowMnasXCiVXJx15cLiJU6W9QvrlnD8vW7p/R3rlnatX+sWli4FG+DI60ZP
KZdFC5VqXkyV+2BduvjB70XL4n+DwBrl0w7WILQmIzyth0JAAOs7VYe8zpyEawcI7Pz3s9R435JQ
6CUuIkEMUhY2mT/fzYRo7RY0ZEkmFgiSlJbqqUG6e5rMW48iENRdOb1G9Yxw1+jdgDAWyM3mfFwP
XZ0yBomTYVvBZ/NqMxrwCaEza1JZ/drK0rYE+mmrc9G5BiMehp6YGfk+/AjTBYv1v6fW5+u69rcF
4GRn/QOCCn+O8kSYSBztGiuHud+R72ESWH3M+djwJk8o9V8tgMzbLB5frCD+XjRa7Mzx5D92g0yC
RjQzbdAG8xBAeWEErd96GQlMEov5s5wL6rHrlzzeOs+fRaSgZ/O73tAfKyor+UJm8Ve/m7LvY+uf
evrwzzXKgpW4UeZougRrNjwrkpH5tvKz1MjV3Wry+qcmVuImUVEIJBqscgR2jVO2Wfn0948OetL7
JR+SEzS3Ip8gW9A3n51Ik1EgzL7cDpJc0o5WaZQZcnHFFNEVzswIwLIrnbWfw1K+Jtl+rWwkS9XB
pEzVjOXPUYV7cDcPuxHplbJUP+wsa2cmGIJcw9qR6KUmKHRdpXbNaalUd+O1htDr1hI0VsgexaCJ
eO1h8LTCU9ZqBg9RIIbKufCKwRsLryd/e1iO0eC1hRcMnhp4JcLBAtOllxZ8VVzAMsNaoebKoyuV
EwxLaE5w0tG5N+lV49erXQWgae1akyvXbqa72uQmuhut1Ydeu1YdemaxVBl6/eDhAmkH+gF48uTC
w1BcDt5ULEVjJcVfXCwV81d4EYEn9J4SeFbvSYEH9mtE/BZ4fbA8CDSX8tWlZqSAlQuFRgMabxe4
2GM3jV1w91RiEui81ESQUb4but0Q7rqQvcQHY6H3iBDaijr3flG3DEm23pK20tRI876SATW3yLDF
LCFEIM7aR4n5VQ6V1iMdwHzUjVhAeDNHj8wYSJIYoszTkJYe4gr5TSITXVPTv/0CIfDY6IBMwpbU
s8mYpWsYfLbIFAILOV3KqW9PtHeCczhzOyoLK3wVh4EPKCSUsmqldutLYO56EeID1Ev9aiK9PlRN
S1/M6pPnwEy/L//v6aRtmSIZV8TGxD3l7Jg70QIV26sHWSuJzqWxVGZicxT1r9ICvE5bk5iMgAvB
HE7ExkyB8jnQhB+YDdpvTEpvQyZ8D2NtfigS/lm1K5Mb4FXhI5/u+1Y/HAWL2xHzWSQ56wzkX10g
g3iU1OxE3s5E771Om8JDi84KFGD0qEGfFcNpV9XW/KkIopIuD2AHopR7pOFRQn4R0qJK0RUPldD0
UoQNDF4NQlav+azkw/6sJQLpcq3if9C+em/RBZ2rqDi12O9DuV/1bP/6vUM+zBKHCAI11QCtNwXq
dsyYdgpKVR3ABMJ2GeN9HOn9A1Iuy5WKZ/qB6p0USOEDrs17gx+ybQvxtoyZiNv6WwCXlIyzmgyJ
AOMQP0YalsVZL6Pv6AHMnZYqOSHZUGojq628OCXJFAB45kYTfowUAPUyk46VJcu7SwhcMeYNxFYZ
Jlqj72Ndi9h6zdbnNlXvZm2VH1hgWM69uwpDmOMqLKrAceV3LeE2yNMmH5VgO8y+WG0D+JoIR4XJ
NsVKwqfZAd8sFinEoMq0fDh0CvvOUCduef2DQkO5F2XgJIgW3Em9oR/mXqnAaRWWHedZDrk1oMGw
2NmU5YCgrLl20fyDHBNtVzVGe1QGmuXro04aXouhaV29JfOp0ONPSGSnfVcQOF6WCFNhNx6roveP
rdoDAPHjYaeTO02rP7VAu9Kv26wPczFrDqKxQzKdmY9FYY2FG5SC6DDD0MhAKrUTgcU5o9GEXkgD
4nl9bpri0sYuFNrzgiEeCx2XBbMwxwxr6RKbPmDWSSftKFTCWwVyexvUPUkcqKtv63OdXFhX7LlC
8/+eiOkZIEEwCMQwW3Jk2ev6Jldaiddpd7TrIcNy0Mtkw5KWVJd5dOLYKO9iRiKzKBKgGBcNd7au
udQ4uo+hIlU3uOVE340EmaeWsGtbqfNUv2ifJIU0wL4wcddo/0Q5vZR0BvleR8noDZZobHBwKnY+
9bSwNKmH/wlDX1EWBG/rBkpbkP0AP95ISTjlInYYEetowaw+Zr7CfjxmzJXqiPgTgai/hRpJ2h1J
eZ0sw9a0WJvoTfyqD4NhjzJN5I6pPthQbpOJIT41Zh3cckWQX1Trq6rp2XMGjzqIfMVL1CY8DCCv
DusjOvG/H5VZZXH17atfnhgjA+pQtaW5L8t5cPIGi2Art/0R/kJ37AC/HDOg5GTDzJZLlMgG7l/8
JcVLsuutdtrPCasrCHCfcNudszDGU+v3CpPExgczpE7JgZQQEdoy9GPCmOtvosXgs5nMyxTFiHSy
vL2YLEjWn6opm22zAiulp0LLkE5S8Z5orYSiUe03YY2QW4BL0gbTkyGipMBfdmstnKy6PhMIpDcF
U222TwXbz14phgOYvuHAjvf3I7kbh0NucRKzd+WGy6u99205381O+i6ojXpAWj3dfz2fNpjjC+u0
/rQ+P9FvMqOWGBN1RofFfre10ukWYYc5SDL38UnHCMGd7W4ZBshziaF7oFT+IQl6ohpncSbBIIXQ
u4mWZ6P12ZCgnlRCsbU6ug1SEdwJ3StTGEgrvw5NP+9yIQBhVmgNwiyGcNjVUNUqgg+qiIaxyKWN
uehIFHTZG6MLJe9a9VlztkS2QcUgelY78HrkT7Ov8sbpcrtgwo1DVe3XHzrxJ/AKbS9OnSp5gbos
/weJ6PF0+lxNYfYs5MGOG7n5WmOLq8po2GcCM2t2lHFQWUdMUXG/WZ+aAQec1kMXfakGE0Jzpfah
vVLEhwUu3zADzJckr4GgGqsrfx/M5UfTIuGmStTB7ca5OrZV8aNbiKucmbnTEErp6Is7Z6hN4miy
6lqrUL+Z68huH1Uq0hKytgMBarWO/HrT6qWEFgeouhkqwb5FYLBhDlXeRCKjo7TuL6yk/zGABz5U
CvHiQC6bU0Im2AHCwSNDigawl4EZNgfZFTcCQF6FjXEW6rlr8R/0ZpncNZU0t7OVxxGNOWk5z0Vl
2iDNChhcSXQplQDLY9XNx4SgscNM+h8wkgn9YcwkY3m0HpBYs6qdlJlOmfHJFKLcI0hUO5tCrZ3V
XFYOedE/m1I7HwXNwGjLJm6Lz2g+GmsApTkXZIjr8kuZZZ8qHfF52MoJ7VOfLVipIicdw6NSNPVB
bPtiqwK4sWHIEULa+vS8WpPkFNIhWLsUIiioSMxxoCgV0qyqcro2JUW9w9JVagGmDmBzLUB89N4w
jOhWGHYxTgclI6zNJ4bn0pd9cRHUJLgYDJylLSHn3SyUTkjXaedbDVLToS/3scE8FPeM4YXAJDe9
KlmErta/Dx05XxvkGgDutXk7mkG93CnC1iuy7Lu6fBdigug3bVHmHonAzTXQMnKlWVkwQQnRdwTx
N2NU/8HHoX7uVb0jpWEKX6po75d8GpNpTAzV0vnXQcj8Wthqmbk1+A7sg6CMiZUtl/TnBB7eXNRH
SJX+rKUXdOGdZqtKzkmx1TZxMn61ojAkorIJbwENdCsStEOpDf4DgoyT1IDVlYRe20FaGi/jAqKf
pnm0zY7MZXMW975RwVk3x2ErJGq+AzNV2ZNRTPRwfeWcxNleyrqJ5mb/jyWwGVPLGHzuorBAPPIg
KQFzx1j1D0WAGQnojjPG+HuSjiA0SQ2iR5jvDJMWt0MeNv4jsptvYhIb37QgBxocEF3cW+T6Lakm
qtmbJxnyp12NxK2NofilbK3iR1OrpLcb4Wvq953j6zglU03Zyig8+IAJvsgyAVPQ/w4lGXTHuNRE
GvWx7miB8n3W1fJRHVVlLymkcBWEirg4Ws1jFwkGJ7X8MErIYYvIQGGLs8djvRlskiaevA92y++n
tQSQigYYBpn98jvtBSlUutl2pDKFSLUuYS17vKWiLcKeNKOCwUh3VCD3bflnSU61sA8A5cmJcwVk
IE3nKo6/EIrabaveeiwa+YuIH/yDdfCqHvizd2uxEIaTpysKPZm3crkZcIpvID/bskqmwS+kF13L
Odl8hNns3Z5HNQ6PAywuT+es74+yTAwkIhpLG5srEDxnol2wVXr28jMGXCekl2snKcl5EelBgBzD
zC6lh2B0iUwRYdGz6M+ygvijaFT5psQ/YKDBVlCGDTDJyBFb9Ydp+WBa+6WPX8WMMWQZofcA9yPV
T2EiYcix8G5XRkijvpy2KL9nb8YBQZMhKly4NrFr6ni8pkZ2MRpMjlS6csQAzAjz19BKmR1rnIFA
t+FmOXpTPUv++D0tJ9FDKqAcVB+m+TDlUGwHIAcY1R7/fmbI7xfw/IY6F1xFR1THGv7PFlghza3J
XSNjXwYFzjfSL1BtI5yBgZ0zItCUGhW/Un3q+rzkwvB/jJ3ZcuRGlm1/pU3vqMY8XOuqBwQCiJnz
+AJjMpmOeZ6//i6EVNUlZZnUZseopMhkkkHA4X7O3msv7YV7zgkirWBKlGXiNZ8cxfW3jZmgj4Zb
u4/MyApkYJC3uTM/KTomWUMoZNXjL4sufVZHlyqrrb8Qp5g/zW5tGkGYr3Gzm7RI9T+MAJUig++e
WsWmmhT9kfTNRfsRO0b+kGjEVllFnJ6rWLrty0+2nenp+kZVOEYTJ67szNEebuvuRzoVuJBa4zxN
CvlJeEJDWvXNbGR7Z1Q9a81LAvOD9Q2/glXGspdpHVFJC8hmkK5XB5FQlTdi1ORH+swcJ7Aaf5v7
28hmGVEyMpEW6PIPSU6iC50/lBFZ9wMnyOi3Q6VsqzlSL3lL/I4m/8qW0GqbDfXI0z234vgR0mlQ
lvNDm6enThrKQ6TG0zPB31tcL9ZTPqZvkiHdxq0YHq+evCH8QdZl+xe9FkUx/nj0s2VMB5alA7VE
5/zTrMUWupCIQtwozRbutaWt5VwrhsXNXLhZK2/8WfcHyZd1f5L8OQ8WydcIIu3IRFzL4uCQ7nJI
/SgatosdpOkOZlKe7vDyUioSzWZHt5HA7qjF0rPTrJ29oL3emcnesnaC3Z61C5O9ZO2oyN7F6T6x
dzzQJy+z2VXsCntXEecs06Xd9fKO/SF3GGW1EFZ3TrvDKyS1O8sJ+mznOIF0LVUNojAYhrXwPfXX
GqKAchZfNX3U0lTb+UCsZuF3DHIBv22HeiYvdJIdSKjdUyTS/LS0lVcOQX2togwoeNk1X8v02+tb
E1rq4ldpP7lRbBAta+vt93lnERn3F7e88dPTAGUmxAqTRwKdb0X/AxWr1MQsidkBOlmfdfmsgTmU
17LqM+IYpz6H8iqLARkmlDPKmPRa1eC2rZ8DK2vIPT9XzblGBJMdELVF5645D815Rg8TnadmFcZI
MNGjc6Sf+v6UIPbE89ufZv6crZUBkmQzQgTUfIQ5Nle/lVwB7TkiBaSSYZUCUnN++FUNyDbFZL5x
FQSOzOeyPUJAhZT0VRDY5mv1+Q5BoBSuasBuhOAVVBaht0FhsfDu5HiX1Tt72pnTbjHWGqP9VDGS
3KvTXr6WUx8sY2/xtj4Y9aGycceiBD2kqPGulfRHisFFhr7gJHXHQZw6cTKrtRpxgghYLafiWrZ9
gjdkrtuMtab8rNqnAV1Ofu7yc5Ofa0Q5+bkcz0V+TsdtTBLMeI7Hc5aTLnGO0PIRLDmc7eEsZWeH
3TGwYG6GWD+1bEdOZTY+2tpJiXBsnJr+JPT1bUcKPX/O1lIsvu2TZh3H+WjwSs9H3FmIRod/KiGR
QVLoIRFDIoMkvBg9pAj3KCF/FUOOHL/ITvunGHL5pxLy38WQ/1JCtmOgZb+JIVFC5vCorkrIlM5q
/S8l5K9iSJSQClF41W9iSPM/iSGb5YBnGSUkJZFIoq16SJSQqKOSqx4SaVQtfieGXFBN2SfjWvEC
4u2s2Ceq52WfA/lby6vOSw5hKb+ax9UIN+ef32NXStHvNjPcYhadRYc+I4LXP4LnwJznHUy4alPn
UUqUkKU+FLkTudFUWUciXJIL6ut626ZRxdozkbCoYlru15B34Ff6DVJwjYDIiiAjjV4e+WkTrKcp
uykchASQToRPh9TgiiszvzVM52aOyMPqStFgd2FFFg751rie9aMlTQgqyLg8O3TcqzRECLeIwZcl
oEDyUJaemUvR82I5EAnxgv7Fvo6J2k8PClIFVn4ZoeAYeOz14//WbEWg2NRJ1xJ0Mni/1sxcxvQK
sV04orwKzg/NNpy2UrNtsdLPaJrXslLfuRZN5BGW+cw5wA91n1GhJfm0ragQJgDRgAW9miAugqIP
YItRsxI0TACUQL1W4gRTH2RYCZWgcAKbh821Gicw+kBwmHYCUFapGuRqwFl31c9v7QK/SwDggBJl
EEUBe7okCrBfZ1FQm/7C2g8RYfHjbi20/Mq1auFzAhDyNsNyzDxA3pZ4e68VMh+2oSGulRNP2K7F
mYEic9uQ6IJxclrfAtqmiHWlSmcLmxr21JD4HUXTkvTZyq8S/xFkAOlzGock1Vccf06BdgVjGvRp
MDXBcK2uoUMSNE0wzmv1c9Be3+LdUIwgaYLFCPI5mIwgndc/xP8sMWPuILgt0Oq1lDqYk2CpA3Ae
FKDiwfapziZszZ8Vf2Qa3/tl6Wu9r0Vrwc+qrS2VKNuIqrZhv5XKtZIXEmI7ByHcWg1ZxJ1HoDbE
hrb2lMFj7E4t5loQx6mw2SaA/4j9nbdEplFDuJ2u1TUQJH3QG1PjO7pPGoik+5GxFl4aIZjeBlER
xCJIuFiuVfdBUQSAE/prNUWA/3Bkb64Ecx84SjAVgaQEC5eBGuh9QG6ofa1ZZWjqWkVAOdeSyOjm
n+AKuVZhIr/zK5MkPB/Z+SUR/sgOIfeTzqevVEG7NLexuU25Svq14mthBLJsj7cS43gkYByHZ6KH
15oGT5fXyogXN70G4uS1yPeKm22sbaVxS9JE5mz7xKfahOH1WvXoSyqZl76j+qrjW6ovO/7EReL4
A9cJl0QT9FwbXC1krLE8BEDySR9ipSybQDeCZv6tqjmgQC2NRpBx+XDhzGtF15I4VtWBMwUqmeJ1
IDMNTIK5DgaukQSLedDbBHD4rLQ2xjrbN3uMZn5RQmIk9WQtOfLhY1JSv0VuIaqtw7mbyyRZi5gV
5N+U1K5Fq+AvVuyfJIQI2jHC6RaLlMYR4g/KimTOJ6mZcfGBhD1YQEZOVSTIWZcnwhJMz+zq9HT9
3zHj8V//hJR0al38LveLWvYbu2VHb4ziuW7r8Dyo5EdmpMq+6qsJvTNjRgmGpG8iyUJcYhfNfuJX
PWsWhNFsvk8a/bhMIrpcU62MqBd0N7wCFtOhFRHN5bazXcOU3uxU7W97JyketGyluS9/NVr/GSBj
K9YKz2awx2SHXeLvF2ynCUWWSBY53moUA5BXeMRq4RiYhvkUr+9d/5cK6xLKFJXqhyg6DsOh1A92
vhbxtbG6H9Zo4L3V7c1sLcvZFf1OqDsGMSmMPmMti+ThaG8xwa/2lbn3NXZiMWnza9nLwVwOi32g
/TxmR6rPjkN/lLW1HHGq65MlTmW9Vu+c8vrUOmtlxTmezklxbiEpV76YzuF4lsy10uwSX0vQ1hou
YXqx0yYi3NySYI9NKkhYmjserDupOobiKKK1Mv3QD4dxOFj5wck5cu17PMnwSWNPy/Z2t+d8aDrE
ZaxVwj6p16KPYxtrmfx40V6a1irNvRIfcnOfM6G41pQdCd0e+AHtw9gfFTY3Pa23tSq8wzWt3ZO+
nOT6kADrOeUFIJ8TFU1nKi7O0ppT+xenhP8gsLDhmEFO4onNxOonLLYyF2NYZaTP0+NChThIKZuU
XL+JwlHyhrLSHqZWKjG3QldgC/Rsopte7Hi5DUFy3pdEiGiCYPNMrdqAzmEHghIu5whpfzvhLL3p
hXooDKt9pH/ZPbYSS5fWdhdzKVixYgTFWEl3pbWUL3ad+Umvf3VN/FyajniEzdiQPbL2isKOtkn8
VebD8K1ArzibkDsmLFIrnIHerqiVb2nW7g2dRa0b1fq2AsK3WYZGwsdT524sTYWXGnrzyG1qsu8e
n0ureyJAgvGaSo+Y1ic+x6g2gbNp3WUximoTF4vxYYflJdKeQWc4a6Jnf6gzcafaoxVYKmfCvtCM
2zmXRq9R4pe0aKwzHkqk1w0O30pCb2GVxxl6A+aGUX5uIvUA+tskHzAHyjSXGPuqyHxXJdxCYtZu
ZnlQjn0kT7fXN0lNUGFFp2tr6yGBFinowb4pjtE8yw9trbzw+oyHecgZeMYGWvpWOaGeeJjMWYYa
0YKNNW3dVVi6kNM1q5S2zw/aCMhC9HHz0PwYZuC/Nhig2+sbaRbhQdskY71s+lBfjjTI9JfKPLID
1l/LLqwOszHZCDtF/M5I50Wu8uzSRdMNSM6KJXWUtyotEVLgoUjIQ3Nn03K8EyEdtDCtAZJEYR9t
eEqqZD6pY1lc8tAscXBgZaz00nylf/WlSFrxOZXzgdAeAabZODs2roo/fxj8hxMyrZeV4SqDj1Ox
D/5+BeysQTJzoyU2QczqXdyhkwkXjOU2AM/XQlY+lwWuVyUlBkYjSX5I2DxmYJC3hFtI+COcILYj
AbDsjlJyVJmEoA80Uo7/+6Zb38UkzdQe53ughfFDVirWu5JiCi4lUqy7sXfuGId8jZV9FsaTkz2H
87OVPSfiJbpW3b1oJsDqtdqR6OwgL1/T8lVO3ubkTVNeh+mtu1YzvfE0y1gkx7a8WEPZPLSGc/vn
rxuQ85/2+mzzkXzieQaICHX79y/cWBOXa8zYLgdZumnMaPBneTGDwVDGNxt2K5nY8JXTQYExOmUA
Gix6oMpw6JPbprLh8TREiCt6uYWkDJWsU+AFzUDcozj6ptmtuK0SoW4EIrObtrdIcSxgPDcyDEXD
sE6mqk1vxqiZUHdUt6p5PSILrTjhkd29sKR3B3QMOw5Oromad4SrGl8hLtnNYsI2lQhPSpX2opsd
jymtYl9ZNtrOCHPlvsnDh6VLtJdenXe5VMifiv3Nli0wxfYyk3HNm66s51OemRbZ6mq+TxTyuuY0
fkJPHD054q6L84wTFjneappszKkpbpweMXRBwOpmMHswFYY5nuV4yk9M2Te6mn8R7Tk9tnlcB0bK
o5F5UbnTbUncKtyHLpRFdGE6Fm3wsketr5bPUi/fhw7iJG39jl1eRKetb9ugWb3FXjRUm15Cr7pJ
soJ4N3jwfTW/m/FYYl6gkTah6kZIe92DXN+Yipq46YhG8q8ulT9eKWAcMI/htWEuQfrk2l78t1Mh
X7yvRqfpN7o51bs5lJ71YfwRLUAwCbXvzygiSiL2gtQxx03VI8z482/gZ/oBIxH2enwLXKw86/5w
LBXkTLYKmIeNFod4E4Rx6Kwa42DXhoA4sBwUBs38pGJbWrNy2dboxT1nZIhItTeqwhsI00ZjYm/t
/i3v8DlmqE10ttmj+ISLmcPFnKv7fsl3f/6d/9S+45tmSbLYnqG4sv6ocotQZA4Kzv8Nm1SkaiYQ
oTgP3d6WDY7Y2nfUCvNZ6jFWX//d//6c/p/4Km9/bV+0//gf3v8sq7mJRdT94d1/PJaYEfP/Wf/O
vz7n93/jH+f4synb8kf3p58VfJWXj/yr/eMn/e4r86//9t15H93H797ZFl3czXf9F4TIr7bPuut3
wc+xfub/9YP/9XX9Ko9z9fX3Xz5BYHfrVxMAY3/57UNrZBu7n3/7Ba1f/7cPrj/A33+5L/OPIv74
6W98fbQdf9n5myVbiORAbLCLclYN8vh1/Yj8N9Vk+GI7Bug0MD58pCibLvr7L7rNhwzcBZblGDqr
LB9qy/76Ie1vQNZUdmYKo3omWsYv//zJf/cb/N/f6H8Rbn5bAuxq//4L09efPRMQQw3iT5gC6XyP
P2nh2mnkqILdJM0Vjt69new6TcDNZN9R1zBmUywgJEeTep3FqLHGo11jHVzSbKPNBBbZAhFwbAyb
1k45qC4R29ecXFE1f1NRILKuoFCsQab5TahDz0pbvCUCXwSAqefYdpx9Mb20dQ/ECE/Clr4/80sa
J+ozraZoUxSGvF3E56wa3HtT1pDlkB2cDLUZd2LltQsmHnavSBBb5El0QtnygTznEbclpuBRHRH8
50ZDn4B936gbN6SPk1sJbllSSm9RB1CVCSDkfGrgcmFZ6kye1fxujrkTbnCtb+YUHAax1Bze07J1
mzI+hDJtvWJQH+ZIw6sA3XfbizZ2l3ZXTTSFrKab0P3I90IjzSkSxqY2132ThYO3Dh+cSXnJ4OC6
4dRAW5lsZ6vxUNxoTcgDz3IaNpQE4y4aDkm5xzaUGIGV8wlLWs6uY2ffBLiHu0pCtlvjPI6sBEgQ
eqkSb9lokmbOEGyraSxQkdls1awvzrSpIEiGVpuelLiuN2OsyL4UHowKN1zf2i+VTABMbsbbjASg
TWiGJj6s+SSD6TuMnHkIUpzL7FaJCVMbZsyFAKOmqPmmxFw8mWEJP2z1hx5EPLIUvEjGPLx16g+j
hFcQaf1dSp5nGOvzLjaQUDhASTtof+YoDjJcOSbOdEva+tuUkvEyK9mCU+wrbdDcGzyTtqWFeV8L
MfZlGsan/qQ3WKIzOyfUupJf68npdiTpuMXMkaUZQuIqVLskeF7bC6L7NqMsIk/Nh60ySdoeKluE
s5vckZInta5HzIyWMzMbO7Cb6kPQ2gVR3KYotOnIt+nHLESL6KJyw7yMPDsEaiv339U+NbxE74oN
8GsOCeQAacpJqpQVbmC7Sw5cu9MmNrixWrhtnehHkXZvYxi2u2Ww78c8IyRoCl0VOxEmOPm1j62I
zGN0ABKPTkR2Ms3bzhMT8aC9bM2urY9eRL+V/XrG60SGZaaDwGSjfxADmBOtddw4nLGXIb5x+0gJ
eqJZtwyR2ZR1JJtEEwhb0mj9pebEprVh7tf15M0Jylt5tonECNESZlJ0SEbCj+Z+eFX7noysXicl
sf6mSLRbE3ZNbL6zj6GQvVSCL+m0I3qgXg/sSTFp3C6vNu6qTWMNrAyN9iK32AMd6yldOD2PZfdU
8cpGUo5FDwnXNszi22ms38PqVVKmt1HGfijKmyKEa6zM4WbMCgm8RW24ZkZX8A7RaexJj1BOpU32
WquGdBxhKPVppe+ElcV4cu9q2qHkYDyvEeDuQoSCtKJp5olJvu6MlybHk9sIZA6lpJwa+6Mlli7I
Y8C8sd7v2yHTcGZnT23lHPt08QbEMfu0V3xJ0RAKZOp71aJoAqJsdniY1clzmB4f42QvJ8BeBtsY
vIUXboK+v5Eb7XGUqmiD/JH1stZfcSDfLKO4nVmZd4k0DX5l1MjVBWve6hxqarQGpaX49SAJVxvM
3bxwjWnM4VsLUuECRSQuyhUqNN6NZBYQqcteJZ4rxJh4JdkkEHLbObY/acO9ki7DLiPwD32r/Byr
3DsMBiM2P4zis3Q+y139UZFdsRuV+TFP4ROO4IXcKJp1PJXxEf5Icjc3mtsby+ilNo5NNk9eNSLp
lGYp91G+eZUgNLAiNWYz6PTQHS4p3Yr7Uy1/FuBQD7m2ZEBgHMRxRuMZRD3v8vxxQfF7W/TZa6al
56lfEA7b0XeQ6mCFHUiSoTDcHskFVy3mUpUzwza0wdsMeQV6Le7v2kpRL5GNz4NgB88eaZbrcT3d
lbOWEh8zxx7JWizzSk47cdjz/dl+JNQYuBe01VWWj/mXFzBxckJ/LDEjRpIfImRpSQhMrl3pwh02
QZBEyo5JjRRIdfvNaErzktohUe5D/wrHhOSRkM1qqGWtWy/Kq9alOkqP8iVURMNE7lEwX9kZC6LP
ThZeShLjZoj5njpDS1aJ5nzQh77dmYRwbGyOyST8ETeK8qL2DKXo4Vm4UObHo9yIp6jW8se6kOiX
SlUQ2o7qTklT4cYWvScQkO4druou59GjidSGDLI8kkRYnpUFF1sTOq6M5YBhUfOSIvng7DGN3JfL
g2VEw87RcXcO7QtcKoHuNPI0a8I4adOXabI7Qg/Ag3XzsoMoG3uE3r8ZxlK7NZy7W1VsFsnWzvFg
0oFf9LcxFu9yOVeHBPNdILalmWPBAZzzpNnNSU6n+MIJCFzOpSbg4UPXHksibzE1qArte1b7tlpM
DG8LWTIjdpaE2XtNC1nXhvxJB/Mrb8oE+JgLxLnP9H2RpdlhMj/DaIoBzQ+cLkB8+VIDSWZs0DCH
VRLdd9znOwmvc9v1875bCINt8DPcyyDm1hSr6R19rdtPYivqZfgQCOs2Ro2KhOMj4d5KjTEeQbKX
NFH/WjbGHXp941gi8l+ZqdATRQJwFT81844ijguaL1pyjjSow8r04mQwpO300Iilfm2h8sc9VNIq
kkqv01ZtOHP0yqyLmwnzlNt2Rra7vtvmMq+URFJwW8olY/e6hG+R4DJByumNVa66ZqhVW9tk0XIG
uPzjOIuAp/6bw7HhRPtoPF3/pJfaVjY0fn1yo6zzNl4rO1R1ZiIiPUfWtytcL+3kaiPJGU5oOmSx
2kybQoqgGTCxKeHqD67V8qRwmD85mca7HCLFtqntD1VECHHVeXIXiUsjLEedsVmsny2QJrFq4MWR
111X/sa+Mryr1UPbxvFGq9qbpSX8k2bBnEriMuhliT2nGVy5J7Cnw39kllLkar1Tek5ZsHxLCTlG
PVHjkkU7nm3evka9rTrZiJLAeambiEeoFSAY3Asd3rBUKlyq5UNH5y+fVbTG2ROOFZZ9zYy8mq4Q
wlasc0rlVokzuiTQvnIkuwmFnrmGPrzV5itBh7dqXW5G4gJo3WxC5qqe3jbo9wzzsReTGbRZ5xZs
+xlf3DjG+yTVJxtpaaEAXx9mj/grCPVeivgMxh73jLVRWM1Rn24qNXUTrWThS7dl2JWuNNAImZTO
s7SS4ZNW8nJ3vbYp7PqF+GduRkP5Im9e9pMauUyudjjZwsg149RXrMex+Ijs3h2B0vfK1Lm6OpyG
Oj3MdnZgI3cKAbhX5uLm8EGyfgRehNq4bml9ELc1WLvaRk8hvfaRuWvxxhVLFEyp5LeVAeitNjbT
NLPR7M6W1NEvTU1YxyBysQTdcisOmyXjpDwvDHvzkulrz2Z4gfFal4VbpBtDga1D1MJMEJjCkGSU
yKmKEqSK32pyFNBEepVzO85kwsa4SQaSgabSk20GhKPmQUySxI5zvAeoZk0v2iAd3tJC4MXpdE84
Dlrc0qPJsJP4CRUU96mmuKxHngUmCBchuxOI2ybZUZygNzmN3E2SZn7s6Mj7Om1XDu2nMX0mSuca
+DkHdu0LOw3ZEW6OvQWjhpl/ZGhnW/Zj5NW78srMnRq3Ivcxj213QMnuqMM5Mwe3VCaMKAvz+Px9
Uu9yEk94liXsz+Q+UMzuphtNHbHRk4V4no1tupPLp7k4tVHnWkvnEp5GH7F3Q0mlMXZLU9eNT4LI
2hH3T1Sv1Mt5p6vClRsH3r11qckuwjHjhRYd+il5TxPtDhsRXOnORK/tuK3ZL0GGENLL65T9eU1u
gOEc+CUqjFNxWbMHlD9JrXJxbl30vt736vdOk7kRXgtM/mnnuIba78dJYY3WXFPCHAr6m56v25f4
Arkx54VxqRiQyxB9ObtJrQQRairTgGZGbPN2UI1N09mqm0/HCJPIjrRSt1t33IIHJUfG6aBwaJCc
TtooPcS1PONUkLTDLlyJ4lI0bsA7TyAp2FvV6XyyQG9I0UvTOw+qjqO/UbC1kvOad+wkavscP9ZJ
dMPwQXZrk6AT1tf9YCpPi0EPUJ8XXrNWfYg4KDpjarmJMd9nC3D4MFLoVaPqwzrDj2nnyU3M2J3M
Lg+ls7zhaTlukFPeyeP8PhYZulI9u5O6/F66iumj+tmc2XD17I4H280HQUiiI5Nz0NL3ksSNKWxQ
C2l/k8la7Gbmce7Vj8Rozta0vCYluZd2uAH+Fm37WsWb4NqvvWmuKwII87lNPWJtJ44O2TtNq1fw
38TsuY5ggNORwDvRM+eatrOtXpI1yb98k5urApKZySDYv+vJsotBWG9rBi9ukf/gsMfFxm2YTJ0a
ZKH2GTY1/u5CfG/I2DHXy8yik+uilN1VHS+PQxg3E83wScRELjlm9a3L224/RfmPqJY+llnBXFfV
CiczGVGAlu91yTBJ6cxYTMzypHY5O7SZ1PNW0g5ONXkkn++izpDuSN+KdoANyT6TTHnHER0aqRo1
7gRECTvtzK3ICq8OtxN6/SmrCk8HJrat87Rgam6Z23olbGHX4g7f4Fyc3HQyYXbFPd0PM703ReNZ
3eS2ZajfpXF6l1ssM7VV+kVh2UD3VQ4cmUDFAL9nti66othE0uL4KOoSrox+o4xzzpgX9kKSjBhA
80wnuWyCdDINnIqNmq5hfZigzkfclF3yatcVnA+3ldwlQngsERLGvZVqLw4JdyGUL5tA8iqCZ7dX
k4yfNHVj7gblI+pgjR/tEYHxduHjTvUwcSYfMVEJprYVuVJwWqv7yTo0JiO1lKNr/NXWH9P8XUx3
jn7T9LfzdEjn16HY10/ldBcik3J8hKWuaT60WA0n8d4sP1QLr17XM+he4WwCPAPnCukoOK1U5Iiq
IvZKHpfx+JaYB7m5kbqPbL4Z2syN6MiU5WPSz5yC8RVv+BEjMBX5e2nyIITqJF18VbwOy0vU7zvJ
c7JXKX6kPcGZH3Od022kYeZZfT+zZqc67QZO5RvZ4iD/FRkhMKHMFdxPRfko0hd69L2ie40UuqSN
fAjnNbHPOLHt+DkNf4TSpwAUgSdopHdj4Y6YePpwqzAk3KMWrJetBoTA6dx2+kbr1sUqgRf+xZgO
0nhXrXST7aLjWj0YNrLBV714yaz78ySODPXxMxXGXiNRJCoct8iY3TFHZJsCN9g49etAYhdZO2Tf
rmGn7hheIAAZ4ghLnufFfYY/USSvsSpD0Q051mnMKn1Z8TP93EJ/63mm75KQEJ/HOH1O8tHtR931
ZWIbJcKUBu0jFxlg1gh1+o9BPjXTiIx/P5n3St16NfZxJ/yotUOv+TzeJ2QZxqE1UizE7Uaq4m1T
BQLpzhrIakBg628tP+vpvwSqeujnd9F/NG3Nw6t0R+XOdi5p/TzjkstsRuD2UcRnnRyA/tR232P1
poPbkyiJm6u+AywZyy9LDIA33HT6xEmCrLFl/OgMnYv120B8o6qkm9EkNeq1Tp4mmkrrzcwY6J5Q
WndWyD8kcSSe7wx9hwme7Zi2mbNnI33LyGzIvoXxbc4eiZ40Ix8MMFtUPaF2gtOwqK8VF+0A47va
F/ZRKVmaEOa03+T8ZFpbPb1UtBfCuzCdXegM7qLv52LDvInVkXaRJt2KFlViaromcQzqQTKOcuED
S0r4BasbuT5Ow2uYBqyfZueVIAjOEJ6dPOg5OyzWq5m+J2x79aAUXwZtHln6IeE4zM3bnuF+QeDe
0dG/K/r3BCMj51lccAEe6WHxssGPpV04Hqzhe55e1Krfi96+q8cMmMFD2s/bZck2RnTDUjFK99X4
w7TDQzjabJNvWvHA0bxO400zxS4HV5uNSqhLe53Zhlm/D9pe7W4k86AhkJBG+5LnbACNDzQXE+Me
IcluxiS3QimX7AcYEQsMVxGbLIy3pAJsDOC+olQCfXjic3Jxo0y3Rn+Ag8WT3VEED/5nyH88ssOR
ViRPMiMefI2f0akrd91YDfJlFI8OPjvrnn9Ddi6Wtc+kd6syXIltnkILwS4+1ZpMvSBmgMqWfbJR
3N+32pPGKL9nu20Lvl6KtW7Y1dWL4zBj3iHUKy3fyh/V8LmVfkTTlwPwmVyvdtuOdAC8bsa29CJp
94V+fz0G9p6Z/Wid25l9ZnxrDHdNdZqIhbduHOlZZqI3fNXWnaLfdv1+nneTRoLRRmbOHd1lZHNG
4VNWn4v2ING3PlrmUzrDj0dNvlLFFCRL4a7RRjcDsx2ah2p5Bfa+qJcwv4zJgQ4q8fS4q7D340vN
WcJO8vhmCh5zO3BZRFMMKtpoFWknJIjCgxI2QS5E1Jh/rXgP/mnbYLuNeFSzV8T+SUHe2fB398ZM
UgqaWbi2940q+TYKUoK7q/ijr5n9HytePl25K/PAcA38fNGpcM5OBSLxNq0vXb/lB5T7+6zdIZfk
JzLnpyI/DeOtFL91jDiSz6Ru2MLc6drtXN29GPSGBOuwAhgGUPtHJd764Y6FZs5vMvsyJK95fFzm
+1p/abGUlvux8xXSPJd9Ej0BmF8FDwOtqfzLEvez88AaAy4hV89KdOzCO736KPFfDQarPcurcNjk
uQ5UdqLNlodKEg8Fr3Zbf0d9uS7Ijocg1qvkF7v/piCjFdWXuexB8Gu4m6T5IcOzPHihcclLzj6B
Inv0NlAyhSWRhWg8CdztmFPs5+Sipt8KhWmPx3fvNA8CDthFT2/z/HkeUp9XCjVm2N/kk+1OZEHn
ZoJD+msUL7240YsHkDzqanLm/KMz5489q/I4+PEy5lgmB1odxZLwXwWA6ptd+jqrQyDj3cYjEN9r
8UnR7h0VzLD0Hg9PDZtmKaHzPb305L2Is1l/1tPT0j5mcVCkN+giPJGuzSV3NLCqRyw3o7ar5u+o
2OTiUxePcf7SRb0ruHA6Z/LC+sI9Qhu+FLv/z9J57DauZWv4iQgwhymDcpZly54Qll1mzplP3x8P
etC4qW6VLZF7r/VHxJfTuLLGcwZ4SKMwHjnCr57KsOL5cYF5B1QE3Ft86lpyUGriax8SO35OP097
o7UoKp0k3BnzjfuLT6bFQZwhR/mdqUpFpE86IVJ2yd/npZdFP4PEzANuZ02vltb7gvuZe3OqHuZ4
pXHUZBrnV+IrmJFW9Pc0m2yhXS7FLNipWC/RpA+vjCuH57d4cvfFIoe4TiYw29hmEj405Z8UrC2B
aF+HBBicmVyqBoYbNlapPbXJ26i0dpw/533d3DvrXTW8ouR1HDB2T6iEz7x0xDsq5sYX6XT87vGT
yActtEln6OaXz5wp/KTm2bCOqr7nHxUIZBFtnnBt+iHvh092btY+KX/COSi5xpARCfyl95TgpfDE
xE4fBc+rAuyHeBU0ZEodAlLF/sFxmlqvOXnE2iFeXm5jnevrVjsODCYpebt5vxrpkhyQoZFLzfWa
5HfmDUV8DXieUenyQIhrk+IUys0cFOluFT1IbwsIJdIYJTf8j3IZ8Cix+rNGBsD+5inAVwPoHsOl
8DQwWKsKINqxVreDchcIHtKBZGukzdKkEkEBu4RDuCoPVnxOdNPhz/F9kcTjGP2lUUt+XUfut8lg
czOL5rdeC9BZd8M/sJonqIkZnImyML6S0SZ0wCb1yO6yn154DA2PX3nNwlUurawC/KLBSpbdhtGr
0TKB8iDXFY/VmLF0fkzDd8/XErCtlXSPkZN36Yh/mUZxhZGj1T3MK8PwyEZXb37EdNPiIsFcHTiQ
IMBp03QdypUocu1E/zTjmA54YxGukKPYeYr/Ri5PQdKTQisCzTTMIVyIhNmMzd8cIjBck2VmyyyG
Ieda4WnYDzVPaZ4UC3MUJznmRN+p/WNnuLyy8uCq0hpkJA/cIkBLOG465jdAtI7ydfZZN5LX/rz1
5yP9K0v4ZLOpecTFW4OExOiJ+BRddOsAzsTArPm78upotVCL+rPKvUA+hgIxRWcjvRLV3wSbhIhA
tA1+ha/9iNBkTD5rGupCFQPApuk9YHs7ii+x8ohXaYUWey/uTITh2ynloL+X2iuLPvT6VhQXcd70
IU1VnmLuinHLD6Lj4Df2hnabmRRkIO17yVJY7Ioudc3+rRM2jXaCfiA7qyQUgLzy+HNILnFzp6GO
f5LNzBaEfS+4KXLKjkgjtH8MxzfF+G6yvZQdknAVwUsiqslbN++2sQK8ENNdbtkKG/0wn8fxI0vv
cvetKT9h+dXCCiZqZnc5OVvwcpdaPzTNIZVd+U+Z77H+LhawVSLwTfxHniYVer76pleXMbql6cMn
Jbg9FHVs48e2Q+WAbcCKD2Z7i+Zzr/6LI5eA9LBCXufp0l2VfuP4HnVHc1vjQ1uTyO+ahWPZFeuF
iymqPfj6PqFnXtjN8QF3VRp5/oxF6TIPf80gwjdxUscJRVBU/zpLZiVzV0HP6reHpMlWWL3fpdIZ
DbuNVuX4zuom02Sb78oKjDECmRb4awM7tcXwfeS/DMrHjImMpclRxSeh2/wJF7AHenCLay6cT5F1
KljPImkXQMdaH218sGo3MpxYO5v08EKOuJn0tLB3WU8USc3IxLNJ02umUqMx/hickBFh08WT0hDm
1q9KWfOci7Ss5OcqfgYC4V/sKcmfYh1L8TJOq77bgVXQ2zZaG0U/Bws6T3FZOgzou0rQtXfcUxHh
x+ompXhxWMvdwQcXnr86g8+I0zO3Hop4MXGl8cgQA8j81RAGbOxZVcD153OnFvydvdu3xKRMFAO6
pgE/sQTYNeOR0Z2+GLgQib6qXqaPG3BXZYj0ahXEtfvoqHiSSnsUE7cIY3vy/2VsAnX8xgeeDW/k
c9XtnjxV7PG2Wp1KNFhq+W/02ZjJgUuliyy/4X0rMKCSF0N0nroL1H2y88c3jTs+E5+8kg01RDB5
gX4Ss3dLpx012qXt3Qz+MgiePEZFPnxOgMe0DyU0ilFSljWa08opoaeYhGLwo+JGkKVNIEGS76Db
gz3Q7uTQbSF/toSnfmnRY2I1lteUuVW4Ldp9hRPNYkvn1yJQwq7pW/KZiPPWlucn5z8I9vpVOLBR
k9c4RbI8JlzZTgfdrP76uohkLHYGeTdXR6ySJLGExZEvi/CyeXLn8E3IIVqJa83+dULq8NwBFpxD
l/W697A0eEXnqk6BvUVJPc7fyXk1AKL9CtI//ihxdfqovZlom01qPbKm4EGE9uQ/fvVPz96ZR4ri
Vmro4/at8LTBxSHdjwtwvYvFm5Ehryc6nDmHRdWZ5itCR28I/0QuAXR8XjrkB6sHt9UvhXngFh3N
z7m9YGjOxYelbAUPSz+UqphcKjpObBplmE9XoidWPwEYE8QGGRLA+/1331Ww0IDxQJzt+JH7R228
a+Wn1noh9s1l+4ovWfcZ9NhUhN8mSmzi4l36USDylkenjtzB2KcGCJ98WTagDNNnmNqR9SxjzSkG
wyZWiAA7rAhK/CmmpHV68vDS/FdkioDAhAmw0zeqgH8U7iO+GfmXXJ169yVDY2k4cZ3xWfmeJhAk
fZjGAwFWMsBK8zmRxv4QhYMo7/C2MkIziZbqdjbfZgmP0net4d3+joeToJ+pi7UbifaFTRRcA2aM
si5xOBC4ae14rgQiZsNNq+/k/lq2f3Hzpxh3EUi5Ry5jwq4aNetGvp/DjyJ6l4bfia+i4QYWnSEM
vKT+buRtCbMw8lFsJOndnD9nADCmCFfSQIyzT8HYWtU1SD9I4bALmWYw2UWSrf03QEMPAoVZ+U4T
ngsupqoT5QIF5iBpVc/EikxvvB2Sv24TwmgU3npekYWJ+iUhFEBkJ5Vv7bzi5QkZYoxLqhdOFN4n
40MgQdN++ZiXUfAbb1r0HqXHRMffcOR8S5X3sLka2RcWWD/fa/rGrNh5Nqb5OenguZ1bc35KPqAG
MJ18N3EW+OJV1Fb4+Gf5NaUJ8NbgqKA35AlwjjJE+mfDtugDw8AKM8Txm9Ft2w4cRReYXZk7QHLY
G0qZXNgvbUo3fKREAiGs1pg4eneYbV6qiIBtvM4KoviUSJXTpL1J86Eud6Ww1zActZAXfbXMXLqM
/NPhfZV+wE7GVZO6DYqozhsKuqpSMiV531c6JD5jJSe99qbQFeKD95f8tLLLAaEIq+pPjHd1t0Ui
hunHSF+98G8aYnCeW5DQDg8noMSiLfePWFhyY740LpXypATrutwwvgIFxRW2onpdN0DQEHVGuWNz
qOSzL6+JoGqUTzG74zhO40dBfELL/ejqw0+dvFofk1x4Zn/UeRWW6G93PAAQig/qvhlLBWvTTNfc
vw4Yg4nxoF1CX4Xxt4WRuQzX0rAi5eDopyfLf4s0iCZblp/Le29BOnJUHVm0mz9dd5PJsTBq+ftF
N5vnh7H2enTwwTqVJaKMuG6pGYqzdd3tpH4NLieCQfpunlNQspoNfA9bv7ia+qMQ99Q8qq5Ap/p2
aL4UIqrDVCX1DATf5vfiGbR2xIhU4ZHUmU1m9HagfObpQ/SSJSx7r05vi1SK6gVbWg5xknSNya3N
nTgcAZygiPY550iSf/BgN1XIL0o58lJg8gjnO7GeBsVB1b5Rzn/vovkZc7UoCybaXtTRG+tNzaKc
VUDzQF8JNrD3alJWQuo7gg8qOX+lRKgYiZ1JV926tBUgY38fKFBmk8XD42K9Gcf3MIZfyChJpx4v
+NchAhsCEoAUfmT+EV7UIYGOUM4GH2dkX0KNoXriKKSdkTmlNm/jfJ9XM8HeP4ND0HmywlK/Gix3
sJmQVAEUVaWyzXBI1bBrMopkybQFmLBR+S0UAIhtVq4V9YBDE1WiWT5SpjC/8p2WkKoU5x0GN861
chN5ptuwIzdkrGIVoUFjTbQ6iv5V441uXF0N+Td2EPC0R4JnwANQEfVv6fJyQy20I/S1fugmhqJV
K13K6Y7lc/BelbjB0wAgD7Lf1cjg2P1xaBq2FG8WbTqEqFPnl469X3wJwzte8HQBAfQUMdybVHhI
jpkC4YpdlYKipNe4pTumL+wI41c0ojcsoR3iD8shSlw+L78O6VItUWioOjL9JDWJA4LoisaezgpC
z9E4MO36HxRQV2rjmUV8KLJd841lv+yefFR6D45P2CSRSpZJetnTUulKWjrLeTuIT2sxdP5rO6i4
6amGe0RbAmsQ/3xPSEVt68N+UH9n4d7VZ1P71hIvmv4FoQm486uuqCztbpn1yoRvo6758+waDt/Y
tK26TbtXtziIXJlP1AK/ZtumFGo7eBK1msDWPciX+ieN92R4BMC3lrllxsKUwcdQpZ4lOZhY/X6j
LVi+9C3wSOTETrflXYGIIfPexbM62+VWWcVsIARJjKsodrBUd/GWr8yIbkF1auSjGDwhAUilBm1t
y11OhlONuY29ud4TUUSLm12xrW78LRMjCzsXI2UedpBsRwLrix7pgoqcarqPwSvA+qdW8LfCSe1T
Pr9HqANWRYLbpZ3TAElX2aVHfEZ+WZIxWwiTDW1uR4HgtIzpev+oPBV/7Q638UYtduV6QPayHqyr
Mr0hDbeXHqtEuomAF2n0KxNArQzrpDmA7pXyCVksCMiMm0aJPtXvNHPkNfe94pizTcIothkIajjT
eK/G7OAbX6Bf6ml1lENX7/GbWl7C6WM5ffrkIRd7dT14IpmTxjPlFB8T0zb7hCegQhT7Nq5Aw6tr
6aqgVWvD5Y4CsV353jztdJ9UOJE7xPjUx7Ni0HDBWE4iT8yMilptS84f30pMEBcp9WdL9vJymyRg
7LdifFOFP1+5+/67MhETuNM7pJJ/U3uUih89+lKkCeAAGOUjTf98Hcrw9C+3UQoAOQDAEZXATsmM
EYxgVJ9R/spJLlP6f8hAbeJ6kAMToQgVfS08eR3FVwuEJcwItelCNw9Vu8n/QI6Y9QX1PIho7uyR
RXM3uzDu0REPM2qJiwg/J61b8SQAC2nUX4Pr5AMpIAEkKHUim9z/CZp/4vjAsDIp15H+iIZHpeJ2
p4IVZuui6S8CAuAM9wAczjAcavjNhoUXdYsLPAp05+BHpAXksxCO0/Shpisq2+3ahGUp/+pShbrF
bPas85s2Puf67LekRrPpSb9EQlGnswESzjnYyQJv1LeKGvGwoBapdEJoH0kgl9Oo15yMbgv45+DA
KgECDmpx4UZ20S7a49lkRN6G63LIsHfR0A0f01uM9PgsyQv292NxTBeBRoN2IiBwqbyb3XuwCjGI
epkbrYZf69/oEf7fcl4CwcZQCd2TxiUftdSwFvNLr/yIAvljreJG+UXOPE7R7tvkCuuB/msZa06N
g74hJxKAbBZeUvdsjRsTb80yEnoiuWWGBaJxEwTa9FaS+a6z1Ss9o5S2VvgCW3yr+lpxRHht2e5c
XhBac6vm6ZdvGMKLC7mcsgjkVORMGAtgnDj10GwE/1+kHQOKjCg4CtYSslMCQEhqpBCW+iqbJ7W/
c9SOXFmSdabfKPQ3UDMg7Zc4v3Uj7Q6Wk6peXrukg4vpvYSFbyDj1E8oIKQ3pIhwjhV0hReewlkV
bUvhgJvM7m32lfaYK1tdWIeu5QTySmhl2yQRH3qe9M6GsWEUYp61OxWNtooyF83ZOtxm+RY8Zd3o
x65ZOlpb5UetX4vSTES11BEKLBGzJY4dXyS9VBw7wYeeM8vwg0ugJ8OC/cL5hVpkl8v8nHWuUStO
y64bcNUI6ApjtCVKTXkmjRiy2LH4vGXSV5NIK5BGdBhk9bxS9Z8/3BIiUdQ11qTSEFfqSM+s50eH
yjoOA5qg2wKYiDSVt/RYEI4BiPSos2eWLwDOqq5XPctS9tEZv53xU/YvUXZ7+YjKEZvcDosiN7bL
pwiK41Li4XBMxy4O+qRl0jA4TAlqRDr8o4bvWXe9ffTxVcWRkKzJF/AYdWaWPD3ZpQrXmybaA6M0
ztLCvNP8ZUPasvRkV24FE3gv57ZrJQ4SJSIqTmLl/ElgeVFnceBarUc5h60RqspVUBN5ZRmtB9aj
mg666DXCVmgj5Aicvx0eUr4hw/V92YnooG9p7ahtGg3tUrrnEdj6ToNrrzeqRGn7Cb4DsLpnWeAf
dSzmJcg6ilCgcAQ8S8/oZpi+PQB/NJ5IDlVuB4COs5dEdE/hM+gHV8bAEDHtidHaalcyVyE6iOFA
oSZw7oVQvH7GLmej0CXL0F9RZaQf5M+KGTFE+2igo09fXezx8VLSwnWwlqxPkAKI8zc//RHH6DAG
yCLym9BeQL6IRNu29wnqm+GWa9K8EgRooyV1Onsi5O1Xb9/jNadve6qxsiFFZ0PASZusSuogA+1V
BTf+MNOW/6qE/dyeJes9z9iZZA4NkWprttPyXvkquArXPPmPS1nMqqzXKcKQeGAgoXxF7CgCre1C
eabGP6MBDRQvLVt4pK2ywQUxzl4AznZM8aaD+OK/rG3yCiUcn9G5QbBtzRqt1JldzyFbEU8EP1TN
f+jBJdWQX01VuexpNXwU/p8aKKjvN4N17KaFFeNgyTqN58A1zXX4NxgeCoCESHm9Qo2jOMMaaG3B
ecJ//79g5Hc0QfFWX6fD/b8LFbIx31jCT8lzVow/SqnagbQz831pbQMe4u4vVL8CG6rjzIqexwDC
/NDVMbPPFjKpOviWjAdSSDRrAcETfMGEzhOwHA80B3S5U7PHy8KXFu8My+H3YQPr7xb2tSjlAohu
UXhM5rNi9xDPzyz9B47tCsg14Mmh9QVQiLPSX6WLyBwB+oU+0UJFEijrLA5RzBJxXPyxxY4QDcuF
MoBpO3QsIWngbUj7YxZbdhn8EOvG/brNNikCVx/RjSdUaNz+UZgLM7pm4tKm/cjezdNU8OAydPVG
5mb21/QfV4eyJoGrdWO6FUHKhLT1BGo6UrxA7cuABg+dwLPM3SLRpPHEHg04t9XoBiCtJdz7u9SW
5yghE9WSnbH4Hkq8zbWthCfaujmZwSfdzpvYxETYoU3INaOXoKa4bBCnuwKub/CxZp6Z4p4dpuHp
iyxXGftKN37p4luNTQlE33B1EnoQ8uW3CJ60RxSwgG+6AhnAZifm34GwaRuUx9GB+tc2++ulzwnF
cRb4DkIzQOu/hkcgc0gYrb4CVhjgLFl8qvx62rxHwYo8kQRUNpgB0E6xRUfUAO7AZNL+Q/udqg+5
j+yGejWnnKi8e9cVZGqNCYfzi0VpicQJYfapuFux+NVVt4LyCCRXzT5x6EZr1TWMt3Fjbn31LuRP
0hrmVkfS29hmCoWnIZG6jZzLrEIFHhhgeCfive+uxXheEGE5Qq7KnaMF73IfQ3b89Nm3AQExBqUr
pJmdLn3xW07kBXGbPg1jF01HWXub/ZdSntPpvvzVlvBlgjDkyIFGk8ZEDj4hvFnk7U8sddIWSZWd
6je2BHVke3VlZY86UpeeKvQ6FGkS/I3R5wumljyGFbFtLBuZvOMC2LZIQDQQorTbkQw3ii4S4Vrx
CblzqB7aFO1X7QPQQR3RLBQNFMNsaiCCBe+YoIPHZJWDYAmUow36w8jf2QXsjBATjBgbDNp4ktms
ppGReEu8fYUlBUkzstW1uMvx6a9RXy6/SmisMkiOPPzuUDV+NTDUs4iFW/ntUIgZ4dfMJj71M0Pk
x/yEPGySD4nvF6MRAu00ZMHZCwKB4MUKg8DcEnWQFucCo2rdnPrxNbFOk+fCfqTwk3pchuGxdkdk
oDBROZwl1MJEp03vZGSf4ugYf3okJ8silJYCSC74sn5Zrm6tP30hj1NhyJPhldTvQXFpxDPLt5r8
hgIjR/wezjd2fSn8HOt7imRpgS+67AYnKeA2wgZEKm8DC2etUrT2G8MbYOt27HBw2UK4SrjEG44E
7taqF1G5/mh17y4/CwAr+jUJ2LI7L3N9taC2wsIJdcGxQMxbIsFVm1sgXxsoTYmTuX/AsNUkaXC3
NJaweQFXakwEvImD2oG+16ySOSAqqKyI5swzZ4KHEbyuheZEgidThGq26HsRw7ffxDk5smLzM655
EyXA51B7wMWLJpl2DJrZqRbeqkl0eN78cZc3zqwc2+nsMys2T1G84JTPWf5ydWeku85FwWydqfKF
Sr/KHbkDilNU2xaIBzbXJqyp4beE/1iwJm92I1hSMnyprRNG1OPyn5zda3Hlf1bCDWWUwec8Trek
pSvdeFOMlY58GcoBuCMy91V10sUtRQlMn7mL5J74WEcRmUPmez/dl/NRzdbLbhdatuVi2Yn2ZXwx
KPma1kbReVhBwd72QrWtsrWcEKVIyyaJ0Lck4dFFbcF7J43APx+Gfo60u4FkNUlkx4/eFfOzi0jW
AJK8UCGXutCIgQNBtMxQ6M7G5CtBpeKOKwKM0+XFekrRKXBNr5rdDmeZE62omKUOM5BeQvjbyvfI
YL25EFYrYJTL2ghEwURG5IP5omYIgPaqzxABD0dEoNvmVwFrDoThataKbEc6FNC052fieaR8D8a9
cBjYJZanDC0WmIeXlrwlW2JuEOUI6aHu10a2lNw6Sf3LFsgTH1s87tEPLjEC1zvrLGmI4GKGUKcv
biZxSnbk0l6OTIsx28U6a6m7Nt9g1F8N6gelLwRkhPFbPB7a8Vbom0wnu8+GZxqRmyF1sbaYcaJb
TlqkfF0yAIhDR7keOVFCCD4bO507zaYjPno1EaAEY7ZuPL5tPk9zSz+U8CqBssdd278zxaO4sTXS
dhmEkx4EnbPDojEHe567ZFjqZuYkrKvLgQsfK6xgpbGV8BWMWNLoVELtyALUM7osPWKaE9T7hnAj
DhAN19Q3vjKMuLuORpVAANYwB9skV0RcjRLo9vzno4kakOrcal6vutXZcJBHlPchOvEjxqt+E4//
mitRHQzpKk24x6T4I8sNPUcyksa7msgFX4jKutoRwED6rg3FhM7qPutQocPRANKXsiMTA1ZDAuIM
ngZErBBcRIB2HlxMfJCEL796TfrnVOqsOp1n+DJZtYBtiGjeEya+MiTTG+dhZbBFzqBDmDDpJttP
PL5EnmzUirys/tcg500/cLhiveHF7Tc6HVfrivnEptLTK8e7NbEB5Cc92k6wr9JnynwGba2wecxM
iR0Aq3AOZUKu0lWYHTCNKfIjYRmab0r/G3PCaOVuWfn0dD8CRAxoMJVoaWxiu2+AmPn+EdmFyVet
gLpZx0kBQdZTN8KvNfYfgbSumQjvhMHjNrOL6KcZYOUqccVy6enxvmGIgKJb9opyZv5hIEkpkyTN
3hQ/pWaXFRerfi4DV/nLEddGn7HBkm2y++W88gsMP7qcwtAa46DRfMs6AlMexAjLKowQvHqsd6iJ
xOarWb4UY/2KkjX3EIouT9MI2f1r8bmNu8YPHYlhtvYvsQBpYefoPtfxS/X/IZDARWlAY55Qgi8X
+AJZOy8DlkSsYvs/BK051PqL0Aue/E8lgRzfQncN/Y3HoEvX01fe3ZvsJCJNHYpbjPYqRcPfcHBC
TDkKZdGN47theJCdBqj1thBHpomjAbG5cikMxIesH0aL+uolT46WOrK+KHEIFK+6at0kXI6MZlG5
Qv4iIoSwfAXdEkj3csw1j0peSs0Hb/E/u7zMEmFY5m8k7sL86rdfE2x7jpB/eU8sE2UQK1JlD+kP
vRGQv8iN740Trya+xxVoxWSjH1CUJTNNiy7EEAO8ElHxGHs0EzBry3E6gwC1zSIMYWOn3Yik0Wh0
onm3EN6F/17yQAgT6qkSXpXfndcGFZ03gvrAIYTdbij/qoKvyhXDrWpcRtQ9Gj/T8NahH7HeeWGb
/Jvdp1JuUfkGSoUNyBA4wFKsqJd8fJM5+sL2Yarf3xNQNcn16jt2bCdQ/qiEApUtMGCdAvunYklt
QojooXFgkArNba4kLvJLiBLonwo5+gi6rxYpiU4N6CI+t/h10i4hMfkHGn/uL0SrEoKSNmQf/5JW
xHCL3L57mdZWZrplfpMa2hO+c87gLdXxxUeE5B5z6D8JEqr0A88wQVd4HXi8hCdnTjURt7KJlVNc
rKr2XzzshuLEUqkcmBW4W38VHQr0Wi+3376vzqN4X9h/MmerAJYB1HC4QmCK9BTQKWWTL+QNNSJD
bZdwkqj83z0eKt6hRawByERT3qbTn1rwnUEMDrzAVBTYFu5fKBRydL4qI3cVHcSG8L9+x5mn6iez
y8G4z4u2YWx4VId3S/qvpZW6PYg8bpW5x5TEv88bscrWxOzJq4hlAqyUJjQhWgwVgIwKeM6G4RTQ
R6r3GtnTqv9lSn9zzj62RsNhz8ERFRqIS+b8tOp63LSbYaLA/pDgtR7SUx8uA0geoYp8NtU2EdYJ
R5LuYhRn7a/uLX627LqwLgJ5WjzjXQfv84EqgFruCo9g1X8DuGnGtok+ANSGmH1TXSGm4m02SUUH
rF8O+dji/EF2r3SyrQCU59t8coX8ks/bNtlVfIfyv7T1+V9R9AKc1uaXSNynqLX0T5hou6dTxzxE
17qQ3LBO2Kmg55HwB6nJqnrlQxvjA6WqK6S/C2rjd+9iiEJDWgiTFWKFsHGVEDsTZEKAXRCFE7dQ
YBysAkKN0/kjQaI73PUJbs9lDSCxfoREmBbCbnH6nbiUZ2RcQv2Wgp6wivnsZW4/bQjzquWrIq31
DtkU0wdT1zL7oS4fPCE4QIcupz561zozEUI9o/5W0o6RHBqR5Y7hcDr15RH9igusLMLuAjcJ6YuE
CVxbHyRSEciII0vXKEAc72iHAf5lbEJp99T/5Jw9mQaRtQjfOLs610DJS8OhvImRgBt4nMUxd5T2
VnuzM5RHs1k3sTfyiHH1YW7SjL/FJSGcEpmfn22jgQfPI/Q5IZSdeUnlV2heeSRHeUtmw9qEGlPJ
+FBtExTjw/CI7BgOEYuhCDmaXJfzlIurR6xAThAxgRxTLHo0HvMkifZRghxu4GZK5Vewvs363bI2
7H4F/y/5ppUiR2u/eyT2wMchG69W/OtWBH34nPejA/SBSp/icwdbQE9EK/ENWNV+8F+uYRdZTyaP
e41Sd3RxXbZWkDf0UX1sih8FWYRkmx2wpfK1QPZd/Kbzr/o96nHqw1xyRRDOFuDTA9gnRoWFgRBv
YZ2uMrlfJTKq2WABX2bDAYHLT6KFYhN8Tcu3mkbrVYE3CGmPuajrfuEYOYNJqNb5G6mu4lsgQqrl
kjUeFmIuaroZ1NN9HP0LrKssTfY36RTKpbM2hFz5zdH/Yb/ofuhoSQrGXpN/AzBv5qzDTu+TKKSC
7oMRM+ui26Rh1WZiHBLRXaIWMO0Bcv8H+4GlsGu13Y4VziaQYFlWG5SkVvnWFP+m91q+FNVqgLzk
WZA8PXKl+aih9W+eNapN+d1w2PHSGygG1ZdZ8Z0dp+I7d8OVRp0MwlismWNy1RCQ+z8WVXEDZCic
GC4PTu1/prBlVJb5muIUoQqRqbMIISqw1jOfJfsYeTsDM3OB+d9YpYkXxGrnmidMEHYy8t6ep+Jh
KvXFbI/TJVmj6lS3zbpYA6Nw7WN1OTIz+BLW+NCB4OkrOpnEd3IQCJP44ncT+6OvoLdYkVoLbesz
zQXhd9i9WunrP3TaerSI1kgXsX00c5hFeLir6BKuLEcerAO5FpxfV513OpdOknAcXUaNsTxXCF6Z
mRgStPQ8+sCSNUrH9I27KAEayiTfCUGACc+xayVdAG8Bm9si6RpQnUjaMfuKLFZ5fBcAGEhnCKJw
0ZNS5LouacZeMH7wty2mgGafuIEbzbgJfq3yO7I+p3jHrpxGt4GGe+G0AEr8d1bd28vI2R6glIsO
6E91YoCc+sh0g1n5MLW3Nv8s8n2xERE5rMN/cgT1y5nzbSqb3kdxE/9E3UnIH2AclbaavqfoqTGm
Vp/F+BjYgBemetF1RsM3Ug2OGwVxGmB+9SGpZHIdOn92zL5yVNe0fv/b/UHkE+GP2vRVr0Nh8fCh
UGeoAvtuvJmEW9A3CPw4f0y8/MI1Ea9CeZySDQOejkDt5Pe0JXzJ2Qi1Ptmh6btT8BtrX0JW3K3h
t+igCFd0uNcLxzwIf8tkmEW/Yntu/jHsQql17OB5/OgBooTh3nFPz9oNzbBKkIq+oz1Skc8iRWnZ
J/EmqGnGtRqeZN0TcT/PPrtbdIE94B5IWwI+zoPyuZAnTc4ZwditGy6pGgxG2RaTsmMmx0hc/6GS
bj+DlYZWH1mGeky43CqonYDXr0Y01Fm8AoCkGSveIrCbze9GfGObMTSiONYDiBOaQOLpLC/AMaT0
71P4K0uLJhx/zUelnqx8uww/Y35dRGDIjUh3ncKrjjq5Fb6taZ9Wot1mD4ovES/j4+nnd4HxXm0m
VwWrqYxD0380wk6Pb1Z6SmcNaJQ3b7gBL+IQgBLeqMJqOQIYGS1Ym5rE4FeRYOHaNSOQxKEK/4Th
MjYfCuo+9VwlF6pYu2FT9qu4YCw5pJMHN5RZyAl6in4QxHVQSB4dPYB3UnOIBuQ2/ipoz7PIhEso
/K3T71H4F8XvA1RCh7wL+JJHpNZgwVhxVf4c3PIpUzFZerxC/OJB9du3How9B8Z3g0CxyzidKc8j
FriyhfiqKxdBfFCt4hiI4xfFbdrcdabzMDwtnNyyDFnJo0HRmCg0jW9ac2NQi+lxkcCS3xOIFTbq
tsR1oF9S5d5ODBHJK+p/kw51+QUWAK0Ta9uI+U2rJdjhP13Y9M1eQvQMzls5crK1is9lTRebm2/c
f5+jrrm+B1yhfdURcHP3Dy3bhM7iio1xlEmRDVDmf9PkRHlV8ogUxm3nVeo/C4VkgOHM0F5Gjjyg
jlCnTfZiW+wIO4isvbJILTySTgq0ODUtDs+6/OgwWRaPnq9GkR6XMvw0KIEawNhlZu3ur9OM5Tmn
V4dJ3mDvXLandcMs0/6PpPNYjt1YgugXIQLebMd7bzjcIDg08N7j63X6KkKLZyRdcgborsrKPLVD
YgLvvmYBGOMYMYD0PJ5ue+54v4AnFoy3S3zROJMJFBJuqf983mudAqR27vROvU8J/iY1YzVI2gpG
CxGUzz8dYAJ23EwKIraDepCCs1MwuecsEGJzhyF8U1enPNpXKSDqjb+gOuUC6JdoG2Y0B904zbla
hEaidyuyDmJAjm9TKCsaX4gSkefHmQRm1UUsEDaNKZ9XdZVZQzaWX7IJtHnGNFo/FSnO8nscUtvE
pNwTRPCN198g+8NXwmuAt6ApKOjQBtWZKDEYFeJILvGKUbPp2UpieW92McpPuwQHn/woNLfWuzWZ
/FrfWs2QeiLwkCkwKrZwSpzwJMJG/8Dt5aAx+zhpUN4CDVfMqjDfg/XWEAvUKJ+q0rHlnTHyB7Ir
lyN22mJK7VvcRXPdMhvp00+vYxkOh4rE32CafI1MhdmPxWS3mrT9qdYp1FkmN7H0hV6sldCZtgQk
goCwQvVHh4AVZaIUyczy2YzJD2LQCVfmVCqftt5Cb9mOb35/ITs4XCj02nLQ8RxwhJa0FRPjqDon
ECZN85PJ97b8SKVNXq98yBXImNj7mI+akBmg0JsTjfq7T/emd2N8wCIpGmaOhjLnpWKII5do75gz
SlKKkvwY3JOZ/nol5U60M6RNUxBdwVJDtnAhmzQjUyFfeFePe6Llpqza5cBlEc4AsPTnJPwRPbDF
KWhD21AYDLv8znHz0yMbRcqs7T4lqksmzoq2xrDtsTg9ntpLQuEo6+7xn8NiPAWUpYBmbPRpzEiy
9qrQd9wbo9QURtRAgy/Prcyf2hzRYVrP3ZrBDIiwDnO6ZSOcwDcbbWMTj7i9S/wnqsKx/NHWzYKe
cgYTp+Q3rkDA/SsDnHIdusuGwbFnXkN5JyyFedQxxUxxmh9d7eIPRy/5NJxpyN4TSaJY5nCaMqzG
Rjr15yUkvAnhCHVTY1wSQ46ZKXeT3+/SxLFSQSGRR6pztMWmF19LHp3r4YIyxho+JurnRrsGk9+W
6p8UNbYhdKNFsWITi36K83vhbiPngFOTjx4eDsHfqG+F0CCs3KMrTfz4w/Jvgf5dq7cR2x5MdYCx
9cqE7fod09nNMLIkxF1mJgCQUvSYbIWijLlY2k5jxX0U4xM3ZkDNGeyw0xE9PCO+U7M+DPUo14Jl
TNMUILxWWGqJnDAwSr16qSojoUE8rxzjmyJ/8FX4Drc250vJztACW+yAnNM/IPh6fNGMH+YMmihg
aAWR/DuEPqW5ONyiXXnsZhhO/FlkMeybdYzxyGbRSzEcWHmsHIL6ew9oP2xzmie30MIebpwxJ5P9
nYV0vABM8b4Hs1Jmky698pw2G9oEIhZKGyZDCveOuaz22esfEYOjttbmXXGzhyeLVgo5gMjym/hb
dhVgPZhp2c9QFxjzeFrZkC5RYssR8sDkCWylULNF7Zcr8Xyxvm8e5Nnatsc1zxqM7IOanRmJMPCn
0FrbL5wV4kBzCz7ZK7t+uY+POZAPX8xm/Jw0cf4RtUdxvro4/8A5Tn8l/BR6/OUqv1HImeTj/Kj2
fHqovLj4dma5MpgI+f4RExRQfi1nFNzitm/nsWVNWuWilWIH7cXK1pp9JphQEnXwdFiLl7Rn7scQ
xLpiwYUuxtEfbkAmgWT7GGquLjLcs5glsTiF2Cky//fJpdqKd3xuU2GLY9AuD+QAmT5z9SFzMC8Q
uqDOrVvs1eW4sIYTC65IdM0T66XGf0znzfAJTsDDri/rZ7tdBdlOinFQNRPH8VAL51CQSf1CLK+K
hT9QI2CnzOW76/74Q7poyRBirtSlH935C7K7BxKBm5/PVQsXgN8mg7aJ8NwoDWdmd43oUAkTj8pD
VI1a8MnKswmzkB+8ZVlJCwLHv7+UTLKFoSvuD4gXDQaR+icbl7hzxBdRFyT1dBWIDnSYwpknCIff
0MeRW/np8HO1+4HkdZSS2AfdlOJajglNj9uMM9DnZGHWWs5Bv4gaLI1W3ZEThlCTOz5ePjvIP9LJ
l49zjUt0lnN7QwBD7LdnDid8YTuzVko4AeLpuhfR7nLqFWjx3otVgNhboQJmBB/oaNQbix95y6Uv
njaf4tzpf2J0FwfBy0fItfPq2x2RtSvwQrz1PpwlERsBqlXSh2AZfUkRZ3y86vPDiBLQ1tbE6544
uKUplxGjRxFYYWTcrcTgoA7etSUSpnbyqDzBJ3KQMojG8KpXo7DNMzrEGEcccmm66bK1znoK3ZB8
muVOvwG94bYRA0vz3EcfvRiWcNYK+bYkHxPvBr7FrP/iWefVRewwt0xqTKZ6JVd47IvLVSuYXXyl
b89C06v/uKx4iII5iyIp7dWphkslIrw59GgdVKhq9WEOh3HprSv1Kc0D1rvshZBRxEt3ya3LfE+Y
hBSYPg2OjIgr0ZEwtnB12fY1ED8Ed30KCg7N1F24JRB6piwankuIOyXBrVPj4XOx/6IaQIP25yE5
Rg8LhvfUmwH0c7ksMH7Yk3vpHtqpyz3wpRtvZPuJivbIcG2GZVnlU3CcmaKM86Djx+H7g39Ivm8l
Dg0faymDLIqNWvvlP5G5IwvG3FOz2Fm57Q2kyg5VTP0ctFMiiVUBFo6HagnjH2vctvKx55yQDWf0
xVPF5ij1cSfOoqk5xmstxznPw9Ha6cSk8taLu/7Vmt8iWW0Gz5SwH5+MzEw/FicFr+cjd7jZM0xC
tGZoHFBc+UkdhN7q3OInyrKtOAlKCxLSPMbqYg9vteOTiIjFW59pKXED41jS31J0coxTqB+kZJfL
f1Z20wTOiHGn9xEVP33pwZTh2fW3VXKq6OtpPiGUFBsjurEljMU7Q7ajZEagDmTaUT7HBC96xCuM
lMP7fi/yfVGcG+Ob9XyTwziuRxwEsSJEr5JepMa4QAU8caaNRpHF7cgfIVJTCkdLTCR4m67dpRdf
R/8CyCfEqFxv3fYca0JchSfrj/AJmB4WAB6w9Xhr1kM3BIK4ASpfo20Hvj5GbLLRJgUzgfAgsQ5a
JtLjsdjIsgoOymFpy9JK8L4MHPkmxwW/givBS+gc+gpqeyhXPTP+mmJeprjKpt+2UMm52wIIYuL9
YQo24LXF0FXEk4YRIjfeVMFiAiKJIuxluRnsQEx7sTUXTq7RScGik81AzQsUepEHVDij/HCVV6Nt
svLEoF7PLyRmLOcVxRZ/vrQYQhqP1p9o8tRh9lkvPLpLN20Jnw1TmwGT2z1JEyIco8h90slCs0Jh
pGI8kh8uiDnzM3uEmwPGwKp6M0zpn8fbGJHkDiWO24whXaS2E2enNRWjpGZCG2QWW9EJuSNRoU0e
4/acgi419ibWNmY8lbrKw10krw1pAelXfrDKDl6vadP9Yg3lmdTHTwsraLxK16Q51B3gQdEcETIe
QKVg7qz9hdXWaye46BWmMZYY4mHmR+y4OEnNMuued+JnkTnyKe7sFgUUV3ybx4R7Z639ot0T0YOM
b1nUw+yKmfTSS8pXUeJTNrPS4wp+qnvY7oGEZheAyBymnYPf2wknjonXX83nGnuW8e7OLZQgJH7X
oPwi8jCTvbVefDXSXx7ekMPT7NTi5fAQyg2sggqTWCSDeVfvXQtj+aGLv1SbihP8Z4VmQ1xTuKos
Ctty+KU25Wuk32Wwa37lKQ2XtpcMfomKq70NkFgK0n4Xl+8j/vRDnDIose2isXZx+5cXVxW3B3ws
ni1Yn30+O3F5A2nCvQ7YkVKLKaw5y7B8SEuHLCQuH759skHUacBLVip74BK+fRAUup1PhozE6FdP
XnDy7tI/Qu8oCT8l/6ahvVvDVXwdpfnogn3OHIatK+xhUomZbdJhFyH6asJ/yqzRlO1pxHFaAvsN
Wy7E7FlCTpK4owhGYgdMg4X2hDchjlNFYtvBwYHjAjobHfmRGuRADo3LpNMjEw/XuiAsl7Of5pAr
70CjrHC2kvxVtt+NhvqYlliUIPZWFrcpy5gtLKQ4Ij3/24YnxjWJNeUai+u43qrFxVX3RXp1MRK4
AL/ESNbjqu3oK9I5kEC8dob5i9Dq5ReEDJ2bPp5rzgEKLLYtwXo0JvL3YH/RSU65chIXwe/bHD5C
9cuQ2RNWPjUmBwBykCWHXesEkAoQgjCvCtnTy//EdxpIT9iT056YB+AhQtRrjme+iLrfsPVzTaIi
oZk3VnqwSAr02w9b+sidP1Pfcipk0tPFV2Hl8mRIn3wyUl0TwkGhaE9ZeDBzvvmajiaCSbKM5uEi
BMTASEbDO48zJ/D2mrW2jHdWf+nULrl/GSUEB3A4MwQudHEJUyJbnuKRhdZcawPiZoj3MbzZ6Y6/
ImSgED9iS8Vga081ZFkDJQ17wRaG5aPDzCx7pVTriP4XXcYaD1mr0cREOOV/ggTnOI4O6ofY3scY
zuJ6y5QB8k+K6BhKLYaRcFrL/E/Ua2p7FTYmDvhA50Dba/XNMv4CJg5+fWbI4npgwbAS2qeg2/nu
2avuRNEQvOcubY6ZS/y5dHbuC+adcKSgLDKY4CqIsi+33fvmXmtOJUJQ8hPBNB1WVUlZWdszrQqm
ifJrz0CWuj8YNKcx7WYY5DhzgPyEQhLA7mwc8UuKjret2PkREu5LsWbWGJ5PKuisQvrUKm1SWh+9
8RrHcm2YGpbKcZ7a+EPiGwhvAgEzJPOkIL+Ok4+OAk94alwqXyVwUO3iEq0avn0OIsfnZYhGh+Ha
bx78OcZNLW+ye3f+hsUwY8ZCEVlPmCx1Qv5z3C21ekmCjGNjcmlBwr4ROIpN6KEsOgbzgb3AYLAS
ZM5gTeDDjJ9WnbHglJRESC890c0dg2rJ/RDudat9aONFNZ4izzdyYqn1N9Es0bDTD4fJp+S//eHR
DUS1thKmbV4OHkoVd3Blp1QEJMmI3jvXoCKZxB7jszWE06TrpnemdcFfhUe0esTBOS0DuBlfegLs
aZJTYl/BhWMGIdS3Am/t/uFmhE4KXtFkaDbc0voql58IC9Rhi1FDDFt2WOwz+SPgch7uxra2zwVX
tIZrjwwiznUuZulYX1T56Vc/drTz0zke3V3XLYNWKIfe3JxJ5dV3zvxbZNAWBTuauGtVDADkGo3g
DHt7ZpMscTvG5iVX01pRN+zSK/DoQsUirsF9NlW4q79gbPsHuTu4MFIsJoEMwjFILOzuoyKzyUUl
7mXUAixaCzllAy3cXc4zAJ/ej2r1iOcE83g3evMMSNCbnHQMsNJWe0IKKl3CXm/ZPcj5Ic95dxDW
pW+r/hidO+ppzazFpgPrx0OJxuKi/D/i5MxGFfp8Yh3jfSjW0rBq1VtCmC0sJwYLC6rZCOH1Qs00
q174vMQGe+2ZLZ25cHmMymUgVInMrtbOVFHbmcOwPzUYC+9tdUu4WY++c/Vt0UwUWB/5U1PYY8T8
VRA24RwEoRzukmqNk4ldr6F0AI49KQnTsqEsxqvOaWmwjgEzoPjetcCZavrCCNZu+qoaZzI43spC
xRKG39rlq5LmfHCi7MpADoisOWYG6Sk0K9IOE5vRg+4exCfhqa/E2ooFJZhNIItnQTmruldlwt+k
9LKcrWvu+HoHn1Vh8BumJU61EK93zVzClkDYRXMNu4WUH6Ro3vQPC3cLjPZJ5L7ujK7T8zBjd3G0
LvJjqtJsHcUvEAZPTcaQNmPQq9wZiQEPZrLBkYGxxeq/+1WAfEQzjzX2hJw8jSA1FtKpIrOBO14B
Oj7mc5ZHI1Ck2iwazzHTnBManOZxZzs8IMmXZABOrKZy8kr0SwIz1oAe5enfaXXQ8uuof/pY2FQ8
cc2dggoviPQB7i3oZhRCQb3QecGLfT2Tp9KIQMKiBA20pgO+2eBFl7Hojspvrl1qcv3hPEVNdgki
RfFNQcCt8o3dnJhc3UHtTgzjXcn7lDxxvRtSzivvYygeKl5HcdeqPIyphsPWwLqOVN0yW8ebgDOO
w7TA6h3mays7GnjCgyWLKSgaGDKDBWR642/DZFbH10RGq51+sV4LOBEn+VBSetO9u59OuJd4c5Ft
8drNwB34xUbXr8K4Igcf4rN1OsJH5a0OvtiMjVlh4pdgZ2YQXbnZP4f8rVibBvBN/C7VVT+sg+A+
dM+k+pDS37B+pwa3EPOGoVxb3E6hi93hiJuK9NG2Lp4Z+jT7GP51i4oKsXvfFXCLqY+527PiBPnQ
K39sMq1pfRvRkmjeBz1lgPP2lGNWbA19QJ39jPRXi7dJbt5ytkVw4AJPg1dpsrwRq4i/kdHjWV3N
yY1n9bew52NAiHRhAUdUV77o/k9sKpO6u23MMxvgQHaOk5U9oVnJj5H+18jm1CZK+G1i77tbc2MO
z08Mf13/p+vPmD1H8ZFam9a5FQRb2PiAuvLFc1YUWJKtpRvQN/IxVBshDhn4JNjYQZPFXlX8FIN4
2nENFM8QZ/kQH6p0Y+Zi4t0OT/EiEv0Y0DEJMCvQqOhAdMRb6x3yQEjKo2DS2uo/fDOjfGhw1Hg2
rj2VjMRCKcQNtlWzvZYsw/Eoa49cumpkGyLqY+wYTJcWCnBEY57sDOMjS1/xuLe0PYHCMvpIOMJy
+4zrBvbqkopBZ6kua6iLU1uv+v6UWzgXnEWU31mBkOKEoC2vYG7/H8ViQMJhn8Qbof/XHE+6sRAb
XyK2j8yb+tPOAE9an8IGiZO0YQEvFS6LS0A6SUeyBwNRZyomZxcq17IDPPSqSh474RMVs0iOr/lo
0K7QRlRhvVKzn95853ibI8S3eTZPmlOfsSJl25srkeQLPzXSx6R9QemyDZ6JXuTv2dgssbS5ZdAI
RQNnce6daixQVD/f1ke09bStSPQrNfeG8N2tbXnF5stOn6TlUpPfrMdw6lMACRvXDoDdhSy21t8z
5ioYyycl/hek8lBd/VLr14SUxCHNHM9qfzPvCncfyS2QmeBwNwTZ1bYwpDKtqBbVw6rWIRKbt0jV
i2UcSWrE7wwEiYwijgBVeP+UTcf+33eADikfYdzi03wM6tJQKVLoGRZN+ZlgvwXL3R8Y1Lbqhg0E
TDjWGHSxMjB3muaUpnc2/kz1YqVpFCLbvvmlhMNIirLLDxuklzjE9tshWNzDjIuGu8r0ggVaE4yM
Q5B8cz34yc2C/CP9Y65E3Y5pK56qEL2X3btwtG6evM95iE2Gw1ZPSvM1oGZYMK6V8ox5KpFXqSxw
qlK0cxY0MbW1t0A0hq1NKz5Ode+PRZ/CHAARArs2n9O/6+koNLAwfVnsXhCZphE4r0HsLXkZHUoU
kWsin+M+qS9pfnMNAFffdSkAVocck7qJalfpsHfedn7SsFZLG4v9Qf4BUTOJ1iRs/AC62LHWd9RK
ScUhRDCJFG++lL9kFgRh33AE8QH4D2shUABv0ADi/id3tzaVOAsZSlQkmWunZujTw/VgOk1ll+JS
2ZcBRCKhifD641UkR8vnuRjNYw9eCOdpbq6zdmf5gN7uDlUBlIGcKs5RuQoY9muHjAfbxYSyQeDP
8e81aGM6wploZ+JeZ9P1pWGdoYy9cqyeoMTc5C0e6IKNHrGGsMXO4YUdn5oKSpyfIvEvBW2Qtbb4
7um/B0Ii1c4rkCFOmvnhVG9e+qlPWIlZNwdkjTlUUz7LhlDAsmn+PELWFEvObKxxLON0IHUrpqmp
d9X4dHzn1CvrYaEvHI+4fIZ3qJ571uP3W+bvpzOMux9deDVKe152Py4zMFySM5bqTTp52zkb6NMh
m5wSTNXOT2f9iZ/BhGnhFt60qs5Vhsw4dykRb8UMz2P2LfrOBmhYewvRKiX1C46ynO/Ip8MiUgdY
OQ6vnLYc9HMv3Udgzpb2GOKN553xKNryXtNEkhpJxNsGYsvFUvc26Ha9cq+bR+w8Kwfz6TWTD567
zoO9hXg4LUHIrXGwscf9J+L6HqtLoc917ddK/1INPAM7exZ1/RkW7IJ8q85NnvhzrzmzsWE6LLRp
lL1kpgrC52jia7D6lGorI7T6bJq9Brwm2FohbalYye2m9xZtQCnNf4+RxqMBcmHqWSfNIIix7nyg
mjNMyzPAL5yyRFlGb96gSaH5+/VGpybQWC74zcgVZg0eQ2hAIjBuznkRrG8kINRcXDnsCzD3ln2r
kkvcfQfDKVN/OrYD19WlLjVGyuCAWMKjW19xtxvTQ8WkNubWGxkR5MpNvpr4H5L1v6uTyZh3FeSr
xHwa+A37FSBpHukDkDOtvNrZrqV9KB1Wo0tbIFnIyKJPUZtvncDG8BTsl7pbVu2xjs8yILBsJyOB
ImbZM4PoR+ih6XFWuqmALxsUX7yULKz0f8L20A67scJvG0M45pVCN5PBYB04AkxqMIwVwcU3/jgU
YKZY+ooVNq73y2mAoe53xKTRI+pSqLjEIfXflpp5RD3sGDxG6gvagMEYsqqo7LptFG2acU24YBr8
xRUmomfrMtL67qu1wrCOHHw3z7Hn6c+Yf7F+GoK3lGxVDosOxGB/bVFQCplqFtSCju3WSX8k95Qb
i2rEjsTwayeyriqhnWLdStzXFmf24Z+NSrqhHk3TAvbmgm3Lqre2pYdqsCdmSVRjHZH6MnBzNLxA
8RnIH4vehTGTc2cMjhkSME2CYHiQMxVJgE4G1rdjj1a6CwagokvskXOIE2n77Ii6V+nWUnag4sp8
b+Vnti8yZoAvitf0plYXpv45kXMLv/ksTBbcofik6u7Qh8eB+0VuWJBD7cigGtrdR0PFmBW3qvoY
qOeri1VeHC5RTV3BDkwQ6SI8OkKoKqSLod7ZD2Q1h8Avp0n/anUOrPGbMb+Adte4ZbDn221FEm4D
vd1cI3937YsNC1NSCilSH8IE6UBaQq04O1d3IF+wCjEI9+3Zcv9sfT/ij847zH2cWLLfT/z8qFaL
XMOcQN210sOt05ycfgdbc2DwDr8dNTNqn5HHeVcdbBp5lR0TbXA0UevztMY+9NS0tZRtEv0gEthj
uVTnyZzYs/AseAcJr0MoTAX0F9EiSZfQ0UVuRuufFjJrBIJiiiUmQ3WGddxtR3PlmCszPSnFPsSq
JZ1MOrgcs/nDMD6V4ZJI69TZGvC7KgRSpVpIfgENygawgeePSCDrkPE7peanwilguS8xLwPXizvV
Sj+C7gikY6Il+7HYRIRKYrw7tN7zTjvbX/8+wOFKpHbO/r/Q3cvOtWu/IL1wxUjuHmt1qmDvw8qc
LkXLpEdXkWcOeXFkopyV+1ScrwCrSwUWmVeCk7FbWAYZPTZ2/wjiXAkZINukZCAd7cOr5CV+bmdT
1TijYJ871jSfN8nRry55JdJC5oblrjiFnrr7Xdm/2GZmNYZAC7u3OFX0+sgYxA5pa2fUyNCrwNhq
PWo6iWUFICJbmFwcx5teY1B+qXlhzF1iP/JnH0NPtUgM0V/IIPb4tn1YOj77SBoMLC6PZa9DyyBw
kvJfrZ3db/z+p7ML1GkSNPSsRMwYqpQwOUWEOmHr7GHssYfPqEojnip3ifeHVBJ/tkaFwHQjUK+e
stVpuG3jZLLcSvj5MMpAx+XnzXywBix2Yu/sRjE3CYJDijzWoJvlHfvJwBGaCy9ZZ6Td7J04Ritn
riwYz3zUwzNs1jbtUX+DFRlLIO0NxkoaY4Bx4HjcU78k6G94/eMSZP2ZQcOU80W2djnbHmY4j1vr
5YpGHQIU46e5Aw1Zhiu71S5q8EjJB1nE7pgyBieofUNwyJtFZT/w0GC753Uk0uoMFyW4QZd20E1V
3z3k6pdY1sIJ1FCqwBJoEEuBPyX9WWoOcvTArzrz0ZnBTEVbbKWBeWJn64LIuEHA3JgO7sqrZyh1
/qJe2frBp+1m1+48jI7U7Oz8nTaYjWWcMOKWaKFrOmTouCL0BngiCVfM0YbtYxEG+/hiaKYFIB2o
xuwnNnTuqCY+6cYzzniVLOzA0TGObxgpYPqqIEBdoATWzheDi4gxPFQqimRgwv/8Qj6vdHRo6gWK
FV1eEhMmWHjuo9eA8h6GZgUGKsLR1JUra6+zM3t2pz+0J+M8A8DIrISwDOtzlm2EFrwBqqFRrGeb
1r/ZWN4lZ9a5bFX6xGQYThEkg7Po5fGUqQiz6qE0kMofNdYHb8XQLu93osoniSrxtvHG83CO7UYa
tmBqeRg1mHrw0wxr9fhkVSBcR7nDnH2K22UmCFtQiZx7nCxE+i+/dBmzojW3xvuXT2J0bihDvDog
s+Ha/gP2YdcFassg0sI+k8kgted+f4K3QJTVM+xpSsQ/A2wv2/rc5GY0tJpVBhPq6Amt5AJuHs0z
z2TrsHZu1UZnRiZPDT44zTMmRngRnvHMeEP88TsKWawncg5QPknDubOs3w/+Ji7pnoUkC0mpPVYW
5oel1gNGgh3CqhrQ82TrSVcrzZJfGyJNlzyHcG/HWyzoLpgDe2VjdDIvJEemVc3EbefhkYcInmib
AAAxK97NA4MM9HhZPYQVSi8zkQykR5pDUuYXQCGOcfl3FPfDrMYOI+RJLCpdtByTjxTgnVNtg2Ej
AshKMRdhZtXe5tU50DYcMrmDuROEDY9rea/I5+rbhCJdZn1lQbuwcSz6NNwDA50Vo32OKrU9s4sj
Hy5ZE05Hj1mkAFMwjJAMzgtM8/9boxVKIr69HsIoIPV8Lj1IKbflcrxBivRwmab9tdTBlXj7oH73
zrIViVnmj947TRZKfjSTDcthiEiSN8WifhvzmRBe3GQmUeOr+yh+dgw1ARWoylJhbybNHr2iAYpK
mPkH5dYYHyKLFX5muL7t8Sy6OSs4SLNwqrR7D5uVx1KQh1esR2Vlu/f+kSK6SkfJvZbF1nJ2srEM
Q2LOwDHrAcPFJRZubh8NJnw+AAsw+e+178A5mQyaI+sVLv0lpMMx+CkkjrbMnPbSXwzTL1sVDThH
jMFVTnrPuaTyVu/YHUgXB273IA9rR57JQCEG4fVT9k393vMx1NSlVXkCe5gN54JdPr1+DOO9jMVW
P2F+iYt6ghIgrt9QW/PyFsUn+2n4qiMGBh5LqARezOdp7eYiV5lVXwlrB1WKfk5NcGgZBgPU3oLC
0MuWNQ2s8E9Kxwqjh3QVv2ADSSCRl4P99FhlGhC9VBMsLFARoxUG9KbE2zisjGghqQ8dKYAlKEJ4
KXYWVjIaIYuco79mn9ykpgnEedYG3GXtU/chwrvHMFtqcFx7hwgEsT0FuxuAQfTENuaGso/mDFJe
9pSiaGpziCJMCnCBUJK4zxPilMGwZDTGVYqCs2yCFXuDtfJMvLmno7fLNxw+4YS3r6OoVVrGpMZF
+Jh751u02N26gN9RfepNN0+Ja755S9xz22zbZK9odxEbRrH1oq3Zb1Qd/POMvStj/asXH4359nA7
ZJhtlQoCM9KHUSwGfW6YHwPDVNB3vroUbVtgXER6SS9mkrcvnQPj7WWF85ixDpgCUScr9rlTPhDv
LbwBHjQ+hsAcocUjMxZd+lt0dwqi+EqlG9ZwT4WvNwj+auUSuI/kdwyPbzYRdwt8m+n4m7W0NcLO
ug1Z3pCuQz4vmXVUyG5as8mTaeWQApMZVm8AU0GERInI7NPIpc0YkFWb7YPuGM3OTI6wRiIAmnh2
5PTIjpJFzEPaVxfZ3UP3E54uGGvU0fxjAeaVBQosuzh41PgqRCmnqbxie0GHQobOCcsYONoZKT9T
6VU7NxLMBsKDek39VwW01bzhM2jEDRyQLMcfvdFttjzc5WjdCGnAxE1bn+Nik2KdAVusU1UP76zC
hOrMmC95vx37VixQjvh5hDUcRBxFj8X/xZrRPuTIYUYNRYv5ODwtLziIekOO3gz8YX/gWu3WiPxz
djwMaFrNLtGWBQqzStH5XfkbPccqi7crXjH9cYw9cMlJXWxEXpHptVC0afHNcwmCQwmBFmsPrVzX
jeAmG/GiTfiB2DHyV85s6LPqOva+TIEf8fYU6/wFsd1o2B+5zgFzdkxl76kisJoMAqxbrQLVvVme
ygyNYRz3sYeIHGbZVKUjN2EId44AcOHiWkRrWgUX1yINfXCStYNa87qlUD53NhAIpAvf2IvAdFR9
isc8mvOPF92c5gc2spoxxAC5iH5cHsG4C3FTCy4sKKCLrbWTAwQ3owrQMDhAshKThVD7VetL0tHo
MMLGtOSvZ/kuSA+GdSS4yKrYu8dUjnpm2ha0XBKZX4tmBfp1GTwk7VC7eBM7xuqferxMPYZTAUEo
Fl6DaJB0rEgocspuMJm5IHoV6U8LB0ndIclpwd03Llm0MtVNIV2rDG/FxsDpAjnS3tgJRh9tjq5M
WpEzowq3efs7UP8m4SFucYKntKPWVxlxSBfrnjVBbCsTHZamfJVJCkbmFXP1WSzRahmYQtvSg4F4
ifsozeJLVZh1sg57jR+MsUtHMjLcliZIqbzkQ5xlnXcrDftQSeFfUxafbC7hrvJSfWZIymkcReqI
WjFJ5T9Nd05+Mj4SGQBVqQBpQM9XQ/xjvrStuYjLfM2654NirQY9e3fjZ8c2SZsvV+vZy+VJBxOW
/JiZzyoBj+a3Sxs9xy+8bQbjPkySfUklGcgNI1Xljl982pDiBxPTXWycpGBXsRaSf0sj9m4Qsiyg
X7jjrvNVLlNiIIW+chimNC0PXBlxaA4LWusF/v+pGmj7vd83h1ZuDpajLL3cvnRqIjNwaTh/5zne
QM2X8M0QCG2ji9+PS0nRwY06Szmi3JT6o8osEkuGnTmQiaxFW5uLnj5LsDY7zppSrn9sPWTUYJ0t
R8x26CVi9p9jfHPwjQ1JtrYC8qJA/rCZ+6hOZn4pVEixAyw6swe+2M/DDJqMNSyzEZ8Lu2ddG+sV
aEnXK5f5yASYUVStvjmMpbZbKQk7B7Vh08nSPvbTXd4GLA4bVzE2wQbjg+JxbzJFGJKO3WsOLxXW
HzVZNLm2bOg5CwCvgU5vnEWnMbHvrUPUozWNUz52ez/Ml4YH2Bc/shUrs74Qa3NyGroRr2GM8VHa
m8FGT3giqLAScm+0YE7yEZM+6b3+4BEKgra5M2AIyFExry2YonAfxRgjC5Vz5YBhY0cZ64kXEa9R
4Be7jkeDwgSAnspOy2IZZhbBM7BEoO3hFi9aG5AW44tRYXO9MAGV7KJRuCkVMt92u1P0L0l+jwBV
cnH2/CgWABuLFQQVPK2KoSeKqUtFoXMBRlRKDG1BOr7cH1GWxNhWDOb6/Sn0UcsZLYW4DX2DNgln
YGQzKDcY+0FtZG6hoxvr4cGJP3L6qsGhc2bRRn+QavwPLIYcTeg0oLVqgs4GgqrJmHgY8YnVMJ+T
aBY2dDg9eFfG6nmiT1V2U9jgwgbubJVyw/ly8C4VbAdTsBJ2GBTEn6PTYeXOy6XYb/Jm7kfKxCBw
xQnsyfTGdJrBuHDH7RC/irFa8IPOWbM5jw3sdSOFbvsfR+ex3LqxRdEvQhUasTEVc6ZIKk5Qkq4E
NHJOX+8FD+57tqtsUSTRfcLea/+zGmZKjEmii3SPvjpkuD4YplIpL5EmmTW7dc4PF7/CMHej4SO0
t64gA4zNJbH1VISf3XSj6E7j1wKPb0sGmXIR2TGbQIamtH4ZhOmmJt1B8o4keD0SMgCefAZlvi4j
PHYuQoRxZwFwC9JVjbbTYhCipfoLE8WWY3F+e6eZa0MUggYD30Vd7Vq8bWjn5xenaGiTnPPBfOvI
MOpn+SX/wcKhVInoQ2dJS0LaIIsxEk3GAMk7do+RmqqFtzdiv+a67vJl0GsrQ6G39Yd1hgRvwivg
ZtsiZP1YM16jqUSYXSBRUCNVCWggAz17JgCmYqJMgUB1c6XGV6lCroVeAIIAmoeO99zKtiZQr8KP
j1YlVmk10m3QwDEYXJXOvSrYg6nfHPCxwwzD4Bs+073sJl1OrHPzOQLSo4+ueQM53MEXVuNNNXTG
dCLCZeyGzDQnOcND6lCgXXeh2LkQjEPqZfRXzZ+VfkmsxDOdojaYB7OsnCtW9vcieas6kLPmAYbX
A3J9TScMEIgSMfvRFJNiRuSi5xJjol3UlIYuOrBhrFcBuL3mq0kPLgC0gXlXzW5O59bOea0mIBJT
d7d9pz/JqEFZES0wY+FqynlSmgoV7WcnvsMAlmjK2/zcS1JMaSXrlTFgC5kIB+iNQ1K9Nw6uMNYI
ffPd+2/dcPbCl8S7FOZrbpxq9S7KD6AVsnrRkhNffpP2UgxUKTYNC2N+pAmFQT1Ygxmg/2hoCQb+
Ph/WbW1xZSChGPy91/msp/5ZPRjg/rdFtDZPUOeZiB69JtwzhcsXCD/lc8aHksbXoWSjb3xlktlD
Il6KCLwrzBGsFssIkoKfYTbICSVAtpFDER/0n5lqwTLTdk4CotToAjseuUVfsgJRn+Kz+576q+t8
pqihk8lfzeYPz1LoSr5tiCp/ofFoWwHZgplbyDAWYlKDy1GpL1UztScSimiD7K9vEU86qB3ER43R
oAAcIn5F/CeZShWfGTLQiGbuoaffuBS4AkiHfNbii6hgen0oVNWzCc+4qQjsOuY9UeXL2ADMlj7t
Jhyh5VdnvTjDg3eixwvCyhi0XKwRyKUWmb0f9OegeKQE6QI/ig5EwAqHHCGeQLbeJB7lu5HxkB5u
Ujaz8VXElw6i1lNrvOuC9l9bhywEEz4j4BcufZyJQ62sNzZ6ttFcpMpfSDYBDVVoWMKP1gkR0Qo4
YhhIdd4LHJUN2wJbvvOPEPphfXK+Uk6ZIadqkRuTL/3/UuwErR8mc5Mbu5Xh2gycQ0a/a7vFMmQU
50OyjZOavRLEyOHT72Y0YPLUsAc2GCrQFCIYJhSRhTZ/gpEkAj/fDnm5javlnB9CI+KycUdWcWFU
pcWEqZwtYthoM9IteW9Qo0EsP7kp/UN/IudmRELZr/M9PscpXcNmnit244V/U8tX5Xh1omOgbhp4
PTTt7UHHvYirx8p3uQe37yWp/k3gXrWWN4QxhS0e85c8LT4rbCkBLzn3Bv5oJOtCEGEfToSsYuqU
0OVG6bSNUAehqzDonhIdlL5CoW69mFG5NLur5edrU9w060UjXdI0voX/cNJvEXywKp+c7P+jpw5x
gjuU7UihCnRPzfBV2B9ZdW7dAP6RTdAG7eGvyQmSP6uMqLc/IzxbJJLOj2WW/urui+F+18PB8C8F
8Bn3kCGEESbTxd+kKtaj8RrHRy3alby/dbAylVw7JpoI8dcx/PbfYJ0Bha38A++lkkemCaztWMY0
B907EsWD776Whwq7ZXov52tWfVn0faP5EMVHmiKy/eN39sZjbt15QsbpPeeazcafHiFfWn4C+k3i
OwrDCS6mfrZkTUA3acnGzh1eauqAlPTD2rROkkUKM/9GcCJ+6Fw/Ec72yrvqLTOqk1/enPYnK7fl
IDH40rcoTHyExmcT1z6bqbJ4MUKXJ+Yly9/GERxUf7eb21whCB0t7jrHvimuWZwunfBoiFtn3xtm
KAnc4lvnkG62l2sjOEfdzaB4Hw9RSS93JiGdf7eUux60xXQNmY/4xt2UH1UhFjZ3ahJfMLSxT/R0
doGXitOruo/hT5p+iXTLTrO1bin6bpp1e7oYzQ4HnmkcdNJCRHTw9RFT7aZs35SO2PGYxFeZ713/
FjJ4g2rX+4eKVWV3Lsq1VQNf2Lf2zWwRWeovk/Po0S+I7AwFvaJllILhTX3JMezwxvvircn2dXFK
xIeazvpwtzgIWvXCV0ZwDOB/Lr1fw7OPYkLMxo05/zomvWidfXesdd34wdAEDLsK/rTulbG8GE8q
YnH6VIBFoCQLzKPDsg7zIkuUAMMhs8s+fxTiQbwQAtiLE2FBwnc4XTWwkPPS4uHIXcMwyDomeH2j
deGxrrCP7LbH9j1lI9/j+KGznfWu1I3xxrcv/EUVX3Xv4TCKlTYjyowTHWlCcrWrF9c5hxXMoeew
PKQhKv7dMCGJ3ALXk+E1RL5IZIRnXiJbLn2dKnzDJcda3EX1O0DL7/tnJ/kG7JDwieYtujyyXIaC
WovTs7sThF1kvwl8zfJfzPWXnsJArVoUCzJ0l8J/9a1tV6FBWZdYlrwvrfoeg68penMk3lTt6KVX
uoPlhgokhG1ccZbm5r+Cu0biwRpQ09Q5Wp4+Wim2W3nwZQ/kQ1PqkYaDtjNPzmNITj0daMz6IRRf
cfiad2+O81KMLGBWVbbCDOSPh6Y7GsmnxXY+uwThzea/Qco2AwWjPVndQ+deiX44HGt7aQR4EhaK
tRQYveZSWCcGLDWTYgyEyEwRJHylKCilf/NYoNX+LRLUT3A3jLvh/9P5APIXvhFlerNaPtC/glkZ
IkY+ehORLpjbdm8hLA/41l7lcAj8L6veF4L5WP45Bj+NvrF7xt/FqR/OEXEx3S6KLvCMaeBlvyWj
DnM1B3z8Oz9N7bVuT4FxNKp3emwdomcUvWnwNymjLPOna18jfVOimmSt4R2SnA3xThmvfFeT4qeu
dsjyBknmaPqUI0EiWAInCanGDE9eFWYbAdZOPJc4J1PO4g42JDhbSO0LB85zCj2MUeiSsrCQwSKS
klnV7/yAzcODomFWeIrsQyY2HG2t9VqQAYB+0U7/Ktb4ioxJOsAFShTQOryyQuwJQw60ne4w7UKR
ymki+33dfeCDaCZmXHtfHBkeeriqo+DdYMZNBfxU91iF+TMN1rKN0gUdNZmqO9kSOGr+WnOgAjVN
j7Yvhl+ry1llz4nqus8yu9kMFop9GD3mNo0X21XfdKkBPHfJGHYujDoUo25FXoaP+uqYJb8mjqSO
8a/CWGirRz++097llD/RNUqfCWrL/HVZzqaHNGCrfZTx3Up+W8F6X/8YrJ/C/inzvxJBf7YQPamC
+7D/58TDAoPr3B+22r858zClD+uqu2W8wQWrqUI0hvnhDcMqY/RPU0e4iZeULKlk58t92uz8GpTZ
RhDo4wKv2gwT2fC3Jr5LybD7PfTOyWtF7gJURR3GHRI7KvnsL/HuLUrf4odblF++D245HBxANTNj
FpLxtWAqolgmHnm5jrMGakAIpcMTR2H3xEMTlm88A4l50TBm5a8jc71ka9jbMSMc9aGCowsTmhql
2lf8RUmW7urFwhpbn7iOqT8qcOOIcMlGh0zGp1PiSGBDwz7qiQ0e9A2DlCC14S8i9xExIOKcGF2U
KzubfEnUaU0B7EPbmSMuCg7GJChYo9RcCDwyI1J45b5vrWJcWWOEHsT77NLpzXOM10KvGDKxrDSm
L+l3M+vwWXIJGCic2zQ7j/xJzs1rzNRNudapM7GN9hJsULSvTZNHNkfM8eNXNhXEuLNjGHHekO5S
WR6cgdqgyI8+KvpUsiWWwPQ0RN9IAQZQlXlSXR3Xvx6LNj22tju7sVahntnod5xr5Foo58i34o+g
34sgBTTKMLZJvDXT+jD05rHXYjx0T5P019NYrDWGlJ4bgTBERRlCCAnfB58WxcUMiLYAR+vGtptN
2hFCURXEV9tiWXQ3CGTbyQ3Pwg+ea9k+NwMEDm+k5T426T0AKt19Nd507iiOmhCQQKyvWkrTthj2
pfrUUQykI3UtfKfW2GQqOaVEspcZ2hQb4TChbk538TnrBc263t0xCBTuZQyGbcporwmBiCC1Glnq
mDCAouZLz59n+a7CBROTGpfFxlPJElEzHnE1wgEb3+Iow7kzHVs0HGLANNkcvelFJcFyyohGyknk
Ic8rtsaFXjSoksddHX93uMIY2cRkSmD12/JRrvMEo4o/W+PynwAYMu1ogX0l/rMZhpAJCtXKQF4X
bGJ+UJoTUkujOwJRx0i8tAyEXYDrtW5ce+SXOUR+2bSGNsVYgdDRNXAtI6uoyZvpSqD87opsZs4j
PmhmsQZ1oz+AnvDLiR0uAURN3911Dftfm3Du1E5/w+TWpTetmja5IqmsDY6mGPeybu/4E6d8OCLP
POrJyAMlLlnWPNMAbyxS6nDW4BqFFDGQUw8/IY9uOtl+pdTekrG/a83vINW2d+0X8Lq2HG9GkBy6
Itha5Gg1GHubxDyWVvXQyuhXS4i7cmZ5b90fvRd3KL7Knphep/+O6uxeCL471KXY/HvZXnttOPdC
nDNnOocxEmNOySYkZo9NmOfMNmFz/KnhO7UkG80afH2F8CEjBSkpk6+6KjhEWFsMRDJQ0Mi7Bxls
oEVHMtd5NwFNrLRZksNadjP13pSsjk6Azr6YEKyEln6S9Iq5f9mr+DGG+l9imoC/4u5ce3+D6O+d
tJ5zy4ZE2y0da9r2JH9ndr/09OGCwwxVhA5tzLQQ4lFedLzotLPZKaCCzpGA2ipe+nyne0cDP+t+
oHjAyZN+mf4RuAzbLXuWwFiQMWuP6CYBr0R7M1R5J9QGJrR5TIPy3nqYz1LLeM/HuDsYF6j73KZl
/h70U4WN+mfQxn9DTzAKAsVdCXbuyJXpMZX3GB8mbftUlXO5gUgnyQlnK2Opjr4/vbgqJbthVM8E
ICJs0qynnFTfsMER13OCZiUBuyb7VoEth0iaDRyau1VtI6qXxVSwqrHsal9E7yYhVR7CesAD5LWo
rTTCrTX5e1NWu2qE3AttBclnU0QHg5a2TVB9oT9JJet2me6n0CbdqIfWZ20d6BSefupIm/JN3Hcw
SArWI6ireIc2sla7vI+WU4HTvqme9RHjeBQCPgkWOEt2rtkfnQBWvq4t/dD5UEC5Ej9dqJ7njOxb
va83ldMSmYlDuO7owqKjomEbVb4Hq3MTBLjz5V9NLpZkSyBDfZRWux1brE+tvhfR29Dx5RaVuE3t
8KGHNTkftNpReNGF+CkR6WYH6fsoC4EIl8OqTNrdLAVgLN/ypjF3JHsNgPwQfzkBy3WLfUdUXYOi
2ndq+plISOAZv3qWsxta7soZweZwQ1vFMus67Ep441HDiHQ61Rqftz0drVA/2IFxaF3oHgq6PgWC
y3bfij57aFcJjKUUmUo4UmM7kH76Y1tE5zJS+x7k5CCQ3IJGwDroF+NpYNgY2s3WHNu1FkBrsvNN
BCEgbbwzXQ3+rF2glef5bztAqV0RkSLcs+JQZ7v1Lw07+WqYVonUGPINuzqq0Qg1+4kVoGTqWYLC
JzJ+DVSJKFLhLBpQ+0kgrkYFWOcS5vskXPvmmfhk/je0dvAfuvZq5LTRzFmaM1mgFdgjpX6KAX0e
uPPR+1ebb9XcRqZfubZx/fdCf3HtZ7w1InwMSjAEBmjhHyvm31X5rRhHBXHHkJ3BlvPRVM4yYXgw
XkPOsRDWZCm0hQupwwsFnFUWmJCysAHrAgeFd8U/23r7noM9UJ+teZ3h9bbPDEXfW7i8uux1nmwG
3s2jXzBBawz1tWvmF2QxGS1JXq0r8GfuV8Bh2zA7Z8NOgx225BzCMjHVc4N7jKqoGdG3n0jPwpNP
HXQMCZ4IAGdbJQjieF1rn/wQshfCV5k9Ci6eAr+tS8xus/C4JK3aQ0x+TMdnt1y1+nainaXybUjY
tqrXWGz5OOpkr/kXEXxV1p9hIi9/uNZXad0dk94Veq+Octe8G+of3/c0gHj9mYK1DNw3mG74jqYa
zdhxrWaS3CkHSliGagmivx2YljGbd9bIxjHB6KyI4/g8oPKyQ+jjDAoyDAyaSxpLW5D7xwPuaU9O
C5cQP0oDhaNxoa1jze5J1Z2S98hhgvTHL8IIyNMYx+6Nlw50pME1Jk9a8siZHcsOQ4jCF9eDbK5n
f/R7TdioQYHEZV3Oszamwvb0bQLCLJioEdljEeOjyU83RozGvigNkDj51eI7CgeO5XgZ5s4qIYin
Yj3naAkZ1d7Kvw4mC7nY26qxxYyHJpw3F10piQs8Rexzhibb2H6yjprZOVutHebXsqNfGHdIP0hE
Y0FMNkeMg9f030Etk/oAEjYDUhzswSYPTNj9yESL1CwChwANbO/erZe/YcqlqLMNg7xjMUq2g4Gl
0wtvf7RWiNta4rPyrUieNePFj1J2FF9p9Ksb76Klobj6w45sXW8dcVRI5xzJz8IGDhT8WONVphd8
J6wQKeSnAiqx+p7RbgaWtvY0tNeMHczI+ur/fptOTqYfgXrqxWsG7G+iW+rgICTlaxbg+n6njErl
v0B/cwx4Ii8xR7W4tx1bmAZPv5PSIiE1718d9+jyMYR+fXC0f0lDnPBrGD9PtM0EZUzmC0+HlIdQ
e1bTI4BNzQAlMb5ilg7B9B7k2F/hVLPV56RZRI694EJlZs7mWXsnDAox+j1McTdpUELeB5ayEmEf
j6P31eb6eooFHq5HhU6mSn4H0lk6waGr/uzUZvHH6nvUMHIuNIugKmakRfJAB9+geLGdzyjhpU0B
EE3yrBjKtr+xC+EeaQfrTOwuiOmXqkmW7PDWuePdxibZzF+lNixXM4OsEauAWmMevdWy2NoBGsYB
wpfoyIOFhBqjPkUYa6wmI1wxVcIsE2Ljwf5nZCuvMHaeRuoget7B4UoV7XK0/X3ItMnvrcMQFyuH
fWqhATQjB9XxGEla/TriCu4h4lrRQBII/6yebfh7UeqnPuifB7Zxic3Dgvk5JcFzCOMdPTPpRWQ5
dZKV9T2IOC8n66ysYiuQb2g+qnlKDFeEa6mna141mePZOq+olftyk0XOapIJwhfxUShYJ+VAcDjk
O7kZe/scVHi18pANyCyAYCUTvARQLWSMUI+xb4/6g/JgWQTRqinvdhiTykiqXYjmRq3DiS0fdmXf
RmGHwDehgdZ1DdpgvDb4FaKBJ9z0D2V2UTI7YoEGOVJqa2fyXvlXe+iehIriOXUWk44qwIALYkDE
KmPY18RcQQqxLahwgBBSgEyTgR544ABGHpmwMMp7Vm1YcIpkBbdoUcMFs+fRc1Muc0ocarOwOQ4k
wERZf27UtEpReWQR5LuA7X8nln0zrvre32tMgNDmCuBSFT9v6N2tAuFpJ+1Gji5QT1bspn5pmaVN
frryFhX5JZZvrTQ5rkaPfHW6bAdIJQ3Oyi767dhje0GR0Xhq3YGO1JG6KtdAvDThwjk5Dsp1dt85
qLegkZuSSRAji1G+RCLap6Xc0pe0er50W6LfNPe9rr2lzmCSOp0/BFXwNYm2w1TvQ0n+52LSjg4N
nUNZFbN8HJmBeIB/dGrJgOD0355JkIXipJ8tyn9a/KYXTJ3iYdnji41d9kMYFT2FHa77LmHSFBfI
tJIdnOks8nlFHbcIi9nvEtEWxu9uSUDxp2K5P+IUdduL1b45bIlyf1c7t9j+sbTPjp4/1qlmxHMV
3yO8u5jzD7aI1+ZzGJyCPGZLOHW8pvpc2NpDRdWO+Uy+ikmizmp1mlvDopiWHn6dgZCU/GYClOnW
SXTpQCok6sMYHpX4dpOT2f3a2XZQb7q2jsyHJMEz28T6tap+Urmbx+5j3u90OjlTO0b9EoS5L159
iMHls93Gq5RkFVH+xOzMVIPgTn614jibjgJw6ShAdfmd9SjCbx4bDRuVoW/NkpNg0bT5ynMJXf8I
TXvRM8qL2c319o8+ezMxMK2ttN0rDd+coqB89fSXWhML/g/gPawIe2N5aJawJdjPZYYHMT04guwF
1HG0gQ70SUoSR+AQ1GvCi0gKr4gwZgs2/5g0xTzhjqwnPRqMeeK9VQr9udmRs343vesYwdinuGyA
feNAZAOBFEt30n8tu3Fh1ruGI1SLbVbzap2wjezwGmnnWqDx65t9UJHCEsE2CAIGuHKlYEXmkDEq
o1lW+PesgXWY85JxH9Zey/693ohs2gyeueoHHW3qsC6K+q6Znz7HtMvgFUy58vqF6UWov+qNV5rr
zvGXpq/WorGWXSzXXVGiyf40R9oSuDied67Vi2+ET5N3TXIXqb4L5XNYV3gPdOlzqJr4HpKfpsXw
FvPyWeUNNXUgaHWrJ8yHWOrkksfWldGwPia84XOpgd2DjL3eIzgFFXGJjJRNLrhJWPVkk9BYZ+hc
0nDcpD5D++AjQ+4UIasIrDcDrTAqq5L0s6nMt2PjgUexV0MMnwm1hZrIdxwHAtsR32N2LUqyzUjU
IKc3NRBtZRjW2VzlrOE9jsdOZzLdoEL5G6hAe1KP5vMkgls9sPvF/zav2atu5BZ+bdgQZZI1iz2t
6tFfDEVN7B9GSl5cg9miJWMyYeusULQYByPhUaa81hahwT/gqqMV3cTqtYhQv2HkoLxrtEPXgRP6
V7Ahyw2MN+mf0VB6i4+pbQlPCpYozeaBarHuKvfJogOfBqLrNLUt3GnFnUUu0LGB2+2QNFoE7bHq
5UHWWCyMdqMIzhhT0KFWIVhusIdJjl0ckgTVdlwC0wXk3AdSkJSpsz0a+1xkJ8OtL4oXTkdcRfR6
rl1fE8v6GtPyVAAFm8TFErBhXB6NJ6PEFzFf9HairaeWa6ZmVFIN56RvN0VLrlIizoEX3stOvM7O
I1MhcjQidZAJD4VeYAshot44z0+AiIxtN+r/yO8++XkAzkxuK33kQWtgfDlg1tTZEVDv8nLfT851
sk6+F35PcX73GUylWv3GvI7Jcw6JvwEp4bf/QDaGTX1PcgsFBcA5fqomxp95MNg27Tn24CtFMy+g
OgfEVycvXgtky0O3nLykXrRysUXF0fDa5jWYE6qV/j0B2lJr1i4Z2ZGjiEJWhbkwHtd5UF+MsECk
ntQHHqBjJxx0JhZnGpJkW3wIhBizzUCrPnSX3ZXdQ7qdDqKIdwxSUWAhWveqq3LoNW1usLGqThWN
qIrIsnOS986qEGcE5r9alms7CN6swH71RX/z2cV5+oMAgFvCmzRqoLY85mlPamM4nCuS5pGA158e
TUNjMSVLnIM94gOL4o1e8arz6myL+XtA2ZmJR+4hhhHji6cR5zIYtE2FSt7cKdpIi8rYsf76IN/p
SbkWvVpXvX8bcveVH3uPreBsoogKSsSCPdpNLYFVl1LsO05/8Txsei2lPBuv50rVnDqofgMMh1UB
eREpd2j+hDXJYRW5Qa52LBK5lsUzDP+lJA8i5mGL2HPWZX10oWLRqc9bs+IWoB4f2aKZbYmX+GZO
w3WKsIph59MqVOQz3jQkTB4BEcP4KAF2woqy44YThjrl3fSOFI76fDzxzUeb+K5jd04Yb7K2XI2k
yLc2zdzk3mMEFLoRgXONT/io1xKgopPd0yDd4CzXgvG9QaQQhdYajSuLXnLl/eoxMcZvA6IvDeM4
xt7JbpjEtUyJ84M/ERjewzCFruiAFXUGhD8mx2Jpfk80cwJzlt/rf5WerERvb6POPIyx+ZIE+tpu
7V1RsPUkoxXQP8qDdaqCh2iaMzqIvyC3lmbY7Bq48W6/7vi6dUSow2hPmnBXohQJ0WZFpIvFRrKe
7OY7bOS6d29I/JZdmZwrahuVH0cvY0HEwoOpLMzynYuVa7QDxqHpNe/IJij9l3HItCUFyaV3jsIT
RMYrwD+Cpo3ple60lMxkSaOLNof0LKP6eci3xMjCkRx87ZxmQEJNBCnfUg5bk+d3SnEaAt9QbI0l
0bgxl302IXGZxLHsscW1OkJe+4AP+81u3b/hzyXY1JDMo6wTm1EB/YIJ38KSl6p3buNs32zs33m6
ZsT+wWC/UIbltZzco+7r51wfsWKOm2YAxOWQjJ1311k8UNJV9doEEzq7ygy6XgaSypLa2nTqrSjq
a9ADZcCcLbykWdOMPNUAA0TgAyl0oTKa6wY0gRi7Azjh1p2WnSXf8gorqM/+Jo/rBTMJlG/TSp6z
DNm1pF4NMCfgW4ktdFFNcfdQqqkUtQHaQvPd7qr1QOYBtxXrvshZxLLdd+ygYdiLMQZb4xF6josj
9tiIt/6tLekiorZflul4HFgJkfj+VTbkxNUHmaVb26uP5tDtEhM6MzPLzo6OVYg0syXMXZ7KAY/e
UYTokzL2V71NQE6xazSovlw6mkL14zDHb4wFeeopvr6cS5DMg4J1QdM2Z/81QbAYjT9tka6L0VuA
kjOHZptO+TpGOzUqi6grCVvABDNhLLrKWet6ty7Ar+c2H3zKrsuvN7qF+CUflikE/nTY0EzualJ3
G2b8DjHfNR05PsxjSTCVTldWYljI4w8XdGKNAQiMqfwsJRT3dy3K6aTQRggUyUG45CNeq8Rh+pcu
/dk4ieKvrBtwCx8D2Qz+kuh5D79eA6V2BDM+V90Fg02So3oaUZupgj0TF3DVKeYk5ixZQ4RdfjUV
qizkW4qm1iSdNVM4NgrYjhNjMDbzCoOtoDlKya+eQhzUXbR+c024OjoXduPBvCmxDiJfRSRJzUBk
yk9XHTMW3TL8HKPvenrv5hFRCsbQwegDz49f8yvT2mVOkcvVhUsvZ9+Yr6WJrdM56KyhVCWZzzBw
123U2Q9DhVtNPBsOSX2VaqBpUyCGpiBlpzXIfU7nsEEiGvJ2wofg0YEJC9ZXoRXdLqtx9HkKGZDd
ArF2YO0P+btbyXBpmdTr4Vs6Od9m1HwkIGGWQldLd8Lw2xglPz8KPk0jovTKxEVVZPy4MkZRKuGf
9BqvFvCRESPmqC3j2SmBnKWSYU0OaK7kV8hjmzLQRZCd6TEkmrQ4i7K51pAgg1Ih2m0zd900R83n
CjOsQS7cFJWnRqBqN81blYQvWWjBS5mULNYZ8SNmIoytAnfilQWnmkD0LWN0mJGVReyLKTsHW4Rb
h8uHNFSKSQi/fhATt4i0anB6l9F2vKxdvz7mmAsN1yK5Eyuz5lrfZe+Cah0IcvSTh3DJrNDi9gdo
37JLnHUsjJU0MCszYFpIGoRMIRtw/jndDAdR6siTNFOQHYC2hb81Qnhc1L9Ym8mklx5iWPXZuNkl
LrRHbNmAdgJ6/vwY9s0xsstt0hdU0Q5CgnoajxL/Vph0O95YsY5Sah5ruMrGvUeZD6HD8DtQdNHd
C8NnV6SrOMWrPzkmrXqjsy5BHIDnH9AkQsBeQ84gJGFxw4weJXhAOfBDAuXuAjzNhsCxUTbylMbg
sBpQ9jqBG73B2NqwQ1SB8/9kWcTK1AVQEAzcITqiXjuS+6plrRoWd2Ow/0znmUQO4IyaTfRPcJ10
uOOR89YRY2s40P155dG9MVJ4TMPXkBKZwCY532QWZDQz5EsSlA8zKrCh2MPGSni4zLo/aG5nbrzs
oJooPaStv5EuY+TUpccKEr3fDmlwLAvQK0r5yMaXkntzMQRwPiMdKH6WEAg2JclajCGgD2UCfve7
VVPhU5RMqhfmaLWbiqeonBOP7Oo7aN14FYTTrEFPt7E902ugPw7GNC3HCY+mM6ucyOUSrerXTaYN
K1kM//oy/WkMIjkcUdOiM8U3GNPr0UtF6vcumSSBXIn564OlLB2W1a3Pztas071eIhJzmR+WsjyJ
uGSp3kLDVTGArthtoIXhpJAsBBbmKyX0v6DJcbDEE/IG8ZX1SLT7YhllzN6qwP6pi6JfVSAhdZu3
qYWv1UMqEROZiynxFHWaGHBvYrSjHvt3J/rAnfyY3NbAqJ7SPxGEpk+suUfhf9gIAfIp+KlSFK2x
SVJdhHjbS9P3ooucran8Y5azSHOAZ5Uj4MXKdbY+K5Zll9HQmZZ11yHMsevbCLJFCxewPmO0aVs0
+i/KjSl5lBPCoTEAvzioyaQens6yZ6ZTdz3uWkEtRKRQqr7sBEZr7z86A2ZuyHpT5IgsOxGshpBQ
D43n3mqc78joDlFFEkE22UQpYpwwyr/e9/9GwTxgoC5QBeK5MqYtRTmQBQpWsnuuabWWro4c39M/
faY9w4CkJzKMpTXOamoD47IyvX1pgjsXmvvhwc3rINLU1j2WNBOm7f9y1qRcWAwq6puN10R04z9h
lhpoE+IFoWYZLqgILrDE1yc2Igk1iffS1zwZ2fAZOdiMo4lcWGG5p7x4xIynnKgTSL75OCyX8Z+2
yamKn6TrLMw8AMSvEy2sVYSsCS3zjwE2NROinJxZbFOesvJJ+vfOK1c2MCs/1WjY0E63gUFlkzd4
b7sCTUVdUi3cvDg/uBag65oY7ihWoGw61LN+7qJF6tdDZrHQHCPAE5N5HCR0C6MIL7b1oUxwAL4P
ctSfdd2S2AgICREoamHxbpQQMNz/GDuvJcmVK8v+yrV6HrChHKKtyYeMQMiM1PoFlpWV5dDCHfrr
Z+E2p5tkm82MGXkvi5EVGQJw93PO3mv700PnNNeOa5vbdiHMlOmW9qHY2IyAA4r+omhfGdPelkEN
FDg2jjZI7bB3zzWfOCsnPSddxI8DFw/MT6ishoODQ+h2u/jbKeYE7xnMz6r0YhvuQqTKffvnJ9G6
WWQr55T39I20Iiyt7xB5COOuRVZXcOyif4pnoS+xd03UNn4gevSgDy09hgLxDBa2nqAXgfdwbPG+
ryehvBMvoUbcGQ5HSzb4TpG/K0nXy1LdQ2Fh9tE2h5VSLTCZwPUgurLc+t1NJFO0SWKqy1PKKAX1
i9CheemOTqqdbWWwsre46sQck4hN68WokN6MwUemESlOZsWoXrgtGpDLsBAIYgchbXkD4hwSZDng
QjShda+fIyH0Ww8VmPbUg0bvA2eJyZIb1m9VrJiCOTTokjvlm98MBx4DpQhYDHdE+yLeD8cSPSgu
Os9jdfctlIOxLw8pk5xak0OWl0Q7pKo/cV9iVkwwpOmVqDPZUDDgAs5Zhbp5CIMtCoDnwuyurU6A
LSIShLX65CL+pVh7q7hNmY7lmyQl66PRpopMk5jhLv0lBlILZrul5gPHy/St3Sj6xa0hDtxxTMom
LvV4AkM+MPcvMsnYAUOTXRtRnfs87lpo+NC9tTNxRqH6QlZLZ1XDccwh5SZ1/jLYdGkND4+hoH7y
ZYykl97QwO1Dj+bBLapiO2B+5QBeb8YRY1GY9ZJphPUIRrT2U3MjVFgQUExfsSKbFsUiSuqMRn1r
N8RbWiEAiWWI8BjOcWluu/6XqGIOge7wJlilWg3HpmfOI5T7WCHyH5wKUPk8eNHc1bAQgns5+WvA
+AJtYGBaXSDZSLT5ljmcjFxrzBFCo8zrUdRy7l4iu+reMM7lbgb1wZP3TqNdFjLkS3nin72e6W/M
aKxfcrXhIsWUPdxkJi1tWwh827YAs1WciGHAbMhAazD0ZbLFr3hh/jCIb2PWJvPWie5/QZvM9cSh
KY7lCEG+01+NgUBlCVfGPpVKb74hfl2YA4qw2Bte8MqBAWpcypXoloTlGumzlc8hzT3kTHMT3qTq
vjDbNQMEMFTS4xsah+mpgT3g5ky6cZETO2Rny+Zh6fICz2eMjdBFRivS5FkEjjx4Dj3LdAi9faYL
hloDHoiwdY8xW+q1ATWuKLN3pxJ3szKJu25/JZot08htnqP7mdaN4EpboI6kz01lzdequpN1zLdh
0qfpJ9hqfgBRipJ1kDXmKlsSkYlNwkwZiCxVSj8QFOZUS2J94QpYc8tyQGxmsNBgy/V5tN1nHZeA
eFy8vWllVutZkeuGCXzW6wb/4oQnfa4//GwNYSyZM9h4KCDu0k435YNjN6/MXWaP45yRweEZlKCh
GN8XgRPjGrCe7Jh+Z5tPN8kQECsTO240jPklVx1tqyC9tfMJLxbnLpkydyiUBp7R9wTB0J9uzA+y
KNJN7dkN9+WEq2pUvzAvoo5dsBqZsRPlftKd4sK7b7rusx5yOm2o9/YaWcPQe1Rlk3fn+0iIx7rG
FkUZEhaBtY97TnAm3baGRd2tyfDtMrn2NgzCV7tg3UYB301h+iL65JfvdPPOVNdLjkWo56B85TFg
psIBNNUJ7kiaAWVPMam6i7E0t5Ph42518mBrZwSyxdBFNBViFpf0iEZMTY6mw5CHaHDnk+d0JPZY
If2WwLzNTQ7wjoS3WlFAqwJ1JObAOK0Y7cn+QBrONncMSC4WdW9vE6s8ZpsGmfbGmpyfk9MzJsVo
EC6UmUbmRI0eTuDaP+0kxGitGEHlVUh/mA0F65DrUH52qxROkT3gysYEHug9xS767jQJrgIdYAls
lnJrG1Hlz29D8tNoy/fKaN+7jGZBHOJkqVP9FiQSc1vH1y+1+2yJp6yC7g3tlbhAn/Vo7CIrt38v
HF25jdkRMkNtEtJOuwmGYd45IVKacl+k9aHUGtIhLgOsn7WBB84Mrd1MljSWxyudQN+IL82o4LbC
5lwfH2uOicgMCe24HtdgvM6lU54jzNuClo5DaL66MY7ZqrRIVm1yEuPWEev5eqGr3KwG917rDyLX
v3w0TOYSnK2h2I69UOjVOIzQXtn2AxGWQc0JeR6tx0kyICfFnd7BlysCC7gWr64Mf3rlRCzhTChl
kiIBoiEJF4No23Q98tJHZMhE7oBv3erA+UBJ+bNZ2kfP7HcZ/aVNMd4bzrCqIzVowPq1mkAYJMy1
tFyQDRRrHThhkHYs8ro7mClpt+8BN6Au0SO4yTLDSeKNu1DC8phTg9jwngGsD2qpt69JchtBVLYZ
pV8yUELbCeNinXXQ1iykJu7RzhofJ0pVRpXBx+tn+JrzwD1YBrvIONoT6bPyEPQBgmvTwScVBLul
wRmH6OttKqufSU2/aVEMSZBMvga1xnLm7o0pI+wzCBl50HNMq/jw5891qYyIeX6oS/PJkfYTE4wv
DOrnXnCyth3KwrL6s0o6JEnFx8wscljz3W0YlWb2W/berW4fMxoFAGq4yOZleGuN5btyUMWYWBTj
/HkaqX1c1T3XDo7uimOZXpgF5fd265IOWHzUJDsGbb0NF5gAFR2CvhRoSkKx7yDKljz7lbf+ZseA
DmWym8xMQwjHWGgWraSVPN82lkF9a4/7wCBmwHGw4GUhmgPTZLXib9Gv+qkT96tEzZqmyVtShpBr
H8WIj9P1Cm8bCmR3dYp7skFmyMbF8JdhJ0uB6gO5bRP94WEvqxL8w62DLDPxhq+xMZ51mCX7+rWP
s4nstWu8AJ9eslBiaiAtLWODpKYFJZMRpmKYf5PiYa+qGTul9qGH/kLNesgRQCJxyl2Of5u+x9oJ
QOPsDoOMALyCBfJdAuLNmuTea+yE30OX3KeueeryHnM3B5haQCuwe+3iREY0lE+hjEqPrSWJOo/U
Sx8zQhOHhzakcGnGoIyEYOP210uqE0/4dm/teNTbcuA7C4Pu2RkQkC3+l2kIm+kWxHHWKjF/dBIv
qcCut5Edv5LdpwAFVd44OcXl3FvluR27tzJ8LqV7yqtqU6BTm72M3W4qaANiCq+ZgRZVPUdLSyVe
TM3vXvlvljyo2LnjFZ1ziUFx8hC2QSimf53u6nni6NHTohlz69shjTTumO8tYX1Kw3ntQoJDMwb/
4PiIo/IRavrCYbB35LT1Yw7JzsBhO5Ex86hp28I1dX3vTY0uNFXHrbfsSBPjfZs5JlsXcz3WXD3M
G4eXRH9Yyogo+idh0sRk1vksofkQhTIz51iVfKJ46wKaI2qqR+bTKtyUQ8oV383GtqVmXxorRr4w
/rIN1jolKYamZT54DchH5XO19Q2Vv+sx4uyTsyg4e0xp0F5Js2h49+sJzNo1ifFihpwDq6ShlLGc
QyfGldKBqiMmnobRTLahs4xz2ap/LwoxR1laFPNCP3k5ciIEA4d6ci4hizqOST6ZNuaT85wCq18Z
LcS3gBAdIXQ2AY3zAoxPSUe0bdNg38DAnBqcU4XYTdAcnMS8q1yE4k1swEuaCKvsOzgpDSzZxmT2
0ok5mhRpsZwFrbSK/KSJERZ+FPp5ERz789zBMWcDPXCwrOIG5V4TzFCrEqi+hqJRqRrBAvd049Yn
ayLkuZNojwztHymtt7LkcixceiFjBq8okXSMxo5pEa04PBEr8k0GCBireXwJbN8/NRT7fkZ/mhZ5
tqB09bDS677KLnowHjrWsX0+tZ9Oy7jN8nle4fX1eWKcrzOH78usObFa86P06/oYTv657etVYH1b
1aZ/ShlgbkRtneeEtapJpDpwPjwYikxoWdHkNWODUoEUqEJCpxWz6+8WzfLlFNN7aKJt9fw2uQrr
IKCBjw0N4W8kMm6P1IZ2XPewO0auTEZe5i28g2w7VRjOVEiERT3+WhqOel3c3vUGpqacsWYdkPVY
EzdT5ejx0r7TJ7cX98E81I8VYjSG+D0jrBtqHcj6JjjkOMHl0e1Z8efIrAgVW5p3elscs5yAng1H
9HnB5mkW+BnZ8IkuVFcobvhGm0faUAH1bPAuYutGzPytRFgUysrf1IgUNthnDrQkcbTuhoTQjMls
e2QlNIuWZkLHJUi1zCnQpyQ52MID0GeZ7zpxDJQF/WmJ1Xe1aheyo59RaVYFqF8/XUGdI6ck5yqu
bU4zcwyVoBmimLvSyY+5x58DG5Y4TA4Voedn/SJLtM3dVwulZm9wm5mpmJnX9r/p5yxouMA+stRW
iKLD8rojWzcYrV3Z1IeudH4t9UIsYMkKHxqRzP0HsyTFxZ1WVGNifo0doKR6dC6jhdzXqr5j2Yyb
aYKP7GA6tAE9Citl8DMjhk2oiFurLsi6bfaNCJDG5pqhZ5WeCzAgYJRx1DS+/yRE3e5zd9rCKZEH
zQkZwUj4O+dOixb57mSqOsghX18yZTKl1n0jHUajo5vt684hH5yAB6Rdhr3VSUlOrWOUB8dD7NZ2
U7FpALAFtI1J9uWoPAdfGKuqwYKaExRfXFUgwpaBtb9aNrN0gc8LTHCSas8aRxT3uuSm1ywuSqPg
584mCmjA7zFRMBtiQmlLsQLDGo1bXILuyOmmXAWKM4xTzQQCJLnG9t3s4rz7MHtqo3RIXpZkUIeU
WC5B70T7NGnTuLmU+OiSFpmsXJAVzPM8bsaWxJzceComujeBbp0Dew/zQKuKJNHhqsyWS+pauObl
coL3EuGmIBe1Cr+y4GVqIVB7JtqNRuZ3Mh2eyjmAYlXbjF9Q81Y+69JSrfLMovxsLHUZUiYyVsll
09oZOJTqPinQtNvhaqVPnOfOy/aTM7/0lfdVWtRLcY4i052Y2cNi6gmrGTMuTGYg5QK2TjDMTZAM
oH76bcaQ0kuHBBYfSUcYTqvVrk+3GYO6vQzfWTK7jUXphZWG5lRf5ZswUO9iYv92BEu9try3pDOt
c+ujx7M1ivnU/mSv2k0uAE/hwhDIkwYtFZK5wkjeW8nJKx92TqDrbR1uR4F80qOMrRUHbcJxA3ay
cCT+JoG+JYErGop5QRIAb1/3FhwxO5cxPkmo57To58NCFbbhp4+iQoRZsp7A9hC/kSEWAyCWsUIJ
PnXol+fn1ov7fca9ehX07TEXMb3AkOoXt+Rd5XvPVuF1kVhyZo6JGyUSbkxvEL7qI1zv5JJFIXyO
KYnBP3ou0z3ZP+QFKlQsGFM9Q8X0f00OLVgd1jslMG3MMn6aEkHSUsFG4/bJd2NrQb/SOI0yJoY+
wyBDrGGiYnbrmeZHPhG9aXOyhlZPKad62o7hg11SlsZdwaefoPQZvLndt9N1HPojO7oJAt8NCGIr
g6hv1ymeKuL9vNA4mys8FUFetofYjIZ6vswhnr66co+e3Y9HQCe3g/nSLRUp6EOFEL9mA8GMRQvA
r3eggkTDHaUI6tSEU4E8+JoA2LZF+5sBYxY50jiI0YYBHNJbpR5yD9QOOLNpFqepuPc15IUGEwD+
evSU823itt4JFeVwXGb1naH6gGVaGNt5pLZLrGc6sAqFZceKwFl46ARZhuY2nlMSL7wkasYO/To5
xI7hx/xMcbfU3bBLUXb7gJu6kM8T8RiRFmMVOYn1WiZNFTF1NHwvJMhPP0xErGkIM6RikIzto0Jd
iu475dRzsvzh3iClY6uK8C2P459Sq+za6ciKkH4SH1OjgYCCUK5wCUTDT4eKr2aFT2x6n54ld0tR
0xoaKNB18YV2ATypbYNvcKf24AXhr3z0jhm3I+uSvh3JqunNApyngY6eEYe/7cNz6fI77ECckwCq
iZhThwmjD/TIMMG/LcqIkjJ/CmYbWP0MkrpOvtSArK/KB7Bj3O2FKUIg4tPRU+fEHeXdtODOXjjN
IsQr2KfICZI582aJE6asq1t3NMvtlNC4jPEDnNTU4R9kB7PpZGHlm4EmoF4bYSTs/QGod9e4Bz8Y
yq1AwVW48B9sOwY6VNGkpjfh+VBavUZhKmUgiiMqf/csDhFub49bz9fTzinrN/WVLuFeOnhYNC7d
YWiicn5YwjSNAoTlW5tPM8hhKsiUvDhZpdulQb7EhvzJff9JcFjOqXr6nl2X/CYDf9DCfDm0jOY6
MTikGhAhcgZAub3cVMrfdl+qEM5OePrJzarrBX/n0jNax87EfJBkMfenhU00CnQOlduYHublEmjq
xbpdgN8ViJkm9NYWAMZaWs5jSFXvJoQ6iExc5z0FZuqOl86AiOuskuxZIKOmrOzIeOas2CNpo4Xp
25uVG2LYv8q1s41RD8xO8TPDDY7YARwdG/+qPEYpmqDNDDu6MFWG/Ep7jneg0khC3F2hbpcTq/wh
8xmp0h+lIyaqe207l3ZxOH6OKDHWGqZAgYlFjlK+bu1lm8BSda3pDu/Vuyv8mjUwwVsuGsh3Cs3g
CNs95IOp9XAsY2vmnr4reiTvi4GBpotduKkxMvUOmOkqEzMzFQMLnHZt7nUISJMTGldwznFNQ90K
cA2MCtw7Cu5QEtbjInnvYz630sornPIKZmhmgV6EJJgLlgcUc4TRpLXeZYrlY1w0nYmgZLmImX/i
s9s5Cv1U29Lx7BIOorBpEX5SRjfTSH4gKjHfUnI/N91z3kJowu45bEvF/xq1/ayYmyRaV9HgVzcG
wLityqIWidoWWXWK2ILtKA1LfW0mO/KH5fUAXZqVS6Fo7KGkKVo7RrpvJKtP6JXjIUu6W3fwWaYq
D+WkFzzFskTE3tEa6VuwLbOarnPbXw6eyXAXJ7Jx9eOPf/vbf/zb1/Tv8ru+qwsGjZX+23/w5y/M
hCqVyA7/+Y9/e6pL/vPn3/mvn/mXH7mkX6rW9e/u//pT++/65rP81v/6Q+ur+a9n5rf//dVtP7vP
f/pDxE7Szff9N/iqb90X3Z+vgvex/uT/74N/fP/5LE9z8/3XH19rdbE+m0zr6sffHzr++usPyzL/
/KD+83Nan//vD65v4K8/jl/fxWf163/8je9P3f31h2E5f3FdNzDD0HI8h6aE++OP8fvPh2z3LyKw
TTtk8oe20vH8H3+w43XJX3943l88y0OWIDyWalc41o8/dN3/+ZDzF9sl6hIhonBMzvjuj//z3v/p
O/zv7/SPqkflllad5s14vJnmP7/r9c2tJyLPt1zPc30LgwITPh7/+nxIK7n++P+i9B+WEaV9ZLKV
wLWcg55pjrNtEGXlv+VQR2/epaJvqbYXJk87KwSUDpowl8hOgUAIx99zMR1Sz4+Q/r6hDHX66lzY
7dkgGlPEMOQVB22jOAemcVIe3V8gI1FZ6SPFc9lsRECWthechVOd6fefGms5kiJ8KKxHS/eoPTac
tRVI7GRTW+pYN+VJS+OUZc7ZUT1ee+PaHi+ON3DGEpcUWbW8G1R559X1XdwSPtxE0iRJdohMcIXh
AxFPnnzJcJW/t6HxWI/+41X10yF/VHVYKrtvXGKMRcLmLnbnG7/3r8cpv44oL5jRd1fQWeCGMhPP
CbdwGULVhn0/gbTy8K5Ol1UU7Y8Mau2nMptvXHWcfPtFxPmrq6pXc4WYRyZ2wE6Zj44ipga3nHms
2u4+tbM7S5k3SU08imntfXWD0aVJz22uAEqSgjPGN6Et78ZW0SLn9/asTe49Dv6HBHSWvLeS+t4h
o3GKs3vIqaJFxQqVAI0rUGj7M0ldsmf9g4T0SJ1w4Krds3Ts3ancD5a9y1/PSdPuQ+IKOfvNnjg3
Xn+SvzkVgwL8h5vk7xfiP154thP+y4XnWhZKv/Uyd7n0LdP75wsPHUdfp/Bfoo48OPfyYiFr0mio
UvoqpUDxQmfYBp1W25wG8QjPgHPU0TIk5Ep1oDw6BBwA0cVsOg6p5iJXsRdbOKEycELGiC4DAUTB
kVvoCAH3WLntcVyy46zcg626A9qkj8pn4kLSYuLtOmciMzPbDUexcxec9MHWjHUEJ7ScIu3VvBhj
K7136OB0IFepW7ulI7QV481Q8iZMJA7utTPecbo5zkyDp/m7M1Pw9s65JH4sS+NXEqZxW2S3Phlj
oDeWbjyPK/wayxkURaMkpkWrW8wTYLXmPRv0zXCQp8ZV3GVQAAhbR0C078p83yfklNOlYiwJmnjt
kZcQS6cTJ4NtwDVuKnmXDJy33uMjd+mD1cT3oVfcS5Rh2Lq/DYCvJIYB2dSJBddVnJhGDf6u0v2u
h27oJjQ4ik28c7dA/QSUc/r/kQPkoAdTncDa9cp0L+S4t4xgb6+zjXLZjPQG2ZxZFSoaTWz4h9Qh
+wSmYTa0B4v/onI9qP4Bq/nWD81NoTIagtmhLBMgtYLrztwrpmcuWzkIG9vbexm4V4SSrhsFu/wu
JkPaQEinVX9hkHBNRp+kbTFbe52cpWSoRPaxrzkKEBhgiGGfyfRA89eJ79sehGGjT0NlPPVYchd7
1yCPogqkbbzcwCfxpyd79i/MWVqsXiE59/6oX6o9pgCwiY9xWz9aCQOsVh1nozwWvoH+Cs1PAn4/
2BNMdWXP42Vahp1Ja7ZwpjNXdiyIhcPnRTT4mdnLloD4vt17VrlvEGnX/V22kE/0mkFJGHV3Y1zX
Pwej3ZmMI+zEi1oN25WW4NLfZzmrimFtWwgnztWLp+Epmsbx/3FfmsJal/x/3BJcy3edwDc9x3d8
4QbrnfsPW0LhCkIEBezlto93mVj2+coYZFIVGNdvc+PswjUQptwzByYYkznQ7Qz3KkuGu0LuZfsi
tnn/wvyT9ukWeeGpkTi2kE85mMlA1RuJfUxxIJ3nkxLylnd7RwMpZWsRy46qAd1jlFrxLmDgMLQV
HqBqP5A2YoRXb2lOg9+snki7fxZfk5uT23OpjpywXoI+f2k/68+wLw/FE5YdczH2M3QTO0UAr7Kj
eSpfuuRhLjvSb90Hs6oeud4e/S9ma1AiqmOwh0W8ZBfJwd73MQ4Z9AnJMhtPdPDP6VRfegZVpXFr
+uM9qoDt0AEEWqonRoqowJ559bcxsJHtpRb2i50ur91y0+n5utX0fvgVSt2zaRwQLVxn/Sn257Mh
2rN0u33SvX0AQqnB+rXqNAf6pP3m1Kj6NJFOYglA9NcGajK0EMdlm07FxUImmc7iPHHhk6ggzSh7
hxAkKxJd8ihfsusqdU9FSEYiiRFw+/JwF64izjBa6wsX8S5EPS7MBYREq4nVGc+oyTZ560SU0WiC
dj2uuBhzGOV3u4zbeCKxJPPaF5fGaOuGPRL4W3J/5hwX4MLB3up8DRwRIkpb43rojDWcbv2HbELC
E9YiWsopPc8chnal7zwNi2zO0jO5xAOMw04zpTAW2KvwsUXKS8niVdkCZc6HqdH/qmKCw3QwEhPV
aQvLyGRfwqpGNMyM3MTdNdIz2+Ui/x6XOLlpEem3TmsBVwAgYGSEUIlNZZq3gsZq5lBL1vTTPN9D
rwBKlpiPGSNjVLn2lyTSAbHsUsgHlRMWBVlEmM1HOK+3NrwAtnrjDUsQpxpmwuCN3Q5Gw7HleUra
9pZhnv1+JnMMSQ//zryKQ9ETdEQIrXTa+/1E6UCYH/qf/CfC403BGjP0JEZcZbSSSjQ9SfqysMsY
v6AeH5UFj+ZckINqufwaZQEP23bpXYq/hzMirXy8t0ROTewUPU0oD5TDfZtAnSIzmoKBuh6Pes3/
mbbzcXGiePhovtbcal6xA4x1MZINOxDj0KuAcSzoHwroiZ6zL0mDcqnC0APuFg4W53zRRzWvocDD
r6GOEdsJTPf0gkV60lU4QYhksIshoImPvsuwXXj+vjKcMnJvlrwgKMUT5XYmDRmx/loRTYFJ1k+R
O7/on87e+Fgmy4PAsz3J+g5dW4ktcAh/D6yCsWCMG9vbriPeyYVXz2E1xRYIm3fJ+5NXMgrR/nbU
5XUYG5hbmKgudH4JhzSYRs/5bvRNli90Dthn03neayScPYtEpramv0sQBsG/3DBCRZnMhKZDtrqk
OPeaW2a0CLH9yAr52M4F6Ykm1XpAgTbV+hATrp6CGOmbEwbMcwtm/NgO8lQtAD3UIY/vFAilEolo
MeNA7O8tRz30wyfK7uussR+zp4FXpeCqZIw++8OUGAcfoaDrvCnvmaU+hJ1m+frbEMEhZFamV4T3
stzZEgcCKzG0Si4qkhRDZFVF7BEtPMXHboHZpGJk4AGLlCiRODYG1lO6oAq3Q427PnUpZePqc2KA
2BoVw6lghCDyVr5WgPODuI4cgbVYAvJGC6R4wqEvrlMaGwXtwI4eAQH2CDxSRlUDeLERHoPdPJqe
KwEsWd8ZNlaQNmCgdI+VHs8ErduAQzPTspsgdN479FBeOL+4vBOvCwm0eFcQ/vDT8YSYuIcJClQa
Dht0JFTOsjz0LYbcJMYwUqewe+YnK8+2SrTETsDiGFD+I/GgpepALehh5JvJ55Q8a+X+omt5VXPe
wJQ7SklcbQp92jbvC0yRV86Cyq9BrrcN/f2y4E7vDewgPMyWgyV0jHe5gYezSTAXpsQ2XUYUGqyM
2RhSuKchKK/AvHRee+fW9U9VTqdFstbY44dFIs6MmAfHDC0T4F7ewVpgFJNO4OR6X/CdGV119PAt
dbI+6XmdYd8BP7rSwKbq2QRzId5V8tzL0qe3fxeG7XMM7qbtHkvaxHT9nsMSgpRNp4dSiCaOOpal
y+R0sjnwFw+dd/CLDFCFJOZkqtlWvIamJh+EAfjYLbjWMJztnbaIhtROI9Pbxr3auUl5nIh+A/qS
5yOaECI2YCuNqNsCEFKB+KjHj77Y1sp4nmZ1oHOHSdE5ORxHS/FmQfvdSkzo7mhjupn5nNhD2URQ
leFb6IObkC9KuvXNuAnM4ZTWzk6jmuv8ZZ/F6D+yw4AmrqC9tXRo27iFPH3v5faDSf3J5oQUR7ME
KWTD5x6vw9bIYTC0fCa3hVl40TRhtipgdPaerSPNDKM1+anYt86Z77ONGjuGwIyeyBWS6EwQcMT5
pQ3H+9GtKnqr4W7GOYc0B1agm8EjtLLDbFh5VMfdjhZPhgPcuh9GcFxOnx08xlYb06hvxKKuJayj
XnXXja2uoWKdXa3PSCMdsz9YsQd7yUAWDjd9FGft+E9YYuJbly/PSZL8o7cAhBT5NkUzfB8ninuG
XBoUaowaypLQdqzXcNRUstwpj+AqaRH10lx3MdcvtIV8byiVMkVGIR+zOcvwhvmlglAPO1wPqNId
PljPBe6SjOQwD2G41eV3m/R8kqY5ypukDTBc9xIhGrpdcMoWfAVHyQPAhTuOCKUt78l2HE1C7Fue
J8zC51Rz3u4sLvVVjmQ7PsVJY9YXzDrZdU7LlrjGHqEqXMy6JOvNQsC06WxzzTs0XwJkFQ6m4AJ+
CI1DDpOjYzPVUZ8mk4+zU9J9b4vgFXe0OHXrmMjzStJ6gCQc+gk76ng/D0z8E7/j4jQy68tiltX2
0CkMNAEQGZPPpgsCeDG9ffrzH0NHMspS3+fuTpo1NcT6j9wdPrDNkeNWDv0eGZSoTAC19eMY1tiy
WrJ9rhRatNMCJ6jKqtV/jchybyt7k/CGJr98rRNMB+YskXBwi1neQKhEfZdy6iCVi7QzoFzmOW7W
6S7IVaQia4gx04fEH7bzPbtKZRnoubvb0Jvv7DK8V/WV2ba3JAL4MY4DEFkJ7AnP2Qsd7xk7H6y3
0pn3aUvnAIGuWX9LZe1D096b2AazadrTut4jxskHtGvXrfHqUP0saGDgEOC9cmCbWqTO7IBjbdyO
UFV/61QGEXQIpvVU72vfOFNH6NdA/7ShhCBnbwKOpWjB1ezLXcuBtx8B/YBgLmWV7e0u+5km5UeZ
hPt+gqtnu2v8t/ouAl0dl+CztItzksVn8xR2+zZtiD4sLpXzPWJcorAzWc4ZrpYoDcwH9HkHQpa5
5vEfUWEOrr/vQ/vStyhy/C6JOH12G8zYNbqI7lisg6EAY8+DDEnvs0PyyvKPsnhUox8fmEIAWgt8
jteK6b2R2W1kG44F55gloDEN4z7p251OYj+qPWK8VHWOY3OXNy/jfBskdnPk2qZaiMUERpTionOX
nUOFSJMG6wYyo6rZiYTLFRpD4hvwQC9JOpPLh+8HJx3Ml9jWpzk3Of/4fBtdeKsUbm+3OMOHtM9p
PQIUSS4F1VWh3xqs3BeRPi8mbaBeGzc9tjzkC0wtOX5xg5a4i4nYGlX8luqFYUv4mLlhu1/3gGNL
fbQp5aXXHlE4tSIJ6GWKmYYt3mRFkz4FNFty8Ua/8WCOIgrj8iYcMzhLwKArIi6WXx5dGSUKTpOV
HRniZ1CTaoO7Rf2sSOyNydC4aNu75rjebFG4fLeT/YIVgKgBfN6Nh/fbu1MhgxIO9ZaPSGAoMS82
j/6MFaNMD7a5r03zSOXuUrZpTmSpZNGqCB275jH0Wge1LafqUCMroBvyZMQfXf2k8b017M2sAR+W
89AZWuEGp/abaTe8NpwJ56JB30n4hcWwNbNedXVnxCEUy9043c6xcwhSSbcgPVCksUpcJl5gSi46
CucrojRxwZqbbrYPRnI92pzeGFKq6H9zdF67jWNZFP0iAszhVYFJoqJT1QvhUGbOmV/fiw1MYdA9
U7YsU/eesPfaCsLDLUkOJDlfVsW1F72J5qWPtqfVQjegPXOmgpyyz6gYXmSawwmI+b6vV48Pf0Uv
aKwqegB/LhJ/EWRwJmYQZXA9QPZJrCT3naU4JCpVqcqUhKH+n3xq/lTFv1L6jbv8aHFpW71yQuNb
mGSOoJIe33tmtiTLdoq4QyJlE7JhyXs2zQDxfAlcSYCJhZGiTv3TO4VOlaR/LYs7RyCNzr2GdIk7
eaKIlvvPWvgrEMDcolYa0aDlkHVSFrMDFHsdJ2IqrYfuqBkk4ownxbz2Ev3kHR39vsKWq2rhhVDq
s2k8yzxxCqO6pZ3/xiQcQtUkOCkQFpXoSWkGP83BMDdIfiCNSGrsVeWlN6ZTzeYYPDMnT3LVQM3o
m8OFXxw9p5HQBDcHq7aQMxLgV91x398xSOw6YHvy4iXmDPKAjc6mjUrWoE/+GvAmxPRpzo+siNxI
qJz1KcGL0AQGbh9RnN+SuHyaOAPlMUjIjCXrUD6Tt3L6336TeC1befwkmuW3G4WFQgOXrSKSDaft
O4TtBQB+Y8kcc33VsfibTNPBwZhI+UYkziCwCkxhdSx/irVymcU3jYYEEokXp52TsG0aqsMkLV91
gfc1/BsOyEqXIOJCMTtQlHRixSYie8maLxHSXYFmoSPmJeNPRTwqvVCJoGjqbsIU7cf8Ecn9bf1h
0X3vS1vL5pe5noiC5iNlmI4lmK8RjvBFRxGP4F2FBxRGHyXRS50CJDP8nJYee05LGNHiZUQbx6yl
U6uD8RqdQigeY/13ztWTHr8oqnCQe7RMpCts0zyaiQxAqFj6zQpWiUZkGYHrJCUsDQYDLbNzVJUn
ZF5ofsHcG58CNEc1H49L/LIMvyFOFIFGt4OwwtaEawFBCfJPRhywXaok9pIRLaaWuZr41lJx5oSy
9NEDIYqQU2LdJcSWUnaOuyYodmoIil/MroLyg629RV7RJucCf7LB56Op3mSyD2qJn7jefFiZeOqg
A0P9m/CI6urmLUEDQrxTeeWUNLhxqm+8J2DMO1xtA+XwYOfi71oFulECx6lpcWYR/qkkx3+QvpcR
8rWudtJR+026y6nscWmqKBNMxgfTeoSBcNQOInVWzWDPSkhVhznVM3prmYCAXY2bvwkrgoWxrEW0
m/iQiYcoCemcANk0VF5yAeL8LshgGefWBWs1z5cqba66fsBDiSwi5BYkFplcdSuP9swqeL2wgIlP
A5bb7haRoWuEWnOLHCFeA/Jtb3fT35RRkMrNyBHXABZS8CsLqw4BA4pdm7Ay9w0mdlEk2cMxLyBp
wWqeFPLJGGGpiBqT5q0Xb7WVnY24vcupRDtAa5akdzavEEJwcEfkDrWotMbBDZnmq7nqNoVKECAN
LskQZu0gSpMCYrcuk/LH4vNn9Yzw58ivCrS0Chat+aroMp9c2UfPbajto/Q6ndkZQqhaxviWy35N
FZUVEFJWn+/kS13lm6R/pu4aGg4dplpIdkQmatgQNTK3By06LSYAAxaz6DuZ+cOKOJAfRvoeZpFa
O7RM+8eecKEamE13iBWOXnhlUElXy1tIL4Xl9MkgCR+0jD8Tc0S3kKGDEfQdyZct1t+YyANSbnye
w39Jt+EcqpSRSspK4pyonGhm23+XSAY7qKvR8GmRDzdoV6bcZwukrDlfDWV8CFwz/VTuEYQdBbIW
2jmAEqRzCZMnvq4IWyTCXsrbiE9wKw02b8TAnWowjd3KqjZvv3L5bQAhoYNuLQgxDm90IiY8qUYs
D+O3ch2tIIKboPKBaaCoS29tAx2PMSRFriT/cNcEnUW9U+KMVB6TtvhQtUsmpMpy63mkCm6KiJKX
gMVfKizIATXaeSO8yA5DVRBlHQgyqgPaq5mlW3MV6lC2TXWiK9ZFZx6j58AYEx5eRzzFjo2p5B6w
9m7JRrDZstWextJOGLNl7XzURHuObxJJTivctxbmQsXomU+tAsoeI5/Gw8znYjIqOOXFGZrb0FJ5
6QGjmcv6MY160NfdNYmXK8TYzoyDERdov7xP+IAkEX3yhL0EJ+0KmEuvfZM/8DkN/k9TSv/K6smg
0zPJNMxxYCNSnBkQg8espsoJJR+/3iGrJMdkOYIlb4PW0Evsa/SKY+9Xsp+sWDsZaccbqM6pimk7
/Tjn0XOXk5MmnzqeL6GWYQReI6PwQSV7zC9RN5HuuFlqc8PtS0Q+GS2L3YZzMIftmQi0k7aaXhe/
x9aPTgNesF65p5oKtntP7xB+ApFWoH0sbXNdFeVK63MjaTSttHMKdKH0VDk5EaVzonpMl+u0IdIx
wYRRep0j+SIo6aVZuqBoxXOyaieyyFIWTPq8r3PDXwoJRqzhKSy5jEP4F31Do2GOwscXW0WQrc0x
7tNLuCiX+pxHCwIOVgd6T5L2OQ0/4Tx6S9rfzEgCEPnIoumDLhlD5zvUyPcwBEH7g434ODH4VJ2s
h7ADMxfiEjNDxFuS25E+IFUBm9qzBPtMngiQXCMf5wCm2l2PBr8iaVa4F1PhS9FB4SKYyh+4HhYB
8JIVrDgBEFK31i41yOIh3bJartZT16r7pLF5beonc4GXsPkuesntFXJdM/PDMr3IMp+KjukUn0pD
vPNYkiKWS+5czr6ZdKcecM28XDafFZEC22IzjWtQDRdRZNLZSq4EeLHPzN0oKnvNQu2pmzy8djM/
FnDUijC5ZUW2CtMVSja1+o4pP1PWuhR3pWSwNvs3GOG+IxhBv895cpib1o5l0S4OzxZDUSOPh1HI
yWA20SiNAazrTi9Oc7KAhlJPpWGcssIilxD7F2IxcDr6iJ2mkE6Wd+8l9XoPieLO36SmI2ZLeMqG
5sfICKHFuF0inHGVnNP9nUkPpu3kiCBUVt1szl2lHp1Grm05YALuv3GO9twqJY3SmcgIuQgKUDcQ
VJivnDEI4q/q6BFOCpMisUtscaF6RgWeWMQqUqdl+UDIlPwK/OKj4CqoEXHpsvD6wVRDtjxRjnxZ
SX2lyv2V6hqwFjds4ie6BRhZ9uaDbcyhI4HxjGOyEmenUuEy3HrPrMSLDCUXAS4Om/4cljAY3OQ0
q8Yh5p5WDjFviqaHLoHqYOP05UjAJzFBNBVS5Q2l4k05D5WK0UxhqKH76w63vPioIzUgmBXjD0Qd
R5xMp8vYNWmWk40mPb2GskJx6D2N/CM8eJBDT55cVCfF0nCnYxUO/9UNpaPIJJ73tI4zCKM4NFIU
eRLbB/OSGsNtmv+eSI3eg9AcysqNB1KyHigac/T2FpyT3rDFDv+yuNqJmTsxw8+hep/mL+Y8lPpe
Hb8uTWIvMeDXpD/z8GjiSa8KXAtu1DQ+9aEX4+OFOcaCY49lxYUGh9CsufVL+xAaL69jO+YI7Ant
iMggoheuDbdZaAmnk0oNBcogo/vQmdpK4d/FbByz1h1UXvmsXBvGapp+kmg0dfUGYunObmW38jeX
1rYmrMh2PZ1STCqRVp+ZjRlXBZlhT2Qzk9BGh28ra3C2YT+oRKPjvqSVs3rQV5VtQOFmFa7t4IZw
VVHxpWAGSsmNN3qU+o23qLULLl1m8PdFr+7zByvLZzs/VXwYfYdpPTW9Emf+4UMM36fpwL7WLExA
eSgXLQgVAr6f0lkM8osh6UjsL5Wuc/Ss5VwHeAinCfUsDKqdWt8mJAqyJXqLCKnLmRLlTUtDP5Gx
7egT2EvhIR5zhMXCZHr62xjdSkLY1ArPlk7SuRx7ZsNjtovqr078Y3YModRv5m7MlraKmOACFdgg
7zEDjg7vq6ER8HxuG/bbLUpI/pJ07M3yKNHRQNuzCAlWQCzyyzFU8ygC9hPnxW4WkhufneQLK3Eu
GdMIkaUNMWP1Pu4dqZUdrAiu2EeekK+eSugIFQ7jXJ2UlZgWr4JNa5DhYafsumoMx3iZEDhKsq/8
9FBWx8RBpB/HQDBjt1hIc8x+m0X0KvNpgY0M+0ODOiSCy2MytOYrJkAVVOa4vDC9zxhjj1gQtQtt
Nq7Lq5oPV1QH/LDfFXVpyVpVCj/5OAjMrDDKEVSvEOUBD5dD+DkZyI05ZTgbZFFh9w+qKgPLftDx
TJNuB+N5OUSIBTs3ld4aet4Y8f5yVNTmPpbqQ4/ohMicjqdrUv/U3XHTJCuVeLLUh3FNzdeiR8vQ
JK6+XFs989qx97bHZCFZDmr9Sp8JzuJkMMZbxCBhEDK3z8Qcn/KvtaYPY6qf4fQZWCIfKgJemSu3
VBohvPwpjs54GkaV8Z18itcnuCgYjl+CqDkVFC7gtOymDoleg4oofXStegTMWuyPI5JEi/FF8dso
wolBFTGIfaCKMffwwWgnL44cVZzO+qicJckEYhWec/1RqcpuNuLTSmZymow+ESQrzy16VWQLA5Ii
E/JtrQOlJlFUzyh8V4k8BtJ64e8cjTXen9arOI1BdcSJcDvIdwGslNTCHMb0RTJXInARPqK5u5ix
cGmTCfW9do2G+BY3szvAViX69jvXQT9w9ltOObP8zM5jpTmGJDsKdGyczsj/iaGdoAGIFnYc0W4u
DKjRY6Z2ZWhHTM/HXgXhp5ic45LcMa0UHByLLNCY7gjIgNTSl3XDV+bpFDGFemk2O6ldtiS0sHDX
UdfrrUPmVlgTZ9HthHF8iar+RSqTl2j3mHL1jhXrHqmXvIGYzxG0VRKysfjNkpxieYc7z5Gpfma7
Jt2wYzWXLZGnVuC6tmurBWteJs9uWp2VQJwyq6Agha+9Vb6tI7KUPQzhbn1bG/0tnsNXOkAYP7fq
K34tDcQxhXq2XmJnKjGO9r7OdjuCN11iHNKzo8bVNRinZCPvM/61WiA+Eev8xFmEc4e1yMl+S3KS
e7l2IjKc1OTO8/aoCwCp1WU1l1015i9bAJqgu4NmuZFuAV4WmMUj0R9MzOIE3maiyydk1V6ikign
OE8R08QB3h6Ifq25TvoazKXGUIyoXbEPGEGe2vgvtn1tPhaCcETnZmPXs6+VP6gjY+wRCR5+9WPR
nL0tZzWYSooHs3DkrHc0zPhhqDFsiolDQnak5+6W/af7FfSWWKfgEWZ3ynvCuc33uF0+muZtIOQl
7u8rKRwyRRnQOqIiWBnKawUdmMRtPDzymECSw1YzJrhgxkDtu6AZiBDVzHOaj2eQBmddGU+ajQn0
WD3y3mMZ1qj3xgrtySJ2tiGb2NSO7Jmh42dHldTbPmbcbx3Vft6LfX1e1DbgJx0Kai8whITCZqnf
qsQy6EGzsJ+SDYwMBrG6CyFu4nu5jO/mIL1mr9tYi+gRIT4QFYoUyQJXJV74ejYDJyIezdNUEDyA
kEVWBF/eM+omwy6xQx1QFdI2RUOkjB+kWl8V9FOW3BxsW0x0u7FaW+mRglUzyku5IetAmfDTvjYS
kV4iwdU9c+uiCnAQBVMlHxrYX/jpKC1GmQFqWt1Tog2yQryLyXSHKnbHznCTEewA9Zqzu0qtSLe7
Nx4yy3522f5UvRalfolgvK4WailUdZ8kUIcbxTsybRV1Y4CU1a7YEWVV6ORZyD0N/0R60aXfCFJq
XfxSaeFQa6fDUbx2NNXpRP2LYWPAcm56Zl75Y7j4i6r7nYjDpaBiMPPTnNansLoOxlcpRb5e8mlq
6p3GNzAXVm+GV1qXqrGL/Cdd54ulh1cMhSjo2LQIHYucWD6pWGozND0zT1BykJpxv02b0LfWyt5E
6CLpEJLgrdSScqJu3iV8ax3lrNQVLlms7gj5UfUB2aA2DJSPpqjBFtXeUtbeX4voaRkd3Lo8leSh
1O0t47oZz0r2WusGqRzxtRzKyzzLnqn4yQL9DNdPLWoeCnEPkiQL59ZaEEpBcMpdTUlpPxQaow4k
n34u0grhrFjMjx04eJMELQUUeuwrNQk0MYxlHMNmWKKMioK8Uc+TOp47ITzpy4AwAcpWac/ofJby
XAlmAFq+zoM5IwhwAAL7Z0XIIidvii45YooxkMEnhkGgLoz2ik25ggRHz5dDhrJCN7LDdyg9S+IM
VGNnXaz1azBLEGC3jrDqKSONFCxeDhYxmdrLPCQB7J0T47djZ/7rfYtIKI2vO4O6Lx6DoKI7mI81
mc0XIKBnQFeoywrGiiohoQQxI/1jlhxMTOQbGgWoyg9BKR/DEj+GTrvjHrgr5XozANZowwfRLoZ5
krlKjOpqpVrQRyTQl/sYTEwiE6pzt0iy08kkT60vQseV5N0wireoqV+tCqnxo5DXIIOdQmYQTfJ6
Cgtecn/XyLLI2+HUVhSeIuspTp68cBR5hq03868YvOKBWbjJQG5ieLYHCqkIur/psUf1Vv0foQfg
BJlC22ixiQ4Tq/CovzXLZ10n3jT0rjZqTpvnThnfEK1AJNqATu/jGjMlmbgnUF2WnKTwVZdSss0c
qK/bzUg6mwGcBFH0jhB+bYke1kxDwXGGde9YqMmRoIC6OA4caqoCXJNDe2rO4YQ58RnhrBaSaC9K
6CMbSO+17JbX2AjGiB+Fm3SAXBGlPRlDzDeG1VHyuyiS2MHKZ3ah+Ch1YBRFMKf6CbJKxUh+dEMA
rBblVwthusoIUMgGDn3UqKOEbSuEMMaAYa+In5NF54pSSAo/pOJjNlog/Li9v6IjspLDMDEuClEb
jQ11vfGYIp88RPr2KhI9SePDF5pulnyrJD2kavEwjIajHT5JutiFkp+X6WWpzqVwkuTWka0SDjgs
4yi0C8acvGSBC0+ST0WZudHM+4trHc1EfMtGXEGSj6xM1VdyO1U3yQp3RGcxxK/VtPsu+1+F1a5O
f5bSJXf0Z7pylP7GkUZ26m+ksium7KBVi5NzX75lOPDC4ySUdt5/piHfHfFquA3nd2aP9Galozgj
3wGB0RShUxeSKzNI7aECGVQjySQTLnaSJNSIunCC6G4mryLDkwxCZGNeS5OSf14AHpzk+nPIxNso
QLIEkuKmq0R+kOiZ4zFV3aWyAhOhfY0wxgIdLxvn5F+cDOeMk8IYmFuwj9k8k/Uht40l9Iq08PFI
MzPs/a4Y/VHsfZWtup4geZmIf+I3PtOxCC96Or+KVNWaWjgMS98mMXyN+u61LdQXM1rYvOoH2K9z
N59TvKjC4BdbVHfJfk0JA5ai+5Q3v0EhAKahlpi705SOPy0RiyqpmFuy7TEOD70u3ZRwuE5FRhgE
ErDq8G3SjbICZ7cxbWtCh/5Da2C/Rn5PpJDFRrI1n3r1InxWm66GlOihPlYfo3gfC1KDgJog6Bsw
cQKhJZtdITmuP9CmqtL7NByHiDCQbXiFuxGeop4lDkYSh1buLuRHk4ElzS5AyXODaKNFFkxcXi+9
TEycJ6V2JguYPp1FzjWSJXhDcValn7HkqzuFRqyb3lEz7efCkaDFEwrnD9Hnpr6a4amQf6KFIapS
x3xp+cQKRKyIGVteQ7FniMsYqNUaYpb1WPPYn61TzX/18bUaRReXpmSd6JCCWJkQRbGyfJ/J9O4T
lpj4iVnvEkYd8RPL23sue9OfEsmZsiKYe+k6MlzR0ycv4ao5ctjvgSpB0c77XQynU0K2WfF+RZKJ
xWIfQRRCKShEmHRZGnytxJQW6IWRfPKEQCP/Z3STS2B51Yqoaf7UxkuHUFpaDv20AJthkl/t0ZaD
BkMqiIZC+K6XR1gMRH/uxxaY5hCIfybiTZHOF+abWrO26X9ZTirJS1WbjvoDQYwd6Ic3DAEooSE3
jgpE3ppIAmJSJcyDyV4dApOSA9/6oSe33AhJKiWZiRe+kdqU/tebMsKwJYjSeMnRcKqV6u8yco8z
Uwr44gKC2S1NqREZHLOXIX69Gf5IuXoWh24fj8wJQhcs0KIRrghIDb9myP2HEUH9M8JaBXCuG8LB
TAkzR1Zavm/po1yUslTZKawqq/+1UHJiV+YKLrbPK9yb7qpWrzEKSSB5B7S4x5CGNSv32exbuKVg
X2lfMpwVKU5eRAT+qCZp9AUckeZd6wh5s3hvc/m1H/81SfHUmuQx80p7VKmgAY+Jk/B8iJd2bs76
j8I9mSh9DUhE+uj5vE3Zn04waRcmV7HojEe0/yrtBgNDAAZgczqV9tkZqz/jhrAWBs8YJs8kOVek
GMlPzD/4zwivqmVnLHwXTFAiEVJDdU4IKO2b+dSs0XGqu115a9fuWsu3KZG8oUiCrKdXZkT9pzDs
AUcHQgg7Meh3UXFaJ5Pos4gs2IGCd8aouW4Y+V0qFjfyXe6m3mAfH2kXUA3HkTdb5ktsDK9hpr8O
qf7KuHFsT0UFUhKveCucxGz28vyumHYnM9axhqDDfEEN1BqewQxPmgx3DhvX4LTQdVa0QDgGjh1B
6e3en1h6F00TcAZVHwh/FBSU0puh+iHx0dVhAf1QlrdbZ1eDV0ucZobka8VpQS8kjH+RLoPo4oUm
B6z3/EPbcV+zc7ayX9Z78xiAj7tim2ZatIUyrY+a8NQIsCA7bQN5u1JAWNzuAXRJ1qbGre/FeM+/
lvCnGbZROVHy0XkrgXPrHCFYhJaqE3vK7RVyrxGZwowIIqyzIOFY2TSpcLAHkRXHzMWFLSCbnqQe
Ii05E6USwq5rXQz9u0n4i8HzOEsvw3R6R36DYr1h6Fp9twPJe9jmFbaUjIKF/F8hGk4itS6wbuuv
2HyA8MN9iWE9Yyue7kOEYrHmxQpxndrHIP/jK6bduQbMmVnti+IAIooqPvCT5W3hU7PoCOnzNqg4
faRzXbd7Qo0OdRGe645U9mi5JETGQLxm38MoSjGmY4rd+ImnvvZ5kCaDgdyBE9tIpsvyvaAE/piX
oOQGqbhBKn11AEm7qfaRoNuAjHaQrzobNWEgfmVLuJstYgRvSmLt+Z1an7Eu2mJaOixJrVep+ZKf
IyBaGap+xjqRQDyYARAktti272+Yjz271OjRZNGNEd9cO23MzE099zlJ8pDg5pL5zT5nmAZLZVda
7+sFXirIuTV4XzG4FpaBcXzb4+8ScqiAgzP4s+vip/dbHEJIKgYE44+6JJ9K2PzrBwsZbLQn37fk
ldKPKSUrWsUlTIfvZ5bxuWA5KepuEwluQ8yObDDFOk3qcFbyQ2t0wMgWd1B+Ws1fRCwWaFi3S5Jm
COn3jAsmxwWjQO/h9DssN81QEa4eMyoeTMv/d4MWrzfBZAW6qpN+ZRbn6JWE8SBXF6vRXtS4fh2q
fzWq9ajIDkg8zyx4z2UbQp8y/elNioeTbCQI8tAF/sxWYBEUqKuj+8H4Ucr/P+b/35O2KFPI8CnM
Z6Ez9J1OyNhYN2Ppe0JPx9eCqKsX/FBgx5gCWEhkH2Wlv4DCgGnAer884VgTQr831VctJPU74uCw
nASWgNInr02jvNT9sWYHVqfn3PhSVY3YDpFOMwqsGU0DWb5arz7wFbF7gnyexS7c/4dC8Sq6GxQy
HojDQcOTPzviIHnb0P9YL7OcPhbybMqjQIyz1M9uJjYuKDL0jcZOb36AN9zN+RWUsR8n+Mg/1M60
KQUIPRWOSjui6fei4j0KC18h1SHray8ZVDf/s06JT+ch/bUsj2SkCDSD7HCwp/joze/2BZi2vQJi
yUkgrLgJ5CBsV7gdnmTWx0UJ0dGjJWUkS1WhY/CM2toP2/y01i5bJ4gKPGNcpq0JHUrSOYirggUX
7CLBCJKycnDfYtH6U2uvg2nYilU4pP/yiAES83CVjJi6FdZHBfXFCkS2r1uep36fkcmRFT4jfCHn
mYrDG4NRNrbsZfvrFBo3+G63ibCQutsneX8dUKFTqUIp0G5CG17xRu7XDZcOMUto3NXMjvS/XMiy
zp3IvVXWR4UtppG7FeFxcj26AsTuLmIcwSBKT99S2D5VVvsY/vxpK09CUkkYomjiA6Wj0/cnJbYO
UY56M5LZmDHXlJBrpIszv0t0RP284sepT7oY+lEkOC2YDh16cANj1DiySnc3PEmDacVUiW+jMJs2
2W75uXLhcM4NMJ7oQspzSzSOTt1jYVChOtOIUe9UB484Hr7vQiU6pzybw7EzCIKbQLxAo2q9sX6X
sbwJZkFtAzCg2Fg47HbDGQ1q7igPM84YezU2OI1jj3swM9DVbJsZoo4KhQbtzgmzUu2Ct6MH5a1n
tkcBTO6s060tzygV7EdHsFNLS4kFgEdG6SsnLmlEytOAcHQujgpyW01xhha/llySpb0FN1zSEEUC
Z/NY/pDIzNKIcCuWUcYaWEwtZ0p1Qp9M8jnjB5cADiijxZ/CxkNeGOFhOzVQrY52Nqt2u4b2iKF3
om2MhutsTjfCRO+pTgWi/kh+q5Ruzfim5oMJZjuJxnPOfF5NEi8a/IExPaa1nYAKTZEwylXXkqie
nZgn/mwcSAkltTI9MaiU+J0wQ7AUnIIwPQXilCDIaTUZsHih9QDK7bkwxnMyYOHU6C1gjg49e9qo
P+mkYgj7qRWp9TobfC+BFMgygaEz4uCtQfOnH8xsOYRuTSM/AUJcbi2yZRHJa90wVHPJUKooVQuN
lBGCOqO3evh/T3oEHoFNzO+tW8mWMDlT0MeMiNc6IRRgRRIbmMiqgG1G5I8Zf0DX2yT82MXHgh3c
DP9mDbpSQrMaEwMJc1hO+12b7ocE/lxztkwSw+YPHP5wEIi5qF6m/MtoxhctrDmEWnsQtENv3Ml9
fyiKdsMQeEU6F4AU7zCsrErQUcfuap0hpQVbOrWZ9LHQFWz0+iuZ8tlPzONAK4uoR+j8stu8wp5W
iyeIk+dK/mMsF2T9GnF0KZljhM+Nw0Zatmx6LHJss+mg8i9nrjWh0y4VODLULs2EzjNGn79RS15l
FFQTostoKd2+DrQIjFuS+6NdVBd8krxe5A7tS18jYaxJblHOeqMHemlcErpusC9jeoYydIDsJ1YV
yMXmHoEFUeRf9h7zdM550WYh0SbmJ0nFh8AAatiYguytajZA4lkRTXZhcSAiWgFXFkxjeNZKsHEW
7jWf2ABWkccRp+1kCBS5uoPuAYbkEUfQXV7y29R/Gx+Llj/K9DEPHyN7k7KdTzjRNR5emVuxKt6L
CebS3AXawJZmCk9CDQomwgzOhCopsXjUXqMT5RAj4DJ9dFP2OuKqII0NskDO3i6Mmb9fNM2bxz6o
muoyzubFLOdr2b231l1NNqXH+S3rjF1S3YwI+/onBx5rgujAEoVw+OdC0GNjnbL5UQEdGc1foH/e
wM0hKKtbEt0Lhhd9+FslK07WfqnGeoamGXTkX4n4PCr8yaxeKvGFqGSHmgsxr4RnJ62ra9edFwTp
GRIuCGgFdPZU/mW/oWCNya2rJEpndForqcxMRCCX7en9Dgd0lZ60VQQSG3yU2EBhcQTc8oRbPoZY
1X0ta2sHSYMrwJujo0U6UrG6cam9tHPxxo4tQ4rZm0hRyN/gCWGrqKH9ktTvbjlgQcW0l/LBHGmZ
svmqiRaeSqx+RC3K6i2X/0VvmVB5KRwE6szwRrLCS2tdKww6JRKbniin5G/LujsmnyimBo9CgibJ
pDQv7FBXroGa7zT2rPrKg0DJpuIpRRGpsoyPTUCbjDaQ3p3CLjnJ6TOR0HisXpFhCzJeV8NrSIgC
tlWnf00+JoR1g0vOZ2ylpCwgIZ/RDKP4kQBIEEO6n2D8R7Xk1jLGGEgwu8HYx1uBiUgWB6fd4Eky
+OcNBMByeurZ6/AXiarC5R2/Kphr+uWWWoFcvsFtPCvaF/oW9n6bw+1T/4tRtMn/hey1ZHA6R6vc
UcSiOdWtYwspRpVo+5mkIARYLCK9dafs48OQ//LzJ6ocLJNyMdqPbZ1M9YX/Gu8t//OhSt7TroHr
CzZ8QDM07fW/KC2Yk9s5K3KjgSFMY5itrFfoSpHWMjR6RnQ3QuekPJWsj2pOSVTLCb+Y3kYyzmIh
MF8blrHKc1A/yohT9k1jzt5GXlIgLK+dEu2CfM94IMB5EXeIWYnTJtnSc37NQDK8frkoxmt3bA9s
m44akDf1QYqEO+nVZUE5Loe32PiK6rd5NK7bCcP4WW8aFzlgrMPaAeHehYcU1Zj1iZxmO/UOHJJa
BjoTkgw5AhQEpJITK1mA1jGuK9TygoJnvSmK7MYIlCTma/nTML7AIiOOw6DRAdF8jqvspKVGhgJ3
M39gCpDlerHq8mJ9mEr7JPHhpHfIHNv7qgnXTYvGwHyoWCPDcIO00UZvMXQIGEJq/qOzG8sV3ujU
Ft4RWTLCn44J1GmZQ2wLtkS7GIuxL2824ll5tAAg2RasSwAHLBhSfrXCELQgVgErrD3g60W/KlA2
i/o1TeeLUuwWYccE5bnOzaMl902ksDCK/vLNTSN8qmKzq6t3WTmoIMr36yOkz+soVoA3K8ZFU08m
HB501HHqgomN0CXThJhortWy9+JyA59/EANaV98yslMeY0F8GZRvFUQQTgoVLQVfacFXQXFKqBad
eMqFIpsckwS/urgRbQN9Y2W8Cf1P1ImElcRMIShe/4moupcfwnHIVqiAA6Xw1tatiR9eIvN36v6I
+R+6BCaC/JD6K/nqrHt4AwLmmCXO6IkpYyYxDVjppGlGtzxzrSGgDBsv6EqtJcbqvEQaXSwRpY6R
Fl4i/5tYZhNQY3Fi1tOho8sF7jjbM81wAfRd4zFXo8dE8TWqtiBptggZosuOlvVO8bZWbxR1eoRr
jFza52zQRMKfxhMh8D5xq+rSrmEGOv2liUsoARX6uRLpjWK9D5zHhcmbmO/06NFNz4TDhPadUUHW
E7gNVlX+EZh/MxlZiuuAU6OXkeDxVicSswKuJH7i/1g6r+XIkSuIfhEi4ArmtR2A9oZkk3xBDB28
9/h6HWzoYUIraXdn2AZ1K2/mSXO5P8t/ZfyQFXC3bHt6sFPk1kiMjbxaSVntIkG90rQZSUxm4xkh
dnmpaUbi9pvBrsoGXeYPykHM2jXfSyzW+/FOotrcyjVYElNx9Y3PKqRcITXkyCQIMQMy2lzDdwtH
T8LORY22NvWeXn32/mFCbENsou7Yf5GJsoN21v17URlnhuJTy3Qxzftc/2QHAIeSblBNjTgj3rU8
2/AhleifCc5qoJ6sawNh0R/VI7qO7/8iZZAIIYW1b7Ga5pXp+Qz/ZcKXHNBBSByioz6QIHWy8ymc
0rKfBCrpbWUdNbYQz9aI3I7qArYNknYaUxNVAohDKzs6TDvV2Bryb4dxucAbz6Qu6iMfryyx3HrE
A1eM+2qoDslxhuMy7yMwD7JNSzCVe28lkbCUvuVs2g3x59IHO7SO0avOzNmwS1dKHaEIvyHwdP1j
USXQumzeTZOase61xpicEYhZIAXlrcMgnXb/FBziPRpTh9U4JPd0DOOn9FrQdNuVp4D6DoVqCKiQ
3L1odam+bIoV5hoiUrmy5N80P4uApxEbX8xL+XySsR1GPqtQiIMWJ8q5lWBLMtrq0iljEj/M/lZ/
hIk42PZ8LPi2wPLmHBeo7vLkVGx/q4aEyUZhAF0+57jJki6+g6eBNZuso4AH5MIXmF7UlJIJlDH/
kx82onFJxy2Td7BYToWpU43B0w+FJVF5tzHqT9HRZCrvowMZYgR5+9TE9nngUe/bjPftnfQFGXEW
FBJ5soKXvzyCKDiWQXUEl7qq+hDsjXWwiW+HevpCcQGdyfQL6wTy0tVHOv5Luy+dqjTGlpNVSZdK
fButY1U+XiZi2GSmQ6wKGPgFdtWZ3y3GCxLKgSfD+OTNWcdD7AklALpzCxl+euZYXLUSV+AlQBPz
rEbq4lEhgGyP9QEteB+zKMAOydUEt8ZAIM2E3G8DLBL0goz7iU+S9Sik4FBK87FV+XzVnj6Np6be
JMLYy3F4kFjoq9iVgy7i6nwDlrNv0ZYIuu5tOwMz/w+k20ckN7skbz+tjs3b9yJPz81ZNymxFNYG
/+km5dqSGW6AQ0YDG0Dm2RFIDcPGQhDK/2QFfYcJqZkBDvLA7kfI6PKtmehf4QsySqzVBu4Pz4hk
lardfXXd1agXhMqa4oWDAmjYmi4Jn1tULTEHUkepsYZqLwFJC4VXhZ/W5mxKNzFbnNh6zHB3JuWv
4bbNTKHjH1Qr69jKtwmhTxTfJY8v8l18tCNGBcL5PKkoT7EMKsd5LFYAPxIM8awabT9wKlLZwYYO
pJeub3Diqxttufhn96V0eMYx6geaEygVW8RyXVfZBoMD2y1xmpNTUWc7o7K3gjkcsZ6n0Jh5EuGg
OadsaVe3eCga7dDSQE4goUkoSCK9yjjMx9iHnET76EgeapFDowLBAJ+Gz9ySkGzNIsmbim4vBn0T
UD0Ttfmh0n/qhCX1pDqADJx6MBwQKyvZUI6Z2BZluh/wqQ8V1tqRJorJWlLTtyAzr7YCdICuocnM
ufQhqPIZT9iMRsZP1gRrlJBVSD2DCcWzlC/ZQApPVKde0455Ghz56qr2rpCfGtutkmeCVJkuZKKQ
o3gYSsfULKeml2LB/+bRPqWcle5WV22QXAiQIA9tK5wJpPnk39h6tin35CN9bhszfLEwXNDSImub
VvfYdHYAQqEZsD2TDuMzHekoiXNvpMoyaWpYEoUXJRQEcZRgHMMeXNezMwXGJoSCVCgUH0LYznhC
S+jugKHibdB/zFJ7XUSaVJDCp/XSVl6bSb/Y6FWZ/9uV04lU4dFUL+DbMQGd7NS/VOj4w9WIu7Ol
TtemPFFBm6LQV/mdqnUcwUfW14dSw0Tyb/4a9IeaNddQ3RrYkNKCw7W74CVAlsvgeCfDan4G9Fpu
wX3H0UcCjTjrqICqXbMt3FpLXV0N3TI2nZKyFEH9dMbYRbnilxZRw5onJyuJjrll7U0+WT3isw76
xBTFIUI+FulfHGFatUtvFMTUtGI9TSlODd/NqSQYWSpmLEbAV7JxcOFNQxFlezaZW4LKl7SNztiC
kKBWCTaUkQvlNNK+yc+LW3JiePuWU8vJm8n1CQRX0bZgBigIwFrjTtUymAxXO6OmmEAjUjHF2FwR
W41kh+E2/N8Jyx6eVr6WHO2Y8+LeyNoFcIl5tGzqlkCJlMne7nsvIANkCi8ujX3n46gpEnTE+Ugf
q989SMZILMkLe1rLFBp21oTXuFxHbEP7rt4b4an2hgB43TQdUxFCFYs3KY5VJNfBJI9KNYBMagml
xkzvaR7fSsZtjo/zbPIRE0dLY7j36x1LvS1B6K0RcgtfELKpN2KCgHA/ExQg7UT1wQ7Yzc78ShH+
q+MIeA+jCb4K7o44+gnZkxJslmGJnhkpJ5lqnruGumOM8QPda720SU1svKAdyhiDChY1Wd7pDQJ3
eQfLa9al0zhZ9S+m4yziUTth52t+1ZEyyLbjwTs7oaITaZawGr/lWXuQmEAbv17tlIAbsu424X6o
47csHd903HV5D10vrt4Mcc3z7CxqEwn9228qp7AjjBBU0+a1p2XKWukaOjwQidif6ixcm5wgn624
1YgX2aLJEFybH32NyoAr3OMh2+BHru1rMtJUYGU7M344+GIbm8oU5FcG/J3JZjxCAg3y42C+yezD
Wtz2fP+ZM4nzNUiyEi2tYMaY8fxtpf4Y1CNIESh9XJdMy2Br1nRAYktfJ+ZwFwpAkLLa2w306PTE
bLqM/6RCRYW9jdxlkN1DBcxWDN+kWJuTeZfs7o53HGarpUO3t4ZdaiGhFdG1pAEPON520cRD41Zq
Hn4al7fl0CTj2lSX28MpDT4kvANSwasYcmqj+sk/beaRR6F2GO8Dlkm+JH3rIsvu4Llv+07e6iLb
prQDJDxGGhDGDdSURr92pCJMrEB09kXCBRbjaWZPhMHELLmOAUE3KOFq3u/1Ek9K4lBq9FFU9vtg
D6+kWGjdehbxQeqax+I9L/bEaxpk/4SvHvhqgQthdLJIc3TJ6bJ/wB4hYjumPjjhplK6hzC6u2zQ
s1X6l2V/qXmC/GVhkfYwjkAjzjVhyRKptjgDEjv3gXQijbNis7jjd/bztUFHQqvig6qBKyG0TtUn
6FqpohpVGjFJPQaOxJkkmorq6pQEO1Oxj1rqqdcmWyxN/6QZ7gj54CBTo11h59RUgJXrFh8F4dc6
+dNhMwjw6ztlSN/ylJDv4ElyvksMmgXwWVucBL9lG+7jliBscayfihpfitBc56V9mGL2zcYSNR72
PR6IDHhg91ZiygADtazTZjPa9djIJTiKs8kgwIdtIPUpm9uaxmYxuRKYGclGuic/Ytdex0GscxDb
CdcUAb7COJQZOpO6N3EF2hUzzZY1xRTyM1b2ZkRODsbc66Vo96t+LKaDNAawtXG6qj40IYWM5yx6
C06/TT9BIXhVNO4urgU9h9KXiU67YD7G/Y8VyxvT3Fmh4bZysGPebSLgzag2HFI17A0S5W6Z8/kD
y6dxyUkSF0A8C+BjFL4GGNuTqN6rym99sM3ugvmkttNz4jObJm7TP5C4oqWnfZ1T3WTiX2NHmdm+
S++Kp/dPqe7WPRQ+0rYN/LqSr9I3RjNgQHlaPKbYuhXoFPCkkZWcyrLBMCJ40zYaN2d0M4412yM1
JdrJnXBZTaHFB33a+8Qz0I0Z5FbYmz1qCLyKFUBX1nup5ktLBU4YElHll4qag1V0rLqXPtuYjX0z
LNrMjdVWDq8awex+ODYMx3r+orMQH7OfEvO2Ndbb5ToEUIBjfvRi7EcztT4dl+dUEzsmcSdEzlFM
+SoH822svnN7oIvIy4qPIvcP9ZQdwRYdswmKB8AnAnQYnrO0v6oFdlNG9ypfx2hpHfObbW8DMvxN
7KSIXNkpgmnY4IHr+YaoRA5snlvY/kuFtBfEG74iThqRLaw3MQvb4Qa9YzVWT3A6YXsY4MpNOik4
69ZF1RY83qYst70+MY+tR3ZPEq7Wn8H+Cy1pFUqG0welE05fdVfRFPz5LSPDLO9lg/pyK9l0cEqn
WI00vlFm5gZEW6Sx2aqQ96p3iEFGQPhHLh1+pC69m6/GwCIBkliL6JgRcC19dgnKHtL8Kg8/APKt
KrIaFuH2mDu7sTgDOSnMaqM2mhs1jTvMnBKDTBQmdVSJT4XvdDpUJw3hNV8rWJdzv3dMM3HlWXVV
hFrQ5QAMCe8PLC8k7R1GFI1h+GzQJWnMoAmAJJWKEGrJZNTZb2ALkNEzMIWJgY3JxJHU5phThm3L
bosKYPqhn6Usb2bjQ5tGbySAtTACdoIru2U5yE2lyZxWhPeB2ispWerXVgosc5OuefXZGdj0DNQY
fJ3GC+4p4YO7Lx31/75cXlKc28ufw40I0SyD2HgbKUFWF12+YePAdXiKXjtMHuJdJ9fScc0Hty7R
ApgSivL9fWyIHd2auzkJnYYvdS3HTmMlLPzIkGSho/kPW0vvU/Kql8E6br+SitIg2ucmjB1dGPG9
cuo24uKovQy9eDHVPX7krjKeUWM8NVE+deMuAYyMzGMxP5UxIqxjgHUaHR5MTsAo30B5zdJs1yvd
GupG1W0DtpmW6hQ4Y61mk/GFypFiYxrPlITnW4SPmCpsnTNKkXdzgb3TyvDo9Y5K3kAtTKZ5inaT
g9nj6EhpsO0LmqIOubEOG+s2L85AxXwkRfFw8wWerqRHw8czWrqlSZybxUbfUlRgXXA98gwx3CRW
+bZdjey9ppBJ2sjmn47YaJYxCUOoFHrjZrsOm/8gvQzCZymQ7uqp3SkzUNaJEoyMV5jIAH+mnKAM
+RYR0bgLJANMrMgJY5Xr2aeOoBRbmTksLpnDyClQMkDk2rdtp4pB2yrvmI7WlZ6sBpY42Y5I1GFS
cs5KCYCCfJL1f53FuCd1a81sGEm/+UfizMTP0p5T2Tirak46Hw9f3SKHPdvB63r7YAvz0NMzMePT
xIl6qPo/NNB3StaeOZbK7LtoDAK0OAbMGFLofogwZmX6LsEwLAYvSgVI0cIpSY+G4yM3eGlpDq0W
pLSM3g0g0e6PyTweaRUJ97SkOaIgSllssIAgOfESs0KnLYlKYddUcDKWr5mgXsV81Yv6LUg/J5Fc
Ykl9i+EmVcLrymI30R28agsqV4y1iMzXCn6hgvQ34y0Srbm2ecyWiNDyZGDJUT2dzaGfK8+IqswV
TR5bnWIbrtrSaCC5PeRQOErLJ5xs4UPIHx0rEg0/ENr1S8Qlgb+5LRCMlRcOMf4HH0GBC9+6ZnXq
a/empS2VUrBB5YoCKPpmAPu38uFFh23PdU2gnioOrigV0W/GEDOx0rbt69j+65T2MEpHftiGjzht
JgXrH7P9R6WHJQEKPlb4siRi+farCTYHK6/1UJEWNE7bAeCMCNRVRM8K1CCQa6Sm+Zu4I7aVgcw1
OkT7AEmDrlx+0yDdC8B0PsA4zWbm1KBpEn9ek1njBtRD75RhL4AaaO3VMZWOAqMZTSLLCL0dVRwD
kCp8douE+jgyVMKpEcaxdGUZrwt+OAZMzvIcwdjOrz6LpsGcVgFnXYE6PNlAkoptyWao4y+13jUe
izpD7ehGZulfvkTaD2QOY5FF5Y+Q92+GAMP/XrFQYTGE07aGc4v9IX5p8Zhl2ryzRXGOM7CmWFUl
DtNV5JmxeieOzvY39BNXvxgPhPztoGxAJ/MjRohDauUtL+g4UZ60imBT8lcVoji9Rh1LOU3+0Kov
zMIhKUmDVZJSAUnV1g0YXEitxP16CA68o2KEdGutklYsx1NUE0eNoKf98cqxMgilo4/4049sKYMb
jQy8NCJ6Kp+Ly0svO1cK2mOHQl/Zpw4xb76FnCKVchxEfwmbu2ZsagT2q5m/6TTwVB3fWqr95FuJ
zBiSLl+p1CayXgclkuAht0sa54M7js3vsKMmefFKYulI+MJaMUoKimoFD0KKriNBv9QGsxq+IiNt
bXYQJbAaWbqVFbIgq6j01y5hDHFQBvFWSbH1QusbABCY2ZZoS5yzHgHCcei6F3NoPMgh6pIQ8Ilr
60QEZkN7TRMs14O/9vN7nIav6Zi9NO3FpyK0kH7nQrtPoxOr02oohxtenXtJn4erUB7zEpYVLSw/
1JpVhewZSvWgPeHF50qph/G+HZN9EUJILRkIg5CN/cwDDwta8BvPEyZEYi/cxMbUyzPMrRGwHk1b
k9u2wTvbacI19S8bSfxwFam5imgttzmuLT1yTJLfoy5wJk1F+N4mRH8HkgIYYCMm46XpFocyNwXf
vycDHNzkZjBehZshPnc9h0+N/9Ov9wIlf2o3SdS7g423PwKep3AfevIywbdE/e3dMHqqLSi5am+l
H9TZHGntO6XZNqvfZU448aXLSGmwqDRgOARA4NViteusvwBLoTkwjUMPqyc3AEljsk6omfi4wo8L
du0nrRi3YEYa3EVpRNt0OEkYCPk5cbaXHYctnDpmMaloSVMOB9+QjoHFFYPPVvdPDa8zb3xKKqR4
mlh+hzVPu7dKz1+FJD+o6r6Z9sEXQEe41nGZKqZm45cIopE3s+KZ8K70nXbOh4F8uivQ4OfJ8Vmx
0XDnirh1Z3gSQ3ZkZ3psjiFduOTkB/5LG8vH2n8Exr2UuZngvEghE8TAIkt7S7hma7DYEHBy8MqE
PEvQaRXW/hV77HhG2f2EVYkX36g80vQjq6uaqC1a7ecYv0+IRqIV26k/zPLodWm3x2HatAJnUu4l
CZu0JN3zNKNlZKzInLdHOpi2U3VjRQC+psSob6TJwQoh6wWpa4Wlu9Ty2ATnh0B2+5b53zqCDdHE
oZivEQwLXSJS9yhshskM3DlDpP69RONMjJWR8Fpgc/W2BSMYRtwJgNOajf4QVvlSM0zZusF/pybN
nF4Kugkm4lorQdBWtxNnFjqPDQ5FC/dierUJp5y4DF9aYq8sC0q7OceYgOyKuInFhaeSYfSxIaF1
Ue7LVTlpjmxRYIKe1OaYCcF9BE8zXFMAtI64mmrvPdXfRrnjGYHgRWCLAIBWr+MvUyt3dChDplu3
iH9Jo0HH3qGRG5gOsx/eGZxVTgumqU7/8vrLaFVa9ui/i1k0h92l5WmNqkXordxX48MK/nUFSdB5
HYX4WLlxlEXO5rpn/d4+UqV+APqotZuWpIDMsEo26i4vYcEYmGtDovprP773UbgewvCBg1FTSIFb
0aGs1H1c/alyvMW33yCK9ITF5szLBcB7MQLvT9wpvVSRSo0FZQQI8Wi5d+o11yrmdix1LGACjQ3Z
mB+s5VcWHlpFWkVVzK2Ik+MfZuYZBCVIn6a8LJSoEqWYYfqmSxm8t18Ylz4PfctVYy7AQ9k+zByR
aYqGL5H2PkdxeI7xFjutXTK0FbQREVminQMnuCb7J8siE21xUbKFqtHtKwveG3AbMcy8XcTVtpeM
C9hq1Sd+tc0S9oWZ5iHF7m2l2if1tB8ldS8I28Y9D/NYbKJSc3A6USxBETkDc8v+C5I86/ecvBQK
pgO4wAl+W6k5oEpBkKbkNKAIk0o8reMRwOUkcCedYoBYcqaOvH+solnt5VK5g40hUmp30X0IsWBE
4QYrEs3180G1Q4Iq9j4OjH2VTfuw3C/PZxQP8skklijSjQIXpSoytr+piXwwdwcTrUK1cCYq6PZN
tislhRme5Unju53kO+a5zYjuWj7sM+NFbSymOuNmDaxnfGfkHx6R0qL4TOKwR41KpJ8ln2ElEDs6
/TxFLTjIdUYn7BS9CTm+cDmu+GzJ976aKcgyPCUZ35vWfCpldO2I6yokPWJRXGYynX2T4/1z5Loh
2mnt8YEt3tt9qNJAll5qGs54AKmA8Wad7Wd7kuXkPOXzWcmCS8wMThECdp1r3h78ITnPtvFuSsq7
IuwnsaxJGjhhrbNSUBOCzZfkBo3SfJzp5kKYlpprWpOumcgKUoRFz9t3iz0F5YUdUp3zceeQHlEw
k8rTrN6Z+Dily5CIsypp9oyx65S4mV+IM421W7uEsMQ4FY7ow/FCLNst8gSTQ2stVkWT+63C96rA
3medTOVDg750STFfatP0gt68H8ilBYP81qosmUSyq5EcpvQlMPIXm3DpIt5OW8qvUSGlDTD1ZN70
hrSiLo9/nbWa2IAV4Wvrcz+LHzlRlyifNopJHVmq7220FeVcWkjagtA4FGht2y/9CzY2U2ocsnkZ
cfhbmspfF/Bap4vMNIuLlcfKAjwg76Sg+rJ9oPVsl43ytltmnvDZMZxp+ZvS8xtZNFDRIzriCAuc
gsQNTeVkkVQisB0yABbM7iYQ6HR+ytw4NcoMzM3VEZIjLHe6cZTKepOmrA6L9Exf3CpzqMYqQvXU
yuUJ4/NxRNxN4VSr1lv02vKp13RH6KesTE5GdBZ3n+D1iJNZKTaduE4+Co8mX2SU+ZqtzkQ8OAEr
Uj4XD2mF01fFfJ2NRzaauJnRMwNwjEIRa9zbwLcW9wf3RWaEqpzWw6JZSDHBCM7Zns4cRLdMQHUE
t5RMRw3w74h4lJQvS70Gf9g2fQ9IwyR+ceTecEjIRXVEdVhB1ryNre0fgT4HA8Z9eI5kS0qkTMaW
OdN2CqIIiA2DR2w63kX4FC0NGeMlXpoLAU8kVAX6Yboqqsorsc6dp4DuRkwOES6HwcF6v2FE2NYi
Ioq5jdFH527aUXvkhDj0JCtiCYIRD0yOAejT/LAKE557T0aBE0H7nv8TmvDXtJi5ZhWuaeaFCZdd
Mq+cWijkfotmUb3b/yTIXuQkUnA6Qn6xsO/gKF5L/zL6dSipiyIsw55FvenissYynWGZ5tK/jbBL
K5MXkzJUeNTixGWqH3kNqxC+jJ/RWAOtL1W5oho7KQr5AlqrSGOy4DeOmTEg7ojF2B4eevAipYDo
EJ4zgDQMC0HHKMgO3VZuZfbbdoHXohnan2Hx0yU8ngofMj3lsYZEXKo7t7F0VmTom7GHReSW+ues
yZ9R6L9hLPI0eGBJcEhH9d63yq2tx2sRp5e4Ps9Encnqg2VYFXTuZOmxXgAF82OoPkAAHGW/OgwW
9PFonSJCwwLfzPJnVFAeI1SH2bt2huXgwh7GY2nHWx/n+45XdjJ8Tw8+O7IBSvcZU5xbY5BhzSCA
L8mq7lUIlpTn/Y5xsK0hoiVQNTLsdPUl2q3BLzq1BGlpDFw2Y+40FO6UYY+0W7p/Wtc2p3V6yyTg
VdkpvSkhrbQVFI4VDw2t6zl0GSxZN448vFjKFRs/pxFA5qKf063IcnHWz1ypfzNdAH1qe93ze3kl
18lLxrLAYMG6wBnW7ZMoAGEDOf7Wh/mdkuvrkqEFHXMSfJ3T+qEHuTuM+4A6OnSYtdITzKbluZOp
u5C2yzOqq+CyWSntCESkInmjv6QBgXceTdIvoOwMLCDVj5RUNDS5uKgXbgFnNe35RJXSvtGNg/Qp
5ukgsgYnuHSiwcputJ383i9PHRsrNWJdiFjX82tCsCP5EKpiy427y/ordCd+GvkycGhRxrWuRXYX
6rw2QRVKxY4tM7AJczfIYCwCQBOU7aSolcqZy8lmJ5CgKiQog1VgNcPeNSvy7rRQs1b0swn3r83e
ZVur2wKxgNVfDNsj3tVw2SdxLy3pTppilU7Yzcb6NIU9Fp8jO3yyin9BBcaQPTY9PXrB6n+dLcPP
cEpBg8gJZBQD3lqcu5FxDXLlEBJxLuXs0CksbqU70uzG71/IBVuLP6InYp0Q55Nw+5X8AhbzJ3FQ
KGK8atJ7bxJtJUXOhsMCGKGwF2MpFcSOXLQ7X5C/0K8F/4F/CijoCqrSJdWpHeYjVKx7dESCKHrq
76QkdhO0RIXVZ8nJJVIU+f0o6nVLPDqDtWWqh0DtDiF/Uuom+CBDEqAzU4GOAu43SLa1fFeYxBT7
RZWk6/LpGoPpSsnbteyulQGNkrZwnXtn75a6Z6oMn8HSIEPsjbm7l7+srnGrMHe7gbpv/u9WOINa
3GGO3QozvhXxudZUziKS1bxpZYs69xMSXu3nZKUE1RUHydEXpAj7q8JrFfxqpEBBiJ5K6AyhxQMQ
zxN9Inl79ZFvBIhaqcRyHH2pJJP54U4SKUyFbvYMbmnr9+cE6gdGoJnwwqwUxF7zLdi3vYwcYk3X
7czTHY8lIYTqPWBhHpvDqWs+Z6NeSyZbFZ8JnV+1rcKomPZTfG2x13VSsWfE89JmjblgbSI78Hom
4Q+d6Dy77ePMhthvIbZWMDqJ/yjjt1zrzFFU5JnjFR3OU9orqax73P1WTACUsk/6FQsNddSepH1O
LLGq8G3I5Z1JuqXEvJ6VwiU/F1SfVFmzqeDf7v/EJMHCYjxW8PUw7dAQyfHOCBlUi+Vz27CFRloW
Fv5Vhgp6upIp8frJs7i3rWv7kDd/gcSX78eZ+Sv1mXBNnsd8M7IC6M0KCFTgqsxklvatpBuFVL0m
vypgN+JnwdlmWWjsot+MXDE4V1us37ONp7vBqAChzYINF21rKkyoL6kXTHsxe8200xX9FCFI+F13
ntLpTAaSMUPJSWQoCaY3AkWyesHCBDwTmiRNc5X6SL8C1Vob6rNO540xvif+T6GdfXgl6bYEcIgb
j5BIuZlZoOK/KjGE6z1olk+TrGFi9HiCdi1snOKbkaLoToaW7kOdDFK+69jX+aWJ/ZD6X7I8mfk6
IT/q09VGpLKV9NBzO+SOLHAltiAPoCtrUL8ZZwc+UO2yTAGmakrHEb/VEBcsT6Cwc7waHK/dZiT0
AZpFRQBrDCr0WHbWJInKv6ILAec0AEFZJc7VIZZ4mJzDxjyH5bkdPyMa2Xv/KuFfnUg5ggeXnaxT
8Vzae5kJBs0ZCNm2xv+KsYN5koHvqoFuMhtoatmBND8aXAY+XrtbWKYSAOA6tqkUJSIUJWcCz2UN
zHD+Sw/t4jwc5qtVRk63CfyTsJrbpEdAUe1bk8r3jgBikaf7qOTGNdhMN98m9JtJ2lf+xSoIygrD
8/VwbVqg3QhVqw2m7gJ/K+TdTvUCtQX3y+m8bUfDyQoeDhvdMvYmQoEycjQQ38RpN4BG9SVEt/rW
A4WvlVMRZLsFgGx1A08cDGjwTJLU3CkpSZEaqXzaSFPJvYKJgjUUU1VaZ4wQXzoVN7jDShiqjfrr
S8Nh7Gj4IWrBEn+l6u0277SjagLNKJrN+FcVu7lpz77enUKy570G78WgsmYrLJ9en/CEdzrXLhzI
LucaXlJAXHruFNFBr2TKDnkq/AVY/GZ6gej1aY2NhjNYyd9ic1WaqSNYqBFma3lTZCRkyT9qn+gb
jjHRAMM2RR/Q9qk6QChr5Y8aGRqdd0LC9rOPWP4XoJclBKp1SJkSCxwckTVYdUonDb7aM/d2VNxd
g/FegySOwyNBUh5wIZYI35n+bVI+q8PJoROWKmsFJh5VbS1EpHA3IDlrNzTtCNP6ZPI9J1+F3X6v
M4vniHes0peQf86lXXIiPMQNEUxrW7f/enkdwHsItG/cBJRHoyIArzWNXc/9nYBYAtdwI9XEr1Lz
BGPF7vR1x79rMDterwbo9rAjkk6CfuSakzcAtEh9yyROFD7OsUlszCpeBcNmAJp8sp65Lr8P89nC
9ss3eabA2PLXEutrvC+lolx8PdukjFkRDKU2vybsKvgpa1IvqNZ3oHGETM/zKLHyxocanAJe4Dk/
J6xYC1pfShy50xS/W4Yr41U3mvAYFz8yC3N/C/ZoznnXxLuIBmekTsKPXqE5e1CAIPNNNZWXxqFX
X+SMXd2YHasehEKI0Zd03zxfqLN6dtbwDFrxNtZvahZesmsk/uY8hu0IvE56nUJz3wa0ryW9U3cs
jHD1lc1uNBqPplcP6c1LusLrB+6y9X+7cwtP0igsBK5zROZETPfxC+wr7SDDJh10XFkglKKNwAFC
cuVNj76DVkPZr93Wj1wbJEVPgC06CNopuPi6uGYdXc0dKdix7To2aXdGiauueWLfkhr4R+Kaomdx
LVwxgjFISk/EZKPGgwaLTmZhZxuyN/+p777vXyNqJBj9VH7N7GsHrLVycoz5oo92uZ/NYD+DjJpH
ZzqCSaj6myWhd7SSm+rmuaLbzH6T4Ye22Dw6IkTgl8m/lDdtPJmw3diMONUjLSd0Bn9tprShRYFn
9qSBdY65yYRC/6kZzGX60hED3gDwOTf811KYO3Xot225K+UGbk19aceX6QtEWtV5ZjZ6ROx4XI2e
LfHe+jhfLU81Wpc7GP59pzIvYxVdqma6+op/G7XqYWoBw5Dp0YNubY0hwACMdm3ihXhkae5FduMB
kfIqWfEGhC7iAC3ZXipz3Jhsbxj82VrMcWquWkrfG2Ud4hofVhGilMyKqOIPmPjnWPo1MGfK8CDT
6Ju9rsAcipmAKAje34a+00C5T8atpgVnHiGtf82UliFlGMYLBQKG+qqV9rvQKLYYXhBK3abTPQlf
e2hsRA8orFgb4OOSUCO07+/nNCXvuOVT3EOsYPb1ahCy8qahfabmZbV9XNN82yDHVMGh1/y9wXad
zQ9pgzM3vSx6Adf9mIrNKK6FobsSGgKVa57SfYAyzv2/NKwpxqIIg48bP5mLTZKLv+kKSXLZbdkY
brScsVsi/jIdGtkmz0uctESJBTRXjnxIKwhSZB1jQNm2S0lWTI+A2jlSb54NX6E8rjx3GHTLyl7j
7XeivFuG73Ct9dOLhtU6R6dfKlJqR8Xcqj0LFDeDl9VmkuqM0Y0KFiwuSK2lD8+6MYntwg3lUNci
L65BpVAG80jj/qKOzvJdlPGxTN0Hzp8SMYW1D/4zeohWssbTIfdCFJS7wXKUKlC9EXBhGIArHtL/
o+k8duRWsi36RQTozTQtmd6XmRDlRO/JoPn6XuzXb1C4gHQhqbLIiGP2XptYq7balqx/CmhQAYW2
03UbgSm3r+Fjkf4AHSaMQS+MlMu3eWLUyFDPEWal+NSMdF3XULEmlhiqcCmTkI33C5nFckdLnzvI
48Jwb2xzIe2QZ+9tu91XTrft5YtmEZfMmmcJWg3CR78tOr6XQAa+pWw7ooAmIoEU4oB4dafQAUmF
QQFZ9kBTz5TdBLpkODK5huIER0ue5dLoT4NNK9D1UX9F83q/Xxe6s+ZB3liFDvievtA6SmZ7KrTy
XIwlF+jM9zPZOMP81Hd1zy6KmPK++az6D0CICGSMbTqiZUDKTDpz0javiYEw9cFa0L5/N/GfCexR
J0M9PfelBGG0cJVChR9iufCZytJcj13t+fngWfWbDhmq+pPY9Qv+0CiCKmsu46pdg0SoOyr3dJ9y
bFhOuU/5KodfRj0GhLsWTBe7p4Z/6qZdiZoVdoDYp3POViAuvUN4kwRzkACDIwsNS3U1vnoN90Kj
bJuv2rM7wmVIP1zT10aR8FidIckVdbSjIGLp0nqZGXhhAR9VRoxi/SnBsOxOsU7CXjAx3UYzooQA
h4Fh2dauvjuFucvU5oB589w7kWc3mBOYDSngsuwIXFYP/bA/yhUMouzdoSOUck8W1ZY0ki3TMDpk
/0SG1inNslOqa0e/ZVmYfOdTBbCs20vDtIu/R3Z8aHXXIVopnYI5Q3A025o0n+8Ek4sF8lc9bwOv
XEv8UsEvKQ7DJjJBJ6RkoQ18k2WKXm6rZtjWOOnLR/5Cp9xzMZTNVuVXJ0D3pTC3WuygWaFtJ797
SNaBvxDrII1eemg8LfCFQd08OqW8K0N7MOOb0wwXYVgncqCnEbxfCFVeIQcbpcw10b5xr6jWcMKj
NWWLhG8oVJ5hVJ9RKvmzhr3kx4RBk+hJmysOnYpbcguyDG0RiaAbP6kfPj2VAVPEOMm6syjxnGxi
CwWsCmRU8pw1lwlnt2pJXtgpHlP9IP2md1iorJMNLtsC8ddU3QXKT2nOC5+gKrySmqrwZjFgtTDj
NXNk0K1nlFkBrp6KjZ0/G0Iic1XZqqqzIGhAK8Q5tdVzlqULZDxiU2vMhfEqBvq902S36uojLLEK
mCszUtMiBEklWUAcdAREmWrtVbBn/vgud9bOf3Q2B5l+2c6Od7mfGTu4BTLTc+Rkx7EzmS+O8zen
bI8T6xktG97HAj5KrR9qk/yGKnzrHeNJeOow/hp+heSEbwaBBLAE6MHbmYgRrhpGbKVNujmG8sE+
K5yUJAGd+qk+GQ1BdDLkEd+V50O385ccgRFrB0xtKuS+Ic8uAa93gstRN0MMSvkJbUUX/BI0RpBW
tIPbjwCqksdjMhZvsV29JXr85gsPx3jHwZINHwrfDbkQF5FU1/ROVDcBl2NirPPh1QTcGoLCqHqK
8WCLkgz2l+wP+8QgE5zphkPEaIjfWOZjj8kJwTtvhPIDSukz3mg03E2sedO8plWNY2xVb2TGvlju
FyVL36BhkooWKSGSaVz1XeqloLwGBsRtOm0VNuHA0pjL2ch6s4j8lW9HO9aujKyfsZDUIwBP9gSu
rOhVGEyVTxzF8F11E0EGdLtIUZ5WEL5mJXsa6muJOLZuoDqyJ6JFIjjFcGWse6pDzYnPDnqGKaEy
iB9OOm0k7pY8+MDVEKFCnLJpazS8/Sl3CcmXjLcLXUKba+MGQiJun315VRnfJZPoAUsbjhpXA4E3
VQjBK+es1u8APKizz0VaMM2NUUCC6qqSXSD1nhGenQzHN5txDLO8d+sI3wQRhiT2jrQirPYoJ/Hu
E3kWH2bKnESYqs7scQAo5xfZxg9ejAtdgDZrTPLkE0rCx/ErtjojYkQqrhqss6Bbdc0OcSGza2YX
NNeB+pIxncFgTbEhJ6jxWP7HCGRUWO4F4pyCeWAJBzytdyFGXlmTlgoInpBGnNmx8/nG3JvIZJag
5j7rWk8hum9jydmuqa6JA9btUK47Bc03DlVyik4D8q6mdp3qm/jCZQAGydBtBP97iXrFNtmbLA3y
aQBYpNJ7wGCVyMNNiBYLc0pIVhdoEhVnURJ6qtwTSIeitJzItF+ZDK4R/dXFSuM3Q6V1IxlutRNQ
iNzA0KqcOq951wZ4iruGHNRZhMBCeAOrlQIfhliWb42SMChmGW3gbCW0XE4JgU7e+fOcP/bMdOnk
Bv9Uac8y154lxg64Mo73txSKqJq7A5SUD5uuGrLB5Db+zf4Nm2mf5NzWpeKFQCl9/ZvhJqrtSCKL
lfNSI2FlxB1HvMmqh8g7+2oHUjGd58B6YtoWVevp9pduUwbhPvAYYzBqhwLKFmyDIXpR9W+h9Qim
cO9UhNwRljCcoZEsNdRCGXLcdkRi3WMO9FATezLRAhzhOn76XDwz/jRtJI5+qJZ5ccqnAEboP8GC
v08IO0OSUFfTURUxvFge/wDo3Ahm0sK8q2unTkZhR9w8equhIsECMPQ4WxgN6qIeE1WFq4zWtVPR
h+LkZy0d5qsQ85ZqwiEEPDbmEjL1hipWW6frdFjbiU1a9HtRq26i1MDJq0ucvmr1OuNfwkQ+VN14
GCNxUPG2GFuRiBUim8zOb6LP746d3qJKu9h2cZbaEThMCaHL2TO0R/7byYcZ7rHuDPvU1xHUZMKV
1cKjjUby2ry6vLtK5kXRpndLmDhoFyMxIWhS2JOn5Eco7MpVWhtnkrctWiEHv4sVvRRWOd2/SXuD
by4TjWE4l1iVzy/4rmyjCJSZ0Gs6L6NH8kLOJ9XYKmRmWQhp7UPvjE0GNvL8Y2Y+PTL96kNvmvGQ
rE5AChYE9cQsUK7hjBO2ymPRyscIP1AfiVvcf9jyjXHJ1md/n/CZyvqWMANwHA1h2m+ozFZ3N91l
93llM9hYtbLcNQFJMesPADb4BrgEljPK2KBdnYN4sEqcNM5N8K6DJvNCgLGk+MPdtmUjVY+woZsP
EuUKH5xg9DFgRrgSDNF7I8NktJ1kB9RxssaKIUj/qpKlMLEceQTH7cc+5zuoDpMtDhYVcbQqdWkd
N5+l8aZFzXVAkyAhCI8wt+X4kJ6G/R6FjdvWDurvZxN3C/TPCDnSnQMSJUYch9hmCcfKrvdtoCG0
jk6SXp5xq0monwvNi6aZuwHtp4fdB1awRwIIj2svKmUfMIlQUc7mWy3QL0mgXsxyTbYS0gEdsVsj
xBs5mgs23S2hTklz1e2rTbfalNlRVhBusXWy+2O4Tmt5pb7p9GQCJ2HiPzQl9dhhISfYx4umM6HL
gnYe/wQIbhYR9VMOwk2KTYvV/iYcH3CzGcjvbOP8pSlHM7b24LdJzCXhnoryEOr9QeaRz08RuUSo
7zCEjvjMF6Mdu80jz7F5KPLO7Ltd0EQ7WeH8KFmNdShn5RP4DaRG7bY3Y1zXJEdbmwgbpRKwKwI2
3AMbBn/aWPvSd+DJcSk+iubqZ/GVqC0ZlN1JNn619lvuQ5QaXqHSqtrsqKlbEyPdwL6hBsCVOCPr
qtg+mqQWLVRACL0e5cfeGGdGJggLRwkZt47KrFxqUwjBuDxYMQJygedXIFDNwLrjFavPMlF9Y6N9
asbwkiWyqGrw82uRtD8F3Ou+sQWpei1z5OCWSORsI0LOqRe1jEeCU4itxk9e75plEYq9jlnKJGDQ
7uFWAsy2rh2BQQQ4yeTORCT8FYnlmcuAPbLfcJ2KxCtpGgSOQT19Jer7AHMvU3S0IKSQEgL8SHJp
K1U0OFV7rOBg8GatUuocuv5jBQuD/k74YGJmnSRibf+Wc7XTqTWYdZx6H+XJKR6sQ9Z2e7T87F1P
iTNsqLORvRFZGrwMBioZlZHQnPugdzfdMxEwarckPqkwTUtNPqTlW8NEM7K7XbsIjpL0Tiod/xOO
uq1sOZDAAFyycm93VahuUpA9UlG5FMDMOE0IMuzTZVRGSbHTAspzMoJXOJxKmlD7X13qQMGB2U0H
evuTbnTAOfObAkDBX2v5qW7t/bAcwtathOE2RuJ13PtGXS8bStjkvmjtU47OWNTfsvLiqCWAcl/w
whjkvDZtfBuN4F7m/xDq1gZp0HjydD9ZwelGRQS0QDPU4+jAL3uMEop/2PMGVJUSAhhxpCL7F7QY
Ghl6ji1nudNuoFuKTWsYm6hzMCWGxPwQwYyqry7+mlnGIijXGrxOt1jdmdLkDuThmT+BfzbTeBm/
uKoHv7n0GItj19TIPZxwGA0GdntP5wRf6sOwKNds6w9V3nt5cxOsGzhHoAzt6F4w9M+MLrYOxRS7
Tj+6UWm7RDPCzpmvCFepF7WmeTnZE7zUMVucqHrkGUiT4k96ygixte5ZonUOZnsif47Jn1NGrUvB
RljifeJ6nkSB7wCjR3kQzXc0XtSp3du+fsg4WwUcJzU60zk2OWoT827qt4JsRtX5mjUKuGan85Sn
F4z8FdpG4b91iPcYqyCIFFDQ5F1eXsyemAMt9/y+9fAfLkFgzDzn+AlQAGbWGvlkQJIZaw+b2L1J
+WjoRydlpEtFi8aCBRCILW6GJu4NNEW1eVe08ZF/iRRcD5zi6VROZ90gxU4yD5ZlIOB+2PGTv7XS
/1iOHIZUPrDZPcQyO6qOo1owtZ+8yECqbQRejuDSSOqFIpHFlBBOFc9mU30TNn9WgQWWE1HWK0+v
JdeE12hKZ2Bzp1b9sA3KTfA50di5Ml9DeRrWODoQ6TBvqshRjDgk/epUqfHJGqejkABT7hSkgzY3
c/lh6uY9BawzcliSo9YSLx5DosWO4Odepl7k9LPCN4yEZUAUkg+XxkNRLBnpTc/raytK0NfZ2fS/
cwfY1M8QLTmn0AlTcFlMVpzhqor0nL+1tX5S5fwoVfvM/7VF5GlG5EomYSxgV2Ha9CDoKctN5O2L
ba2/twq+Srs92v5w8gPezH+6sjL7O9EPOihVBGDzU6VzJkvWcgTYCxgkUf8p+SWEeVTYGHjMtT8H
TybFJoGUQqhUoGwKtP8wPjY5bqK++HCC9hql07XKpmtG+shELBC2rqLHiynDY3KuGCOu7ZiyBJdO
VRcc5UOrtIeiD6m7yhpIwULjvuv9AigG57dTbDAjM17W5QDtYczcLNtGO5QOlzDiEhYfsK93eThe
qpI+V1PPVbAbm3oPsfsUd//Ata96rGyklq+bXj9XCNeNnqmOfZwxMPB1WHsn1msab3k+bTM4abon
p99t3m1xDm51rKlgJzNZBV/n4qKKnOA4xA8NvL0zXczqc3RUz8ESB/tN4xoZ9J0pWyQgmDvqdc6Q
gPxF7jhaalUzjmPpHG1LHIpqEa4snhMFZMarNf6UmpOZFopEga4vEcbiJXOYjzQy/tiK/jFf4OO1
VJyg8OQbmMtx1rhpUXmTvDKIu+pnuBg8CG5Dg8yaalPw/5ug/yutwiZlbu0SCYsjuzk1o4ybW8Z3
2goLt2C8qPQd07w0gXGIbDpIKrdwUhIr6gw9bFMeBnT75ox0I4u+wGKms/PTH52qPLWiekUm0FcU
fQGa82h4taX97CRXtawLQDBwCL7kENKqke0uNg2tvo50rmZQbnLX4eeT8C207PJzYNoyzXPgNvRy
0aRykq0G4qkM29w6FdtVDnEQD3sdbGAibZr42z/Uo7pnpLLLWbHFYMFYDJZMdCPY5QZqQZ9FDnGs
cv1ffhAgoLj3UvBBpGu0PElmoi7Th9JY13AO5iIQ0xy3CUkMPlGBmc4grbU3olU3bdBupEVDBh3B
7Yjgtuw5to0KGGkRjJ+kXQkF5keNFfm9T/+Rw9yrg1eDH2wHDd1vjkGeJhgObYhpaASbQ7kmVhO4
ihKEBnrle6bU9xJNs8pYm2Zq1XQNKewx0kPtIKfmwhnDdf2QAcNaPTlVMZT+UPeUVRKDWYgS11wS
b2dGQP3FTrPOjXbUWPemG6Mi4ppHIG2tbRh3QAEtSA+VFxHCWOOM/dcZ/EwXeYfSqscZA+wDJw5B
w5N5l53yMYz9A03SI7fdpsFSWu+O0BibhLF0jy2uX7VY2YRKkY6+L1aOsIhO5hbN7L4rG8a97b5B
gk/o777VqO45rBMz2te+ycAWYA6jsLVSiv8+9BmM2j6w1/PHrDh0rRohSerFopiMYizzBzsdz5Jh
ndWYCUybnzIZDwX5D3oCBiJCFIryKt3oPMzMC5DFJ0S8+UrL6eRsbLUiMsrcQrkCgCcWjyTd99AP
A/OkjftE8Q/ToeoZwPgLDR1zoPkHK9Dp3+dzCQhY7RCpRlj2agRoARxyA9rTbg6jhU/dQdCUw6do
ehD61i21s4dmp88kN5/RJ9EhwxTdsiBaseGn0g6f0GURu3V2ySXTuBqtKerOqZncgN3VFOjrBGHP
2Lu686rkd60Gqjj19F29G4mGmuQo5yS1Vn/16ACmecaco7S7m6b/Tn0ZZWTnnQPnEqluMAxETFwY
ewcl+9xNqPT7nnE9SuFJtP+lP5b3odq1CrMlloBFcA7EOWpNt5wQqSEylnoE2WACulNHd+ejJQ/p
7gZfIaSJPrQXeHoAjUzvMfiTqVzDFSlm96fKa0/xSC/e9SvSDdd2QN3kkMxWE9iDThxZAFTLQ9H5
OxtKupoU3o+VeQW7nbjVCVUAYkVGnWEZv85JKPG57aKTJWMmYnfUaW5Z8qmAKTcNTjyZiv6s6dHS
0Y/Myhas6MiA2bdvpQk0U0qYUBNGzACtmcRGq/c1VhMM/m6+D1twn9E3o6RAHfaRUe9GEoac7FQo
2DfMZIEudkF88PSlju3ekk3wkziB4GuUbbtFM4CuIBejq5SkB+d70Ad45Eqf/5AjNGEQVhYqWCIb
TBGyofcCXCoDKGsCakRyOsiGtV69y+dHJb3MoHgVTvxGgAZUYErJdBuXzLcKGIR8BcMiDhcNMVr5
OKy7OrkYo46YzloXlnxO9DcB+TIJYGchT1tVg/6uOOZ7ngIJj88aSnOh0urSpDbZdLDshzbdUv/B
/qwJlHOajdeIkCgtHq/A19gzWas5KKrJk8uQ02ZBAl8aGGsdes5OPZjmIRSw8GEwViiOnFvbO0tE
fMoJJb0LAdhfQpFS88YNh35biditdIGqFq32ITg4z3Yhh58WNxAhMER6YpEOIhpYOzuBstFuCoyx
lnOUrt1scfER5Y7iRuGzlvKIl0ZZwagv/JtQg82kKOsxatZylELD+DaRUbHNWxXwhCU0SLX8oUbf
EU+0G3JPWJmAWXXIJB8GJ38b9biN+o4OqrB3BtNKrM77uEPQPbD4wo1fwuualooyLLOErVqIrBeE
eP4F8C3Ut2VR4XBArJCqa6qusKbfcd6Gbi+Yzuh+5KXmCKpjbhJX47RsVek8JjH1hOKmAuBudEQ5
UVr7qpl2BMx5htQym2ECb8PvvMgDYjiud9y4NQrNZGo3HQrNDCFn2ADdqMutPTySqL01pLbVhI6P
FRGFFWN5KbBWudPhWXN2ESpa6Q0dpisxzqy5/6kbOOgAjLPVMqNgl/wvBKbAqIsnZH7a+hk0x24J
bugY/0gZ6aZayOqSYEeBoyfDRZ5Nm64CGYxZQ0YFG9r/lxuihGzTnUXO8EuP5wt6Z4X2bpLLQ/dT
5ADciGsdj512E+mfzY8eFgC7o1jhDaQ3Kp5qFYCX4b4lbEGHtra1tUuJlrYk4B4Wo7VWxpLRTXsA
nV5qn9IL2r4B2rosuS5msxiV/Qz10je0vaKBvIBEnYED26cponX2wUUM75AA4RLzrIJhisEZ1DWV
NMEwnCbcZ3J5soR1UPId9M2DIoqjWDpLS/6a9eE9yD3D/ECLFO7MR02cX995NfxiEwBD4ufblE8r
C5ne6ET5GauswYWFxd0mm1FiA00g/QpDomiTZdEOnqEmO31g5mRl+7SEHnjSkIiOqGy71Frwjg4M
n1DNr8akW8pdRAZkdLBAlsyBTJkz7CWj3AuG9j6jem1Tmz3Dmk3ZCWLRUTDNcnsGC/i5SotBMcbX
gpLU8YwxwSdKgDYeEa1+K6H45KxrTYqBOTojVKC1Lw3N2RqCOWHwYcI4MVjrl+BeLPZuNOQguRFe
IWTUIVHlBv4h1famxnLD3nGDpIG2cDc44giDXtSYYFPkoVyMxFjhFyIWdtDEzgd1ZPmCTUF7Tuxp
m4/rzhQ31qcLcxg/NYn0hIYNJpVGjPSPkXoT/pR4My2cL32lHvpYYjL7bSY8xqLjff8R6C1U9BYV
ieDDs+m9JGYgp/jP0NCeehNjVVXuwoURdK+4fBVYj5GyZ9O+nWSESGOIwIYpC1E88TdhonslCD1M
DxIxqtJEoix76+PsQwPnjD6gQVzVhdS7DMnJAwAYQaQGZmEfMzZu545PbcDQHuOb+KfnZyntTyNR
k7qqnfUqvujDXUvvOr222i0JkIni5BIjI6qkBUqiXlzz4aALHQXnX1ZfCJhYN7GYwf2agT+EEOQO
uFRSg2nLIyQu7VpZ1EEGgt1wB8nZYmXpiUAeiUCmF98pJa4s59pavMrU1dbBDEOk0OGxhN5F1YGS
5zDfDzr6bV+x9tC6JrEc2azJgY4NtLwExnhSTpx5m4lBGxyXAi+NFAabalBOMiR17cs3VDYAt0iP
2EVIcJBMosJU1+p7N+FlKjhX4e1CJGkGSH7xow4SLzMADaKw9Sn9R+XeFbdCl6mHiC9Q06ei2o9Z
tR/9ZQbB6xagIajkfpzQ5Thrp6byGHDlNtww6TqOHhkUA1it443EuyZitYQ3Oxvfmz49aADGLKy1
2CXkgslC8CNYwif9Toduw5HI9lzhVKKUybv2pCXyscPXq+uX0jHI5SJWgDW09D/B/2ReJ/KtEA4y
2LpW8r7JugXsUU5+gJ/BIumyJWifkpMy4qT0sZ8n5ZeSV8+kW1lwGCaKbvZc3cYMNLjrrOGsjBa+
3crM6bUQfO+mjnQkXWjfjfSchH8W3t85s8XZmU2xD8xuH4RIefwXIpxFbw4Pq6qetQFBTnoBhIv6
5OjHRGvoL1NHHjB1T/bSj1CWmId2u7L7i6FuNaCyBBIYS/VUDiolxV4RLOrQ2vqN2BpRsvUVdRMx
10MprGPOLYp+rRbxWpir1rKWjf3KqmqrOCsVZi4or1h5ykQeBATActp0x1IEh9juT2G44fbwg59G
2tJ9o/BV2gZ9ZuvKGPkk+ihG6PydC6SiUJYWDYtcRKHljB6G8QpunC4PwWcan3SHbTZFuLIwwRzo
TrBnlob9BGhg/jehKGw6FlHOdGK8FGivsdIIbmSeG9cIJhhHqVh5MgqB5FBkS0c7S/yzC9CvGoe2
A9INQrrRvRyT8aZNRgf9pRxhUs5Dz68+i9TYTMGH7KfEKCZA/RIfJ9mxx1QgYczIzR3+F0I1Mw5N
5GoyEMnBOE7RWYVUY2uYBTVrERcs9g3bC7XSC/ybHNGJrArOa136ifXPwVZcK8V+GfwwDbUk65RI
EI663w49oeqZ+nfH9DyVr+xzs/xZQYZR4OmGbPKQL9mTAdyHpLfqPRlUd8bqKNAnlT8VxCqqzyUa
9BlXkLYlR8c5YRrkZ8Q7oghrlnVzUM9dPLiVHXqihoz0hCDNCPgtCb4Mgr5jC2BXXx39RDmOTI6H
GDPRKRd4beWLPW6AjnkDqc6iIgQzsvbKkmTJVHmkRvrQQmwdjbiO0jPATJibb1JBUAGQa5ZzJJjq
fxKssbyqVxl+4eFi8sNY2SjkgWBUEvlY7AIJm7Cyd5mtmTH8YhglO+tDQjRFpDFSzQyWGR581Dga
DAANi2tZZ8C7WcXZj6T+rBoSxaAh9YR1sLPPgWXF7UkOBYWJs7X86Yf6nEwN0EkalqhHT3k5EnX/
p48FvUG+U7TgKdO12ER/++oP1eWsSYJFZffbAAOiEb/r4U/ssDYo/WfXHdkcrNnwFwFQB23Ym/nG
YYZNZczSrmU+8RQMKyZU9wkiFYUNq+w6WOFFP0K1oAG9i2YPI93XLuwhM3ZMHS2QxIE6wrAhLdpV
dKLE8BaqdnHQomKVIP7xB2SPEoSw4JgzJknZAmlDSZOzVHKXdSFn/kohLUQjY2SYuT0NMc7qOSqc
A8HdGB7EJgJMbHLBJiRiUQzNXCfaLNggdIS/NvS8kNjyrkqZd3B0yH/UNCujc5a2/u0jjsYj2CKw
bsFHiGw/aMccv4DEQ9rI/5B/c20tYJAlKq6bgFLnzYhDT0N6XbPTn4Xflkk2oJ8TuAnt8K8DHp22
OvQO2ctRYat24CpwRYisohRM0GZDdyWzm0Dkz0EacSyRNYU/r8SfZ/EKmZDVG2rq1OCytbcZTNM5
gbY4tCW4/cne17K9J6B07yj23ta1PbS5XtjHxLe29fAl+fCE0Za9TKa1D4W+BplFUMDdNbBngjuL
sfOFPwLTozTioAUYRdhUiug8IYU2v3R0k8NM1ba+fDWAiaZfrKG86YnFRHQBUnrSTlNdnUPUPBdU
aaw6dmyGJqCvcwqmSYwqUiz2184qsyPCU1ejuDYO8ekDadwzzg361RTSMVoNN9WR1m81m534pEqf
PTIO155As3KoHoDMNvCnFz778AYGTICAvsQnXCAj6+YvKLsZ9csM08kcfelYdzgLIRMXMCY94Q7z
pzzllznza0AwomMouyLR3oEQlLWIYqu+SYgfRhXJPKNK4A9aAiWTi6D8DR4Kor4BgflUI5AdN4HN
i5rUW4PE1ZbE1chPtkaPxRUvWzIRgD1qm+SXMe6ZCEcvbF4aBH0RDAdy2/b6lO5MW/davdrG1kl8
6lHrtUXGR+fs7IGQsTVrQvU3D+lWimEj/bUEqHXYmMZko0L9jf8RN7ODcI7X+xQX1dkP6kv4ZQbr
tDOPAXBOljKUiPGXJPMDGnhnZErZCT/lmSi9uzHV97zJ792o32wzAi4V3oB9kSyAVoaBfprFZzk4
pSm5ctmm+DVzmfo52zZMbLEY04B+T9OXUiMJ95kwB26XGy6BhF4+jDvmfespAloD9EkN7EOyATLw
LJkoMxvrU0KVMsZYQDhbKdxzig3XvD9aRG/UUGSKnI3p1O5ClG9pf43KXbCyafhr56UMO6JsXjCp
IjRZzD9LLHwpdE5fIdWBBCvfa7CXGM05j1fC/2eLX6PHWDI8AoOlgdrcOsbldgmHgVPG6D4S/hgV
E74g1bAMbg4HnaWdeh3TJsWrCblU58ue5INBytndT94HlFIt+rdHOyuBGfVk3b/UElfj19AQqh/k
5uSPtAuUm8yKOEQAtLzJuMArmJG1wyYfpyWUGt0iFwaeNP2beUWyzoRlaina8KOTpk7Wp/Zo0ZVy
xjQ97lW5AMt7dQp506GWAlEVxPhh/vjc87lFq/eoNGoLohlizYwbaUzhSfnlZaQeonybveuCRSxx
Plrnqs5+FeOkavFPdX+C36fJ9jmKJ5F6la67tYy5caIMrxmBhouA/knv/op6ALU0sOpXd014xhfF
nmDVMZTSrMyVMLbLxRvSwU0OPKb+NQf5NoVXbezOdmIcW6yjgiSw4Cf038OAjfhXln75TJrwnRA4
sWfCcCy0dcXF3bb4rcLsMCjNss1MPobkZLJcApuErN/JZPpWEzIBWY54bNvo0fZHLH/bcGLVIfyr
9JFZ2BrlZOX+S0sZr5juxdGv0z/SZ9fcx2p6lkh9DRE/fSrmHCdDzFvKgrk9poyuDm2E+tqyiUJa
9f1LNZjVzOLa1LWkXy0RbiyOGqu1zrrys2iQIY7dKo9/NLrnlN0JpDRbyXD2BTd/6N0+wgFkSRcf
+nKxC6UcVDjB8YS7WhSuqhvpeIaprjT7lWPBp5rDVkQn9mYUNRHut4rCNpZ+sypcXrWPcQAdZKGu
EGsh/Raid7WPVgMkgdtwNgFgpJQITl1N1Jj++pouYyAWVctbOoFXAWIhAcwMnz25txVrgu6jjE8y
yleNdhsn/fxMN8xEKlWlysGKuGFO0e+c4d2c2oW5LtV7DZCjwe7FaG98F815qSf4PFDrOSvsWlgU
AUht/e7Fy4FsK1xX+rFKgOHnuxhFe+zMJKvPPOvOhT+d0eecA0s7N+bN7tjASz5FV0Zlm0v3Dgk/
oxu40QEOnkj61ACWcv4zw+f8XqmtNstA1mBdwMWsC2WlknxSsV8uMaj04B7yZqXrbz2yA7tnytp4
aluAHlk1luTGWBHS9FiDHWW1gNohOocz+YB/nm6Thy6RQ079jy5VpbszSQcmmxw+ekUIsVpOrDZ+
p7DybJ5GecSDQQMrPxwjfYqieoYw8vSHGeLURvqKjVIAFTHU/gg4g4SrAeF/EP+kSGJzTXvKlv+w
k2+LOFUlBMTOo0njXt0jpBAuApK5KRsAP5FEo2LNmjED3Oql8dnJMxc0WiJnXTuqdhQRHWMWETwJ
8XbbxKtMty62r10lsLwSAxzcwsd0qolKrdlyF8z10Sg40aZOHIwAw25We0Zpvg8SnF7PhKHxYIys
xVtI/whs9OgaB8eif7O4PrPCdq3hkw01oR1mPG7bhsMVSovEGpLlAhZ3ObjPMn7s9ru6Cej3EBmm
13iFlN2ho5KZuY9+fuTzMduz3eq7PmbKDUil3dTK0m7NU1KJUwuhFm4UhfE8psoxVc/eFbPEzXO3
P3TqnYzEChktCsTPpRU/DOta+M3WR4eKI0rC/qpp2NM5HgHOc8zxBhGXoKABYb2IfB0OF/p2Rd1p
twxM0MxxaolKvBEBbGqnODLJLX2gmxdpuwaJtKkIUQIYgpqEGIR5E4gwaT+J39GkxQmc40C+75h9
MXFbOM7eRDL/V8pARZkv/j/e2WFDGNEjOKRryxz+Frk0Bj8iZSVgJXfqSWbnB3G/BAj7H5bOa7lx
7dqiX4Qq5PBKAgQIEowSFV5Q3eoj5Jzx9XfAdavcZR/b3S1RJPbac805ZqPvx+2ZzyOrRfBQovKI
zMNyvnNrac+CFlPb5InM1G0TQZHlMVOUdtlpz57VuxlSikroCjMVnSDp1PPjMI8aGtgI/qvihClF
+aTxUC/AD4toAA33hRYAqtgHMza+ND70ICcG3fRmbrYwyKEiUZRQ24LIRe27naOzwQC3IFzmG4G2
aEFGFHYjUHNUU7yc7pcrmvtAt3InS28zJUd1zLKxtx5KLu1HkuQpLw3VzxVELFnEeMKzTw2DERrH
QplOVNI2uPCQZHG5IWQn6V8GEEytggIF+weOxoKtX47XY7MwkGDE6S4af0PEeD5a3CATLwb4mm2v
M3AR+t1LSGcxoGWdZ1bIoiz/2K46yCB1o2OW2S+GdrS44Cqy6qkFveZsiUni42LVbA08FSwXc45P
Ml8MmTkc6yxxFPhp2C31rxgHUmOyD+NwSa0bl8GBoQ5CUiZq5Dg7T4rfCv63jt/dzqz5CRPr+vsU
/dCPk1qVI/ThQSYNGa2tJ6M0FnQcJIh1NYFdIiYwfnCIUMhDxgxvg9g3B7OnU4hlrqGIx1yyjrGc
+pRO+OVOLYRj8maQspyhBWRbMwbjs0bcCTHEICTaUbyriKNHJ24OQVCn+ZaTAjyGTQ3RluGwJBIj
/5/h0PkqQk6ZBuss0/mqmrTY0EEWVqdaEu1kKR/zKO/BeAh9gZUEsNNcOdKKNCUvJ6kiOe3nWG/H
JrF7EeYGtMGCtPE4Ve6cUtNQ41DGQ/sH25HIbhodsjBCsGsoUeovsyargYIEZHWagJ+IWHvTTiFe
ufk4Spc0j5sJLPgoe1gJkAjWRVthk9AqYmBuDpOETd17PSfOgno/e4Ule8QQPdEkc0ZOHuIrcJzm
s1fEGznrtt7jwN2tvDicjDzlb0KV2EKSB/LaXMKsu45JfWuaO+vW12DrfJGgOQD/MdXsG5jXePfh
oIBoY2++OXs7nL0GVsc2lzneJSTMCCgGsBcaVcAXHcqppzci01Uq5OZDBhl9rHg+T5JT0HdqYXDH
3yBpNCyTuBkhm4M+E0Gf0ZfnqeAAZqpQEs6KcPJ1DmJSwf3KDbqRyI0KvyHyMAuFkPeuOAw0/mY2
/JMMiUzYKAoqcDS4MRty2ICVgNLNzmQ5MKD1NNYXZkQiq32Y7eCtogWgWmLqwSUXtS7f+BadBwQj
VQEDMoZM6WLRn8RqnjWYvA/H9NEKujdxJrfVqcM6kTBG94mnzjHuhm8FExnVEy79c51ElJF7488o
4JIDCtAI+SHBXCCS92RAha74QPo0ypMcd295EhEDagnrX0tLuupW8U7W5IYekhXCs8jiJ3ii1op8
JceHbJ66gVTp0HsaAI0Ebi+1qgcNzHxFFus6Aq6uE+LIxuiKMAuKInqKK2bRpyYqT10wDyZBcAHf
Li+T/qxHO3dimRyWqrDmpmiD5thEbfxSVH0Zqkiorg662qmvcAaWL0GTXr0qvUxleHXLTz5/94v5
JFXcRE7UGtfRmO5RV11jCUFm5kz6IHIxmxRhPbmGztCPQclBU1eqLghl+An6D2DNO6XgaM/6My1o
TtMDuf+U1X/9xAhKyo0MXzfOrqEulMqyJZB7BCa2IRhFxvk9IakvELAy09hLZusgV9QwEaZof1S8
Ff100IeO31OxMacNB226XmG7NDh6KxrqSVqUwTCbe9WgtqYJ/ZKYydghFCf0Z8LpbTRHXlgcZXzW
m7Mq6gclT+G39YgYT20AcSaqBEWSc1vU5z7+T8helYSjZfJi7blmyrGq7Z5kPyPuZKCNRKxpm8tE
UUEP174BmTjrFwHZXlDlC03kzY76BbJwoQH/ZVzdNXPEAZZTdl1IAQ9EftQp9kHi1jq7S0iePDok
TeLci8+1eVFByubFP4H5bOWNz6w5UNdLAURGdtHUyruSJzf5xuhmCsc2u/dKzeBMOKF8ZAgXNapc
me3lAcTb1D1jqXlsx8FDQ5eH/48frmVxA9SGeFiOtE5tF0MIIu64tWqFgB11LyEwZQjw9tNtV91q
wgWflo5+2lPQJ8+fYmvueGTQmJ7R5CpfNYLzpsxl+1JDYAG91aiJH/E1oYPrwFU6dg11RSqPy6cc
v4aUDembZNR3rb9l7A7ThTa5bDrlDPtq/Bp5JCyETkCnQI/Zj0qyj4lvrMMrbfH7tKchREQZjtTV
hltDr4X/z3R7jU/5RPJBPGXKx8jcDDmowhTVUiAUmv+t9XKEdSFL/0iJCdpCQpIYHvdPI74qc28n
aMcNTS0dz9u1ZakAMm4VYD0imTd0ZdA1Z4bVPk0+QE/rlnqERSrUpl13xBC7M2BghSlljcJzmcHc
wGzNgmb7QC3mcs9x1so9/s/VaxflkmfDtTXxs5Biyet/GY+hlBNTN596l74RuI7h6zVkcgjAxsqC
RQSWM09i02sUkoSA1o36EbfoTrs0mvw+7HzDKPzesI6FAuIHSqhRvo2N+JxfBX1Bq4O+uudliNpL
Ys7ETLQz85sPs6GXTb9acKkOjrWYBynk0Q4wonKyomGBkXokzxagKbTFi6nJMCztuwn25RwB/ViB
d5bnLpWoh4kx6MczJdhEJvTVVuZ9G8rneoXH+uwXye/rnMs13irqK0qy6tNvz5pRXdLTzGqW+gOv
4ndS6rDPVmyEY3JTSY+FwC066aSZ+bkUxjPzIFzsOnqmMSykPqJphutrLLxZAISew1z6OWTdCamB
GIme0clDz5BOX0sEQDN2qjTca2A6SvGZ6f1T0FChl5m7MGJLCrKvvBdzeROb+Fo3SkDczLAAe2MP
9sLioW8FWbg2eUMLxld7ipIfIftMlpxB1COpd0iXx8j+iiQ1a5CGffXGAzX7rxAQbvO/eh4T/Bbd
PKdVdXVGfrVeAi5TqXpWudTxW5v4h5ofrFc7gmqpimk1AuWW3o3oq2NPMsjVIafRdzSYitvOixrA
NulAaJiNZCztOGkrnj2dsFvosq7MjKgBYcfIWZhAqYpj0I56Wl0VCVQAdvUPq8NH110iQtr4CVVh
8LJ9TApOG2Pee/FOvmXo2tvnEQT8jhcPy3pnzhi8hGON6mJN52wfwoVbkhMggEvfUkrB558/0Jx8
hTlAYKcVIq1H7DgYZmdGBaK1uEe8VpZoI4rxIQ18dn3d+i9tKOuqDgaXwUyVnRxXDFPoWpa+SaOT
Hr10lmYi2JKso3Yh6pGYJLwBNgL0mj4pYd0bgTzrTlNbBwXkR9zqbsx0Bw6uGdIALuneWhuntqqL
1BoXwUiuZtNdK5lkk3lup+ZKVTs+73e4h6ehwhYdljjd4qcgYrH44K16UBJ552S9RR/kcsKQ4krU
xvXUxlmqBf4ct2J96DGerwaGg+4tWac3vLfgnLdoBi9gyDWj+GwsN4yFJ1axD7ZlnjwLeGzrl9BG
74NSPy/TotwlInGMQ4nphARHMnpE1fg8jSclWP5JXeUQunG0QIEzFR0AAvEfxuUE7bzjUcB6nQNz
8UxgpNM52feUPbDRqrkxRKFnZf+tAtlc9l/bDotSHi0pjuQ8ZIWczpUWNjmim0WsAmoYWMCdlJZ6
KXh6+ayR+N0XYQA+79AVlS+C/CKoGc3tWVUwJ70Z+NyjRfSJCjcafv82v8xdfvki1h/W4anPQIDm
h5hODeYaxXA3QPBI3HGjYjb6X0hD4hXzlTF9a99wUcH/bpcBCywCBXm7aauejon46seOfVon635n
visQdFLmsGcRmxC4KGvoZfyVT2Q7Hxq6WgvXOvyY2Ak0/++k12eqo1MCpTAGmiTcx82rUl49HF1s
BAn4uMbaHCyXpjvOqvE2ps2bprZPmaLDpAgxEKf3jK411SJa3YNT6V+zgbUQFXyVtlDnWeiqy5aq
65vpNlcy4EovlJIHxkNqSd2m5BsvDLfRLRe/mRqXx0nDqMP9dROXM2p+fFVZ/ZFsSidjlvKE8CH8
o0K1etBVdU+QyWiQBedHAzIwSP7RLGlDAuEB7lWAE8FuyajqK7deZTMIq4H66Kv3IaWaF5YOLRQa
/MHGLzASR/gGm47LBynzZERZR+cks6m/nwoB6965juFMNPp1oVLQ6LEYkwyqqLTWiEG357A/VHKB
bP8vXO8pQlhT6EHKQqRr/hrCXeIaT43WPt+u89VHTc1oSFqGIBy6AIZhsjKmiEq6U1Vq6KEoIwjt
S0sMLDW6brMGm4LU+jNI7Eb+1kZMMNTOBuEds7Z3shaZUXQXM5dQ04g+RrQItvGCiwlb1kGiEgC6
vzIfJrxNJnY5Rca0/j3SYzVS1F6Lv0BVfDH/r2Yf0zjNYscG1HzQRqzkJNpLZhon6NimByb+FoYP
HG/L8JqV5RIDNiZWqtTQVnLfkGButIHSqbBLE+oFikMqfOs1Rl7cLVZU7qyJtcw+nwVHvKS1Fsz8
X2GZdWSx+ILV7FduHw13uqkzwOpypVU+x8amkzRv7Zg/Ej0gtRO590JuFLXWuQLfA6UTEPl6uiXc
kUrQVOfUJjbLv9XTR5M+dfaGkXYK/5vxjEkNBFKcLHiITOi2dawdjQ2xnfBk14d7OZoPjY8ipxPK
ARz7DxJqbBkQUPVuV3BmgZWxc6LBxJu4kDuDqG5enZ3EY0MBW0DSmuXyWJW7id7eDe+ykv4AmDQY
+KrifclpkLgLZxRkxJ0BHLSHUK4BnikPhtQR4z2qxtfI0WLkaANjJBGYWCIG8Rq7c7xe+irGtooB
1TBX6EaoHCA0Bp6oGIYKsYrceRiw0R5iqxWOgxS9DMv6rivpXRCFaM/Wj5HfXLiuatojsYo3Fltd
H4ydFSxdcfGUcbyIAlDPkDV4OV8yEw/bLSVvZGHelKAg8misgL936SltVV87VuNvGrb3OpSPMm44
jcgEH4R1kS+ETQJ8PedSy06MIMdxy6R8Ssnf6Dcy0X2NZ2Uw1BDLVL+zj7LkR9iTrt5MIbCs4upN
xXtcO/c+apyJHbZF3tg4s3dDsYCB2F86PhlN/1tPyTEDqDcmOIZpEssLr6Bfgm0dW42c1TVJejHG
b4ZolOqWPQPWlPLHfE2amcO15YCZdnU9HwrKcgreektuz9eZY2Fsmx371nHaHNfQ2utdhJ9LYie9
MginbGTzKDuBT9i10rMTUnuge0gKv0c4yDkLzoitaSKp0KcJrSo/JdlvA+7dKGT+wOO8owZk5M05
XyuOH/4+0U1pBUlMH1bJKlgnzMETwxfD+S4tvlhwsKkqN7Q353/0C15HgZ3WKL6unkwIe2Jj2gKF
yJ3YOfjCmMIhlUGsoIoULZ5yKf5eW3+3knlfl6LfKw8F8MAfIqZUsEhOwktrUmQEAYASDZlSBDq9
ACxgCVEHtvd/NYXQDC4lHmSjzl5XdGY0PguY+4RlVUnOcAfoBtmHOsI7Bz+eMt7ZDX/swleHP+ek
AQ6uFrZUQ22PrITziW1kvQbF8q3f80Z9yKnyRjrnvcuW9/JYng29uKtTjs7R7mesmB42HQSP5iSp
q82bkTpB/FLoyhKLPhmZcXC7VzjZYUQRM4esMJ9aK1iBS1IrbhRf5XKxWkSDlfhLe/istdEpaF2q
8uiQVaBSoATCkTm0TDYrR7FMCLAhkVtGLBdDDCGzRwhnU1u8xPhctxcibo/90rLyuUTJFXCbX6OO
YrJFl6PVs39XsX02/R+Z91ZffNWSjS9eIl4Vs9pvI4uz9ZxTqgpr9qKoj5qjPAegtuThjjn8kpbv
YZVchFmAlTE4IXJpi32wVh4ybzXd/Jimb/bDqIYL8zPrAZ6yfOauKnuYnCUNjbyuHKMs6XZIIn9q
/+YS3qiif5dy0yu68xSpnrGUx+ZX5CmsGQAm96b5seD/qYFDY44BiYvbKHdLBk7LuIrUxU39O/aQ
7aFnK1wj5O+5wSaNFMvvSIXkLSz+WRgCVkU4NOAoppScB2ageTkwMqBng3VBqKceejRGRzbYKqJf
1qh0Cf50gwCmQaAx0z/XTPDE5sfKI+aY78Eov0zYwgv2ELHCMFIg+xyjEforNRJEeGX9yywKu6JK
bsVu0owIMu8pemrJr5SvLat+Qj5PJd3WK/FWi6ZJ6CdfFVSpjCeNxt0k3vwKf/X0rmHU4ZadmVjq
mOZH/TxC+TRxqmBnRZeKbCP/o4Q/unaP5eUyci40UXKT/qXGmOxMIg48NdpB+toGJZywBl6mxM3w
T0iYy2faqeKlpxrLTQXwFWScqrcxfxSEDuCELOj1qugkfG4XelQSrhstOzw0wT5+5fGrQ1S3iI+U
zafOMDsAqS7xE4ewvUvW2BYxDiDXDkORkP6lyYMDAm4JUmeHFh7Of2v1JkDCAEZlDEfdwA3/kP51
m2tODe2Wc0xCiWQXfkqMtx6XZpbuV6qHlypx0q1lhLukPAB3eG9H7hJ4NyssKaI7xdop702eA+ml
+jVaJ+Wpryx4uTy55UNsPq1FDTJ+UhxTpIdeSds+MS2+1YxH9eBjCPcbwrLqAmQjO3X93yjzIr3Y
UxzK25vLAEnBFUQ7VyLWjmCqKCrcEqFolSvztIg6LqdenjJmDo034SQzi96rx53UVP4UbiVPPvYg
TxpDbL3sIA0EYtNw1VZyJp1Ki9wXQFmWCl8gv9Z4ZIgo3TZl4PUaTuwagcUqclbbmTtUOgsfOzZf
df8lcGfknJcTwuf8/PDKceoJI84U1SuboyU9qXHw8DPEN6Dth47l2ci1DoV3OxVwJTZ/Eyr25pY/
P8RUthTu+lVT19zga2XIWlrpmO4bhnqz3bHaT4H3IT6mTAIW2k9JxYMWd85AwTeSBbXoAs7x6bNA
mGlxPHXqJ2cMDK39yGkVqYeIcvdC/Zw4WkCX6u9LFaIK2l1sHhaOnYYm3JZFvQPrd1dj5qkBlbaS
rSgPvZ/OwxpgXEAHSNyST0LG9bTnIGUi4NNB1F5eDxI9JpIMyRTwX0G2l/52bces53wK6k/VW9fM
Em/VK5HciMBEOX8Qwj8smboX2U5oIwiUuCBEcAVmoFP2RMUzZTbvqeEt0j1orT81wemwkTxZsbw4
So4tUeKUlqXFYKYKr9ZMqtgeIz784PYyTQlyowzKdD3XVnhqoMBt1kwu/4rg9ulfBXN9mAQtQaTs
TSZ2FSnLEV7Vfp47oonDa8qaF+1g7+gnebjeUJaz+RKxx4wYeix+QAJccUVFM0fpoaia14EuAd0p
yBOlyY8RNpQJJAcLzD62Xw1nXI4ZUTdUm8LOtxfqpQZ5PeaHeYIRkBLCkQbHfJcolIAHxI+caoaF
aR62xMHiXr8o4y4/k5tQ5GC1gqlciOTgXbC5N2Frgm2r1IEwZMFQCrjg5HPadefesujbodz2ZAzU
lnYQILCVYM5p5+SoGS8hOU3oFNa/uGiPMrs2Bt1hZITIVgjJTMShW2W/g9x604HHq/6skl37m/DB
zI79b4VQtyLUWfLiFgh1OcNpU8KHCxWXtYY7nBHsZj7qSgNYcBRPZd+dRp3VqOpGbKntCEPq0Zh6
28TyyV60ZwLweByv7C3pReCYA1zgJFSq17QacY7lePJMLuT8+RwYfclosvs4bzNR/Gil8JGm4nOf
5vHbMtMgitm234Xj5EQxgLDYK6i2jojRUsuB2InsPcHNgaagk4HIuW7KTDKETXE68zOLDzIdCi0B
iAx3OIQEu4yEc14ax4Zr3UBPX+/txOPYgH1AeFgffEs55puULKlqa87MM3OWRq/hfv/ZEQ0rFfP2
Qfd3efowcM9aPCKvOa8tDXVNdeUmht0PRpAhulWPEVfCuSA6ZAEmuTsojYL2HxIoLUjS0S8cIuyx
ZNPHmSNhv2BSZEVYn7cGvDGkrbMULiqYlUpoLircxTGug4sCg4Km7AY9RTyYRFPFlZ7zrTwmpq9K
AbGrq7bM/qzxRlcvNK/SGFtX5M5OP6Xjeq6A7lVjdFLkA058wj+EiX3ep34FqLsEQFlXi78C6Z52
Vpj7eXCvY0QZMyF9rB11qTt6hip4PB1ookmol5d2Evcu8RGx/M4ayhI4tof9S03rwwo1HMXKjn6L
5q8VKrvoVw1a0lnyNwM1/HRlR4osd1YuVjCvxzJ0+x9Gv11oVbeFx8w87D6nfUEQxKD7uviPy4en
FET+BAwsjHi1tro69CNl91np5LKdGKG6Tmw44fclN3Ad7ArA+ulI7BaurUXfIXsf0Q/C8pT92VYh
oTPPRD1tIwZmItTAfqxb0es7nKzOuuytgPkYCqRKGS7ZWB57x5RWPPVHUrT9jnd7SJiM62ipL/6g
ZEeYbfL0xIV5F7T+0TvnKG/frXR5FVTksHyCJ0ReG4w4t1jK+tBEXGxpbv8qu+mQYoCc+YXRHEYn
Kl2oHcoCzVbo6CTm5RwQy/7RqOGuf4gsug3FqyLhz1RPDhhAnZrk/6rwzzurCQ/dVRJi5rHJk1IY
iHMLTkAHsBBz/6Djat9AVuWMcNjZ6hp5SHj8qgoajF+G8oSZaMtdxEm8W2L4ln2KYC77Df6jBd2l
ratjGsvbMbqgLwu60+HTp737sLjpXmTxIHHVzikkE/4XxmPHhxCAwz4yj2MH5vypuqXOieqI9y3O
AQEclUxnHm4Y7FsW8kBWftTiv2JHXBvxN2S0NUb2desxBcCVrYtbQySrsDOTgE7g5+opVvrLZ7Ri
uWTfi58kFs8xPV1D6WK390MT7vQQwnfRzlQ/4bbIz6ttieUpGTTfaEWHjuXiAxv0MVJSrsW9J4wa
hZz09uKlULE50MJZBrKF9UYha76SWBL53vsdBFU3plW7uHd8ZbxjWClUs7kb69bBYhOktMLGLk29
bhanHI8bmTR1+aLdvhYOW8c1HFNyAR5L60YmYb+TMRuthyaiqNVR2/HUpSkNVJEvt7wT0sDCTkvs
cteJmlO3ZkArQqB9BpreQhQZYNvs2iW2VR+9oeattJsL4YOJnfd66H5LqnqoMIR3fcj99WZ587Vj
HBUJ8vTcp40tblnNLnfcidl/yMxDW5akQN4ofbYXv/klb+2ANb9yJcjP8n1Ypeuq8r0vu9EYzpEa
B+kyB3rmJ9BADItKyPhisL1nMIfrf19BnJc1Eg6/VBMb4rAiq3bHMcqPRWh5xWMhwK0c2MfadVJg
6U5pDRiPzahSzhqI7FXidLp3fFpl0+KGVd3id+iwDS6hB4krJlpKvsyIdt6EJa18ENX60CJfySgH
upbx6DR9MmNk3Ugr7NsfTfurf+ttcigMTqZgU8wqIlBxsOx5QPmTL0BB1/CJfMss/wRezyqqb8az
t9UJZ9OxiISL6NvDlLBSBHoNEiU4dXF9tCryFnP5WOv62aXxGyF7g7eL9DnaVlGd12Hft7b2Q3Aj
g6fYbzhdTMT8S+2ffOCf0mEq63dDmd6SdHoWVv7QopOWkMEltjHHS5Co2kmxB6li/EicAbin1AoE
wrMr3cw3OuwIJkWPqdC5MT4xasHOmGL1Fmf7yAGYQEmGaiXeJrW0NQBNKLjY8sbWVXRnHO41cK+c
mqVE/YTzRC5KsOMzJxuf1JojveRIT/mksveDINA4svrJh3zbUEyAv1kwfApWH7RYx0doWlqxT8RA
oACEh9PF2BJNQ0trRHgp9xM7UetWE2CGHCUWxU0Ip2uBXXkJbYFVmAJZLcrh8epQd0XRHWMSUhvn
klXxslEmnAHpWN9Kg2JqCWKbURowP1CfWDt0VCoXp9Gg2M7axSSvF9aD/Y84s79h5UpPcNyx/Ny3
1DsbPKwyCOi8lWLg7Xpxaan2yQI9Uvda1R/F8qJLGs5M/OeoZmJ2bCbrWCFSbJX1R7lu9n1iHU1T
eWdhv0eIKqrsuHg1PM+EqpRqNR5DOOCJ27NoD2s2gBIeVD6LMdVNm2geVn44HIxjTwKvZrlMl0vU
fPSKcCs+IpbQRX/jOgFRH2nvi2m1hxnKfjrPDSeZMUejuuGKVkbYYPrXQGajQeCSg2guEeD+xMyr
Q3cruUPhY6mQ36YFKZhhmKr4k9yeBJZ9enfpNZ7h2yq4DbgX1dEChwJtmM2tdhs8nIDk80AT9OFM
T48Tk7xp6VaeaJJztUy9d7pvYaRFG2tDdGy+abTMh4KGmffBHTUp1qJLAnG4GTFGT1Diir0qkuvC
KTHppD/l6qrsvygvGAVI7kvyXg7iszLTR5zNdqoS7e7FS1jKZy1cAkh9be2Y5JdqkipUQdZ0027x
O/zL/n8KpxWC0LHF3lOywCrT05rHbF5o0uO9vabdTkQxhUNuqJ+101hAMI67BmGWUq3QEWvtIiP6
DFwZXy1gke6evlAJNuqs5g5Ls49nngnBLm57KJsF3ckkf8YUJ8MarAAxvqhnmJ9V9bUsB4PJVrgz
JneBKc4M+Tju5Tlg4T2YvZNYE84U2hzpUf+j3S2tfuP4GSbwvPq+nTCz4qtCO5PvErZxyVjPcbkG
lUxV3QveqUIxV4uNDqdgrU4sGoCANAnutMqJX/y593gJHx+UZEnObuY6ZDkdqicgaaUjjMCDXllt
8rsRSB8DPNaMMp+8LeQkmpMIyiMF5THGIJFSLnp+m9f8t25ivAtpdNCmlrMfhDbFy0sC6BJNQ4Nd
lcOfui2HdrJBJMh9f7Q4G0LOBlGhpySDEbWklyKK6LXSg8z6q002lw1MTmcJGhAOHNMc3ObcqDQO
DY+N760JJ6Poz7mpn5Ua37Hw0aPyZT3uSuED5oQfP2KCRDd3YNFBKPAst45CYhcw+wx+UBcRCu2q
x2WLoaqQQVMIPDso/OocU6bF8/rBTuW5gOqXheLGAvhdG3p3+Ok+WT6OyulMlGNNTAxdZG3u4IN5
DvZkjRKegz3t78lySI7E6+pocpU7XcMq76KZsauefeLN5a+EFMIz+94B3Ew1netDiIcrvkjok6h+
EVmbUJmfBUaBcj2uPjtEKNsu+CVPpYJDZsaEuJ6dRVRHiQt2SsXDD0zrQ/rCz0hBpTfvQZXFsnTd
4dsW6D1brnFBQRjkrZmZVEQgzWlaGGgpq5r1CH7yjQAeaJjyD8c0Hqnf2bfEhYY+6ubK/hwSg5ly
XPzXahSuapq8OGa6riQctjgStdvAdOZM889CeAMOcprBnibjzmRkx/5Bq+l/ONTp+Gl85QG5+iS1
vV9PHSyexZtoSVn2momktxePSdT6hiKddEM4r1nO1gSdZzWfH3M4v58x22nafqOhUO54HU+T3j3m
XL+HmnFrSHGUR4FYensSab96tF5GZVeQBKqi3NaZYIJ4ElXtrFO6WTsPtvFS+AkH1upbtH5Am6rd
+ykjQK/3h3H/Ic2RTZvKvaPZuqQmsf41eeXhk9QYN869YwUfK/Y0QCUHltY0ypKhAK9RaW+qrr5b
hGWbkh02JKEjy4RkvEuTaWdq64jgsfq0vl8sV9lGfeVNEMdTdlvYPeLkKeoLvJIAHyEexnqpbwls
G3NgM9TBAuxYUgv9RRWLmylSlyZx3o/Fs3VNMyckhrdXFz1ZUL0N+j91xFXb+Bg3kA5wUt6HHtl2
pOEosbwooSklH72urbwGv7OuA1T3OjF2Kcc9pZrsdNKfFpJSi2dVjh4FqKDtzUWeHUiYwjNu3V6J
1qM08lpoQFKh3l15h9OHOCGR1Gxfi54cPh0yk+UlhOPhlQlhG6hCex19BRW3RmDO+ExZJnvowSvl
KqjCoERIEtl2C3MPCAot+2fJq12iPYYWXyAGqrlyrTa+wTW9xbF0I+E2JJ7Br1EX6DedbF6RQrpN
rU2E8Klh2luLzB56+alCv1zVqzFSTUPhegaNXvN7NsklZ0QZ0kcr/YGF4AFPcYsyR+LaJaiD2Pt3
6QcsReqUtZEfA9YquTinFlOAJAe3BgmmoRdJOrfYpOceBfOrpd5+kDglWZBPlBVWByrkiqR/O3Kr
sLDU9bTbCI+aJWxe2VODjwYnMPr6Dw7qBERqT2YGFUOHQkvzVjG7vYFHkgcG59yu4GMdJQlBdwpW
1+RU7hCFbYJ2UBcAtMb7Iq98AhfsjM0nXSphF+JZs5D017tRaXe5Ne5D7GjpaOO1XajFmGCCU0h7
6cjMVKQN4Q+0Xq8cp3IgEkIHU4L1EKv24HWx5EuVYwIcS7ZCdND1Gc8ylbt7LvHguBsKcNcIc31M
ypmQGLnDZTWJv9DhJcK4V9bzJNypuQkxlyV/J7bqSjB8GRtPizU4JlgeLk7xiV+nN+jrJO7VUZLB
V7ezSp+P9byuvlYZ3B9gOMY2yKNq+Bqw4MsWFuRpj6n+FpFXF/jbS1XzGQ1Fsgqy5FKaqof6boPP
MGxtBevAejniQmpJ8v+MxSLBWHCIVmRSKYICe8cSAx/UX147YSmRVBne3Ro0aCjGmCH0QJ0ru5f8
FKGiLE8F5UghBbfybxaTPaIhvt48pxbsnPg41ASKhv61SNOHzMsOEkYX2YTyc9h825qBXGTHnGb9
EqGHZkdzbY4T2mjYBAoF0SbXpdxQjiLV0FQgJDyhlfYp1lcseQiLZFvFlQrS8IzsBTsX5U2Gz1cd
mgKmfjFtrmeD/vNalU8ZmQ6oBhUbVhyES/WOrHUIwYsaxqHAAo0RgIfPuUmVnQ4RaNmoEGDvO/r3
cgrvxfGoteEVZui+nOugWz6tyjrVNXfhbQSlQ3TYJVZs6zeTCIXgZICdKvJeUQ0OmPs72rjAx2wy
QxcZLmm0YIR3nM70rbwDdSCDAP1i20TdaVfeAXhNJafhoDYYMwy2JBqky9LM7QEKX/rd1AqhZsml
yUlTT2SbyBkPnCrFgKufkOfc/8lMnZsUhfUgy3ADJfVwKfLuipUAsabR1uuy3hKdGWc2T7zyZ/ib
8yT4BMdzRgql4imBPnftZJicMHQ/2pJAJ+/lhttDLwPrBAiM/1IaXgOeAwOwQXkIyYinmj/hR8jw
j4jyk/qTIJ4y3Ljsg3GF/h9N57UbOZYt0S8iQG9ek+nJ9Cn7QqhkaA+9//q72LjzUJgedLVUpaQ5
e0fEis4o4BXiETYwVrarcox2kB8rPGgdz7SfEVHCwo7QKY+RoVWkoFrFURE/KlsVh87bRicfelD5
u2XBVYOpolHJVBQNRmPCW2DIwTWK9lirz474cO4lYU+Q666WshcPEYpu7QvWnSzGJpp/YegFDNVO
fzeheJOHLQip8YOQW+NZqtZzzneDgHJI7xBI/w8z68E8XiEe6f8zsw/e0oaayeZB/o7jz8CYwHmt
tKWJzwCSgdQySOpOx8oVW68xn5AdfRZwH0TAwx89MAdV9GWwW5eI4NM7O95GHCw6JWQZrHuC5ajb
jsq7g+AC/ar4xAWReqe7tvzB9fIZlHge9xo5sjwzjsYuNsV6TAACrULOOU3O6MMlk7sz3cVOcnAi
V7XEy6D54dXRyBMYziHItlV94uEZsjZWoPvMgy+IdppkRi0+VPkneivlLzRCjeTgREkXQqa7uo5R
7g96ewqLFR0NzV/D9MHU5EIjMLs7XrVbKRcMmd1WZOniumLEOS+FBFEUehGGCGOmI7lBxCNyy4PT
cmFzLRu95LhEERrml04f9wI7lAUBKTJvLaPdqCGZwyJEmR/gEnxO5UAYn6QPc7ylHqrE2qj0ICt4
nxoIWRWk8oSdT2P/mrDOnB/oXqsphEZuDhdV7T7TkfpPHaoIkVWlLfYGEaku8cxGx2rTH2XGKa2l
/dqVFc0lgeugknSZuc803nnDaoCu1Dnj7rvWT8gBofaWI9Eu/ueaX6VKfolbvURAM0RAnrPxA9tx
dV5zhq2vC5JRSRruB3bBjnXIZPWUZNnTHutNnSrUonS3a/OuPnKk7w6YrtG9vFU4NAAXLWhIVZN8
qI+cnsJbmeJ5ZHujrK2XRAbCb4rTsr1tS5NiyB8uSqeG9JH8k7jZeKcoABgGSVnbI31RqOPW/NEP
sNyFgmlhR3/DNhML9uQQca/g7Tlq3ZfzGYMpEuqrwcouaE/Y4M5tZZ21VtvUMsm8Gw8J3F1vHAxn
Xiikl081VNyh6c453mrtDIyIkbVZlqEBzapSus6YbmS7g0lAdpFXzcS7wSSi0kB+hfkvbaVGQPpm
9D/1nLtV0bs1/N8ZPa1ET2uq05LggjriGVwZHbuMqVqT7lFmIm/ThrjQlgcXMgfFydo3cR7lpcwP
liOdNQB7sh6eZJPiBOzD9ECOfE4gKsIBTw6WetJ0OVlI9ptDske53r9BZ0s4LNfIHT0PZf3SgHAq
KUQYQuKrYtyXKZ/UOo42eTzdtTp9VYP+tX01svAltr6JdqD4ntM4pCpgPkUQN2to5BIE7kpYnjlC
upzro0qDIt3m+bAvtBX2+n9u6BquS2QzEK71Su3JCkRaao78Q0kOxSpiJDsihxIwHfMr7/HCgU4r
9K1SZCsXU7BxcMvPUiwGocKbJcvrZVwOgeWXrmb7sBxk3To5eXyRZ7/vL2TdQwf8oGryUBwvs0Fv
Crut1GsJpSBneRP+jQgMETxRdV5P/6xU8oCcn+qevREyXmA/ayhsRKBr1aPU+TyMPx0p5TS7leyI
JxD7S/dx+eKkpD/HBjZ0A6kN9wa3YBnD4afbWB/Y9LPvZWvUco8gUGj6Olc6Lw8zr8XSJdkURHJY
hR/GKUP3QvFex/INu2QqxycnS6/Sk56AizKHZ2M4hjTf/eqNeuPTyTCX07AmS+qxbz6FgpsrxTIb
ERF0ePt1+lFWyC47474g+jnR5Ne6YLPt+lzP5rmO4kvJXxkzqipI/sZQ5elAQohnI1acsa4tVQFZ
kLyhRr3RKRGUXi7jrQshWZsNc6mBM5aJqiNJx/W21lLxaI3mnoTyja6hKyWN1AlN8dNgN9UBxinw
esqd2MlVsZO5TzV0+1fkaLYD2L97X3N+JOvV5N5OxJfTPVVs4toYuskuI0FNuQswUfAYtckcPIHr
vXZ8wakg7OtOMfGzkPaXJYa9TEG5Gnkt2eEEd4uCm80g2G3hi4+Vl4kkeQdp7WfuN9ahEIRmuw8T
uaQaeYoCgxn0cwmGuX+VzfKWpOkVGBzMzvoEQD5MT3b5Ng/dw9L722B2l2zKTywoLflX6b35gUl1
Ap/S4Qiq2OBMKCODqze2p1Ya4IKTEa6zztg7c34A9afeBgnTG+vrEWG1BnbSITKOOh5m8M4dogE+
mqaAcy+zfstXJ5VcREMCkQyKcUNqd0yxbzhw1DOY+B6UYy/hc8Jnt5LJ9uAiJxpSLDJNkf+MA0jq
kkwUCCd6UKoSW8hGyT7KdZzxWg3SozwE7IMeNWt0dLvCeF/ovAOPkb+KQXtiK8W2GJdCvRmde4qt
Eo7FwWZp1/6pWHXGq4SKIFZyKNhEGr4RfgNjYoeQaxzQT3xDHEIWrTZt27jMHi3WQNl8Am1Ulq67
dN/00i5PCVZX73HxLTg79BWoJbchgJjUkd9BMqThS1l3hXMpCbjEZvwY+IkpowbUat83m0B19q2Z
Hhob8ouzaguVbIp5YDm/EKeo1jjD0nNwlnVsbrJY3tu9thU5gx01yN2/pmhp6aj2hJD202ZytEOi
tuQm6xW+0V5+nZz0Lc7aq56+OeaAi2JtTRn67dMAnZ07Kl5I6gwnsXeQ56Ze2U0l+AjgTGsTn5+k
dLsQwDwgTLxRFKJA1AowisT07PG/3XQYKJfrBTZKej774HMy1zrDYQUeYVnN0MqNgRP7heL8TDy6
knmlcVzNqQ7SjGPamgf1k9XSuyE1XzNR27bN4WMYtxAnLY3TwGriQXejUj9Se3BqTLoMmLc0/LN1
/5wGa1/U4lkResKjuRmac8pBwaBzGm7dWjZIdpbQVqaTsD4IykBUi4mtGmSsULOJ0QuSE7GORFZj
gEHYx76kdyqtwmzTscIknY5reDNfDMa2Eudcd1TNda386lQWdFj9GXux7nD6HDjgc0eIC7lxT2AN
7yiMpXGiCGxKZ1rWwS2YgL2qM+JhlSI1vsU3ap7K74CdBa+GQxVsprmhF2A8GZVxdtBXOXWySct8
BAYmcCAKfVA/x4Q6TfWqFzDP1Ve1rjDAKJdKPeY5YmPxJy0F7rxdjNLw0+6frOvQT+33RKNEi/5e
bIMRr5jgO+meSgJGXMGiOCrugIpdfMfFqzzeoQl6UiR784ULk5pjHgQsyjkFNoKuJeHTYgI+heEN
/EJSW0eJF52OjanNW8qEPY3bwXGOEeO6/SJ1PNLy1zJcJ4BLIyKM21gmrekpDVBFsIeLm5zDZIuG
62DkaLekIqBi4RgrgITVG8XCZa0dsoif1ExmCsIpFluduLuuXgAwNFiEwbcBvKzhuaRU4ALB0IYY
sA3MqvGfaM4DvizVbLzxOgB7mxo65Ui7Y6qawTJa8n3xpk+wHkUCWYYmK5VGzVKV9k63J2qIBXBk
wNfwa9bsJdN/nZG9WaTuUv7drGDnylK4hd3ONBZdAmucfWqaM62grqNaMYQIc68XzYMyL/aqW1nO
brP2Rg/fbm4hXOOvp55cA1lJoj2pBvAmfsBWqCJioEExu8rNH4a/obnq5k3CyQVzpuM5xvHXna8B
1twZFxaPbfPZZl/mQC82U2mbwqzIXMs56kvtPF+v614tLcWL4coqGEqMGDnJ+G9s57FK1Ih19cKi
QHpBmV93x6Y218PSTNu6wn4EfIfmD+f9JiyxyPwqWH4b+SvG4VLTypUVD+CCmfQT979kiVnobcq8
P0/jcAoXOlkrPBPJfYkBE6djKlOKiKgpuLPkKP+/mUxitiOfRnPiXmStXxXXWd8sgYNJw2Bmcbbo
T4Mxn7UQ1+JGUtoN/cQqubxCszYOO3ElY10ODfs3mSEpvS9meuR/ahh4GvnZwGhM7In+i/hsO/zd
2Iy17ZLTwvjM5HnOneF+i+mGxwaGR0tyE2SqyK6PIEPdOLc3MjueYGB/hJpLXsSEG9tLOfYiCCM/
xEUsEzEbgoTQDvpZcvCXQGqTtDVpToivFbS0fHkhGwapNd3L3+cgOsqldBylz8SXMN0NNIJnwVHC
1WsgEFhMxBStpvU2WtoR8TMwScEtGKgxp3VmLcQOmx4FxSr+UMwpJVEPlYlFntAXf8GybeAnWfny
CDYwRJm+Q7gutVCKVqHFEotkCw09+Td3pCTAuqGxEBLYyRyjuuxSWK3ff3CNWIWz0cU1d34rWqA1
hjtdpbmLJtEKbavCcB4ujm5AGIUkPifSb6VQcyrThrWCU79qGCHrlZBt7nuOejANkpaNH2JFwEyI
AbUr3xS9vllVs08BYEGqCSwW2DDIOC2v+cjx9VMhR+2hbd5CFFeZCE9NGDeu+NzZ80DK7EZ/HlYq
BYThhx1p62KeXTO9xfO9MNCMovEQ2CzkNH1vY3VVC6A6mIks0P7EOJJ/3Fk8Rsyz3OrnnKgh5OO6
osEOOVfBVB0V0lru1yrTsuDyj6oKIbTnGxv4MjE9aBRSFfE+hYUM+0AloKzCr3h29AHEIjoW+iWj
vdlK+j3w4H2faKQNtkE7HTKbLSIAi4oVNhAxTrUgDnAXmCsbd5M609OHkd2Q/ClhF8j7x0mSKx+u
Ml2xUnGBse/lCM3cRdGEc6K+qdIkj2IpHcRj+FWHd1Wd1l2ksoOUvCm49jxXHd9ZNiHYlvlT6Ojx
ePgqbMGKTGMxLZjttei2qml4qoqUwomCffNbPKheEDR+kV8D0znVfOKxc5OqA0sHv9bgKB4UpfNx
ioZgKVjWdgk1Liz/mYX7AHdn7CcUdWOpj9k3v05puzHWNiKSvOUA1WHoCUjpdJZb86JgLzdiFleI
Y7XfbYMvl81MycbXTG5hVFHCQQYp9PU76AOJh1Ss1ztZq0ER5jsBEh4TyC4H7dTA0i1UpMM5PuVg
gkrBjpfAL8tdVnbX6EwWQzUPOE5ivDtyynkU446EcWeeNcCTk48BihH5T0iX1sYx1w1bfVIfzuKO
qJUrFXoyxp6uRELfs8HcYxfLkhSeQHfAkVcpPtFgRP5qnef4VmBqJzNETDO9R1n8UGzrwZb3CT2N
jhE9nq7l2O80ixOgKK4VZCjerkK50+P9nMvqkYHGVQtaJQ50FMMowIqEXSa+kp5IYGPjUedxKe9j
TrIxANkotKoVqYpa1z8r7DBVtcEZhGsh2aVsBbBgRfySrimROzvvrzRvXXQpvXRxfXYs26OYy8or
395qs6B6s9kPxrhL22RvNSyZw4YybLwENr40R3gG329F+1aiXepcvzYUNVnmxRTT9S8OqaZoyQBo
AuQN2N0ezKErNdUml6gLNIONHYdgxj6hKG+nCOOqE3E+KHePh2znl6Rtrk0IiUPy06pyzYKk8q6u
xcPI4LvNBqtO5aHbw2OWnXvAu4c401oi+2etk515F0Z3tze3GWahPfLAbCEAfTs+/ezZTuPia4dj
ihoCS2gDS31dYCNNsJFWzEA89gXzi/HAdqTP56ZdHAyjG3x2EnoEvbiT2667TL1jWE2xSJSbsYbg
pWNKNtFNZuXQ4UYQzrB1tGbN0UKxxrdY7l7xp7+wxX9gXsOzPeJo1BguBEUBMacIOx62Ld6YESHm
1Vi1nDwp+1pN9MovhejSmpGDx5dRYgZcjT3lMRolDzzCjlY4P7TZuQuKpXKcZKFzyPR+2xajy4Hn
aoARmcQdr+WaziuP50y7GOws2GzrAU1OrQKaXl5kNMqgInbN+YOOkK3kRbK5ejU3LT8QaatdO2y/
qDUrzYoQQBvO0K9SOh3tmt6D+GKN7PUJfyv4mSu4+RH55BawacDBCNyc6nC6Zp0dxb4Sy54eZXig
vLor+fI5ScS9GKdVyYJ7+WVp4z7HT68rMWYmnbywsx15giUtN5W5XVyZGskPIhKyRvAeWnU8bYTD
2mPxTFkoB+9qUB9Ez47TnlinJRySi2MSbdpaZSQ8DD3YeTKFwaZRyRDwfGdKybtnTvRhvCqYlyxc
GTsNikIIp9UwKTGhtIbzU2oQ9jG5oOUV6UFAJWbTQfCs/TkXXjhLB/D9h8DTlRB8GHj/ojg1HFGk
DD8VZ/OsPy1Xs45pLxjoGJ4umCv5E20p8WoxBSmly0NmZ0zTjqdtl1/qwbiMpn4dc/wcA0DmGWkC
uZYA6RQZu6IU2GO5SlA00PKTqVsNRDKa0WFKmA9SFD2BM4yi/DWM6KTG3UnFFFJgChnW6pycAwqT
u6FaJ4l2GqXiNAQvA2DJPq3YKWnwuqkfdw3cBFNqoUDBWdrA4UfKtQ527xwHjSrF2PZx+dpErc2K
JguYCHDIx0i5JFN6hv0nF9U1zqhuE9WVh3w++zaAvgFBUAnReWbPrhMoCf8ajdOjIR2o1jqQiyGs
G/Mv9SwElEovkakejPGd5wbUt2o/EjPrJ/rEWegzfTBBHVNw78aDsKKfs6gfkK+Yr/vwK4zfEiJ3
A3YMnKZxLq6Bql6s6nOWGRbK9FwE3tSe+1pn3knokyVuwv0ZkLnkbRWhmcH2bDhvp2m5zQiSa+uy
6LGWLkzHzQilYKE+DkyUjCshDaoGdmOVFQIMUxZBesKsw/I8t1nuthCs3/UUEIhselbvBexAgvre
Et2uilfH+lIlYyXfRJKdNTX1S6LvDWyP6l1lOrXkV4ekIXy5Bh9lg7twhgjLcmTBLowrhRCW5hcf
qZSsBuO1kajpmfKzkYx+bzd+X6PrZRhXrUsFCklxInIr9UqF4dPk0t4ynX3dMCqSyMo/lGBGihOn
CAj8P5V2WBuFwkFmgS+1McbZHTkMG246BUenSI9E2EoUJ+MevjjtVbYRBsgASsltxhHF7L237T+W
AZa9Z4bbN9nXVcspgCE1cNUMgjxGdCBJjfpsN8aemoPDODkHTSmPJRe0tvCqcso2B/kYUcpzVQEF
OSeNnjmQY8OoQaITFG5Cp6Q0OK8Dn58hgX1aDKG8oeCmGFR7PKCyxOoy8dMatJ9C3RI6fs0ibOhS
VFUmWF5rfXG0B/WgbGTTIJAuCF+/mZIE3yraaRI7LhBESTMx2nPf0aPStJ4q4QWXJlcOHF4zb3Gs
nwwDmxnAjtRz0j1OjLNFQbVpPtIkerQ9HeDjTC+bcw1WQdaBfZqPWqocypFYBYQ4QsZkb1T6lMhJ
t8O0hQ858yZQZmef/6FHdRz/dAI0GgblCL8WVpZ8WEc1dhrosWO+NiG6guEmdaAvOVX7BGC3YVJI
xKZ3e8pPdJ0rUJTkvm8dJxuWKKD1LVZ7FvkBSge3nHfwR8jQACxSVGDk9fLYdeNxA+wt6aP3AWhS
eYtaqpcG2yuM+1DdTMxdla74Wv+lRW9tSQUUwgpWWclEGV48c8pRLoCXoC7UvJLV3yK53k0zeFb2
9MAgqUCrG4LuiD8tjb+ZJQK6Mjr1YZyHFDoKvVuT9P1fWZ0unwfsiaX9QZSEzXu7NVjqDJrKfUXw
8hIlUFUZRIQu+VRkx+Iuw+HBNYCrHHogj0Ei3TWZYqQHKM3YMDngIBkhAMyQsVeobm7ZftEFpNNv
4vrUlK+IVp9GFl8Znx2ddam1B/OdmUT5CNXOFWhLMG8TfnOO7AoT3f/MakP80oSBq9YjZqwtzfAx
3e7ovwFiUmOeWns+MxCXyq02ejTgzKXpUSz1vOX3fOPRXCv6VQ7me541K+l3SbMyijF9IBrNV27D
IfoOazRW6yO10c6RtRdLLbM8xaTrGIees5A3OduY+MimFpkWIlEwkCIJFDxetjgJ5ytDsq7IjxSs
dlNWu/mSH0HtXTa+jNgYJ9yiPpStdOyazcA7dWyhsIqAINtLPHqyXHlF9QR9UVV8wBEeg+yK1SBX
Jg7iBOAD/ZpI4a0Lk1ueb9qcLBC/2vIXyp6LKwcCHD8x+5Qhw8PRpkGkWH03YXPBDmk9Fn70mBzt
3o1jDpgp/4VYfcf9s1dBfcER11gwyrQPHSKOzqMfcLSynxPrrtpNhspvyIfTwic5tce+tMz3SdCc
0JtYIboyGw0OQGilCLohkScHmaHyyP9sLJnuB5OWBeJ2K5igVGhi5daNq8IsGZ4c2pancc/tS7rX
ZmvB6QtZMN5kTuV36dWkfKvtINdMjh+gQMjlV4ot2bGTS1KutQl+AGXgbOCK7kD7OJAf5zgap7jL
KFrrjwTXj3mnHCBEzbCYQsVzUGaEewgitnMyLkq8P6Jt9vDlySdgbkg7wh4RcL2VjvrbDt9Kew7r
zwgHkm64Vc/XxnPTxT8hKlAhMmYrcc7oBchNrJ2BcVSUTa1afi9TjNzyXv4xcAlooBm732rAEQxY
J9YedFeYBsFcrmT+iEMDizJ+BegraPALRq9SUXdZPUXyIUkc4j5ka+4WqxYrv8lSfRXJrqqhpTYX
EzQn/eNNa5yUu2VyWIPnQxZ/R3mG0lwxjybYY8trRhufpC/7Y1dqGf80gqrvAZdnr5UQdrcQMkdJ
5eB8aFTpAGIsaD46EgrF+rc0jnZ7mpCE+F78BuOcEygC8LRr+BKoE//d+1gGcsveDRyeFjyFhqrT
TRjcioMd2Qc7744t9U0C94ZFQczEsA0BU1rgRYcE1kKaXIXd3RScj0oHBCXxWfvxQvQp6ZVato0J
ARyAYRmCBQzVBixhsTKC/jE7wT2SynsulcfBYIPbXp1AXGbbPAV174eujv3YChguuqWr8WXS/+Ts
s+/E+5hli9b14ljZk4Yy6wf86ioknkVIYpNopP0DeT0aJesutOYGoLhgf3AUWH2ipKGch+Ajza7k
4EeLszJG+OHZyHiyRm3T9/lDC6s7wZ7mFM5vkclE3W7kDKvZxxycKVjcTohw4dmsFbpP4lM2tr5Q
sHzkspuHHG8H4EcGdlwwooEnE6go40dBo9bsIUAgKCZQO5hUxnJa+F+wtLglm54IP2pTGB7wjNuN
BLRnZnokJU6oRRuyHWMQB34BFx+LFw1HRb6A3N1Zz18rikdocIzvKd6RQOJ6WdKE2ElSnUUx2/o/
TFeZLa86f1Fp2t3yzLHYpGEmStV8M0xeX/71w7L8IKyjYU+lJVA3XjM9OUg6Z/9lCLYBtmaXY3Nx
po/yWLPO3aYdCPu1UM2tkSa8RYBAVKv4vRXa2W6na+1qtGrFlrI11HBH1yVmsHXdWpu9rOg7maF2
0Wbb8EFjZDcmz5zm+KJliqAomtajq4vqK8XKQVU4pTFId/myKeh3VpPv1SjYMacywh3anWpgMSQd
ncWQvZwORjBEZJ5DBjiwJIp5sUPEMOKTKvjjtZiyQAAjMhMU63eqWu80Grc6Dtv8pAk5DtYNMCDG
r5g9GlTUyD7DSTAuZfMph846lu85AU4B3TA+jRElunrPcTHxQw7sgtO8wxA3UHii4cZWNyOiKisc
IoXWeokBoBixOWQ3m+pHvdrinh0IdYGqCNlwqvIziV5IUoIpIjkMcGU79NMuJYFnYQkYef0Gnyka
S4pjE1NDiGMbE5z4czRxyyKW+uWThDXEMcXHb6+s1k71XvO+ZPWMT22ZSfGVnAiPVeR82uac6aS5
MJpq0DHraWsQvSmxdYiFhLez2toPeScL5WZSUz9+hrqMUEdu2MJ+VlBZ22za6tBSzsyRgcZNIrtR
sh6759j1K4vYt066az0OLBk72sp5WhGZ3dow3gcgXoyAWgBuHbYZ9kzGW5azbfTdpCcaVLSJydD+
G4GT2GKP+xkZLYV0M17wRJFPjmYsu5R5i1W0k4j+fs6WtZYikoO7jJ9fisHC0K664zkgaGLeAeaT
l1z5yV6YrXgMshe1YkGf6GBq1PIRFLPnyMQx8fLia4PpvWHd19HgxSYPHbqmuijga1s4dlY2KCe8
L9YXkAIlGvf1SAFxcM2IXpM/nm66TMQMDErd7tjaR34OWy4kMyFxCJFoiRAJcKR/CyIDR0dLyo6T
Khog6R/jntmE7AaCM051FZJ8a0COm7hMid3xszbWNRyN/xLvAli5Ym+TuD4Y8+jNxIIbuT9OGeFv
hdM8EnHaQjftUGUx7jH0dPadQsFEpxBQnrYd2jDmhBbIWYT1axtnzXZmpZbR+hShzCfLUnriCCDn
PFm0S8chc5yAdVMhYr0W8svEcK1kX3E+wi3PPAmohMAGi6lnsM+z8juHsORQLDISdiS3tEHzJkw3
bOqXfJvFYVHRfoIp9hIOUfX4liQvQjhu7YCMBwKm8T0QlKrhPETyuQVR0ixcVWaiKFMw0rxbBae4
W8il2nNNipWe/wzHhlwUFKhADFs5AEj71Ov8qGHWcp4VFBJiBYdCeseEAG6bfQe3Y9D95sEfSwly
ERGHh+oITfPA43ZlHHqCuLAf0zm5UPm+r6xn3z2jXZXmrnovSD031L713Nl1Nq3h/a47do8aviCt
zrAT1M0xY7Qgb8vkzNpuy1Zzp+LMrt6yrt/RsQX7jTARcECYSEr6L7L8bpo3Cfy7V5kg1xMHCQDu
YwwxfORzmVDnw3L0h4bGFxC3ZCBGPhEmvvxFGeVNhdgUQajSgJJMt6kEaAOXHktL9jVAzqL8ALk6
Tt+Jt4xk7S0j2cgq2Vq++oW7KUe6iNE2Zoij3HW9WV+JDqxAXrQGOqGbwAmU0vLSdK/qImMQcep7
aaNnG2LwuRIf+wybbh0R3kcd4im8mxm8RvsCZwH9WKGmcs4XrANXGsNX6Y6SfqgwGCnj4RU29MBU
zw3XYFgx1zKxfptYP6NO3S6w/GKfF9iX/hx59Ph7GSyYEra1WDmhZQEyaDO/V8+TWcHMjfd18cRh
b0H7/gnKR8UNX3lWcxnC9jRkuZ8gm7YfJB5d61k17THs+oPpFKsMe59OcAL0BJuuglSXExPvKhgu
DQBHQr4h6cGu4WfbhmuT5VkHRc5lP7OAhUwkMmnudoP87C22B7a2DhkFYfzAqDE2QfIoC3qG5XX6
1353tcVDNvhKgQsZ0KjL8VSa/QUJXeq9nJxKI35xTnQvpG1LcelGEKDRiyrbVziYrMuCDNJ87Ksx
x3mkZIYGx9qNzrEnzTsc0Yjydi3IHPOAG9E+eMCGMk7H6eCQ7ecU3rAf0nZxtwUETzvbDWyPgmtB
Pjd08qHTJ4xabOKIZAW7pbcRfFsCRqmQPxKGZkWHWctdpjkmIWOn+EzxTZhkuhm6s+5W8P/KbwfS
R/uTfxeZeVqQGZNC3L94aqu524ecZkFp8UC2zI0lfFXjwFNsFgQIfs3Bhm4MWWcf+ZQrE/eVZF9u
uWw5SC4GhQkSXBR2awm8huaCkdnP4HpSmTUPm5PQJFnTrEPpOiE3YOdVYUAF7Gz47QsGqgfZsYqE
vRvl36bjhAdvg4d1+MefvMaDJ+OniXHSwKTQBxRnTGtjQbAFz+ojpFDRZiVdnMoaVKodnLmWJez7
J49Ds6vDIa+V17BhTQtLJEB/QAA7CcOLcs1Vs+UbS8t2O71FPgrmvn43YgapSDrIFmkD0IlJdLf5
z7E+NDwda/sFYFCJuZ0kdbv0PB618EtwUehyzC659AKncbvkZjEfNsp0ZAG3QGnyI4kSJT9pPwWZ
ClPD7hRvonBju9zpOk19ogv9sHuFMf4W9BbN64hojTvG8Ai1gVgp9eEaf5+5AZxq3ec4dgsdzad7
14X81ipeXbBNilwllACCPh0E5EFI24CBRLKmM9pw3u9BepKBbYsX8M4GQpTSs+n4KEz0E20jibt1
4AWkTNnF6U5ZQGAk/5qLlzDeokP9p17yRAymypdodKGgA4vzHHHNDgJY3LzNaDBVajI3a9KZBX4H
WXaJMI2Ochptw0f3SKLpSED+iA2K3PKmhBI2oOfPWr/JWQPFrCpi5RkAJIuWaB1kix1J1WFhBFoP
jC0hT0rZAbMORJDgVCdnHlHcQH/nwKZH4jBLqMHcW9O5YiVVqTvbaShjzA+ZRiXSfOIWSvzlYZGO
k1fZJAoTHzWLcOimJfBcG/RqsXnCGpNxIpRX2vDQrTM3n+A34X7u8AlAXV8kWPMUv1bxwTSIdxgc
Z1cShjF7+JSqvYKBczz3/GfyDdOAwLGbyF5muGbHbNHnhzZ6yYqnGC86e/sTJqlW8ceLVdwmx+NW
nBE8M66Zkh/LYDnM8KfE/orKzwT0SpEMeOzWc++p7GtpPIdxtMG3EzFUFGJjW0gCE3iqY1ffZSAC
+F6gssnnmnBglhvnDvJQ/zZZYA+RRNXkwf3KbcH6uYnfCIIfVc3mlvjM22jNz7GRb1V+jh17Z4OF
4GE4YgBPWPqFdbyRe4iyUBFf++GBJ6kCch/Ew3nGg0diqebE3AkP+z0AqoQA40pMd6zNc5td1BZX
xpvg4mwByhUB6K4CXzUMZRZFRfLgcw9fVBTDxdrDyTT+Jwi1O5AIF8DYtEC1SNvqp64uduaE/for
+C14svIOx61tr6AVdZyHDLIL/IUlGb/On92+FA6xM9i6boWfMtUoZxM/OEiJ2dOhUKwiOkk0Gp1Q
/eFcYR3q+KtrM2bYH6oHTbCJiMxpfay6rxK6IKeod5upp5rqbcOiMm6Qs2VKgIjeo4vAgQsMwtNl
CMMXVYdqiik5TX9BnvgawfcBziwzqomdKdFXjnG30vh1jIyX3rwXZnhMGuNA8PYgtTjh7zAyQEhl
LqaZ8ZLDBWMPFGL4mqBzmukf2MLWhgFH9yGvbIYOHv4V9k1MQygywEd4mUbIVnA0FVN3Pd6fdGii
hw0ge8Z0OtnziyStSxZa9G1W/XcLw3bh51nxPzQ2sm0rzFh2yv4sktcZH0TBER1Ap8ZxS1sWliw5
0PCp7KMMuZf3bUWCtL1aWn8DNwGpgc8GgVa/tkRAJqbqIrrMWGOWO/quyrxI+ca/c8lyiCNA/FyO
cjEcsIkD0OTMJyP7wA4EQvwS1K7J0qvSUPvxDWWuyi2Px4E0w7w3WamUmPPS+Z7EKivAt2bJ1ZOJ
IlnMxGZthpwBWtllxOVn9jY1vSUzYXmbjV4uIOgmu57NVM/mNeSYh7eIE4/0jDF0SLKnjrDPO5CV
L5pOkDP4oUFqlerQiHi4wmcEHRP2f6IMbonW0xt+svg6JcGhyVpVbw4wanPIt3XUroSY1zoFJhH/
nFOuxHXq0pfkZOZ5natval2ehv9j7MyaG0eyK/xXOvq5MUYmkFgcnnngvoqkKKmkekGoVBL2fcev
94easd0z9oMjOthVlEiVCCCR995zvoM3RBo0aZAYfTcNJCkpc9J15RcrS7wT601N1yJMHLqbQ0O6
IVF3+HDWBo6fOflgP3EpfbMQd0045sFaMFVdePabjHCC0cfvwo8maJceLp0MszXVBepe160OQdWv
KwcUOaFygD7Ys8kHvDwuW1SdWXWvLx3rLY2yk1UzR3kSmoWnbskArO1P8lGncycYttr6hgluRDAL
avkKQQ2HX+9PjgLcgAiHCScwjgFhj589FJKNWnWIs+twpf/STPWKLSx5dzQcfvTYr+khyv40Ky5J
xwaJJly6/LTGAGV2oEzd4EEW1qKgeckK2RKOmC4g09AunHL/USOox87NA0o/NKPVOoOgh/qWWob0
0BELNifk5DNYPzfgciMdaBqUOjrcSmMozQik5tzMWsSAB4UxEImfPVJ2Sq/GBGYeMGMUxVvOcSXj
raeitufYbTRCJplJxA9v8gncDDg47adFw3Y0dlO3p+ygfGARyjTil+HecKeF65aQquqAQaxHppIG
W11EgtQwjQk+BCkhh9ZnMtmRgIiiS/tJpBRdoBbeVQyQDd8OBpS++4kqNQ1xCZDn1rHxhAjLsefj
Ho5t81Xz346uT4RGARLpY4kK24X+H/jmKvZHnPaMUOyf6s0m+LWqcZDjhyTfTSNTyg/p1ZN3N6Hh
nuzTmLrH2HUOmLH2Aafjk8HR7gXte5oG7YsxpwLAM3fQYxmQGLgGJicCb64W5sOAgzNBmZab37X2
qTwaV4eB5wz2Mvh8tfClML4hVX6AhECDo3uXRUdmV4hogz45tF+kWJIm8+gWLzQzMpfMVAExU5tL
aB/MQungqx3YGOLSzIv1KN657+znq61vvhSLUzic4EeBJDe3/WSQ6JQ+IkNVNazFwr9WBI3WXHwi
avdG/oxv6TVnxndVXEo9n4iSd0eVfKb0bOxrKuVxXi3sYDqhZGAyDtJ+ryhXU4IC6RdtcuESV4X2
SSOoMtXpJdImQEXN5Zv5am2Rv5ThFSwEOZKROPomKdPhxXNoKRkpW1gAIeHoPEU+LI82YZvmLR00
mL23BocOit4s9nZmfrpot1WzGtsvix2dwV4v1WkfeTeHNwz8cRvqFb3Gx7l6zfkAbDA47iGuj3MO
YMjHptG8p8uwiZPXmODkmkVz9NhWRLfIPpkstFW3Ntg14gQ56HM+QmcfclazoEQoljg3YTYYE8RG
hkBJJ3w9ggmw8LuU9iv9w5i+uccyo66q0cyVybqch7Mg117kCKTg5S4DAzVrjNqqMYvvihVYhXAx
iLSIauaOs4KqHZ5ylv2Otk33Umk/De1n7zwRB7MVPngkvMYp0VZxR73CwhyjVjWMMzXERljs6rv0
sTA1AuzMW/Cc8+8B1XOePIKmUZZ7M/Ee2Bf1rPHN4l+T6O0XGMuAmOCyvcrBfAB/cHS0+pjaE0RK
GiEn+hkfgSR5iM9xakp6qJQO9zKkJ2nTKwmY47PcepZIUFSxZ8dinuBXAutkLq4VBanObBL+Ln7c
nJZiG8FEoaOIoX2tfddZxvFQ6jRi+oUiZqSB4kO5gtoPMj+4BIvtXuvz+m0LLSf4AiBfkGSCLe8q
mfCJRq0XH1XuHLsIv2xNC0rp1+jllE4D1EFm3VFu3tnI0ioYUaM16sFahCUkIYznfcnQFaxB6SNd
QhcOtXAoxdadgc4L8zWBG5YFT4kLNgJwj+uNTxPfFD9HnX73GrTk7kNAHloaDUtLnQKK0BFNXUjZ
arNrNUADd8GDlpaXzumvKOwoyORm9DHXRSAbYKPvc2yMSrp7nQ2TBU9IM9gYEffnE+7T4GAs9+ag
nowqeNKy6M7MBT3gcmzHhwpkkFLT2RQIMqmnh0NDwmJWc5oqclcCelnwikW5rfJx6xQ2jHc2ik7B
KB0qh/4q8VZWSt+Nu3T6aHpn6wp1tgr9rDx6FU52BnfKoKE8WVz78yVoXCMi0uRU7505SehbQAIY
yw/bIzt5LHcl6t16FmT03Osp0ZDxBJTRNkxGTeyrwTqUms8JTDpesvcJEHS4MwxA+UjR7lBsulJt
02/eOkchHZDWV4ekgCPsZD/LRhq06h9CBbkVtaJY9x4nJSMniaRLlPAhqgrT7p5e/JXmtjdBhGOj
MpPqnNB+0JNVNtPF1/54UXT8MdTlWNdJKLTavX23B4PBWXZ0sqNFi2TuWYfMjByULKeKEW6Jb0bY
2LSxa7jdChvEYrB+2HxbgSl85QEtx3+Sxu1TJV8aeWprJCLU/PKFOnpCq8oApp8IhVLkYeTstaGw
S7kTzlbhHUzbcDnkX16vP1uB9yQ3eFCu4IkudSwfoMl1xXQI1Yn3ZKM1PbTce5zPmOIpnfBAyJ+k
q60DLriRVE33kBjdLsBK6NJS6weyWdy19glWEkbCasac0OXFeXKWIEZtiLNbw71W1DxgZ8Dk/eEU
TpprBgoUXQBrTWf3XHeub05wr6ulJCXLWXU6t0I7gChYHpOuPcU5m1D7XA762YrgGv6YiIIpTyjk
zZhkLQzofruoGAvrK9+PzuXdbT1kfuQD8IkkL/iZ5YwXlhmj1sc/SNfww8ls6LKQK2+3K1WolQ4K
a+Ap1L96CekrJSMaHCm19MwCpEkXqlkgBhS6Sx4NZwuguKfv7HWPJIq1cty20Aq076YK7/XaArFQ
oV3v8GJqDBlNTRylAxllDE6BF59aRCsgnAh8oknBHPV1ZCVusf6204+M237Skc8nolt+ZDvbIkxl
+0GiT8MR8brvNqq7EAmAT29K1ddcNI84o7bpWBwckUClz3fmdPZgLk/Rd+uGHLom4/40bMCQkp35
MBmYUZHfZKI8Wn13pMd2SclsK3Nnk3QAg5ask/qxQjKYk0BM29KT1o4S2HpGVCDEsKIBldFMNJOS
aNNg6WK9T3A49aV2SFjBV91bwtCMjQa7dotPrX0ysqP+M5rkmT5TTDhFGjwSBXLPU/1Z/zBGdYHR
ulQdBY3rXXHebAc7XTr5mwcfg7aRBd9as+8E8pRUznRkoBst2ELNZxdhUVh1C3CPAjt7Eh/s5r2L
1JHYCWioOw/cPXQhjZtnLr9G8TXQY6wgsfb96VuoNefAOgrx1hM7TaHU4z5zaG9jbPGx2yDVKnmx
cBD8POCOo7gg7Qy9bvbmxdgshgcKd+iRYY7yHhbjS0DCniNonvjnmoR5wgOx06n6xKfUhMW1sf2b
SGtkSc0+m5JHjZSkn8QKCLmYUAnasdiW3mzVbHe5/z5h7TUE9kAwANCcYocOvtx1RK84iz+SMmrJ
DIhyRDlLUuMB6ubbROvB2prbmdb8oLTnaZJr5RSQhn54BETrjK6Z5WTBasyRZFQ8P22AW21HWOjx
ZyycddzXG20wF38QZx/bdpUz4aG+9EHF8+l8RsOworq6liO1BNjmhNmHs26zH2L4tMxbE2SrliQB
4mVawFLGVZ9+RmsZw1dGndY8Q+M2CnJCNnoFpH8st0xK8Q9W3sKAiCTxXlbE+az/6McpHiczqBAB
LwtmSis7uzT0fOkCvHTj/o/CSoeSLkLDBRtxeujbhPmnofqtt1/kGL76vmT2jRpuLo3HXWfeYifa
eCbdzmT/R5Cj6nJrbp8xGZ4Tu7eiaw552O2oQm1ygQzsRRwNDOPhI8K4QL9ZzPKo8JTpvyAWQPey
yJdTYsG5t45FdAmJ2OY2Rbf3kY2yUSbb1vxue9kVZ1XuIXMRBEaMwcbn1ub2xaI8Kkz0KGVzvpIA
DtAoDDlEiKPSd4pyRIh6UGAXU3BLsZDQdGtTjylZYnAB05TnRIG+T1CMUzKZJYOCrJ1u31GD0NEq
KkjhCIe8ZRWdBSEhuXbj1HfD5GpgQEkhi0zVJmLWkHDd2ZG5K5LFH4HyyrYcyT7Fth6t2JU8hz1m
pDF9snucBJ698j8nWkype/D4IenrCOzDmGKMDs9N6x5z8nadZwLVGGG6bbWI2rtpbALBrqN+tq0v
GB+oe/wNOxL6toOxSkear/4SRiVl/6ekH255+kmbXkVYgBAOEf4gZeNjLxAZ6AP8E6Nbjv2wKpE4
VGzObI6+Q/YL9RZp5qa+8fECk35nkX5X1+Xy99/+7W//8TH8u/+ZX2nf+3n2W9am15y86fqvv0td
//234u/P73/+9XdFJourW0zypSltw0T3yNc/3h/DzOfbxR9l6w2u2VB/eIxkgpOLWIgR+GG6h45D
UI7YNR+IRZD4+SyVyrmkqXPQuYHkbXpyLOs094+IXB2OGrcGg0yegpPJnlWO8PgFofJ6ND53OvWt
uugmSuFAvxgip8mz7wkzdF+JnC+6K03s7ZTMSdVfVtXs6HedfTZPmnOqa0lgQnsYSizVszx72Pjk
9tYlQDew9TH1TBAwXqrJnKKg7XkPNj9WHG05H5dZ9OaS3GKk55GL03UIcVlDg3OCLRfF1rWqLeat
bXmeFlbpIl+OH4bGWQ+atuAgP/hrCKsQuVd2iuQH64Y+2RtILs81sqKhFXurzDHz2TuUgH2PM8eE
Lc3x37jKIPJpVVQdkUl41qJ6ldCDc4mlydXDhEwyZysvU+1mZcW9h/9K95HNOvh6kIKInbNiI1h/
mUet0PDFxJpOUBfQ6Bz8Eq0PK26YqK2RTUzIi3uXsLGu5N2jq0JEqC13did2id/vHKKpVJrsRI65
G6lFBIav3ioJZSAh6wrkN4FdKbnLg04j1VXrAEikPnfbMM0hwIRglFv7qOkORTzPMYxjYIzrWGPy
wrjH1l0SUjgW8fIerrK0v+b6Y6RmP75zLTV17Xc9OeeMaNEdT4iRex/VGoDalb0HYLw6gjbe1JW/
Cz53NG6tqT+EdXzIM2TIUGYp20saFjbOQwYVThYcYpXuV/kOE3UNnEclj3MSz69L4t/+6Zqof10j
H3kxVqEfNP/y17+dQ0qfOv9q/mN+2X9/2z+/6G+X4jO7N9XnZ3N+L/71O//phbz/P37+6r15/6e/
0HgIm/HWflbjI1OspPmvq3f+zv/vF3/7/PUuT2Px+dffP/I2a+Z388M8+/0fX5ovdmmKP60O8/v/
44sP7ymve44rZACf/+sVn+9189ffTf0vUjctiV1BwMti5/H7b/3n/BUp/yIMW1iO47CGsIiYv/+W
5VUTsLzIvxi2MmxdlwoHm21Zv/9W5+38JdP8C4J7ybmoG4blCv5t//Wb/2Pd+vtB+b/XMd7nT6uY
rSvexdRd6bqW6RqGsP9lFesqz02RkoPJgEqlyY8yr64RZ2plyI8/fSj/x5IpDNfgc/vzj5NKpzll
KyVgoAlqHn7jPy+aphBlkqgQblgW1rcEoYQkgvFmBxjPnMBH8OiCVyHWhtlnnUxUkUp7cSfTO2b2
yCjXQWGNGam6VcZPlfTMjmw32zlBTcDC/JBg61hZRrvvC69D1tuQTJVoFxn2+iWj3NhkRSdRWon0
hRXB65iw6T3MyD6X5mn874c53EJadr8zCl2+FOgcfUeP9llvT6soF87BS2HzBXGE7UZ5702kvVWB
FV1hE37Zk8lItWdXY7FXxVUVMgSh3DLtlOuPNCc4T3pxbmObmknFwSFqMUmZFtSVshNPQWVYjDwL
d44inNBkTAQaoDPZDaOiR5OX4jGuPf3RJkelYDRRmV3NUDiqb3GSnH07n05Tl+uLKo76XWnm8Y1m
41XEoTwOHJ5VTeQZ6N1eXmsLfww+d4PGH6nzRGmMBzE/BN1AquYqJtTqRtSh4cG6MvUs2UvSMhbh
NBCRWBHcgWaboebJnnTEVFK7WzIzsRy2mA0QbCCSIqEpgtubmPk+rcZkK3r5lA2xfk9R2q60uyuk
9lznlbiz4dGa/CjS587O69k32XL/96DBK5iiY4qRZbQ2nRjUHWywWmCLasgN1p8EhNg9ypAWTZwY
bOKddXqmyoDOZMd+u5ZpuOvyYLoWOIKWKOZY2YnGe4pyPIBWd9c8DAOtYoPSz3L6EisX+Li3yDWg
KhLsdBS6xhbNtaDy9f1j3cfFYx911k4zqfkzlPOlh6SCC435tv4KLd+klaBn27FVROihUS31iRTo
wZqTIabuqaCgvwoE+GgRe7dML7VPvk4TjTYYlLiljusDMO+Jjh/I0En49LRdDF+wTsz++usB3uih
DemT/c9TIUDfleoyk355Qn9QZuNzEfkEadpF+MpPWNmlke+8JP4Y8vBkYNOGXU/QE0zVVMVipUU0
OkUAixLgBR6WgDtu3K0t7n4X1Yh5xtnO5gZUFjT/7IdWIR/uJue7siGHF8X46pXaZ8TEchcl48x6
ZI6jlUCqu5j7HJcYFKccgGaXxOdogtLt1IN1bNonfyJ1tm/wkpot7HkxRM+B49017sEvYUSnySzh
ZI80IfUwD5KVHMHVcX2gHmTstO9nMZjhuChJ0Ebd0mBa5zYMqHJoJFEBqzLzJ/IEGvwlGT7/teZz
Bw6cbjh0nXe1+nLAM8+uuLRB0E5MEEfY7WpI7lmAMkIlFqn21G2eb4Itk7PxKuyXDNOXwxh3O0CT
XxUVmpmgF0/buLn6s9siSHUMeyUtiGEVDEQlI4N2yPBaiJAWaE0QJjIzeayC+kep0W3I454IavqO
pItr286Z0OqPz7kVDm9C87nqZ1wT27jpapT1U2ob5UZKAgSmVBvuU6ntQquOXmMHSIdLcHHpN4dQ
GPWfHn49F1XwM7ipI1bVTJ0asBnXup4Sq+gON83AzxmHtBjwOzPFb8NPft9b0unxsevwJYEx2Fgl
aUFlnCcgm9xoU/RjdSswcVXw6DA9ins0u9KaIN2y8tRbIwadM9iIQCtTP0kLAlQxsBFlcUSMlTfQ
XQRhVAx+ThANbEbb27rn/1mqWX9/MJi411M9rLEBUz12lnxOWfSG1vzWdUG0G1z1CtY6Osa8hPm5
Y79nZNqSYchU0+lpmNOCLPdFXz465hA92DMLOW88mvdo2h7R/viLouzWgde5R9/uy7swIwRgXvgA
vwOATdWe+pHKM6qHd3NK4Yd3EopN6ersrphhjT05kEnavLQO6rLIZ/ijjLI7NjYgoxKizjKsQUgE
kaQ5TqlvBLX7FoMiWEtSjZzYznd5nX1zlABvZxrpoe8ygiULckAauz/l3QDNVY9vnkCQ7jZ0zvxQ
PY0BpjNN2fJKwAk43wkPbj6v6YHFc9PYx9vIUJuUiW03qY9EV92Lant2qIMOZ9CeejphQ76TsDtX
SRLkazdOxD7QtXdSqJMnSLrNzuSiQTagt89S5U9JN4YfTjqh1ejz/J4rhppThizC84ZTKRt37ZlR
+lSNDgam0DQ/hgbEpTcMX+FQbmcUZBTrw0fVD9+5r6mnZCKr0UwmsUvJKr/rPmT3vHPm0BDnxYlM
wr+KRLuPlP9ru4MxFk0md9PMNg9FXYsjQ0TCI1NJfmYYf+tyKsKBa+4B7kn0rQSuk6ipQmTPntoj
Z5WpfxJtmmTM3/sWEEEqiMLEUI+l9RRIvpSrvCX6liZx2AMh+PVXHagciVHAXaKR1oYGD//XQ2/k
8brXbWtpOwlMAllgMmrb8pzOD5MZAyroBaAAw8fi36S3UZ6lGphrGv55MCv6AJVb0MCEACfa+LuQ
Sc6y4BOoLsYPZIv2WVg7JUeTPmmqzr/+FHYD5oJwr7PAYIekCz+25kNpFMSY5bLY95aVLxMYv4e0
5NybXKtdlaLWrq4SKwwa6m6kKe5RgWcKFusdeJQ4R1F2rXP7YSjd8NFKANIrt/pmp0H8s/CmAy4i
i+gRNJK19tpjxMDym+RnM4LWEIUxpoGByTT3Sfj8tUFcLKE1XkzvLhkyRQahRfWDQ2Hhs3KGQ9od
8jxMVq4g/sJWRbVKhrq4ML87TK7hrvxaVcuRT1sOA+n2OJy0GNVhWu/JLCgDoA41dSN+d5MEwi3v
NNHLq8Vd/xVoWmNSMKqSKq43GfBpDIs9J5ErbN/Mo2Esf+Z7o5jwZ/uoDQN9lr7zYEfxS2fgYwoF
zTp98oHjtdI5N0NVn+PhGHrcHtGYVwfL6hC2ph7D/tR4S9L+e25nr2FG5LjJTXTDCZmDKA4jjB48
hG3GFMrsM25ZsbVpoxYOhl0mN6PJ20NgWR+//paa8W2KBnCVE0AeHX3ddxkO1zogyzXr1UsLpXWV
j2n5ELmYiFQp8lVXV4eE6QOAFvpzZpfJH4merb20EF+t2eNIIn8oaFo8xKWNeMdPyydNYGjN3SC7
BE7sbkvHdkjk0cAfNVa4yns/uZVSDrgoJ+NHXfQPURQ5bNuAk0yaaT1MfvZuECaPeLAjnn3KzbNX
o9e1iR9Y24Z40PsJ/WVvBC+NGyLTU2YGOzzuH4UTk/sDayNXtnExjUxj50Yjfoot/WToDg3Tuhgf
rCB9bTHNjexoH7OUF0YjIN980GgfzoxWztEn+tf2YSqIAoqsIGdM8IN+THJJSiwfA+JWDOxlcpk/
2AtNQWxnBum3Je7GkxaY8ESq8TtXcbGd7DmLlJF7QhcOB+oAZ2q+T/WRfrZNAuGHLBjOvx5GAyPe
aFgTXRMmUH1z0AK3v6DSmG6VD3AGfgunhIpfTJBuiy6d6XiipQi3NC5vsBnuqCq4lV2w9rKsO+tu
EOD3QgwqbP87dE13ySg3usQQohw3HeeOrHlRBplMWVuQrWSHkEq3uZg39E5lMfDH5m6K5kfnGOOF
8MdrOCn3LpvHLGNbXtUmQlkMqq0qxi++ZeMGVfgD0reHtF/aj0lH9lPQhSPoUGQhAW1o+GdZxeVR
dwc3RGTp+Wm+T1qEgqkPk6hWyl8GSZl+KySiLD/1aBkmaXg2gubL7ER2oSBaeILbkxMzKCysmeY9
P6RquMiBIcj/PBW4ScWaO6x8BXgw80LzMFUVKV4ahZKsELbND4XU/bVmeNoqpDl0TGdATJ4k/mtm
IR9Jop84otLHAIYsko/w1Zj3Q03A0WlJFQtQGlSRP1CixVhychzVGUCkMUfUknfsD5oKL0Ka+ptR
+ozraPbdixLtfYGI5fM1rKcfaIqSG5Ly4JAaESEUcVi94vgnH4E0LJhKWk2IfYqK2dR5Tq/jR59D
tglJFcJSQXKzOZQ103Rz2eZG8paPsGwGo5G7rNplRThenM4gjLZHstSnbrTrgemzqfSnbT9fAMFQ
d49V8cSGlolFBVsZgrv+ELezm8Us+m1bF2ShyicrbGedbw92rA+ChadX4G/gEBAz12EQpTOOZmiI
n0YnDRb1iJEPNBTdZdMiFXD04C4DFOvs8ambS2dyF+B91gdLSP0zTYItOuj+h5kn+kIxGiSKLRSb
TAXhyvEa7RErqFgVpcTMmqhirUF/vfhoDfRd6+hk8+IhutiSwN987LBtOgxhRFS1D9GMntfYhqyr
GmZWAteIbduNa8q8zOYcwr/skzFTE43QfC36GJvAyJWsOhEe60gAV3WDg9sSxtECboCPeU9q3E76
hFPd6gvjYKOZVJGOvbav80faAuYWKQZIcYeh+EQuEjADUsEQ/iR1gyqxbeNbXiluEbbJhC8lFKDF
V9M2jnOMLCiOhe69KZwLyIrSFYvbT25WvKdDx9c3B+KeMjj3k2BfhQY1zkMa9k4QYxuY3cM+qLzQ
YKtThJD3BnLhCYHtgHtY5bPpWDuq2+jWtxX0gSIZ122A3NFtgvG57GNk6wm6AmGnJNAxOVpYZgnN
dJAra3rvLcI/Ml291LZ5zyprWFGj04LFek4au7vQuxnfnufIJfKE8ZivvXaq2ScJUmJ7ZDijoYFd
Npogk+hrMKpvDsb9JSAZMO7GzMpDGgQQ+6fWtjdKGDOmt1wDd9YUaQK1cwDmgwtnEdZBjqzYHoAG
hsBwGf9BxgN3j4mQuf5sQyoAQEjzmwCobtAC2poBhU2F2HZls1KjGHWfC2+wj4l5kZZOVzl5kQ1T
Sq0QTHw9Bh0+f7Aa+9nCwrfIiho+UCNuntOfxOSNqLJwvXqIK3LQeR5rFSynp0mAmc37kxIuZsGo
Y58WjG/tg+H1T3mZgBAk3MdxL7BTP2UWAnZOfNiiQsNM0Dj7sfXhCJQ+CCPzPTTJayh1M1gOjWkt
okQ/kN3ogXqk920VqAxmPuPInHA0GFOkABiYV2Lj6fDvp8xtOVRRTzBE1KNnQuPJjR64RqhNu7H6
MdMwe3ey+eFQd0emzhQx+msxJfdwSuUS18KyNAZ6I3Yhwf4+NEniAtSHlzfkw2qa2pNBGuCqCgpo
ddIYMQy5GPJ6j+QednfY3DiABT2PhT4fCwjgRV1UmyaW2Ge1woL/Oj+YbliAJaxcSCtre1IDw70C
Y0oh03VtFyeUTs8jftFl0tnvfWE9Oq5801oOZtEFm9R0T/HkI/vUq0Na+MwAlHcNB6CGnUuqpRbv
U7DYsae3B4/6FtZB2W0KrcSxhL9oLCJtSciv2fysmvBdH0ElTqJ6jsL+4gz2kxu3914wfjfd8j5o
SOLRGfTy3VIjHUU7XLK/Z8Gf0OUPWrg0owiHMsJWWLDRDvY0jvphN1IfLSpVD4z1nFebdgrK1K8G
gRt7a+hfwz3pCdmd+n0x9MgigYmEziWLIhJwCjhRmFLQaZCIFbE8aMeYHEefwPO8lGh9Pe2u8D4N
tf0OLe2nnOQLlJNFVwWfQ+N/ZpwxjOP6Bylw/Lky2LWej+k+yJaOgikcGXOuExxOm9DbdYXLx8pZ
sQJHxUvp6dFRz+thoxfGc9BZ08HtbWCKOgfQSpxwSWTD3OHAEZy0+CmG6Ogb5EsWISJIVgV9rNCl
psBzAaZ1sATyewxvOBN4w5IW6XLIrb4bgxLyKx9takz3XvVrgvEYHg7ezGyoiN9EvLIwyx+Ro88Z
x/YXDPazWyYH28GEhghvoWsEVgd6xOi1qJjTl5GJe5Iaynh3RZISwx58TIhjD23mf/UD8mnScBum
4gjcCKitS+KtCGo6dFXylgQmK0sQfHNALEJbg5Go4/v1hkasfPfWBe577KEyrWt7nnqZ2xFluj7F
yTKfmGlGofM6TdZ9AgsRaGQIZ6P5nQFm2QXdqi2AQMQRoR1ZmD/0mfmk6Vhq5WBLRAyARUsbjmWt
IN8gZu9GvMYJHBzuv9U1pnXPqRnioInNuy2ZWfXhhNcyLB2iRhEKVW4DJSMx3zpTvpoZSQbTbDki
d3kTZZq3KC1QJgwud0khYVYAcGfuD+3AgjyFFKQkkSTJCpjJer20ybld+RUoeFGfywz2daflyVJZ
z6pHXJJb6jM2ik+m7EnMBTgM7s4g6W2UPwsb9QTeS2dhj2rXjoR8pDA6ZFu2N70e4bqMlr427ZFF
A1FTPNis+t0EWZEJqgjDljgMsdXpBiLe0JptahA0qQ0YW/CbsyCkI7lp/i0ZOtaaoM1WUZKt6CLn
l9LxVuMA6UrqpTymXVmvZekC0gF4PTdC2y6Qh4nxBExg8tkYO7LTpQKSh9ztznltM0nNWgisPeQ4
0ITfXcLfLQGfNtPagFs6H5Stixoth2vR2e2dvdWzIcWoo2lIG4vGA8NssXHNh+p7a5zpSFHEKXxY
ealbuFyIUE1LZoudwvfXd8Gqp9G2IniRXp6n+1ihE8qmxuR4BNNiGGUIouql88m79yoHbqdSi64d
4TUGSCVGgYmepIKF8rsPPZnkyRlLda3CbwZznD0X0S50e2J4DRcvbhiskpr05UERKOKwaYMo2L95
hk6Jzm+99BVRinkaOcuGssBolbEcgrq7VHrXrDqViDWB8TZojWkjfJWtAVzif/bjB310NoVDjEur
55eu2oAbYjSIRxlqWNv14EWM6ovQiae40R58mzsLu/zPIOk/MSM0S24u1pKZxb0N0kNR1ag9bFyt
PlQiUBqYG5Mm3QkFKN3iqq4GxrtmrY2Liehcr/FOZf84uvqn25hflmNCKAfFFRboYC0bV4/RnCq7
ECelZfSLJuL5ooFge2TxFqBYiSAuzdmQtbeagIaSvORFr9neQ0rja0nimeBuYr4PSZChCUeDItOB
gCcI60FLCZbRUB4sbdbK8msGGtTYqii2tRU5IKzQIehZT2pXnG7R9J3oswvcmKx4wocH4k+Qgt1x
DixxyZgAAtzFBpRgiRG0RZvPWUYgbZFkazMy370IDGSQB+8e++FFEtY7s27dA0pUKPI0h4MIiV5D
5si2iSTenq6/dXZtLvtKwoSb4CA1tLJbyr1iGcWS1XyIHOD6kAE8gQuX7BPBoc/91F7pEwpMI1ZE
F1UpkXlIGUXQXDIvbrioWzg7Rl9QgpiRvvn7k37qyweJF6iiQzKhIQwkJF0CTIgnmFK81C3GIOlp
7qU0sfJkcXCklGee40mkZHZ9agaMIU5FWkjk2jMflZuA7L91fi+updG96Q78oFKZ37B6Az2HAnjw
RVt90yhkLtNERBTkNC7+XkCqbcazO+r7oSWemj2sf5RBSbRJXV0Sh7i5VNY/mNR4SGrANysrnnFU
P6LEuwGnAQUAf6QZ4fj4Pe4JvXrrUwO/ZWqTv8FBp/21mGoJ1Ca+B+4Y7McaJn5aF8HN8qJ1qIsX
FZUordkVrVX/JfRvsQzXFY1ZEp+psLvRX3WD9Z6CTflPjs6rSU4cjKK/iCqSELx2DtM9Ob5Q47FH
ImcQ/Po9vQ/r2mh7u0H6wr3nLj1Tcfix+bbSNigHi+imxr0mzJJWQzI+JYL0x8Xp8Pp38NMFmr41
UygEYrdfq5tvkEJ9l3kx+qG2708Yh3FnYD6Q+OtU7oZbPHDU79hOFFULNIXirBtkmnEV4/8ZUIGW
fbqhb73pCF0or4l77xXqol03+ddkGDLUPB96Bzaxx4wX9jq4vVwiH289Q9zqMnUvHfKf9VQ+yAJL
WJJGcBxLcxAzRHmrtPN9T+uFcU5OW0riSx9ruRaS+JElZahi+S0lmW/eUk3Tlsc1OT9Fh6XSDgHx
qJnolYJF0ZTF5SlE5kTm2AVaMlTaImq2Q3W7E70ScyG8QAHOthQjoDKm3Pd+QXOZGb6Sro1xTb4O
MJeYgU+co3EwwZ/xWOs48rlj/fEtHcbUAO+8kz3TRLtkPMWQjNzRt/aTBLuoe2TTrSf/+h0MjtHn
qxSlsO8d0FquKLpnGc3dszezKpwT4xz//8vKQWGTptMnYrZt3UtoA42ifjPhIz3cTs7Wd8Iyk2w9
/yNjGERs3NqVZX7RGMFqKEJhwGoodvbe6F3CfAhOjo15hzESgA/oEPYwn5TFORd2uYf6hFvUcu38
KIoeqhxGPWgkz5VLWsUkWY8xOmZB0V6LGD161UzHoI1wHug623SV5979LFoO1yZxN6iM3K0tvH7r
K6PfytHfuzgf7nIk8Sqsi1PA97iSUehcBINanS9oh7PUrHqvLh+9MgCAwYKmalPQyUIXdH09bqkS
9EbUyGftGdgcqExPoW9z+PVsJsmWlRlNRFHGOZK15Or7I/312PgcgGhgmbmGZ7uxDR9ozZSO5fpe
RNPHIILhaWltaoaJhaHKEpLY4M7WbrLcj9lUX0OqcJZ6j2Vd5ud0QLCWRIm1J5AOgjBpt+wXEHBy
nesHY4x+cFT3EY0VWTQ3fCTrsC3Gm/FT6hnyYLlwDGNpdCx3bfEi7Gz5oAGm8fO+9UMdrlHM3ScF
YB3JoSOaWF5Fk1nHAoTdPHF9pP21t1hI27wHwU9aKUypUzu/6K4ltDOw8UsE6XI/kaflTvZbVwUe
zaRWmAJGbD+asaY5CUNM4Uy4zgQ+hu/+Ihe8oKVHOLNN1PsyNdHKGkho8Ujc3Ne1eI6UNpsiIKFp
waxpZzmLmvDLZSkeSYdwUYw+/FJr275ZpZQFpcNpl11i4Kn5c01uiDsdeZM5VWeGsX5C9EaFDC4R
I+5s9AyARY696LtNGVr1Lq5eMYqwhkzY1RAG5TzZERnKoAl0UFSXBMQX43nS90w/3qtoIOkKLNWu
QQt27WIv3/klscPNUB6jpbou0bzLHPlnVJbHjg1N/YyyfmFtHU7Dr4Idg5SDnMDKC/JVb6Li6pHT
yRHlJwBGbGczt2yIc+YM0zL3Z57WzWy3LBfp4NGma8a0MqIP7rqvauZmY/Im1zbA/yuRU7AenK1g
brmy7NpfB7cVXJJmj43VquuY9syDFlwUwOoNsNJk/DPH8hTM45dVEnBgW+HVl1F1P/j21gtm0r5y
Z9XP1rTTYQVI4hYXF97XNRI+iW+XmJfvqOYRbVB9bIfOvZbMgIgyoBlqb9+xi1EQwGZ0LkpS/py4
MNTEJWRJaFNBCaELPx7qPJ6tYPROeHjQ3Mqw22VJ8M7NB9uj41IK25mETjrDMbP+ivTm6xkjsQmS
7CzJNJM1SDE5uvclh3gQwp3Qs9+vG9ccmgmdgrxNEsdIGxAqAwkGwzpZFIxYgABx5w/4gbP3Bfo3
g2/8dywWstQ6dXaJk0lHKMyM+6sid1dgIU5Gf5064FNGt91Exocxk2KPIXBw4efEL1MgJUEtYRc0
ulUwUodZ4DcbSqxWYEsbYjLknbIAGO7ClKgy9YBrno/V1PkL7JbuEWbSJpExsxNWSasFE9Y1ELG9
Tmvi0rTNGNlCKvKX9AY0tRxVM4s7TNFptQnFHF7Swcvv6gkLFWJlZ5tC9CRYGsk748gjh+IPocgf
mIfoGbi0NplL+g0mMPKhWpZ0QSO+HaJyncn110lmKGMFgD40oHpTOJJibCxJqmn40ukPczf5i6EM
5U6sj4gjXpkqLQTQsA4wwn/wZUDd55a3/jQgavv2Q1WAIJ/LdgSdOsFCIv56pQeS9NjwXTxcosCa
9L+AV4fBjwZ7FPVbYxchlaj5zIf57N4CTSvmo9B0bkTwatoJ2oF4MsNlGsqtO3EJpwOPXtjdpmRE
XO5w0PyRY9bvMPiQqNW1AWUnYiOlq3HddBqsBIiypI76RzERycLOg9BYvsSIgxdf8+I/WIX11Siv
PwHRPIqgNKfuRxucWYriDmkj6hUvTgCbR+VdOccQbjsvoxgYndP/P5QqRr88D1+NjFhX0eCuWIwP
p/Q2dmCWcWz4Dxcfjbig5yDQpJcPXCH/l7vZMcEKi/c+RuhJhDOhoYaAIn1TsLNJsfDp0maHg0Se
fOHb65HbDLiYTO0/VF75O8r6xS8K8ZGWnOmiRZ+NO7qqYpuZoNNsYWpgtE2VA2wsyO5orKjBggUl
NZ+BV00juxQDBrDeel1V7jwLV48KLXRCapsE9kYsC7MRgrcgcmQFKWEm2P3smeb8JjI740CbzyKG
VMnA9iXq8SfOpd+cW57KZ+crEdZ8qG44oXiY3zxyBrmVpid36b/sVuZ3UaNBjUoMgpUmMmjBt6A9
TIrNAp5gIosiCLwH5/YDSxtAKs6YbWY3hYxLybUl+Sq4Zh2zMBI799YwBvh09mXdFAyk7a+WARLi
UtzkY5pzwN7agRL5LNIsucbN+lb4t2/RGvVJV7BfctvrN55aXhXfwMqUgXMXVC2yXemXKwowtU6b
W84Zaui7il3CunJsSaEzFgjbnGcxskbFIJtvJiOnM4tRc/7/zwb2p7sisv74sg5gjR6SilSUJQZD
Eo4crHHuR+sOQs4yUCkXFEb4/f8I0Mmz7vVtyrbpC4nTCl3GWzjH9XaMvHwV9ujmi1KIp6gHElu0
+mSFyz9PBi6Us3ifFa66sxu2xr6VvA4t6SB26uCcDLdhwJQUYor34wfherC6J49PGiFhdK95p/Zp
/x4ZsLxJCtyiUPSTqcOEdUA7QOuWIiDIkl1jT+m9xQWQFLN17W2MEGRcT5X3MYvkmDssAua09vYs
loOXUmHqGVGZBLQcMDhRL6Sw2EnABIINxQm5RZuu5cjgjTk8B39251TjTuV9vxqwGuADJkuuCpdV
k5v2RcUGL0YTHWzJU2L3mM6QY91hAzSENFWUDymEpSYknp0dOFtLVMmDwerbWWA1huoYAEARRUVc
6FDOR2fUnzMWn0ObYcmLlPM2Ukbvapk+W9YkVlrenkmUUhCfi+zqu++F47rPhLZnRQwJKNHflZfx
J03RHcwk/+VF7VG2ERRghbtMThZ0o+ltDvr8NCb80lNRNce2AADRy+6Y3ufpMj2SbNTyPSLk10l5
TPKzzDvuMb+WyNtj0hhbSreWt241BdVPgMaHZ5pajA9TQCBHFQ/j0D7K0b+MPxGNNcuoE5KlcuvV
DGb6kP/dYZ6HTcQgDIlYyd7GkwChsqjGQYggvkvrU8DOT0CDGCu4zio7LFgrahc2ct0HSLhOIhsM
HhOAgJA8GMyuOA/v02SA5VHPxAGBrErm8rHETLy2fUnWbYoL3dWGUYMHNmJIR8ypVTlckyZ7UDMR
sdJO+F4jvjoXhr2oSVORCgAeA4wdu+lvrqtTUbIE15HVroLhZm4lrNMU+lfU3E2Cgl93dnv1fPlP
Tkt2j72PY54wMS7ZUjM+6dmv4x5GDpmS/Jzu1Zh4NPlMi0zQTQS+MuxICB+GixwnYL/9trmUAPHk
pE4hTvcJRpLK2vbc+d3GLOgTF9tYd5zQdCNl1n/OvmO/8BHty4UjTWlF/J0p7nzwW/vAKb6roA/P
jL8Jw7l54GzO6NaeFEu16dd08Xjsk6W9puSwLSPkIVvDtchGn6FAPJBDIqjwc/bqWwIcSWI3nnXI
J7NF8RbBkMfwkufbAc302spSRLpi3JSDXjaO0k/1UoldswQPZe+ndw17P7fiwAG+i48d+6jjOdk6
ckIN94UEzriICXJib5+Po0fW1+vAMhV/lbVPDfuZQBMBX+fyKYwr+r5wess75kwsZ7on2OEApTwW
UWEUXsI+/0wWyJtuGG7ruczeh55PthugTOXqwXbfM0KdjgmkBnpk55lYgaeiR22YVlJtiMiBKajl
0Sx4yPOq7PnabnPovrsPnard5jdSAwrE8d045jup8GfF6I63IV+Qxfu0alN+QbRzrSGCZSJZs2h8
BrSCi8xU4UGlNlFDtjl56Y3YN2Ld7idoSGn6FtgFb5vXj/vaV6BUbpAISDQUmSPp7eOHoJDd0PyS
ZxGASuAPbCtDtBvnq4MKlaqwQaViLffs7RjRyd+p68kVdEAel4Gx13ETFGTEBW9Vmr1bE0jK2xKt
5nrA9RGB8/MqVLkddIklPCPmek+9V9WoiIRP0vF6g3ArDQjY9NU1K+RtJgesTDXbqQaJ6IqJvtVv
UThG6BOBIuxo1klbavz2OPcU18oCXZySWtNbN+ckUywGqeis/v+BF1VcdBX+8wxWilxM7akldmDl
dm127TtnVcmUEMcicND5+G+yq3oyEMXVHTK1j1Vzj2DMO6Em6Y+Zy7KN9f+pSvvXOEjTa923pwFo
eK1D8OOjuw1KDRgZWQw9YV0KDrXuMyqJ9ukasqRcdD7R3G8D6DT7KI2qNTUsJweXUEL+i1WdEkv8
Jk0RHjvPRFe36v4OIVi7BmiUW7LFVWnGcZciDetcO0HVS7KsX5IIxGk7m3k9Y/LCdUSJQLjhvSHP
IIjZMWdORUSPysnfdpkl63ShglXFJS1G8uBYI5lEM0zTyRl9YbhOKDu66jGIgPHKtuNgcr+WCB6e
nKdL05NkyhqNsyRMILiw3EoGcClLxE60oWjDF0sGqFLPQg0NgaCLhaBq2rfGZAzZ3PiUhNjvyg8n
d/370MNWl1bXmM2xSok59pw1tg4k56SgzW1FYWPHfxaHbwVV6tfMJbuiZPgnuvZQhYV3T7ex86MM
lG7UlLeOAwNv8mB7nbjYecn+Wd5kIKl1Q+5S+s6dRYJwCZ8wB33VLRu7t6IDmEBWJCXPquRO3yae
Tf6VxndauBh9nq3OvJsEk2EJA+iYx4U+8DZgoDKUHWkRzg/dLMFtg1rXsui2bJRIN58Tiz6XkJis
B6I1SMgPTlGR3qxcChfW7DXeQydN9l0PmpweAr3M4nvbRh9Kj/H/UgDKwwZxg/+6+K7px9jEkSZp
wYzoZK43Y1lhL3VvRmOhTqPngTbsGRcozpU2yEmhS7m08iyMOQ+xJrYwz8GNcDUpLBUx3E8mN9WJ
DdzTEhKvOWCKVothFddrjnMEBdsBszuW5PkVzcq9SNH547IjF9grPl0KyvXo+B3b113mksqVk8Xk
ujWWa6aZQge4Lqy5YErQnXGX2dg2AUEqMk9cDFwrHVtPPkrxE+05pHKwoOvBS+61z2ImNFa3bTWG
XrdGBmPf1ouwM98dp282vmQZ0N9+d9Cnw4h/lPv6lh0Tb3q4fJxU6jtaBswUjs0ONh5jVD7V34JN
/BrCMMVYOG3shgYkyawJBFhk34XouUiKG4gWJ5SFw4U+sJWRuBaAjNIJvzt7pGNRMUEqjUP2N2us
KGjYvdq3eW0E0yOvMGwwddHS+uoQZrE36zlHtf6QcfYQhM7zaKEideMvOwgypqNw/aZGey817jUq
o2m33Hr8IiF1FInQj2VrZ99P7H/dFjqtd8dHVz8kVOXo01LnkiX0z6hN7Mi0J5VX3rNcSvvg8Rxy
0g6bJVc9cu2OAfq8fAQenLCBCVV6o6aW1E8dcxd4XvwmiGeDmAb5JFzey9YPsQQv83qpAXqcRwTz
zCl7s01d9zNocsgWVltsrXICkiUqZr1T/t0HPdyGqPyxqJLtWA/7EWPzKnNdRiKUxZK3aYOF5SHR
aN+irPswuIDXqlftaxDx0fet0dwzDhp88EPa1PR4Tlk9pxH7l3bGottk0aZfpMIZ2m4XRxT7jshz
h1d7XciCZB/GjMYJ63Xspo9JXMZ0POVXxjJvNacho27fBwvslq+tnDqiuFgUYCYgq2CLILKHjVfH
W9dOn4LwT925zsZP2IjmX+08I6wOJgpH/i4iFB3StXPt9NIc0+nGlsUJEFcQnpsG7cGAnOpgRdAz
oqpLOFjd38Wt1HqMGaq41Lc7ssMgTDXIEB1V70CkLLvZhB8kz7FuBig/w3xIGa2neQBeZCJb12RX
+ugHZ12JgDCl3tt1A6DookG4ZYmygJL7sQSGrwiB+cr4L6YnrymYxZ3LSYJBgw0/ybBEpiDwNvZw
aHB2rCwW1ESE1Qkw7+UhlR1aQZvCp0Wt3hGn2iAW3w9j8eYo+Uo5qg4RKh+CRPxfVTIjz93x5obZ
LN6s9ulS8Zqm7vfCIny3RAtbnTrbj4QHzW4pLh7osh32NygQSfvKhNpaDWPdrE2YeQdJOqyJMtAn
sU2wAWy9VZUTeaMJyoCZ9ChEV94P1vSwLNVXVWfMmHPGMYU5Tb3STOSgSIhYon1kgLrvz04nnjXO
pRNmH5ilFSYF1JhqE2nIsP7CCq8CVLR1eirqOVV3GpfpGGDeYU5E9lAaPTqUyQ428k0zsCrPOdC5
o9FyLpCUW2qvU8dwktyd6Th4Qwjfe7LO2ALhvAmCpBAwCbDeZXDO3enD9y2xiUS2TZdFnEQl/kDB
IeG1DHHxz9NLHXI5qUVRkw/nICLKoFz899iQkLj4mGQl+S6DE90P4l9JYP12FttEKGaUkrwkM3r3
4Wqyg+c0AdNGRvYEs995cRij7kaM9VPJyjNsvUdjhWaNhgivcWIV68krcds65aPfG+euJlRRjFO6
6QC+bYcgqR6E3pW2ZLCvvY2PvmVdpxg6nOpE2UeBA6a08Pxolww2fpoid69tX2yly6ypyYV313wI
B6FAkkt5xn71M2XE0AdDgmF3gKrrW9af1uEnaStmBJkb3yAYYGIj5h4lS1jLrYGuiwm51/zmhBOn
MSOSdei0B5xlw2ONfYh2SO+EihlLx1we1ii4v4MYdJnAJNSGwV1HJ7+2dY/NrUxeoOkMq9xXr3Or
mKSF6m/RH7v0x7XZgMD7/y4HGLLDRHc3U/X4cfiRafHpkBawwkNlb/XwZqyM6d5Mi5L5OYAUHa76
giCeWt446hWriL7b95rXr0D2cddDf0nDRm10w3E5NNKgzWYzEuiHyGXmoZ30j+vzL8bFSBGsrSsc
vj9mNjm3C8FWvfoJkpuBHMHraukjvYFhA9fgKo0M93RRl0JRH6KzrmrFvCIiGoK4rYrDJQxsDN4u
9nArjR7YLWHEHzqSU73+nM6CEqxtTnkZ9YdQut9RarbSw71DbVRY3stECDlqiOh/Eh+Fknnx7AUX
Swki3aGKH/zyCRXhe2MTBu0FtrOONezp79mAaEjs6AWxPzrvlsgQOpztQ9/U5syid4UMAAFO7TV7
cBC6AXvfwNccdT/t8vZhZPN5EwM+oJ68tw1uQxcmm23yLfgD8DIhSEoaEmQH0288vrmua2+nhUCT
4cvSSHUHn5gLcwNrYTBlQSR/nTQGEAToj5mF4L1cLeiK8QfaJSFEWFLYlwf/soo+fuHyctjNpyBe
wPJu8RudpswDsqdY87JF3JeNJIKAt4Vnfof17U3O887kBEY1jPH4cFG3eDC/CDxwJ7Q2XUXWIkA6
Q3rEKjc1JFcqnTThUwWIOwa3srn8gzPhoRbpa5C2fztdNxvjouObwCgg2KzBrRtoU27iHtquOs4+
64T6MZPjX3cIhm3BLspVX0hj75t5RsHVlIw6ir5BgYv8pmjFm+YU8KKUfY7TvcuRCUfO0gUSJKqA
FNHXhE0Rr01KVIsXI8tkqjs3YYHuriekx8hn0VXVmqJbgkpDMzQtNIuDc7KKP70Hp2MW1h+6Wwbl
fYHUBjU8wgOGXLcNigc2UkZPGZvbTRfDuwyt59s3suhFnhdvfO5/h6Lt4QFWjC9mNLkBOUJ0Q+c8
pXwUHajjTGRnw2JtbScUXeXE9xSXj9IGf4g3RB2yhcVbbNDwZyHvgXhiJWm2n8FCBLdqiGFU8Mzr
8YcBOzOHWVSHgiwL3cY7PAfXKazBqPbJOZ6ZqojM3bZ4f7jKMHVEI0zXmmxNmL/QMOhf2Eb9ekFH
isAC/cXUdwy0UaJIVifsDi/kr/OSi8s4qbdqoeCPGGKY6b0QCwQe5W+lr7sdCT/6ERDxpjFswz3/
GrLJUaLf9511LDsuZC/VZtt0pLTXmf6l8WMigoZmFXq9ZN+Wfttl8Tz0jv/KPqVexUfPssQLvsmH
jM0EyWcNCKQluWqvrz/n9Lyi8OcLNe6CYg6oR59IQPpIyzRLY09AaQF58NeTLbWZIRyD6R3IVVRN
K4mYe+Pgg19DTH+uKnmPC9xwIfCM0mL+qT0mUkNk3TKJnjGM7ooW9/DAUe3Xob/ResFsl5L5SLEy
H9oACbA3TOnZr8Zhn46aiCqnPCBi3hUB0SSJxPiknmH9hYeAxexOk7kSEjTvzSOKgwaR2GCP1bqY
zV/av+kQpcxgs3I6LgElV+PReORFxRnmTW+e5XrrpCWRvbF45UPeyGRQ3n1VJJ/lQDKSa+v8yHPi
0ByCNa8K4oPT4uL1kKoSOYQrZff0dURMNH4U3tueee4Fv11Ut1/4YI+yogAYw2HLUiy+uHYNiVdx
DLsFwz7gm6RJDDGLCSb8K5RDDcbOZM/29JUp66fnWRGEB5/lG2I4hWjCJblu1bsdWTQ8bw0DZ0yJ
+sb1dt+6OGbsb/noOMvhdxRBcmr7EDQ5VpUDtVCYnCvbEvuunP4mTewiX4iOuugR94Bzl5nPo9q+
zBzKoy8GxMAo67PslvRYCGobGR6Z95IdHPnqFM+PhpXcXZmoz3ABr7RMdfKApZL+ijgHLDoPU2QR
ndEBMbQDNW0zSB8DFCN0mF8M49ZR7jN9yLyzl7v2qumAEk+3nBRAeWT0BPx/A4kOGU08tzY3QIm/
DzX2E0MelG1Zv+xUYL1Sh4J/ZThqmRElpm19BgKNdBjG59QkF00g4p1bBS9ugIohYETL29GdA1th
ziu8m/wHEGe4XPJl+Qv9WUjn5jwqgwuBPG5rvq059760CiVjC8kqGPDVJhiAolsDYgFMgVhnu8vk
MNYKJJR1uv+br6bbNTNBRhk+8pgpBChYRi4mzV7n0BpQ1chrxIrsOtrqNHvI363af646+01H5AJY
U9Gc7IGjV958WnRGGFTNZ5h/NXwSH01MxoGWLQ7uFkZnU/uv5ABmClhXktP1U1wmKweX2L0P4mlq
3LU0ZNlNRUDyckJ0Qt4P3RqjfwJn0DmKvoQ+DOCXCYTeF8IBm4XCwcobi0m7PRHv0VibcGBU6Ceq
2icpRRXV0smN+caM6o89b+YTcga8OyHZecMQblPBlCEQN+Q80iRPYe4bmQg0wdTu4IYf1EhP4EQY
DN3uj1f7VzsjSwJyC9XO0iquqWBdTrfwtTB9Q8Fx+/Dm/iBsV+0bC3BnprPpDhXqE5xg79ynDtAz
NJqejh77m5WP4kau6P3sY+E7f/x6rIhqI+/BvtmJ/cS5VKz8LMTmkIriW7ogmtJ039cZoVqZ+zIN
DN+SbHrowBNeB4YDSyb3CbXGD9Ql0NyRrLd8hD7mBwTFrlHikOeI81ytIFs0f7mGsKPmkrWsTpp1
AidkPYkoYAmCfD2sy01dsjww/nzwQj5QF3tEG82Uyg4x6NLh70cxadLo85/IyJnOrfiYw4BBU8Zr
H9tRCsHBDfdxzLzutk/DsPDueME/PwwgLOU1KjNc5oNMvW2HBpaJJaXGclW1cOmH2ey4ZXdw4GXC
AoXB0y/NL8HkXx7pZcxrlu8EFNEmvj09kWSU7o7qkyGLdQqsAPyqj2Y1xNlOdifj5Tbk7LJkfY1b
5n+iKrdDLf3L8AUrh3x6aeOBVjXBuewgSTiEgNr59MNJG1dHg3mKKDvmqUrShPMf7BlwAEarQoIp
/ZOsovcI62eSFMgodXOeCzmy5CKeRc4w9tOR6b+VEX2hIiZpNMJF+DkmYXznh/vSzubdbZDTwrw8
RE+oxOKNYvl5Ux2WW4X08JpggEgzfunQMNrOAHbN2L03daoPhDGyS1VBtCsMaWaVTSZXQyCNkQIX
buSAM/YF5LJF3KBF3RoJNC2T6LdWDcx+aKprBOI1BqOBVkzY21rMJyprngnQ6aiBrHMLn5gYuxjw
mpg2HsME5CTswQ0w3XFi72OrwH9YlHuIm6/M5P6jtOanHAk07EN/xLWz0Zl4zmP9ZRMTGHVBffTV
RIVGOGNo+z+Ns/yNfAcUYhSuxB+UASFTRG/Zh0RbKUSTx7icn2efvCoyYOe5YPvReGdSGaejYYI2
pSPicIYAh8VDoENevbddSKoGl5De4YTauCZj37bIh6FuAubVBKuV+e//yk/fuGQ1mP4vT4BcA0Uj
hoD0AhpNNInRMHxLcPDAcZh7oF5etzphS+BXGOh46nx6XGz6dMtpfCF3dV9G6BSpO8zFy+w98tdX
v+qDrZvQIQW2+WtFEysoy0mIkLJfTcu7NDq8QRXZIUDe1V1G5iybBAtdA/UcccLuIomVsD5ywF8n
Kl0M1A03kQ1Yfg1NW7B0bwDLw5yOAYni+fEGNNcSTVm0gCosRgCWCJn8zGHgGZQsWqHgg21v8xGx
pj/8hXsTbE0i3xYkLmLUZt1Y3hPCXGaqbOw2OUrkBsrKq+uIQ6f6ZlWxFNp2I1P7Fqv/Bm+KWU05
tb2vUYMybKL1e8HfZ3PSpSSWVNb0Hkh9H/0v/dWs0wWtFmajdOdl2VuXpS8I85DnVCmJSOzTybzB
cmJyW61z7YBvUeE5rsIfqmkEtUtNg1d0vEgtboU2zB9SK0nPYfKnZMS3KVFlbhpVuhcU/Gxo02Ps
Nj8pupl7hh8DA0+adolkYHAys5JuUV15iKm1kgH9CpGVJmnatcPiFlFwAk4lbt/bigTkZCL0znFi
dCZo5NwG+GLud9XORrYhB/XN/s9ekwuHHWUxDH8GBndaoXIzof3NFktumpueqBhg/dXKv7QVBo+6
39Y5CkAd5gSsGSpnmIbHoHxl/uDfqdrYmwns3prg9Hus6HrH4vQVw7q3D6xGbcXSvHC8QNKjAd2U
8jN0WalqmoWD49+jl4qvSHuWysCpdqm4Iryr/gLg240MyA0epbVnbsSU5AgMUVAz0fghz/VKxPlt
fqzDymzz0lo2MYt2RsDTPvN1jHjHOzvYCldYmprdVPnn4UZLvWnAO0AhwxxtKfryFWPVeYOcBrG2
F7+VbJEPkyzXyYi0O7HlwrtwwzZn9d1U0QdgxE+xQe/xvTP2YFPPAAkqQJYT/mNZmIVAu1YRVkuU
LyfV4jhQSfHPTKQ6lECVZz8pL4vIvxIfMX2k6+nkskCabaKbcif+GfoF4eNDHc/yYpNblnIJH/xY
yU0vsHwli/UwOno5mqr+ZGU0M979NRo1ckFeyMKggOAkS6zHriL1j/wvBykYFI2zPTw6DRScCGfB
WqgE1HQal5tKY5JOxg6hM4rBJSt2S8AMuFJMtpvm2MUwU7mfIGEng7+ljBc8UAY00CDSM00CI/Ga
Dv0tmBbnjNK1sF3NAI21NjsmuKUl6v8mU+GprbzxvpncPY/2cJxvAPecUuhhaKfjHBvSI8GFkEz4
loVOcKag2Oi8DMjxnF3ASoSQJMQGk9mizF0JGIWNXcUVPz5CjbBAAnvWCa4NC+YqrjbegPivXdKG
Z4/ZTkxekot+F6gc54RriWhnRpg4mpHomUnow4yL5WBm8gcWkMmHrg4ZWejIHMjYYeVEe0YqUArL
erDJNcEJiyh0+KUEX87YUe0zLpM/mQOMvV2QEq1yTHzrkEHUxm5b68y+iQ12BGoCIs5X0NfyjLDz
J4lnQWMm6vXcL+HeCyqy9QRWr65fAGuleAwdPxb3XSJP35jZs+OIqbrP6boJgG72o4PPwmYavK2L
AXam68NUTRAcZzpWP40kYoxzrw/zF1MU3lPit4eUbMr3uVQuJGA8U///Zdw64KSjumLjwD8VtJpU
VFl+7Dl2kFmTZaTrEbJ36o/kPwYnjTLuNOjwYlkaxUNFXwDTXZ2q2NuMmIovS2l9W9r7hX8BIFwQ
Vx0vOyK6PgzCsVU+d9+J5ScbBoNcvmMwz/ezo649A5ST29K2uMtANihgzr63XyWbTtDB3inuOEgR
yuHrX0eeT/yJEt2md1BkzTORFTUFFMY3x17lMom2hY8AbUiqGQVhsBlHZT+WI+Z6e9AbzzjW2TT5
S1axAul9HFCD5Kw2A+1aZl0weUk6JILW8/4tlCzzWbUFrECqCeFRQRLppYlG99YupUhiiA/t6LFn
U0Y0n8k6rG9+M1Gqq2u3CAW++obECbuyYpSFwWvWvCfh50xQOQl0irnEwmxEllQIFQY8GkU/eFRt
cTfK8NK1/3F0HsutW1sQ/SJUIYcpEQhmUhRFSROU0kXOGV/vBQ/8yq/K15ZI4JwdulfHvirFXlV+
TGXukwmPXCc/UI9sQyS5tfk6BgR0JbBzWYLYNU6qlnrQ4NuMU3AyVzZn23wa7TyHboU4YiRCGGPU
o0IEsEymo5OMWsj7jrNXlKxXiRVf20MNmEgab3BsKVh5iN0QyDIrp6fUQndvO/KIw7egO2gDkqlw
J0CnFJt4L2VnqSNsjIWrUWOLzNlYTJ1yaAccBUgFGEAdCzxs5UL2Fb+RTAaHWT8tJmA1AA6E5vsa
Efc0OUyXlAS9U3Ue429zxXrLAsxyWkDWnwJIK2n+EEzGTCGMa6rvSSP+RC895sf+KC4MCpuPSONN
nKPKLfPXXJdZELOX6GmhEM+JcFR6eBcFIP3Ksg60HtgyvoRaf+G7dzQCKQb1KU6kCtRQ98ce/9R8
ZWEPxK57SAKqZxIMxOYivIWJfO/Dh0aAC1wsV883gfBdQd3zsR4U8VOe30PwPkYIL7+mjRDoF2p2
/fRUSn2cataEcG6D7l+OVROVMxgEe25GVFWTk6YV6uASsea3Yd6zGlgDxhwgpAP8LjD3BsjXMD0B
OsgSrPjJp8luQ02rTdihbVhMm/Y+RFOF9tiqe8J3Km9hHJKZtBf9nu/Y7gaCXaTpkDSNA5LGZgPx
BBxIcCjcBMIZOgUlQXFlm4Nj+4y8lljXQ0IFNIkf+NxsEheJ7RAZXt0r7BNVfpAYpcGXYJ/E6D1C
9zFuCn10YUhj+uo1RN9qyRSEhWznxuUlV/PTtHz2o4cKcU1XIPRQskU+xkUHBV3tEnKQJ2ZhRkCp
jDGVARiI1mm7AGRYkKAvZJAm7U/AqAWOOrrme0a8QYcsMEftpwawoJtPFBwurjIvmoJHJQ/bAZRX
N26EgIZT1T2gZYv0pbJ6rpiHpstfXOoHWco2oXZioy/MGiKJ3JEHzKVNxHvPzzKP954NkBmSLUm2
vEy4t0kQSCC7ShEcI1hoiQL1gxlyqqteFe2rmOCFxNcV6q/pHdW5H1L9A8+g1lF2JZKNQf8O63sq
fXUEI3YkszPkTa1XuftrtfhX4Zktkh8wyRux2gN702jR9O6rEg/CmKEnavyej0q/0/w6oDDs7DSh
KCkBzEDsAjdOomooslvYNTxwYnAuarAIx5hnKYW33EgwWjG2hYkr4DGVrVvf9h9ZQWfEkIB1tr+m
rinxW5f9oPje4PAVWQjH1UUEGk4iDu/cJpLZ6sfndAUiDLzo2mdbvOZoVgStg9R1yZo38GFQYoez
qO1FJKpBcTVLImhJvin1E9xzXhA7TQkrCuwBIHf+qlbs1ufGHeLSDjLJbvWdmV0KqK7rYHRKUey/
r2vwkGRbNpSoN0Xt1AZbNslIXvfpBMgcJXxOZHLSMgbjZ4swS9dYLGMYyMkXMtQ47k4jEgTQtwMr
7YHIdEk4ov7bFkW7kXvEs8z66qecCXa2zZE5FPgqSXFPfBPZZ8KxKGA07mVs662fNJZbzz/rOrAb
Puquf+twIFnj7EjMRY3ewffoC2iEEW86GDo9lptOFy2+ljzxItdqt1GYmU99vR3lwZ16OqkCrEfz
F7ONsBjKhta5J1HGLIEQjqkjagcBe3UFU29KOyxop5FsBPDNm5adBZMHRsaYQXU3GzFzInxOz8BL
9kZ/aQJeuiw6GfVOSI8dblp5vsDlwavQg4LeopMk6nYbac2+yxgmQr8tO9kuiXvtczbCIe146/VA
NHFVcsB77aAytgB7QbrFHxWQrbMNECPiMUyDFQ/fd+tlonGgxoG8tSpsoG4FECUAjiBZrMeObLHy
FoP946a2xxglAUGDbUrEJSdJ0O4pc20LR0yoNIwqaUpYrM5ZtLtNM6B/2dqKNDdIEBDqNxDPLhXC
VsQkjoZeKbSY1GGEDvSPeVJszK+bkG09pKRNGd1yUNPjQHQiMtMEabZMfYVhgn1DZzfxnzS9ruiJ
BF02yzU2IF4BTK9tqP4MEjz3E0umCklpJv2IAf+d4llLiVcABFdbXCMkRjY1O1B86wmZrhBTgPps
dAWiKedWEd1gGNCUOAsp01kb2IhAHJHo4BLX2Tgzsy83cFE2LUnwAtxsef5dvQkYw0+lQsoHaucu
lQgIV91Reoq4ZBb5MIR3wUgIs6pw4usEhdzzmIgP3vOX1Ryuz9em4G5QhAckCbZSXCLmBknYyFW7
rLqsfZRrbqJGp2bdaq0yq370J7Q+SPZGoHslEUxUlz4Qkg0j+m0DsCtN1XzDwiTM+j09sp3Ipxzb
AS0xX/FFuWrlSVxX9+SzSh6bDFpw7TZwjE+81HO7Z2nb5y2eqMwR5BKVykDdSoNGpEWUxOsW+ikK
74i1DKzQPXHb8y4r2I8BjmX/zwTsNezOff0TtD/K+Iwb5ncPYxLviNUIHWL3QtveRYHTl5jho/lb
nS3+v99Y/7QBMTmvaTk0WKnG10b/HkUkjiWzD/El43dUeVMJKymFg7yUd0m7FiSQtUyctfzQKhc0
cyuNyiXvuamSmwk7uwwOsUmoZKk6RVQd08DYUtrvC4LhNPE91n9jXbU7OzBvZnvWESQVhoV6bYL1
OdqmXO8TibeGFUs61/y4FPt97SskpxNaC8huX5UPuTugqvRDM0NUz8gMxqb5oxYnqeh3BvQVPSNN
uS9gKkXUAckGlEGjntsKC2qcQITt3JDXLTWCq8xxH+UG8YzKRyRD50iJe86/ewJdkpVqOiO6OeUM
nLGiC8RCp+l8a1V5LzDA0aZ9M+0CJsOVgraK3BA1Raj9T1gUm93SIWve5fZPBe0Divs8RALijfdM
LrxJGW/XHD8VUFhDThmEr35fHMLlWUuQl2MSnbnG2xfD0h1pAOGthaDUGYggAeBUN0fCCLWtKKe0
P+91Q92E/IABW3dpAYybE4K56RmSPNejB1u3k9BDTjSbrmRyCOdt7q4pSVHjlV0jcY+VuzIhR0Cd
fqwGHAMMcfofT5z/0Yofir68yXVMD2J1XjGuphLyyVX1kPJyasE/U3zETJ7qRCG55H3UXzP1dwwQ
KQrAduDegXsrYagay60ozNtoFYSHCW4YCL9qWB/yhd2q8ECj/joyCmGx8isQaAd/nNkPIuCRgRrg
hIe+5hNiB1bZRmDBos/hjpxP+ZrgQ+CGp8fSsY6EE0SozJwOkaF+LnRjVEzwiTjXdfFYljJOw5FI
KrRfMSU+dRemvzRqLmYSHqY5fUdNRXUKsVOl5leNV/VlRrI4z9Q7oP2QjwjJG2+FI5v1sUQPpejN
bYlChp8Zsm4mCYHkWAb9d93egyVlLFTeQeEiC1VQFyDWkwVbGKOjqS77GiY+jkxNOzZatCuneYft
pyNMZFgE3v0jjcp2LiVfgFiYXJoo8zK/hq46V9oRjqkb5hSEgRl+x4l4MZgUsKLaAR/dNup7Z52t
qCVplogAuv2SEsOqBO5AVjiDSdZJV257/kmNYKMOEZ9V+x0Lyrq1HGKE2U63AO6En2UVSiXMjHsW
cwepCpwMNr82+4vWupXMVHgtLARSxJbyTTdLOymZAUlegA6Dh0XJ/WxQIHF+C7igK1V+zYriDurU
FWn+chWHJY+7CNVIH0CXyftJ3Ymlhd6TnyVJY9+YfVODiST0rgXiSjFek2F4DYACrf2mCP21tUtR
Z1wO5URFtMY0eQWB9jtVji4M8ikCR2csLoOheJq6bDqE1V32nqw/ancFZ8ZamViFqQb2Rk6o1j8U
EXtFY9Dl6pelf1kVIdLwpRsKqRuUA+HnTDZN0k9OZdy0Ba/2jFcNnfN7QX7V3M62yQQv1hGB0C61
pwqrLcmLeyWmIF3IEjuTWOym+nWYIdWy2reEZwUrA3uNx/GzlAdLKLey2TxbFlEqTr4WWBNWg6LK
d4zc3UDUCLRng845PAunRRju41S8xGlAnwEKfSk8FVxuVLd+aYxeT7yRyRQ7Dj4bbCRGTm6ijHre
4LsGvvHbQAGGkOOMYL3bmqyFFnTUuF3ixpOw/5jxB8DKY8h8ryUZbWStqF7b9qVpbiv+BcKwoF4N
ckVokFAtZFDYJ8rkSHeTCXJciBOIRX8tChe9hLFuukVABwyQKV2BrTKLKFTYxOS+WSr6mx5JVgbW
WESlK6olSCIEdIlh+pzQ7kQ1QRlXUElXQWfPKymOXV7M7yZLu3yWNhHvQMXZwDDIk+XQGZO3UiJ4
gZwWOXoEGkW5BGHkRqduN9tEfw7S1gyLk9EBZcW1bx5TShWrumFhHfsv7tFk9RbgeMTbGaJDrTnl
+Dw71Dph/9dUGoUSa0GCilALiMKEsQsEKL06QUdyP7lh6hXNT47eeejJGUkrt61uyG93prLuUFG1
jSARNkCLNxnUBIRZY7KnY3QtBrJ9eYm7ClgbCvjZ0aYcUR4JkE1zlUSfdSVU+j22lkPNTdbGhC21
W6B0NluYdwp+9MrEuoDAh1C604NjvPpexfGMxABohLmn8oq1ADoFluwqd1r1Q2c4LApnCcfCRMqh
SuIWm901QZCEclCppK8OhkyRR526vITSXoE4JbLJiRmsMCb0uujK4o1ojdZtwRrLkeAY/Gao11g0
E7oa+CM04BBw5dy90CbINRGZwW6WybsTZ7up0lc5vAKJSBu2LecSTESgf+LdQCYI6SKrnv2EAuSl
L8ODzgaKVY9NyldrYj3EVZ+lXh3jhXgGSkezbtiq1nr5WsiogHxDr0H+mnf5F4jYz0k96HR0WRH4
Ms4fo1b9MYTszeizKo2vhVZvKArfYg9rlFDEmLOUpFhGu4pZGuydTr9aUNV43iIrwljDizIX3N1n
Q/xXCaEv5IBCd2hgilzyWosyiTPX1F/C9p7mOLErhsuGxw4yyf90ARjKTxp9ltZubMoLMBUnYODf
LAyoRqY8/WWQOPTdyvwKJXEHXIhUTxqAFq+FU4YOGSG21KzrNtNmOAVyaZc2x67zjfgoUU4OYAXL
ckLxCgyOfSaUlUj3I5YErKY8bWicpZVAzJPO0ptgXK2vLCZIUO68Hs9dlQb9KS2GoypQg+lacyyB
eNqjOgBR6sW70vxqBPZ6kAH2gQw3Shmn2rVEafCGCvKGNWrtGdTChq1956XrmEXbx0AlCEywHqmm
9uBnWRdD02M4E6ThTqtGf+j4gvVZIVzXjMAqtvgleiURnWq1ZOVGlB7hWTHdPw8WsS1lpKTbKVTv
aUUmeI0lOkaA4c5JXmzi1FT9NpLvU9OOF3SXBRn0CCYXBo5KooacqGg4EfKM6Dg2VlGKbpvnv3AV
CByb8q+YcLONoDBiUdigJWxvA+QKl7BOzqaSnMNhUrdSz4QuH0zmkQoandGpYID6PYLV3cK6Sc0V
k2Tf+ZnxC54Y2721q56A5Og8FeJ9yiKGJf7aC+Korq36py+R8cS4rtVwjk4QsN6KEfNiZ9b9QUgY
GsN23ak6STwLbZ+RxeYjYUq57dUEFFDZOrpOz2B1iout/DLF+uSDk8GzPgwEdPLkaK2FucF6sm94
GQqgPqIkPhjnvxE4gRSKNAjIWn2JSLTLXyWddpyvu1xMzAwT2rfC6L6remT6FlRw8o0HXULvAqn2
KkagbhwPkl21wZpefYpUcdjKXdxfVjdDlYm4MCCrw0XQXzjIX9JpAPZcAg/uRc7EfFT/SYjSz0Dj
FT2Ajc/ZHwCL6IxlPrPIl5IFdOw4/aH/7vfoFyO7CJR+O00YtKRMUm6MuL+DqLl1ulH9ZCCcIWzt
tF7Kd0NGbTMkEfskLXJn7vDytwSo648WjW0+J1cTmNcoKfKmDT4aDWDRdq75qZqRKXe5rmt0QtZ0
kPGb1pnj6E8yBBZTC3ZaOVoqFyKFNQp/UoDroeA3BZWLHEDO9xbj1xJConpJNKjJi1DQvSYQfJo+
YUhLrJEeh4nzFSkUL6NKe24MAF5JOFn08pqnaG4XsBY/ZdpavjQIf0i96U/Z1myMIHivxoQ7Ce4M
wHX9XdRmLkiMXBwNN10LOXSUmHEMYrJRFke7WthutGn7F0XWWvgMXCvT7FaiLDiseNj/zLGXmgLf
oTLwCAmgJJe7iZZtfS7qwVL9RQVQl0sW+Z168BgFWFwaOX4mkXhxKICqZiwhafEbmnBjr+Lp7WOW
y0sd/xjyuzRR8tsFl5DQnKRZn7bKQhbijIxqQM8JlhooZpPu1JIRdLBWxBNgLkXTX1VrzM+zZJyy
qt3LVsrphx+3rIgUTKGQk6mNKgcUIkLdLiVLupIW/Pjcm1OkS4wc0mGjFxj/UCKMXfQFDpwDaxrL
o9y9DxDEA2X8zpTaN2NuvloOudmFA9rTjZI2u4WhotUaXr8oJ6GutwowEUXL9nO/oBGGsKYjgVUu
SkTkcHPL09bBekc03KNLzL20JsYheg2HzGsMBX7Fd6MrkCYlRE2JKyHbgh1gyAL/2T8N4GwjV3uT
eCdMaqfkXMCXsaMSRCEXtI/tyKVe91QGvkl4Z3SDS3r2Ku61OpvR33Ntlw+MIyRNkfg4EzDDWlwQ
ixctfilj65v+OAdTooslfqzvSf0h/YEp6mexTi94sKyEoOl2m6LTXirsC18GscwN0lUyPAeRpQSp
p0X/1KN0C0kKX0/tGMMzXGZfbkEmBz9M017ToPTr2Dg0EsEh7tzUZCA2XtwGfLRstmCCpin+K105
xJG4tdrUGwgJ0K2r3nVbWX7Uy79U/prQe45gqSqayID5ccDAWqpnG8PzWfrIK6qHs2ARuy69qZhm
JnDv68dUMGepzDdyPeO8PzVbDROkshX7r5S5CzRGxuDsW1NiGdLBhg1yXRgyKBGdBcjBpHEjDr8F
87+o/AMNgRyd22lCykV/EdP4kTwK8KjdS+prGgHCQU418nFju8PhZ70MjG3SlO0gIvG+mDbQNvfk
bsnmp5Fvi2Sna25m2XFwU5q3yTzqPFTRit3+LcxlV0ESI8uGZiU5ZkyrBBq3OHdDqoYCeqMZT9dM
Oi79BSSLHVaFXY1k7ipA6vubrGrXUXmYlhObr/9PfQ0fVgazGFbMDcXmqqcwe922gpcBn4qWKig6
EJPO0ynNFycOA9vQ72Z5lvMaUcSyVzuoN2lxKsDdzxL8F56oSbn3fsGIMY1q4FAI7xSE04W8qxF3
0JplwYgNjR0cr4GYnGi0aXkAw/NeMkRBQ0beUBQz5DDsKhJ2i4X6BhmYSmD83CA/F3bAPC5zufjY
Y9g85U6q0ppQ4uc/ifokWoReEMxZB//E00cLiYTLy9RrrT2knwk6pUx54pbfKrQYLSLlTSOIrH4U
KOtARpkvDt22ZHuxzPg6NcaslAE5zY10nPpyQ5Hthuqxn5lomNLLkpqeNfZ/FU18gZgpwxmw72H2
DsyToHDaE7vmFIHkdGjzDxgLy4giydwjucBUtyr0kMHbzKYwidhliaAO+qfVM/z21AxHZ/UFrGYd
HfUvUn8pUXuOHXAS4l1GFF4JKcEs7vLshOrJ1PAXRLwjoaOW/hJco5i0h4QHudkE7ciuaEvmChRf
hjzn0rzFOhkRuLCIFNjwacXhlhramE6SwNRluZ/ZD7yU9dOoXmRklkAobUH5aMB7NQr2JwRmZoCI
eick7RHwPZvft4RNHaAql1U1xODfhAN0aiFIx7xRiF3FL4EKL+s7LspPAb1Tl3FxIt+cBpz5LDMs
lOyldNalrzr7zHlFxGCLzMiW5ZLoE8mugXyQwCKM/OynPvuoJc2zqF+mEqQIQ6FERtVVA53JqLjM
HzHE67LmBaaRy/p2E2QNNGJeJw0jDLSIJllDLKR7aop8OSVdSHOoo/ayzCrtgHXqEuPc0S8tYnhU
8zvcP497hrkzCKMYv1wlom99DPLwK9X1FVhwRGxebEyvTSZtE9hOdBebpgveh4TM8nQ661X0O8jR
00jWtBnmO3yIo0VJRa4621mj/zeBI45zEovAkgQHYwLEGxg1t5gibfSpdcgOugUYbMXlOrQKCanq
J2TzW7dSManoorMRkpQsuSzOX8weB11g2UUrI1LBbUe2H/P5oZ6Os5VQ64zF/6uioRHwI3ENmhW1
KT6CrHv0iBsBvTxThDmS/DVI5fcAFznrsnNB9qTJnZoTlMtijf1SvI+UT1l66lV41b+k7tZgPgva
30w4BEr0rbbinqBALMfmxyhMnrysR2X6kUyE/fDJcIB/tD3DJmpag6d5tfmyDhmAygd5g/gtvRa4
uNnfMvRvaGiGyMQmVO7DOHb6EMGOxTC9qiweYX0XWuq2B/ZpidWO+GuHDAsWJR+ilKEwnp9jlr72
bfkijIYv8tYVylcLjUKTezoW87BMXxKB7Wj/fkvSSmO42wV4At1cqFg24qb8HY+tDqfXzlx5sPuA
iNS82kiGyW453pHHmw3VS4M9T25Q8PfRhVBU/kS3qyJQUfVBWL1zeG/lZHpFk7e3qt6uj6+jSu9I
kyMOwlWXFvxyil2JLh+BYBAbdslZGLLTwnBxKCvtNZjZEc3fFIYS/bHTgRwyGarDl2MFri6U5mxY
zebcCANRSTEFa7fhGYI7F61kxgrlEH+pnOc6eniJ217E3RKqf6gICqz0KPCk5RJZthK4YX0iDF5s
PzLLvInx1ppfkIBTz8bSYWkIFBckPwHGXx4jtAQRx+xS/lx537w5epA75KAkPvS6sRXyf10h+etL
McTPqCKSlqsYqFWYKxz3F4Sq8C202QVspEFRPOX5pak9FiDI2AzJN1LIzw7mcb3G6wQnsufuJEmv
E7HaOLB5sRIZXCSKx9EIEpV1Fm5WcgsUADS35I3DG8e6AGQdK4zG7BIFJLeYbYhbKtcCtTBZBXcW
w/qRR6DRNsKb/GvVHnADlyAIsbdl6rz0biEC3cREbqIR2cg75BDNv0SRH5msAdpi6C/DHbEwwptg
SXqJvXJ1TfTC17ntjAZQXpOzpGyNW5er9k/GJjAyxZ0s8c1gunXxrYv1zowqm/SAXVZipupHhqDc
9X22y1PklJBeNSl0JEYlFosfbhQGBWPlE++XdbET40f3+TwkwqJ58zfTI0U976AmzRo7CDb5VflX
fM3o8S8lakwAI8I+3s279nV6YDgleNekFK6c+oOpgIWcebA/wvfylddtVRxfrV19Bb27wdIyY1J8
QU6MJ1vNXkN0CyM3Od/jJYMzMORIiAaS67FqVCWeJbaJ1JIzi7NJ+o6DktG5MfwTBkf5HFne1s5i
W3uEAv2repS4hWQszwSd2dYfDYcFoR2JKZMPliNASH7zK5I6zHM0foXwhH3OaleaXbU+EQGOEcbc
8rV16X6quFk3jVthEcVZjjpgOU3IgWeg7Zvi3/wOlQCdMr4LytAFO3zhWspHvjpXfOa+aIfDDW7c
wjQRv/HsUgSRUm/z3POjEaCu4jn540fBc074LTHBYJLJqOsyfiZUhxjvvKByhPKOpwZ5AB7OMTxm
omuRDkuC0jjs1fAgmIc8OnD7VfOOojjsmBv7QnVAJYQOpodvtC+h1fEFQobn2nwvve6ESUIONq3x
i8nX+CMPDsVsCWVs9NmcMEZhvwcJr17OEuv08FQb343J5HQ66D08IqeGh7ND7Spp51l5sFUOs1ex
vSuVp9WPhruLZjS8V5+l6mvmsdcuabkL08uaNFtNaNZh5vSXoOX2OD20kDfhKSZervkdqgDAGFRt
Ab+ofu/5u1J+EaZTDq1eRwYs/QSZJ/yrOk8WgfG5bbiJXjiJEEgzZsPARzEY2yjWUbGxbUl/JJSK
QIBM94GyoFUfNAMdk2njROGH4qTVOLC2GlTlLdsDMz+p6PHxIENrWmz8NypjMKSa0pZ8dZ404tLS
zMO9XcvE8Xpq/JACN0l9NJ1qt60zT253UG3G+pWDgsc7wBDBc0ZSEIsLJmbhN5jsIELBw2NPmopX
KK9mb3fJzpC2833M7Xk5jE+ZkXyEMoXMdHdUSWwaEGI71mfKWYvXAA+a8sojUlQHvt224w+fgmHb
lHAsWXZx0vp6dVp4XcLgpKGg3ubNjocYFRrj8Fv2jFAnJLumWX8lhQTE50LUnWlr21rjVI2+NPGk
TwejPLStLwp7k0jUbM+pLpl24lD7zKu2cZ1LFKSxzHd+ITGijTsv5GblQPbVbR3+LIYtlVwW1W0x
HLPCneXoM6aXrUw8ULoryn+ZslfkPZidAIrpcqk7VwVZ8o+Pgu+Qe7J2zdSeNEfRz3Bb+Hq63XRG
+1uhSIq2qkVlBg422jJDLOTLKF+nsy2CNWgc2i/WuEKxlRa3an6ZZBsQ5LpdEwKGdBNQGJxCCasA
d8DojVLuRMnJQjbA1l/YCt8Xm4P2SeBHQhkKAgWxXsk20q6Ge0s5Y/1SDqotazdW2g6wXKveiFRD
Kc6oTX3BeBheMvjYwwn7FgtvnoDgZ/hcyP9IoWDZJGb1xaZCpSdDSmNxgUAXV5y9Mo5UWJ7MVfYD
QnXC1CQP1FtDO4SYQSuI8MKGfUnv+Krk9sCfCxBbUtBvGp15ioP6Rn8K/2JulGUHKoIC3u0GgCzb
jBuxvPPW8KuTSzNsmesXcEMzvsG3SvGSzxXj965AkrP2yPVEqpTORm+X8zfQL5MNcbB8zYAH+XTJ
uWnwwrKxQqnw2o36rmOEx2FHypdWo266TxN9oUjbzVQIgL58WwUlg/BiEAiBfggfC2yBrTH4cnOq
ER1hPhJRMD8KecvKLe73JmcwL0gGp4DYTZIrnUY6zYzSYvHcccio811lmam5EyN5FdONn5TbpuX4
cAAfpNfR+VDoCjdpeAj5sN7zyeMgloNdHjoZEsPpCuaMbUotggO4LWxl2Fo1e+aJVm0zHyC+1JK3
ug5fG8pBxNtN/DvIQWdGhjs5xuLWOQ4xBhOb8bh6thZXArhLnFMpQmflxPbwzmXRLaKFAIiDxMaR
UUwN2/hjsuzZOo0xFZ6PlDMgpVN1UKp0oq1UuD+d0PBB8lTgRwiwSD2534SvzNfqH4nougfvGAUc
nywIxdrkJHWU5qhEl5YHh8F2/mJ9FbPdV0hkcMtdyJRK1/PA1htG/KTb+ajVhMSPkMVb5w7kMobA
ygYpVodfRDnqBJ3J+0r0+dXKyE1Vt4RFwC7/b5Qcfr4ZBhyrms8QmeRdaM7qVcM+Bg6FRSUxkxp3
u9N8pTGriR0tFGJWXDzqO9Ez1EvcmeCCOvW9KH/E2hmaF6JmBv6Rxh1/WzJvqE9cXideC762dsfD
QxRJ9hWdF+RnbCLI+mvX0xauiTgeUr7q5QotYlYZQpFCuOmPQnrX+TV7m8UK67iy2aXBnkWGTg/B
ox+YF9XaA5Vnbtu5ueFzUGsEFwhPBvZTjvLWS9jgV5sOv+yGXd105jSYGLr02LpfgAuyBMXadZSR
DHR7DbKUEDxnw0eIp85eq/wtpBXEWLovwz98edADfsrGMbvtbH2Zxq4Fza5CeGj8tiYYabwrxSHq
joyxEpHJJQglpGV+iqCgMe5M3pQHx8V44WbO8X3EfnlR3krtJze+58YfcQS3FSNu/qU96C/kH0Bc
IKKauxJFl4H23mtg4zS+Huxrczuw4KZWR6mxnLBjsvQcuRbyzFaRj2Pf2MiMM1zeIa5Y7GUtNAbs
TOjClw29QMm7ggJGW6tEeTngx+JIQ59aA1/hiMT6Sn0s2+k7JXV/qc7GbcVA7vR3Zd8Rq5SMdrYg
jITR8CIYPPAuJDA6KOoSA4DXNTSpP9D/OZl4oUDtB+Y/WMI3zIqL6o+iJDZ+sFZw6/DmC7lD1llq
7dLqsrSgb2kYPEMncwqsijuyQwy+sN7aPZkcF6Iu2J5zfaUM2skY97i3qegRN3bWPU0eMKAiW36H
BKePTAUP4D0a7jvphF0hZGAyOE3maMW+QbxQjEeVLA2EHMSpjd2pii7S9CIk6H4rznViRHCNGtRI
8jFBk/K6IINfYPaGhsdjRl1V0kICYS6nA9YeYmx5LzjueOmqM4+fMdJZ+qDDANSgE4N7tQ2bUySS
UbnyJHjojAdP1r6cClYB0KTW8pXHKiq2FLRUAPFVZ/r/rlqbYZ8eSY7k4OB/GbdQyvCSywqrtMc4
7snSYCGz0zEL4tw2XGVdHzJfthU8PCEUJvJ2OX2OMEWB+kipW7IQiH+s3gEvQCpS+DuduR3q65Lf
5xHmrHgVKuISkNXAoaW5ZcUsCpuYTKYmmHaRJe7CKt73S++H0GmnilBlmlO0gUhs0Y3Urs5aVe/E
lzXNY9b+uLTHZESqQChM/05KOFWZQVz4a2yiwRovwogML9upjF2YkiiSb68TbTCdtJLxCdrKCkpj
sCUwEiUDj3EYcsKJ3F2euVKsN4sqIKt+bSviMTQcwVbhiAah3QIabTqEfrjC+HTq61xf5qmnzzgV
5TeBNBzv6OyiW8PJXhafSrO4xfyVYd9G61l8tpy8M/lTCSkPgmSifkEgI31qbQfOuvLMks95kFwR
ecG40xiKVaAS0j7hq8+oM2CvYT9KDY4VXpb6vHD6q8N7Z3SQidRdS3yUVrPLGqXTlM3YWRBuaLeQ
WMBkYdKk4HpstKuZQQ3iQTAmZs6ZsRl7AgyXY8bEhxVvMzDJFgCih16vooBz1PoS9+yyfvmQu5Sz
fHnE8k/RkDoREm5df6kQXNoqtfNhZPYFjY86ju+uZfYZXlvxqchYsb4fRXZVNWAFLBh/WvXExD4Y
PodK23QWo73rBGwqq99F5ZNsLPTuL0v0hujDIxDxJUN1DHFS96fhmak1485QAwayxoSrtDsRFWrf
ET42k6WglYu262sSpDSTCAV1fOmlSd+ycGskHD+malHv46Ufot4LVRoDOeF0lszCDy02LsLU5uy+
xoJ8s4k60ORM7HqkLBNudtFyhHTimMHWh+iKpHp2LW5ds7lrGNCye/zXFuyGukH2jZxTSV/AXFF7
oHJLBbZTcD6UGlJAzYqytkOpoYwLTMZiqN8J5F6EhOsqEGjGZ5ajBGjbqbaN9CzdCxBRWf1Xx0nn
0QuPsdm/xVBdQksLUIFot2DGr/AfR+ex5LixBdEvQgS82Ta9t02yZ4NoC28LBff1OtBi3pMUIzWH
JIBbNzNPWv6NhosAI7CCOm/DWatwd9uei79Kd57ifwbPdcCSpPz6pnEo7GTtu3wGgdoRcuQIEYln
gZWikBmSrKvB0tLOZt4QNDQWfs96q7HbRRaV7xZ3JeqTyDFvZGF+kHprOQ21S8vwNulQH0tpftdK
cKEJduHZ/kprWBhEI6efKWA1Dka4AIRC1ONRNKTR/aLZqW5wz7QknplXBm2zgoI7KvTwCofF2KB6
Z+llf7Zwvlo6TePcWLZDuiOMvdGq5rfxLcLkHCNKpK88d2bdEBJP0Dlq6luRxh+lGhhIL1OpYLH3
WwOXTelS5NvvdQ2SQP3Tc8+0ymLEKZRAndS9nypTvuKSxX1Bixf+DfI9XlOA6wpwu7g2ZX9Fs/Xp
rkVfmGrarr0z7C0Su/P0kPfJVfW7GAE83oHZIPMpGBoaGgb0koUfyHRz2TrKUirAwzTLtNm3srCh
CBpv/DQL9dydU0PWQKTIh1fh5PFe1Um9SyCn5cyuZO2RIcnrzrE4qvjPB+rMTFqu2rYHEsT7qOl3
1QwvaeE8kx6KoCRHAPJhJ7PsaqhyN7mDGZIrV6NBPQ6IuNc7T0WOqLR1H4Q/eNJhlQMIZEUIYa2m
8oZkzR4F8Eg3CWFrbi5gRWlHdo12E3YHiyVbRQ2V5fPuF47Ntz/bKbl91D35a9dc/47y6v1rNUxz
bnPWY7DiAat+OOejFW9pqd+mLtbtXvLnSxcWa9A8tv/62to1cH4Vp7sIKM5vbs9dJW93Go0bCXbi
hA9PIt3mrHbH8VQiDsWasRK18wVQkAgLhTWQunA4FQlxGtb6iZ9+Scd/Jtx130IMXLzEJRTXO+D8
gzYqXDd2voEIgH5YbA0RLC0t2pQeLS0hSFoWg8HVkthY5R8rz4Nv9gc5uDdypEbTXACn03WhgHjz
OVvqnPH5Gq0XBgc6Ro+1i7qpAr81WDMb6Zzjx+idoNneXI31dW2u6oZH7LQdi+g3KNkzNldZbqsC
VdPJDnVorZJ2Vw/tOsnEyTBIUlree6T5hyp+GRMKcpL9DdzGhL+yJlpHxr02iGE3bCgyjmsti7J4
n2CbdKHFDQxjNoXkU8ltjP9M0vhIV1TBOHNps4ydY4pD6NXHX0n3b4xbeOP73PiGuwknanwTSL5Q
ntZdQ1HSyF4LhZCcFo7UHDk9661FyQASCUyjTOItcSm97CkncsmX+LOYQFo12RJ4pJjVZ4l3TPC+
aJEyL/uQzBLqTorMCAiNmkx8WjH78VHYM6nGM1/JZ+qw1Whzi36c4KMWxJ44KXMzWypYzaAOosoI
QCbYq7ViJrnNBkmx6LtX7f4z3H+gz6gaX7jhrUw+KD1g1dNxzsKR2WZ7ISKMhuZcyGBfR9xgmnST
gtcOmpM+1VqawIl8sYoza5mDICsku0qVJrPahhgLGYBmB631kIJpaaO4lVK0pQ7F2gTawwXQlHBQ
hm+YXG/Wu5DNsTCCZWT9y3PcyMJj9fsHBpPOnXAF13BB1QkeTmOh+yWXGkZ20Fg9gCAx7Mv+pbre
QUsRl9MZyeF9PPrbxBi3et9SiyJpe8s51aHJ6Vuz8z814NJIEPuiGdFOc+rCBnwbKog5pUenBGQe
+tQpa3vklFVMjWxAlrCTCPFdxxoJrKE0rJfJLEaQgEYWs69vKndgtOF5FwwkKMAO5M6CQySLFhAo
s8ATM515tyAfOItTtquWOq/4t6n8KrPh2PommBznrCO0Nw3R7I41SCc4a0hs6L7ccNc8Y0JaB0m4
KvMcRYKTLKips8lyM3L5r7NbHvL+HFVHC8Dcmxepq0AS//DVY02ZNvfosz7SQ2kpuwr5w8rc3wpL
kDK6VwYQn+C+qjtAvsCuHUhEU9RXrDEcp6X/p9jdkzKinTbqNzsct0RQ9w5OS+pOoLrT0qIAgHe0
cw6DVC8gC7v9OlC/RHjwq2DZ+coxX3ktT+FiDbH0ovfZ0cuMVTLWp9FmpY1m42nedYhq+Kfwvlt7
HxL273sgPZA833OCKwHWnAibskHTDWC1jQNNO+fQ23uE/Yu9MSagX/Kj7Go8yDdvhCrRdF9E/dhi
aLy3RBtIFCZNuDE6l73yj2Sra3dL9OGjHjYbJTfnll/8qQ224Si4D026ZCo9ccZrOIk0Cj599nS2
o74btgbexVzzM1lIqX+qcI9DNMyaygCipq4tACUWqLVY6M+6K19SiqPVVTv6MCkJfvUJHmZd30O7
pFC94xEp77blUGcFMivEWY39qx7bF0IRo/nKdq4iNNZRr9A+kRxGFGjIPmDonFuGOFm1/rVmL2tl
uJYc0sde+Srbj6YdDmNS3fJ2fKl6dJC0MZG/h7WZfMv+3NBwGvQPhWNcXLFFIssPjjk76CPfoPgW
8+b2AVN6Fs2dsLzCM0PGCVr0I7GHewVElz75JlmkQMiEduF6XeKGOkjSDimXoRUa327vs3Is4cVE
X2oj3qpILIMgujS6Ry8tTY+W3Z1SzOvIyByGOmJv9Am/61Qx4BQ89kp6a0bvkavBzWINrrGog/az
yTTnT5VkSJ2EqSoHIswKCTp3SURZhRjk3TJp3HXQSrCEoWg0R1Eg9Md0IaLLF6kNJD86tNiKM19+
OxFfeTiucyQeh/MEP3VaCgEasPprPxmZxxu05WtXOw+vjp61Wy3LwPipBc6cuCheIZYBysmXfV0f
IFzST2x7R8urz4OlzyI0eLXEW+WMu2oSERye4X79gQlCVZ21ZWkfYeOeOIRxR3f3dVHsHXPyWdQB
Ibzm5JrLhkhyltremyXJ12Am2YTIF5R5JaQLmkI8oMs+eHitUgIbZv8OA+pZUktXyPRd2fddfXSr
5F2U2jorOr6luMlq7btMZ2HYr5PCxAzSiFvpX31f/jAg4WhsF+b0cdOiTni6x9tW3HA2fQ3mAVPi
uSuqraUlL503CUwrRsJVNZ3YoFOt/dHfJQNftkH9AR+7VoIIf/+xo3WkAuyUtGhocbTTp5YIC6ds
2WocC8JblWrHQmqzpJOrru6PoWh+B5mfzFRZ5nb1v5US6xj70aBh95z2Bm1Kc9vn+F87nxBczsa0
W/Aoo7b6D80Rp1zLD+aAeROO3zDgXC8+qJo76SAdlmNCdsrN9swVgW487bGk9splZ6m0K7eYpg5/
VwRyDx8JDkQ6a7w97YrLgs1mp3ADgsgQpNq6xvlSo6eWUTLFiLjypnhT8i+L4QLpfwVxPyg88LB+
ZLsUyq5jihDlE9w80MhHkrKpIRUXYMUQGAa4ZLX0i/IFyrohQKwanoITazkDQ84B8K0rxbImXqOy
Ts1wMYgIhcp9VGymFOJ0g9EStYFhArPETufBhG9poDSKP4phGRU+3Z4dLEPY4LfgwWAeNDghLNCW
JQRN4o7sJRQgLsnQ0y+GjUwN1x2IpZDyvp6AOdmadQkzUtfwIxRYdJ9RgmWBF+cGH1AF6ZcdVllc
0mQUrGX7U9bDvGNbXgIia/BntR618xVqIGqT4bmzcUgh6NMMaZ6Tkx8zNXb1DqzHphMBZzIftltF
xAS52cnxt5mLEXNMhYNOw/Dg0AeXFM5GKS6SKFbSvvfFSYHKU8cAbZV/Dlu9Gn+sJSycUWRJp5KQ
nsj20KxiHi8Dyd/GxAyOrIzFzDfAEMMQIDbZ9ir2VErhp95SCFduRNaMA6KaP0zhzBTEsUpv5nRV
oAb2ODndhR0Epzhu10rFCq1rtoy9C/8o8Xom3FamK8CHhSzgpKoEKXmMzEc7+zGCd/ZUWPMWTOf9
gP7NXjcuL057K8t+Sz/IsqnX3OM4V/EmtGwZJ4sixQI1Ef+YXttSsB7Wm4VdYSqDGxGhaziwPLXf
gXTuSMkVt0TTumCXMDwbvcRalWg4BMhqxlz+r5MPo9pEur0PzHaLr1v/INm2NIuf6cd007qUWEmN
gT879TCBdDCIPgtcCrjfQvZQObYceIf1N4/Et07s8Te+ZcSa668Bw5MasDy2vmXOoNemKCAXP+ML
8ky8G26NsTyAPoDw2G8mtKuebFv7WyjnRq74nUb8Dvnfa59mvtbbX+IilfZFPjaJPiQxuCQ+0Zer
C0BfV+BM3BOXRUlPHU+4TEQHysoOIaEK4pz1xguQIit5TNz+HYATNpbywPKY7WLgaDv6knHtYFG4
qopYgzVnhv0UxY/AnJRtHfZilny68jS64/9jd5p+co2bMnsNWGg181pFLcB1D8uXQyph4ciZPZ5s
LkkPn6eN/YANJMN0h4Eij4a5imW/Hp4C/YlZAbHovZho3ukf6HREofcSSBTGWlpl2Y1zVsWyDEEB
kinDjcYu1KrWAFNYv2qYso0j/LsETpo+OaKkN5dYyUh3YqpctylO2fLhEbCLrJeCa5/YM/I7xBoe
JTWepGTchyRMRpL8EoKbIHItQg00Bl8aMgFwXfit1jwI3eV0Q6FmdWHg86jUbuViLmG/KiENGOop
9D22o6h+3NDCmkx556w5htNFVHMe3fuYFNvO37ag2SUb7IKI3whNQQL3sXCEKuHAuIXTXN9z8jFV
eyMqFgisuwUgPLfvZyqbJokHbyxQfQKolhXpK2yeg75OYcLYuHNMfl5OgVaB3tFVydaFheZKgBfE
YQM2o6CyZkVIGIdQsq88KmyhPSL1xYb5Gg0cIEnRcn9kDQaoLVmOKqIoplwNA4XHszpkTYjdFjvn
MgyBKUSsBQlFUO1VwDMYwGS1pFLsGF9uAliuRB4I3s2E/K8PBV1EbNq8dSTYGiRrIaiM6qg4iXAQ
dNrH4KYHnhgLDo2rnGCJb+ZLfccCDZmMw8iyRIwZg3EO6J0a4RI+rnlU6K2FWWGQuxkGaH2Aarow
2aSJsSr5IyQW2hjmJR5aF1pAD7R0VagQfgidLO3mk6c0KuMdtKal5U3/bCJ4wtEqjVVHbMrrzN2U
2KX9ettohBEDqiyKjN6QDgqKSncW9lgsxTAxqalFa4MnSahlMYKc1tY5HleptXN6zucm3gb8EWvK
U8haV2/8JmtQF01YwRhV5hwnV+BDr5BBlmGDv4gnfdhFG1jZk9QbOw8hf9MEzaC9OJMVmHuoaf8T
7Ji58ov0Loh01dmEf56x/8PUP8zNjPx79CfBZHaVXCrqb5Vw+nLuA2sjwIDL/LuGkcNF1tBmYOUf
bXUBZfh/8gh3jA3oUjU5hzOLUkOOPZ+YDHxn8i9Kjhb7ilnW4ZNuxD+FM1Y43gPloo6YfXkCY1ja
DQSGguSSu4+kOVvKT+ADMcUCYzn0kz1kxu8DPqKglTdoeyNpU/2SiUcUXbrwpde/VIan9YfTvErj
MbKwNZBda4UqpegJCtJVPwrO5C2eqh5JJcP+3cmzJQ9atOqZp7zoa8CjDbzRdMhwrNT+FPhnsOME
yN8i/NA2bkP9DdB7d8NYZaRnVd5G/ZXGv7YJNTyDnQej9CI5+fX3MKRddklT8aC9a5TJdrBJHKyn
JeQHDcW2dX85tJnZOsgKonDNzIv5BmGMjdrfJthyl1ubNOJRx8ZT+BVr2Y/FtJ+RAG4QjVx4H057
j1ooMkO1NAYdAwAAvDRb+fRyDOgNA8aCbOSRRzQsBAXjJIRHjPLgnXt6XSwFoI8HUZqvUlDYmIgT
RrBu9q769YwI4VL1kGwTlEQ2HZykJR+Dx4pRTy7m+DU5hAGGg3HgutKttzp6tMOrFQDtYLJknOYc
Ipx5y6Y7vWcuB9nTyC5Meycw5yo7r1ja1aLq/iL7HwvlViDUTvOdw/bGxdiLaQZkNlZM3OWYDkdZ
4juVs6xg+mgtrK/WfApbx8lxBF3U6QsAke64TFT27QwnGSVEPDJ8KlW7A1BNXsw+D+59+cUjV7Gf
NLjxVf+XBkAgrlr0Mxo3FUe82f5aBmR488bHaYz3TFza4q8cIIqfXHeTunPB+sV/79tgmViEiXn0
ijV/kHS4yHofTPWpoQdmBlA/uwrlVSChCfUeh49iEcQ3t/nMMMcAKOoIbzZdAhKK6WLrOCYf1KG0
16X2sBDum+KSM5OkjKCefBbMA6ExK5QB78qXi4htY8WmwOjNti5cjp04U/WJjwIkTnxLgJGM6qMo
GLVxMJH+CTrc3N656P51Gjp2tvPqk1VcRhxtbgD/g124yBg5dVRcEgpgQ4JisjJylZwTG6m6wmhj
f1iYwwuvpZcWm6T1RSX9DFhEw7Wbpuwjw7srPnlBBMNt/5UrKy/7rHCh1caz934iUBQFkkgYfbOR
mjfx2WyO9XR6LPZSnqVzCcyNZxzD+Mz/JuEyKLaJecKb3ysYcBRA4dgKTU7pBK758uCJd6ZYlFki
7DE1xlg9435DEIgd37gQ6rAxpX9yJUfRplvHeE2djtRkoRynkN8oNr2TvU9/q8hkN4YVGjfuSU6i
nNXXXVhz1x0OQBiApNM9EV67kot0JPIKaUmLh70euVs9xpth2ts+2Qc9tXPDP1vXVhVICIqxlrLj
qKUZ1IxqNCdqexDPwP9Uygk0MGBgWgCqWxoIxcRcub5EKea0U7jYM+Mz1PwjoPDvAA+oH7Lpdppr
FGkXtJ5PM61X/RTJIg8rG3vJE7ZM5SZit6mycHIlsDev2EVHUZuQl6KT09HCEQoco/2HXmtXrPqk
IPqnGuh0lgxL+L/rNnmPDB2ZEqJQEbPgzFdGF1+p6twOnbI1pnLRoN8ljFW52y6SCdBeF/shnQ5r
3G6mvpje/Sh4qNkRoTs57B1Z0atEXKOLX8IM7rSbXlr6qztiZsLGJ6b7Kzo+1xnrq1T/VjCydbTx
wkWY9mvaaK0dvyNtZW9zgFl+nK3GxNr4jDg2zEkAGfjRnS3geyV0N3HdbAy2lo4ergOfFhewgyEj
n07VSMFSG0SO0ZCwVEykp25cx65/s2ySeEb2ruu98qZbrUP0eRM0CKR5172PFcpkgOpPi9ilNfiR
eq6/2xMPNixZ3Pl8AzAeoXei4U5mLm6O/aKbDZ3EKlJjs6WyiblM+ylp4rT06YxSvUQHJUu/FEbT
7qZe18xnq5IG1c1QzL0tm5UWVahwCmQU48iL3MQ4ZQokw1mrwmAfi4OZlZ9Cbdcj2PQpcZlNgtHE
1+osjsOD9yUh6g1USb0Fgqpiwz4nzLoOHQ88BMZTbTBY+PAaOYID1Z+DTN8Tb7x0Wgeb6q9N2mNi
IDP2ofrXQqlj5C3BZqpK9m/M+ZKa7qfC6Kb82OA8RvqjKkAfvU4T8RQlIuDY9V9utUsemavcLcx5
Pu61ui5PZJk+M2IjRUZ7N/1XSIHIAiQlLKF99x6kLrvlRVcRwgK7CL8/1pp2NHntcH2OndOdha2e
Q3TCNoYuUt50OX5VMjwT+PgsX040MIsi9+eTSwKkp+03d6j7+577mJFBF+Vkjd6zM93hKqDsO9Z7
50Zrv/lNoIWVrvIUqns2q/RqcQ7EKbCw7XRneUQs7ZU1sqcv2stoGye4knvbiPcD4p+AAyskXaHq
tmLLn0fj3q/HVdFmV6g8NmW4GQXnqhKwrNH6WxSHL99FNpWSkL3OzjgH155xlHNyfUEaZVH29cKg
9sJzVgaM6RQTTRq7hwYvb6QEq542XSqHgYz7VE9ApO4KZFFSBtzYQWyc1YYqUHrpJQ8eOrWAhTdv
pfqnJUuP/SYJ7dH4zn3ATzmbKYlgUGjNOg4YhJ27BDdSJ19RO2xGXDqxCZYzshdG0Syns2EI9MUd
3222rBZqLj/IGrS9GpZnI9eebjLOxvjdbpVtjLruQrYaAsz4xts8US+G8xkDCQMDTm9ARMoJPRRM
JwiKtZ15J0xMzq30TJLNLMAp/CZ4NLciqCIm2wUAQ3Z26IxJj3uTMB9cwRe8++fbwxbYLj5IbRE2
cj0KXISmxvbw0xxPPf5RSomwZ4cwToXXXSw/usAJPYJVWVNxqWJGakcfDysG6CaiDjIkkpHJpasw
RjFI9O0rTj2sIXT+xSkBGqCeBpNWDJodw3OesWSCh2JDWqzXPLX1dQ4ZNOSiL139HPPLsO2zb7nn
tMG9D3pLTxQM7AjIL9sJLgEjLuzJLdC6fzE9d00ZbTIUBinNta6U+wGagD6hX5V8kxocz5xh3PiR
sy+qnwYrrygt4hrpVngeWQSi5Kp9cHtjb73Csx2UR51fINkutCVAbzcubkhSotQ/K1zNBbi/PrUe
46A9I1X5F/TpORDjAoSc8yqG5GiJZJVKHJC0clk2CzqC5ZkWbHOrfnKQNEOYRZsIuxeH/hYimHPX
iwWnIf4pfwFIBUAZXTOkhDAs5efR2Yzup88NKQ9WZnOlAbjQD2RPvgoaBqu96NZavY0igGl8Hfdm
dx9zbtprEKZRMk1FPrcU0AT+NaiecfwdAlKz+NVk0zY+wj6Gw2XYh9uCI4JnnvVsU2N15fiaLQpx
BRU1Uutnfkvij+VdM/6GMnqL6nMcf9b9jdVr/9Ly05h9IIH0DPfmtXHW7N4485Xty/FWmbaR2kZx
t0qzKUD1VN7M8Q/q8K8jv4m86uQfgnWD2zwM/SlrMIcMeOREGuUHTBO3sx8CV9hefxIqD7rp5Q5U
7pi/afXdlJjPPnRAT4X+45pXja8tDvQpWrbEtl5h18guYwzM6l7LD6ZsM7rT1k26jOGKdKGj/mJB
QC5tRboYp5UFzsGELGKXMlaWD/7wbbSHRMfTDE/S1lR2Tn61HfKXh4bGvPycVERrCd3UnJYKzyfm
9EdWYjHWGxjyRwrlZgaU8ERw5fILNzZjLxS85mVBi1Tyk67sYWyI8UuKXd1+ON02YPAT3CJY/ClI
2N0u9bf9cASdUWHkQolMDg1RWDKp+l8veavGm54+QU2PWAmjvdMciuaoeQHR2OjNcH8j192mpJmY
f30QPL5poaxOLNcZHYbI87T3YEuvYKL24RXSy/Tx8vUu9E0Y4CcFHZngxSoz6Pd75juV4Kr5bbno
3U+t3vDKOm8n610JeNoBTfII8p/G/RwhE7fdU2WX1+RUjr1MZV9LtIEzluj4l7MFLM2mPzjdOvOW
Cj30dGbLTWhcA/fIQJ8S4bYcYA/fTvFP49gHzsIUXwmEYe3sV0dzXBDbLEOaTbiD34uSlXfza7l/
hryX2ZVOp7B4Z2Gv+T+pfmuYopEXuQZcNq+Of00VRCX9M7MOAcfm2gfnN3wV5qFvTuyGUwtmywwG
aW0Rynznohlj0ht3TR6EDuWeUO/Evrt2Axb3rT/+C6195u4wXuUNW1V6c042a1v3yekl0D5jIs01
V1zPgj1PMeicPNBX7LlY85xM+TmgzWd9snAJFTQgiZBN3rQ+mZnZ73Tenu4TvHggmywphrNXHAbu
9VDdoxY8/lcmviJIMdPD7ahw+/MfHi5imoNwy0SLNjuk/TK0f/r+6em/sf5nOzfJ16tn5a679NcQ
zy7p3Iw4In+1HeCucm7XmLzKp+7vFWgz9jzCh03iXZkc0UQZw7Nrgm5ZN/6pbTayPqbjzhGXRju6
9tGu37P07IhnjCHLs4w3h+iJ5t1Fcgb4rlgnP1nxFyk3Ro1kRv7nB2AH3JcLdSSCPqyxSofhBPjn
ENq/Vbqlo13FQqqeE+U86HcgzxwRUKt7knHvfPQqgRP4BxofiV4+Kv1uBoeamLWWLgltDQJf0MHu
MB49wuDPM24sUGyCg5Ieo/xLZ9tkEqg02bmpaJRsleDm/gpx7gPiB8UjY1HKQ8D1boN3LON/YjwY
cGu0Z1r9my4wMqbqlH3TgKdqf2wUOwIWg31PWHYH+ZtMb4GxNfVDVS3H9ojS1hMy128RoQHXv3rF
NkvO3oCxZ17LJ1Ug4MExxu00hE5T3zkM7dpG808IHz77WknKoD+2E7iAEGUjMX/3YwkOBVpP6hf2
PFECmxpn60Gj/StwcSljZDgPI7G6wX+FHAgCPcJzSbXR1LvMMZXSaeFcM8V+z/PwS0mq7yFNFpJh
RxvEr8OkOffaV0L6763U2WG4iIuC3t+RAjlEevXc24zHvRSPNuvw3QcqxJEAzLjruHNKROjRzii9
8my6tMvYWWSUdFZNdtD0EhSVBqhdCzDBAtTmE6mUBAGhjOeQ703cuhN6Tel+k6rERASv2zFCa1GY
AkO6T4wCleUPygdqWJhOqAN640kg2Xjze2OtOax8pFmwxjXJYMRmzFEutpQ5F1+2sptiw6Dv71I2
yPjVV4qszrYh53FnzP8XPKnbwAVYV0if4XLMMOA6TRiy4bD5oo3w8UizQhYf5bJu1W1KjQqrXfus
uiVyVAl0Zhw4W5X9qrHc4QjH1VQh9lsxC+NmwJ2fKvjX8Y7zZlhzX4b6kormeV9EzbKR3BD1iANU
OXq/mdboywSqWaEj4sbKxh20CByLmMsogwKh2kQmzXDgGr72rbHL1JCCxlSwr1aUvckQhViaMQ1y
SqcvkwcDSobDOYx+terkh97KzV16SgRNli5L3baqJrJP8CGJeDfD8Fko5FnqiY1r5XnPtFHs3ASv
ZBFwC5k+byj9G5dyboxLPC+6iqZx78dhWa7mAOQs0HIVAFze92jTxUCXFMGr7dCvZw5Htr6BvOz0
A88H6BU0mihvg0YIBtV+F1XmsG5q86923ZzKpx8zSydKR6nMZKuGm5Hq82Xalbi+a1bsNLYBro1q
fcmmM1cfpga2c8SHIC19F2rFterq8qrxBUdWBhdLuquzym8Ltg1VPmKHSiK2bcEj3uTQ2RYJbAMF
dC9O1lnYkIqo7PSe4woS9WskEBQalraiG5G7pmbMQ/yls0EU1Ypao8WQO5R6dfESMdLFcDJt/abn
Oh3R7OGdXF0KW/srdTYM0qnII7IW4Ce7glzwQFBZb5WbpXgnMCw5gUV613IvP7pZVdGQ2a788tmM
mCodF+RolJn5RtLHNbSucohgCviq3m3jiNEnJAEM2X8vDLJiqRNjJA951KZyp9XDIZm8D2rr4zct
65WpcIL3SlreM1beZF/QZiDSUwVVhfrCFzE8nJ5Qdh9xxZpsd4oKz4RRA7njP8x8ENr7IXPjk5Tj
hyvSfDm60UpVTGPeACgkF2+kGy/37FUoKabK3IB2F7ycb0PBb7FFz0w0GqCWgcGZAzO7nmXndZRl
ZMZ8lVy0E7z6jBwUMCMHV02sXloxYqUfrz1bu1VaIiZbUvkwE//E4OXv+qIDwtKQHskiBRmj0djw
gTnrnNPgACAYC9Bauuc4zFXO1qETixkkOMNhw5gvih3fanWmRAl0/mTKVtvmhX4ZsgFJemgzGy0j
JkYQtlctj+epicRk2bG+jGpC6AlWct0ktFL6JoFZlVqXguNT47+VfdfMOw0eBn7cee2x7urMUc6M
3sZsrBeftdGlb3lBqYSp1KRncPlDzg9mNLZgNmrp4shZhblU5GI3ZcGrojlnqbKOK45JVutBcUE1
SmIc9baswapV/lJnXYdVmo/BTHPkBBRlWdpoZGHbzwRlHNQgRou6tUhReKdeYpEX7gAmH2sVIO12
0w45Ptp4fEUhHV0KmPQlm5VbnNnvfNNWjGx/bJ4Bro4m69G2ewDfN4ggFCeAVy8rFsjHrmQS0H58
CDNWQS6DDp4N3qpL4vMZx/EguIDCTaorHVui4K/SCXCJAVWyx4IAekrOTE6+qmwuaUaEOM466HHe
xctguik+ESz2FtzcMSimdEovZOU84ibc+4ayY++mONylvaJ8tZ15Byl0lYToROLPO13TAedX9Iry
5toSfJ5Qve8Utu/KlPG2MBC+FHYTuIWCk8h4imj6OdLb7YD0CdjiPeaePbMJAQW2sSgaFAF3CPZ6
F7JMGvC2UCLPW1YTb0RKS5vkDsWfNhJ7/HYN9ZOWis9M++5YI8WDTXU9ZAdahuuFXvd/03XatUPF
31RQmN2DsCNjExkQBSQlLiVddDPXsc5OwFPdSVvKo1P48DZw2xoSJIkP5AhuJ2+GiTlYxIa6qsf8
MUHnISzj9VbVfpEoVHMErT73okmewm82hmzGrRGlFIvGzYI27fUW466l/0RwnzH4QEmf2HlxZr7S
sU7PDVbM3jx2Y7r1kuE7LKROXQv7vdaf1NTUo3chC6wl1FRuvYSFksGhiWjL9M4kx1eRe5XPQ/rd
oOqsNKdOKq74Ze1V5Os4K5bVb9aypw3C0l52YoeCi4tbuCjyWB/tyr8MupOtMbI7PCHptswWg3Aa
bobI3m1awe/Lz3alokLSXOpFMKViW5wiXL2wuQ6NaQGeV5u738BGCqF9YbeVew8JpjGIgkwcTtDP
fof6KF4t0ROEdnadBwxMp4YTl+OMnHO5vgweMh1joVev/ZaTO010xjzPwJuO2F2H+I8DGc/OnT+i
fvoG76aiG7fIUcO91i0acu26QyrJaegUK02yaYiSkCQFebnqbPa8j3rTGG9W7z+UUZu1BjdTGVIE
KG1M1kVB5s8aeE4NZKgdrmPfMD9cdbwUiqlzNm72g168Kvo/4r7FMxKSxlUurieDJbB53jJU3QEd
3JXOd6B5ywL87KaM1RQ/6L31063VEGXqwszl4uGZgGuXT8ev4Ybhd1Eym7GU8FYQk0+FeIPs7xIc
oJoO/xRXV67cshx4gSnqn0pMkJ22PmeD3c01xsZYsbEZQTUr6PpKMmuVunXH8gb6bE9gP3VekaOD
OiIOg1327o0xaV3WDD571rnw4nuUufRsReVL4Bufi//RIjVpYm2uFtn3QIwr6GLQ6SEqTOdqv1Lx
7qqXrPSCmVN3GA5MexVz3wXoEn4KGV9Nla+l5+Hvltb8P8bObDluJMu2v5KWz41qh2NytHXVA2OO
IIPzIL3ASIrCPDvGr78LrLrdUmZZqs3SIklxACMCgPs5Z++1tewSzFP3gTGoVe09+glwUHJePiav
Dg+TBiPHeHzhMwf4olJaow5TEF4kI7l2U39JwQM0P3qEAzAHSRwHD0afEczqS58cFuuy6NvXXnfn
LHmkt/sRhf0+NvoD6W97B1WNEvdmjWFm1APDY6fGd9x9OMl3P7VofHWMlEo82unSNfBJBe287CV3
3UckFJwZvBeJhdMxK0su1QS/eAp8VubkZ/XAtno8PGAZxLEzGNamwoLtPW0xJQBoZlTUR9MxZPvb
dhTkteTdsFRzNTqoVZJQPzrEwRNBQOsGY91es8mDKDOY+E4YBzCDPPRLCnEGTWWqoBR6hkU32X/3
lh8rBoqAOaW0H+x1ObkOLhossQqF2TrP0msnoHOZ5MLii9pY5Y68mu0ezY4g5M9OURlVLORJQpHP
uJfUG3J17ekD7BQWidCKCbeh4kRGEth1Q4pLaO7Y7YNXsiyS531moxaErbrFySHIUZQ2lno1Pdl2
fZdVO5b9jWiGDy+Dqx2e9QyIpXfRYeq+28vCOTkzSeF1qtef31Euv2Yuk5sgmZ68oaRq0jWLt4V3
PkdyMAbg9kGMM7URL8Psv4aSdbamK35Bn3b2C5aKGmPuNLQH5C+csE5/lQEuNkmvURU6hyTARm0Y
8r4tsNFYU8H+66Yz0N6FbdeuTFE9RhVbu7iSJJZm1UPdggkycedUHeGDrpGQziNxQBkp9AyP2M88
x1RW6uTBpWxFh/OWT5Tb0Xff8YZtYwE8jKgmW7KdFgMWrJrCPbpePUKJKtSWHPBDa3Tj0a4irOs9
qu7GpZfpI8OIh0sI3VgMquFBzJwKs3bBwc4D0nQbCImLe6+ceqC7Yt5SfM4UFcN7QHs+jFAt1dwK
IgO5H8zhAudXF94Fbq/ooCbbVuUJWvaUyXTcI4IFqOG5jzoVT/6I46Ygo6n18uthCbYJsu655R7F
00bz0kneSHt6RjTNDoe5KACAm0GIdztcFOyte5mK6DGJ6A2OYY1wusTMD+mHGe9gbC2qz4upR4wT
hPd2ajwbAQ7xOLQRxJlMiWvbe3dCdlOIMJAiacCaYwD7hCbFqs3CZKcwYBraOYXQH2lAoK5slO9f
TOniyJHFXrQz7LTqgZTllbDm17KlGCWzhp6Oe1RFt1PjALQw7cx1ByUahTpKU4XyBn1jAQkgNbDF
Qf9+MEtiOJlFaNaiF3NBpBEvhkBZkpwQeLfCSHgrUx97fBhtE0jAqL08f9OX06lqu+KYVzU3Ye4V
Y3sJohK+gozxY09RfsKHQgBsc7A5iaeEDkSTgmclnarDROFE+37Ovo0WO+LQxX4wFcc4Gz4KYitX
fi1Jk06v0yq7N2VjrVPrCa3VFx1XD/oxv2ZXstBqYO9PEbImj8QpmpXbwUNabfkECFLh3SHG+p6O
UYi/v3nUNY3bzF7L1gM2naQLA5pVgJ4yfLu3wikuZONtp8R5rNBvzYnxzWuQTztduSskSotZsOJX
RA7kMXfoavhilnRbCX8HG9EYw77VLjElHYIsMbGzsEleVwaZFzm76R4+La1ug/Ga5debUJ7dAhrs
YNqXdjvq1TFpogfKdfCnYRydQsveelUi4QZjIwgtpiLxFqMgxCzSw+hklPVNb5s4aQZHbeCvTbw8
pMNY+ZPf0S1XkCWMmiDLToWIXfo1BNYX4ZbdNliCEhschnPGnsPqHjsrumSRFyFShd5j2Gg3tkZI
C5oomxahmkNrpisUsQ5whUfR7uMemZsPub7JA7k3swiOlSbxKQAzvIjj8JJi7NGH1kXgakAx0VQt
Qxnj1HH03Wy01xWyPsMi9ICdG82t/Fuienq+9WXfhR+DFm85WUumdrEEwD9JsvnBVOYD8FhKhiLC
UmSi+XKac92DOnNjjPEZjqp2hC1oODPRsXK+7TJ21USUMoyK/L3FecJW2TgYBGWLEZZwyn6uqOO3
LoyeqeZ4DrGmwmAd1aI81DbqGMMkIDlKWfuGheZSbkOTlJMp5FgDijYGEJz0tPwMNd5nuj4nxnyz
CPHacORvoBhIujQ6xMZ1XZGZVxTOMQm7h8bneq9Vl1+SlL0qlcUU2/MQzIyjuCgqZLdZGrPT8IFE
OgWihtoceZpkTNWpt2dlfPbJutOGfTsv8a5KRvc4DLEOsKzXVuNySyjwsElSETypW3b2XFhsa0km
yxB83Ms8itH0RzfxojXAapRO5rDyliP5eNuSnjS/QBmHD9LKYCLlut8M/l2tuUfo2ibEQTx7IUuQ
Y72SSoTruT7ZYXLKx+6NWwyOtRRTBr2DPW7IPYK69yDoL8vQC1de29/wXkSd8ewTBO5gHGZICokR
+ySgm3xpHLKFD5ORKinMUGa012Elt9MSq5FXj1Nf3OoWg0ksLKyr5ksQCUovxR+j02pb1+ODR5gR
fW3uLhMnS1W2XzF81msyMN9RXj40GnbvVGBxiCXRZrNkl5MoOtvZ4G2MvgrX+qMqyxvLUAfHMxDv
lMS+QOu7VWhtFndAuxKBjXqOTIwh86g2h+bZjuV81BKbcDGAZADrChVCxLShh1vtZXunqjEW1uzI
u3zxxI5Ysgl1cFBcrw0rePNtGkT+GN4Z1n6K5QNKiu8EX6jNNMCr91pyAm102BHZJhcOjRMjpMQN
/BE6U/XY4dl/mMd3T4XM7ASt4XQJDhmZzPY6eknsGGNTlc80mGl1a3Mkv5k4MaAnKV2ZPrxhrQJ7
kXvQOQTyrbqS06ro/C/RpNmJxTBvM6G24cYiKRjxIFuJihgVawKGOoDCoiNM6kYCXcBO3nvLtS+k
Nt+GPmmQky1GQVrvtes8mWF4S1fritDgUx7brNfcY2gyrzUYpdFiWXK6+nvTyxXd56+tkxMQwR3e
ZOKdNbC6lhoStTZKj1eKEJrd9nEoCOvDgBNfuKo/TBUyobZlPGK63IPZoS49xBWAB0iTCuxkgOJn
JYwA8iBJUAS34S2gmsmy5Doy7OHYZAv7pl/NzvRmJMWLQ59I2c5BKeSCM97XHjU6TVPzScbdWyq8
JzeOVvADRzRPXICqBuoTo6km36FfXmIJOAN+9KsgNhdv8XiJ3GhNT/U1Q+bQInjSWBylnRI7W/ts
pdm5zF1YrAPFbVhU7v1gzNcOIQIU0CCp3WWts3Zs5HqYJrG9LdDktA5xCA2xA6Dwj4FOvkoKf6Ss
JgFTA9Mp35VqowgL63MkrnmQ5qScxR+jTB+91v2uAq5Bqva2wNBflI9dp7Cas/uWPeCZTsOFqDOf
LI3lgTQT+BXFMhPF+8d0H9Ko6WLgcOTOrLJ841fWA35YPAnowooZ5gHerUQS5BQP1jHhnd6OLjjJ
CIuiShZWIcmKU4z5TTvwNBeNDGlu38cZpxniB3+GzS4CZG2VL8otuaZL41nJjRTfx7x7coP8riBZ
XvbyFhRxcrYGYk8MD75rOYFETZv5zooC+j3h0n2HPxsd54klCrCsv67z4Nke8+cgQUg6BbQAF9Be
HqZQMqPmpSbQKfOAf+B25vZr+C2+CnaYSYLkYx6TV4DvVtB9neesQefPPIZk2IVCBqrGIuz5uuei
JGPkOVneN18FZLpARrSOeVvoR4v5jFNCBe91iYi1Ivmnpo+0sZt0WvsV85PCZs9TOTDdm65slj/w
bZrc55ZQD1xfIZMfnBbEXDe71AOpbc0zE+L0i1PTFPSUd9OXFRoLI5TryNz3HeTO3C/Dc92q9oJd
uNyXFnqtNMFNXyBLRj+J8JpcsnjfEzDGW8n5GVi1dWgLWpQTCmvYm8wn3UkBurSx0CN/hYNEIvHE
VtUoLkQKoyobJwtp67FH8EvTEu1yglWRxikvbbPuFajwspf+RVDpholZyooeb+uS6bLf+xDsJDNh
K+fHLRtKBWkko4DpURORizZemFsMkmOUddCjpm8Vgs+inN7kks01GKD9Zveea+VbP7kCJW8m1xlj
0pzwwH1STQ+lxH3ZjSjU/AzmXGF7dEAqOpD7WvEb7LKINmiE5uZjUOLoAFw1Q4YnpgfUOwFaYxRq
OnqQlDyZ6m2Q65fAzbNNZjNAKAwC5GdO0CYqv8AoeCnLHkxVR5+AV6UyIjawXbh46W4UEQV02LBG
5Q0ol0bifp6ZN6xyQn1DR+393gJIqQAWds6d1Wbu1vYYjhpA3zPW0JWZ4a8T56GxzG2liOBx2WG6
TfOEiJ8gGv1gpDgZ6nlPC/lL5rngwvCbeWMFD85kJGoW34JgOFpOYbCpZCLez925pUQYUkpHbYzk
+nkgoDKYKpAyMIPEa0Lm6lVidBgotVwmyz3J3Ld25z7XIT0w0wBsF0wuGcBmfWz68dC5oIDhuxbr
8Xsext4KUX/Ahs7EtMWI0Xg0qllftWRiYxUdd61l7GnM3RiTblcNPURs9+QDElm2sg2g3Ramc65E
cyO94c7zLShdAXpgbzK3Vjzro5UjnSwZbW3VItooOtwis03fwkkaZnqKJHOQwx7CrwWAaWUtvCZM
UG1P0mjjl+RburWgwz0a64bx8cnUtHZKVAl1fWwnEjOzsV/KW67OHN1HnAzsH5ycsOoBEoZP1FRe
l3QhoGZZJkOU0TtnwsIkb5MBHkbiIS+4TCs2kZmneiyy6W1TBvatq8cLJyR/1E1RStMLJSzHQ/FL
cBeJpFQzzPcKeEmu526qPC3WVhOkmyHDszAAcjEs2d84OM6n+GaYHLl3JCmLDk1Gekmu2JvEFLPX
9VFtase4Tcxqr6CgDVjVj9FUPJk67w+ZW166AeAZy3BI6jEtoipGsSFAg7CRibFWWBuvdPK+tznU
QuVWb0bkg5Gqg0cFdIaOAC922pCFqzkV4nGCWSo9SO3xt84G7xIJ9733BOHX6DqrASMNEoPJCwDW
d/G0cZJ5P1AIE9Ykh1WBASH2BQpqeKPWYvTJwNwi+sbywa16jaTZICAvs+ULFfnXKplHMJ3o0+ea
KU8+EC372o6sE/LFRgRH3BY9NgpENc4vqQO0LnJex+RynFgmrWi4huPLeCC87lobhqsvcJD1IWCr
nrnm/OJMtUcsVP1EALO7QpV3V9rZ7WCQJSMi82vrVrfkVtGl4AVjyaYfy4w2oOMAeQhYsJ8uQ+5g
eXnm6i12pruoRbqu7eJuGu17Z5p72l+waAbXfOyc7MAGnrl1j6OyRlnMYZPgisocwj66EQJScHXN
t3Xn3zf9s0GmpevOlySTyAtadzAtAJx1iu6u9uZ+nzNsjRwiPBsX+0kFMVKa05FOU8iUntxguotU
o2TxdC5JIiFdscVQN0ogFPOIZLja9TM8PXmhmbZZQc+KSeQ2WbndOO1KAGkJ8m1yn3lDAMI0GCSy
4dByUc4gGc38S8TwKMg+Qr85FF1yrrkVt99Tn/Xb6+h19MymGuMo+07TeMvgSjXlOmVYvmPX1rJN
QrFRGhuROrdxnH8N8vCZKSDcj57Zro/WKdiGFPS9mpmX0SVDHhZyCPcqIEKv9G98Q3L/xFJnyY2L
TrNhnzoWl3P5OFZ4IQXM6aZ8bAfXRqUMR9UnmsQiOjpQxJYwJtdW+TXDu1OyB3L0gF5xvEpg7ufI
lUyURyF9mBRAayH5vwJHnNQXTv7axDdZ19Ogw8yKAaZjz05O6zrG8kOmHn3bd1NbeyLrIy5wZEBz
BxE6jsyVXG5MtaJ3iQKI3z+X05pmy4UAxb/0Ai3I5y1F3UBp2lBZh7G9wsRqbWJaxbnvgxpgIFzF
+4JYW5i8tMrdjrKSthUzKGbfMFFREtoDpEj2hfYbCTGrnlGgoIDG7LSuS3Nlo3XJ05VTMyWq5uhd
O7SBC383znN3MWW08shp6FfsaW6GBNtXSmI5O0BYkxEhsogVMqN2yG9yAJAZi+d+1/g+i7a7r42X
CpNs23tYPOJtRShZBtgu7SjQq/S8JLL7CGVHQfGksmOHT4572yUFi+Y9Dq9C5Ad98Sq8B4fuaLZk
pqqcYKKYdQ6dtMAxYn6EhYB3rOpnpTuL7Uvpb12rxC4KzzPoTerrAJWMH6abJVd1Cfdzcf0KwC2T
gUgXHnBCAxNoQE5ln/UTrpnikt4zzur6UjlfEaDljnJJhUUbGXJrSwgisVr88H5KNDVu3uWWjc8B
6AMyyal9MSv9RQbcFlPHu5baeikTH2q+SWUE3KSSUqwii9ZqVsXMuo3ssbOtrWsUa13oey2oYawJ
LKAdLMr5nSNBTWIjrMnH9ddVUjqPkjA02bTRF7vEJOp2IBEY5hp3bY5sZ8z6+XJ2UAr3rtuhWrL1
MSdDFNwLPB7SvikhfZbh3jJew6TrH6we0Ew7UOOMzyw2opse3TkJbz8fUIZPp56dXOAZj1k2Rmfh
DdhokPZfhwqcZZ+Pl0xJ6tNsQmPyiqC4LAdmXZPq0xumx/5F64Vip4zGIXYACsfs4V5WyZNdNcOd
oZW17q3JO4R9T5Ln6Jxjp1KokaqKgAfeBZox2bGq0P5woRxx/0xffU8q3lprOHphVz4u/05YxWAh
xnWDxS8cpd+CaRaXTPv7g0fMp5Wo8sVuozujtezbUudY3Pjuz3+eU9cl6aRWm7jvmH7pqqbwTKJ9
7iAob2kfPC6olLbIyYe0Ou8YCq4Qy53TF9cuyVuqvbPdGNOWeXf5HM3FnWV66oZpV/04wPP8/Gc6
NvT5K1w/RevVK0tG6stnXz8Zg2I/lBh0R48NejsikMcU7sNXXfZjU+FsqKvhWfWG3Faom+7LEr54
a3maM38TjZH9TY4VzVql1V3sIzIpRjpsuo3Da08DVB86q7kQ/tBc6hm5T0NY3GM8pM5K4cS49zSK
A7c1vw6tnZxptxFSYE/uh6RHp2+E74hblTb+ddI2N44EkcaRn5sY2LUIlL7U+LWabKBQC5vpJa7m
98qJ6hu6f/1dnU/XPiuu7TGensNdCxcEctdkXc6GgjVmdncZ+VdrZTgvVY3gNy+wxs1Vk+6UhV7H
Qr1AIWS0J+gyFzEIiv2EqPzeICvRg0cWmVV5aKUeOXfgHpWprnaJG94vA469Z0f+1RR1XzxLt6ca
ays8pvEIpC1yQr6ipXHuuJOnNBevpjTTxFuOx6nNJKqoGIdQbnzN5oHPXNYM2GCoZ8LsuvHhyzUd
USwd8ITrNAdU3rL/JVkB4PfnQ+4hEZrTXO2ofa9cwSkvAjmc3KSft+GsQONzBt2MtnwPgbW9jkj+
gATaZyshuJAuKkM6L7DOMR6rkauVflTbb9ygyjhPpH1ZVhUyEFdslSCoMGvqL2NAZoAcoaLPMEAn
1qqoBMzbxCNhAELCLxnmLSAMeMbm8OaaO7tgd3gxx952ZsS9Ebard0PP2zl6Pvi0ZBdNA2aoWL/a
ccflr9LpFLkwkOGjJKsZqpu4cKumPVhw3rxl2B7RwprD8uyb6NTZagPDMaAENMzKt6a9JHZLtqr0
jPaVHyES6vrYQ8mGznUQJgKZWTYb9uV3eijCq9EFi60ytsB5Mx1ZNdyjlwJgizw9fUHlh1+uiiF/
t9IHMTa/Ci2bh6LChNRqgL+uymg5Crka6FVfThPreDno+mTBjVR5MLMtFJQq0kAgVoKtYD071KOk
4JrMkwdnDW/Utc/HvZII7NwU3hLJTbr01BGIRPFMc4xdQKq/dGDoEejSjwbqaTTR3dTBfmo7r9xE
zC0ZCQu9SoQJuRyZbzXm5r20EA6GnA/vQhbXmZOsjQm5tO0Yw1UCbYUxLGLtdjJG2lk1IhqKnC2/
NjnW9taqXPeS8h4TriG9Tc3bccjs+KDV0L5IC/aGwGThcIeAIeRkV2oB1LiLtR12QeFRT4e9Zn/i
xPWepgoyE0skO3dK1L4ebaa1vWiq8xSBTzKBnIH7aJjsfj7gpoAINRco774yr0HYz2z6GgsUS2o2
QRjTGZKt5aHVTNSNGWU5yhd1tCaA1oT4XZUZks6460/MzKgjq6Qh2LEXV7aIb7tqsPeJ16VXsD71
RVQ35fbzU9tI06uL2YYIZXGRXMwAJxedJg0LTXew8CSxhUb7gIWwvlEOtj9TZfjHOFtvPNu8Iaob
/5Knm5NeHkSdQYISch/XuXNUygwOSFCSb5ACsHI12XQn0Rzshtb6poXznjZ5ffJ9V2Mk8QUpO0XK
nqQ9ROxk18CI9AMh78NOVloz5IPSbZdueOWiVLhoXcO89qUFbyojDKXzk+mcjxLMhdq2o6M+igDR
aConY9P4UFBDHZBcNVvzVj6hZoppgr9LysjBaN2TK/PyPHTUs/5osdcecHEB3HAuNWzMuKHY6Ux0
culY0J/yW0KIXfHoD4s00IUiXVJoHxs37jZxVGLeMZAjFgZiQAM4X9f4p9IJ7aeKPKe+4Awsggk6
TIJPYw7obkUSeFU34IwtG2RNYStuu2DRjBB2K4xt6eZ0mJzERBtHOlRkpieNE+qU1v62K4Jhua1d
FMJzmVjb6Sk0+vQk+ozfm1P2SOQ+T6NDzM6cm+We0+lNw4I5j5LuqtvmIPZTFj5ll4TP+90hLVV3
71dmdRO4ikIwYh+fhkeKgOjkZgyayl1YteJcUZbd51XBjxJehWpxulCDJ09aBuNJGSTJaYhenw+M
EEhVoVuraMdfhvRiKyAZR2icAK5J+TJf5KiDW92ZJ8dO+vsFetRFVofCywr2Ojl13GSvKnolzAf7
4l7VpJkU8XDDDfc0Y568Mu1a4rajk0MuV+a77mkODHBSywPPB51KVExr4qUtFqGEUo6bjFzHFsO3
shbWZb486Dh5nPAl7ToRBR18af7t86vJkAPsSoJbqrxicbg+0HAD2g8N4Pz58Pnvnx9pOX+dOnbf
f/j3z08tsYQQyY6Abb8JGPzWdULSI1v7PJ3UuYVAi7s12ZfS3Iz90MMa5g5QFhQ0JO9KLCgSBUXA
5aNUdTO7IZb+OYjOY2EgR59TM9uobElQaEV0NuEOnj8/4gXwT2bbgv/h5pGwBTs1li+OzIUd+ukx
qr6GedS2tw0odlF/NgQtM6ddrp5PuNPywFh53qoQj0TcF91VRj+2Dtn2NF0DQbVI/Os57fzrwkEx
nfge90hZP9i42PZh/9y45nA0mnQ40jcXIJ8y50svFLvAzg9geiTelZcFL67J6zxUQoObiG5RjbEV
Xt7Bz4/08unnR42klcO0BlQhz7Na7JBlFx6ErGZQ1TxkaYpveMavF6O/CJ205vdocf35ADIUj21r
nyYhDlYYVHuMow6Q/1AfIQ1WmWNdNstDUjfNTkhGW45TfPcTezy0TpWAzJHf7aTSp/99qHC57lVi
kuLcqF4sjFOkdtAHCD7htkYZwxi5a/13X7TkWLCgYBP9PsahfPJokLEILPNFn7RaH7NrVOHfiFrV
Icnx8QiZtfEYz9gu4wjQcT4094vCpqOQHY2gO/WTcK4+HxivxBt7rqGqzGH+Bq/YJSyhY4otIRwW
BOmyLq1RlUyYySa6HcgkytnV3zNqrqbFEOSqoNh6qCaOqGDUJcPbo8qpf2VTXldNf04wE3BNczdN
R3xP0zDRpHGuURnDYzNQV9hZFNxPqDhXUtMdsDL248JwsuXyUQ+pXzAKIgURcsdrTX/1LnRBEeV2
C5KoY0kDtmGUhITMuFrP9EsI9RIOxFPDepn7SZ2aLPNRwFOp4bAEfxa4pK55YfWcCKviumGf00Aw
zJEgbBnbH7WCbz9iCTcostZmAe3XA+G1JiKIUtFS5kGchV+S12un4mFIUXj0NJqC6WuNGmaFryM+
uyAyTnEj7vjB56RX00FOkPQDBjkoUjaZl0N+amlLNZBaNwHMzE3RXjIbJbQ7oulRwazMYxeQoidw
XETmHZ2StVl53xK/pqbpfetmTMltCtI2I3QjdAjjs+i2RJZ/m5REPeRjQ1klrCt6n2QALScFZJ+C
CWiIibTnLQtM+W4nNJQGZrhJPwZ7a6zlVZGp+yS+jz+C2TY2fqHHLZim+EnwZ2yKWZDOTV7aptKJ
z53DQccUHEvnm/DVkpq3mN6K6CFM5UvvFEy3M/lQKuhTEdGox3GJDXZledQd5qJcimsvpmqzC3JE
2NVFuySlZMhnDLgTIzWJhGXTtzVAD0VGZOLbzZXyEWS3sRKQszqK4bx/EBIXvWjISwQgWWABox0S
2a55DvJMnmuJKG8Ogm2y3JIkTTsfRTiiVoxBeIhgL8niaxZZEU4xX617txuv0KKU7EnRk87RHneA
2AyRUR1GEEBGbC2BCXp6yQyxNYzavA+DfqFDlRQqOJLPCAtvQWLm+9LsIMN0Yfww9B5KjDreD4Gi
3d1nejuYXvxomV+E28v7oimTRzDApxrq8EWlSblG0Dk9RJONFD0cvs8W1H5Ua/LIJA6JjQ++n3ee
XV4XdDu/i6a1lcE28/2S3kUcWQ8z1TTAJsZC1SDkQx6hEi1qWtVOyXzd+D5UV3Yk22udGXjnsuVm
wu5sF8ciuVNDSeMyEhk2ESgxKNzHYxR34w4ZVkI3wA+fZAD7AchzuG0H73pkvHEH7eJLYBr9uxRL
UUu97iztgjmQz37b0Q5lH7jRRuZsezQ4YOOJSfUro8S135Pu0o8fBIj2/1xbP5fQysBONwx4bzPl
ltdtkbYkJATG5vPTfMqq6/zZBAm4CYnGY+dn0rU0bsiWKEA5OOFLQdqQmgO8oJ27a+28PVQKGzfe
KwIK2IFQYMAwlKFKzmJ5QBMybc2GUg8LI9BdGzpHw/TxLskN5670bhUyN3rfI44Mu2ZSImu593MS
CiFEIkJBDYmgrC1vRTM/ZYMxPHDf+hAjGJDeicJ9Iazw3jMuZsKmufLt4sOvHj0LX9dga+uYjgYb
v2XTOS4cSv9iNuB3QZQ2boIyRCU54p70IvM5LwMmuoW+8WrYUWUhjL1RokxpLIEeOEfDaerK3PXB
dJtMnXep1EsUIl2WE9k/XpuSceqORKhQENMXJMfHmt7qZHhFh+jdz32+9WG9bk3PDrZZG6XP3NJP
ZBk6b2NDmIjnAKaYmJagY6kRfiENfC5dL8dFTUBxOBTTXWi0B6TjxTqmhNw15Aw+RA1KrnAY2i2O
Zu7Oc4vVahipz+KLVyWAP9owmM+0eJm1xh4hnFGMI8nsxV67Dsa6mOhXqKDoELDnKcinRjtgLwbZ
sPI6Mb2AKYonq7kskqgFMYfgsk4SNCwxTFuguBKAifTfRavtg2rGduNlqt4YITiSBVh/5ef4f/L4
K1ljO98GhoANiBodtnhsJ1cIZ8mlHuW4dsqnEske3BAiHOq2hSCkrGHjGb2/D12qjnnCrzW6acN1
Dm3J5gOacfbLt3ao83cEoBVtophWv1/eCM6Bg68WW2Hj3okKuQL6zHYfGZG8GnOo+24Y2ddoRuTa
cWyEKjp5pPQ1gMXZ9ZVRcrXLxiHwqC2jy8FP3oucgf5YgcOl8wtGqKUg9VR2zwtcnj27rTe///af
//jv/3wf/yv8KG8oEnEhtP/4bz5/57Vv4jDSf/j0Hw9lzn+fP/M/3/PzT/zjKn5vyrb8rv/yu3Yf
5fk1/2j/+E3LX/M/v5mj/+uvW7/q158+2RQ0P6bb7qOZ7j7aLtOffwXPY/nO/+sXf/v4/C0PU/Xx
99/fSSjQy28L47L4/V9fOnz7+++m6X2+UP98nZbf/68vLk/g778f2ub1I/vTD3y8tvrvv1vO31xl
S9+3XVSiaAPN338bPj6/Yv9Nup7ts591Lcezpfz9t6IkEoUfsv4mfWF5yvGE47ju8kNt2S1fkv7f
bGyDEj2qa7ou/IXf//8T/+kN/N839Leiy29wAOqWZ8Ixqn++z8sT8yTKJCHd5T/X9LF9Onz9/fWO
Rtry3f+BO6oFjAsTw6OdBjXrrtrCYJkIWNpY351X8Ry//fDS/Osv+OmI9p+PyF8ufWXaAlmS4qn9
eMRKp2kgUwtpxapfi9fmuj+FV8ZHepkfAOxsih3ixr8+5PIcfn6OoJcFanHfVY7luX94jnnpW6xU
FpWc30KGXmw/Ldto+CWBefrrQ5niT8dybHoWvgXe0lo++vnZNVpqts8zOMid92Ktx312Kg/dtbEO
Vr840p/fOcczbah3vs3Z47nWz0fSOWwmBsf9KrhCjrAd9+GhWwcXAPHW4bq7+Ouj/flNczwHk4MU
whWetP/wEpYGuJAQodbKMcCAL42E/Omvj2D++V36+RDuz88nGO3BnpDo88pZWwKXd4gB9t5mPvbH
fhOu3P1wUr96DZfX6Ocz4+djcpn/eC6KwWcBURwT5D1r/ZqJ4i3L92rRKq3zNYLK9S+e5fIb/+qI
6ucj6gFOsJbQwwkN3rjOFiX8HK2TbxFRgc1JYR9Z5SwO64wL4ZdP1//FwZev/3CxE1hAUHUIobbf
mtv41O6GjbmuV8w93wgT3OZrmhgHgIiraocq5RfP/N9cGZ5rWo7lLHc2rM0/HzyIejvFn7S8v6Ca
VlB0D8O2PQB6+cXlLv/dyfrjkf7wNCVyhabUhCmQrbwcidCwFWNg5oQEjKzwCqzyXb1GyryKO0QG
F9muXKNSKy7YCP/qwjH/3Sn2wx/jLi/LD685ekwk7z1/DPFiG6YlF9U239FTuSEm54JXekUA5C9O
6+VK+eM5xtrge6byPEeJPzz/IrcCbxBQQ/0AZ3VMC5l9L0LHKKmOf/2m/rsT6ocjfd4Nf3hyoePN
GoUFNPBjvDf3cJq37rba/eodNf/8jrocxmG19BRnkL+8yD8cxx9lD3+RVer/sXcmy3EjW7b9lzdH
GtzRT6MPRgTJICmR1AQmShT61tF/fS1kVt1LhVjiy7yjZ/ZGmaaGLgAOh/s5e6/tntwtec08QsD9
BwIRNnKFaO72w/f013v484jzv+jNiH2GvjBgQeKxsbOimxQQTjvHeS7J0DpbX0ZSnpAeLMZd9cH0
fWch/Hnoi7U2VF4z8OGch47u5LrYQlnG0rjWj/UWk+ajuU1PYv/7B2nqvy5MP496sfxCr0+qakQc
SM2uMFclcqcfssiSO7Ds4xNFVTLZtMabU9TcWNGpT7zyzvSd+GuJkUZsRdW6CBk1r72tUxwveu2K
a0wT3YsXjh17cgssoGo46yfZAO06s6ONBl7Kgc8REFdtgQQUke0R71M2xSFQFrLM1DD95ym0Z+T4
5BNAm2KxR2REPxHLOwDJYtPRctzFY6WeW9fTI+AB0Opz2L0zAdJHNlYJoCZOau3IRgtvi4A2UpfA
s4iqsnwWkiQImJQKzNTYfI1yv4JIJkIOcbB5Upj7gX7FaZ/Ql6a1ajyAMZTxkvSWb/WgsSGPhKZb
y8n1TF6zTKf62VpOqU7UUyTHualoAbqPhbihzYAzMrL9vnvFvePPEnwDl0Wp1RO81dAv9r7yCO7m
KohmLuwU5BEeF6e47Yyc8NS4bHEJRqVpRNvIQKdPwhN1dVhkE8DIuKFJ1CCTD3ydNI+ubM910rHq
NQXY9MlQpAtSO8TwHnv5k4Sb/tynyBdAhOG6JPA+tHqwqGPwWKNku4U7Tvm51kFAZq1tftMcgaNR
9kl2F0+VNy16AwG+a7T0nqkNtjy63AeIqs/WpjEJLKoMk32XtUV002qpTe0zDK/jGnmHTSb8YypJ
oXWQB2+ULr2HmJgAgWV2fO2CBGVb45EZlWHsXgVaWgAYjkuMKX6Zgea05XMTWN7RocB7hwgMrI9j
jvGDp+qSrENu5KqPY/N5iDoAVYSt+0Gh31EzzBBAoJRUEnV356nmHOrurCGKtWHbTwobfzzK5qg1
WnQPXOG50fRxZ+bCW2ut3uJP8L8jISpO+lCRLGaE4UNlYr4sDWpU1pgWYAJr8BM5xgbET3SnzAyC
KxFcgoZ7VS7rDOK9BK+F5xLXIgFZiQ1UA9MKQusO/5JpNp8Bv6CnymjS97WPItOIWmh4DliTOqS2
6HxvE/zSo50cVNvFqAbC62gG7WNnMYCRt/ejpT10aYzTv3HLBS8C59OOrKaO8t1Kjy0CICtS/6jb
2UQjkzxGeVxbWYaB1RVG3UKvpkdTwVErp4nmpOW+hAE0mGkkZLgdMdlrE6inePqWtyDMECORzqUC
JKkmju3K8h4KJQ6Yix94Dw3yLORzbME1LtsJVx7Pdl0KKjv2bOxC2HAlsK3QpOzpSQwRMatN3dMh
x2ts0eRb1EHwIpX2WrfOwAsZAeYdAwMzoj/gvXAyoM7RJ0oM7dphuUHUJDVYgiQAJ+QpbbswyLAH
dP6xmQOqiqaSW08n7zuf5YpjRrh43RnmsvTy6ORK8LZGUVV3hu6XByslR1af02zyosLep6uMnJUG
vWpk38jKKq7tfqwfW0QdVG8itXKT6ClEnorZNUVe4ABIBDOifzESVW8IFGqhN2JKAMMdTms3tyz0
uH35La6JgaF4YQNg8AdhfG8rjTXSyOt10nbk2AbO82gU/cJNfPM6RJACJSzqdxL697fUrFmnokID
jBmTjBkU6pg0zY8JTPJKmJQyBtq7q6wNso3N5xUzlN1cCaMY14Zqvw2uPlCdp9hJ/7kcr5WdtCQr
A9aHLhPiv2eOXPmV4393S45Ki1HDi2OEtfUoh6K1FlkAebELYdS2qQ6bA1OmpzIWhBTD1BDWyA2z
mBQKTVnVsnR0RNn8YKSM1o9JFCSKIpE4pnjn2Xu59xnPHuey6gfsvZpnG9cB/bWZcJYeK1OCExMy
tB+zbkgOsoeQQ4WUjhU6NZBfeorjLQ4/4eKrljJJiSsMwLODu6z2pph42i6mSiVs4gvUEB0kETa0
Lt38SEaiGLcme8Yz7tMh3IWFnzYopjhPlhsZqGb8ZsDfSeF7jPZ5ClDELpXsvPo14nGs7c65FR0f
M4sfcWVnLtYXQY5hjlMHTGqAI3uU9XLKIutp9Nv2uksK0u5kZHHpZjI+ECzhu2tJTZpkD5++GGZ5
ZLMwGf0rNN/wHnLXJkU0gOhTypRUjlj0kwFCRYJgz40ZxJ6hg73qrLmcC45pPFWjJnG2436mtz3w
FQ+vEuwgKCVjXD7FVmiJQS+xdwPCvPGUWsvYiry7rDJyKtkytMLPXZeYrE7IRHUB816ne4zdcHTl
ykafPIFrmWjuddmMuMcGBJg9t+Lkb+9k2ZRQpDBtxxCSosHPuzBTxf0QON4MUlq111qnQDpco0b4
YPPzy355HoXaDPJ613Uv6wNpi8xU6oySaY/kM1XNB0WBX0+2NoBkR9L/9wRJVRe7V0VX19ED2kGo
1KkEn+2gX6XhB9vGjwa52LDyMaywxHIRIfQGDUe0j6Zcq778/la9Uy/iWqRjSckDobB68USQProq
zuh8jdvmqd632/nwSJr8qt8TjL3+/Wjv7Ukt07AN4VEGc52La5I5EAm00FBmUucHQtqbeEzvmbkP
uZXdmI58/f1w7x4z3o433+M3m/5mLOiK4rjk4ChodnNyTO+7nTi77PUF/P8jSMPV78f89QTFwvvm
Ei+23WM2jjKV0DTUOrtut92uXrdHc/fhCerX0/fP41xUOnxRJl6VcmnmFg79Qp2c9XxW0w8fPbN3
jy9vr+jinB+mukd9g4c2sddzsPoth5W9HA5sHUhjr9DSPRnLbKWtPjr2zrPh52OvzXtsYbIyLE6L
+uVsgek3+IpLzLTbSvvm9A+/f1Tv/nyHdQ4LsEOV72Lq531dDprb68tyoG3XfrWQZfx+hHeKBVwC
mijP9QTNZeviKWEX6xK7xtLQbbA1rKGd9EtvjVt1W2/zT9bzR9WJ9y/p3+NdPKuMz03TT1xSwMYl
8e76/umDK3rvHP32ii5uWjJMo206f847DwdstaQjB31m7a4CteYz6X+Tq2Tjr11SKz+6m+8tH2/G
viy9ZN04UFSs9SUGuJVcwjbcukSi7ONNsLW2JNdMnKfbx3Adbz+46l9rs3zzBA5vwzVczqwXz3Ew
K2S/RYZ35AiRcdGeSI5ZUiVZiXV8FX7w+Xp31rwd7eIpxkmF8C3DqWJuuyPesRcI2/ZKrao9iWU4
1Z2Fc/zzAv9WI+j/rstzU77m9039+tqcvpb/D7R65FzDoif2v7R67l/zV3zCb3s9f/6Nv3o9dGj/
MEwbgSdbFtOaOzf/0+zRhPMHv2ZIlzYQRWdgpf/q9gj7D9vTTdN1bIQTNn/mX90eIf8w2KhTnXP5
L5uQv9PscS+6E1QCGYGPje25runQVbqYlyA2LT1ro6OpRc9JMbUYA3N9esniUHCELKWXIJsrspBO
SYbZo2q7mxBl3SYVKEFXduhpMLK1YT6rVoZod6OuVz9iT+lXUeUa974o7E3i5/jfcAejgiYMAsd3
wcrfYwa389eBkJmuQtJFkO02pT2GWScW+yjAXht3fgQ8y3nC9HqHcmZVsnqcohojHA4n2P02eBS0
DQqzPG5Y+yhGb7jn16Z+IT0oQJWD+M4BCPkdLJza+WmfrU1Pwy9u+RyKcXY9upFwrgeHyGM/QHzo
lCN6H1IqTl0aGFsc2NanvKmoEAWttZOx7h+rsg626C+9fV/4yY2WNXKLXsg7sZksDxo+vx+0s/QN
vuA1mC1CZeOODATAT7R3u4Y01MwUezBABAhLx0O5ROz8srQnfYkztLyZwhwxtddZzbNVEzZKi4p6
AKIngpM0ku5GiQYYqsGPUi+8XRoVpHTBUMWgg0/TyzDF2KRSfCJYzTnVXQ2MohZFsAsdJzyrCnyu
7UUe+2ZLtksCJ2NisinTb1NTmScLg8hNF0MsNolF2oZNNBxbndiUJmCO4GJaGBhlrvUMfHmVKswz
dBPdL4GluXce9uivbc+1CKMJT54n1G3TDOM+y5pyNcop/TqmRJkEPtH2Y+AjHbH6L1ohcSNUaC+/
pBzkIAlrKGcrVSLCEWEMPiWVXo+HostXZphz8s7xe63LZLIPQSuHHybYFkjowNPNIl2Jug9+cO4b
H1IQJiBnYK7DjrcfCaNGRV/7brzJkpg6Xo7NkthR+g0gcbB+5kN7Z6NxTLaE+Uz3eVMaSJ+iEsn9
4AO3EJN3P/Sj+Nz1mf0sQlAbG96nWm3KVlbRRsgbOw1GXC12vSL6Dabd1DmjsZ6EXsAKcE45rv2z
cMn6gjZ37E2mZRPARrVDuzmiibGWnesaawvxwJFcRWwHluu+qrSJn7wmDn/o7VQBSaB8nyKLGa6i
wIXeRdp7uJKWT0XNyuV55CN3EpnLxfVJuCyLhMxcG+JbBMR5mRPAdW0aaLfy3jZu67H3D7CBm5PX
TtHWiyg1VUiav5ROk2315sajtDQVYjdp9soUcu0a3qexDctVrMlgKzqNKCLhyzN+meILhhWyK7pg
+jSABGqAlETxl07vi3EhporMZyoWYIxEta0HcLA4JS3tWyKhpOt6Le4xdhbPoWHKnY47CANmUt9i
snevQx7FZ+huaJHkWBDIOuq8Mfish+Qpj1QeE+xioQhR5tAeIxfHwtrxA+0JhSlRI47ZErLizrnF
o1YPZK9FPSnRoUxQnsrglI8QAj3fqxHaT739w5pINsBu0xv7PKhK6PKtf90nqnkqlDdA0ErEq4e9
tI9YMjPlgwHHllxcqwgatWYMzgs4UjImIZCilpliAi8W45QE31SQm9hDizZ8tPvhrkX6v+013/xW
1RL6VqTRaZSe2luIVTeRFRbfQ09GL5GuaireoFgWXcOLt5R2mwDUhQ1wM3nWtLKFNlvsqGPRuiNV
D2xNoPy1YmV30S+C6TK7KL8notq/R0Zgj7cY9PqDNZikK+MtWDZWCYPKz4NvaUzRDKObjn3Ogtab
U1c0kJtw2ppRa74V3oypIa6dPDNj4tR8kxoT8B2uNvMkVo9eWt9iCGYUbEsCWdpGDfeVyHLCilqJ
0TLIA/uWKGTqf8KPxocG1OIjkX9AqQM9dH7EMqZs3lWkggd5nK+dWAhv4br4YBaWOeQ2kajCvS5C
F4pyAz6miutxBtWU+QnocAmnPlOH2XuI7jH/PFoZ55pEAWgoTNt8Qgtcfc6mUvs2WGAwp760z3gf
SSRDlf4QUez5QmnUwkviVpTjKs4snRkfkNyk8ZLaH2q6NtAovZlGdzQzHE3doLTnOtSHaBklpbyi
bt8+Qta0byJUDde5TYBgl9QwWNy6sG4I6K1vq6AXaObS8DXMXY1lMGxZVLT+BbtJlK014Ml3FNLQ
IlPVju6z1NJfMO9hjW9NSzz1aUilGI5fitFMTcSsj5TCs0Tb9YOyz0UMTkWZob3NWLm9lYokWIgC
6N6UmGLNpPTgmrhEqJRYb2RURde9wqmJp3P2NY1+3K/0IW63QsbFNyS9xovLx0vANUoUSWzQb+26
sZ49vfRWMAvTo5GP6o6+4wi2rMmIpy/Clkz5upWshBrdgz0oWnPAEt42q4R6y0uqKDiiHLTu/JRm
bMpLQdKCS8j02NVAtgJ7Zo0Eg05ELk0KYF1RrMyjIweCFWrdm76TYC6BHYSj/4V4yor5pY/O50oE
w33BPmRc4AOpefSgHiHsFt53uCnaGYY6rEcLlxvCNS23gY8XbdcBTE7toxmS4gqxTEOCliGoY8+j
T7gQvD6rdqMRp/lapYZ1DVOx2BSWCd3VpjAN9y5OYMdRMv7C/qN7pajGwb2ODGMJzNohyREccEsY
Ce5Z+g6WF6f7ro2IAHKViRLQDJyeXJwuAUpIelVwDJUcNq1Tj7cyc/SbLLGnfGnRILn2qr64h8jZ
0vfEMkFMgU/NcPKgsEY7tDUUedB3E6VuFfjrbDPALWFEZXSXZA2ghj5Nq/IZwgaHYY8II20DH93C
71uOCjo++mQdKBEyQq9E9oqLcdkH3I54afQUnOd8Lv/O6qfhsbf17IZ4Rh+/YZPSqgtnMmqUe8dY
FBbk2UGRIDvhldNpg+2a2nY3eR40Gy+ctG1fdeo06qhmo0mryOXIIoA5VpksQZdOxgn/WmOsAyxs
cg85ohKLuE6sYAGuQwoeDWSY1Yg95Zbrc7td7oaNh60MsSzsA4R6cFOddpO1o/88aoa9ifigy3Xq
xznZUpGxSYwZiy1bvp9YTAIdbVObD9dW1OkH5B9AxRysYHsTrSkN+abwn2WWSJK+p+gBUSGtC+Kx
l5WvpUvP0WoiTsn5RXPs9uMpdk14FA594h993lGJVrGDzx0k7BUn+eZGghZ8aCaZv0DOthAgZvlu
AFV2548K4gG7ku6Vfpx8ybt62rvshR5KLS43dA+qr8MQZwsKbmx6lOt/NiJabkvdLcEqKr0kDa4Y
phBRNMpI+inEQNFZdcUV7augERA+iqQ4IHiPycGwvxh6T2x40cVsFbrat8xNylt/75s9xk+joOem
hTWhem5dz9j/HMjrhvOzf3SDMWpI/4TtsvOw2xCCTH9QE9IhqNfh+C6DviYYZU5r90ZjwLiuqNnu
RF6pJzv36GvqHlvvdVcmKYqLpsnuUcmRO9TQ05GNBwlId1lMOiducYAiEbX2udlHtC4bg85OWU/R
qwPrQq7zUKrvcaw5JVhUzOpOR6KYnjdsW9J6qGEENCnS3Npu/HQJQiLrNlZeFbjVOLcoUTMDonIg
PEKLRA52b4DUhE+iJfxWkyGl91jmxecRGaq1CAm8IgajjnBpqCIWzjqvTcjXFX6IGn7WgJMvm3KK
7yEFlJbswqKDcNn6gh1YWxAR5AOdmRZVJelGFCbfnL3q6oFDBrts3UAfvTBLjOj0BZVOJ8v2eRnE
gHXpOqcyjwOvJvQi9EACcDxwCIEaS6faWK0zmxJQf82xMX70w9I9g4268DWTllEuyj1P0EXJSj11
wMcgs0f22/rL2LIEgmAihHJh9I5bbHJC570HmZgN1hfT7L8G5OStlCFAUpC6yD9aL+7GEFWMo/fT
WqbI2XElTTszquSaaNxXh3PNmjDAfh17TDTOFP1NLiv2QModqqtx1IMBsZ0KsLxhClTdfLcdg2W3
oF8Eb+84GI1FDmpeTbeNTMdDEMiJXASazmTaFUO1iEjTgGxkohyoCKhUy0o3+cDzKew56jhmPqGw
pUvAlyMQ/ao2fHwzrdG2pK2A80SiLZGSRVYKKM1zlPHACTyE0RbopnWyNQNfDvtiRwMG4Tr8eT3z
MHzDYvd7d2FmWU8WVmuQxdD3oXug59fg5wRtOIZLq7dDM18aJSQc5r6eJiRSkUJIPjsOa734kepO
ZNwEk8FWdgKXlo7Ws9LNayTxWG5CCH+VawdfEiRCq1av6OY4X204VWTqsf3dRXntf4mG0gGwM9tH
iqYPCVMmDwxfTgT5OU1o90Ax8jW35XFlVfsjc0gFrusBfI9u4wcZw/KuSmtxxF5Z7Iic8zdDZomT
W+CBUG2RP3aFNsPYJm3i5SgBZg++udGCVCeBbAz3JR960A1AKbbB4DobPrctViVv5FAxWsHaCTJz
64fBnLMM9xRxODYwagbjjSv66HPWB/bBwwX0CTIc0Iu5SxJuvZFERNTizWcN6wVR53ohsF2HoCGH
DqWSPUQ4MRPspksp9oVIjC/dYBkvRutgncrtJ5p22mMI0YqA1xYH6Zuazu1fNeOfNKpzof/fpWTq
JJRfKRlQv6HJIVx52QiAal0bjnffrMq9dWNfdffVCQTOEq+3t4wXGPoXH1Urfy7F/jmkKW2qQ4ZJ
31tcKix70APmVNtnTlqAL+m/Qkn1/irb/VWreu+6fq7G/jUIPmiX91I3kMReqFOlh1PGKsXZ3FpP
MbkGp+kQnYKjeVPsx6O7C6/i0+zk+Oh2zg2ui9tJN4a7idTZMvTLyjmyEqTctTjjhqkpxKar8CY/
cPjUbxCmUf4FO/v7B/jedTpIpNnxUkk3L+uvLbHOI8yHczhJ8VSrFk6XWXvRqQBwWi4H/tZ/OOBF
CRaMOPYY0z7bmY83kOgKV/DWZuEB5FDxT8YyJDI4IIJgey4mp5GKQnDwPDsV4eA1/il4ZtEnV1Wf
O0/7oN83a9B/fXRINlH/GpS0L5V3Ibx7BYfyzHkefBufuasc/eJ07T/kLx6ZG7fom49iiR2FUGgP
v9BteP6onP7eq0FP51//hvn337blqMWAJDDOWfeS2S9g138/WX5uE/z1Urz98Rf3U8eblFITOyPo
Sl8q8NAkW8ams6zMcHgRUk9eZpDA5h8MamJmpcvjGoSY/HxNY6Jj/MLG7aSlvqwGa+BbQ/gFijGP
Vx/qYLvBsf+hCPfdN/HNsBfz1A+doEegw+OUV7AO0adb1+lC30AzWqXbj5qb7z44y7Y84Tiea+oX
yw1WKNG1kzyTQbPjU01s8Lj+/W286H3898N7M8Q8f9/MDZGPToZe9NxQLlxaG7WFqL1PD81arOtz
tPlPr2i+v2+Gc80GGrRyzxj9hifbH+sH24BV+IFW+qP7djHha6lkXufGeaihLfTXCaEjv79t85T+
ZUF+c9cupryleh9ThAlHEIu/QRkIFy0xPlq0/QfjsOwj49SRfusX4wC57BO3N8+tWR7tCp63yg4l
qKDfj/Luav9mlPn33zyULjICc7S8c0eueJOWS897tvzxKrev/7NxLt7ZKiaRrtHkWYy3qvJOiXrV
9AlCtPOBXuTdBenN9Vy8pOCIwqFlTmvtVQTmbSJpmMCxm2CM78gX+OANMt5d4TGr0DSnLUXz/Oe7
ZxFvMAypew6dKeNcN7p3io/ndnCaHkeev20B1TxYHXxM21bBBhu++FL2jbnsyUjaePZspylMOWGX
p720GAoLkCDYiEUpyC4yEguiQDMFu4LEqttIEVtcN466bTmWJwsrck2Yol2xJIGmW2togK4KtIHX
kDMB+mZJYqwiFQ3hB2/Yr50wtgXOm6u+eMWI4mNPKpq7dLr1zK/2wJFOXAf9vVton2WirSqr24Me
WP1+Br37Yr8Z9eJ98J3GC1vfOxdJQAaE3HVN+uP3I1wIdP5cEC3Jpsd2ZpuOebnFM2SONHhMHsJ9
vSc07pHiQLMAkL/JNjDH/57m4q/RDEaxBKIg2psXkyeoE6zYvTw7KGQPepl6q1xY8UcN7nduG7aR
f49y8bAENf5Uh4KV1qscweMdnfxluKlWkG01a2FcEdC4/WjTMQsTLpZIvGK4W1F8AF+6vI8U+T0J
0P1sAT1d6H1odAvk1M1+6jMdHVLSkrFHT4yiaJBY+8bv6JZ98Cjn2fDLP2Hec3k6nH3DuVhvGlU0
MDHbO0KWVwSSdqDdsHkRZUBZYtGvyjv7kGw+0u+8O6gnpWkz7q/2vMS2WlPExrl0jKtUkUs7aI/O
YOx+f23vj2LZLpt0bHLmhSwkgsGcwwk+hwISm1vYj8JDPquVH7wN73wZLBpVri0dV84r6s9rmx7Y
ZWfU7pnjK0d6bNWUrOrXtgxX9BiSj57XPNkvn9eb0bwLqw/2gkrJIbyrV8aGgMdDdyCZYUkhY9ts
K33x0bv33j00xXwEcPiU65eHHKuhWo8++1x77UA2VtSFdxnFoDX6UfHBF/bdobiBOuqk2a56sZFr
SkISRO/AXJ0T3wofelwa7KaMFM/fz4v3HhhaT0426DGlfXlN2Qjza6zkfVnEZ09Ep8hwwZYBhbaA
Q/1+qPe2jthrTTyNs7bQsy8mh2W4SBmkd0/fdNpkd/LToJbOY7Kt1yNSB57ZR0vKrOP4ZYK8GdG5
mCDGZDbK0b17777ee4/qlC1DndbFwn6Qz8FaW8p7Z4tMvjuVJw7ny1kCFj50WMgf9W256l8+2s2+
s9GwOJdbuInmFeZygemgjmH4NKHFOLfdaHxyQShMoVqWJqqN2t3+kxv+ZriLfY2lNRUdCONeraFF
syncZlvnE5zlxVTfzmZLtga/H/G9Nfzt9V08YbRnzsBKd488ZZff1Ltsj0fiQ7/he1+nN6O4F09V
Rk1c1sK8DwT5AOrJooPy+8t4f6b++8ZdmooLMeVhYBn35nZcO+o037j+Fv7v0mUOceOSxw8GnN/n
y5WMI7E7C5YM9EgX77semP4Imfg+ZhMxn/ebRb/RtvECRPEHH4ILze1fO4i3Q8mfl2ig5PBxOpNr
i2/1NSDYlXl73LqL4jY9I3f4YEa8+6zeXNjFfsWx2k4lrXnvOS9F8TXo7n9/495bvt5ezMVGxYOi
XCW5dz8HhBHLp+qKPuqnDhj178f5s8bz6wNCFYY7yhH25fezDV2Rjsy55glQzSbY1S2yXmjX6+kx
CZbhqtyZNyOPLM8W5q67SyjR1IvqJv9YZPnrHWX5gA7ypz5b/8XOP4SVO4bCp1Qqr6xoQb976a/U
xkcSjipnnfyDI/jPA15MGK919bzLYEgVyFzQ0uzwNL38/vZeaJjnSclmwaVEioPf1MEVXExKPVCj
WdFdH5flXhxpSa5K7uBNsewW1QpMpVrJ3UefB3Hx1gldWg7OaEeyKYIIIS8mZ6SPOohN/74lPhJy
rj3ua4u9e1q+Os4Vu7IXzx+3KfkFks71n1f8/wWd/0eYvKT/u6Dz+MouOizeCjr//Bt/CTpn2AYq
Tt0F5wBwg23x/+g5pfPHXNEwIWewU+Hgwyj/De/QpPsHGwu2ZLMrRneRxP1Lz4mY5o/5ZAZoY3ab
cOJ2/46ik+X4p5WafR/9Canz41DisWnS5xXpTe2Dzl6V0DvwF1KWzieZgUnFAeKRTOL6QGmyCOIO
+2q1kwO9x8zL2y/I4LBrF3lzCPPCBeFFJinw6cq29sRZkzXaRPlN7BvVgZNNui0NGS1zBQsZppjI
PkGHn/Z0hqZoOZDccrSiKES8V1T+05C7tCwVrS4x+0yDbepV8rEzPchBINubrR7XdOrIeYEAWztD
eICcJejwdum+qO3eW5UeKMVjxv9/h+IDv0439B+i8eSK75GkFhHhk8sz5UBQb5SHwo2Ir7aK6d2G
CGuBKQhpbpCmVcTCFcXLkDTpWTPT9FYbsjbdOL2c9pU26Xu7ARnX202mYbgyh4NXtM7eSPP6WvMg
Jtpxna68MQLjaU9lR1qKIKfAs5tmU2l6cAj6Nv7MEEhckrI/RnloHvLIZnvcVPRQgQofekRlxz5o
tftY6RjgmphwqzKulk0ecZIld5VodDQNo6ARrOoDwVL2fZP5IQG9mvmUDAmqowlyZjFV9XXgWTgV
p0IhR/Ltz6nfN/s+M+I93E/c0b2s6AqKcgVRvl3J0a+vsJKqc+pM3b3rxsUnWWfyKsp0fHfO8JU0
9mIL1Hh6gWtHGxFkwLbIjfjIkT48pZDLCFMq2uIzTWNrzWbQfM1YMlcy7KJ1Kd34pXGjaB+JlmgM
vXc+Cdn010MdYQQjnfqKWOOQrBAZqa8GSVcv9Ac5AiFHwHdimT0qy5iCgVPXR6dP+62Vzy5tjqSH
IhvyrS3r4XGysmYr6tDDjTOM7o76V39gvOw1N5zgOxJfVPUAs1Zo6dRK7xLnpOWOv/TRMCxDq0nW
dZDJDfGDfJBtlaw6HHy3NJLbq1T4BphGP9wC/CPnxiHd/ju6seSEhCzYBnr04qncmulqeY0kSCls
y01PlLajNnnqhZ8ys9MeK1nYxIk15HVWqnrWsW4+9rT31hDVe7ka+kG/z6IufjHgru1FI6tdDbn5
qaZz9VSkQq07a4A4KIMAehgYoaVk/t/EiGWWTmgRbe1DHA5NXqfIR8Ol4VtdeaAn6aMR8FcVurYy
wrJ9ZHNXrmHKluvcjHw43YW3N0RWXZldqSO+7nEKR8H4koyT2hdEte4nx0hWAMoLBEBG9hR0GWqe
yBMbif7i6BaF3OSWMA/00PNFTnTb1wTN0kamJvJOV29OhUiNq8DHx27rI0SRUE0bAxDXJonzdiP1
afqaTZ12zodhWCuSpUkLaNvN6JDpmY2U9eCVtmtMv9ExwLe4aOs0PAaZSkhC1cOdgzLtAcBddusM
ZMo6wIWXBvGX12FL6TWtU+dGb+DsAtgfErKigPmZGXJyN0rkpu5je60CYAZW18QAVXq1Qp/p43CG
Xb8e5Ggfe1dZi3k2bWfz39mAXkug1xBvnUkVzw4pIldVDY+fgKseaGiQ7LFuOwsplHaIsYWqtdaY
5dag0rnuTDGeIAHU4Cy1flsbLoKSZuwhEJgzbFVFN6Ws1GlCPww/NCOJJGrMGwHObF0Ss/tkFIKk
sB4jL4CW8goiJ1u6aWg+eVrRXHspr3SX5O4ePVK3jvhRh3Bo4HPXLM2yK9wdwXH5g1IxIPGGDMtO
z6dH5F/pHS98ugaB7xwb6I/7uDTVEb27JKgbutadFZbejZaUYh0VlrdEV+Qt/bZxbnxMfjs5ptkV
J6j02jfr5ABzkhg9iOwbIqwcct1b+doUVGcXLKDu/WhqauMgzPiEwrAZF0WvojU5KPaBGduUi14P
xsdU2eJrgRLyufYC8ZX8O/3omzI6ORHKQTNyYcMYKl/72kTKvIkwEb8F8aIarr/SrHDQG44wVliY
kbABRqg/daVmH0pTjrd8v1HKIWL7Yk8jzmKDoOBICsrMoB1RMwMjeCiiRG3i1pT3bhSGB0Lt5Uq2
YzgSt2eBAEoGc6fhLoCCr5U559SxcOGdiuirSIm5ZE1Ot6ZCsroQZT1iCjBCI1vrUB6XupcmK14I
90ZvB7nqS3TmiANnsmWBr1pkzZqYcSL0JiMACzgWJP8NNUpTuIE4KbTmpAim21UEKqwzK5sgyU0Q
/EDBbexmMtH8ctBk9Q8hMzTh0G3jUvmPmeDv1AYJRqVHiok7ptq+MGRwNsI8fmyryKtIhNDQm4xY
KjTSzr81kM3XuJVZwwXS4LaujaWel+KqHUuv2ViqGvZe81/svceS3Eiytn1FOAYttkidpRWS5AZW
JJvQWuPqvwfVM9aVyDwF6/Nv/1mMTYthZAQiPDzcX1EXz11aICDvIo+R45QV1O7GE+tmqyaR+1Rq
frIJQq/Aoiurd8igB7e+EeAYKA9RuWvaXN2jme7hsxEZ3kF1G4qW/3/SWg8fumxkjP97zroNwuBz
wmrwb/+XgGSY/wO2Q1VMWZFRGDH5R3+rzfFE+x+ItDo1bePjH1EM+W/CCstIRf6NHi0lPnLTKcv8
j9wcHZf/MSYxMwtDOYOKnP6v9Oa08xcy5EwKpCTSlkj2bNIUnOWrfQnwNdUz72RaYQlINlZhPvRd
vW9z5BgEjADw7AMOR3XuRz1UDw1beQ0cEAC4j4Qo1l0vASYBdjNSkK/9+IAj1mgbQ/agKN6tkfp7
LHPUU6+UCW7N9evYat+zHvdXmsR2UCNF2iTie2VVN8CgKOx72pNqpiAepfIvdUhczMdQtsVsCgvq
sH1txBC/m9G19vjrETNd7b7Thx9Sonhr9C0NkALSqdb5LRiW3vuV/jaGmAl7JhLDIHknPQvA6HVT
vRlwg6Qb7OqypzDtk9hYKhKdP8R5CEiUTZXpP+gFavq8FWOp1oDAZSI4ebXpNuM63QZH/4GYvtZQ
WF7X6MIt9Qo+vtY/ZYjLMae68afXRwOmOpKK3HDUnbcXTtGT+t28pT1xVLflrvop3qs3/1aL7nLQ
2RYy4kqwfK8XnBrUBO5CdlEu1L+085f45RCcos/zGvMuqXsxkk9Ij7qwgDZUYrKdUDcmIgGdlBwF
o+rLm4//mcheOW6sgIShl7Qk2X/6u1/8u3//W4Co1V9//8/pjyXd/O9fm2YAEOXvP+Cfcf8e7O//
wz/jIpbU/ufXfPyOv//675+koE769x/Tj31Zv1z/ofN/99Pofw9pFEvljvNIMK2xgSqSxOOZvWrQ
aztfYz0XkVOWTc0pODBISiBrccxlKPfLqJfzR/LHUBZdAjyJRIWC9hyHUhcZcOKu1pzmaO6k2+Co
vyL5ZwNVPgbbpWqtfGViAF5kaRKCFC8hU7JYYYatZpoz9e3aV/mobCEX8P7DIS/f4qG0Fu4EZ0R+
rv5R3HorRJ3WzQ0eld1ii+jj0J8fUJNyBjRkKhUKnZvZIot6q8s4glSnDha+uMkP+srcFc/Nrt4H
G2xzbUDI34pbrMN2mBTvx+NEka7WkxDnsNfW/Ta9oxOyhmH56cJ6/PsXnCEsp4FnP0ymWihSujRl
SISz0nxBKqMPY2o44a27C3Bc+zVZ7b6BdHjBSB6y6F/o8YV3rbZe1se7jJTm57E/sAGfotaIs1fb
FrXrWPldz9tKEpYaD0sjzOqHVpKETRd1goMgwTdPyl8qlPgWVvByU5/PYvrnn2aBzWwKjH2kNwSS
ixbWKVn9Uo74E6ysw1Kj6KPvdvG5OEiQlHn10TQ7Hyx2kWqrC6E96TL+uwhFbXEuBvsiNjj7psCH
NBm1o7a0w1rBqnsoXtLGQ75GegEoX656XJMhpzq8I7HtqcWd0kgm96ou89pL3kSlf23c7uhLtVNg
DrmiOrqnlHarRMEWF94jvONtiJ3t6EUn0wV7kmChtZIb40mSWviF0k85Qprda36goANh0i9/VJ35
azD0e6TQeEqpv2LXoNeGwosmYS6DI9FKcAMDQ5XueymLO8lK3uAbH2Iluc0F6Xvnxt9glijrha82
LdTZQsocwqnBCauRS2OO+wv7gOKcnMgOvprFHx/j2220Qa9qVfwKT+UmOySPdMQ21g65xs0SgOm8
jcvnmwafxIjJvKa65GxbFmUCqixm4yvCdwUxnUY/QFJYSESMi/g3G2W2MSFGukCZW9eJaV7Yoxm7
B1E1tmpmNCuQyaWttpNXsyYI9tD1CEHk7UlW4GDURfcd+kOzEvDjiKkiQVJD+8IM7hTDb3BKNh9R
/3sydO8dI2F352rVT8Esf6J2fhcayjdflm88NTwgP7dtK/0nhO03pdMOUBtAVGenwcUcUsqql1HL
tH0w2QeQRoS2WLh/CpO6hIZ3WiHm3yCkQUTGSIItTTKux5RQ27tEz4ER+8NLWwFf8vJvZHi3Y5tT
UOt4TwtB6OT4U9muXljrMCKMcT1g05dYjx1Gxyu1qA9Iu7+EZvhkKv2hDqWtV1Z/YEj/1tvMO7gW
Fql1iwkAlZamT6g64n2UNaPz9Sa8iE5cg2T6RF5s1MGWzD4QCj5eJki95ujD3scpfCTf/nqEyzvw
YwjyURpCFk2N2b3TNKpRjFqtO72QULokfS5x4ULvQxy/WaG/SfA8gfRhp1Y92UViwTLutMG1C+in
buuvq8pf+0b2S4PqU0EIGI34pgrCFUZaMM1SgGnYV+IuB9v0PyLn/ytI/urN9E+o02btXE/HY6DA
PteBAIQAZfnK79r7hfbNb8kDx/jw9VJ9XMFnEQF+AV0f1ZQnMWdkW89DK/mlVA9uYDrpt1rYjpmN
k8OzdqKuRqXO7lcNcBKKKY/ZdhnOeiWBPxt8jkigsVzmPiamDmaM79I6/Cardv/TfE1oGBp/2uec
1/uaEsHC/rhcY0sVRW3CsMPwvoD/RH5SaF44UTi9etWyD5ThofK3cYIxRfG2sMBT2+x8gYGSiAba
FwCpeMDOoh4iEiPqj6rqTKpO6ire4mRkocYywXK81K6WkTmzhv2UcH48ljnfKvO80C0LXQQDKqho
p2rj7rB23pQ38RZ/lbd2wiXvcnXhWrkI7IxnAgFCchxd9YvjJo5gO5Wc9ZS8N7H4Jvq3Wr7EBLiI
GrMxZm8iLQwTWdB71TFw297pqf4eF9Zb32TPcas++Zpa7qXEQC8xLn6mBRIHY7jOXP0odfFIoavF
ng2xOLuK8CQ3LZoBsgKrnFrEIYu7ZzpLCKJ2eGOmiiPhi7GwCaaYNtsE9H/YBOA9wPrME2H6Ukk4
DOSbimQbvxKAYDhJ/8Y+SFqJr/SRKdXt/j8OOVuwicic+ZlUndLb+qDszUN/FLfeCqLEOl7lCztA
mf60ryY4CyPKgHlEKmiu007mIAgmQ9zWQ3Y51ZT7SpR+1F746COhiJZf9xqr6ZPUCb+8rPzhqSb8
Sd/FrBGJCZhx5m3bKpbd0eewed2/CWge2sA8n+TMDzYUnXd+NxjbaOhxKOtVfaXWynsiNlyTngU/
NvLvhbDd9ypPCNlC7iO2Bk44SrpsX6r/ovYQVPClF9b7YoNy6jgE3GtACnVsO84Daa8j3RYElcQ5
N3fqqn2sdjjR3VXrDtmlGj6cXS3k4BdrPhtxyoQ+peDU6mOlMknzS4yVIrHYa52wamvDbiAuZo1A
5ffn15O8NkdLJIyJE6ieROt8RL9QhhhKp+DAxH6OM+sBtPXCvl0aYjpJnycFRr9QQz8+1SlWJZn5
q+rE08IsFk6jPLtj26To+iBGGiOIlFvRF8ONCRX80EJsv/c0VEoSRf4uG0Vi130N8dFzrVWLXXX5
jdauPVjGCqnO5mYIFfzJkiy/74RUsa0PL/Kev+dlNQZkft6/AUc+eqgGVoHfH3t/7DeRYeoPLeIG
YWvFSMnIJdlG+2SaWoEmrPeo0E8H6qtzfugV7htj6lXVSWR7MVb0Ag5Pq1DUlGNgRf3K7XGJWVgc
1nd2kA2wA7yKJfD4F8wgVEPStqPZ60SBsKryiRIk2l8PMQNdfdxPwIbAdwERhwY4V7ykxykmepWZ
jl/0WyWuHiRJ7VejKt0l8YtcRs84kW01LK8wmbupBfV37QM5E0/YGv3bX0I9RqEENLEDFRqHs7Al
If+U0z3B5u6F+CEjwoDqnbs2VmFCFcLDautHvlsiJF5cl+eDzgsApRunCEoNZD2t92iUCqxkf2VF
S6jZy5MkShKvPTJgxLbQ9jo/Sd4oJRgc8RBCvfiArtYDpj7br9fv2lsLfiPpDTe8BJLzfIgqhxEt
N6rgWFl003u0OSN/7yXipm7jhX15uWkIN+xJ5DinJ+wFKFCtGlGILMl04oNKd8zuX4JN8hcyFs16
/IN7UbRlwy7dotfW8POgs2g0xHQsvaCXHMugEK//rJR64TBc5KLTtDSN0wBj1IKKd76EeWRAUaOB
7BgB2a7Lg038qViP45iv1Shc+F6XNwaDEbqBDcnQNObxe/TLxhqtxnLKLtopmGEr0ngY5fgJFfBq
peJ1mheIhHy9SWackP+++yk7UAqk2mrMbo2eOwODxNFyED1aDxtcgf9y178G9D9Z0KUTfZFus54m
FSK25dSGmu96AM5GXg2B7BQb0ASbcCvxbHvVdpMxhE5j52AtjHjtDJBpT/Qyicg5f2vWaT4mGKrL
DlpUf/K8vQmC4EWrp77yf3QP/9e34bQXzmLzNDeJOgr0CCTRP/L+T3djhf9jXfiS5NTbiQjb3jRg
LJeB4lfik2RqdHFUSSObn29JqWxUFQEb19HGfidiPp3pytF0g4WFuzaMBRaBe4Zc++JhVLtSquq5
5508LduIkbZJhhstChaSpKu77/MwsyMct50xNo3rOqNlJ5WtrOMX6xlhrl3X2v0P/J4WEsFr++Hz
eLOYqPRCMRoooTgA0TZyjdaQVBwk/UXCjO3rg3VZXmc/fB5qil6f9kMtNJHuxrLLXZ0DzhaG16KF
xFuWfrcOxuDJGgrv1ZX1Hq9n19qh3dJR09RvfNXcd17piHEg2qI2vqJYsTGzsbTdDJn+KJZ3eq5u
Gr/fRVW7LoEASDGVMyGmxDqMiDL5hr6WjPbe1It3rQ0nJcNxHcheu1cHIVkI/deCMBROYiNIw4kF
fj7NoC6G3Dc6wDBGu/Er8utusSFwZQzIfWBgVQmiOe/08zFA51R+3MqSk5R29F4fgJWt8arVVh3C
SpvqsVylu/H719/vygE4G3PaSZ8+X1wb6BK5ouQYvehge/qIHfSNKvZLsgtX5qZoMC0mqKaomXMa
koLQe6OB8HAoB6DasgJOVvq2v5XQhFxXBzovvY3I21IovnIQzup8s7BPWU4KS7+X6UKAD+3vfLwV
PGtPIN3863WEK4asKd8NzOu8O1BhyGnKUaU5bYnvMxp61VO9pDx+bTITQsHUJskDZCTOvxXoVj2P
80F2xiizazjyah/vlA6ZyqXP9fFzZ1Fe+TzU9Dk/bQvDqAU3MgUCSJQfRNM89V12m4/S3ZgYlT3Z
FGf5Q5aD3Rqsn52cOOBdlNqCga7ZWJit6xxbKdlHjIsLsKXUrd7Gwk6MHfRTqTs8gY7amKghS2N5
yNQ/1DYPdfMcjUeU120UpFZF7W/zrMQUAHxbb6zbwbOTDD8KZd0KzaaVMEtXUWIawLsJ6Di2fwlR
uRYRYTSNZElY/lreh4KGAcRfJfPjYjpfjq7JWzEGasTulbbGHtXNdpv/BAa0jffROpS37v1SD/XK
weQFBGmcjJZkYl6t8cIsNDOVnctzRCLxM4xkFRb/h2OpSWiEgJwwKL9+kCw+fefEwlhZHw0qWpIt
HnFCOFQ7f13uEUVMDsax3QkHYfuvT8oE1JiKn9P7fR7lahTpXNVzJccLcIlOh2OihdtekRemNmOa
fWR8U/sZLA9FZbo9s28WjYWvZWBxnIAS5TaiKYK8lAF+mfqP5kU7Uw1FW0eQzi5dSA6lmB/asD1I
kY6+H34Sqbsqh2TtZdm2F6gyuK0DUHlVZuOWTgv+rDUykYWf2Y2I7UsdCUfAkJWNYB7aqlW+lENc
ydGxM9PZDhKU0YsA47Yh5ERkmZxcAmsr/VTku4YmAtS4znr9+gtdidWfh5qX/6UkE+ShqKKToP7K
C3+V+ovc8yuzgQEw4QN4LVHwn/75p31XkKVrZVGQ3tnmEyFCx1nM30YwRY2jdq/a5q96lTxgJbV0
rC7L/TwUoTWyrUUNK7U5qRm7IUmvy5QmKt1HJ7gxbvqTcZ/eTDUydOF2yka2o4elN9xl93ga1qJ7
TFiFrzqvzOFwgKRApIjks+lr5BonISifkqE4YV+s2zVp/cr083fVHEOEpSXXxmdEQSAreFSa7LZR
zQ0SPndCpTzRlAN+WOA5ooqtnRvdVpPAItdAnjIVOK+M3Lmf006ycC451Way8SZgeS3ci7GMZDMm
2m6KfIOmb2IqiTAPYX+6KBkWYnRXyTiW9SOtPCNz9FL8nYXGtzGtn9zWRcuzfYZKPNrCJB9G8wLz
6pyGoFaJ/qaTqt3Y4jCTt1aLwU3N8rqjt1JK5fD19rxsLUw1R4WiCdkYJH91lk2LfZoKqDVaVDnR
2aLxr+yDo7CCjPEH7e2HpRTpIwieX4bn483u3bwxW7Tc+HYTH9Vjx8QvwZ2bgtWwNqzfCmuqDPam
gFWmsDc37RoA706+72783dczv0wA+CGgWCYAIZfCfO/W9ei2hcDEo+wvL6lB3rUrvX6VxHD99UCX
j7xpIJook3/iBBs6P56iq2eAXV1qrEdtGx2D3YdRxiLd6/ow4IQAZYpYPcyiQFT1gwcHJDqFVXjv
4TIUCDV84PLRDcsjMkRbv/Yw2wMV9W+nd34Yp3X+FH28vrSM2Cfh5bKnl9o7saahp4ctVuKXv6Sm
Oqi5ijcZzOivB778gEwTRKrIpkUhf04q7aJCH73GDE9pZNqo0SHfUB5z7anpFmWOloaaHZIhp8vU
4E14yjbuHboJUWWL79rJX2vP8Z9xFb1K78Z78qA//x9mSCUTSQiU3C7SlhFQgJ+g0ur0OrSq6Dmk
UO27p95Y7HVcSZAoECgqAhWUPi5eS0rehSWYufDk3slHdWXchGvUWUPIiRCr7HaXvNDaX5DhuNyw
fL9pLBUsKQCWWU6RpqOISL4SYkCJ2edNsEsOk3jbUnF2Rr78yF1I8kEhT9gBYMuzgyGrbtRrHT3p
ZhW8D3+8PbjIu+LOxMhu1W/A9CPG+Lx4NU5/6nmcY3afRp0qd5+OhZ96+KZOo5o/xJVCnjvu28eJ
y4oLpRPfx8/xJr/zHoqF6siVdONs2FmwGcy8Fnpc+hxNf+5R3ZbGxZlNz7z5zHRJmoxxplLxPJn2
1U7DHaRSnMlwW3aCo3dXb6jGPXmLptTXZoNeokoXDscra/5IsxrMXlrXDU9dFa/kqgNEs/n6iM1I
sn/vDv4bb4spib6AOVOfSForKpCIX3UbxKvWSIvdGDuTu28J9XZ1J34ea5rupz2hxwN0RZhqJ9wQ
D327MlARyHbYv9GaaEd7vFP3+aJo2pUbXsSDTKfEOMFCLlBaoiE1ZT+yiC3E7mhf+zbPvRWvXmGn
37j39GO3C2t6LZro+EPRfwDmL81PdueHI54Ggux0gLOO+auxnaxukZPfgV5PXpVVth32S6u7NOjs
HhojrDrpAipO02DCl9ptZdiRry1c5h+7+2L3f5rbLJpYGmQKWVPDU7/FjwerTuW2f1F+kkGuEZmu
1uFzjGQ1TSZvmy3UVz/6SBdjU3Wn2I9H+0XKEsctLgxYC556HtDozyQWGIfCwJ4t/tnpFuieGLWN
SOkOkA0dV0n8hdNydY0/usXomRpoi55v4El+D5cIU3ZE8yaVYtz/TlH9+PXuuT4GmFCZbatfvM06
wxhzql+uo3vCPXy+x7HPj34Rf/t6mKuhBdTQf4aZv8vyECly/FWoIou/kaJXYmWhmHutzkF1iYoD
oHOYpvNXipBIIS0uKkyRjXsN5m+pDCR5Bz50I6Oe5bNHvbWysHqQXi7DMxg8tge9C7bKhf5ak5ZR
3sLVCirPW9HRfmu86jHWq3vVLR8NTD3tweCBUxuGtuKlI61yU74fI5xe1FD9kQnKG67Id7WUfcP1
tELp3HP8kJd9rvi3WFz8qob2pKpIUcgGbpS6GFqoitfKXoyFt1gsAMIqNPGSqJSQqHeR7Ce779qx
2aSIGUG0MXCj5Km/qkYTCskY3nhBuvbV9k4V4y0sn4dmFNeG5j1CCqQQ5oa7yooie8QbeBONXXpU
ujo/tn2hr/vKEqDmdkd5SN8K3X1Lc+VNa42dqPXSKqiwYA3SNNhA8Ug2lash3w0gMAmVWxMr0ibH
7EUyH/pouG8AWJK0Zq/oksWrofPblSmO94JZPVe+9RQp/jc5yV5ko3/wyuRO9nu0r6OOUyhNJgOZ
ZPc0x+3WVf4UPkKmnSCDQutEyHIZOjQ9IuyoSq9LOfnt4X5iN2FzcgX5FtOXgAdj/+Cjxuf2CUAo
QE2xIdzVlfHo58JaR3IdP6LupWm6myJKHkW1ug+KcScp5UZoTZ6YSbLRizFZa0n8l9VXu2ZoQkRc
028T4xZi+c7DihVxa3wyCJEofyXKTdCZPw0cD1DKj375iMl3g/kyKtrG133E+SP8ZUc8JPoIaaGx
e636EdeC+D0KxRIFQd6isVcUmPfW70La3WK15OiJHK/CnI5CE/m3rmf66yYIa/ya4E75xE3mWb1K
WvRkFDEWUMovsR4R5M6TewwwcjvDHamNsS2FSg6XwRz3cVhEa6no7zQBHQAeGu++WgZrFTHTfEw3
8dBpGxmGJR6s8Nj73Lyt/OEwRChiJ8XvTpf6jZ+POlxgfFrNunka5ei2xDZGiKlbRXW3MyKgW1WV
O6GkfU8QEF93injvK+WtRwMGdV9tr6nua6wVdxSGH8quQ+Y98J9UK1e2oNjvQryR7V40HlQMj3op
2+EKOsGShRsLgxG77JO7PBB/yXH6y4yoaImWcKgxmulH47GMhsYWSi5krVUfZW28LQsBBG0yeQTE
3305M23UuZnZYJE5iuOLLIRPnaHfgJUvV0rQvsGB3nUI9FEyi5N1WFPDGFLskvCm4Dje6HX0FAfh
KdLoCKRJ2duBYN1byojtluIFB7fOXosc124pV7CZkPxNasUYSbWNtQl0obD7xDrlgrBLBuWhE62n
wqu+l6O0D3vqy9U+Tas7hIL1Vallni3XOdtOV34rucuCjt8FK3ugvHCLOvZGjFtoxP4x8+pJk/yX
ridrpS//gOjaV7p7oyiRPYS+YgNrXY+xue5RSMnVGH+cyrr1hPCkjzCxTeQdoPF5ePxs8rSEBsMt
IVRQpcEID0wvejFHf2/iUzPimNxiSDvowl6tg7eM0AYTb9zGOUI2tfk9Lb215GG4kLbeAZsnpxrS
n0UcPcaytsVxZiOFIyiWBLF/Kcvv2m78Vg7KbWki664ZyY4yorT3sn7XszKNku6M1D01NORXpOh/
iXr3qrjqUTfCfa1LT26E/hEC/1ufHgoBIcVOzxqGDRY7HcEN2yq9qEYE+jXpxtSj34oUxxlF0Rqt
AN38S7aKx8rrQLEMesXf7qI1wMT0ELUfuPYy3pgTRi9OYhyRo6TfqYYbrUvBB6JeIMiKpvxznygY
GVveSVK9X/SjTxaEYZsjm2+ttmC1CtE7QgTJ9oIVmPta1goUM3zvqIrUD8Ii8HHxodTHrXo/lMM3
eMdvJa7Ytmeg/p2YSrBFtOoXWu6gN+TgURC8hzFPN82YG/h4dXgYYMuxERRCTySadlMlr5B7XzW9
aRdu3ytZBIknXZdJj+2yGhJyr+HKkpiOFAEVyL01ddiD1y0Rc66lgxaFM27c6bKFnnWeEeW1NqB3
UAuOEGqYwA2oncvJOkvKN18WX+VWUlZRkx8HEe/3TJNhgdb0O/0wW4F/ecCn/LflZY9VGd9hFvD6
dYrz0Ued5YsWtrrUO6k+ybBDzn+cLim+VwuR4EQEiMxWZFvejVtpHW+xL9dvm/WwjjfjH6QkVsn3
ZS/aa99AIVelTYmemTEHShtZFqtF3sanQVbXcRYhMBFvtGIJ/H11GN41wDWolKAvdj5Lj6doqDVd
fEKHEdVVnOpBS4rtn68X80q+aCka6QCgaEOi5HU+CkzZejQwmDoJRvu97C0owdn710NIU03g4nt9
GmP6DZ/eh3R00ywyxOiEcsU7rsHv6WFC12RPusCdbVffwvv+vXsRT2DMl1AOylTDuhgcXjbbBD63
Nk9Xm2DIuCEk5Grb6A0ciWqnsvdmit2Puo0OQZBoiMtwQWKMI+PqF74F8bDROvE+G/pt5MunoTJp
L1rx0TT6I14jb4mAfVGDN6vp31o93r2h2T6Ng4BLXKpmNHfMZ2L1Rmu4NsKRQC8am8bInxWhWVjZ
yy0CRxylHmS4eASTjZ8vbKO0EiFRiqBWez9rT7yhIBDBhPAWqi8L48zpD73YS0VqQiqTQUjd4rMO
Db1UjnWpLrxeLgfChcXAelPlNUb8me3GURPx8ch4CeJatqJOuOoi+Bz1uF7YkdOfc7EpTIojlFmB
qM57tY3YJWnudSwclrfKbbKRbvy1RWdJWnUP9dtiZ+fKcJR0JxkrqrpwtM6/kyDkPpjxVnBwbIG2
EnWabYX6j7rvl1g51xYQ3NWEpzQJT5ds4RyLYt8QHDcujlVhrrwk3LiasXQNTcjj+QLCS6E7hrAG
zeHpd3w60iGP2MDL3eiUBhhIhTW3uRplP60IjhS+eE7SK6+h3tz6WkOXuDO/R0X8bjb9A5zDpzDu
wpVMtc3O8Aq1Kfz/UitlX/pyuOpFV7DVOv2dgIfC4ExD3MqUfyh5lK6iUeCFIj5WPWo9cM++FZZa
bkCpPikZqgMxCjeNIiHMZdwxZbLA9DkKEZISRne06xYPInSyXqTCOKWy8KNIC23TmGpkW4r3XBnQ
zwS6jM3wLcqEnwsb7kqlncbeP+s1q+LkHUJYiZzEFKvyg/lXsIl24zOE4qO3ku10R6sY3M5SSfNa
3OXE0wcDhgrTZnaadI3UxSqD6GSgBh39VvHSlMZdmr51/m3Yfv96itcuks+DzYI8HVOp9XNiRAWt
kmu5S+ntNW9fD3J1GakBIDZnUDqd95wav66wgIsFZ+jeA7xQofIoY7jrwmJhg1+bDUSYKQhRWwRd
eL6/s9Lr9UpTolMXy3Yn3SrJQkHj2kGFngsPido97n6zAcwBl7IqpweCxRTyGsHKN176/P+wXES3
iV7IKNwT57PoQiVO5LRxnRrihSY/m9hc41+5dftx9fWHuYJeJC3l9qR6BgLuwm0l8gQdbW/DAh+2
Lg/0kzfqIbj1XrOP5seiosa0POfxh/YmIY7iOYkF8MLzmUEHAOWNbZ3jdf4zhoM3bm891Z1Y73LZ
3aPXFmLSiXdw0QvQqpMAMkKBc0Od0ILt5GihV3j5Mc9/zZSDfIqG6hgPWa7ylkvBRhdIMMdQEo3w
3/ldTDV9hoGMioQ89XtlHnQDsxWtyNTCk19rh7jAvIOC0dff8fKAoVAvUdxGMHHKl2Y7xiv1KOJH
gNQc0Q7MhVtEaPAmHm3o5QtH7DI6TZkLhEMFOPIE9j5ftB7Juqyhou5EEtvFaFcdzsIGtrByusmb
7zjJfT21K20KMOW4hIP3UYBYKLMBLWPAAkurKN/Tom8PPhfT0Yfi2KxdO1unG4o2y+X7K20KRp02
6cRDorw9O+hSR0U2pk/npEp6CEV/J0s59FUTAzFjXyYSqoZxdspGiDlq0uzLOBbtRsJSN/T8f/96
BMOMljyQDQCkF+3QMB4xxgDu7YzePXRquzLGnZdLh68X+soeOhtldtclcQEgZKhFR1a6x6FE+lIO
Xgw9PFqBsvt6qMui8PmEZl2LUijcajAL0WmD5gacHOKE2m2PuRSlwtsQxOBSmLs2t0ntH1Qa5CXx
A8Lz6aQTWBoMcTXDKbf60yT6rKBtpK2Gx+QwURYnY+6d+Bze6Uubdwohs4AHOeafgafT9GngJMOA
OYtG0ylBjvSvFcokFDw3/r54EdaLEv1Lo82PShEbfUQO9aHNYmzjB+s+6+gro7ewHvZpuDS7KwH0
8+z0Kd38NLuyMmKr4RA57RYnFXS745P4O7mVt9m62ysvOM3ulnAy8uUVT9z5Z0UvnvGRB/AwG0yn
GYSdG2hHJcEqPswS965XkVoxpoKUWPkBLqpUzMH7/cYbbfwOmiqzkYX9o+hhe2sqHiow8IkHH0O6
TC3GB6O0RFz7EvOIFJUOP8wT9rqv9OvRFNZf7395uufm2wKXOm5CcE7cebPoglYdyrWo5RHTJtI2
tNNw19AHbbfRXcB7pltn6+ClXvGMlVbxjyC1MxSEFk7Fh+LyV79ilvuVUaAGQTZOn89/9N5zGQcO
d5dsOse6KXbGJkaM9h2A+oSeq++Q7NjXK0iv/zqlApCEdS5YCJXO8AUdJBTavox4+8S8OXx6Dn75
1uO3+PWSXwEHng2jzPaqx9O3jZvCcjD0oeRu9we2EOF6672pNDRsGifFA+KOuBcvfO0rpwTaOm03
SnIyKd0s2sWGwXvfLSTHz8xVF6BVJL7rer4QU6+EOEaBAY7W1PQ4nm2psq90PywomIwNXXtg6onk
22VqrNDd3X+9lktDzfaNxwu9HQPLdKzxRq7v2tg6KoF3pGmx8NGWBppW9lN8iWs4sVoWWyDvMVvq
m3BN5o8xp6rhcGItHIcrl9IZ9HCWm5qdXA1YKVpO5QE41F7IbTalfuz8n7qQLUTOa1sCuW2IZDyK
0NiefayxaUstlMoIjd1q4xX17zyKdlWOQ/HXX2r6ErMTPuGwSRq0CfkwRxUqeNVKaQWh2m+S3KZN
R+/T9LZfD3J1MtDFKO3iJ4Twz/lX6sfaz6MEOQjZc/eS2T+PFfBpqVsY5upc/hlmbkSR6nkexBiO
n9w2tqsssa10qT5ymdvKE3URa1SLRxH1kfOZxGOIj7YWxSdU5bhbJFsbXkbaVEZOlmfFWxzS/vUH
Oh9xtunasohFpYR9oNFyNLV9GP4rV7fp8cEAsAdJQRRum/mLWLdaz5c0gAWZpK2M4SYToVz32ibO
37/eBZdn9XygWVDw5cSDY5y5jtrGKBpFpS0lvZ3EEkKv2pJah3yxr1HggdYHskDi0pifH7esBaOJ
JHEK5uVtvzZurBvZoelXPrgHbv518r0GKngMj/f1vbd6yVdLQf2DxH9+tKZ3Afc3uDP2/rxkV2Ml
j9axonGFt2tpXa3G/cHLVtlfRKmB0rj0Hq37N1SMV+pTA6tkCQV6Ga4oc1jAqOhmqLQAZrHRikrL
dIvWdLJyq8b3YxPexOprXAh27v1rARY20eexpm//KQ77pdTQXzVNx5DbNyp8GMEiLO8timtdRpJp
HLgjpo7WxUXlK0gsgfZoIzlZdp+Uf8D32ImxpOB1GUemQeiQQETAaXgeE/VUtvIgJd9QKHQh5y8/
9Z24cENen8g/Y0z799OChYLblVlWmk7N08IyXztq4uHw7esTtzTI7BIxG0tvlMj3Tp1pFvipS395
JRKQQ70QQq5FRZDi+AlC82cnzOJ7pAqKlAk6D3ACbtILP0S/earpzve5C6DE1J+NpljIZtQp1M6P
F58Hhh8ZE6zJaft/WkGMxrU6xbgcbBdgyzpz14nl/+Y3bkVXWyVUIFa1nh5EN/wtBi0tREE+6kFF
Q9mLg5WqjT96IdpninIYMRG2I0Wu15IP1CUWor/kFvF7VaC4VtS/Yi+ljeQJ0r5I6wJx23hPtWxT
lUFxI8bu0//j7LyWZOWVbf1EikAYAbfY8tW22twQ7SZGeAQInv4M5olzVnfNiq699rpd828VIJPK
HPkNU6kOVZtsUNHfF6l9pw9QC/FCqxyu9MInTfWUgM/tzoP59PsHvpCEQGvJt5ewfJlvLwFK1CRr
G0ZOQ+ejI9vLgmh0iT+4swu4R5E515lZF/e172Oefe26QaLWVjP7BEXhwTgu1xNty6eQYXdzDNjR
B0tnfbKBVz3y/t1T9npNiX0hVP/x2H9/4rfHpnES9YNALwTUOscO2Pmg8LGzVmDvzm0w+AY00tNK
RQSQer+/8UtL6tvD/723fRtZi9qUKQpGrlru5ANzGIf3XPzy+yiXdqDvo5ztDmpPLaKXPTkBylKg
49LeI3b/rzOCP9/h2eYQN+0Yl2DInXQ7cpvxPU2+Ei1es2vCRfXSOfT9Yc7O/awByxqeCEv3b6s6
guxrWDiumzvzHp3dkWNYa5QxhofSyxMgWHOnzh2zdSrDN6IDlY+d4UO85V8Xa1+A9C1SCzRmAbtk
QE59FlpFNUKIQiHKyazbHUx016mtoZunSlyhRjAair8KtUqD0hzZHesEup5iK/J7XaKxSrkZgQT2
Sl7dF6q9idMx8lEfzD303qdr3tsbVZm2thJn0OVFAM/PS1jF5bHK/zcfEooRlAN0OJCY50VI7A62
1sTY5Yuq25Jc95WYrKOuCpRm8H+fl5dmP/JjaKBbzJqgXfi53WQDafA/gpNxJF5UolkyGlZwOrnS
aXFpxtjof1367Rn4eGc7DK6+xByH1j6BjDkp0Jw10km6NNDhDxFfI4ddfqb/P9i5a+WkGmVMVVz7
i+pLFM8leCRQCP3+3i5tWKhbAOa2RNj/KqGnigwzkej9SScneUCLmM83+ZE/wlnoDyxcqZtsFeRN
5H+dOUHO/9uwZ/sI77saZYV+8UHQ3WTex5B8p8ZV5fCF8//HMGfTosrsuhkbqp3SmR7Rppo4DSsg
TezJoSsrH5Kqxme5EoqxXFdqB3dLFB7iqV21EtjTnvVoOa5ezRJLbDTU02SN91fe/4UN9ccvPNuD
Cshn4Su/KNG57sCRBrj6PzRdtwWSn+Vbqb0LUO8lV29ZTm6Gkq/MJPLicvX7z7gwr7HjAEEDgcJC
njp7T9ncywmznZ6aoXfrMvdYtIBgFaesmKPgfvf7cJeiAw36EWhkNFzxkBL9uVyLpotLrdahhgho
gIbSjYHzOEAa6wHUjRX57K4cKRck5EhZYkdFb++St7TPHrBI615LiaL831Yb+BkgmvJgUBXQzeS1
tpuvlKt9hBdeKvhZqILCumEhZ5w9JNfR1DsKtCsaJRKRcex3IvaYdipUDNxfiXQvDIZsjAGtBxR0
C2jv5xu16oG1RTZoJ31eaZaGBgbhS3oLvlXK1Gtvc9nmziLcH4OdTdqUFKgLVkI7ZXZZu6RqSk/N
+eDSJv60CFm11LwtFXXD+1z1TMbhYCWKT1ONXwgslPxKE3cj72+B9PEhIuZOUld3SAtW7u/TbDGB
+/d3om6J9rG/HtVnXyCOFW2SHTa3yBp3lZE8MAstwoIZuywDKEVptBAsvU+iDE8obO6nCOTjToWK
r88shyUidWeLP0O443ZV7ZG8OfbKgCKWOoJ8UHWr0dIef//JF6raEPihTAnvWwUXl/P0egY+nmmj
1+DJeh08Ae4BD6cjOF7gvl+PmC8kPgA/wS0cFV7Uts9rSzDPG0aZgfGm9qqX69BSQ5oCCzfGjr8/
1oWB4E8MAomFZQ8o2tmHgEVHX8ZRRk8sV7f2zGsnr9vWKbTsRnBI538f7YL8b2F4/ee7n50utMrh
0UQqjoZIvtD1E1c+qaNTPgn0RaOJ/Q7F1zC/tdeoEnq/j33hSVGlQ9EVKFOEVf/UeFqlQECAVN+I
Xv78BqYgjga1egsfvN8HujhTUC/H6QFC1L944hlarkTW6B5Ub+Ee8JV5S+fUFCz6/yD2rlVcLuhz
kZ5HI8zSq4h5eR76zPBU4mk7ZU/qq3Ubr7StGaQ+gYvpDbylbuObfDXsIQe8udZXfyEKWuzekVvB
Hf7foj3nakcUCwekjpZ9bnK3JvZalXb4++v8+2HO97RFRQJHHWg88Ig/N9AxhmtYCkOZk5AcFXoD
bYRqNcMMkO1lbR5znhxrLX02UDEHzWmjtGgcEDOYSGCVbCaVCAj2benkk3ygg/WlkQbevJV+D52Y
b5fFBJE94DRKnOzJZH/YNWxEs6n2cGt7Fu3ooa1DulnfPPVSPAwmtOFTTbcT435czA8ChB3fGmTs
jPW4NlXoctMCZL8qMWAIbdu5S4fsw5Im98qseVLV+dhPxQ2N1CqgE+T8Jk0LTEJ2hwajl1KFMZ49
NxNE+1gBWvqWDNOmT4YjdG5vqd4ek4w//P5+Lx35WBRIOSJGRwvXea0st8a8Ija6qTq/O9VBFdru
GFjO5AFs4V33ormgvVgg1tj4cfVAfp8t8+rbfXjiCsQ5LZrGzHv+VsE7wx0r+O9GD0XlWM8Rohpv
IVfJa8nNS7dKiMWw2aFjE1LZ85qZZrWVBM7CPkX7doe+g7f8kx9mdPSSVbmLNtqKh4NbnvTA9unt
TXTf7MQb3dev19fspaXDkGDFPrSg3mEQ9eMVZEh00Urp06e0L46q0W4TUcH5U7vCtLk4zAIRUQAK
Vf4JPXIhDYFElXoq1WYvizpylb7Ztj16in6fQ5cGQjZvqdagZRqK3Z/PUyZgvCpKj+Mqmt+InMG3
mfibtMqv38e5UONeMtPIzuvWkqQ/D0+tYVQ6mrPFPQkJnE2ztw/6je6gxetxDgcfpmzOtLV8eYTL
I2Rf26ub7YUn/fEDzr6cGKXI9CJlJ71269xloRmgISJ9jV6iHbsv36oBFjX/A8/oJUo82wSXWwDk
yRoqsv8AcHQ1bmY0V6Pp3R4WXjgQtErIlNJtobCsOwYVglxFsBVBkiks0rvB3uFvXTlCL3TnLtvE
f37FWe6wiKKi0yVa7zksxiw+7rNMls6UJodeam6pWVs9N9CoVdwjC3L3+7e/dCFeJGIAuAAUsWQo
fk4yCSPXBU3Vn9ITGvXuuG+kwbDibvUhXXiWhhytf3fsvXn/fdwLcQPUbxoqeH/DvvP0Xa0VqQHn
y+HU1JPDU75QlX0QR704voZRuXQZAhsR1zlUPWFUfE4NrM0sbaWZz9DaQGtKgyQKE7fbxz7bgYeo
hiR1eXBVQHkhLW4zhH9LmRJtPue5eGUupkimqgKO4N0+Y39mpjkGv1fQ/Tx1aP8ku06/cq29dOhA
oAGBIbgfDBXeZZ19OwSiUbe4BqdNZPiicBKBtiJ+61O3ST2Jnn2kiq5cOZabz9kCWih4yKbAPMJG
w9DPAcc5U+tBRvOJqPwYEXNLpfH2+0y5FN1iDMRhUN9AlHxeX4jQrioJs+ZTrUGCA28I4E5BLbTh
meMxJ75hQVM6ytPiX0X+V3Hgj9HPF6dmIk4i5owkOwWNYHpEQ3PegiZreUaI7jPE9mjZc8rFneLa
272wLf4Y++wAaCwtMZGBnqHeYPdQPt5pKb0Z0EXz+xu+cJeGnALpqUV3gD9zPkxiAVkP79sTbFhm
+UGbB3NGQDf6EiHT70NdnC//GepchqbO81iZuKeeUqqsp6z0rOi/1/DCVujbEGdTUuuEZYBlMp9M
o3AmlIkKQ70y6y9PyW9jnJ1XhtXDfNbEYwyBFkyHERUItJS7HKyK3hEbHJl+slEOJciMBohU187L
yx8M7GYDGFQc3WePyCcU4yYQW0+lJGA0Vk9DtoJ1Bcx2INYfrj3s8tf+WePoQQdRE9AWZIN/rnFw
IgRSA3ihcRuUa9WPN9qhod7iIHIdOrL8sV8GO08CG5mcdI6w5xQ19XoGG3AmLFQl9zX0b8dw9Vis
nEbsob/Py4tnBLIC/+8h7bNXqjE5GhPHQ3Z+9ZZ8Mnf6itYNaHQafEA3rVu7/ZXN+tKT4n4AAh5i
D/zqsxF1UfSoZ+jKSQxoT+ZiPymox8imXMd98yIt+mfU4m2qX8NkXDwkvg98NnnHNCnVepQKsGIC
fQTIC8L1C6WeENZoLoK7azfNC1/0+3BnAYaayw4OcXjOZM6po0pcDMj0adsETIL+ylgXo5lF7o6T
Fx2XyA/+nKusKMep6OPhVOIfODaPhMOzyidkRoN00z23g7gHhegBRTeQTePJ8spZR/Nna93aFM2R
PZk3KpzL3dKq7n6fYv9u5oDlLdJJJLl0hlzTz59WaqqRKgYiHiZ26El1qmF0kHq+MpH/3WCXUSyY
6AIkir6u88UqQaajRgzvEZRrJvZe51cSr3/7Zn6uUIyAYxjlbhOqnr/T61uMYc0UMAGzHk7a1KOb
tDeEM6gFdWELXqBNOx9RSGRP1EjeKlk8LL1EoW2R0kVrDLh92QTVCy0SCLlJ5SEteNuJEW0Bcgpb
bXxgDZLhFLtLObZ+OmphROJb1k4PGTzbtFJ+QmewpZWebvPB1D09z47Ejnov7+zPeYA6gOhIZSIN
vRlgIU/MCEU/NDL12YMik/cGzZsOhLQ7VUezRSbtPySZLUdkKLx2UXvP4Tvv4oZru1nHjhQZkvsp
Gx+jGeqTYRY7GsnOqfLmXimNXTNEgJXo+suoKFupzfDCnrS9XljCNXLlsyQx2uj0UGigcPSx+kUz
cVum5DUyDNXBq/nq5/Fom+Kjy9sjPMBjB2juUGR52BTNsUjFFjSU+74l1pUz+K9+9rcvuMyhb18w
NQsDp9c8oGg//Yk2yR7ciVD1ez8JRyANnMnvcAFyClc4+gcNQVM4NLv+gbs0FH6zBgn+au3gQsf5
MqvgJoIUH/u3QqIWRpeXFjYlPbTAkSuPKB8A5eGkIxr5Ok8JqmDUV927umvdOLh6Bbu4bL4Nf7Yn
ZqQ3EZvY82ncLL1VcAALBLx6kD6dvMKDqNsC+Pjp9w3hQsoGz4ybF9YpyIu4Df38DqyiUTOTZdC/
REu+AbfWQxkXmhHqMvQdjKtrkcOFtObPMc+/vaJwBC75QtFE78aA1i7YBySB/hmNzgJ+HRpXJHsD
5116NWz5+0DnE2/BPy05KtzEzrdAHR5NKnCk/SlbRzBGgoZWZW6FdNi4tn25Ibfdjfyqpdu+5vvs
tQiWG3/6x365+haWz/nPD0HyBtcK4wLZLErBCK9SU56GjyhcxDrmHduhShZWaL6gV2q/F0hxi/oR
ZUb0RWFTPt+TC15WYqzEjAwZDepArrogPwAu/z9IA16ax9+GOu8jH6d0InOBoRL7UetiJ+uu6Dkv
nWJIEeFOi2n7b/0cYqpsgIGZcmrnNKwi0IL16jU2rgUpF7RNeGfgMiz6wr+Yzp9rI27GTEGb+jJP
IU65qTapXwfNvnAt0DKP1QMyiKHt9W4GVemz2rrG55XFefFN/ucHnAuMaT8naEhJgONHF9uBIV+g
Pi5sS90zb7POQeVoXHVXKACXx0Q5GnrHJel3Fr2oWdHwus6GE9eRtn2srxKf/4058VbtJdzUFiHs
P9Wavm7BGseOUym3aSadcYbHp144NTBHogHwBU86fP3+Ji/NmKUYjVER9OjneRBNgVsv/OB6uKIc
MvUxzu7M6MoQl94bcg8g8iLPg73lbCOVqkbiZEynE7ykkmAmxuTGaGO+UtRb3v75pvF9lOVXfDs2
RcXMOSs5buO4VGZJ7KIvzmMUQBQ7DhSrvBLJXTwSv4+3vNhv4+XQb7Tgwgw4Ets1Mg+NAyTvrerK
+9g3D1mEmN0OAbPinj2uiHeNjrL4kV94YsTRAMgqSCn9w2GRFMlnExKgE7fg6ITmnw+uSd3VUWu3
O+2jygtU26M3u2SPbaqEtjEe4Rq2asX8zHvx1dWIDXlJg4blTzpR0E2jOI2pPRGh7spB3aIfLGB2
G+a035dzg4ROoW5rfVyNLX1lEaI3PvbHgis3GilurV6kwLQ0W3OA601fvNcp1Cz2fN/Xw36sND/i
cahY/GXqoVxLFRr56Et+02ErBs5Q4xcR4gmZwpikS1qvtLsH5N4rP89QKEnRquZ0RXsf181p6LP8
LrPQVGJoCYWi0oDYjOkh6/EHVNhqhFwrTC8Z8e0zKkJAQtZGPY4YvH6A71XhsGGQDqjZ73o6Nu6g
zqEAYrjLI4SE8a7I+OwrRqPu5NTpLuXyPe+VR60dmjBK8sBs4zC3jIM0DXDRlBlpJvCHsOs+dXHy
YNV5401UOwx9k0MWq2/10Q40Ua6lbcNnZpEOhq3q6r6s7MmtmjhM594tTSjhZg3owKhPnK6dAsOE
vDYhj3OWPhpj90F5vMeetwNIAs9lQrMKJsldrs2bNjLgn5u0MKmunyKN762iWLOheOBU3MXEvs9G
84BiZmBbE0hPiboptPzOSKw7MjVvRQSyW2E20p2IHJx56mE+MYLwSfX0hk1j6RIzfYYE+7EGZsEr
InQFIE/kWZ2YnCEBp0RJ6Iig3o68Kh1NLzdz0DPtKYaFHoscKeLTNFmBJTOApWBfH9O7KCYSQv70
vcQSAsIKRGI2cmh8TPEmVVDi9Fl/KeHY58yxeB6b3is1Kd2CJy+sTzZt1XrROGq+maSwwonliY+4
syCdDWtYqnlRMqGexStQjmuL+3ncvkueeI2dci/Je9xc9Hua5jsTsC3Af0q4ndi1SzvDY1lley2b
p23KoCCx+2KdmzxMpQTuToG3H/IvTkx6fVM1bYehI3OddDUU3A0FJBFEQI0W0NqnBloOO4mloteG
w1Kw49TYAIFNHV3bqBtXE8ap05Owb6OdjGGlIHvywZXqxehgfTkW9Fa1msyv6/hz4s3sMWLZwEtl
B5xBwtEU/IkS/z1ofTRGklwagaag3NpB5ONrA+S88ahAoxnrYdVYtxmlCNYyXKbKZjoQo3zlvfkA
ktWp6EmYEXu56/IG8D4DvpssBhxONzboF/dRPk08IlnsxnTCmODRhfmsPU6TXnnABU8eKSCbW/yX
ATT5k4MJeF8ZJdyJ4+Y+68Q2qbsjhB2A48Uw+TYKCs7efMyymeIkqODYHGM3qEjC3ZGVBnLvMFnV
2Y09dDshi3eRhDYBy7kfElQ60gqSOQVsedYkDutK3MUsr+jYXWPHUAe2yams+01lgYLAkFuo4QOz
mmpjA/QMUAhC3bacwAVgKFxa8Q8+WC85MH0uNtFVAjSyow0VljfkNHgHTyZyrpgBoLBMsQkY5EAK
N6nh2UJyEJL5vCZmdgQG5lMfYOtNJ+OgTsq9ogO9oArV8vQpDhsTbHZhC8gJh5H4s4nQBEeTOgIF
yDWOexwPe93epSZfNYTeoBVnHdvGekiHnaTdfS9zTzfEayGLoELs6rYJuyH6VKPdwpy8cZ4yp9WU
jRrrptdk/ZEbZtArdIcpIMGXa+8zO95CbBM5+NpHXYVreql1g6OV8yOxmANadwKrAmVyCwAFHb1K
t+j+/OKmhsam+ZXJ4qgI2ntxi59vpEbi5YUCg6kZluZTbHu1juI/hY0bdgm0C9NZaXdK06d+H/X3
qQ4gJEE2dkXa+gmMW/DjcUR5WixuopmFM1EHz1b7F7h63tRSp0jnFXBDINOR5u1bz8gT1NeFV8QZ
6KNdFwEMMN0CcPHc87JwiCJVN+q6RxP+OnZWHFQBvgeamANdi7YNHXvfyvmdaU4fVgZQ35itgPhb
p0q8FjX7NEf9U8vqxzYp70AtfFGG9kaYAzawUtvYM5h7rfZc8fjO0EsXmDkkG6HfgqfQvB0goxtm
6NpghpL404APHRW+LZX9bLIZUsXkhEPzEFv6Ka2RliU582wIOQI6wzMbm7dfppNfqVjKEJMMaO4y
nnODfSZqup+MfhXP+QdP6OxXUjnyOD7p2ewN1fSHx0sxxbBuLCM/pkqug0sRP9cWxBeFznp4omMj
m1NrcmAKcEtTfiSiSr0osu/AoYhXZm1YvrFI4DqjuTVFVIXzSPQ9eIEvZJzuB9v4BJTytmuzVZdb
ByGM1K1k/mmkbDNZ6Vs/NlipjekaKbJAUb1OkDbKVGtXmjBhLUfPLNl7yrPtLJOd2UCOp74vIewQ
xQGofWlX/8Gd+8CbeltY+s0E7AUZ6briGrpRmwBdiYdaaw5oEfE6e44c0CofzAFnttnrQUdnmNlW
WzlgcdsCmrmhuRUE8UNlvWem8VA0BEsF8tiZFAA7FM+q3RIf9sY2Og67E/oV3VqUz0MVrTIkbgaj
vm0yshXD4M+sDPQOIF9Ru5o1b+Y+vaWIHGMQU7tMcecSimTz1U5stxDKtoEKD6fCZrQS5MFxC7LG
Qx6TD1yuQwLMqCafWJMeoGHCP9Vdoee+bWQrs3jMDSh+tRmE3C7gTXSIbB3nhenag1xJLX+pcull
CjZ7nKIRm1zWjY497drBa4iAkB7O5EXk6+kxqQ46hFYCKbbnGHvzlKxxafEQxgRQ3vgDfnA81u6g
PNBYXYkO3FU2+wwSWtQEwewjTsJUF6arTqncDlUXxDomAb3tk4ORNp1TDk2OjOHj0M+uon+2qHwn
kI32qeXKdHn/RjCPnVvXYmXOtzVaPYS2FVhcYAWvx1kNYQW+4qbh5RQMXmPIXW3I1iI3V1S86kjr
tmDfZdaIPKDiItfipHZ7lydrwBDcqkzwr2qHDgIOr3ynmZGntQ+EbPP0aNjomGkACIbj1byx4nuz
B33LjlaqDeZ6LoIaCcEYeoy4QTOhwV3QHNxkfM20jcJ2YopvEAyBlvU2cMNp53dDURFZobhWSkjI
2kBMqS8EaL0Rrl0K2Sg0i52oe+7LZ0ESdOtFTm0B9JhojhmjNI4ZgmSGBx8JR6sCQLW4+Wgq3lS+
zFogq6euN9wegS1wnz78O7Ddx0A21vma69JLksYTyM+qM/ZrbVcm1LWzz8mgB9PcsN7PmslRsdlZ
0uua53n8mrUpREsVFJ+wH44KdxBwAYp7V9cBegZ804ZjWDMZgWr1f0RX77tUc2J7a/d/jCj3BEjt
44hvwmdv1mc/quujBLRPtaAfQ2daURqujn5+CC4genFjFSc0TbfYsT34SKy4jRSkJY6ZQC0CM382
bihRH/QWbH1D8yFyvB+Y/aRTHAV6ATszZcWxpztTVIQ9uIJ5r+36bEJmONmiIdFLBeLzNHfzBhFQ
MeHELld63nuyx/h65Y9170I15Cx3BzMNTeU4A+itI76wKNKjfeYL89YAoVPLe1dRPhtjr5Ww2Rbh
APjgjJ2gpzd2Dpud5WIEdDORD/PsqvVdbt42A3zYMnAYcb614kCwsUi4MHpZhtSFUq8I3cj5TSSv
mtgw/YDV3avCN6twkuD6a5EryntWo2EQBwF8yv0WP6mFd55ex/giz02yjqMvLVvZ9Q0fglbuRfWH
dp+IuPp+oxlbVRYoKK3G9DmD4mAuqafTZJVFCBNgYpGlcMxqx6CGZjNpYz9pzT/2BE94YfrD8IAb
O7zcA4Bs6niARYrtD1Pp6LjYtKiWNOwutv6oTLspe+NoY93gC7oRE6tGlydhomPIalbDpDtVc6eO
0B1H74hjN0XEj7SYgrb6aq13TZCg7NtNVBV+n6ebBg0zZdt6OPBctJY5VZaD8Zv4At4K7IDkiNfG
o0Pi524WwYhkfCOBj0XEFMHsUidmCM3tRgGIw0Ycp6MprKiGwJibgOLf6gPUi0kJfGOCgkHBEHoh
XIgeY859RTRbK98k7DWabnrzuc3nsJD3kNlhl8ocQ2TbqpYBKnJOh7qF0iS7ruyxFO4L8CeRc1ub
rHoEii+sy/qmnSEvRhOVpQaE5m5lvan4YjAKB686JG351Anu262OHqw1vsih0Oy3rI1uaz+LNWCH
uaPi1pLBVU+tSjdlj5L8IfSRTmjWoKqTUh1dOLAcmx+n7MMUuxxrzgBDIlMO2iyxE0uPY69QUQJK
isapo33CBIpcT1pG13n60ZGPSmH+XH2aFJt0uW3agHLFrbNHRaQBNxACmBnOx8RvQV6Xxp850YM+
7dAJNjoqIphh2JHshcpXLenDFmFy9IGSHHo3MVlztq3KTW1vSVpozkT7W1UbbkblxgKpubLJmxpr
KxjjICoMGILuEW37Gjvk5FAp4Btjh6n0J324B/x1Xyr5oTDWsgNxHi1fqT67DQp7AqlNLm91fXBl
W/sJVlxG3+m85xLuT9wrtCNKQLK865ErHDqvtxGyMVy1rRFeplhMXQWk4q0cgrzEMUGzEDbtfYWi
XN8Cml04ShkIFX2rauVQK3MHlm7bBdM7oJiPD5tF+a3O8Ttmiv3902q+RG35+UhgEIiTgGd+gcbL
KQJLXXEtHSSH3p+HQ26HffSFG3qYsSxIlK9UJU5LYL5ZYber6g9EYT6gjwDuUndIsWk2+ibOWYZd
pQ2rFHxuYbuW1IirYxVr2CBb2mzaNg/qsnOZAmfGgnsGwsQhxywVk2dYkO7nxUtaRYFeNaGcG98G
7naySNAX3QOV8aYAFwyRLpy7ohcb97gZuSzNgKcdQekKuh8f3g2BkfdoXICf2IxgS9NKNIDN+5nR
cOzBIdfsyGl7baNrqWt3iR/JxwHBlTqluMMKESBOD+cM4XWe33dccawi3vMoKZDgMT2kBu6qCSid
4U9XVU5mdGuNZzskMld0Mv1OIgOrGCuZUr+tsC7ScRVFhLta3DnoXjuqcbtr6yq0JukzyvwWZHpH
GZp1b5brGfCoWACAjzxGT6k7DRZ2wJuxuqt1y8FdKkiMl1aPPFoCTDC2+0Jkj0JXdk1r4OKBo8rI
5scGfoSx3QQjXk+NuElJeTDExW2b1gD+5X1IO7YvNJjAtBBS21r9VCvdgfeTrxWIpxJUVfL8JpKK
bwFtbabzaWLlzWyOfodLCY/aEzQWoLhnyCrqJnEt65FUuMdY0xONAWnIpgVjr3o9RZYBdVadPOdq
gYTEFJo03ws1kY412R7VOn9QWgDlFU/BkdbnDypr0OmBhJhquZ3Oj6WZrWVFdqLdsTSHxe/o15wh
kQX4FM/31ozevsnwS+Dpe3N2WFPu+34Cgp/iLie9UX9XqygkssLRV+N2LnK3nrFMAP6rGwQoxps+
E9fQYFGhAt2l6MhNfRXDQahv5aQufYPblmRfCUKqCZkISz0ayTNvNFfaL4146LJ3licrg38Y8B+v
ifiMI6k6kZIcQd9AI7O1tnotHKYqHPTE3NdKsZnS+pWI5Dm1ymg9F72xiSK2mcW0NRd3SxwGa7Wt
hZ9Ui6OfeJ9wpSQSySVcAhSGrSTlIWN7u0Wrq3ytGApjcOOTUXVQY9Mx0v6Twjd6bcatX2S40trL
/2khZaK78XCAW9IqL7ak4U5nUlfneCGAa2AOuXxQfaLE3jRRsAWUG3S6afpbUp/o9IJeHZfT/CUf
P4tkBxeHjSHm0E5oILHSivY5gVtzOyjOkGPz3KT9bZNYTm0bTkEUZBJY7QlE8rrdh3OTP4jE3JX5
doRVoZm5GYMzla57Y/RGtHWDWdMC1QAKxKTHO1pRX48iv+SdD54ymN6BVavrFH3ipbYvh8fMfIiz
T8QH606BI2P+aubEFcO4KqzRxVXPpUn9iIszYsvpVi3rFUpNfmdxrze7sOKVPxlDmI40VI16ZTN0
+vM/ZMx2GrGOY5ofm2hLs7sS/1ht21VXV7BgiFeVzFwdUKc+3lbqllPcNNB8VOYD9vb9nJcvyICu
ugrkjPFIiLpWYmVTdXbQ0yqo2eQNaEwdtFuuRH/MtArLrPXyef2XSSSY1zZfFjKgOECyvnAlYPec
fiEn7pAUvU/Y61l0LwigiO8F+tiH5HaCgwBVog0jHsHymcR9F99GeBElysGGlYbG0GwhOA0rJYXo
SyoBIzgFAQbu9bWKngrLyt10QM6aFvm21eO70TC8KEZ6C8pM1qDrIB2DKnssRjNotRveMyc1tyq3
vLF9rU0jkGr0xSqswX4SYRIhfDeRwcMnZ8mOicEXuv6M/APSc6DC015xccP3WIVYlKaBwZt1lzKv
M27reQ8oyIGVylp0+7re/B/Szms3cmRZ109EgN7cFsvLu1JLN4S61U3vPZ9+f2zss6fEIsS15gAD
zMUMFJXJNJERvxHEm1Dk7VVXXD/sziJTdr1ncqULOyF9D8Lmpuj1vda4L5UYbxo5vwvz9JiM+yp/
c3UF0xERHc640FawzPJMXpmNYjdocpbDTk8/rV5GBpVMrbnVoFo54yFp4tmb4PUAmrpJjh5OwlHh
36txuI94HrTJGvZpmXp4PbTXnqfbFOgfW6Xalz0KBrA5jMS3TcSynM55sIpDEx+r+j7I6nuczlci
lccC+FRWCttANq5DHx8NgfH2d0C3r0y/2YVUVy2V91r0agnBEcjPLk1+lOJTn+FgkYtbo4dNhPm8
w2xmZFQKgqde13+axXPtv4QoyIaVtvJxPPEt5IXBLbtSYfvyc56QbdaRde97+kqrb5zWIwEVVgOj
Kb1sp5u3A2d2m2k2YKhVGOaPloNshfpA04CnAqMvi0+4rl7xWrvtuuzoirPIIDlsUKUiLeMi4rXJ
Jquj26zoN3nykamYhFhvbaFzie2z7hk76E0sq6u8Jn9w3XWef6bGpws+tfOvS/kdTdY0Gda9+zxg
HqoWXCS4iGQh1STX30bN0wCiVtO9j8g1rvrxDeB16wijjNTB/SukUVFSems0BtEk+2QIbxuo+uO9
8WamKE2Drvt01fH/Eh9zNm6jBLbbNZvIyT7cjtSn0eWXxPHvQpmqi/XmU0iK6WBAHrFzVVxZbbKr
evWRAtlP5C0P4aDieqOvTCyFontfYQWQavsxD2tZB5cj3EqVeTQQD6p9/+gDDRSqetUJpCuDunf1
ZB22rm0GL1l8A2EEcKZ+ksj2jKTeYh+zjx308roW9qPKAnI9SsEciFS+td/gs/1VZsCTTqiFFtth
SDdhKt6ZEdWzsNjVYEOMjixAiH5SsSRJTn9GlYD59fi+r1Z5dqNy3Pj3KUUIT79NmzdYRlTpj2Ij
7uVMf855EXb9k+fLG8UjoaLxZTeFc7Da6KHTsudcuZe4N6L25CTBvZDlx9onjUTqYxyzGd6MPR9Q
YNTEBcyQfxiaselUDV+Ifl0o4WZIhlXa32ZixkPzUSHZVgMcgfR90f5RWpxMaFnpzZM68OSo3W2l
9Vdo+lF5Ft2Npj2VVPpcq73RMfKRGxlbGtRTsMtp3ALReIUfwtNEUPdq8MNRcWEFVhWg71SRxqbh
hxI1R0nEFN3BwUN/9MgUpD7bty7q7+avuryPzILdgG5i6DzotExEickhWRjInVrYF30Qb6EBXvlY
yo5PAhWno4H+QkteICZrNSC9004mj4Im472q/HBDnFCCdB2J77I0INs5hBtDKrYFDRATCbJmTIbv
dRN1mgdS6Zu8Ka5zvdvEVXgrCtx2OUJlNB5PQ9b5pEQpT4Ta+NlWNMEiSmurGPolDzMD56gRz5Xn
0kccs7QaTmW38eHWDrnG006hqi/wrA6GImKmsPaJvbZewY96U1ULR3al/YMoWrFKPO2hhSe6tnBE
oGRvUHTQ1WerbJ294bQvjRh/MCX7tNd8ZL6NO9ngLR0W5AxN/BoXVWfngkq/RPfaleFjD21JN+ga
kINgW9wViWdLVezwQvW1g9KI5bZAOn4dCskdQmMYC1DPtJxXoeDSpff5avbxM2WaA/S9YRX5JlpI
sZasa55xnqZHSOiCpjabggvCw6U816gDBHJtN0MGNDbTr8ykfs0FZBrVVq4eaQW9uEqN7VZ0j97y
vRxoBg9Z4zrjYvQ8TkPfU7kxvcwaC+w3cllXK7K30haTPqJwlzyDE/uRp+FdXiM6gTDIZ0jdMC/r
EKRhIm/0XoAUhMkpB56E65fs7yFF1LyadSpmFowHrU+QcvIa1L8NlUHVFYNSYd/KGR0+nU6JmLhX
QSludC9HYrRReDvGPIN4E7LHrZYmTg7uvtXDK63ofqLftlZUSvGeIt9jHkIYH3+Unh75utKbZJcI
4nMHB3Htd3m6MsjXR3Mg/LOk4GOsr6dhzXHYaSNbnZaomrX7XF7UgJjDW6AwAIoQyxFqYhMQSaJR
/Xd1bUTOtBuOY2qpWwGnSHEb32dHBPyvoh9LZJdLNg/HIjxuVQEXeqlo6bZB2dZGKp1KkTdKBuVx
4HZimevhIg/4Eo6uoKsMvVo3UUO/0OhupVhMo6pvTj213hhT1NRYK032JGQhuSmaCkV7cHIgirGz
baR6AaIzA/1XYHUjoAc6acbOhcKM1eOZZoIUzK7p0j7mj/kxe+r28KWMHkSGjn7FLdiubb4AGJ/F
kY1CLJAsoUFLUxwZvomFIBeIwFZr0cb/aQ0t92Dscjwxl2LNLaLRgRNHhdEoZIr5l2hWFJYBIc8M
X1UEHOv8OXKW9MlnKN0UMgyo/6PaoapNuWdJZLpG6uvDKdGGfRyWCn2IyAJ7oI/2fo+pUd96DhgS
oPkN/V5pC3hxXRpLdI4Z+NCXnzEB9sT60LiUV8H+I0tYdt1K4FT/HgSlzKxadDGQ4xhRUOLFUHuM
nTw63c3Ji0s6twIZI1IZh7YJ3txQfsuK8D3GvQb9xG0sy8omV9VPTTaOquNvY574djr4PxW1vbHc
8CPU1Du1524CkvOi9dyvRd3vA+9aSfE7iQbvNvSTPT37YhNBTVtjPgcso9KllSGKm+9HNoOKosor
Q7vFeUVDk2iCUpIGb5AaCQYYxCg/PknSi6n88nCfLwEdfB9r5phBNB9LGQWkBXzNCWWiCQOnrz1v
OA30H5X8zhiqdcw5nuIH+X2kGaAc0FDU7PTR1hpY2ddR+ZLuV4aldTzmjBXKfWuXjnjuvCjOH5Io
S7mSIYd+H3JmIoHHKcwjsi1j0K8hTSXOKr2DumAaGb1W3iHmHy96jcvGFuMFXaeZ7U0s+HQc2JpO
5vE1loRPYV/RQD+VwV7TTkkZYUf54/vxLMTQRnDZGXxNLozWL1QTsG8jrdwEgj+i0S516O/DGDMg
NZYDsBhAqSISupN5SzzDb3ht1adaplhoBBlAZte/QkGg5u0Q3xcleKc4jd9Nsb4S5fA+dtV92HkH
1Pp2VpXdISW7xebPFvp6z9+hRiIpG1gyh16Pj77f/1E17Uqr02uzCHg4WeR/cZbTOw1SdMnMowPP
cz/45WuZWgksE0xJ0VFdB0pLyliGD0Poo55Pia0b2LJVkdxlpGcbqF1vJHVXpe8+9LEL4Vf2DqJv
fCqKct05MZahWg2CbXgVnebQmOxySMTPg0j8CnCFGhRH1zPvgfz+6B3Ub9vhFngNOAmM023cT7HJ
01VqQvQw6q4mRbUk3hzCG9XIhU99iWTnSMNglYVr4IukquPGPfvWnd6Zw+ABOx6R7P4+WosvHTh2
De6Avi3v4EaurAXS4sWhPQk5SXPELuDuGkHVbXEK/XdJ+PP9ulr6++ZkSHnsUtkumpMj3GbajUmW
/n2ASx7WOAJcPQHEY7eDrvrXCG2RgCY1wHe2HXiCgX6krlJV7gTK4woqPZV75RXxe132f/xGuMtb
4TWUx7Xq6gsCR/LFYMEDYwnGmSDjZHOh82ZiwikVDXvIfM8OICGpTSlgf+z+A6I0ZgGhbb3Xa3Xr
/oJY9KP5kHSacPb4WYWFzzpzxJ//kin/TykjwYxFTqY6R7ozOYUiwKgEdcfg4fvpXxiyNTk2eEOE
aWkQyBN+usZ1y8vlXwQAxi3qfGI6/JMFKoVGBQfcqE+Vcxwahz5iuhBhhrTIZzsLMVmjsZQNRdkS
QnnSX7KDskZ6hVb452BrR3mNaMMiT2f283DMoJ808jem92Jr5ZjTAgtGLfc9kYJNJx/UzsKL1lsY
29zn4RUjIaeoQi+fKii1eYe8Ie7zJyuzbp1U/S32zef3H2huLOch5K/7j5wl4KJg/9XVo0oZCU0P
1GrR9pY+vg80d7Oj7o0upDiqUE8J7FnT9Pkgoz9QldbalG+QZMZgPll19U9vSdv78ihmKwP6GVXf
ZEwLp5l7mdB2VDUmrlq3G2HV7gZtZ67Fg4YKi7kCa7LHuLur1t8PcW4uNZYF+A+mFKTX17nkPcTZ
IjGXIpBumDUrCRkPw39y1IXMZSnQuG7ObhoH2OYgNBzLVRcd4/RPIP/0HOcxpPX3/YjmHnrK+ZAm
ia0yhJFatBWRcDAs7tEFf3XWzjZ/GXlx9bZfuzhtIHpkCYuWmjPZ55fQ4yScDRIocurKcSCfcrfd
leVTrDarpr2lenlVG+5vU/kt+QtX+HhUTMgNX0JOTitwqZmB9FRzKuufkg/s0nzMKOKGVJ9k7dps
kn9xzvO0RNbGRKeaksHXIUZB3UlujKyCnBfAk0ABUFoswEUFi6Zes0uGgoFKMIsNMRla5ziuJHas
TfSsVg2y85GIOOxt4fkLS2Yu40UK6f8CTY5jnODwN68JFMkdHaJPhm1n8qKY5GwYqulj6g6lf6qK
brZqEQuO056kXwCGbrWrANhnvHKvrZv6Wt9LKB54mDfa4uPCjpg7x/Sx8CDy3qM2MPlm+RC6yVD4
DfQ9ZevTrz8Z/grBrg3F9YP3x4/t8r4A/QCzbYlEPlf74FD7J/Zk32eJVGuRAYu8F+S3LgzdlZqP
mFQZoKFh3kCdunNwjgUQ+pEMyi8pMn8tjH68Dr7sEEU0rNFfjOqTiL7lJGEoqtpNyyBpT9pq2Mq2
Z+c34PbtfqtsxNelgtolVXISbXI5Zb7cxEP6NxoYgVvtCYDounzoXst3aA82NOJf0Z92XayAA61R
947ehYOxcKiPc3o5YoNKG7YkWChMElS/8q1aluP2xMoGj1W60Pc1dcnxa47qx6fltY0YkEmhdjKx
hgMPJPb7MYvpcDbMj3EIsIYq/6q+QQl4X2yEnXlF3bfod3jVomGzpM57mYpzaZ7/hMlsIwuZW94A
8a7cIA9kgzX5OTx4jy40WGq0e2/hEpvdSBx7yqhFCV9oMrFUgIbKBRh1CjKz2ZrgclZZPGzVJnks
kMfeOyaEne+X78W3HEf4T8hpXl1RVUwF+isn33mNBbpb7cKY5k6l8wCTr9gYUu5JRkkRLYGCoLYb
3702qiXm7uwwYEqr0BihEk7zDEvIy6C25OFk8maSlI/KEVffT9TsOIDn/s0MKShMbot+0HIP5l19
EizdpZ/sHKoCvYhSf/g+zvyJdhZocluUuavXbqlxyTeUG6r8CSYIQDyMZQrrprf2nW6ty/A50p4R
m9l+H3xpkJMF6MZlaPhCW5+c6tHsflTSXpT334eY/VIUBnVk3ZEmFSfzGLZFVZaUNE/0Qo5xkN2V
Xr9ErB4vnC8H1Lioz2JMp1AwfUVPiBEAuuZM9vf1ThQosawsrAhO3EXH/161hZBIZqKShPyfOL18
U6HrCrXreJ+6xWowHgOa3k4POjgBDAwHrfY2Xr1APJXnMhgdUyADjJCEgNnk4vWMQvN9h1IahWqc
JHL52OgRaMQ4z1dNRv9D9UYoc9wA/QB1lAnCHWWonZTB0JI6sC2lKV6pYrBRIspVaYLSbo3YSYhq
Gb1W5XcwIMFhiNFVmXtoPigaanOJ/Ko6EMS+XxWXC4/qECpTBnkf1dWLpxDwndCMKusUgqJUARdE
gAcNIHLfh7ncXNRWaNOo1IgV1GmnqYqjguSLx1fQeKArEPxNusp3413d79lXC9Euvs8YDTkmVA0M
uNXT8zzM2y5uQw5XIynjQ5C6vy03cdeuFxysRD6aCkyJRlE/9aS+NzzjQQrlR7SX76owfKmi/FHP
y+cAX5KFnzUeuV+2x98SGZYKPKJJXabWS1VI/lh1TAJaD6v8NjyOpg6D7e3lRZGfy1bO31j/VAAn
SxRRh9xvW8pxxdq7V7lB45votd7iL7ktfsuP/2pk/0QbD5+zBxL95r4Rupj7Wkx/mWW/rz31kFbl
3mq8Ex2C317WcQgAPvWbJzH3nxfiX1zgk9GOy/wsvkHz2DXcenxkgxIrmpVHd+A93Ylvvzh8ajr2
98Nv9dW/c9dLUiVzoaki4OerGAgj/F35Z6G7JnMML1L6kwdtp04RFI9XmvhmmPduvXC+XmxWRomW
kqjLiibB7Jkc4RisxYbR1M3JF9874zktoI4tyEnMjmZMLWmpsoXUyUQmQk/DPNL6EwP+oKd+X5j1
z7B0ghW8N83ujKV21cW1NI7pLOC4lc+mrxLTCFKb1Z/CWF7VFlyEBX2k2QAGpR6L04BIkzwoDuLW
zwHrnTwnvglCDHlK49fC8rtoeTCIUdef5ywiV6Y5mTVqILruApQ4FQayWq6ibSpJeXVzcDKqXOz7
3tdWMpy9lUbLahAGZf1vfgBHq8FXQwd3KuTiux1wJFHqTm3m3Yc4r668tPmsxG6PTC04IC9HGDFC
UEILoUU2zZJZ73ixT082dLToNUhcJYAsv35FuBYGDbmyO0W6eR3H8XEYoidDA2mD86S2dqXWzjW2
5ffDnvu0pIUYyqN1rHJ7fY1aaI7g50bfnVyz3wOZuivNbOnTjufkxcjwm7RGZ1Bs5Scjc8Xeo8KV
j8tHOfphT8muy55rwcrtEC2qFfyXrZO5mNFq5l0FYsmVrDfPAWoMuOZfDBdJZ25qfeyDToYr1YIh
SEPcnUzrya/ec/Pz+79/KdY2LuOzAJNX1xDmoqCEBBi7RhG3RrS2ttHa3fi78CAUK80udkAfl94Q
s4vnLOz0qorrztPSsANL58DBzZznMFV+Nmm8wyPlPY5iE6Rlufl+sHMpwvlYx7V1du4Muac0tR7x
XePkI1IjiFly9TOMxG0Y0qj8PtjszNJy0DlYKRBd9HfDVO+8cPDHmW03Em0BH+yrC0TOBqXSxaMd
+zbahb3dafb3oef2yFnkadfXazJ6zgmRK/G2st6i8N+0zQxuftRt2fsoSU3eLpoADxzcSEtqh+Hz
c7tDPsDubHFbP0fHaLekwTrz4c7DTR/OnViFjmsRTojeU+B1bX+bV0iILLX/x4092fhjoQVYI5/s
EkJV+UonOHqDoXOLo7LXNL/IbDu7DrMlI9OZO3fMBv9fWWf6iVAzcfAYoKzj+8Ovwmr3CGHdem6N
zkaZ/EB0dklBdGZNGBYq5jJOVcBfpkm/0ri1pbYh5cKifS4r87Mf1IVbdy7hR/SRVio1Dg14zWRV
FFqSSdgbMX11+ewNxZ4ZWBda9yrS7W9643ePqMK+ztAvpzkPPVVHAfD7pf93HNNPePYb/holnu3x
MCjzIpP8sULYrP19+6J2tre1WJySPQJJb0dr9/jnf6BjPvtJ/xn99GbSB0FILbRmUPwwQ0gH1i/d
ardyHx/SXMrtWFRh2+XhsdcyKBD9jVXJwcpxQCdXUNLtoKsrtD9QnRCFmuKtH/z5fmrG2f9uZiYn
fVplGe9bfl9/9PfSvrjSsLkvduVCzWFuDwGKF7k7ZbB502moWtCbvUNy52r5pqieHFjwbuyt/+vB
8Mgj98BiYAYbZGiCGKE12Zy09A4a5U1tJj8jsT/EZX7QA2PbZpGC4vZS3V+ZGR2qeTIlKZANlKHH
/362vExl0Csqh81JavyPIMtlEKSusIZ5ctcmSHGCEGvXXRZsCgvKYerXd0EXHngq3Q1pAKlTAPyv
d4/i4L8VphDY8GZcG1tSWlg8YO1eK9pNVDYqDhzwQcVYobvPH7fV0uq36FGmAFnTUxolDz1kGuAn
H14ZqJu2RYGqj/NsS+Vkqdxy2eJWgKUgH0tjEXTJRdU9rpPKM32z/N89FWzjHdaaa9DE2k6x03W7
l5ccv2eOqy8hJ4tV9HKrVSOhhMWM/A1MUSlYeFhdbldVxwwO/UGAj5yK438//5KpE0d5khjwyKXr
EN6hGJSHVu9/p4IIyL5SFvbFZS8TRTmqcNpYe6F/IU+WDjyquOocAsIO9Fe9gZnNsK+VlfTg+TbO
bya5VriGRm/uvU1kh6/f75iZfORr/Mmrq1cbNFTl2Djp6rYBHWW7V+Em/20gybFq+EfbiuuM1nSE
SsHCqWxcpntfY08mOws6eml9UL02qYeQhxttBMv4CFoE1ISw/B0H1aceaJ9oRJQrIY6adaZ7BzUp
1LVsNeouNtQ/YSLSgO1F4L26ApiMo6XsretYB9KhD7F8dOhDrXwq+qvGSBGUcIZ9FarWqkMZZC1n
/ThKCLuWQEu1tfAbdHHjC8HBA4xLr1Bw+Wz1+qbFBsLOJfVdLuFokjL+SPruPuhiF40rtGlGd18S
glzaWS36DLITVWvgkiW8sOJhkNJffilDHY6uMkF/Q6IK3kxRrXqx25bNgCeT6F93qnMP/t9b+ZX+
UxMsKNf6wxDnT+ghHHOlv2s8GN5DGN95rvwnaj60vL6ruvIXqwfaUR7+sNIRIjH4p8D0XqiTL9wU
l5tPHa2P4KugUGhcSISGXh9JTWJqOIF43NT6xq0WRaJntp/Bm5VMgX+ZrI6v288L4kRKBkk75Wje
FgfVDjfpDu6NjfffdthUNoVjbE6XKjdz5zfNHokyhwoWZFrFLTyp4CIMEPzW8lvcDvZJ5m7rRtgu
bLaZJ6R5Hmec4rPTJXDBmhQunRjjrjhAJU13wP9/FIgVHyCkr8V90u2+Dzk7MhrCKlUJA3e1yUtR
kd2m5LVIRNZGWNSgP6hELJWjxkNikkTQJKRUJI2+hhd2OHXrDXI19vGrDlGqngPWTmN0EjodsimO
kd+PSb48N0TC0V43aLRTzJicG52W5EOpFwP9GQmOZ1ds0J/+gSrAgORiW2/RmuFxnouKTV+ap3r3
IXeoBldI+UDrPWUx0nShkJ0cMd3UJWoKsXVMYuXGknE/SNStiN5Fa1GmLEACQhb1r7qwPvYB+HMn
LfKFY3AuQWbWRnTOaEsnTutSRlpXrS661d/Hdnlb7po9r4t1fYiO2uH7qZuZuS+hJhco5oNS1ZpO
eSr7OyXbAyvBvEZbOe1TZva2Vi217C7bt2OScDa2yYu+yAc0jpKwOmVoxdltlisbLbciVD0SGiR6
cKyoQLUYyhoKPHPRUWEmJ/A0PN16MAclXtqB43qfrNQvv2eyA7Va1ZCYJIOIrvWjtXWP1UpfVSck
eRZdBGauVsaOTx0ufKqpkpN+3e2hiuIXb0T++k7aIlO7K38DLXsOb4pNC0QJNS80BRI7X+LBXB7U
xDV401HV0HmJT+Zcigy5li2/OkUH/U8M5Hc05Bvtzj04vuvCXna9+FtVvJhWnq6WbnGAkgh/HWpc
+4VjDeSCwUE9Ns/wpUN8+ar7GOTQc/6uos+L5JaNCMQ2OiL39YH5Zf4mrrvdx2h7Kr3Ail4Dj/kP
HmDjkv7mp03VgoOuscww/d80NbvX9s1e2aUHl6sEwN1COjdz3MIQoP+Nzr/GNTmZet103KJyWV55
EW6cvEd0NVdQKWyXnJMuv/HX1Gnc6Gc3iRuFaeMLGIbncLJrQUHNIdl8f1bMnEsqVkV/e2doQVz0
2/Fm8oqUKjfnUrN2r3Ibp7wNuf2mulkCEV3O2xgK1oOFOQLvicm8JdLQpA2U5NeyzdYhmhxF6Vy7
nb901M5Nm6Gi6Q4E04DPMf6Os2lrWi0oIoVsu8UJwJZteSPtUfgb1eTTZ5oav7H/sxem8fKFjWb0
Wczx8jyLKUkZlWlPLF/bIx5Xot36dvUEL3wPpx20ULNpD+jY31ek+dbbElDoEnQ6KlafRZ8cQjj8
WrGqRw5+OL1pu3vEWdLUFjblGlBY8ohyqWur+8ReKnQuzfRkgQ5KASwM24RTIGrrYYSc6osX5+zM
6uw0Vg7ZwNTIsWtUSQ3DqHwVj+2Hcq3sdRs1l1cUN4u9f4BkcVCvol1wdNyVca8/fv9d55Yslbq/
EAq4LdMl68VFVIZh0L5WBpaKufZYB962kOWFG2v8Pl+PLwqp9KoAKFOju0itUisSWy/yWLGGfOOr
yjUOir8dbxfG9VqQpYUNMvPVvuTfk7UaBaYgZwDMTwawAzl4940FLNKldDbkJvp85pi58emmPmgB
zH9UpXqL9252aE1b9+xRQtvfIKSWqytzXR3NlWJrKEU1NoacW2MhBZqpBX79BZMxmkjNuD7wds6A
7NrZRZ/NAZ8BLLjdXXescNs5drvomOzS1/96wXDkINhtUEge+4Nfz4EcGY8IZUznNAB2DeW7Cm27
Lvz8Psj44yfLhTSf+poGhwyCw+SAy1RVlquw1U+qOkg2VrFoIYm3vZKWa9412dLZdnm50uQ7CzeZ
y1gvdDNDsYVUI7pPcCesjiPycbxal01E58eGi6OkqtqoWP91AiUza2oScQdHuxMVCx7deNS3KCHS
P/l+Fmc23ehBPTpQwDPk318jWVpceQhBa6fKj1FvStz7xEwQLRuuonz4KNsk3nwfcG7f0S7mXuK4
xoxikj9ZlTPISTpoJ7TpPrKs3RWh/Px9iBkciIpsI4ko3Sfg1tZkUCpqZoIWEkM8NgftKqc7M2Jk
9W3ze1mifuZb8ZIBxcKpbHG1TwaUyanqIj1oQTEMyPhLuzYAXqsyskdLZaSZQiQ5wz+xphke2txi
nIWhyYYeeRXlqnxxN6gicakrdvbgb5dAonNFuy8RJ1t55MY0ce86J3XnDqsESAT2E+WP+FrbjcZk
4pob9aW8yvD2XmqRjl9pssFBmgFxoxM9Ntknm0DLzFr2VUE76eJN2YHr1inGuIuJ0mwYMLC8SUEx
XLQp0yRSUj+PrZNQ2dTI2g/jKv+d3bnqCid6NHR26PuVSIrbS+Ob2QmU0hVDHM2ZKeNPppbXoolq
vIWxAZC5VtZWirdoyj43OFAzo6sqpWt1utuq0GvLUui0U62q92UX3UZmh6Jf1nx0HS7MYSOeTFco
1gUMb1fV3kIHfnaQVW+tma6xsnJ3bkS3amF/jl9u+mUB8FP7ovCsXGgIyIIeFN7AzdjawxY9nXon
3KK3v47vg31yXJ7pmbc5hELyd2KB1FCnpec0YmqVUYRL5X2KvzjGTij37boNb9On/8AHe+5MOI83
uSyaQMz1JPCsE74B9Qa9qOGQ78IXVN97aR1djW7GCNGywsA/Lty9c2nwl7GOJ/5ZEp6XhRVb+ThW
Z9Nugs8R0YBKurtTtBViaZbNe3CHIPO/uCC/xJ2kwe4IaNKcRAMHi7KOtpX25jpfR5gA2MFm2S1r
doqxjGf9kDJqU98qyTHUCGUWtu2gY77hbGHL7yHTv8hIxC2s17ldhNzF/8Uad/LZlEZ+ZbpW4Vvc
/dkzpe7c7oAVgtvINohp3suvyu92b5YL22QuKk45wHw4IWiXTD5kEKsD9K/UpBmvowWInr4s2KK6
1DFeCjP5bh3uLkioCeqp19xjpAPrLbxdk9ebhUmcyTTM8+FM7km96gRMPeoxgRquq625E9j33VXn
rsyn9nok8gY7lMzW2kKfa+6YPYurjzi2s4+Hq0Eca3lmniA9SuqPnt24MDJ55jgbGZW00qA7XpTy
+9iIrMENTB6eA9bAyt49arcqZfxkEz8pC8P5y0SZHp7n0SZnSyKZjpDjx83hKdx163gjP0i/pG28
CR/QaXSutXjnY+G5MfcZOBT5nabs0lN7XBLf/YTJygyTPHRkydVOmktZNYniD1w6rmELPdYSJ13d
vGLAsaS7Mbt+FBLGUXyGlTSu47PvqLmlGDWBbp5EXvWKgMRPjW8UNbXwI/Hk9cI3nV01Z9Ems2x1
5QDmUDZP3V23DRpbPQ7Pw0/qGRtBPo59Ski0CyfoUsjJrA74LJuhL5qnosPlQ/8R1As419mrATQf
+BTj76kyyTgscUCkVODMHH7pL/oudbEBWet2gDQTPUElONTD1hRXy++Z2aHpNE2gUeuQnCZDw3tB
0eoKvaJKPSXic+F//pvPZZLqqzA9aAFNAoS6ZElCPVhsQfWImiDOmLa3VtfpdXXqD3h0bJf2wNyx
SekTADQDMi8qMp6ENU/fccV3Av4UbYjoZS/UK9x3FuoIcxedBnkAZSsIHxcpXIjQbdUmfDQHUDK8
1FDIbbGBh2ctFbJmnxdnoaYwM9/tw0RzfFTtbjp5lbyNrryGLR1RhH0QSRvX3nFYkgqbm0eYfWxq
Mn0gFpNrwY00F4H13DyVg3JbJ8IuCyzb6pZc6edWIMt+hJDr1M+mKzCXezeTnDR4bYoAxbZylXWL
JYJx+0yPxZGyNQJFwAVOs0xc7ZRajnX1r0u798s/joVPBWHj/6TYP5dDnwebHFAdXkeOFqkqXAdz
N6IrnXX/Nj4EMVDeWYclduLs/NHdUmA6jQX/ydERBUNnGEg+nfS4WhuKZsfxw8IenjvgAYj8X4jx
mj074HtZqU21LY2TsB+vUWospZ0eewQHb7IrVIg/RrfK3NpiorD0FJPnrvDz2ONsn8XOFKkEDUDs
9thuEpy3/Qeon7wSjujivPjHsaUjbpUTvEXcMnbZznTspRPFXPoR4zc4+xGeB7RbcpLoVdGbaqVp
Tfii1KVs936QIOGITHDRN3eQXF74HLtGx0wE2+KTkMKAzlyxRhnevAoAZq8GHfD9IAPzy4V442Pw
vTK8ZsfueC8MY02/bp/w4pUbUT4mcixsPASjN62oPwZGj9Kmh+Rm2yqyXVdhsja6EKMDER8YufMM
nK2omPaDlO1EKXrqPUSCh8RFojXArQQyBcSTuPvUNRljt3yXCc1DIQ8tNgMGL7ysO0K+Yvmo1K4r
Mdwkpnw7xNhY9IX5MbSpZmsCVcOs8G4y13Wwyhoe85K0sExDkIG8nypgfHYY929C3PTbVK/6jR+1
6lorAtwOguRRUHK0GBFxNeon6rPvBUzXK2zBePh5Ywot58WugE9Zxji69Rzvn4BR/cP3y3n2XKNP
CJUY88KLlmgOOQeGOKUaLUp2kWbZfVb/CBzh7f8vzCR7j7W2qjnv1JOK0KHs6HbcYUElLLyA5hI+
/Wwwk0MaOoMQDh25O4LlaH+qK8SUd6mAOVUF7MF9ABax+u/HBZPetOAgQBqbFkeQiTMBRiEzCKx0
FRs8D2TUfPNs/X2YuSK9eR5ncuiEMfBEZDENzmzvXkRpKLet2+JZt5VX7ym0hwdsVFKY4CtVsj11
JS9AhseJm14ZBrJLyLiRvFwQdXxjQEiyJStqSpMatrxHdhLiuQIQKPFQgilyu9TyH1rQ9Qsjn4ts
jrJA0IM41KfkxBxzo0BuNOWUWQcJr44INKNZF1cyGX3Wtmsntt4sc6ncPFuJOQ87OeMCOhJq4ffG
WE/cZ9sRX4XF9lW+lrf9oUSoGMehx++/8dy9ch5y8nAAd5o7Y5vmFJQ97j8nI+tWYMY2knSn42Pz
fbDZmwRwEPhvhCJQ6ZxsFU1L/KZ3SQIgfaYrz+5fWvc4LqUOZ2f/h7ceodjOqrxHqH5frAOBIwuH
6YVfMZcdnP2KaSbX92mpxQm/Qn1PT7KNbP3GPAwP6W2MUoZ6wDEZMS1z3VF0Q572iGOYi3/G5/e/
YuYIpLJJjZ++iQirYJKUe3hwSjmGENgvBgdZaN8SGR+geqnNNTflX+JMzkA9VrLUK0j++2P80W2V
dAXnUvmh2u0u3yXb7sqyy18Zlgnotv9qD8VDcMx+L/X151a2pQCKFsHA8CKY9qOEKhsyv4ZVHF2b
O91ubzC9+R/Ovmw5Ulxb+4mIYBKCW4YkR9vpIT3cKOxymRkEAiF4+v+jTux/d6XzOKPP7qvd1d1K
QFpawzd4NzKQ0bAZH+oDXDN/fr0XUDfoHP/hGQAYhg7YWdKSCFmNZY4VyS3fzI91Dcgb/FbD3lcB
8GHR8IHz24OJFqLV+/PaF6LHX0ufHeNaDYZ0KzQZFxUWC0AT+JvF5lWlr0sVyV/rnJ3dllZqqidU
WVoSjicAU4PmIPMAmvGQ8UYnk7/x38XHz892IV78teZZZu00GuMiTckphZ+ktPbSXbVwSaX1A2+v
VOQXajss5Vl0YWVBP/Isq1bcgEj+VJITQz7ZCfQVOxXxBOrUrL4WEswLVw0OIUISCCqgbZ69ykQ1
Jvwpxf/MjtCFhpvWW7Gla/4JbzAUyws8zJt8d7cY0JvPVG6mJrw6wroQE1A0//dXnL1cw+aartEJ
fRW8XN7wuC0hapVdg6L8obmcX6z/XOcs9iQuSYoE/lHPaAqs7RRJaelJLW7tgsE7J/1KaA7kpsYe
Wa72BBCjwGXdrgf+YjUW1UMqKYxVO01Bsd9jhzJVLVxWCohmMkjbqiyCVD9Afq4HJyfjxbQ4hIcK
7ktDwPANwgLTDGW1Tnw4JMWYfYKzbZsfZ8nfgcXeDq2EuR0xYQMBS8GiqJ5cjX/KGprhP+/kS4NQ
6I0DCwu4GjEwiv+7omjZAFtZwBRw22Zr8/cy9TC2xeeCAYTD0pXO5MWYsKj0gDIKDMc5CHDMKRdq
xmL5hqyG2IXam9hAAjv++aEu5KJ4pv8ucxbtXS68cjQLcoLe6OQv5GMw/h/qpD3NGhw5WH8ionWv
xLsL2xb9/z/sMWAAwJb4+0VKo9csOnr2qW1/zXQIMuMu6a514i/hNf5a5exwAMMgsjLHKjYNnMVq
2HdjO8pDeJAnv2mgYe/t4Hb+upgcXW3qWksj/OzILJBGdDUBDHe+ASry1hEFbOxgi5iCCotPGLEY
GEJAVpJtsave4IwbiX0CCT8DCYx7W90ZBx6U8YLehc/S5voE+FJ2Dpw6clSAaGDReX7DdZORsTlp
ML4ELo8mMbjl6Emtej896RvvAPA13Y4be51vk5X2SB5/3mn/y/JQuMbKQJSfh2c9EyXoDmwJmRAn
1pBRiOPwO3nT74q9d2zhYhfoYR4Vrj/6ZdBf68dduh3QMDVsnGAIaJwfqM6CWrfhYqKWiC6EZc/U
3c5T1CFL/vk5L66DA4XBqI7xxTljbWaWXmdZTk5EQqBXjseioiunMzFOO/280sWA5CyakMC1IFny
zg5vxefZkJOFHY7039OBJhBQ0wr0F2fFY97srzV2LsWkBYAEVKeJKtI5uwZUqvU5tRQ96ba27Wm1
Nqo8TvV+U/T2byipRXVi3krr/1D8/8E9/WfZs8ccrIRDB0DZJ32kgQ6rJ95h/HSNQ7skWecHdkG3
QDQXg3TdOkvCuozZtIVAECQ9yY0sGVzV/r1SBQxBdAgBmBYUDrDM33GPVE2meaDJnNySvSQuvDta
+MD+vCkufaN/rrEkLv9oe7nTlJqdDmMcpz0ZhEW5k4VD8VRDUC6HDapGN6b6/HnJS4BfPBPQJYCO
I5yfKxwsxVEFl2kXgPUOkrVsk2y8GCbjwf9p9rG8PpBhgAjQv+GDiqIZIZbcudD43boTNvxV64BL
CSsIp5BHAAZ/kar9+wUSE/GhqdBqGgg8OfXqkYsb3XlPidwX+evPb+5PP/5801GbYsthwyH8nC3G
AfceuN0kz2ZPyjXc02F+AZp/iMJ+KzQwwrSFDMapmiLPBLAFHbLad5LurdYN+MM3tlq1rTMGXbfw
Z3R38Is8heMKOgOhLPuDVvToZBsdZBj0dN84dhcwomGs040eBKoLqOkQTwuVruur0Ww/4YjcgFIK
8z+vgEcjaeEOaZQlOoDwS9J7mB/ywt6oyuvRX0EZ6oByURppuu1n2QW5bd6Ak6E2mj5CPphPhgoR
J+dNoYYGLp/G6ufXdynU/vPtLX/+j73Oyqb1pFPlz/gtgTtX+xlrG7wIXfAef17qUnTAvAODFVBt
6Df1qawpckuVGj1xALe0HrZa16L5pYdxF0Syh6oXaJ6zrTAOs+sqZVonYXHYRMoBNpBdSEdj8aq1
n//t4xAABhHrcBODkXfeEGTwc2pLDVFCjsPN7LjQnzfMa2Cw5Rf/vbn/XuQsFHVw86MZm9Aq6ueN
KscdEUYEa4v1z89yaRk8Ax4EshjfBaytWs88t6ysk+TdUVj510TajS2BzPp5nT94wPPnQTIO7WoA
9Zbp69/brTVlXrhWYoL/hQ67NVevQCb9HmfnS47mg1F3EPx3qAidFJ5tkxQPP6+/XHNnyy8cGUhh
oMWKqf3Z7Tu1zBsH7MwTcZPuWJTqrhL1uBaormA3jnFGWq6l6b38vKrzfedD3uMfy57dvqSoHQQE
PX1OCFvp8N120+fa6nzNakKrcSJCtfuC0+fZy/y8F/BtxMmHXLTXWjHHWGNgYzhMIwi1kKCTuIEk
yqUK/nHdEbanG9XCosyTd2qMlZ2vjSRPVhlhbxlMnrTiq236WwNeKVnZ2H6u96GmYCtZkxXuuV9a
6m5HOm9cVdx6bnMSND3hFv/twqOzArJAm8qIAcfkAmm5eAwKvQohExMyobYT+/ScFxANVpbT7UYN
LpgaHC+dcdXBDRqO1VtSs3h2hitf8fv18vfrXO7vf8Ss1oVJNO4e66TSEWz81rECy5lgUczgyDpa
ho2/x37//A0vnBB8Qge1FgapIECebVzOrUna7Yy8oykPqMVDpzaeHSO70n6/UHEBLICOHeCfiGHI
df5+ttGp5g4S0yba/2yK3DpCsYNbI4S9IWIzGkzyjQf5E6zCyrdrheyFZPjvxc/2aS5x/nihGVi8
0jeY6MMoDLSA9gUcWRJd76aZ3yu8vxc8+5JWJZVyVW2dHM7l6yTgMc1a24LZuwOvbCPdUq/cTl7x
WA2F8TCNmXXEN38w7ATAhq6IadG/atpsw2ttaFYC5oU+qWGKLBMo7JRom/y8Cf6XF4SSBMqBrvut
pTrwvkxBmDdPkFKZQ8gtW2svEsZ+CDGTWdAImhb/vOSl0AEJuGXsRCGLe15wMriNNlxvLShrmnCu
zzYan66kAJe2NpzRIA+C4A8dr7OtneQlKO9W65z69jhOx8z9+PfOOgtOBDQz6KLh6gcs/e9dXfFF
V5UXOD1pv7UHZLgGnNhbuMn8+7eFBABTpMVdAu22v9dJAUvp9bG0YIXk7qWAoqfgV/S/Ll1hwLzY
KL+hkIA3dvYsXmNoQN1J79R1sPWGG3wSwE0P9faQ71FlPcIm+jNfWv4tjflYrH9+wu/GPn8gN/9/
+XOdIqSrBkM9CxJPezP25aNNILLoZpHQgYa3xUpwsNnsIup0teV6fqPLt5nA/Rtc9/FRHzDGhwO5
RpSPpDnoMMNksPVyhl/mbO2pePbgKJrBq3gcxaHS35MWAHTQkyktfbxX+O3aqyKzYI4KEltWRSx5
ko2x8jAyMmEU3/d2QC0YbaTzzpEEw7O7vgVwp57uWNGsYMsJo/jqzp0eEpLdaaS88dLhfszzwBHw
7YYVIa9SzHGRS3Gk1A5mu8awKquF0En2doVpct2eSK9eTd5FMLjys+6ayPilEPzH4w3DMmSS9DxH
6fPegYgEfAYE+k3TDYxfrPXSja72g+cvTellsJAUgU39a5Xn9wQW0xPUgP9Z+iwbx8sHNB7grlNm
9bHi89pJsid04Na5Ta7s40tLLUB/VE7oxOrnLJE26Ssg4peUL5nh9NvLtT3VG80rnjhtrkSY5Uic
pV3LXfaftc5ZIolNC82qEOZHYN53Kbzk/byqDgZmvlAOK4eQF8gGRau1fkvNMfz5yFyorclfy5/1
DBxRk4nxAcSs2NkaoeGnIblZ2DfN7TUSMl3+W98eFW8UyC7YBn1Hj6la93imayfq4ZjRflvWLLAh
/sAU9xsDKu0U2jIGv2sAjSAGjk7RripTBkNLg5k7gTLUzZwt6RNsElR9KDGHhyp2mLI0yCsLbTeY
I+fNnYCZt91hkNgTOIED9ApUiskWvvNxcvFHhGxMtz7AJBdaKUBROsD6a9I72pRBWlgLJlYfOLDb
el6s2hTZHWE0mmfkwQ7d6MKE80uZbJmu3tIURrlCAHmkxoMG1VOLprfcMFcYEoSencBkGxTTBkQ+
MoRT7zyrpP4DFDDrwoDSMs79PEFIGaRJpNhVXkY/f99LO9kBfWsxU4HLyjkV1UwqtxpMnZ1K0p2c
rgrgfwXNHsJeYZmkrkww/vSwzj8wwJuIDItUyjdmdmsxZ7Bb5EjVUPFNbwgo9BjebWrMoZbBQ0NU
yrkxwGB7Znn/Nedg4Xf5feUCZt5RuN+iDjVakgWDatPIFbLbzOhHqEy7mUuVBGU+3dF23TRDYBl5
zKrEDTFKeHIRXhdv223jmStNWGvmZUdtdI+FqUOqykW18PNbvZAVEFDiFsdU8Gy/YchRJOmpphfm
aXRs3zM/UDfB6u8agWzJKL+9zX+schbwSpvy3gQOEp1eADzLCobDg2U8QcMxgyuw+eS22pqN/TWM
54WsCuDORQkbSCTrW/Cb+qzlDoIC4ENwS6+6mGTNFZTshWE4Yvl/1zgPei2ZdTZTwaCGXL1PJ5ho
lmCq0WX8/ghVlNX/zLyu9ZcvfTaoClIKQDXwFvSsfgDuyQOrwdZOMBwG2/yBg9TvzJ8/740LBRiI
K0jlCLb2gvn8O82qVKXDGoPSk1eXezLO6xzXYUqSYLSdwFTNlZznwtD9D6hgsR/A/8A1+Hs9yEu5
Q9F3DDeyuTUDupLQlV9rUKoCgUgPLZAoq2vyKZeiCjrZS6tqUbs591RgqduRRiCQe6QA9DHzvbwO
igQFirgiGnJtpWWz/rOcJSwtFEG+kfRloKkvzMr9bn411ZUb/+KmB9jYhkbwoph/9hYHCTj1MGTo
vaQvjrPBhOVKyLh40XrY8zqyYnyT87lNOhVw187AUQAkHDdL2qaB2yT7zNFh5UGcjdRgYgIiw7Yr
yE7Yw41RwN7+5715IaKgv4iW6B8d9G8yIE0yaKPjKnaausnPRxFM1uDXbhn381uNlSHl//OCl4pY
NLptF9ZvUJ/GXvn7+7lw2pLaWBqn1ArcJ5VEHPo2+mkhtkPmgfrNL0qDZp/eM9SIGHRrV4kaFw79
4j4E2BzKHsC8z36BnXpckBRfNil3Q17CNf6rZNfkrS9sU8xgF+MKwAJxHs4WEcwQaesQdkIr6DXN
qqeaKhqyrCaBa6njzy/10mJIStElBgofW/VsMeVyouAOap5g2u3X3hoDja2ngTfY/GvTD4tgGoe6
F+qyKEzPq19plnUJ+RPcc937bBwdsk7tKziECwcPjSOMjOG1BWuT888jLKOcs2Q0T4gooeUJxK1r
m/AC2Au39T/WWI7FP4JIjV2hKxNBBFojEeYdUDhbHKjy0wJK8txoMQj6+RN9T+qhM4wNBxKrCY7G
OV6zbzNAhZhePNuz0OHdPmxrSP+ngt3NVfOQaXofjT3Lg9axrwHNvu93jCzAuzKA68dE4RxFIlsr
o7U7AuxlFrdwjDm0JmaZ7iTDnx/x4jrIflwP8EnIgCx//o+XmhHVGe7UgyXU03Dsp20ntHcqzWvS
H99jFtzR/lhWAnVlfrvfuiKFAYiZJM+JJ2lQzmXuQ+noPS/ToyDGhiT1CuLAV77f9yOGRdEoWXAE
+Ou80wiBbS33SL6AIbvAqc2woMWetdsBZts/v8YLj4dKBj1b7P+FYX3WMamYqu2EMe/kwe0GaP16
rUvUe5Xbx/q8lD3NeAeaz/vPq174eFgVWE+YLyKBPX++GfIYtaaNxXNVPHOoIJCMRaT6+HmR70d7
YfCYAEFDAf87xtJwBJtzBu06Z8xCq9rV4t+TbpcVCAIHYu53TGUGhpzALVk8e97t7Bx687GQV+LT
hfwKa9jQZcKwEUy8c9UyF3lXnc8sf7YP3m39uGDOqwCKyZmPmg3gu+tkte9bAu8LbXT00aDI8m1o
W3HCiex1kP3b9M3N2XsijDur87qVGNUOnxVWDf3Xz98KlsvfYxYSSQy6wH+AaMW3PU9KXJ9GzmyM
0yj0G7oM8nCARYQDw/Qz19ja6xttTQeA5dLWOLWzav2yI26okXpnN5+Eo1Tj2i26wysJ1a+hA4+k
g6k2ZrrdZ9OMQVID4trUM1nJWXuHZBtkZPWZ+siKB8xsUhTeRrOZqf6aUe/TzGa0kmb6aJpqDHIx
b+zcmld51e5kMqVRa2ZRR0w4OTTA4tWGskM2tGg41naN7oK2ai0AY6Z+O6XQs6uKXPo0Tz9SL9/R
oX+BSrsMWnN+UIn60Gu02eYKQ26tdPtVL83OT4mzHUsWZh4RPpMiCxIFmebZoJWvl/y1Haso1wDJ
NDI7gB4SrLtN4QXSlLtBR5tP1jGGiitepLBg4BBon9CSUzbcu60ktEfn2Okk5gUDeoyIG8nckLrt
UzeoteMwuGlCm08fIh2mGGhBEhlJmtGoNSbL75vxtSm7dWvyfW9mK0HgAl1Y/W3ZVCk4JcNHDtpP
MLiNAiMH9+psLw3QqX0VPWwESF194FwOEIYth8gp64/e8pQvwLeBEPhIokSzF0YTD4V8BlaCw+nd
XQFt9mbXeeZTJV7Hjn5Yzdz5taOKMOnUbc3hLumY8ZSbYV7XbGON/S5ttdCkCGetcFt/kN0BHKZI
1VoWcMGjxOp/8bxrAPBP9ABjiQdDJOh+msa+I0Pnu6gR0XqZ4bMOt8ohzd5KMpThXGZfVe7C7AIM
q5Vj96+wkvvQmbuT+diseOt+jJRMvmHXu9lzb2yI7sZwwVA705teF0tGX84EnQPBfb1RNhp8DPNG
TDsDm5tlUEvMV1UKFlDTu94uAatqhRkfve8Gs30sM1f5o6UfrNx7oUbfBHlhv7s0r/AyuoOY7ZXq
mpt5eWxvaCq/0bNV0zXxmE4bNEgan5buo2cNLBz67G5K7GTVm8ZB1rT2y1FT6BvXz3WKCR6mh1Ez
yKDTcZKmIbl1G/EBM/dnYZBXXUIhzbBkj44XfrmTCiduR0n3BZMYTbo1KA1mSXyn08unPFnAQHB6
HzP7dXLYDOsvDP7NQUXQveK+NcKBSJ/nuIbXRDvlC03to3Qz9Fm1Xd/0a80ZdikR92zWfpfU7W5q
Q4SdmFY9Beml9GAhn6zcatqMmQBko3cG35LjU1qAiQpRqCoYug4/t08eid68OYY6zoAPBMQbn8zG
2/NG3NkCqsUZLTK/Go0oESzqLLFmjrulqo9gFxDXTX1MKYXHrIJbW+qYz0nGT6nK0Ie3mihv+g0z
4fztjRDRSynbeXaxR9wcAggnf3E9eaDT9D5Z6U2bSN/Anksn/uAlGJS2kCVPS/fQjDxuRNdu2rpZ
O1r5xJ0xhIVpIAQ7grW1lEz2lsHbiNr1dh7T1DetwvMto360Mm+V6+kcdxC9hVyoDXUGgQNpp1a7
Yqx7aMbqHb/mq5HVvoOQavvLGB3fNBPotHUPtFRbTNXQ1UeDDgxbSLr6Q3JMrCpw7CZOGgtYHHUz
Ok7u2zpkuQc6Y4eZOKrFR5WkiQ9UDvRMu2chZCSEHbszidqeQ0LEgy0Kt6ISyA8gf/2kZfEwZ4FR
iGB08lAlvzL9cWa/4ZUQtmb1CCGfQOl24DVo0JoDtJ+hCo3IA3R/KIfk1Zpv0pz9hmFQaLPStxu6
omUbSaeMYOkYpkv09aTP2YEKyMEnL3BE3IxN6udm7QN+EFstASvxM8OUiOXyVwezg7ki9/aQdmEJ
SjjTWACF7Ftcynui/fLAJHQHN8ybNHIID6ymDbVm8LleHxHqWz8zy7WNs6WlfFt5wieqjbtJPSbl
gfTlLzQR7l3ZbSfVbhPLjpXe3LeGs3fSNGwgdtbjXyWT9Ecv39f6F+OfrJgPA2Efrcx3skesMs0n
wDHgEOauJb/NYLBq3GZDd9ukb32exiKRgCPsOs9ZAbK77wd3jfC08RJInIppq9XTqfa0qABbkg7t
rQKtacq6oGGfnMp1MtQxy4oHVtqRC2AUzZsb1VB42MNpsY4adAyAi/PrJAtpkwWpolvST6FFkgc5
HMzUXs0jwDw4sb5Oph28zGItfe+cfiOaJqpHETf0buZgraV6rCfsLsGtMLhp3GtkY2XtFggX32OQ
fymKaPByOBPUMOXuYuRGq5kJH3nknSreNXNcl7IIbTfdiakAGqv3a5NIf65raJXfdtomlzCLkXxF
pRcCMb9uBoAEKx5Qwu7Sgt+WNY0yq0CMKOOytiB/PgVJt7SP6Lqzf0EhLIT3Y2RO6SZH3BgLD53g
ekuGwa9q3c9mtimGduvSXymcDfMqj6oOaBnq3sz1otFjhtTp4NFTh07nbaXb+2b36Qr72A3Pvfek
q/I2dVhkwgQgr7WNjdg19VCIyNg2zdq72oB1tz5Hljf7SnZ+pRm3k11FpOyjpNHDGc6rBLHJBZvH
JwPcIjp7jfw9HAxsy+kj6eCmkExHar+oBqfOxgTCU5sJkzIj/T05sGAA8mTy3t383cJkwUutda7s
jd18jK7Yumo7khqjWXddoBDudC+mjbzlFTJOO1+lehsP3bRXGOHX/NMlTQAU1ypz+xd8xVCNOOuW
GbMJreIxBn0hpJ13M5gsaLix6hLwJp08sORv5ul4BSqgGr+hGEZybOGmx4mtpnSVC2er4T/T9NbK
tsq7Ejuyq1rcadoLzwtAcqt7NXYxTOXCQqQRDOZ8ve5XpTNEImsjpgqELMwDB3ovU8OHnkvAe2Nj
68q3Bx6lKr+F69mHaMjB4E3Q4XtXWfaQZXcWq0KjHXZm5r4WSFoKOz0wY1rnjrNiDjo40n0geXLg
tQg1bfKrBMHdSgMjw89k+h5cOmyTIZTavoH6GOcG/PyIX+uvgD3dpR4LGCwk4WlBsyZy+pOOlC8X
SaCGtWaA4pHvPH5MJoRGZ62V8Kan+ISGr43Ny6jXfuHukz4LIaEfpjpuy+SGSzg+GPWOJ80ztBsZ
A/l6GSSbelRMp6o4GCT3VSOCTupbzbtvQG4hWr3qwaKRM3QvcGRdS8aWPaydptpVWrkHuvcGgJsP
27mDBUBjHWTrrAz5BccWPDAUt/CAttWukVWC2f+lt9oq9dpVa8vZN4GTNFoZp2mJMRnUwHBKjrY9
vJu0wS33mWdFLA22hhNd5RcOThX+ta2Yy8DJvpx0CHi1cikYW6MTFxkk4EH5OaZQnpy87WizFFeS
EVdeZvs9MExjYoSayNdepscEaEw1qjilGDbhWqMg5cMpRlWvY/PQV0mQkQIeIdNtz1+6xRSB1/LJ
dcYnpqdvZaNHRJ/eS6N6gvRIEiC6A89DKwMnRFS4HAyGIF8dNJFpvlP2v22nu5+94nfpAIfDhhE2
CYn7Dm24Ay89iFIUmN+xgY++lemImJrZhdk4jKEzjBQDtzH5nBtkeNhHo15+1IC7AU74ng+wOyX9
Tk+nB9q3a2MWEU0g1FoYyWfCrWMJcAamf8OHKlRUVh3MsTK656gOAK7CL0x1ZOuYWrrQL+QwWkfq
WXAwWa0jr0ZQ0/SYjuoODONVkWBQZWEpQ+0A0Yox5Dyi3tgC3x8q4GIHQHZDMbbBMJuxCWV+u9xp
01z4Xe5GLfTkQ1jOhWoq1g7H+W7BYuR11Kv5g4151Oefdc9vlDDvh9JctU7pu52JTHN6skdrV0vQ
8wYV09a51wYZ5vCDU30fmtZnNrh+B8jOxPk6HftVZoDDIYFV1kg4ld2GgLjDIDQgx3FPoeyTd5jc
FPOuUclnViO9d2ffqh9K505Dl9mwoKCmtC0v+73J2zAlh3JOIWrajAYY/vMzdi/U1uq2x13YD4FR
6QVmeDAbsgk0u/oZNhmSm29ATB9AuT5KYa0w3mmxRLJjsJ4Z2+wEmagpNpmXRDmuwMBNgO+j/c4d
6Q62P4A1V8Y9c5O3zCheNSFfS0sdkjJtIdNpfVRoykCqcLg1UhKmVXtL3fq+0PKI6YnwJUQIYmDC
h02mG8/VBLcVU1e/Kt09zhNgwNKe1y3LPmhJwDzXoZ88TC+trh9xcyJFI6FZuN1qou0cAAgDnwNg
gYKksj6YRaHhIJHPWMmpUrpc5cjSvB5lh83gu6F7FQzcSX0vMqMP6zb7akErBynkNoVqDficSdi0
0D905zWc0J9VJ29QicIoNttYQ3ff1EXERfOmNO2l9tx7PSPHeSw3eZofiV0fLSvd17WxH9PGCASl
wDjjwGVueTPo7J5a7RPl9GN26W/FyQ3kOR88T8WOx8F8TLMY7kWrsicfekN+s25EpDXph6OnN6Jh
C4NvjcP42hXJfYUa2E/GEq1+M/tsuZyCjImDl+p97JWgWsPfwq9sdasl9ac9DXHv2QeSi9thAtCz
Hr6gG3FqbZwHx202Yz7cJ457NGb1yxNAvAj6NbnkPdOASq8dNt4QD7gUHcqrg5E896ME2pxDvW8Y
Cz8fiiEcPVwH1KlUXE+VEemS3avOxV2glfdaKk+zkQ5PSJxt32DZXW72lZ8qeNmTIoe/NgqhuRIh
rItOJorzqkLhWKGzh8Mi61UKwmLAHfvLmcQu8+onjK7uzAYD/qrN2AFzAcS1vLzNgbdf9y2QqR2A
rdJKn0E3eVe0EUgvp7umyh9cRu55KvU16F9w4mXGobdbpJxsPRb1vuUwjzaAoAgKT45BTzrcSRgK
QCvSgtJ00uzhRPHhVWaYFNY9KFk4AhmSDciPD2vbGH53qKjsuUUhnJMNkOdQ421yfyjHN8uFuxvE
kdbMmJHbiSIuKKqIEtUvKU+43QFjmDzHt/TKRL1ZfEG3uItqNX5KIu96Um+mgsV511WYiUMLftqB
D0B8u4VB6zQ7OvRJ5iIYqe6EHUK3D5lb6OBUHjydLeahs0S6CP8YtrKfGfhqYp0pE80NnNEqUZBg
Rjjyx66CYyd9aXs0J3JX3MPb85Tn6qXK6mPXdVHrDkezU78gLrvx9DG2LZX6utZu88Z1N5nrysgb
kZnk3tAGZea8s8J6cXpt3RA0NZJZPbqVuxtmHTCtqlebWhqbciYvI0AMbmP9phaAyrh41qTiW8vg
0Pa2FCAoRdzr5gmT+z0fGw3QA35veg04DkKP5w4FmKHHvTmu4LWyKRCxew/5HCQ5AGx5n+XwJHR3
K9rhZmpBxjCzGlVuYxC/SNjOrhDiNIRxxKKdo6jtW2h9Yv4j47HlX4kxfDpZc8PzfADMjEnYDKsv
N0fvaizKVd4AZgPi2IwslB7w/4RfmeaLSeXeadB4dmbrKHLxlCltn1Zkl7T1wXJx/UPI5tkb65U2
qONotEdVlzvAsJB+OhzaXU2+Li1IHo+ggGg5CjHV6OBCOsOqQJ4vagYAiHFTDN1vW0N67owwEgJu
wfCdyViNswEa2YDaQPZwZpAadLa7eqV31YqjPxVPGRJwsI3udT1702tc8RXyCwTym1mxj0LSuPaM
NZugyz8x0fglWC5BbaOgbY1iU6H3hzmrBzlhy0XA4u9FPt+xHlTgGbJ1foO0r6qsbTqjIk4XPTWK
YjB1wsG0D4kGZR1IH3ehyAAsb5QAhxOowqEtHhPZvjiD5wbwzUHylzR31VQ/GCwFLTkz8JAUXQGR
yZWuizjLuOkzKkNmFhDGZc+6nPqQkeqpbDH7McrkAWwWFhBYs0cNwn9YCtT1IIP8HrsC870KZb/e
4cdY6k2Z2YMnGaz6DOrPk3Yjkz4Wovo1l7DPlQmGqPOAxtpMHRB6BNJwQ28f69a5a2EWVUtwo83y
1lBImgHLzBDidBGy2gK7JSO6bxjsHW3EFaPaE5tdbDeIpVUePP/GejxAnOjBFFALHTIFEtbE7gyv
2mtz+uClxXNnOVuJ6aCR8TqwwMoI9AYYYFVYIFqjBxqYtF2pqjYDmYo3OPvlGAmYN62rBl9M5ZPF
M+gUEUFizx3b0HM0vhKDHYl2hDA5yvOhqyrfmCGINFvTjhK+kZMROc7/I+27lhvJlW2/qCLKm9ey
9BLlKPVLhaQelfco+/V3QbPPaQrkIe6eeeuJiVCyYBKJxDLNsVC7bltp1WaBMbQvKNiuABLVw1B7
WjR+iTLk8mQr/Jj19i6z1C8rxJ0Dwsy9F7XZKxwrSrtfDLAHjPpBWRp0qEaCqk6x7HIKZVsDFSxZ
jDtrFjyVCPs8CpGbiuhRHubXrJ1HWy0H1NIq2YV9fqdN4196iBqqCWUFd4tKpC1KKD2ZTi/PJVoW
468WnQK8PRUAvy2CI9Gtm2b3Ql+1Tg3MGBoly/1QRRAhIaZsQ1kfz5Wz4Mg4bvASVU2ONglBaymo
GarmoxK1fqPFWYO2tAzZelPN3DYTN0na4KlxdqCm9pjLQKA0ePucRhgdJxokY8Z+8BNsD7urIlzp
Oq/QcvluapVTRsqProZmdKHvLG0qPbmn7ohidZ9k2nOLSPg5ZRoAGb3HAVr5ITgNtoDb5tIv1L16
fFgk5RAvNRyk5BgsM0F+IiVqygLHlV3V/Vrv58KRc9XBobzJ51Z5gKIirnFSOTso33F9BYW2WKSD
3ibHcATrRYiVh0G1fEtKa7sdsk9cE5yuzmc7SvCXm7kv7U7V1sYU77NoIQ5EYFFuNcmhAV5/Qqff
hpnRCkdv5AK+sh5LdYuu56kq+l+RpS22OCFfxAS5ScgUIHrxjuFN9MoVKcM+yTqcrlL83Bcdbsvq
knpLKUMauE0/y2F4HVLIjXUFyLFdL9l92cMarE/AlrUywW1HHMBVHndrLIAHtVu+mlr5JZoTOsrF
qzSGB6uWdCAgy2NOulc0Ad9m3D9nM0fzNEeVAnXZp9ywVrDofbfSxk/E5T4dutdk0vZqrj5IKZ4v
tBoLeZ5NMahN8hTW8V0BbWHbGBTBMaErvRpFlJyJbBUACoNlVmWdBwPIAm+qheXHaFikOlB16QD4
si7lmR0qg2EjfT83lgVSeWytjEV8GEqyqhVcqXR0aY161NxGm3TInukHQ0hr4PCkfR9pe5wPA3Z2
+pRq0XMPxEUj4D6RhfskHB+SbnrR4qix4yT5qvR0XZlVue9gsobVQTe7EtaeMkCNpp073ZPQOdPM
apdVzVpqjMd+kF/H2TgOlfXeFNjDSbqpSt0dS20TNctz2DR3giYfBrV4F4i4Lc1si442+mV9BNKh
+GQaQ+jERXls9Ar5EAXOuGwhC3lQsDVXUYS2ZDmXn8ZiWMEQGqckL/Zi0W8iHVKtRrSdO8MT+nwP
xOLbPC27SWngxYWXmg76UFDAAog3TNLjJFq/G2Px66EyvdrI1N2gyW9xqeDI04E9rWdQxbFYXVEt
8coiTM9RiDN/LiHUVeVFCTj5qPjRgsxnoma3knwVd3nojPMMeejKXE9yC3W2uT+oQwWFi3F8qAfd
rQs0qYpG/muWgSkPl/e4ah5hcmOij9tgR2OjNT0IAMBx4tgtjT2engFCoops1oQ/b8AseZfLHXDw
BKhbcMB3pNBB99Uws+G7Eg3QpTYjv0p7nG1QnIdD14hIUaPYVqu8zrXuARpwbMYQuMgO5i5R+5yG
UW0vVYW0YHhxBM06Es6BkSN/atGyTjrhoETifV0i7/R419dmSIgt7aGz6jexmbakFV7jxYQ2hyng
bW7atrr4lWeRZkdz5w+ZjvZzjb2dCNGjgodn2ySygSbZ/KwkygkGt7Ndjj0uJ1VSOhFwjatqqUCc
hxAPMFMJHtoy2RWAtXZycamcUU5wesEYoFbLxV0ABrCReEFq6dD4ShAEHYrY8oUG1YGi9GjZ6VHj
3X6UvXxApy+y8CKBMQJogSxjQzDqWatDS3pRYEtFNBz5XcaBH1wCARACaDDAVHBNgdXnTxSHmWRg
1gqa9FKmz2m97qbHNNnc/orrIcDnN8Hfhv2H8jNEIo+WnjX4ihJ0Wr/Opxa3DQM3iEEWObCNKxoQ
JuWHA7MBLz/cLBk0RZVHvSnmpH8BVsspow/TeJJCSC2SFop+aLTG2qqAkIGKVn+vHAtI+FcEMwlX
zBh3i25u7osquhs09Mu1u9vDcEXP98dv+1b0OAPMLHmWWKkg9i/Wozrb4RclrwkOTjq8COz7nQa7
I2HNk6m8AsCjUeFNAp9wAExYpIfR4lYlaXn/Eq+jh95T1vKGSuqrMJiiimJol0ob1W92kle4wj8w
sDRlBV68EOXAhFzgoCxwcSZUP5gPTfCG7mPSkBB6Hgzkiu/FzzB0I50NLQjroz7hxvkyvEJTDCLJ
iVcElmMEg50cBefTCET4y+mg7AWcSZXxl39itGlkHSRnFdAki0XfyhLQmgTwfYiOjJ5MbUGfid25
VE1ccPUHTrTLhECjQawCTm469HeZ5U2AZIwgYdTDKkV26MXOExV7cqo1rkm2DONy23hrVv8gqAq8
IaAvlLjBgn2h+KjMwH/9/YntE7nP3cqJ9rBJcISvb7lcHk6bAhjZQT2PyExnGMNsXpIwnejxOV0M
MIT4BuwHLhN4NMM7MOcDL4EvFNny5wOZHJgJYtHFI8J1HllHh2TVTDZZo0V/mlZU/0/2O9SEQeOn
m3yv8PBFvI+lULSztSskS9RFKEIBhcdT29rcxFi9wgFdQFfYAwwA/9UYT2s2j41zha/587PpDzsL
DABGXnQpArfu5Lb3XZAF+h2uFXCyHVc88tYVxD8SMkxm0a+i/BD2oFkkQZtl1epfovfFJ7WN7Ied
qf5WjhA1fAO94QhHU6zfp9uTe3n40LCQPLDo6QZVmZ8fGVu5YQyL2b+ETbhXtWQtLxoecVXoZt4O
dAVk+jMSs2ih0VTAr9VAqtvjJnxPnXcgtvE+u7I92/OWpz9/7cNUcKFRs+MsQ3r9+WGlpdUpaqT+
JcXjnJht9eRZzHgG8lfyjYJMoypg+omw9WFGb6jyhgy9vrxM0rhK57du4qFIr6z+HxGYUZMVNCkg
uILMjYtWjkekcNe3QK+8EDw1cWboCq4OsbAQNNDU4YTJYPxrockrOUas8Fe8B1LJA2lsPXtwQN0P
q+ZzEB3cMoPCt1SXdwxf22ygvIkQx4J6q6axSGpgtuWoahHbeoQylQezb+RtXCmpig3fXPTqvJ1F
Y3JKqSu91IAd+kLSHtbcj0LKk5S8uvxg4ippOPZQHzNjSZSmKwjBdjbQpSe4BswKLgroK92es6tT
dhaGHr9nOSomozQ3eI58qeQu8qYejQpZfCbasKrGtHG0FITBUZw4QgNXh+8sKrPsRUi+mNJEcxXQ
XVoGIbGcR4C6cuZAIIXWZWCQqco3VfLswwy5S0rw9vqX5B1N55dklW2QDZ+aIHQJgKVQ0l5nT1Cj
h8TRzKsi6M9njtcfsZlBBdZLbeIJsTtYDo0HvFoehw+cN7YV5N7Qw9nl9iReH84/38oMZ1WUqjhX
av+iVpDSXSq37t9uR7i+Gk0ZEGrolV3IdydjBrtsLPoXPNkCOblpQYwQxd+3g1xNVfC8/J8gdK2e
TVkV9gP0YTBskrQD6S5fvgbIyzdQixUV73aoa1U7puhPLKbQy3IhBgkcsSAqCNkOz/ABrhU9skPK
cgUv7f3uExopug9+quSAqC6LNtev+foa/d8f8a3aefbBRgM+5wz0FyoTKEXRxSJ7BBAuN3PkO+MQ
7agzlhjbhQ+b1tXCK4y+SYAX6xTujwD9qwo8yJkjrp8NsqjhgjIwBQs0xSu8U9co4hvdvCcAcOVy
cwhzC2RzrZlWS5EHgLoTG5QIP+3nR1K3j4MCbak2Ht5MFYZxRiXsrZC6+MZdi34Z4CR6/WHNxZrU
453W5C7J9A0RRBDaDLzS4oFIkRuo8JQw/paSZ7QWd/nUb1tteTaz/i6rLC9Xx61adgq4xooKwwMR
hLgEeBu8mayXGMhPy3wUpXHTC/pzN3ayrevwcgmlu15XvGwJ5207hPDfSrJVZBq53yvoWMfTsbOM
V4uUOyVMDnKtfiiZeRhj47NKQ+IMiiK7ZRb1dhTXW6AdT7MCBIIWF3dCbcReFwHfSpb+t2LOT0Cs
VXY6oZ0xoJcCBBggaOjcRMAsV6u+iu/UoqjszJoXuxCjzz7tXiwxepB7cy1L6NIK7Vj7Vp2up6lY
K0v9MOamhKbLjN9RWgtMrhKM/gxkRaqQlSVhQUp9D8nqunpKdXjT1zOwKZ34VcW95mVNYnqpqa8G
q/KrWQB8tjF4RGT2QojyUoeQIJh2lox/42L2c69mIl4OE9LPJ8juHAHkhOy9jdc+CGlT043sXvk1
+0DE+uED7+5Cj9azRctG/t7ZZ5umgh4eRCMQWZ3C3RSDm57GL4kKf4q5WdzbaeJqzame7RDmnIfb
9txLBOd850Fq8k3a6uveRT7AlpRdcctL5OywgmEBnhaAC2C5YRddtHIUwSIAiY/0Kji45gY3JSf7
RVatJ/pv5YEaLaG15h4lXiq4emKdxaUnzNmgKjBtDgcdmUAMplfF11YmmoaU3wq1CVjxAmTO02P7
P4bW1CzKbaIsVyakUcRgnBAkv2+bMJD7oc5t420aDnnDPv/rv1w3/xnaP/GYQxlbsAcVAPH0fHA1
0n31M7r/lW4Idq30HFbtFVILncg/0ZgjGVrgRAcJjQ6oedT8cb9sRYABHGxwpz3CiuzAu69cH1A4
RiOT69BIZTU1REUrLXHoUAUES+wl22iDJ5I7gMUnT4MyuMCtua+WHdSBDBFlGAIyx4fUN61GGiya
PqndQd2ojW7f3n/MXod8PP4sFWxGD1XFzmdu0MDoy6nadv1ztaxLU/UFdEOUJcMrIS/SZfPwOxRY
VKAEgfDENmGWtJJ1qvf7jE7lUxTZ6jMkaAJtHz1JTvKmr9ST5VocTvTldqdBDUUCxwNzdkGKHudR
J/UUkufOUzcgD1B942U1a2DEObb6BOib1z6QANhdaAxzSqCLyp+JzeyHaQEjp5Is8hwti/1rWh7U
6k7XIP4dWE3JmcerowtJEjQmKDn6wld5wpt6XYZF/wxSzg7P+HhhpN3ZegsIaWnjdVF6hw/BUeAM
8LX1cx6WSd+V1Cy5UCKsoU6PQhZ7cyicrCzayX3Ja8KLP8+l77V6HotZqzjN82yc0v45b1GVQKRj
NwvQfxwnfS/24W7JYVspxylodLoKlJmSA/057MSqJY7SAVPXZ8ujCf4TAL54crLMRnHVDuhKPJrj
KOiG0IVQ1kOJx6a0wvN6YrXHUhQ+q0x8xPtz51hKbroFAYYjnabWKfDy4AmCMbl4DoLj6CIfLTJt
ujQ7GSr5KoFxDtvsE2Iu+6hPnLaQdXepJcD+TCBvCh1gVtnMj9jh23YW9BXEelD5txWHJ3mRQ7AK
QdaAmJVlQe6Dbe/Ok5WA/xT1z6E2PZRteCepvEOVpqGzguF7YpAOQcVU4CpwwbHOzBSQMAULvZLe
iBUHy5x5eWo4t1PVZfrFl0CWDacZOOOQZGfOs2HoJ1heq93z3Be2MULnJxrcSDWdqkBNiiVuZA9a
emxUKNul7w0YdxmoULd/xMUNikpGgGCIG5QmXQpcgqZAmty0umdQ9B7kdlhPXXLfRdpDI2swelH/
uh3ucvIQDrR8qoUMhjfbLS+mZcCTvNY9G9pXXH6V1cPtv3+5fX/8fYtuubOqxMpA3W3xVvSsDwAK
g60D5pVXFqhsv24HYo/r76ISus4WROhEYHvYZQiFuLKbsUhPbZ5sOmAVDIgsppHpaNGTsGTupAy/
21ZwqhEe91DSNRbrSIzpk9TKI+en0HVytlz//ilwwIYOI4yQIPb286OLSu6zgpgSwO6dnwCMXtYg
vAHSNGlxMA5bQkHPIcBpVvU0GDwBC/ZI+ru8pj0THIUyfQj5GR6ar2Vi6vlykrIeALXyV4tU4aRm
iqupaZU2nJxREaZJ5OZmuekz9XWsxNEpxiFxrCIGkHZSBbshFVyI1cojtQnxfCXkZdsrg4Rp+s+v
xAvJz1+JK848pakwn0xsb6dOIb4/Gc9LPPBmQ7kWCKK+eFlDoXrRBR6jFhfUMpxPIPv5ENXw1SmY
wO8KjEDxwD+V/Im4t1cAczD/PQNnIZlDCz9DaWQxW071AHFm2DoA0JFvF62qbDEU9nUqrZQw5wwo
kzkugjKn16DN0ETDqJ4yRXsPZTzGK02euQIZZU/omgFw/7LgFMkys7//E5SqXyggdFx0v+c8DzMV
rnWn6XX8Ur/au2QFrPfG8AHy9v0BLdzFOYSvldsGuBEctGdlI7vyiqe5x7RhLn4GTXNnaUbIBksT
a/wMcQPWXjCsen/c8fVG2SLo7zhnd2ZmjHO1rHLZoDfXYNq1d82BPqMC8nZnbcI7aHeVNphZnDFm
ezwXQZmmmjGD9gqtg/mUrus1/Tja/QRNIeD5Tl1dtn++jk2h/QSGU1PN86nW4he0nH4lCeR2RGs1
TqqXDeRx1P/Jmj2LyFawxCJLkuDTiIRLY74ANw2+tGn5qr7v0Ee7vS3ZFwZ2JFmL9QjMw3yWR4Rz
RQevw86CB37VrtYlEkEc/MtozKLMQMftB6Gj8za58CfyBRUP7oMnebCrh0omz0+atzpl5jZXKHGi
xipW5+zoweIC5ig4tFc++jAYXUl7qC4feC1IpjS7GFIm1SUga+ZGj5igkwORW/oG2OeNwsuobG12
EYfZecDB9lVeTXTqBrc/wEg1sDz5U3JaOwWMQObULawUFeIBXg8SGU4NCJVdmBxATqNBba7Up8iE
3kLfj9MOuNoPomufdQumRYuMCspcr7uDBYXGMgHTFogbzuEl0w3ws5TAz8BtCxo5KrRq2FbZDCcC
vA10MN8rjMZTzeo4FFnnTqU2fcxZ4opxbNR2GJcnoexHe7QUUCygY2hDPP1YhvAIwIm4VQZAXJUk
rtd5bAGF0cj5vTDjRhANv2vIExyg7svT2PmWWPrx0zFocHHDww0u5Pg3M2Otjn4UXlCKU/Qiw4NW
d/q94VMTa83TH2FCCXtEfRvd8ZpE35v4VlwmXYp6W4O0MxYnpYKsJXoSj72uwnM27T9Ijn5R0zzj
04HPjzwtk7eGAFYHKOgHWYjXA3gRS1hsgPBwK0VzwWh5NLs2GOHXmRdkJ6ZL6y6izm3GXswzM1hM
zabghZfUBIM1wqko/V1406pxdXt6h6ItHg44meli09JopoZayMB9Ho+gP49LCde1FIyAAiWR8rq4
lg9ZtQZwSGi20N5oDNL/r/DATYgXxQITlg7C2SkNxWW0ZwDFPzVfhmWn2u9opW1jV4XEBFROWrfp
A6zcxWudAUyC9b/8aFonnkWHNPlS01YCPnpyyTr3p4/yI9okQK/QdnAo2lZtcw/vi7sA883MIQDK
ebrkcV2cwr3sALayAf3FVjamH290719+IZP/hbQvizrC+NJpBWdpTSPmj1lggpLqhp+yO69Uzjvw
d1Fwsd3O1hJzAMy4/5uETir8mV/hNeKMz+Skv3QOteQERNw1jtqmfRBtwa22JSRUOIuZDuCt+Eya
QbtltlINa7nNUa/kdhfzEB4sLsei6f98uzAZpSFKvwgyQpDPPrelNbgpQe1XQfmhABa4rgAKDJ3E
52Uy3i5lcoJRyhYxE1KceqwXaGXW21n+LwGX7Kd9155nm0LVl0ET07ZA/Q5gvuTOk01TtFw6n2BQ
wDzRryCI8pGdOEv14lL2c0i/j9+zuIC7LsPQIe4IaSJQFRxIgbvliW5F8akBoMvn7n+mu3fxqUz2
SQCxrEtwn3FHALF4A5riXvXpslQ4mYYzb9+lzNm3lW0zz7KIQDkUksJoBc23PuNM3PUYWJVQahWp
1fLPZFYIIfAqKA1OXUNfad8KiH/0I2dvXxaU37P0v1EM5o6eSaHa0Wvld72MPR1IJ1pPzn6/IwfI
mHjGmldPXvZxmJjM2aSCxKxnQ16cBj9awXP2GEM/BfZ0MuCipe6op8jn2uJxRtNglobZJL1l1UjS
0IPZ9IcQol1+eA/ZlcfQhuLmUXmGQBXvznp5G2G+lDmQzMEa08LKaLqmCCtpVZ/CVe/GqzrIg+SD
s+OuH0R/5pI5iDQSzQ111cLyT1blY+x+Fut0VdO8FdwORdfeZUb+E4mO9tn61/GIO+cTVo0Zjc4k
hPY0xc4A72gQDT3VOOajAr4QZ9Nx1ypzDkGhyVBDgu/LewHkfCv6Mjry2jfVMRKrEhI+8aqaxrUo
hjuSTqZb141ii3oIN+FeXiX9/KCHpHNuDwVvYTGHU2nEo0EmLGbcMmylei1QWhnj2+0gOl2etwac
OZ8iXexMWS/K02IU6cqET6E/wPLHafXaL5XhANNFNPxUYQX9OKg0hPmuyNXNLAPaILWeEYNmGFoe
bJccrYoepSg/6hPkhxbpMVPH5yhpVtMCfgco0MaYbdShzr1GQAt+aOR9QmLw+payAsrD2g5qd9cR
Y2VNy5qECwhRM+hrQtftwFa6i4rlRVYKBbVm8wR3zJd0BkdqGprjPEFbobAm0R6GFMo0qfTapFrm
aPi7XaI9FVNSrNKlhk+proP8Eg+tW1oRccYlrTdDjVaBpbWPmhlm7tzhScUMuc+LdK5ujTKTcgVc
tUAfw1zKx8WXcWBNqzAoXfR/nNDXHyUHwjhIiQVXmvV62fy/+8lksnAuaPHc5ghMfbgBbvoERT52
QUyfHCvo71sHWir9VrjnATI5i5fFgmpK3Uh1VNDFq2ysGk6TtIPNvfpcLwX+fB6TfIfFIGNhIA1S
esB4gP0IFZ6Fxo+rDgAuRCY3817eqn9mXpPJvLXWg9A9IEPRlrD4sqxzF6E9gBjt7BiuWw/n2zG2
Mado3zZ3aJRz8sJlT4/5BUw2NkiB9nGJOVVh11iiUQpjHtg1Ju4/K4//jC6TjMuoGuIJjswnSKja
RXIYc04lcr3+/hOAybuKME96WdDVaXzm5SHP729nN9Yw4T91258ATA4NE1C/VXpM1mJmOXKSxMGQ
ShII40gHBmnfcXDjv2aYTFQx5LmggLfTIVnQQu/MUcvotwzb0lKRerctkqDXiLnCOx902HXjnhBy
0iy89UaURau8NoblgUocg+ZNPWSmaUWs5Rh346e+aNDRbaGwEGYbGFYEYmLwGr3X8riCProMwVSg
JVivpgRWHXnWhvmp3BUHFfnF3FFTeOgIbKBp5t4e16sH5nk0Zgk2mVxOUP0sT/FueB090Ys/l1W7
BVjYhd/EbzzVcSuDyy4elv15TGY1xmWT1kRBt0oOlNdsu6ygfQRAzbiDRAhwUVxAzbXFeR6PWZxN
BWd2NEHoRu9e4qcC/frxGWIwjrXXvtrFBorHuz2sV+/D5yGZ5ZrEBgHkD584bprcTlsXkkc9SDPa
Kc6dLmhXo6+ZEIixe1g8Bbnd5qDBYqy55eW1Y+P8hzBVAWAcoibkQo5vbyMg+SFRor6XfvEXBJFG
6LDa1uL19+QZIh2cMbja+jsPzRyVNVEjwYiT8mTuoeygxK70BNZyDjn77/l+gkuH8tJu8N7If6Nh
ccHf+eIsOAvJ1eNmCJMBE0C7IJBJjO8ltwugwJjfxzhaFlzVQZ4GfFzH8QLkBkREPmIOdp0z9iwy
LsfbJuRyteK0ND3ugLC3AChD8SLIKI55XHBOE+55xkw1iLqyGoc4z6LcngBVQJsp98mamhWVd7Gv
g8Q4fbXv8q64Kzd4OXLqgJdO6M69UR2xb95wqEy1CXbrJ0MCHndtVk+LwsuPnAqMBROA6gPpKtyZ
kD2As34B9RsOfg/JDg+56Bosewj7OeMK2iX/qHP5Z01d8Ptg6tvWLYTHcSkdEvBSv81YIPOTeZCu
hHN8cp+A1o1xL7nFCmczKRaTp0dI/CGHJbQ+MgMsZTTWlIPx8V0kAaY7/UIBuOo23BcQuknZGT3/
ZiZXz6ZVlHEW09ypQ+/nCwDvFGrQ77rTBNTObJmdJTDBhXYg2GhuwW3nLOurrYDzX8Bk76gRImsh
2EUtGm4J4AhBEQw4nkIIgsVu4Y5wcOFHvb13QevCuJxdXwmJQYIK8d3wydpkD+JsJytpJXjEhpYO
FOLs8mEK/tkGOv9YZg+L42z1qh4VpyxbywOk5LoXefzr9uHEHVEmMUPNvzbgbZJjHVMSpQZwcuy2
q0/wq2mnQ3jjcQuvNjn+fJbKwjzyWE2kotLzU77udTBb7GpTBA3Iv5LuUzOTf1Lvnsdj2keZVE5K
X2Ondpqynqwapsfh6vYocooKkbmwlBAWi4zZKk6QjoA/99K/N6nIeRjnjhtzRYlAaTSgSZp/34ri
NyqpH7v6U3in+/Fk86qWa9n7fNSYHCPlQ16mPUatbJ7GRXQyqMhGYmjfHrjbOwvlx8+d1UVFE0Iz
ojil5nNElSknt5wrz6pkTiBenSkymSOvE0VWBuzhCht2o+Odv9iXWymgz479XXwUeZ1STukuMkkj
HYkZg9WQo7vWv5O7yBvsTyisvnd3/x8Z6nZmVkUmVcShkVuzhtmCfn0O0Rw7vbf83B2I3QTgokCV
xh0osf8deQq2JobNs265hJj9rONZoLqc6EIJxyB6fR29ZBU/ZYfqoXGgGusavxLEhkDLY7zlZ0ne
zLIPFjkhYTSVqAEoDkDZaSuYJAWJQ90Y6198nwlOxoTf2881K6ZWNdczxpq2TZujgvdKyxFfgS6y
SUDffWTOUrpW5Jxtxe/EcHb8LL2WESKibKdCdD0V++nvZOUrRafM0jh3a94dkH2q6I0oHSMZtTLg
AZ9w1S1t5YNsa2/ylBfxqQS3st9yFw9NXf93YaF+D/nZFyqAJeC+jSEFtNpT/Pp+BLdY21dP87oN
Ipf78MPJ19+DcBYPOkpFTSbE049h0IGQBe83oPNRwWwo89yAOaxH3m6nOl5MJgG1o1BrITUpWIrm
TUjSu6FYOAuFd9P8LhzPvkuacjMuTawU6BzNUHWnpaGrHMKX5Gi6w0baDC94TQe3zAkP/bpFrcQ7
bC9RMj/zwHeeOPsJhk5SqInTxRodtBQqb7jZqaNpF/sGbS0qqfcbTReHhF//bniZOsZQCCBx6Haf
TGg8atKGS2Tl7YwL4E3ZSEZMK375GD+VT+TJ8inmSF3DiA0a+yuo0HHvUJxSX/2e8bPh7DsojFUD
Vk0VA8E1wWh1ZcH5A0ZwSSBC3R9VN4WPCZNTHnnbhLecvi+ZZ8HTNhZl9M5p3YtTJV/DW8XJZQc+
A7TYd/IH+ZFmWuE4u7hz/GW45cg7tjllCIvPm8oegoT531d3itIwfJIBwTZZbvklbbSNBt1WJ4YZ
yX9p1sj2DGSm/rHiyhi1kR7fc+HBl9rRyWunBu6/WrUsPg/qfXJulCjxcy22kxiNh67lDCEn73zj
dc8m0eikWoP9Fyaxho0QBMQN4eH2R/DmiKl0oC6s96KMNTo22zn8ksla4JONeJ/BVDiZUQp5CU8Z
PHlAPVgtPR2OAvD+Dcb73lWcvA6oxjd3A8r07944mlhtLKPrNUiQYwGma4g+toMNg470qV2julpO
5loK8Cjhw68IT+BLIN5PzuLofr7BVMLZwuF75HEGm9XDkmPSRLOFwYZs4j5GY1utlI0RCcHtOeVl
O4WpcmA1O6Ndh+8GgMb4lFBWoZjbpycpCB+LJ4CjPnAu/74dlDPHCi2pz5bqkuuQxTSwG6ySjnNn
U9OufxVCZUJopDVArsbwZfExBlNdj2ZOj4LzESpzTRuaVElqiGFAnTq+R5GxWlSeLNDVWxN6W2CE
wjba0Jm90JEqAQuV5mWQvMA7dkNTfDLMdyn/uD1aVxfbWSDmUBXyqpXUEc/IUz/5VvmKt2snbzgn
9/WL7Z8oLKaEdEKf6LQyarzZ+VaWCSpHvMcZvos3PHTa1Xc2CNr8z+AZzMI2S2xpEwjakwTTDAIL
lR6yFPoAKfrSU5TQh3rDSo0qqFDzMjGrs/f3mXIWmll8oyF0pLcwb41nBtk2/oRSfnkPUTnYx1te
RnvQeByXbXGLginherpeLybO4jNLcynDuhiEkPbvIKxP1tB7a+wlBr5rOiVBsYZ+SoG2KewnVhrP
H5sbnO6bs80dD5NUzxVmGW4q97B+28BDCo5StmRPeH1J1iMMbGzB9CKfO+Wc/WLQZX4Wuq6UpsxN
hBYeoQjtadv8Me7tKtCBp51dKFK4yoTijdcj5oWl//887BBKEAFVipNkZru6hWsZXAdMGHEYicV5
Xbiers+mljmDK2IYi0xB38nL+C5jRUXHwiE2AG2voQ3Be7c7/bNb21lMJg21GbROohTL2Xg0g/SN
3jWkB/1x8iA/91gGgn87GV2/WpzFY7JRPAPMqU/4Rs0GCXNLpddGv1vnG3i7cJL49Uv+n1gswqJN
pAESFPi2+rVcT08SkP1u5MnrBpsU71cOujhvvLdJTrZl0RWkTIQeNltobqeaMw6PqoiHIsLthNEs
c1HRnH0ak4XyVO9aJcIwzhuyBpjOTWAlTc3jMxcq05wXmqvY+7N0ywIrjJT0ug4A/Unfo6PgJwlK
NVu5W3xo80FCrAqUFhpKC9go6il5re7nV1xMAx4AjTe0TPIhUhSnJrq0J2jxp9p7W6wLYbFvr8+r
bZqzcWWyTN9aUPNqEMMo9lbnWv19FUGL8YHwjn/egWkyiWUCScUQZswgQbtEdfogvSMrsPmC6VAG
1tPtz+JkMZPJLCMMd0QiIVg9Q717fNGN3zooWXWec8bvauF0Nn5MOhkgGTEoC952YIoJ74cZrSdB
yB5uf83VSdLAboamrgRUBTNJuUiSebBMNJw7FH/S7E/1BnWgb0ERXRg5Q3e9NXkWjZmoQcqIqrZ4
F6DKLzAaQePDAoy09izNlhwhcTKf9+r6XZiz2xt6fbCWEy0dQmlMfaManRBFnRK+NN7i52/qZgHX
LO8D61MC07VwNMCqu+cIj1cArn+Vkyt89W6zBoPII066wUswxGh4i+jq+XT+q5ikk2VtniZKOaDD
ZwZwrITv+mTnkqfiiJp3kZP+ykxfXPH2/dWtch6XKXkmknR1GiKu0dujF23TO/hrWOAgSB6AZNzv
vNoyOY/HJJoBJg8jhASqk7VYUNsp88dKNWvbFCqAlPtJXCFXfopK9iJO6gjTwk6AkpOUBREciOAX
UcIIDP7cW2tpB1gHwBsMxriSLUbyGAA/Afsapfvsi8pc/ffb4vxnM9siKnPRSCYDDVEzmuw2zu/A
nM5hzIUOnlXiWX2Mua0duhB/LlQ4hVNRR1WGQ7TKbkUYiQAVLxR/v2f1B21LViompn1og45zCl2m
lp+hmH0oL7BDaccUgl+QQCKx5coJV/eNYi5vfQ6TJ8NJIoURZvmpaHNHMf5KszcIQjljC/5C/twW
W3WB/9Xp9rxdIaL8/DImabaCoo6zlOcnKaqepqaE+eUsruaUkvdh8DPCLKOfQKgA3TTMVzpRUb8I
QH9UymvS5Y/yApdqIYk8zs+i25kdDEhVyLpmQEgbMqj4/2elLxnAMVeNIUexH60yL9rUsPUC0VXx
5pWUetL6drxr83sejsl5Qkwiq58QDm6/WgdgvsGT1LwW4f+R9mVLkurYsl+EGSAQ8AoEMeecEZn5
glVWZSHEPIO+/jrZ53RFUHRwd5+XPVl3rZCQltbgy/3ysE5iTzXokyEOsM++dRehBtqmSxbGKzbd
MgMnwpJVWTbBinu9ZXJUgekXg7NnFQ1QDI+6RQW/0S9RkP79nI8H5o+ZiYNSuMhyYE3jczjwdwIB
rJK+yMI8hrRY4OmZybSvTU2cigXUJAhBcSP4Nthku8yRHLJmm3S3VKieeWevLU3uN0D+batosOQf
zXWwHxvjEWhpodT0PQq8lB2MH/vWp5pcdUicUNCMmdE5rkO+agODbVrR/aBS2duC48KbmfKph8Er
erJLE+szAfX1Wic33k87iGeqfnNm2+6kQRcI1JLtZxy4yPkgRQf8YLLNHjgeE5s9kVXoQW6vj1BO
kJe2YbT01zZQ0HWYYAoDAmqyDXIZaDkmGeIzeChlr26UDbgMD1pQbk1L651GCV+4JS1c9VmPZyoy
eExMxDiYgL6+J9KQWHpREqQvwO5tAONzpR/8HrLg72Mzf2SsDwC/hzrqQnj6XfGfLvfS8GTj1YEM
PkQnEN9DkFHqG+qQrv/iMVg2mZwA5qWXwxr659w11PxZ6rgbgNimC90ewvRKRp+Yr++VCGBPObXc
nkFqTqtWEVzLzofWmy5UMIYO71DRWUpm51zL5S+fOC8zDqELH2DL0mpnDivhpi7zLIedJOY0ozw1
ekgYVNgtYUjmnOaFW57WzvUkVZBzwS0HKXRLhbWmQ+rd9vz/4Tj8+6WZ1sNDaGAWtVnGqKm1ruog
G0KtI/dMt4GCFgQjUPyAzk7ernyOU3Hb+AywVBkZmf73mZsWya3AbKA5SgCe+ql4+lsOWj5XQqmA
oaBHt9bxm6dPdZXClkoUDTZ8tRTgfud6f5/KPz9hEliHfQiSPVLF56yQI0z0y6++kq1BRwrqBXWt
kY0OaZi2zp5UGu5LS12bFnvuhYnER38GDZBjQaIZjOkbX+8cjUhbqrITxJVsSKmBl90RWFRCsw0A
q9saGjQyz93EgFAP5uFNkrjEMECgVLzLfbjNLcjS1BzcoUTcd4lytKDHp3X+igSKk/YY94rpueXU
tXru4UzeB3Hl1T0o8iLQ0VYGusJrxUp/RH7jikaGrPKJAlcZQeVUS8BnK6BaGO4KrdtBpGbfyPXO
Tx5E8KBZg5MLyUsVfuwH8xCzXzFEU8zGh8L1uUpL6H1CyxFauJypjh+VoAsjTme+kCayjQTThETf
dJ30SLMHGuYLwdDca3F5SCYP+6DmuHxRP2L4dY/sx6KVhg7RfzHCf30YJy97VmVFVJb52PyvsdWr
sWCFEsGnvoJA9ClxrW23k15u34DZl/dycZM3PojlUGg1boBUmhu1ruxSC+0gRV4NzUGwaKwYpndk
MOWmMabPok/oCKwGli345gVHQybvf6ybnQoFx/gssmYnzGxf8/8ig7hc5+TVMX0Sa0Sr4cpAHdzw
vVmUS/i+uXzo0sTkfQl4XBu6KEYkJt1BKnBbefpuBEQulzeX9mvyINRRS2SqYr8odNwtiPMGxWbh
YMylQxermTbaatw0rU2wGm1db6u1BJx/vaIecrslS3MR7aWlyf3SmKLW0CaMgQEfAQrF2sTBjxzx
2MKevDHc+LA8iT+Dd7u6bdrkthVE9DwV8LsMTWAPstCRm4PGQbjmCwUiuL9DNVVx4P9YZetOuV7c
4IXjok1unh/mqGRl+IZjNbx+qcACNdZRswd1sxRfz4c+UIgCRzyUMxB6XcdclDFSSgEiPeW+dYE/
UX8zZ+zbkDsQksQ2u9fvOORtalsDL223zbxuYxzkfy4chA4adv3PD5m+9nXPwJjmIw2r38D361Xr
4JUg6tMwwLCM9Js7WCMVNlqFqgJ608mdlwiepoLqCJsS9mVQARJOtf4ZcXNtJtXbwn2ZyZjB8juq
BSkEYkVTJGwy1G0iVxn/LhUqB9CvjP2bAYzUAGyiSfnPPeaVuYnHLMOu7i0p5WeoWid2QyFc2ISQ
x1tY1YyjuTIz2UKe8jjMrGRclbkWhwLyNWOG0rmFB/ri9dKQzZK5iQtV+kJRA6jrnsMq8MyYuxyH
cGFJozuZBFxXS5rchVzUlKQpdg6T7K5yGL74s7Ey1t0WYr37ZVc9UzkFHc+fgzGFtzYowRHIInMU
+yFl5+KF7TzmGcCZwL18mBDr3Qfu0vGYy92vrE4rKgmvQ9Anc+TuLQbVxjEtHeSI2nkpgJ3p6l2v
b7wYF6UiSRTEKhVYGv1YuBltffMQ8Mf/s6nJS1FC65rIBUyNqgzaq9hLqxGZTFajlu3CszSTc2ED
Qf+MxAsec9pz1qrSasV4TBodAOzaXzXsrqi/Fg7j/IH/Y2VyjQ2BCFpS0ujs5/Jb0YY5mIWLu1CC
gHYMhgUL1FQQfKE826mauhFyqjkQXO4dnunQpibSwn1fWvTkuiPED+KMFRESPuH4WusNWgXW1cy7
veyZ6TacGU3TDMi5YXp02ilVqWZJTIpxB9uE3AegRra5CF+SsgAKDIReYQMqEq116cDfQgoqAMhm
lxQy9+jy6Kbo3UbvPnPBfxrE/BkbOcLlWsIzUsSvkh/fC1IvMQnP7Qwl4FUH6ySqIdPXuuiMkPZJ
H50LLT8TCj6RTilPYa48394afc49maCoo2NhHbXX8YdcXCfeDTTNg5qd077ZoL7+Wkjag4kcS9PO
pfqQSO0ugrSRdPKzs9TIe6MrnETFJFOnv9D0VzoMqyF4bGn+KMl5Y7e9WGHmZKdaK11/zBoGhrTG
K3uy5UBNV4lsC3IfRokNVokN0+7TvIACLmaHBPSQ7wyxa6BwpBlQZKMCsD0zWiekfcUXW1vipQL4
qjaC1maWuurZW9i0+6CDZhyDDgcoO25vzcxzrkJKzYSc1Nj4m5LBD4Du9uh7s3MDLmefPZpt4VgZ
fmr1+7ahmYRvlLvRES+pGG+aNjZMpVIKs5CBHaCF6uiVAhLuQLTQGwPpcOCLJ1lBBanPfa9Dd9y9
bXzuoIF61TCMUZzvL7muUK2oLyQWnoeav6eG5ZigNlgnPKcLDm5uOy8NTfz2WE8yaBSH6HT5oZvm
YOvoU9STCkjGiqpb7A7/bQ9FRkWj4+eDoOI0Bh2g6NxA0gILY7W1SzKOigsmAW25avdtVThalstu
JqCdm5r+Bjn3oU6JWzOMZPoWpl0j8hbX5Qaqyy+1UW1q1dRsY9QUrrviXvWT+2qwDoGJSaqKed8F
3DzJHZ5Cothir8gu2bGn2WtmSBANUszaCyWmryPDVHZpHRuHUAKlMqTeHtArb9dsqO9pQJUdqUP8
RoCId0PQcIfS9j2T4y+/pN7tDz/TesQGQQwQvIr4y19cAb1RABuq6gwZV3EHEYxN7WbgDOiOPbSV
nXGInzjmPv6BC21r52X5tDG4ug6Mru2Pb9WF56mGHI0g8MSeRSlt4XVRcXsw5bMVQ5+Q7WKjX7jP
M73da4MTV6eEbUI1EGh/Rw7NHbqUa0D/18NBRrV7SXVgJg67tjaez4vlFUlLSc5Ndk5+f6MUT83a
56jzaahqIRSD+Hrihl5lLK1y9txffNbJm9oKMFeklsbOspYfItSe7ZBTx6rZKTDDtUJCT1Ewf6Tk
aESkO8KbY2qUnpDBQ8cguhI09xnvf90+a397uOu9mMTZaTGIGIo3DKUKjAhtxpIWAETL3fultU9i
bQH5mtAsYMf8ID97V10VO6iM9me6hWzBqTlQj0rOsFlijvrbh14tb9q9RNhUm00rs7MfoMBZ7pW2
cQgew9ubuGRlEmLXEAvqMh0fNus/zOJBQRme8gWnsLCB0yrM0A0Cua2ADV/aM6Pb6Rb+XnWroan+
8cMzbhoEcvDqqeMre30/iF/LbRgMDDNVmaHYavNsqgtPzn+4g39sTN6chtZ1EOXdv258vWU/lU9Q
bbvyPeZFIUKN+9dsfMu5/Z3m/dofo5OsQfZ9LgkQlp2HVthaBZroOFlF9UucVnZVgL4CcwG3LY6e
8m9P+sfixJN2dZflIoBFMUiOqDDig5r5bRPzh++PiYnvTHhfgXQNOxlhFXWMl8tEia7/um1lBkZ5
fSjG83nhNEs0QxuEvYhGoZ52IijPfSs22sNb8CCta4jmLuGfFs/IxF/mpZk38nhGjGeuo9c1zkm3
+BsGYGXPQL/BiXfdZqkKufTJJh6RtmQocwULZTHmM4vH8J+TKmEn6SiviWYEGp8TV1g0bVhRhbBz
zcyjlUixbZVL0kVz3kI3KWIHJFZUm15hWWsJKylCuj6Wzn1PH7s63aqReKyqfuH8ze3XpanJTe6z
PK6glWad0BsBafaH3yzMQirjd55eoksLk2vb91ZRJmkWntumq1xkyahkAPznymnQO5pqbtvQDJyA
NA85mhibUKuUnRCQJMxCQ1rLjdXvQWIbgaIQCXxD1Xeprhe889wlvPyJ4yZd3A7ZgKBpIIX+SZLI
k2kwr+rLVYuByYVbOL8VEKWyDHDoGVNqUEP4kGRTeYi6h7+GyshAbTA9yAhe0DE8tqtAc8hKoH5L
IUiVLTntOf9JZXCmE4qePTTDr1ephRQc20VhQm5PRskMxnOvB1w1Pq3Ut5F6JnL5MXY6e+mBnZm3
QMYAVWoFUmYWcoaJK9DSDgUfiImcyrfIHpz4IVkxL9+b3I4+xrVroHNLn/LHDOiBRRbimQ4B3sNR
4kwDVTsFI971umldFsQo+vAMEkrudnkH2UvVZNuEwR7UDstVWlj11pTQqZD1cAfKwuColxUmMYQk
7TqUEWzIHPVOlJUvchYCrypyKNWEubW9fUBmziF+ISopoDVG6USfPAZVxXnbqoF0YkYEkjTLFs3P
iqWrf24FOSlFZop2jUEn+5E2UKAJxGCd+rw5+kLb8ZK8tKq6ADuaaVaoEI3W8NnhxiCdN3EtJm94
Y2WVf6pk8zkdauybFG4jXzkImYOBoUvAAa/HBoYh6V06RE4XKP66Ze0WQlAHwhoPPJdfUOHZGA31
uoIfQTY3YAYUGBtIquROX/W9KzQNVdi87Rd2aaajquIrjIncGEyZ34f6wikMeutrg+WbUIuUHQkX
tSjsdhRRPAUOGNHW/fvtz6LNeIdLg9O55ijM6zIm3DqF6qZUD/nwWAhyKP3fOUAtkpbYLQixlOhN
UBBaNvzEzV8NSPUKREEmqFwNds/AAkShLiOixCmbzNOjDj4GV84K7vqmtlmJWnmdrIzIWsvJi+Q/
dT5IIrTYRmzvZEx226hzRHrolU0TMxsRFfL0dk0o2IU0sBl393RoX2IF/lqyViT9L4aTrjZ9Cpq2
cqvS40o1T5h2HKADAuHTypGyzegl8t/gwjFDWznGj1wDc4a6MLwz8xZefYDJgS1biJdlemidCDxT
WTKHFMHCczt3qiCNrMMNobFrYmzw2hmlJutlHic+TtU3q6XTaHYJJ6zvMk+V7djJFyzOLEoftabQ
uqAqFIQnBq3WiOVMb6xToLxbUMnkGMu/fXDnIj38wQTrskZtx29o0MVN6anGSuRQ5ola+VfbZocg
7R/NYNhktHCtGIO4OpA/VQcZXnIC2/GjQjCCMuYm4xljC/37by85CThQXUT6A65GMmpOXm9xn1SA
kOiZdALadh2aygZi1OtIDe/DhniGX2SuAtitjfDjJTXJE8G7CCyy+iarv9X2RfDqt/CNfWeACY8z
J9EsuwoaYRfZlxbrdpDtdIWtIvM1B+IGHtuuUsjGBLFTpqjeyoWtYGgwNb/aDtMZRVF6RSytNYt5
rKp3mBY5UsU8hCleIj1AkoR5hIq86nLzElN5i4q0N2TqL1IN4UohGkape+hjWxFYMaW8J6jQJu+0
hObF7W848/Jc7dkkbI7SYOhjrVdOddP/ELXV21bQemq09PbMxCBXdianMScYJwmDVjmFffc7CJJD
QcBxrIdiLTrQ83ZdCyZGri2VqGYC6kuzU3q6pisS7nOYLbpgNZAXA82YOriHiMzCXZhBheKSWSai
LGiaQXNx8rgGbSKprFGRGYNL0CxqN+xCr0jFGURxmDYpX4OM71LRr4actTZNZNWhVnEnOvmQVNKm
wMwnCKY+ahKsi7q2gxDMHYx9gNZn1ZXBkQQLt2WmhQOPi1hD1tEVwYmaxByJlIdRyIl5MgTcuRaz
F7wSAFJar1AmQ/tAQ9+7/+X3gBNRTt/qUNv5DbjtBnLoVGPtdyjShuxda4tj7xunsuhBvJVz7tQV
Ek1o194+qDPu7NJHf2cbF74mLlW5zTE4dNLkbpWoD/Gii154hqfEKZ3FCMatsSFq/BUCrAjn5kSQ
NtfUp6j9+j+t5vs0XayGFpVaRJlinhIttY3qMxt+3TagLqxmSp/RKVE5VIRZJ2uwskdmECh58+Gp
U3oU6fGIFoqtxOa+apIN7bv3EMpYdsI6xVW69kzyftNF9BF9S26rLTBzItiLgr0auborgvJHIfzn
0Ajv5NTfdm37i/vmyhzSj9uLmKteXH70aS+tV3pQC5dYROvJH7WbUJu4yqbdVO/aT6jdl+B7WuxR
j4/95BWBTUpNSJwaEP2ceKqG86LJs8A6xYf2MDL+5qvkoDijSri1PBE+/mk3rE0dFFcjv1RNWBv5
FKHAg7ZN/lJVdrcW+2Adn7JD9lI9yKhye3yVH5dBTPP36t/LtSbJYZ5Lhig6xD45WoJhKYEFRY/y
U5IM5oMWVRDFjBpHC/XumIs0dv0SPNxZtw2RDaWx+NBSisdPVc5y6APvKd8BthDeJ0b7XOU9c9EM
Bhsalx986kc25jdAnKyR2K3iECpKtPnMGAR8wbDwYjHrGBd0izYRtSVDfq0g6uf0PZ4EkG14GtiZ
XcNqN+hsEeiLR1utTD+ZYVp2qvTHrsnf+p5/4YxCXb0d0AnVP+Wo2+BjbHKt85qkz92Qyk+RXt6r
OXBLQbqhMeSAFV9KQGejvadmghTYlF8hmRbaeVm6PZBCDmX+CWqpn5wPR5S2iN2Gwm1l7UMpETYT
a0tbC/dDB81EveossIEa+Q9JZJ6pFHhI23vZzDGIFhNM+8m1K0GoikcpZF2QC9qVrv8sIm1dFcSr
g8DYVIwUG1UvXo1EfUlL5Y0l/LPr4lVJisEmTZPacinfhzR6Hvr6B9Iw5Q3S0JmT1/kPwIHpyg8U
ML1RTHCapg9GoEIfHN+CnHhQrpGBnuSqP0cd/bFwVef8zQgNUzVEX1AFnlwb2ZIyIzLC4GxCF1oU
Nq+FV5ngf+u1L8MMqB13mGfr899hnHlRlUHLGS4j4V6GHrSB0prdJGSflfHSUPdclPoNWvufXzbF
78hyZSkszM2TsOwB8ANAqiH8N9KlqpEnnOBX4HTP8XoJ9D+DTVcppj8plU2CDZkCUKSEtk0J9Qaw
TjcgVLQBHGK22KN/MtrWbOjk3Q1bzVN+6w6kpO/LJTDIDDT/+hdMir9mrEJ0LS4DgPVwmrsV8Hpo
kIJ3wXxpHfVNwyiop52thyVY/pxPuVz5JBCnBlNCo+PBOab+iiuJXVvWQrw15zcvTUziVk1O2gqo
9+BM+EePON4CrxIzSsc0v8Q4vKy+o7O/VBmYCZavvujkjNc8aIayh9Fx1GFYVShsowMZffkvxrE4
ZA9sJ4jdL33GBatTJgSDDBD/5XlwlpVjEzwTOE19IQGeCZMvFzaF84iwYoksquBs6fBtOr+TDLIe
eHuIknQh4ZgBtl0dSnN8fy9CnxQ4Aj2wcB39unEaS7a7rHdUMGYymYCAnbuN7PXCWoF8d8n00jIn
MboofassA5xLed2gFJq/NBCXwDR2bSsgX0nvyI8MHaylIZy51P9qd8frcrHiQR4ISkpwjfEh3xJg
MH0wPkDKa6cACLCMmp3zxPC/qoJ6r2bK0yaCnilKF4Uo94bGGyqdzyx5YQ2gs0q2D/R2e9vvzx1O
yBXCEFBgFEIJ12trtKTRJIObp4y8x9mbzA8ailW3bXwXaqdB0oWRKT8RN5QyHPLeOEGS2sG4iM20
6J7zDM1A7TmRU1cOnlHiWKnc8J1KDC6KAE6bp5CiSGxdHdZKVm/MIXQqK/aK4DPWf8YMxcXYSf2H
bHivkBt2zU7VwYzB8cL7mJpyet4AQVc5efacsiVQAZnzX5dLmoRdSazrtE5TVMZp5uh64RKMaFBl
b7InFE6LotoVdbKpIQbQvippfZ9iRiCBnqkePBBApiCYe+wrqDOg0BLFrtRsUvlJse6H9r4q0nVA
KjfqHkRlrfzUdOLhJW7u+vLUdPlR7l513d8xrrpCf9RoblcxWzgVc1CYyyDamlzyVml03ppjRe3Z
uq+9buXvoES0Vb+KdfBVeflJWmMydAeFYRWccUBtbG4fmbk7AJAfjj/E1nV1WvonUj90GHlHtjjQ
bTck4FUaPDT8171IN6LJFqKfvzW3KZyajBwJLTMwxU7vHMgDs2wwcuNUaMYqS4ZXKr/rgezl/NAH
EKwxQY7uS/pvpYrvir7Yk+oZZ3NFDf7RRuZ75PdHqcvsNjGdKnkELtyLQ9BCiexIunDrg4mtsT7i
9uX2Ls374oufPflMcTqA7hBo/xPpqnWjBK9lI22SRsrsnKHu2oHyXPKolh/BJ7rwhWZ98YXpiS9u
DIzGD6IBxAMsqUXfuEbVOxmAgaRfqs3M3bXLjzPxv5pBGiXxc5RmpI+xxFT17xJJbMpAdY5mccXf
26pd8FnzB/DPgRj95oXP95HplAl0Jc4hyRC2B5jxt9wg4LZO+U7TqoULN7ubF9H3xNwQxlDpruIA
EAnqMvmrACydSTkGvk4LR2b8LlNffBnnj7/kYmEZcM4Kj/C6JKduVT58M6eBPEx6DJx6HbqL6fjc
A3NpbxJLBsBT9sBWmacY9Bwr+rtbAzRq2PW+eTd0kIe1T4kJ7nVaLXzA70mWWwudRJioD5g+hkuD
c5I3DYQk0t88Bu0UqV+rOAOyO/kaCmXfQawOZbaPIobamgXhBaOrdwba2ZiH2/RF42Ws3+Zotpgd
XSFkdYK+PDAdfPF9AkLZGnRrRv5pMPKZh8nOqDJQ0vjmLhbS8+0PN7ePlw/O5KrnFhGB2ugo1KmF
F8i6LUNNqcsK57aZ2ZLNpZ3JvUaoIFeFn5kntADXpC3c2odaA+OQV8cYDVKOzmQnLhNQ/N1lSIPR
PlyZrb5qNWXhC85lIZe/ZHLtWzUF0kDFyUE30g5paZudd3uxS3s6uXX14JdaXMfmqc5fGEGHsP6s
5M/bNuY3VFUhKIqtQ9t2sqEshdherWJDs5W6G1bEJRtk+2dUXdZA353T9RKrwGzaCAjZvy1ONq4g
esKzcVnymj4Gm9Sr9/0ndK8eyHoUra9Bq6qiebsw4DkbJl+aneymHA4D7hvMpofqh44wWXLyVXyX
HPpV5kLEb2FjZ2OUS3sTT1bRoJL1CCFYvBVsxcMVsgF6QmM19qSnkSulvGv0FcQbVbsDSB1Dd7aC
QU1Xfbr9hcnoSaae5vKHTFyc2gdE7UeXSnNuB7pkZxF1pOLIRXVP8TKGqWqnFigaTQDWUYxS0TFv
j0NNHGHkttHWdh59lglGDykIctHM7azADobHOrvvqbExhsaBYKRrDFsJHSogixQ9cIP8g9KfaVwc
IqBUIwTRKTrrORJYs+0W3vrFMzzxpRydHSOuxmgXaXP/ErtR4LR7C+9GsR1e+KqC0Pev27s6W365
3NUxKrh4qKokEkk22uTbegsNSqsGa/bPfpds9bt+5NN3xMrfpx8cjbtfITitV7d/wFwEcGF/mrbr
JGWaGB2h0uxaFP/a6lCEv8LysWq19W1TMyNcKgjV/n1jp/k75h1yA/mCeQruyq2OAvlPARmiUad+
aRJ1vBQ3zuo0e6d5UoUlWO5PlThSNAmqzrWst6gfFpz3HLb8akkTt9cxqYpBEIsI/nGc7gVq8Q7H
HoP71TOijIVXa9aRX+zfxOP5AwvkkjI8Wvnvgccose4S9n77Iy3ZmLg3luZ6BhI2+HHDWJUtt4sq
t0OxAL6ZrXZeHoWJVxNKqBYtyFaBMyhDO34B6cNI0iJh/gDNdwAprJ22+f+QHRi/x62DMXFiRigj
WW5x3fR7fw3GO8gIUrCaSOsAjZPlqcylczjxKECV4WXvCT3VGn1oNeaYge6hMr6vWbhwFGfULq9v
19STlIVM6gxbqh3DO+EC0gCE6Tq7U9fSfqQ8kWyyUTwgBnbMQwnkZ+dW2/BBeawOqst25l2x6jbi
B27j4uj9eC5vbPq0e5TEJZM6JYCP8bci/9kHC0504cxOm0OQH+rqhMv0xGSId0LS08gFaIUWXuKl
l39aLQhY1esgj0IcBeIFyZaPIx8yPcgeWeXInNylgtKSc5lOohV518QWAS7xeyoaCOVxll7bDh5I
0l6XahFL8dRULS4TMthHKrgyQKy8DKXjcBPtxuHyBFMUAs9QOSp+L7i0OUDCpQO1Jv7GKGSzCCps
Kg9t9kIQvAB0Sd+LIyhe0P8AP48Hb6Cc/L3+gekssAbUa/+Otavbbm/holoTfxRxXfIDc/TjAoxU
FdweRhiN/pOGS7PuS5dh4oGaJjIzK8SDayXJI4UqRZLQhRj1e8bt7wtHiQUwLbHMKZQ2rDMN00A4
OLWr7lSHOd2x+CLcS1M7xDTbnjO7OQZA2Y6kYKZLFRBC+JALsi22C94Ct/gE/4bv5ZC/WqRznF//
n9+mXgc8edV0XMnx21TdTp7ANepmyFNt6ZRt1RbBK98BPrlIyjXvIv5YnbzTsSqBVDwWFC363u0q
JFr2sd52q6yyswSb4LtgFcJDUDyYpm04YDpt7fAXqn4jI9pir2/2FaKaYhoA/SqY9r3eg14p8RYw
tNNHvleWeMkm3I1GJX2kO4ArWYI4zx7vPwanHjiEIvf/wCx845ep8A3LLYfXoJySft6+SLOf98LS
pGIcQ9K58/1aOnXmW9XtOV3A689+SACBKAYmgdSejndaodL3uVoaJ6H/itKfEc5zsig3NxsU/zEy
pQ/J0IHJJQIjtQ6vpGlbzEC4sdY6kfTZLhb+vkFX0+sK/hAFU6uWTDCUfX0cSsOywP3mI5Pl+YPe
ZW4OyQGIxu9EqRwjbcQm5OxJH9J1JoaV30UbNgxbQPVdKugzC61HPwZc36olz9fTx9CQVwQdsbRI
n6kaOBlGdzDpu5ZIs4J4lher/K7s1spQ7ywfkjwi3OQqcUjab2kE0m0FbIDUfAqUz0bH8Qy6jU/6
FRfRU5PQXRupqzS2jhCEdFr1NM4qK6hcl8OjLEMnuAvcVJAfib90hP/OHjCrrGCTAF1D0whw/etd
0oK29GtUSEHwpTcro2WvACc1tqTyH2rH79Qke6hK+SG0QFGXYOgcicbShMTfmHHDwMSabqDKAdw4
iunXvyEsOiBEiGachkDfpY3kKvVwV2FCe/AlJ/al1xzOrGBjENu6WjPYSpts1LhfaXnnZdIXleQd
BIa9oDM3lGbPXWLZtZpvsDI76H6RJWHwv24Lfq+qYtc0PLLkr2HoJikHvbAC/eRX+E1oQBtB5+jR
Qvz1153/tqJj3mhUGqFT3dOQCpGaAvgnQEMhSf0Ao84/9yqXN2T8BRdZcmYFapH5uJCcCeBT1jUQ
OrctzAj4qOiKYLpB03VrBEdem6i0gKedHKlnTImwY+Jjnu65N/pSrG7/VUC35X//l5f/r8t//tef
cPlfLv/5P/0JgteA6PaDBh7euNCGYgnturjmybbqmIyoi7GWxSoqdqjr3CvlALomvQJFVBD3blm3
a9XHpAdvfECuDHoAOo/YhhIGXtXQ16aUN5LfPUhl9B7E4lGk5X2pSolDGuMItkvfiVnhgQI12oAJ
N9t3ap7tJSrHj0PkryGCKhbwosqc6778jOONuDgpfhgLrcsL/cS0XqyLKkx3SUExZNDrerL7/vfv
f/rXf/zz79//8fsvkpC2cgxQH1qOXblReSPWt8/azK1ExVc3iQWSgr8JUdsa8K1Az/RTB2+cicw2
TGkv13ThSH83nK/eldFjgoAb+Hp8SfB2T/ai9GmWQUzwxPHiG1bJXPRFJFsnGXGLQvrJAX8dP4tT
hPJY5X9oGkO2uazVbtR3jwkJArvOBWY4cu1nx6JfaJr/ImVhgLCcUTfH7H6jAQPu8yZfAaYIdpyM
fkmq9VJqqJdjduWhMTDXAb6qwzCoD36ORnU6lGsQj2xJIn9ZQ57bcZ0cTK3jTp+oP0kLtUpUBx58
U+3sSk5/gYY/wYfIHZNrb7KEMR1OEaO3OQK1pATwsxqq+0Yp7vxaOxhqsfET9Ucg4aeprPIqgaMm
hQjmhH/f6g2mclnbuUC2odQ1ENMxW3aQIeBhl3kKzmtf0230vT6yekld5u9OzfXXmAK8MhPMmkJK
/RPT/Whv5ZA1roqVXgnw/iRo8IkYI2+Yr3FTSvcWCX7qcbovoQAPOrF2WPM+BToN5YtdY7B9baUe
qfSd2dUfWoGfnxJQczEz+0FjHNxBDFAf0XLhKgJ5vkp2eRUeZLCagItlifJg9jgb4HwzMcGBuzfx
nFqTIUYYav+UBp/KSC0EsHCxNKdpjM/7X4f5wsokQwtIkUEED8j1NpBlBwQeiqdoPH4atN501S5/
ynMh7mqRxYemwjGG/Ddf6Y26ieA6HSIhMAHNzRMKMd5AS6+LCG6D2qxrvYb6mpnaPHr1k0BZ1z36
oBB/2pA2yFFypj6QkAqUiEhduIiz0n0eRQ8xEac40O4xIHYHBTQG1Kh6BteOvkr+H2Vfthw3rmX7
Kx31ztOcSXT0OQ+ccs7UZFn2C0NWyeAIggAIkvj6u1KnbrctV1j3viiskDOZyQHYe+01DBqQkkfQ
UPnWtG+teclUaztF3AB/BERDkxlP17S6LPHBdmHQWPTU2qsVDsyKAXMOGXILQ+HNae1Nn+fQ0psw
LuGB0xsFnndDNjME7luDrOU7BZrSYVZDnCqzAq6ufEQ4+M28kcGwnnnrRAksqGFob/t5tbgT7iyR
uwK+QnPdiKffL2y/IujXexx+yw54riQC2ebnFadVq7cMroOVLS1vbVDPhhSJiA8+nA7LhO2tzPso
h/a6hv1yW/xwxHdbGOoRu5nhJfsIZYZ66na6AHkJeaawdtzYLK2PKgfI/KeX25n6ENj68Pu+221W
T1X2PEKZC4OLh2uicVSYLYFglN7EBdtX+f9/6/juDL97DATTnrdQF1yI+yn3v8sU4VzoXC3c4pD9
fYw5/wpCvTvgO7xi9pjshMEl9U/x7RUSqj+1yBNOgAchcvej8dpHl/MdYDqVsp/aGUcLoQPD4p1a
MKCA4g4ZIOh2VnTGw9li335/2/7SHV+/4g+dxbuqnpRtaRYJXF00XeaO7iGk7ZNd3lbq8vsD/U2h
jAOhwITODZEr5N2GvKysV7yGDIWV43khNayeysffH+JvF+P/OYRnv0tUGHVlDcz30SV5mKuhNE38
MDiTefyoF/r7G+OHI707azUEF3054MvUz9e81WET5fH9nP2lQMh//7V+retwjSDX9aADimw0ge9W
Fs8Km0kHdglIy993R/scbkwWbNslUdv10h6d/fzgb/v7j2DRv7s3kN1tg5bth/EvPlkknKXdrwum
ns6DGiDqnOoM3ITclfYHX/HvrtyPR7pugD9UriOM3/xZr/Ejd6psxSZO1IvXfkTpe8stfL9gwhwC
BlnQPIMe8u6ygVevGzfS+nNQh58jT99xhVporW07s4yAjE92TSpcWWJGW88AirolsfoVSKEd0T0N
lZWFEvvnOvw5hsOhlQtARdoc2tF6dvr1UsO2OZclWPS06V9C5Xxue8GTSQ/xxnW6Ies9odNmgfnW
LOV5LEMw3Zv1GEf6VjgAgMNy/lrqHv5cZXcDjcNt6Ovb0dEbU1JECDRXEsujHAzihY1/G/AZBZAr
EsqbO2lHezqh9ufzQUbjF9bB+MvquANGfeXmEy3tNHJndCVAChKuzamb5N4fgy/aD55s7s2Zqil4
i5Y5xEH/OAqUMiLw/ayS1M7GwX9cu4/Q2r+57qC/ujbuaXTp4GK9u+5L7wM1ADd18slOVls4XiTE
WrPfP0C/Kq2u0MUPh3l3e0nkpU4UFviPZUShmMLa02FVnf5s3CZZtMxCZuDoJ74Opk+GeuvJNtcC
vtwKvu2GbihMzmjPYL8H82SGTR1iDtfSucHaLE0Bzdup7Pq0r0pYXH3kIff3uMsPH/7d0z/rIJ5M
jbHdEurHplyKQXlbTpzUgZdgHwwPMYIaa2gAVxFkCNpAyUtyoUTqLnPCJp5Reeu2t7bReQ3RORR0
pwjTfO+qy7mWy3z44HT/OuB8O924NaC1hBux/24jw1MUerNXY+bl1bdC64I0Jw1bTdao6z6W1/Gn
yUW14Jskgrm2X7PcjiF3sGEB3X5k7/RLU/wOoHn3YTCIZWG02t6jX/GdjsVl9YB76+i2XOK0dJ5/
f6v9DVIXw80wfrte8It4P34Yh9XSIREWKDLXIWuTWaksxl15sLIPNRy/bqk/H+vdbY1g1roax5A8
9vUIV0HTYoSM3DC7vrUI3Fp0AGLozRyHJ7OC2+rZRRUbiJb7LHAAVsG0aRN39s4Zqp3T+23OKlrY
LgzixnJODLTpCRl4BvEutlFgo9cGNorKvRY3MFDN4LCXIoUlta0vTsX3WI7Uahc+uJRxxDMOY9Oh
VIUox0/KOwOqXRZ16Keu+P35/vXq/nwK3j0c0wIV2TUh7DGc64OHAHg+f6+aEkqlT6P4MJz2uhz9
vH+g2gbAD6PrAM4T78WOpRtWg91z9xEr+pIEsv7UwUB5LO0krOUF9iaf505u2FTd2CzMbYACv/+2
v7q1vCH/PtLR/ADWle9ZJPBnbZ2eILiufkSOyo270fAvHO/skzzRT/HRT7y9C/4AZP0wPP5LLvWf
L8t/0dfh5t9fVP7rv/H7y8BXUdNKvfv1Xxf+yu6VeH1Vp2f+39eX/s9//dfPv+KVf71z9qyef/ol
Z6pW6+30Kta7Vzl16u2Y+AzX//n/+sf/eH17l4eVv/7zj5dhYur6brQe2B9//Wn35z//cCIUNf/5
4/v/9cfzc4/XnV9V9Sq6Z/an/OVVr89S/fOP6B/I5iLwKrAD4FYxsfF+8+v1L94/YNYTBNd95Wp9
/mYJwwahqn/+EXj/CK5/wQvhdQAzWzyZcpje/mT/Ay47VzwXlryxB8zgj//76X66Av97Rf6DTf3N
UDMl8cY/3/+RbRNUMxilAUC54mnvYS4nNnJZW0FQY3hL4dgshmbYvrOmtslH0p2YM5EtW/0YxiOG
JeHQqHwIDXKRbASo0v5V98DAqJbxUcYouMZ6hJ7S1hvKJNnQbgJfgvIyXyMrTmGY0LRSXzqOAXWj
xW4WI9lIXwWZFN2NM7o7xylPrQbayaplTDBDiYurQNlyHGtjNdchgKxvMFFaTnBBLpBkPoJMW697
1ETqCAElSUIwRExXoqSmdZsZ5YqHELErFhbVpAHisF+aBRl4dVBtB4rBD7dRUQXw4+mwwf1wL/x1
tn88u+8K77ezC6QSmDjgHUwQ3tu+2P4aj14s4mSl/AbmqlbOhgBTo2F07jikr0iVSepxzBUMilJf
NU9uMCGfWqoSFcYgtrLxnonTndxhfkRy4Ec+OG8uuf+7Hv31+bDXhFiOsNXa1w3ih7J59cehF/Ma
JzP5HIyi2lcBvZTIIz9MC91DrYrEJVJb26BRfgK0G0q4lvsbE9L7KeZHEl9dv6gu91Ejh0PwZIH7
xn3qHrsYlS+d7GNLxqe1pl2mouv1riey4RwkBS6RFtSGl7c7oNfmaEbDiknBkca4/Itd2bsl4lO+
qrHfm+mG0rqgvDPbZa6QaxuN60ELZ6u8dgUq5+qz23gQDfe6oDrs7oOwctIKsTo8WNUtCgU7sXn9
3dfKOg8BrHKqxjuV8Aa79LMtElSNEKzprVO6bVaZCBcsak0RzAqilusNwnqj09/fHO9AubeTH8J/
yEWSLGJNIMH4+eQzGtk6ascSXqPItQjKewz2u11IHeiV+uWgHSgqPRmSrWMbeJtApkHH9aFvokew
d30YrvQ8l03fpxoV6SaAWDp1+iXaeQ37TCITZmCaO8VqdtVglvMckwYQaQzrD4ZuMffknLTCEuCp
tTq3LcfDQFT9SSPHbIbJOOkQz05i1TVc8CM4SqsyreyK3dhBvAvrVexIzYazgmvTriyhPVun1iRI
bJOb2u/bDGIrjYd6HE4C46cNEdNrtdTNaXD9+gSrgS/+NIYba1AvlDC54aWhJ3b9Acpuk/iw9Np0
zJvxagdeZobuyOTCOkk6mJ30vZN3XfSpCg3ZhgQRTOiYELDgUPA/GTDw318oXJCftu3rlQrj8Cr8
wTQAq3hw7XN/eExmz9edA6fjRELLXtDKB8Q5NEWgmpsJqR2JIN6Nj66Q0OFsr0ANvRmNACRzJ0wX
onztMXibpJCFPa9r4atvLhk3fAj5uVwWmXBXi3wwAozghlc5RSjGAZcZbg4S42vTyX7HsTqlglhi
pz3XKVpnGDeS2NZTZ4+HqwMboEnQ36Og5Lu4BoJZt2Q6lK31EPuS4R9yH87IzIRnDfAu0olt7agc
05kl9Qxri8We3bxtF8iFh4fadreoYbxdVeaS0/VggjlnfYt5zoqVeWpyeB+xTT+0ZwjCn1oCAnNs
T2JrArVVfvzd4tOccOo4O6deYPbch3UBIcDLaos4Q2Ql1K0WrB1KEGTseIjQrJ5lz5uMY1TiXecM
CBKFbVID0R6BUXo5uPGxsdcDsj/hnhDAWp7ESHWTgcjpsHQZ0ZOTO4GCtwkkpXmNCQbytLplK6WK
M24hAFa6EMrp6Sou7NRyY9oTbvKlCATdxpb274zy7obB+0Yr66Gt8BcaWp8j9JwFjgBv+7Xvtq2E
n41v+2NOELqx0/YImeLSfqlhwnEIeFgQiSq4tWoQ6QYnhMEVjslcIfdB6X5p3bLEsGh5HYWEz4GF
hk9D1BI0yJu4fkwyWjHEuF8QMT9vVhW/2rzV20lEm4mX494dDdhHGkbP2nlyIuokQFJASKyy2QvG
RAWzfVorEe29KUiNNeXdMt+H0rpUXr2ddMzuaUiLboOk2emLqGsgvcxKUH6ik+u7w8wnigWDcNiY
h6mtoKxURCG/zlfIerSth0EF3maYw67odOhltNb2ecX6lQIX2M2Rsx+dYM39sYUvQFfVWRQjBnWo
yz+7CS4bgHo38ThsW+UdYTA7phCfPWHCd/bh93qdkWp7QJSN3qHoce+nYJwg5IxgoBizZwxNb+Ku
E4l0YZ+4WiKtQmDxrNy6yDO7cP3gTJUqZFXCPk2/+KVbFwoibabDzbKAB8/1rlNOmCuYvI2oqbkX
T8kEcDaLTXsoyVBt1xIDPIIhEfWdfLJWe8f5yA71935w0PUR8ggr5sLv4na7sO4FaMPndi1zimkB
RoJ7tj43NZr6ksQPlhTnzgPm8/tV6G07+HGvBowGrz241aEtBg4avgMneUjrBcUDTauxqw+BiFMN
wc+eRzAjmiQhO6bIw2TG/qDawQanZMYjEpGTxaJ2N3FAfu5IT2NZOxCn2bcd4/IAIm1PKn1cVQ2d
rNmgPtKHdpqaxCm5WywQLh46j34NiFzODWqvDDWkc/KaPkpdiuTdkPrBXnU62POR7mrRu3dRnxMF
T53h6uJjzKQAhaDKU8u4JVi1MWc7wq/uFekQ0we93LvuBtAmKhkIogMnDCNYq773omTINkcQhq6Q
v4EVl+B6e/DdS0BKUMBiqEoDgV1patxli7nojPSKLZgvpgB7oSkw42uW6Ztyg2dTg/lrxWVa+4GV
wabjAy3+uyb/3x/UhylTgD0cpI/3ddfiWQOqDLdK7VsQM0YEVDLrwXGxw3TAi9KJNfMRtmKJtJjM
5n4e8uEj9eI7K7XrZ0BVCp9IFMtYzEF0+XlTs52QutY0w/1QjDu1tPrAS38zkFUeeieoztFwW7bt
J6YF2xz+XT2MWGCygNP2wmABh6fbCvKwDIKD5fohQgkZ8CPhIwT8esGRkWG2jkcvrKQyoT2Qw7Yd
yGZgmO7xqrL27Prj7V+44+UGk92T3Qf2fr3+0Gq293wxaCkw1s5s7Y0YMy4XWLNYe7dqYFoYyQuk
s1PiwosL8FvW+gT1A48uHU7gHt11biFFNkFqIoZ+VF/CcckCb6rujeLptFrx5vePKIZ1P+OROKkO
qn2U+2Hg2giYujaPP1YKYo5ihpACnAwTfuuVRlat6AuDmWUSDewOoUawekQ3ojyrUJNWWRf2IkM4
+We4Pi64byM7HfsTTMSNCTEJ7lE+WAsQ+pYjEWupbhckTC+NfrzGE6QRr55HBEIkJn4ogxTMEvLJ
rwKQMPsVdOcurlIV3ZmYsLRdZw0mQAeHkKzq4AQZWzzaiXa+tAayvHAKnkPhoujSNE5U7b7wyJnS
ESnHwLqa/Tpj4OJ1VICAj/Ek4tMTFZL9YNVdHmK8rr2Eti3A7dGkBEPXtJbtVtk+oNEe+8qkm8Jq
qkefhpelr/dIlHmC0X/K3S53raEY/eaZt8w/RBMr4rKWSRkuUUIt8VLpydv4LUYwlnAQnhmLJHSv
WTQEU39cAQissX0MBOu2J917TEE2V34ZbWcw+OE6msQwEkk09/S+tzYisq1DTOR3GU4axJx6wmeW
x56MAYx6EFouoHxNy27G5QmCOpO+hFUlBkObya6elpmghWAJ4wuyZGGFlLiQWGZ40LosBP41CFjA
uB6AXSIxOC31lAvG0gq2nX3P+/PQl0kVls62DYzIp/ZJmfjPzpEvmHqBDz9G/n5Q82EpH0N40gIw
0y6yTG4QgIL4mDXciI5oaLgNbAKGL/iQUYrcd+tCXmQApyMW2DcRyq2qpfDkJrh8JZJL83DE/h9F
7T48QdjTpHDhDPIocKFWim6tMOiyqvZuOzIBEO4asvcqC37UMrypH63V+zrRDmISfzlV3vJ1RtAK
9lJ1xi5yh8vwDbtSl/qE5Kb0m5tIGDgAd6zPwbdISwoDqEWPThqWvpuQfuC3ftx9G+AoVvAF59H0
5QxzJvJcRjA08IMNDUmC6kjumMEFGfyen8iqTp1l08TtQb8Rq32oe8dsdU8vZgp2kewk2mcQFxZg
hPBhehg6X3yeBLJxSp4aeDAk8RrTh7GRu6FjU173yKSxLdElrWuatOvjkzUhT6USMshRlMXEIEd7
uuubLixagE8pWXrkEB/HailPPcT9FjyggldNIopypSa5r+OvCvhDYvioErhGGq9fd90SoSvqlIQO
7xFh4XisEKak1OLlmHFWKcPjkSLGI8pw8x48YhITrIDhLLhJjqh2ysnHm82Od2CzFpkb3nBjx3d+
GV61mW4+Mws809g9G7RymVv/6Y1ld2CSjTl1kVKNAlE0MEBa0ftWa6gzRruNR2OZxXpcCruejwGD
1MWxgOk7zo3bhDAHJNBogHg52sU0RzrldXSZ58FJOr95YJjxJIxVICUBPGnxFKZI9QsSDkOsBiPm
trHKvC+7fO75d7CNGgCJxsWtqPht2EV51wZ8N8oRucgw4+Qokbo+eoKNAxRMNjnI2L3GJKEvHd29
GS3E1yEPMfMRR2tmeV81qIQ7frBmwwuPzN8Yj4ds8rFMCvNNmxiqEtSvydR2t1X/tVqXzQQrmFSY
3ksbGiXu0oF3xfwhxVKcNFQ+j11HNxy9dk/nJ8dax2MseLuvpiFDyh0GzF6QtDMaPP/KrAo6NeZi
tlnSSg9xcMM4JP3Il4Pb1ypzmMtSOEQthdXOfkbFcF5dZBN3ixWmMxrEyp0ePTC7ensuzNqVp0kF
p3KlCrW30yRA+iCj6tsKS18tM1ioRUj1AjQhGrb1z0uBjQsBPE3augivttyx2a4C9LdwwiMvddH2
kqRo6GtUX/HFijRSmdGwFyReOezSKLle1RQ45S2WJMQ3L+YZc/YDNgq8bKjQRggGox50GMg5acsk
6EWdg/SEh4aavSZhutRoq5hFZGYPrUktTAFRjCm0ReQQ2/wUkOnrAg18OktyD5pZn1xZ+g6ihJCQ
Io4P6MrWM3aqSFYXjT0I8RUucnNBskvqhd4aNeMcQzKfRTBPJYt1Cg0Pita1jwFQIYrzlzuDAKzR
xOhBYmu/yOChr5sXkC2xzAerVwhq5XFUX63JYm8XL0OuJI0xVKMYnXK72tem/R7OkTmB9tUmVA/9
Zt7PZKR3oOUg5GS00Bn0sCFogCqYXoukV72zmWSP/G4x7GLdbzw1Hai0n7DZZwFkr6nlLPfOGN5r
jDMy20D5YVt0EwTTAgRkHvMyrtARVApdPL9vXe2jb8C+2oS037bh8GgjPKHkqM+dz4EpWdKN6LSF
flZ6DxNdzIIKZHs3aT0O0C4J5wytEXJ/rP5qPbetZ+Cgk8VpXioNmRq3XyzmkqKfwgfHg98Smuf4
bMFwu2RDNnTBlIkWoNnM1iY19fjF6bH4ktm99RbyCfYLDJsV1sNdVa3HiOO5gWHbnMwUoo5ZDAbX
ym0yuYma6FAyGO4I30Q7o7t9VFmX0IokWgEjMeUJ4+0YyHSNo/WgXAivI4vfRtXyp1PjMGCD76oF
MXmE+SZtqjWfZGVSVvGvPajSaejJmxnxc5spdr8IQCm07c4gQa5puAKfa+kKOymQHTNPxCcNk5yt
GuDhs9rlE3lZdPyKBQBeOnqFNd1317jxdiIAehXBXDNuSWFAGYA7HAOsZcgB2VQvUYdNuKuL5eqb
M6+z2CxaiLzzeidVIvxW6qUG5bGPMwWyAwboHts2Yrh2wO1zX08vuhzVCdEPiTbihoRDl9sjwzbe
sx0gXe8YoWRIRbABOPA6lNrOrRAGQFalkPcaeLjnaoqbYEWc1DwcSF8DvXTiea/hyZo4QlyqIThE
CnwDlEtosh3rNhbrcVz8XFv6rRczqVc2j7H9uEydd7IF1jpPIHs8RAh9Y+BlMQCRPoTNNU92Oa51
W8DYWGFevcCca5A+Tos93y+A97Bl1JhMDxA5jligmQJkGlNZDJFt4AoZ7cH050dYm9Z4BliX6tjD
KDiyZ1jLMr0d11VuQ73Cuny9H0Uprt3YzqA4L5CDKrEl6yit3OXkyP7UAAS4hSni58lqyIXJNJ7k
jTH9N6eSW9dImdcSppXa6Q/AHG8mb4xh3cThPaH2sTP7KQlh1wEJ52O1FqhMCYXzrhxh4TwjLE32
FSgI4PknLAiL2hHIOKKYLcSRQsEKWVMau2s29B00yIo+eoCHkFkWGtDChu8Y8Iu9722wriMoIDII
v7YSHhoQRHl8GaMKPTbIqUmPsA3cjsC5uvhCZs8cphFPjlNZ2SAhH2gEvanmme91HW6bbg0yF6yM
1IrJYyCqrQOG7RHLTXtYRomnEr8h8LI8LlbVJ4g1R321DPog/QUpcBZ308IuRZwPS49zCsEADZb5
DlvJNycUTjJQQ1Dk83o7cA8edlx8XeaoOQyTNjvwRta9h9EIind+bKTEObGovQ8QMwi3kzKDhtp5
IB4Mi6GAgOFAnLU2JWkZNhRIVASB7JLzCPEdcUCeKtUFp3YslqAnu2btCmUtXzVowg8hpbftcksj
796RyCpDlHLRWIiIr0YZ3PhRW3goN1rYlaTa6pFjruIgwbDqS9iuu8j3eFHXEqFfjv9gt+xP21QG
i1/37IWV2tLrSAVQSN1gSxlonU6Rt9xNbKkLDZv3WwZjuaBGRTbPJdtg2IDGZhmt1A6Cq3ANL3Dv
HTReNcIYdgs7jzxeUwczkh1p+ZJXEc01I006BQD7aqmbXWkj771xZ3kZFqCc2EdffSiBYiuEFhAV
lOoWeerpWoA6+9kmjbuv7fiW05DdxNEE6lPH928fIViDRwUG+M4HTIWZTJx1PPedubq0DLfM4tVI
Vl/9rSLAwSd/wJB8eoQpISYhQ32YV79YHOe7RYZPhAU6cRgG5iFsC49BK1ua9G73rY+q9tjKXiR1
CcZugHBjqObkCfsyzZvAQ2SvWsKLVQFEXuvrZEfe+Tx0z1Cf3YEwBNVNZfT2329IzEKTRUYTRkLA
CFjUF9M0ki1gNnEIte1uRm+8VbErdkMoHlqj7aSnY3SgDOtmhLO+eZsbrNOJd113bnifyQpBELRb
+Qb+6d5ubYbPZWdDvWdPL2DTPwfd6yjXr6wEkZiQdtuKku5LRuyjsrDwUuztq0MvEjfacbXhpDEM
sY0ZjRUe3n60bjdiJ6jHYsUY8RQo61PHwyirWPcwVquF9DZmnXp014nT2G0xxmw9V90VipTAUiGS
o2lAHXZXTfxzufbs4CyYbeJrW5vOWr8Fw8z2MmicG7Dfc+xHSJLnIxpFEk43pZKAY8vS2ZTwwjlP
Nrwg5mqFK26DtSZCqbUBXonpmGe3W9m18P1d1A5l3PjgKjBRHefiE7TcdoerK5j3aeEc8qcV0LM/
qLyu0Lo5Vu8cKpjEddQKkrjHxMwN71hbPbQBuMqsxiYlAuD9KwZgE9Ic5hVYr7HkBivld9usR+U6
Uza5arnMESpQ2DRKF7u8DFFbmhoM6HY4qjacHgTVmQllfbBGPh0kMCs6iDpz6qrelo0vDoKGV2Y2
93JGrXYz9r7zOJToPo03LPu2AVuqreV0djvxSLy5u+nkKB8XszXgQH6+fgnmWsuNdkAy1iJ6MNrU
O1gB3o3X+UAXcIivAoNtOQpWgA6xexSVOo4a4EmDPicxgDyTvqmmXFIsWtTuX23vca6i5UhTXII1
AyhK8jeM3ZUK44FhJnBrc3g2V/jVKHgDG3Vu/GZI27oCjK9gC+5ZEfg3K0P/Ap4bbGwNuqSy20Ta
RJlxkH7Z+jPAhYADL0Y4dczjrJ5C8LbdTMzTHZ6zGeNyJOjCp4UThJmh+Z+Zc5JABLPWjHjwvRO8
yJf9YHDDcDs8imHeo9ljJ7SzvPaxrBK3zbliy8MqwUMIbXL0OxlB8xDjAfLaNuGMzLspGk9RYJEb
5iOLm8SBLBpUKIqs9qkBRQc7YjwVIN1MJ6TAop+eNMpcpVAlzhbSckmza8oOwzmgpog07S9IOOou
JRYvgFVlgT7IRxgogCHt67mQwyphqttXnk7pVJ9pY77PVdVBBDPF2VxW3yu3Cre6dM9OR7CE09JJ
aQQr0ICNaNKEXjIN3t4R2Wg0w5OxMzX3PnlKHb11HIvR4P2HjthPBP1BEzgT+q96uCMRODOR5wJG
c52+sKpo6/t1ueGip/drg8WvCxAy7Pvrs2IOekCKuzq0+7NXAQtqVcUeAUJPWdnETwKjqh2vxmnn
wF1w0zUjGIq+L7a2aQquzPK5ExICnjlEyuXK+y3jXXtDNHhvs16KmQ7rV8njU92uy4On0YsEk5+P
YxPDCcyVR+m6HFvR3oeg68EePbRtq/3FXn3IQ0W7txkmcJrb6LzpfAvOxCMmWE4+4/RiMY++WfW8
B0G03pQcuF4fofjgQtUbotUXSss55R6ecG73eJdoxF5IZlloLPKpqKDKhtr1U+Q3amfbOEREMY2z
XaFyzKOO5aCHg7E/cTgD0GBGVtfgfO4pXLPxBUjleAAFKfiAQbSrG3hsIuOLgLYF7imIsQX40XzX
w2ZyifohNy0mhwLzByQ+kBwE3+q6HwuybNhShamqxr2tpv3bHa9I2WFwAwMiBu9rIN4amU0M9rMj
ooLA8wBkasV94kSYsIo+apB/DJyrXqekXBnaOz0HuQIEoAJdb2bwQYrZHnihBu4DNB/1WXXjZR7j
+TD640vsJLJqyc412AXtSIjt20O4wDQ7wTWpNpbBx1pMAQZGmKxt9DRfv0doM3tn9rYRdzLE71ja
9I0TDd+mlXyiHEPPGTqa6zscK6ezAMBewc9x3tqIY7YYBlXoGI1dxkd4lNtwpwSA5NnJMg0vyGqB
9TgIdwcwhud2rjfDFbeJmyDzoSrirUGlD85WipWmS4JJ3brDjOV7xWmzAhbjkVE0HzA+C7XBvJzE
x7hr2zzw6HSmqoR31HXcuMQY01LhboB+DQcISuCZzJa1KPtlz1wY7PVc8q0vgcoCou42fX89Y+V8
cD3QCUot8F/LeMyA+fhFbNGtA6AIwOOkAOh/Z0Pl7wIGu+fSrcTRj3B1OHtCGKBzkaS61QMCm9ZQ
7qxBmB1dLFhQTMBKxmXVSR+cLIdHJ8dzvgCJK7G1g9ABfZzdwhUSuVzz3MIVn08IUx+7FOavCGaM
nljoiQsSrEdkEn1ibo10l6E8hyueIDXInAF0OsxbD/RppK6gU1qv89N5/mpdb3RhsXPdM2S1/h/m
zmw3bi1L0y9UTGzOmzd9EfMshUKyJN8Qtmxz2Jxn8unrYzhRdY6yO428a+AgYOPYVihEbq71jyah
7KXrPQamMawGE8I1sr3hidlSbTLdH08pDRy0R2N2MyA5MmPYk5dMQNfQwZMn3U6UnbXJHdQmlXXV
THWC7a920myjbTvo7dqW47S1BKQlCZdh5T3FgjcQmdNSOLl+UKUiKaLqsBkZUXyQbXRuesvYkgv4
A4jB3ftNcxgr9mC0ukAyCRk0Pg+JzAJcMLUzwFPOvWoTXxxqX8uZ0x6s7EsUYhbXy4rhafDVpi0S
ar2V7a+mOsMfOXOijfAObV95XF4h2D3mikWYjj/aHCFWSjOgsoxpxQKPHdzn8PCTBj1Q4X1YTTsd
zeLcyMLYF5320WQOKoLmZcwD58kR/gsSpfLixUJbDKJBPxxbLEcVwhmjtDchS9ZyTGJAFzvOrk2J
tCyWqHUqDlzNdzYdliq0KOFLHZG2U3dII9pRf7PUtPVkqQj0MuWxyAeDYpzyhXHDCUZAYaCYtT28
06KTnzu+Tq1sMD9BWo+Qj2nBjNX3lckZSCWAqSl1vr8EQqQrsEXybTry7fLYOaIQeKsh4s7VHsht
bkF40L2J4nUD3VA/+m9kLLdLR8oa2M3+mIAvFnmPzaxFHx1B2S1GxAg7T9NKOCrmQ7QODDPSYMk0
vlptf6AAdjproXmLfMfYjRHncMR36vbbjH11WiL4rNek6hMVwjvuXa4VbgykN0Y+bsTgnnlC3hTn
BNdMK/d6b44XW5TfrDoeV1OrS7AK/Zj6Q7+M83rnC9ZRuzCaRTOG6dHv3GFrN8bFDRy+whRZGIqb
eJ1NIqWyqVjafjW9+cq4Vr57LrK0mn20zaPrVz+tqg7fK4HAgjpwb4cy6MMOzJE9N/5uiHwfo5dY
h1PjXRQyicSUwFTlu9JosxjmsE7lWexkS09Ps0MhvWOknGrl9Za/GByEImXs1Zs+DeUKpLt+M03O
dsvUXlN7eh4TRXC+PYwnna7bbcZXQ0WnP9/6IihW/lDvTQK+MUFo5NlN80AcdYcK9PScNuyTbbLD
RCiXVefU28H/5Vdx+jIZ048kjyzQbmAKKeFYA7mhZyJYUKa401XHdYmwFAkNak2TqOiwO2RZ2R26
dhz4mXqUSHg/Rk8i9GASWjXFEJ8Di/SBXi+fy6lhQiQ2ZlPZ/auep+4mtYZ9MsU0okZpvdI0/zYi
RTybOqB6PlT2zbK1fhOiSsRNzHGlnNsURm9NYAabQGbJIuJzXx35yLIV+0i7oSlq8uVejaHaScUz
sBrqXWWK4TCE9UuV+fSh53I6TuatcpgXHFm123IsMDgSq8AJx71mQNrOdNm6jPCKFIgnH8tGjuya
w2trGw9JN34J6mGtS0bfsPnSGhGmUBt40B3Wbq+eokhDAG4l2XICjlvIHY1jlFB44bjs+m9ZwahQ
6jxHnB5ZZkPtI0jWquvp7W4iL11aA7GuYG5fm0iHZatZ2iwTOMYdqMSU5QfA31LPSBcrmGZc9zj6
9veMi2M5v5mY4c5L6LOzzJR3WcgF8T231PRvVeOsFJCVOZAXLltzOJdt9pom7sMwWcMWeSmxRKFX
7IwWv7ARkVZa5uJltKLqZpjtpUVzSLKYMutzm7fYVp2iQiDqqp2vqWBtcToirUI4Fbflr6Tskk0a
DhrS9HaPfvzEDudfgqrRFjoQft8H6qA300eR9lw5DQBjHQaXLgLuCYX+WAUYpHuAwsI5CuV+ayL7
LQv3Za/kNhxQXjRlN55LR1xU1UJcGO60r8ePwIFtiNP8xepYqMqsu3p9EOwT2V0QNhOx6stNlJnI
iMJwORXjqjHm9aTDlocz22bk6xHlVIN7Syv/zaGGj7flwav30YfWBDcXcGhB6hFJoNHEmD095sKC
nG2JNcTyzowFbDTUcbK0Bc9lEGSaVOs8XzH3SuI3OBdzP3Ov4LfLSpqPWsmzgGnSZcLg3pokwZMB
Rls4WmYQlt7RAInhG/Ql6I0mn2u5KGmDifLgGKJ6+y9+kfdsMQQAp9k7IsFHi7rMBUnb8TLXt709
7DtuXa++1Gl0rp+20uzROo2PWTYcwiD0F8lhOCUaecwGK/XUjd8Mpb9G2JAowloVkpKb1NiL6ZcV
1lulxc/mpJ7LQPTL/xIWCGmZOqzWgQuRB2ZcFM7NM/NDn8TPMUShkdiX1p/+WZ3wH0nkn/OU//4u
hv+7qP7/nKOPKq/zX82//VPbn/msUq8//6G/qe7/P5HZz1Vc/2+Z/b75lox/E9jPf/63wF6X/yA7
hV42+tCFsKTEwvFbYO/8Y/YOobAxbVOnIlZH3vxPgb3l/kMQGi+oLaLq2SY76H8E9qb9D3xHHppP
4XgcLv+ZwP5eKfY32RZfHUkSa6cQtuFan2Q2uZ3ydEB+v5hy01so+300ch/6gsNBBBNm9yw9Va75
bFGcnc0lP2mdLBLH2bqt9Sq5Go22v8GxUKJHrH5Ja+FfPsj/m0Z99i/95Q2CMHqzPxNDo2cQQWN9
0oDHfWB4IuLZLp2ObgQs8js3k8UuFnpy4BcG44gGmqCNct359SHM4w8Q//YWlbDceQT6izg5WKX+
CEpAHuoy4B/Z50X969+/009RTy5vEEOEgVidY4OfnfPJiZUQhQFnWkKUe0Pxngfu+wTJc85RcGzD
qm33cVBdx0KbVnkjndfJF/axHlNY016Shhfkxk4PRbSeWpaYtMyudpLsrH5K1pz649eKsCaANL8e
jCsCn/qpMYvnoDDto97KjokD+cQWTOV7ybIXJq2/h8o2nK0fRtnK1Or2QdZvwnKc56GMm40r1Nmd
6Ra/dbRNaQYwm2kF++SimiLvd0DTlOSHenB/aY1sH5Hesatm0skphJ36m0YwyKJMpk1Dpcm1oXD3
T+6Ev9u/7p8nbYb0enDnYA7+/JOfNKPQm75iySy0h76NYdUUTw4v14aNkuiPIx9Qv/T3DRv4Kars
5zHM4l2s6wmlOM54dWX79u9/xp9yIuf3ROGWmItG0O/Nt87fBVSlqpj6shGwrbSGx77ShlM2TTSX
gdD1jQC6HVaE5ThPnSp+TaVylxVTy9c0F695q4s/iC4/hfzMbwdXsaTXWgiHLujPGn0McmiX0rhe
DI0o1m4Tkm7kxP2GqS9dQAm8N4M1PZpNKkhJQfe0KKyUjPwhs/aDX4LKyk4/mirWD6my97kt3mXf
e29AjfUCl8sHhKZzbEi/J9w0TVbpFAPuGirct52Vr9lpXVaxGlmHqaI/qSU5F/9+43sSDxHfI5Xl
HECftWpZWRmqHASt3GXxxZKVsSp04JYuDL6TZ7kczKHbZWk7vkj/m9VrigAilyHSxNSa4qFY/fuf
/CeNPZ80DDuklkGsq8Fx9OkY8sY5b6cG6yOyJkMm1dGcwz36OCqRPlp6/OgNgbX/91/z8+FMCpnL
I2D2ZXEHeP9SBDh2Uxxz2BAilGcvmq04TOgFXmadxa3YjC0ht77V7MMo8hcdaNWtnSpAU8OMNlHy
ZieUnCa6515LKtoMPYTR1ifoc+jhP5zSn1IpeUzx2XJDYHOmsNo1P8eEZSPhcwSH5IvRNl8DFekL
yjhNguS69zoDjMfeArpf9gCpVq5WQ+BB5cz2lbht3zURw6zXVn9sJ+NV+qDctNWpiaZb7qg6NQ9t
0WFdSKsn2bWMT3l9qBpPPQzF8MUbRH2x0wBkpdHz1xFvxh/uMsf6/MMH8hE2KWsWnl/xr4bfqDci
SgEb8owqQDuN7tG+MatHxFPasYlwk5aj+0w2UXZjYQ9OVGIHK5EVP8WYGtf5/w1FlN8CiIRjDsOy
CswIkVZYEDteNeWjIKmvpY2WXdr5SXZMfLqj+KHuT5u06g5kHMlri6R6XsbfEIRnOyITvlKgXT93
0t1OajhCUA0vKNazTXyqBuwHqTvCgoHooUdkn/Q9YR/gnLNb6psXf0wo+vONHIqv57lpE+IVivL9
/uRSTjCsUnXWiIA45UHAt2cpfd+1mfkMSMYWYb4kPUu/MMNzniIzvJ9xbOksFBNERA0ysSvqvjtI
p+fJVOSkjxrYk8t5s6xH+Sy1zNskwqFeuPTMVyGoM6O6b1GUefPEqTk9xDhFBh1YosiJTeIkyC/A
ePnFNcYTQb2ceF0nECrV7jqIh2oX2wAxdQ9MF2RtsxwrSBTBF98blonUKHrAn+PM6fPBuTCePL0x
z63gQIwKBX1VYXMtTN/aS8cJ160Dd9p1UbWWkcg33XzxDfOLPfXQF6p+bkhZYN91xGkMUqfe6JZW
HJpKw5iiIQGZGhDLYjTeNMf00V+F2hHxvkBH6icLw668h/tLOQ3eWvMZaIYyC1exB/JXZOInQ9kh
s38EKviaG01+TT0hgYNQKWBf6DERGZDSkIJfjKp9qNtA7CVbI/+wYZ5DH7euKEj5aqyfOark91YC
R4BEBKdcMECxHh3vTrVw/hVcyVIRE3Zt4ve699JnaLZ2/fuAsXX6QbzIreCr3XJn57W96G1jFQF3
vAW0iS+crJqujQVFW+sltSFFZhzYpM292xn9xm1GGhTG5EcF0Xhlw/KKLNn284WeoJ18wC60830T
ELzs3i2LqcUk5nIRiLo8EghSEFY/fi9y0/mRIhpMlHa+3wjSlsFTHezoO1LHWiTTduASbnQILnEf
hCwXVaAWYIgwtN7e5Z3+Egc28NoQZBQUyHRtx3jFUa5O/AiRWSnoDJX79lEhQ1hI0Ld1jVKvKUW0
dQDMTiDlzSazMrU3KlntPOnTGuVYnGrzDHf/qyUZWlc0+eRwB7DnZew6hOEVXyK40lNbIO3IicMA
BJzegrCaDpVG/N4AWbaORBSgJyT30iTNkT/mvhditI8OQ2rQK4BfXsbQnLmM2DkFKAbqxrJv968N
Iuac8BcSxDcTMFpSg+FBdC9ac5w2vhp+6tIq3hX1lxCebrOsZVa98ExpEBvUzvr+tzK9so+xmTtI
zZqfkSH7lR9o+TrqYyRZuYa0JG/83X1iwEUKRDi51q3DQ5bqPaCy7ajz5A4j0SJoHy2IoaWeRpwo
em0sO2ybjdmmzwo+Fe3OQ2Ah9jNVZx/v30HQtjevBprKZH9OtS4iv1e4jy3N0ChO/ZA8nUgt4lwf
CJ1rP+LJxXfQVezEPFbOaLmObWZXp8lAydxaylsGQSL3vjXW60JXknTUq+kW0BlZ+j3IbevVK8b3
Moj2Vl2Nj8RBq9OkFd2qCxEVQRKsyxyqQ4bTxfNFcpnyTGxiv4lXUSTip6Bh9qRXZlej89yZ6eAf
sSG1O39W+Tn7IkLePznpAb5dHJOYtqeu65eD7mbgTNgD1OhGMEMQ8sMgNyR2gs8IH3B1sOEAA71/
v/8KUVD/xR67Nz3aJ2LWAzYyu1gjCRy/H48yq51dE9Q6YpAs2jiIc55dOg2XpqleChF1T9x91BMB
WpdGY2/NCGdi7FK8Q55AvkMgi20x7/xjNb+4ej6uqkgUS9920k2HFX1hgL4Jc/ge2WBUQaFZN/TF
aIkJMuG2sY8Rhirgd5Mw1vsDXmHInVLtwGqUbccMDk1LWhq84sE7m1GYLAiTibZ6U2wNVfR7Ealf
ZToVhyAeKT+MdJqcc5/OuKB5Ulr3BfO5sQ/i3kAqn3K+yCF4IsyFfLXWrMg5Ud/9mqO8mSVAdpFt
OhPmL2xhUv2iCm86nLcYhgM6AbQ+Ayoi+wCpaqNbI1wutMzxa6Q9DG1/8fP2scKiS75gHW5dSwyL
zpyGYw4LZ913nlDT69N94/KcmXokXFtRLvpYJ9Zaj/X6YsBBrQLMSLuukTu8pOpdpdqlxxtrxWb2
INgZtoVmAo531TXkiUoTiossMhkhzO3jKHR/XUxesfJ8DOVe0dtHvx/g+3TgRy/1xk184IZoHyM7
Gx8nBqeNFPkulpm3JYM6WpWENh4KBEmbRvoHyGzzqWBPWiWB3q3Rr/TIFJNl2xQ7dAeExHYKPQ4v
ePMGlN6+tcjDJETdl5IQ6hXhCRxaLd0YXE6CJCcCOaytQGZTu+rPhywO61Mxv9gCi51E1r/Re1k/
4VImLarZRfEm1cikrP3OfEnjQu4AQulLbJjsvFLfKisl5rH1gheVLiegwkucjQsuQ++hj3Hg897c
TU0+5Y3eXGppu11HtB6pHt73nuFpKeePqB4cE3vFpE5h6alTpWCMzZB62yBVTzPfHVkivNm9hpK/
9PI9pEq7RFHQbAqZnnu7aME7pv5Zln5B3GSSbAgv11bRaFbERjrxXgljP9gjvytldaoC+yPMqvTS
6BoS+ta61T1Qe9GP1XXSgpcyc6lq9FKd1CW3X6tUV7vUQcvsZ61Vb0YX6VtSDkx5NlCtqfKjMf+z
jmtTaYTaYduT84Fsh79RpH7JtxchE+SUJcrdb48qlvkrN/TGoaLuyY/Es0ffykPlk4AEBTOfNnFw
TSPiIKPYfJEkra2T4mkYHHWdhHtrgzBd3bcBqDQbe1zAsN4X/WM/p1QyxUyrtsA7i9Bn+pLqxjaO
2BQfdL+bfnSSaSp3D8w2DLzBiLoiK7IVBHB1NbPgaZwBj85KeAzMWYZT6VwkBpgHf+qe9bCL1mEc
BjtiBetHw3wIcuqNgJkujlPzvLPHdF34BDVOnU/mzzicdAhfsh5gY1qCNp6m2te4/6CkY2t6k3H5
Q7rUExqVx9XU5U287ZzKYgelOLbEblEpbl29c4yXCdXbukmjl2Fo39APP8k+y57r+WmExgsYZiFr
b3yqRBgco0j2+GUwattox/Z0Vf+pDexTHxBLEu4/Q1ikZkjXdpx76tpffNqeA35hIsTnuIsg8aWx
TambemLLC1cJwkSzppcx1OShLHHydpKYJgbG+uH+EuBQaGwruNZt9f3+gYcR2Z9l4dh7AzFwnEx/
ADvmxLq/Im+642JHEi5v2+DU/oxnGX0pEl/2Bqtcgm9mdq8ZU+Tv6tStz1hnMcc63UVJtN3odof/
LP2RTwuRuQP6Z3sm7wQr4N+hFolz1DNcwrNV0chlX0ThJvKCbhnpLXi3ENXOwojCaiyDYxwBtLst
SjlYpmJjeLl36ogK2LWSWj4QGGpQyC67ILXIL34c/cla9ykAdn6zjjtjMVjwXWyen99s4KdkN8Q5
kkb06stOId6ejTYDqlhcs91xCtVTafjmKmqC7mVQHnI3w3ydp5yTyhB8uh08xH2I5Miktb636oWR
qmHvkWGwlZotl1bdj4e+6H70UZ3eUqSxe63zo01YC/u9cj0ekhR4h/WkbWToWX+C42YD798uB89j
+cW3h+8CO6b8hBT3GsEkqZJkdM8T5TTwpFyOGsCS9DCAtnnWoO7makViX64tjBhQMX78h/qLGRP/
l3eBg3EOt5OWq7szavSXe4gaYZYJy52QMOj6AkV2h92HVvOoi+W1kigGFveHQzx5xkID2SYYqioP
9lAjEHfKH9OIQKYjjuZP5srPcBVWWbBTYCrL9ICr7sjhX97Y5I2GlnGKLiqQMrgb/ZQbbXYJ+rpk
JI1uuY4vW4ea1zJyX7DNWPu2UchOXCs4C9f8U9omIP6nj4rcHiJSUe1b5OYIDDl//6iCMM+c2tc5
1WLYqzzf/sYYvKUxNuReDT4iLr2tcbbV4h0VxQdGwe5Wt2m7z7wk24wKI18AACeK+NAYSXLQwrrF
uGy3u2nQkLMk2RUrsH72yg5fnd3igSd4DnTO+4KW9aBa/BiBVk+Pjp//jGpHHcpB3moSBh6aNEgf
7hC487ULhvwSY+1dqPuEYGvWjvpQm7Vddy5xqOLd/c64L1qy01Dh2NweUxB+/w0u/Z6JI6lHWyjg
6uo23juf7VPSAMvmut+zax5l1vCtRJH1rBzv4Y40VFOTXA35Jta/0e1pNo8VWqE/B70Y10nTM6jO
K96g29+rWSRk2o35EmXqMS+meu/Pml9fdtDh5UbotXUx5pfcYKv+5y7ahSaKJIQhLpvGuhgaAOxq
IBG7qt161UYOZmPHHT6s7FfNVvaz7yhIERn+bxOLxTEPVPPQSY4T6iVg7FvUBrGdvvKhW+xfkRLN
0/1bEZq366RvHMhs87a6zU6BFNdeRaZdHGXjFU9m5/9K/LrZkFGd7zMNS0XvifJJJAKYv7MdHjZu
uEks3d+go3gvWYt+Nqa+hAaeIyZSC52JkSPh6tNz5VVPTlKO36wxZnEhN+fVpzlxGVTp8Nx7FU78
IWuuY7oyB3ZiE/h+bQbV+BbQ6Y7VTVcbMTlokeZraBzIZQzmmVyX2TP26h+BOZW7UAnQIu5vg8Gf
iaHF7DIPQa2LszR3e+SYXnO2ank0SaI/usFTm6LUxYIynIxQNHA8XnVqmtZaccuRJKLnmH8ZAJRy
02eIoN+XjauJzV3IPOPgp9KhgVs4A8q30Puq8oiJTP/wCmIW2sYSp2GW2GDZ6w9VNFhQE447S+XJ
CCEcRjhjv7eq+JLZdXWNAHsqDyOJOdrWqnRzLpXQxFzY6NwkANpLq6w+KEkyXrpsCi7/87smtVBT
xEhgNM/zHusR+zKyTveLRHBeSqya0Ujq+/2LCM0g1r3PEVP641XVhBrguCKHynTn5KngaA/m031z
71l6DxQCMnICE6+KqUUjIBJrg277m2dM2SrSY23rm92wVkQf78NyIlartacHereC1e/DdcpltCYS
7BXRbXYcZbjvei04pUw+hIr2CTcg8jvuT32Z2BOlqig/Xu2ivwzKqh59kgyWfWz8SOH9biGu3l3R
WMGavWFLjal9Szufp5en/yhj+5nF30K+y4vIo1cHF8nJTrkS9VE8+VpX7zu9hbXSq2AdaUV0mlRy
7uZLoOpxUBGKzwCgO+GzNJv66GbNWKDfNOojcqdl7qvpQIauOE2W+/7PKwGG/zIRirDMQyaJKMJP
aBAxcU//oSOhMgv7lHt9uxeaODexTB956qRwAL251GOyxPAiBtsYT9CyFUnzFAY1JhpHBCuKC65k
j+fn+8s9eChgXYYqTCD5nTS6OdkyTZ3uNoyxy4KK216fhxUtBcE168LeZm3wK23d4QyFSBCZxEoU
I1yeN3NyQqLN/bHsNBwT/SC3Dp6rDe5vms7nKzOdxHNMmtbud5KRvCifkqD5mel3+7hCUGMhc/ki
Df9QTBZe2RkOm3of/1ClB/sJnO7QuX2yQZSJPcrBMDiMzKpEn1c2CTL39XjOv0FjXSNkBAxTITn1
VmaWj2GTOgQMGb9jlGopta3HT3tRmuZ0MkW6nfL4OGfLXspQXoUdWwfHQu5feU28K8YSfxgEpFDW
xLHlEx5rVmcpomrZNGm5HSDXVt7ojFumGSyhlrpYNcY9M7C/2YiaXuLGTy/j5H6bXNL1K4FkBIzd
pVHcdFE8ac7GEDQujmPpHxN/oo2sIq+HsA2TSPgi34dEV+0a7CaY1SKBSi8oTqGy61WTteMuSQZ7
VQls0VodjShdZPyU5S5ryH0YuU/qM5oTJab2GDfmtIVeKt4LlzNtqlpn4Q1DdpRhsFX2wJ1QNmON
3D6Y+QHzJnTz4DPnbok6yA4WbmsijrCeWGA1GAh3Wjzg08vDYqF16htOH7ke6gwbSKG+2L1PsbFC
G5a5Mc6HwElQpGnGEcj94T4khdR17SKjNHY1vVnoLKeT1VskZPKMJc6skFeznQthy/7DZFu/5gFJ
JZXDok1x0ayN8cXVAALcdElanrwE+c19w6T/gbZTyM9klMmHNuL0sPMB1+x9bTfDduXNT06vaN8M
pycl1S6qVROb3Wsn3oJyuJDYjby9S79LrqKfyfA8dt1zlg7NNy2eLm32I8NsvsS+WK21+yFhlhDg
BK3W7804MozodfZYuYR2ZI5a2ijRT8k04JI3TO/Nac2ncReXg/9kEFKG8Ccypt1YOg/3d9XyfR+J
WcAenGBAJOThxHCbH2Oj4FvuxYdLzs6hNnss4SxueW2AxrRde+wiERzdrliyrrvr2qmQ/Td2uuQZ
ML1ncfAchEhhs/RqjWa3hXPoMPP7cuXK0F2T7tbaUfQ9HVFrc69cRx7EPCaKutwk83PMSLpmm5Z9
u4i7d1/Z0asw6/0oICKzXtePmhW4u56NaqlsPcRxYnUHPbcCPqX+28RRCLCqh1uDGIZkOcHK1CN+
lVKvr3dCx0LklWBlL+sOLXGfY8E1kXksm4pMFN0rIYR661fSqXNjEN1OqF62SQufAAtjmJYEd+Qn
h7CaS+3E6T4yRNDuuR3Sw30lqEIL/IBJeIOGwFkRgIUHeT7dApEvx7CF3GRYRY81hA9jQoZt1lhH
fsLbvp9yNFFBeOq5MRd1YISYukf11Pre65Co7n1ErLXE4hs+Gy6qPjMfXmwBPmaVXnjLkShfS3Lc
tF+BLlCXZ7NBmJD2lVWY7WESeb/TG5pS7pBJnHxxHUKnutEt3pOC8OM007NDU0vy6NI0B2Ubw8fM
J53Ew2mMy8X19+RLhruMFvbEoM53psbSfECg1iZ4w+fDhEaPZ6P1GoC65FUbrOTQ2j1xFVFwrlwt
fzbs+qB1ffmeAkDf+TfdJCzGmRxyjHWspAT/9XsM1hwuyg3MLWHc2cYS6n1iaMCNQlRZUxGBF89T
TYFYMBdt+YdOV4vosH/dJtgkLFgyli9iWon8/OviZVgErFl6g3sYg1K8tA1rmLdUBixVW3vtjnF1
FX06mj6OR0e3kSaP5p6TbDyeaddsv2uA4l8mYs2QEvfZskpT69KHgzj17ptAm70ckf1/awQdX7gK
B306DV1FfTtBCphEHGcTjGlzlKmI9kDjclFJp1ndf5sY3T//BzuyziTefGnLKWAB0dO9E/rGiTg/
IlO81HpwU0bRqDEUrENaotdOnovBlbu+DLPnvvTiHX05GuFNC3N+PujzC7AupdGElKw9B4aKnae8
jLnXPRL6kS+QDRc3Jw2/Rm7707fVLPVgQrUSjIcEbSEi7RHzak1+/t+XKCXEF89Nue1miIt4jZ7A
HU9r9h46jmxvtaP74fU6zTkj3njVoDdnPV/W5Ja9lNgIXJWM26DLqBacCTUbq+5OjJNaqCnSh4U+
HE2cPPs7apPxHUUB5/fk4Zv0nVouC7fVn3PqC5G6j496mJs8QLgIvR5vctWBomVO+i1VtX+5v2hm
WJ8jjKTEUc7x4mBX//vxwGJ9kyV9SvcTwC7DU8l4vk8xFarOG7/aMnb26SxEQCK/NMmQt5uifvZC
NTySGKF92BUhl67h59e8swmsyGJvobVFwPFnpbs7lAcrBdI/nFNyH45FY/4ci3Z6HMP4Q/U8olrL
SB5cbwh/00Lg4ReYvnnxHr7kKbnJAcbJO0YwDcK5hHF7zVNJ5aiH35O7rDr5uHAObjXsbPPUJZb2
te5ca+0inl1ZCOkXmOefCRXwvmR29GYPstiLHHIYShMc1etStmx/WDoxNnFkrOewd7luUk8tBNDW
XkujaYeqHI7qzn/+CDwn+43upapFTR+OYlXrcbkMwWTP9cyl5+0YbAhktm5eXJBnXXnqQqjP9s6U
sVGvHAvfvN+OsPihMF4yOzeI20f2C5XwnTxqokIMHMGT4Oj0MnIzLa1ex12rrqDvE9baLb788bVA
ie3FebnWy44YtbxEjp3aHx1H5ML2/jkbj55ofy9UYW+ZKzSLgqdT4kYPd9dxlGAy40A8z85j/O79
q3CifZar/W8uWfVTfyuk8zZFA2KuUP+VIA4/OUGFnkKQMiDonFlkeJJIYvP6o8K1vKvmX0Fyabup
jvwluC66eJHKYzeGdMGQS3rxKoIT9FIR0zTVR0GeAqksDfJ1wy2Wgxo5NPPKvo7RYL7aTfWSNNHI
4023t5TC3pTma69i8N9cpd28MJ2+VrZ5HCIVvdDEqB+iiA26UgJDAItpbrHqTkwZDz7lVY8aLnmv
rl4mpFM/SfZZdtno8ISH0dCaSP7UiZkyCp9wXCd6JEfTe9bwGLi0P05VPa37Jmg3PalThwLIDtI2
Dp/aWEjCbDNrNU7eHhEoODWKvbVmE5lkVKO38ExPPzheQlShtPplL32di25sViYA4sr0vWijVPff
RJ3XctzIlkW/CBFwCfNaAMqy6EVSfMkgRQlIeO++fhaqY2ZeGKK6b1+JBWQes/faDpP/wtt3KbFy
6AUZ2eUNWUHDaCEgOt5UGMWI00ArcVDZdufAdXKdg7AJ03K3Wzxv93n5nRci4nNYPoC3IP1zprc0
29Sh7YSAn5LycfCUE93G6Vg8jSO8JOzP9fayZcujv4r5kbFEf/B98PAKhNbc9hhzyu5uLcVzm+UD
Pt4B47KuAWGHxYMJ9HbZ4sDFJLLRWTvesevtV8o0r1ggjf8qCmtuzPvKOsXcH8GaxX7UgzF9HFY3
fsxn5PKVWbDw2r5Vlt2y6yzHk5FVA7qIhSHx1L/a23Oia0RcxIUtsVF6Iz2unxwpWpvHpWZAkOlw
Rlq3f60s8b00+GMcryP8qOujRmhNpPdAGvuybk8tbMaxwn6p64wiJPtm3FtH5jjpvRoGVJtt9lE5
fXxlpQ9sVKAsr7vCeOunyLJV/W4SpWdmgxe1qfTuk0K54czi9VWyD6/r9Nftcr998WAH4F+/8odI
rqPbja8J6Q+QcAtWRqb/TkOTn5ZbAQetsQ9ki/LBjtVhGZD3ZdMcDQ1b9dlI4Dq7SjKDUsadYKwW
uvak4/o1rGYnNU5DE9hO60NnU4KIjlmbu6chX6uAi7zc39Q4cfVidlp9pVQNJitZnsslTs+Jlu3w
bHjnnMptt9jJzCAjjp+N5b2Vpo32AWOt6SHKAdpwh4BqiUrdyyNvzkAuqFniIFnzh41OYXSjdabj
sEPhVLzqXg2ybRUsB7tcBjV4k2dXM9yoipssrFj8YRpdtPsxJnQNiynkljox75mb9Xc2nkRCXlnv
ev36Rf2+a0e/+906Drez4/2DXplFsdDrC1YOIlLSyvkh10Nw7blDpBPu9YrITd9BAYTc/MElXAIH
s5NzV2bphy3MvZ0yltdbebkNmOb4JgVeZKDrHjwmOykem2kcgpQGVJsH90k6RfPbZOwRxc1zgzMp
TPTU453oBVGsZXDb+wzFgimXXLwglUW0aIb3K6tzbFIZTG6n6L47Y0XvYToAqSxGRbtp0+Pamf4P
O2Vz7ufp7ItsuudW6h88RCeNHztXDdpTWvKj6VVXkQRtQJoW+Kn1mbMl0OfNrZgLFc14gncdwuX9
f/15ztqOproL7ck3Q1CB/nkxk5fx9gZP1DMwrknR4d5tD1WRrdfbr1DY8Aq2vbgkSX9x6Nje54LY
iAEgitvJdM/+xL/CJ5H9Ca4dxnLXsoBwsDU34/G6bV/uYXUxUYrN+8XPPsyt0KYoW09umbxbpXyq
U9PpuCJaYnDt9EltxbCr9dBvfPFrnEi2aXyRPt++dDLeWXAnH2/f9Y1jc+Z3H42eADsz2iSalrSn
MWdRFCyTwMp7+75Mq/WhMwf8MZiVJ7975zKQOIb03mdFjECevvkBvZL2cPtV00gtBH84sVhtk4Nc
aRxsYYkXaJXZjnjY9dJugrglXwFqTdpHNZZEhvdKk7vVzparM9e8DirQt7+tGZfVc+wn/931vEcs
GeY+Jl8Salg9eTzf/7sqvN3IDvwRo+KGYsF5Kw8aiaxpnpdnA2Lzo7nkiIqqx8mS1l02mPLJldJ9
NJqXoXTVMZ59RHTb6dIaLKtgYhVnrHDrUY/TPuh5SM6mxEh6+wmWk1McjNpZEGxGi1HJv31OV5Ly
Ns+Ltjy71ZrdG1q8/08s18O8IxAxfQFyiOQBIkdo48A5GrjAMOC4+j5ulXhy/V48zYBJdu7s23RA
hn/KxnoDbNOZVTI5zKppjisClXtIfHuyjfxo0ps8tAcNW2UPiMJf0w9WRN1TP7siEA4Vqe6W4sUa
qjOWJE6xdazpzZdPKL7t3e1LUlqXtIepkK1Wwjwpdg4dEcrw9JqnyQYvxCDSvo7vhlHVb1jRwqYv
pwdy7g/OBu+ctoZQLNiAhnX1HxrbB8Tja5goPDYvHUbom5ZHbNdsxuiVMq+HHQ/f8HL7YtbYdi1z
OcP+Wc7DfF91cUM9tNbI7WUPgPA2VxpMRibqF1rW/iw8Pd05dcMxgKvNjlr+2Y5G/952teX439h6
m3SOvdvfJf/+n5biNJqH9EF8DyhPL60hbCJMPIDfhf40Gvkx1p5NtfgHZfisiiZxuX3pUvNLTF7N
aWkWy7lqckae1Jm3BxCbNsTTRUtPieNxklQ8TMi7k8johH1MB+7QWhPNc+Ep8+hikI0sAClqM+ZD
y1rub7/yan2vqJuYhkFCuh0Gty+Gw2COvUkV4lP8Sr2kucJxn+7Hbvjt92v+0nBZUd70z27G8dK4
2UPeOnu3zuR5idXPfzrLbKbJl1t1gt6liLK5AHHdV+xPO3cB6AYZfNc6w64tzTSaR3+KIH2Pr+zu
k8sAkoT1zBdGA/tjK62CARNAYLGpCqeU+Y/ppelhaSUneDl/WL0OR8Op1wdXK6ZDYhWEV+n8Q4V3
kEBHGjMAuzS8az2+Sw17PR5J83z7FskTHLeWoXLNJBJHy/zMR3lJt70x9kaYRSb53FaD1D0e7eHS
5P17meTL65jI+TglVg0WqrDeMGrc9Xo+7dO8pP7AAYm0ddcSRITANPnrTCnJ1r776eNIZeNmpRcf
q/7tHr2QszmTmYGeZLtW+RaNxO3bbABvYTVMFS3qXVsN7m+/xUFeuMq4n3P8f+s0fsveURGxePA+
sFU+1m0B8G+wN9sg33oWzmNb1NdGR/i1DDTDBvXw65jGPFUjHNE+K9ETWkkSFZtwxkzVhfHuei+2
4U7d2OUhY4s1pkMHS3Sxn+e8sJ9ZwH9oy0w+0fZb3RpD/UW7uVMDuWO3Pzwu2OaSlyA8b99WnmjQ
ZWvR4sOqtZWgDbZ79EmrhhJ7RcGU6HMUFz5T27agN0MnVpkCgycL8Vd88c4Tl2tw+04VuPQYgPvE
gQ6u3R8Sf+XNYJr0EJfqj48yATkFD2hXy+E8reAxl/XidqbzkxZO5PTqr2aU47ND6E9QNJ28kIBx
XqwqeWn09Nj567GYl79EoqRMX7YpnTJAGvqUHZyLvXEwdc6F28Edr1w/JYcN3DNu9tuVqRoh7ihq
yv8WmUSKiLs5RaOzHdeDWj6avKmjCvT0kZHe8jHb02ERdXuPmfMV+CH8YhrwgHZd+104c0+swjI+
VO3S0sjjuMX4He8rFkJHEpuKKF+4MXrdVB9xPD/ki5YdjWnqAwo6/87AnBSAT+q+HDHeNUW5/Bq6
odyJxGOzY7bBrZBh0Nc+UXmXD8XIz7UjyLf2SLe/nbUYGehaBQS5oQ8Lt2BY8X9fLJYaQW18iaHX
uMAZ6fH+HlZDL361+TDd4fVtg1ko7clx+Y8aqQ1ODq1xTDnGzbZXwHB+40qdw8RxJ0AhnfNKht8u
d42o5dFKdi6IX+w19T8raV/11OlezKx7dIYEGeVYJ0+qAeBdF42FV01Zj42an1s2zIRirNl/b0C+
vQZdPDRXmwUOJIpD31jjdXUc6xG+h/2IajNBn+0CGUmKk80d+1HBifDX5vTfXarwv2US1MAw0Qrt
ukU2gWl1f+C9xqjKEqz0lcFwQjOS+UTGntqUck7fZHdz4kFoqxpIVE5u3AHajE+NJT9m2uRdq8r8
Uaip2k+yf+i3/byj8mved6jRawf+hrdRTOv+4GpNexGNRnu5CYTyZSSLl0MZADbzzD515KU0ELRQ
Qlmn23LARbQRWrBtd2tZw1Lz1z0eMGDSYvb/XvtusUNvbJu9k7runa4/uJOZPmvkChaDMb5Se+vP
SVsd49gzr7eDeXGlBkovL44WAj/8S/rdrVitu9I9ysl7Yvg4sfJRxRUgTw14d2HzSmoP9jL/kUcR
yHKxZJf/JhU6OUFP03b6zNxHp2rZykjxgsOzPbYT8+clLS5x4d4B8mmutO7yyYTF9WhNwGfRpTG1
0FRw28lbUJeOsu6fQAvjaFFT+5Wn6lQN7LzVkIKascdfS1YPTxYO7kEbUEs70GCZBtqPeTYfi6HJ
rikc/UfL7PZiJCcFMe9HOQBF0WCPPzU3TzPeeykkQEPSkFgn8fujw+CBBdLp9m/dfitdgIdkMTt3
ri2yfYyZ7nc27Ofef4ihbrx0NhPrOG/uW/bqB5TJsGk34f6tflIO/gsjBdRdgxEwW7hfJCwB1Vks
Lfivad/G77dljL0MNondWwXd+RxT7lqHa7Ho764pfq8pREphZO29iAcow2tbXQv0i9GK2Dy6TVuH
FK+BZPrNaxYY/uDsJVaibjP5zU3DDrjkiRv1dGER2IiAAe0YTmMWFjlV6U0ynxDocEyn9FN2Vnta
FkcB+7Hkqdk4lDJn8CL6nDrRUX8WW0ufJaziO3x9jz0izfPcNhM8E+SSTIH3/GS/yhytUdrlOO03
pWNf1w837aOmg1KfDLtC20gxjINsudeRPnMbFfGZsgcjhDM80R39Sza2vETEeTDN+s+a4fmOk/y7
1RjMuKSCftvlwn6Nu5Hd+1tJ7UnigYsPJMNRWOa8H4ZouU4gxBLo2YNjvpHimGpLh8HLF/54rPYI
5oJijM+FIDTJFd8j9MU9CdfP9qSY7CXsd3qH3d+S3DEh2stFjmBuEsY/RoW3U4dJPKIRL+M1JWkl
+UAMCSrjQffsMiDNIVwtPcVpkLV7JviPvsVHyQze4dSuO6Knq8k9FnT3wShqGN+Q2iLfx2MDQW4n
J395GSFXUP9hFRBmXUKwrVWkJAhrqzjMIssxOygmUkk+BYturvtSy2nS1FdSswBHdf7UOu2KG8gF
ikS4B7cd+3+yw39TkiKcWTnQkxayCBgny3v2Tn3RZ1Hfax/sM9A5eOZR4YU8QURlewMZx8z8PtRp
3R1fC1kwx3DVQEg01JTzNLLDBeEpzbKKCNQ+k5XMTLHMf4ya+mrNfrVE/IYWA+AI4Q1gc+NPMoHZ
W0kCErPYHspGRlndZaxChmiYwIno9fzIuCkw1/4Xq9aPdi4/1RwUWqpBct3YorHB+HD808m/pT8/
SbitsTUVW5PR0EyqkCenOMfdA4AbAsZyjVQPkkFO/br5DKTm72mg/yYaCFs+w2ZJji3yN+Yk5X2h
PAJVPvppllAUGJAAQHeR5WeCISsu41Vb/mWaXV986ZohQ3tG2hltTKvPF0d7XlMXU6iBp6dsyoxz
1mt2rVawSPRBR/UKwJkdD8+e6Q5XCI9ehG6oCuaWJcu8FIqrvpCXTvjVgV0F2K9G/drm7HdOkdXh
wJYgZgzkWTASQaftLA+lR034x3709WW3qpYh/7QWB5PnLFck0zQ+M8KRU0afTB/0586wMvOELmn2
Cj+0LHBPygaSq/+pbO9PqbVLiGzHoequVJRRh63r6IaK9b+rk40rXZzE1kyQEJhGA0stD1DbpcBR
Wu0r1YsIXRzduXS/KqewQ+ZtZuA1NIgDBdfULT9+5wgweqQVxOgZ8Kcxr0o6IkFTGw24G2eHmOQi
dKiee3bm4yr8S9v7qErIrzrF7kzWYtkfZ4cqtuJqQEtR+5hISlMS/sb8joiKO201jEOeL3+JtQbe
zrwRD0UQm4LhprbiIZD2xYD3t3OEPV3LU6yB0vW1MiGSiTfcFiMASDGcvGRTjRf4+Ubsam4S1zv2
iH6op6yOwST6pNo5Lzha8juyhA69NjSUTmxmTExGw1plO+WXemBQyoQ9Gngw/YGT1dfMnMKlLxGa
L112akrB0Ym0wmi0l6WGqOerk2q6cxdzPNWNqHe42597/sIIejkZzAbeE/NIgP7DA7T04Wxt2VI2
Q3Rsqyk++q6HkyVEvfd+KiMumM3NnEF60URrs6UvOfayN5hMrbr4gWLf7XFPdbuFcSYnlcWI0Rkt
gFekB4JFOmbSfaECbHaJXv+pHAdd5oSYxXTaR6imUjeSIMkQnPRafo9o8NPTp81Kox6HwkjR9Us+
TiBgi5E/rugMfeL6XLLkjAaOzVr8+I0Hwc17LkkT2tlrUhyHSYQzLLGARUk3NJehFkHuuMFSJg3c
OgtrWkFHPto6mv5UANuLXzQcXwgj0zcgzWI3xnZ+aglNgAPlwnZs3XeU8e6D4DNfEbBMgwD9pZUb
Vjb9V89jHrmOQjwMU5+qzD/5HlbZtBmbCFUJFtL0YKcw4+sZBao1uHdOZr0ksmJUZZT3m3IiZKM/
kArfpUE/KCtEvmFhIf9m6HNd86rauwnUOjMeYoAxaDmmsj5qHup5IalBS+glJVFEzuo/g+xeTzrc
KaW3Vwy+zY7h5wNnln6w+YBMczV2+jr9mJgu6Nm6LLRn82/OUjpMM5SZlVZeTYGwj6F0vZsToyf9
ShWkSs9betK3dMn6pfdhijdgQ63Yu+5sb2l2xgLnEcgpP3zSH9iLEHMCTuGg50y5KrZBYYFRc1e7
0DDNkcW/jMdx5xtuHDR2O0RSTrAOvSZm1sc0Ni5XK3Tr/j7veQmkXXKUVntYcivbA0crRq4Smvpl
6ow9sHSixtJj65VuOErBPjqLFlWNoSwQL6Gg8QJQ2g6oxl0T/9M6tAFyoWyPOZDCZjLbvVWzD08A
6BT5SoKVTwpU+qErbuPWNA7cgMMODmj2otr+N/a8B9dyPoSI35BR1w++VwCZ4MGhXg5JVDZPzvyE
Wum3zuJ3xy7w29KECjoQORwP2SmJHfGUjl8jh1XYVu1XYZDpVSQx+GiGNbUa/5STifjImrljh23t
YayvKmackfoqIhDruVgGjRaPiLRUQiojZIBQCMhaqjWPTtu9uS72GQuCxywf1hwAqpOzU7ahVhNU
jb6YEbwCAdyXUWr/WCMFBjWyJPewvxiWYsuVcclykUD+GVC0DLH2V7Qejk5p3KNOLPexdt/SBh8x
K+W7Mn7jr32xTX3e1ymty8pQlKndQGgwwNO25CNSANWBykNz/u3wiqIHM7ihkQCYDSsTag6MnjMY
a3anfLSsETANi520QDA2Dffb0jEJicHkFgAxgj5Nv5FkofbV1N1MfAhyHlR7DhQ032/PTdbdFSMH
apfHKFe+hKKI8xy3pVn/47ntO0/+C9v9PDLQlCAsTXCjTLr9CCk9NBV1WoE9D4UgbtKl/5yosMg5
NjPmklyjyKKskSyjSqpHxxvHQNZ1E/RbvDereOCEi8VHKQvjHoU8kqDmlfRChkIa8d+WeDSy6WIh
kX8ty67aU6YiFve+kDhFSeeFlt7/JD0p4TldjNYWnMT+C7ZYN0BiB2S0duxdVqo7w8lNKnH4rx36
LfRMgxMkHVElXlcQlppS7guvZp5frWFakB+klSwp+5QlduuyrKxJCVzcHxINfusTgEMJ4VRrhyky
dTSTkzeYR3CDLs7D/g6Lt1wY8knfee8HLnJ7KeBW+sN1TOGX5o32LsY306660Lf0J0Trxs7mtUdT
va9dioKkoobA7fgGUMHBBQnsb2zwe8ImoU9NIMrOWfKxZU6otDovC7WWjUWa6j0ys/S5HvMesqvO
qh5jWi01nkitZaqq5/W9tpxUZyCtq3Ks5ZJzkdovISkhGsxqI9J6yE8X76hYmW4vgs1tXhBQGVqd
/2THm9M3N8GJpp/bTCiXE7lH4Ovwj86jCYmNRpHWL8VyP1GL6xpWt0ZmbLim5gp2Fix6nmfRnKd/
ch0NZmVoBv5Ebz9NuhOy7zJJeUiegJzFd4N5z0pC7deSkV8vgcwZRXemYyJ7dyLoR9Xulyw7wTCD
w1QsDZURuT+qbJ9aM37LS6c5mdqfpI60MQRCZkR6V3Kzzn2IZ+LYkz9ZN216YAxO6ZUvvDSYqpEc
1LBU2pfFN/O9wgijWq5v24elpVnbw+JtUMetos797kINrNkGy5OSWz2Naev5pJag0IkbcWUdApV9
XcpRPxiuccQWoe2RGEMt53FAAXFs1xnkICYq3CPWnmVbdnL6A/Tmn14s7rEx3IPdjAY4/hET0cq7
ZGS6c2z6/oTjlOTblKOgWh1QL0ZUKZ8KKb2M5TmVruS1hzLEHXzfIWdneiEANZvWfi6XKuxt88Im
gcFnpsJCMIhqdei/ZUZaFm6mVfY/euI/65Wz7PPKxAbbTidLNh+ABBiEWVgFXNM1An85WERwkG7R
nT3NFaHhQ61kGJGhs0Ki3/YvveAwtUqodIXVf+Z+qT3P7NAU3AzH/S6JYfmtu4iYekWOyCB6ehfQ
x7Ig+MHOY3LzBKESHpxt6TJTU6xfYikdlgSypQsiRgcSM0DNksiwrtSzQ6Zd4LvLc2YpPyg15FqC
qXgPb9Nx1siSTg940gBkqMuEWFTFcqBkwoxEyS7Gw8RHbMHIisrWS/bOIBOiGrrzUCnwfTDGAqA1
j5WLzKSZnLPygd0hNSzCChvaOL+TdZqR3JSMUcHJmoAbiYp6/vI7E+Zl6rcH5f+l0EoOBM8+MvLf
kQXI2qRapl0Kd3WfesZjx6F88NikMw3WolqMZ37c1yRzp0AM8smbUSDmrR5CWiGbrI9AtSU7T04J
9KkVgVAT4jsBGzBYP1Db0uPioX1n5RXMSJgYrqXMExMKdShNpPiSsjqa2H3XVjhUHd7Ip3LKMv2t
zdURSwHJP2VmBb0Df2Cs0TlCtkOEgggwCzcqobLRmk+4f8Gotp9WgsGJheiDjWHrgLi0QSOMeoPx
PalzJxMFbdx07yVGzz2NCgqblIEfRvyoQ2WskasIKH8Ixp5GdfAKNob8At/f/JXAaSXa1m8RspI6
xfb7ZEvoXvNk3PMJknC1NOgU/F+Cyu/UWkU4ufLb7YZTDYsnYmMsggkt9KbZZOWTA/q1cmDwuB3g
/jFPuPRsBdFl/IyWZYdMwOO9ORzMqTQPrWOGEGfigGBgmn3MM/j4F0a/166LL02x9JGu2eVjQ7qI
hs+ssxO6zT6LOdIAEMR6ad318GUjq63/Vn35VGEG4nxgeeKWv9H2pYdarb8rzhZ+Zs7OSZ1NzMzH
ZnbcGTE5vap91gTcWUU7x1XIGWjrC6PP5ACMiX7ftewIe97ecu3jgDz42o9zst8QXIGCfb+sE0c6
UZWGd3TI68Su4q2Et0Eh7+aWOfZXZho15z+jWQ6InqmJc6/WnuS9upwu8TruU316kabn3yVqebNW
wktb7cnQkk9w/k9uOa4MIZNsL7uUmKuVn5EiCAafgYnUmkPN9NB8NfafzBTTU605v5D3WRdtHV/0
9kPZGK5dBFcsPJF4tCMrdE3uPeqwsFEJV+zg7xBpjTvC6WCWp7bgSLBZ2C/386AV96LUmYguzXkw
UjdApJNEvm0xI0vfW8S+EZVvQqQFXVuDLGTf2hSCmLGPQNju8zmZMOXS/bqxCfjghhdQ4mCYfJRD
zhp0AjFW6N0jmjgEX4TJ7YSZnWUyupFfdCs77fmzLasXnz85IEyUTiNS6FYIsUs+cgWANz5WAbkm
JnuB/lWHLnCPr5gwzUUh70t+wXOHYW331r40dMAraEYb0OdDbe0bGD1L3cwBuqvniml01EzfK5LY
KNlIkUVZXrpmOE7DsD6YKW+0L6iF7faZ9Q/uNw+6OaJjwpjgRmKe/aXa2olcbe6j2cBTB24m1I2C
i8W1troW1QO20JCpOVrxwrrk/VdaZ+6dQSxoKeFCy/nUoegnhshvImYB9yuUzrAW8dkZtrADAjh1
p47PyiZtgZqWmJ7mdz10b3ab75fc5O0o0mHvde2DGxMO08jlxJlaHzo1fMgxMY6Vln2zyI3PzJgt
gO/ILEcSwirQ8NEqBvUyuM4ZmS2MMV8ny9EF/fB7GMr+PNjjH5Gnfwnz4Y3xBxoGMo1kjm9dda9+
WRFYh+A58nP9bz6Zz4x5S1IizJleykXjnX47yKf3RUP06SG3mSetiP/DHvhYGyegtycmGaudjmfA
2b+qlIlQBUs9NDLm/GmryVCtA68Asipd5YfaUf3FbZbjYhD4TeEkjn3pP6ZQpYdtbOW4oPHNmHjB
dO6Jo3TRJYkU5YI9uYdEWFloUhPa9rBe9WI4Eo9q7UiaYmw7MmqiAWXdow9p2NZudZAzRNcxZdDT
1MOhHdfqZPbmB7K6gflPo0eG9UeNZNNb6mVxiU1z0/kNed9PbSf8bwSaJZs5ieoxnDvmM6CkK5GW
eK1XYkkWCP+7avGX+6XFtnNvdXywA0qWIMn5jIQymVJbGMmt6Xteu3tShxH+TrgReo3yr0RUi90M
QhO2+p2TbwRdAPat0T9J5BGUz14o0rwOGArX+AEuult+mW1OnhZhio5pXIdR/OuSPEP1kD04Q+Mz
1NyRh0o4u8zlDjwN4zo2cdAZPufirulQIdJTji39bdIx+HJpOpKsKZkGyT2jt/4Qr2w0hSrvhJtf
p/G1Jog0nCatJomB/ZooBDr2av3ttGlyJUD+xDIjp6Dg/YQlgFcxqr3U4uBAQDa02t/FMt/GRDP3
9N+4vHAoejULXgM7ws7i/x15zZUeUiIk5hnhsf5MJOj5nDe/QGkOI9pkuNeQqHZO620wu2MvxGzI
6/M73Vi+Br3WzwP5zgxjdMANTItLYwHfUd4jqfslfN06Vm36aVoVbJhh/h5FWQTMf3kLuuFtKDXn
zksP5FvtU/gxUTkPxEKV68XvehPdSfLOpBF2eA4aRSpYBy3j+QPAu3/J0jyurGEbUl0uUkeNMGRu
zeeoXVwo7+8aaHm9tmUwaWMZOTZxpC3+Ow7JZ3RWWqAN8dekT/bRLGMcityvQQlCg+2ezkC77KE2
6k+ZGCVscost5pJ/Aql+MKFCjAudy2hh+ZEABFOXZ7Epjcd0KPOoa0inXKzuqvXJw6BVf2xE+fRx
VJGeQCMIs32SOsbCgit0YaX1nrh9+tAAGU6OsQnzXwpsrZCppyDDEhsOYty33byz2nE8FRbaMQyW
LznhsHttst4hdy4gS6aZaycYMrpcGh2GJMP03mrdby0vs521WiPGLUaAU168xBqv6WjM19I4k6m0
n1aBEWQ00fI51k+3btHFIn/yJKqh1lLh3PogIywzCwX+fMh+VKeILRwchcUtGhXqiq7eR0tdlgzE
vjAVBV+qGZxx27QbzPWjp+xd4qJI6tmOX2Qr7nuXhHh+ViRaNm3GzKfZ7PwkPXrgA4O1kl9JKscA
GBX2OKmpM8mgz1OVavvCJr1orDHRpMb6bBJu1hZ6yAOfPmXe9NK7zOGG5W0Zh/oF3+m+WobfOBmq
OzSlbwDM+9mQ17kkBbSdX+IKbZHTyBfWGzR+5peamb9nZL1a41cDqzhapFHeDR+jodPM4yIlFp1u
oI/JiPGWeeeqLrurxgYt55iRIks85i6h2+W8Xv420gh1M7XuBtTZYm4/DX9hdt7xLxYpILfRkD9l
q7rLtAWfgK23MRKyNVBEi9wZuSQyePtSkubXs/KJ4oV476GI/1ReutV8yY+FB/1gq4T0DeICNdsD
YG9QI5egu1Gs086xypxEe1zrjk8+Kw6ZRc+PFBAo7Hdrod1rScFlirlzpf7omHoZlJX5mQ5/Z4YA
JAbqxrWD6B8CmhA7xMbfszX+UwUNj7UgOi1/lrhDGDAx+Mxt5yP1abgzo9lNFu3DmFufZWJ58Onk
yWhYM4kyZqrIHLZeqAKz9FBpnXHAp2jyNsHNQ7IRqclOjiZiCxxLaYSsdQi81XltRxMVtEc7Hpd6
SMQxfwYiia1h7pgDT/qxzimlVky4OqqA3ToxQuQlnWzuOfQ0Wogl3vToixFle8cMuVC99nbUtdbf
nm0DTNPvmdaS6I8uooDPHwZmpKwrRmr8NT6R9MKoCzEQLZeVBEyqmNLPXBitBWJ6FojQyzfLit9s
jUMtbd7hg2J/Mkf89GPxS2orF75m0e0NW1SdZ9Dc18PZ1dO/fSJzsnnKLzq7N2911QnJLNCDsXvu
SFE4tAyylW7YgTV7zCdtBkPj12KP2CY40UU+/5oWNErm30T0P/zMjdBNGYcTRdh81miZzVlKmq2u
DXHKHfw5FU85SHotWfdqABay1oC30XKNnUcCpbZ+CpflhSX8d5/jqlVbu41Ey9T+kajp/PT1GefO
wDmwrRScjugFlotezZBZmPTFQ7NE48yDp9OE6UwDEzHYe9ehRuKozKF8ZY19tQRlgZ1jtyS2ot/T
437KpYcT13+qMp4j1IGMQATQMTnTX1PeAdaLiQ1l/8tNAwQI0kcE37QKO0GmVjlKlomafZelRK4s
jalC1ZHL5TEkGRc6Kz+xX1afjEvPmN8HL1FRnFVn5ml52JDOvm9Gpueus+/k4lyJkOa1ZEU2ItaK
DMNAKdcdSOKpr5C42I4N4ZqgpiY2gQC0bm2D0eCsEUn+S41MTsAlnRFb7Bw938LLSxBBAkOWTI4r
TXygU++a80C3msJo8EcPzcAKmw1bxklreeq7igtJUwwJyLZhEMYiN3Cn6t6wGBVQE81BbybXbMt3
tcZv0/LtTUFX4HgysjCuGMI79UInZCTPjWMe2OzK/djgXOgpGZVeGHT13cGuChFkZsbmX7zX/8Pc
eSxHjmRZ9FfGaj1ogwNwiDHrTSC0YAS12MCSClprfP0cRNZYV2X3dO3GZkNLkkkyBOD+/L17zw16
YHrovHWSj+Eaix1zD3wT0+xENe+ziiBKaSc7uFZYIl3IfiWRvPKrRRPv9K8epwtHtdKdSM17Lcgd
pBiCpirFR+1hz2ZYULyXHPFHEhLUql+V9lgxxeVC9FlO1I7itLORcyj96IK5XBH5yAYAJWHhCfT9
HpZ6T9Kft2zq0jans95PxPCgvxk5fFF8Agnhz7EaMEnrSFykPQPWiLZAQ7RBbHNiq0dCsvscpR3J
huTVPKfIJ8muje+qPNn2smlXSuVR+RT2bqABwEHeoVQDhsWSFm/a5K2YuCojT3v1pZ7unbk3OLdR
zGrE2dGD9yfYVmdCiv2q0FQaevkJKA6WCHiwS9uKFxx2y6UFB2zJ676zMyXEZtmFBJimx66Wmssk
fNFWkEMbjlJuntJpow8YDHFCpKbPhpTzmyyL1wADiWS9k3cKXl+nYo+1h5vM9JEGqTTKG5QtIXF1
lM/DB4nOw9ZJCUYwcqb5tfGM8ALNptXGJ5o3kDb0nJssLXO3YTCXNvTJe7PKCDXNPiIc6Gppq1AM
RvBSaFrbkDffnqdGKASyEzryZUnuF/87zuja4eXnIO3zTXnbOuFzP+uTDft2IiceE9wGddSt4xse
idI6k+xkOpmxfawHxc1VYg5MqcxAMHIanJ6AFZ4S1cOUHlKINqlPUClChB8+oNNNCVxp4WALxhVJ
67kLp4P0vTtVA80nAJYNI2Flem+FdIO8GZUoKCAKD/KpQxGhWnvmmiRS+PpicuJ210NzIV/H3Fe+
jZh5yoyFlb4P8AJWHrR3DkJqDV2X8APFo6+J5SRF6r4ZqYEldTK8iQqvJbyaptPsY+sRQUi1gt6i
ekCAcxCmby6nCUwYwENrm4MI47qx54iZGdQyLpwovy3KwFwqGaW232hvpoaFPLqzW0VZU+LINavc
ouog4JJJNYeKTOtZAkc6+iP7cU4cGnWuXuqM6ZzqMLEi6A1FsPDlQHxnvCGg54ujXLKYTK5aTieK
Ug9HJxsP2HjNVdmNK6PiDNJ1sl6l7MENrqj92Ikbpy7KddxlD3ppnnTdnm6qHoqT7/SxSw9yR3of
SHRlJJxjHkOq9D38Rr8j8BpSRiHjNcqAxpUW0V7BuEBhuDIzIunwLnIrDLG3svtha3T9u9qmCDGL
PEfDZJ5pOVJv0jNYpoNYrphnT8eJQdsUp/qaMhjtBESVxoz07fSYZOpbjyPo3pstIkP8HjhJegZ8
dlPFH0PSX2hVdMfCpIUE5B6T1JBgsaGpg/hmnwPOXpfSMuiZBy8R2Bsmhq89SEwktjU2cCy2K+SY
3wzUJA2P4GzIwduYDdlYUDQeyb09xVFKNJZXoOBUlSW65lsf408YhdXBSOmVJqp46nrywUZQK1nT
fbVhna6RhhCpR0TnVL/CnUGRoqOn7qq3LGbSU7NGTyS+uGHCId0B3+xzL23LWdVoTiSHGjSr2zpf
aeX4QByLyVmCuiTOOAd4BXltmBi0VKLG6WpaiRi4fF/msAanB88PgPOCVIQ/GzTqtA0KOpI2lh3D
pz2DYm/dY4RnBwo5Pvs4CJIvI3Msd44JV/K8WXqTWEswVhyI/QecsyjLk4SoXolbXO1WuLwqIPm9
NOXaR55qBwwahFWrGxliGPDsPYO3dTKL90cGHU3Q34qcmGCh6ghHfMfa6/ldBSLGajaxhQgN7cWb
E5ORbU+lgXdRXWYdynRVF7MSODpGVFS2qa/14TshT2qptfeqXzEQ5nIeyopDlar7tzH5zv50TpRo
3NCKO6oIXxbCUYpliCB2ndZ3hU2aKDV6uBCeucfKTIIiHDWvFdk2F3KNJ8XcGpO/YkBjLPVUpQFA
TK+c926zTbujrXLaH0xllUfguS34/OgJe2gyY6qkK02x4mUwkC7MoZfJGRKP7h3G4WyQbfKVM+Jr
oeDc4IIj3qgwxnAfJg2YGibIdjcla2sPkac+lFJ9ErQZIVv6SHyoBklsNI442Z4ck8qIJWTtOPj5
K0G/uery26HpTn2lIWenfChoQiEBDk6pFzhLn1M7/AbaGMO5yQCmKrOJhIZ+uTAGS9kqnXjrJleE
9z3Nd58fpvNNTz9PCeqDkylqqqxkUDqCdAByD2pxp/vppsNJyoJXOYchby5CNBxP9aLBSm29Uk6X
qE+OZYxnw0zIKzVBFJ9KpK2LauxulKKVe98wcGabzanA+7a2ooumXIQMoD2q9Nn02t7q1E6LqVB8
Doy2isUNGLAcipHfYTvrK+ciV3ukWlXgXzD5StIGc1R+DgSK2dgHKYi3A1Uc0iT4OgMXnD5MoHoD
UGS59JvzFceVxR17V8Lskw6eU+LZv2aQWYqu0IhROAAh7tVLyyRRLvUXmbS6DYcnVJYWUs6UYT9N
l4erLlSQwQsNRzE24M/RpQTOIUBJ7/ooxBng09K7/jeqw/iACtheXP3dc+9q5i03Uc9lONU46kKk
z2jVHpEnAaAF71pjnqIpCEOeV5HKLIxWmKoi1mfHf8gre65cuvcBxJCh2BuVOveWfau+RYOt0WQL
2C9TMiivL4Que1quhADO0lc4kQjWY2TNZjuc4tBeTQikdhWK18c6w2Y3keI4SKgVuYfN0g+gGwRI
eR8BqHAemNS7rsvunBakmaZ07vUvC0l0bFXVHZGWkc3OEWPL7ILsoXN+oGam8BzyenOlDlA3h0uA
J3IV8CMC/w9VM+OZ0tGfq9yv0DpqWK4jUk6u75gZklwLkf8ih348XiWpsEoM94qS65FAEOJBThde
xxRYUkPjG53vGZiEccbOXi09qCxYhUhQZyqFnrLTIs3VSvnxE7+WGo3xYFIyz61cKh2qeZzFmMto
lragVRwLr1iJpAxU7eyiuX7IJpo8QaMTHlxdJmYp94OzqQeGzn2UKVuo2zuVEJK7nCGwS1AFM0wF
W7CZWafrz7cECgaObj3JAc+ijw5JV0izpcbpaLGvruQYa4Rp1OcDrHaARddn28nJg2lC7mGvDZgP
xy56xMwJKSyIEZle+b1qhxETFAd+XDZqalIyCCPaX1vqqa8sp4aA6cFWlnfjxlfItfBtGR37Lnno
66LHxOrUOOww4sQWJj9uHp0NrMY0V5UPrJGvRq2qOzkgokIG4jzU2a6abXYt8OxrNkpKtMsqbn1C
DydQ7DRpikWRWiPi6fgk1HogYZMqxcjJl0rHwXPDhvWxRw+ndLn8HBIdpxv93RaU1ZiyKyUYhZdC
ZF8zAeRQzL5GDDhwIyZSmDEcDifA4pugLkLCJTXUpwE8fnNK4rvesNdjJOAcTda9uJoo67Q8Z3xW
V6hyyciC6KNNrqXK6r316BGjVghuMzHoyKx46yKTccsQNtPLEFHxpf0lC7ricYROxYs0+Kc4e6Et
3J/6GZifaJmHDLa9DL31quoGJ5h2KFK3/ckQqUV6LLxxvEQlZXY1+Zhu0vGA3b2+rQyKxSs9SQRm
i1QvR1mbpP7ayBBbsfSQkDh9Knx9NeKWxKDL1YWE496CBLAMAid/0sj/8rwuv2hanMOVT9mQms6C
LBPNFnd8qmjsGGMbhb1VFB/J7Dzp1mSj4xjtxwssfsYZ+OqveJiwQ05lBtFJJFEnyBeeiSzsvuEB
uVp11JgsuCH4sWXVqD/oNqX7MdAHwleKxytg3RpDkI+JbtxUXjmxd1kXglNZB3SRHMa6Igya5s04
kiSp1JGBMawnoxuhO93w16odOD9GLVwaWEA9ysRFCHZsnSSAmPHB7WOLWIfccZK1IQBC+wYZ0Ybv
RHuZURI3LMAXnXnx7IG+vqhIE1ZFEU08QQvJJ76Gqy2xCmAc6PSb3ZwbcGuPfbdFiZtyTJ6VgkY6
Hmt6VcEM6/IhZQndIqEbsy5o8mDt6bide0vRVmoScNCe3xIvqDGsx3Tl+X94Qxjc3ihK4BD3Bx4T
K4gYzOKU4RRft5XHJHns97lBCOiV1Uth5yyyvs/ulKiy1lmNLu8fP+2r6ju4A+tctYw9ODwn20QP
fiA138XY3sMhrzYGXcjVkAtw8MDAb/jCOnbKwxVXXc5xE1lIwybNdqEqn/KgWV/xXJWBwv5KpBvS
FGVEM83rRnA/ZFq1cKDgXBdEDJX1GavM2qwTpAMFxx9iKTgk5zY9Kwye/eD/RKnl6apMO/V43WxJ
evyQbdBB8oj6YzN/aFU8UNC4xTaqz4xGjmzS8/r+Px9S+9XScvVc9PldTy+BeolvGab3UfQgha6f
TXqUUbz37brdciIYX3TPrnBbN8gRCi4CSbzznZLVq7KpuresocZFTKif/DwNj2gY+EZHQ0MiWqPu
eWoEEgR7GF+kdjC7wNllVusRrJhGL0lrMao1FU4WlSloSswRLUn30Xm2/hpa5bFTX4bSC78g2qDj
ELSof1KDagJid4H35asBZgsTBwDpNk+KAkMcKcorPd7OKnHVlIO/FjEqAAOp4ZUh0yAQWAg667pZ
tjPeUXuUo3iK05SU8vDputB6npNAUqtfrCpSXdYU5zwUHg8i8y/QFOWdBsaij40VhF02/b7MTojK
bmHSK0tD93lyM71TEd5bjwVkj+PR22Yg/VZXdELn95dhNrlF0VjsRoVk2Gx07kYg7DdjKcLHNhR0
2awIoPv8TX32w0l29DnV+16dWLgbqUQHG7X5KR/igt4brv6pBt6sdOBGC0+gqLWITWmSatj0UR/f
1gWLcW3Q0R3Z6XbRKO9+stGiHgIACYuYlpINEhFo3B4tgrDszmGFVV4R6A1m+86UqYefG35pdw7K
doZVGP2Uhocy6CquaLH++ebgl8o5FPNekwbuuElm4doGDVln7WNE0xGV26AchgDHCtrf+ugbsCTD
+HRdTxQ/G6DRWQaOFRCEClXIIuVG2V4B7dPoTDv6FBwcWkaMVlyG7+AMbi1WrGOJaXChNpW9U9W4
XPW9BR0F2/nKz6vhVCbf1wonZV/j+Ar3Sesbax0nIj783N/z2BovuV08dYZ06N+yGgUGxkAEH4Qy
R+KuIH3nxtYi4y5i9jqZBVEkqjFSlvoazZp2ZzoV05pGJwvTGS16j6O346Ks3HZOBQ8xmCwZHu9V
FFXnxsuZi882IGZJ9u3Ph4CoUEHv0xVb3fKL5xFx4Cy2A+tSF8VeieZMFVSuezMwnjzFSzYiZO6I
NgAmHlyhAqU9UZFVtGWLpfEEzIjXcv4holYuJMfMIQv5ralgREtjD2EJyz8+YrRUVfphQCNo6jZ/
8Cv1hATQpAdk8hm8e1fBGf+Q9ZytlIh4WdK1j5GZlWdcb5wZuB1YS8YXPN5w2ObnZOGqajuFwxp2
9zXdAnEscnPZa2p1vHJjWln8jvT5iSTTtUhdGL2fukmPipkJP+MbWdLZK4imCYyPmpEAt9XqCvmN
mQjpjW7cdn4BtiCVO2Q+N1ESFO4VIyO6yLj4XYDqFaUfWvdvgCLcHfyjl8EG1zSYikqerw9F0GQv
Nh2+NZZVT1kFLcZc2kmoz2p1fG0DZrdpXZ9x4ch7p3+EdLCZCHz+4Sd558aGoD8Zms46VpmnwK/Z
XDGpbRem6zbWL3lL6J41xw4I/JElBmxgqNFsl//9yIJ9psMAmjM3twZrdwUYX1d9GVArl0RzCpRI
eClDUDwlzGNwgQAea8rJ67mt6DTNRSyBcHw+qSGm8ld1EuabOTgC80P4rYL0y9H/rwktng9whb7F
hYyyfQbvd15v7KK+ww9lmcgPy2ZYdSbD6O7KHRBRsiOw3J81Z+GqNpyIcwklsjl7jSENMNAoh/da
RdSSxZpLaBJROJkH5eTnPxWcIfRfqqXIS/mk24TCOFEotygc5FNnB8xdtewtqy2meCCsWI1aklwz
U1+KGYEpMSwdvLD8GAy8T1fa5FihY1HHBv5vblv3Y904y6r6JpcRS6qW8KHQGBOCqHVpPfYMcTq0
tBj91nZqRDvF8x4kxKFzxdpDWnd/Qo7Kf+3ou+S96vxMoeL1oURHDBJiWo8saaxHKkTkWlQ6vYeS
6HokKGxL3RE5okwNEtN+EHeZZ9BJjcv3ohwVxvBwOSQ4zUXFlnNdK6+rJqtnkbUaI+EDGLXc5SBI
+ltPIWjnNA6ujyoRwQFR7xzCDChbWrCSekV3YF1pW1X43x1t43UypgxXr8k+/REhSrp1kPNsRsc8
hkUTPqTNkYq+eGmMlPqnMsMHgCDWz3XH4AKYf7KZrR7h5NdrO5/zrDvFWld2TaK1knE7mfq9AQ6l
bMjFsoLqA1fmUajMykOM3Ofes78xnWk04szvDFLhpTa7Z0K42zUURloDnuE95MR8doG5mRCyuCij
23PeKNsBjB4AcCahzI5weiYh3GufA1kaeEi1W1BycwGvNMSRXBcVX7XZLWSz5NadbnxtYpDIStZb
XN1dMG6ykqJqNDE9y4COb5aZuw6BzNFwhjefwLuDJSf7wBoZQ4Bh5pWwxt4XrGdeOvUPJPaiLk2M
J5at6DNM2lsjTW20IT6BwMgMCrr627EQ1Y3NZbuIK0ZnQ95ay+tuPw+5abONx+tjHpv7zB6Ki6hK
etOCuuCacqLDvt9Njbq7bmZytk9XhsptTGqZRkzLnEFy/epY+q+kxXTgHZ2eF8SyV6Ff3eWi13iX
bWcvk/7WSLRtOVvNy0K7rXsFE4DZ7UNtRiJMR5Al7Qr1afoweuMEKIIKKuH4J2e4CIQjncliB+Ue
4uKdgM6654ZBFzW11Og6uStS7arbf3wjTjy5JVGNtmQZXLy5pTAm3jdyMbnGcP1Be1VfV30uE3JN
YFJKnLquldr2niPljw65DaNx1i5Fj4mqKjzUfnNVEWT23gzBLvTCutWz6B4/XANvxrdnsxjLSW0G
y6yFFUC9P9JA7io3U5NdMNRkyrWJd2od5EWlHReXxmckq7FpNO5Q1PoS9+cL2koQ01i2XamX3xMC
hF2CNpB9yyfOGU3QNQ4ldRSmv2RV7aYIayT7o7+RxAOQFt9R5jDNwJIAKb3wAuRyw1rNh3GrlES8
zay2c1Cl5ysPGTSJs26DmJA1QLDzATquaA3C+UHJNEetQtsJZrcCB2tQV0xVIjKUyvLRjMeIJhwd
EUVEe14YaBQtXtbrl0avfZTQaVyZCvK5LE7ItRO+lV22SdLkuWXEeaPU8o08b/tURKz7mbhHG9g/
yg5AXN7ORNHrQkLL+iZt6AqruTQf4kg9hQFc/yaTUMDTPt39JyWs5vcDEkxT3NveXTAwc7ox5ftk
06xxYyR3JS6yjVZWbD4XEsEd+1Eoj5b2VOlPtfGAQmVRaebCwnlv6IiqqXk0XVmy3pIi4+4zsSUk
WAex0myabGs3y7Yu8ay/jfVt3d7Ojd7/VLUgs2g1SSoL45xLXO5KsheEStDn9Z8GX9L3mJYlFdeA
jzEk+AHxdvkNZSicwh3Cmi3N7jfVmQWzFRkA9Qhss7QXgU6boydkqdTrJ7ImmYMGmAcRp1/qxrhH
t7nCncXOE2n3/eC8F5q5ynK4QlNeEAbuy0tdNEcNkAg9fB6FEW0TvKJ+3oHGs2S6YHL5gULpkWxC
3t05D8nO5E63Imz5moFeN+7vgrZZOCpbfuRV9xwqYR8xNcYd3Tj5Q43jAhxZjH+koekyrhSs2sid
ey/G1R6QUwQpVdhMNkudCdZELoKRipUvELWj3FR0lZQxm7ePFNFtVv1Flqr2aziFpkpdqILhqCFM
IX6Nrc2qsnCaISrpaufLnnbXzTh/iO1LXFPul8ZYMLzigyUKPpjW759ev+Y3JF+qDjKYCh38ie7t
XvdLIAdKlpDooKtYj6TUb39+KKhu855jz29zoPb/WfL4/8NQcUkgx/+eKe7+KL7+4+mr+vz6Y7D4
/DM/c8UVTfubKW1wvDaJtKomDPKm+6+6+ftviib/ppsqLEgVDA2GGhWY7+/J4sL6GxcDunGbMBdy
Sgw4vnMudfD334TxN1vFIEiqOCsWv1H+ds1197/yy88gGMLYP4b/+sfn/8EKfiErpan//pv+52vO
FlITuiMl2Yi6STPr10CUGHRRpdbaO57VJdpObiKXnI2DukpX0T3HVbfZdq6xq10gAStjgcsrX+BW
d5FU3vn37U7bUsVswett//Ay/v5A//TArsnBP5/A7vPvv10fmaMKlWdIGjsnvV+SbFQMq7i/6o8x
sNdGgFuzrF5kb9yRdvIsGAVkvti34auTGwezh5KYViesQoRWVjsBM3bgpJrHSLDEtxp+wuEkVSRl
y07dGLtFcd8H032R+pobFDW1bho/58xhCZeg+kz7V0snzsEASTuCFcw1biP7MfOLpTa1uGUN2O8m
aaHJpw4tQx+rxxxqXn3wGY7nDKEkPV0tpIn70rf6egJ9EaaI/oqXkk1mkTHMMKtzYupsXu9QZwCl
3XMWtJwHQ0P1iBycAD5CZO3x0UZJ7OXUjVOB6eozQxhbDbYL5eJGYSNiR0mQZ6aIGkg/BVbS+wwq
WeEyhVZ+zviuUJf0uF3ObIuKc5HPXBV58QLcz6GCCmJ24VJI+yav2t3I9qkwBfYVa0nS2wogwMZv
36TdbizzuzSzra6UJzB1OOZhLIwHzThD0nLNpDs7PmRwpnkqAg6JEItASbcYLZTFwyX3ChdW45Gw
kWMzhne9/eVn2JfRSQ4YGnPxCYjjISxuFfkDVsiS+K11pj7H0cGn5q80e5XYyqIycY9j/gjvEhhl
FppEMc32ZYYQDH/GxkFNrWyKVOCiagDdqMgFx28Mph0i2Sl8K7rvNME9Wt90Jqo95xbTOV6eV8tC
31sVm54xfssGKTEajyndWKKSKNo2mvql0rcM8Aw52QaMyVfDKWjwpqWC1B0SGoFQjwFMS0AT7Bff
Tf9a+K+h8yhkCBscw7JwyC+0/UWIUAdNB3kw4yHDzhhAI4kTG6uofmrC4BZi0HY0mKkAXjBtHDzO
sFIaImKGF2gSMAQWaUmCTTW9IElcVkq+GCJO4aafvsPE2jTC+IzHCsomf2MUzpujiLMd5vuQiMUu
7fcKyFqd5lvX3zryRXXeKjKc3aCZXLtXjhA8Hv0SI03/kGSfCe7VUa32zKCeJ6tFe4d3Q9QHMqFx
X5sNBESYYxiz0CcsQnn0oecWN4Y8g8Pa1CaTHnwdRebfMnIGVaWhBykho28jXqicI7Qa/zB927Xz
Q2HCn0AYTTrKiUJs20mLhFQxR+m5jJcpklIkIer8aFYTB33LM19T63MIOwYDptvzhteiecmGyi09
plasCUNvfnMafXD8j77ufxikKkKqQKkRngwdN4sX72rFXIGs2AqiHJEwnZHJwYMxHnNSsiAkM6gA
9W0cOwV4udVt81I/2rZc28W3ypXXF8onf7upWJXWfZsyVQzAoeJvb4wzx/a7xHd2g/OdDuk39BqT
+51Rp+Odm5GmNM5GMbe4/IdYPKXecERZ3/bIFVGIteNlNIaNlk8Xza7cJAA/rAK9QvvpeANvp+QK
Ro7kd5ivdPzRpJwXo6ugEe/hrfTjk16Gs7Z9V+jFUgXzm9gCDarhKtZL7xnbKskvCshWZ3iWo88s
BrWVl3YzvIpfa3JNlXetvjNoEeTatEtSb84FPJmzSzNrCjcVqByNfp+lYv/vl/w/J9n984L/C7ve
09LJ6IbmI9rJtb6NN/3aWGvb6C8iwOY8rT9vK/POyt5q6jQa9WtG+h8SwADfVF4dig+caVnRuXUw
XzLzgSAilO1nOfS/7q5/zvaan5Gm2tKWFmxHW7DN/5nGP+g0ruxoekcCjiJrWNaTxCbxV4mFVBD/
9Ixs2zEcR1qaqf+aIBa0CP9Vy/yR2O8JoIZJBxYEKbmRZIOdJCkL//5t0v7FK8hzMclHlJop1LnY
+WPGQJRi7Vcq+Y7WdoX4eeFRsA8ST+Sw0IIbj1UEShdk2tI51TaslxaN4pz/XOSnUjHhCABuhMoL
fRK9X37yDATZrVgo8YdFunRLbER1Nxn5XzxsXcwFwy/vPGxMTdcNUxUmD/3Pj5v0qaSyNPVHOmbb
mLwy4DaUx8PQf7Yh4o8RG4jjbxGJ7SsV/V47ZihCbmv1jcm122GvHAOGDEXvmuOT0uGDSN8LHYs6
SIvkJegOtnh1CBqokQVG+PpE+UY32KjfE4/9XJ7NEnt3uZytEn7+FI+7ruO+ldC1h7vKh95AWgGj
dgNJml6WNPbrB6IKHzO6smk0HpgR09lM1p0w16LVED0BJcEOW2A60pH1GGEMHwIn1mivYst2w/FR
1OzvLXFa2AnyssDEH0JNoR6IP7I+3ijqqizkuq/SfYguWOJOFMHrhJHPzB8jNdhJ/yLqAP99v2FC
gh3MWZRFurGsXTBZO1ViQ69tlwf7WcAahpyHirS0d363nciBpuIBx0gIyYTAW2eQgK2tyz6G+qIN
NCP6ZVcHO2F9+jXxiaGyMCqxwQZK5OKzjO1TpX7g2Fx7UIA95WJRK2mYBEqBwspGa504Czsst0Uv
F1GzeWnsz2ZycHSeGOaOsUSl6q1NTKxqGXAU5PbzPvKUAUGCtw2yXG9mS5QBSxloGwsVK7aTRZK5
gYIZrn3OwfmaegkVgHdZDTYlE/aB9kcsnKXR03OY/HPp3xXqDzF9WAVP23dQ93do9HGeO92aduIN
AJmXNidzj07FGgQ5qL3vcDKXWlGtiZXeqbxJkJLgXboE6NHpNl0ERHdepMI2H8l8V14TRV+DP9vN
sB24Q6vA/upsazMVu6aNDlHqrPuMpBnroBTMUHCqqDRrweEvqwH/AWQ/vz3DNOwibWEl3gpfE8Jv
B/MKeiaLdjczfql8RfZzBWvVn74jR27KXHW7Yno3s3QbOoz86NClKgEpJHS2n0BHXVwLUNzkJvbe
6Z6z8CHY2ZIjx6akbEbeeQ0dW5CE4FoRZgGRc1gXiF5Ok/tUI4+7mbjNU7JFyLtbjsQVTylZgTDq
fTSGsZksBgKt2tC6JPZw7tXhxe8gohG6UI/szWp7aLN9bSGgS7BCMMyTBZkHlbMfgA753TdogPuM
vJJmImbayOCkqfW2qokx0L9SRWBOffZt/P8SYFMXcOthd57E0iyjJfL+N0UdOqIz0jW61WfTSvCq
t8W2V5ADqggJqwkMWWFeAhKXKWqNR2WsiQ4BztvV99qcAqJetLDatq1zoCbHVEKAHFb0SpFLg0yK
Emckcw9Gb4ifI+9tQiG5KH1odGYIoGdQvYcsrj+iAmbdv1+3xbx//rL+6TBRHEIaTMNW1V/WP/BI
o+94oMhX2BaW0dr8tFb0rlwkBptC+au/9i9WW/6avG6y7LXmvNv/YZ9VYcx4tlK/gw+sdiR/b50f
jBWP+bLYBH+xpf85bfS6zeoaz4vjsq5zZP7licWCYbMw6/eU0DNLImWBhf0Xr92/2GNhjaNd5Sgq
Va7pPz8bHdpgBmbsvXcJMljWbnSeDY9YAg/GUl2ry2AVIiziShiXw19E7Gq0AX553wwTzaihG7qt
IqP6JUxVr4UmOsf/nozAzfWDz+KUdEhBsGAuwXwc8C651aDfEQ6K6p31Lg9rRD8Kk0Ttq0uSZ/R5
C6tDSDDG5kUp9Xs74HCRGQ8KaLIZHdIJnc2tvBCu9hc1HQ2Nf3r0GjoQ2loER5v4t365DvQMQKQ5
lu/kIy3qCtdnKE/EjHynhTO5WTf88HuMVJHlXRwjwFYdPppRczRNa0UXehNH9a53DHGKx+Yp0zpI
fYLZY2p8EOrWWJeBaMNMn42/iEjseHzUOzJvDBtvAnpcxzlrSQ09hGQokhMTFAym89GUb6186YMO
+QnjTbbw0ITLG4Bib+ASEui80JWHBhxlBbcimhjyZ58wiEHfALzqdV5ahBS52Jg4x7zyzgdFBeVk
PzPBNFSJXI+7Bg+Jg+h6YgxdxRZDuR+huCVTm8Gqf04cpi8GEvrXvkXFKziW6dNO6/27KWNRmwRW
8Lh5Z9K5801/J83ykLJGdsjvDZOpr9g7Y/DsyPGY68muNKaPIu8PCi4y0glZ8Sws1iOYRAX5FbIR
F1koh07Gp8UzA2bEeSaMCa/8Qtt3NllUtare2U1KUHG6acg6M21lBRxyNRXOjaH5Kw3Xp9rMvswP
+Ggns6+3PnRiRXIbcDBS6QiQ9/yGVzXrj6FNDeQnbocNHW2zS9LWHtcztcBrZSQkinULweEXIeAu
0CAO6B6G5wAAZjQf1TmHyOyEW6hcJICR/RAlpnOpsO134iGZiEOse6YvMQ6sT8wxLuOuxRg3GzR4
xzGc3YcmPiUiErzjhAwWZp2tPSMVuEdAvNCM+8bXgWLMZ2/oC5qxVrLnviZcqJ1PQfEWcduiDt6h
+2+MsX7w40cfRlqWfbTDC2lpBzHmG8ia3cowunPaqNYaaDGbXn9X1vAwsLZBjp9pC5MdDpS8u6z5
xmB67hFUs4S4o1GtPUwRtvKJ+WsBRQANCEIMoDN2TCMi75VvBZS1l90l6IQCFRxf56kg2O7bXr8l
JQUNN/Qk/JWFyC8RFZJRJnvPVzEoBYfO7O9mHxTI3o3sgB15kQvxZWG0zoLeehmfPe1Tyd4Jrrcm
fIqxiiP4kyllH+0tQYE2nnt7Xw8fAYY9XNhujiPfCa7yaowp+pPUuQxVVMV1DQgQsQ9J8gGYqwB5
/iZz8PAaydqhGjGs9yaadiWy7gRKN7BELESRG/Y/Gu8r0PDkKSpYhurGJH1WLTnqRlGNrQrQ1Oyo
opHF11EAMsMCjcMbZ6J3RcXtaKvE68jhpKapg/Bpnq6aKE3agSzhk6nsQ/khVAc1JRBejncJWTI+
ylZI3H2JITQaLiSRuB5Ih/EW2h+C7ec8enRwN4nQ2phQk1LjCYkhAovnwrL2Lad6fCinyXPOAV46
0+9ufTzqjvJUQojIQxu1u3OMAppc6hBdDDRmwfRjlOkDIh2ixv0KoUSqPBAu9ZrYpDLWpfrcm4Al
chHqt2WHM7QwS+xjQbyzRPTcV+ZtFSF7pCZF0/xKl2OXkbJTlsaR2AKcRN2XHUevxApn3PyKtiw1
gcWgCEH0K+yBkByWmOoXDmogYiu2JfNA9JILUghu//2+qP2r1d1mU+TkaUmqil/2RTJvS6X4b87O
bLdxbNuyX0SAffMqkqJay70dfiEsN+z7nl9fg4HCvZEKI1QonIcETiZMUSL33mutOccE6gdM1slv
tdPkMqfwOi9e+wgLV51TYYT7hSPQiV7q47Va/oeNn865pOuSrrC9XFa+8NYkUomrM5YK0rBUFNjd
laqRbvrl5ivzl4FRipSGuHMvi12opCLJMufomweu3Ga4hHBkIP5Fi2aTQrch9B4PpxfbV77Zv7sh
XE00+fM6AGNNvOgdWGqVyMY4nnG8OzSp7W7YtBtAbFx+I7cOAgEGfWQRuuZe3BjOYBuv5j1ejfDO
dBVbI4toZdHHvHIQ+uHrQAio6bqoGowg1ItPxePY5XCKzka/F9M92m/V3/77xn86pi7zkmUWYSxH
rotHKgg5D/g8UqpXPpbrzCtecamt+PJt//7at/z3A8QgmJ+XM6POTOWyldGEsypKZX0m8o+dYy+J
b9duxvrpEgoXkTm70Qm67DfJZp5nqqq/dwqau5mhpv4UC2c9/RobQrsxVGXgVgoNujA+YF3G1yFM
K105NsEDSCPbArfTDhXBRDNWg3RXVvhEBQUDnOgm2qcoB4e4Fh+yDiCPAcBWvR17404jHlaH62uS
dF+qqGY7ehK+uaG2jqOD0Po3LTWgbnBWln/Bkj7qfvKUpXuCNOeAj1DgRirETac1gEBaupDgAcT0
C8DjURSUbVU2d9KIsUXoVkWvwJB7NtgLFGtclSV5kJ7EZ0E9EE6fnq5h/tpV89FEkj6r32LK8Q2P
oJjdUjq5hEp4KPkp5mc3G779orIlud4Y1M09egrsq5O2i2vsPvKpmdNVp7DLToeSVjoMEI55CPTL
Tz9+NYuvGf3vgCoujXVcsS8AXWwQSDZarDVdIZodoacmGDvJl5mYEAimYNNSHcgkRn39MQb9QVOF
u3FW13rdMRfqViYmmaY+ZMZ7mpzBUAMiJt1JIbDJpDcJRVJAyl3E3007LCY6RuChZyhPRniv5HeB
/BCAs5uRHTAQoZG2KkV0piXQ7vYtgXGuGsAOBAjn0HGpzSAGHOA6rZbgI9ZOxuaMxJMGVSGDObUO
AS74KyyWjSE8T2D0rCi15SrbKkw5klcDQ3HL85FLq9K8UXMAhJDCRKJW+PPE0xDRQcOnbYbtVJDt
KebrdgBizYM/SV9+UPMpTEetT0m+q6XHevZdrS89vz0gKnYCCA6C3x8l+smoKAkNAsSCzyAbibHI
nmc/cCUEzNoIrFvcWu2+Lx8aOVlSnhCJ+kcznZxIfxFBa3DmxIr9VoenhM8SoAirBCSlb1NueoH4
0LQYCEhYrmOyiVVxH+Wy282dA8PYXd6QSWQyA3dJIyIsROQRp8qqSmqPPKeNTJKHxtooZh8IdNfx
yCzmDazvVrS2scpAvwJcYeIZX7eEUfRt62LiXnEIcrux8jSO6rnZ4YOX7Sy5NWMS21uBnhogg+AY
DL9MPUbUZMA2+WhxMkrZS12f1Url/6AVZ+nQe5mrER/Lb6O0iKNwvYVkaYyw1dNzUxgM4ST87wf4
DzQSyL2Q2ZNNkf6W6hZGso7mwdEnGej5o4DMRsoF2jOm05R8a8gPWmZ/FeAnIFARkz6kf9vOfPd1
IGDFw4SjMFUp/kILj6bwqyWORTQQRqDrrwxYKPozsRzAZhp0Q8q6LDehBWpCxtxuMRJV9obyNhuf
neDvJJpZssoqYHQronWxAMVIdLrxUM0lv4H1VQkx/AbtdnnPJCjP80gAn2AhdEcHCd463MWxwCgi
c/v+jpwBipLIGSQ6RxVkVpzlqA8co3iVmnMtkLeTbYO6dST4x0RHyxZxNQhgzfKIfhwWc+RB/sLz
Ah2RUmSZTQrTtG5nfHvDgC1ahvJJIzXaDsLjIN+Y1W5AJdOY+kqom5sUD5Vcvc7JJpCYW8+/KZ/g
xUBFGAS1LtHEsFo7sJIxg9ay4SGS4dtDfQuDRxXfCZoMm0n8qmgYVzJJbBU0Yphihdar0Wf24mOj
v8RY3hA9kpEYkxF2K+bfkbUH+eHyxEPJYl7LX9F8Ap/DO31qnB6aRZJjQ4PIQzLpQJpz2L33Ah2S
aL7JRA5NhWWbiOeM8J0IQbC8ZO4R9DiaD2WA0Qk6x0zZ2EMcasErQF5jXrmRDIR0FIh5jPOtk5xO
JOUpJVlQM7cyhu5Z/8aG6AjFLeK3SIZCc5NjXKzTdkPIG7BJDjaElZpyiZDtvSx+kX2LWHFr9ozf
/H5XM4aFvAV5UyHj8mlkdRyJbQRFiFxRXalV5dRULVSWKa9h11NyG4wFLIIYh3Q7CmfmYfac+7ap
TdACeVCpYwYZinW0yZpTLr1UKkhItkk9TJ0kfFD7ZR12Q/9coiQyaU2bPEZWSRGis+Ji8KNhtk7C
lwpGfsn7KRBp0jJGS5axt3BEbmsTXVOQJR0Gb5w6NhnW8KB6DJN3WAeub1gg4d4QJq9MauS+Ulwr
7LxSfMiVktZn5MbSqfA5ZsGBZbn24npYK3CKLV5k9mqB5mE3vYzGYyqudeGT6bdLLoItMYCJyeBs
iO9Ea7ktyTWLqIfph6UB8Ln4ReL8X3b8W7rJiX+fw9ErdVsP5q0yQGyEaNPrTFY+kUOtWuuuamLX
CLRNsnQp9YOpjvYCqJGYoRQG/WZrr9VQPrtfdRLgFcgdJTqJse+SWLwp0ofa/xgotQ3WHy0tnJqp
tO/fogpHTHAS/LPUfTcsooFeU1rqvOxMzJvYaSbumrtP8KQrdedFdFVWpk4iU3uvTkRY9Z7R3egl
vzUvvJ7njt4PTiKAjTdaVzJBNunmlnxTcgG/1ILlxEJqad5CcBVoL0Shv0bD64SxvptU2FkwUwXl
GRjdylD4v4vazcyTOb+CLLAnWgroMzW69BKNr4lCqiR3u9IfYnHeEbVuS/7gRLl1SMxzQs1vQHw2
36f0pg5uDEK+Yprd6KH1Bl0ALXJfanmvbxgTAepmLS5eu0bdVyCVBvOjTioO3Bb9PQJmRJbMKlr5
xP7VQLgHGJEt+/Octy41CU40GgQYAGfLa1NzLdW5bRhr1fLG4ZtE+hXBo6saJ06sstoTE2tyopP6
cTXW40prN0AReCD3pXJicoHuclP4byXoYnKVPLTntiCC+II1kqLYlbH2MPTQeSYU6m8BK7o+OLmK
Bo5vI/ylxvUuoMqeS2i1WYvxgOB3Y0vwz8oqv61sCxig7hZoxCOymAafO9WTHSgPOSs56oOlqdJL
0KiFk4pmBTrCILZ4eZNN0e4UpknDpNKBStlG0NMWwg7QC2o7YGYLBjQePcyMu0xeWnLDAVAJiiJi
vepgawh7q9R2ZXquabSEPREp7bOGVEQBRqLzakdEMi5Gc/OliwJv0Aqwu/Nm0eb1JCQw1UiZUAgF
LrZf2mB6VvcxaQovBvMY/w7iut0mKo/rlgDbVSKcauVeht/vT8SwoE1gpi6dLfzvZs5uQpZ0CsW8
Mb5i5tmIOO0BKUWPu9evCieOVG8wm7dmyY3qKkQw4HkCkdnAwUwlu+skAoas+6iqmS7E/X0y1ydf
UTh6W56gA2djQiYwr8mFT01Wecdb8qlMZ5yOEPRpTze7ILvPTdDw6Fhx9kN7UdsXcb6ZSnT3Impb
dpV5LB1GmE4yf0j1p9JDCpfZexkL6uE9adfYBRRAwm8Wqx+tFfgG40ogYHuo4UvDPRnYi1re01E8
dmz1gfySk4GbkCaSzfFxbJn9wLokRZC/S9hixbnd0o+LCT0tHoaqJEYYPzsYokInEB5wuIx8amZ/
Y1bLpGY35CSEKzcZkVE63aG0ZV80U75o1BBZwQGSvPAk31hT6ZDHck+G6SqTwc5k2QY6FR8PpmP4
XfgjT8hHoh2y+i6KPkwrInZ1OACBWRlic1h4ioL8TAOIHHZPALIPnneXhShWRegv5NuHUeKQzEXw
/ITanl2IhSKBSCHEOHUYz2oIZxRog2TEoDU20FBN+BbE9C2c7wX6lNnwoqUfDWbNWrkj86Bob0Q2
NEQ3ngKMdwyVNUmBtkrfsjE/ipAmFpkLSqW/4bzlTI6FFTFxK77pcb5V8cfoneiq4wDVmpc+Ke4q
8XbMeEY+A+5JArWZ9ITrofUVexnu+Js20CSxkGAF6Diq+SB1GCC0D7/YCvKGGGxaGj0x8/fx9D1Y
PgZ/Nqr0NRfomHNj5gwRPP2SxfuGrN4WG0sivzOOJx6F/EPgzHOrb0SarWl/HsYPQP0Cx0TBcM0m
csPpCOJuLce7fuo3XfItVeRTEvgVKxPNBV4wakc8q312P8OFaPXJ1v1mG1o1MJxXo0f2o9+ZykGT
HzD2IxXmdRwW5SxFG7/EgGCwYNOPb6qhuhWL7Nbi/vJOxBK78GXOFA0rKEoMVAe6aAydMUg12ZcE
3Rq452Yg2iPnKDiOTkJ4or+ondN7Mdfdes5so6k9q/APvvTRlcK6glIZxqbbZXed/jmwcifsjjl7
ima9xBaB6+ObidXJrHm/Z2eMkC2PMC1nwL6q4QpVshaXvMo69ZQUvSNHUYWDgg/Yoj7NSbvSORpH
gLSMN+ikBnlhHQEGXbfo3nG6jpuZcWcrHn3OYeBdETiE4c0MBCtMDYTwvQsGG3f8fBBInBiL91G4
oY+CqzCzS1bgBh6kKn0bcPHT6mnIKbTx+yekNlSvHTtJ3ZVuyUaXvStd7mhMDenu4UDhpJYgqjIg
jj+2yZsxc1qb5EMKdJ/+46qB7wPMB4/uYEvZQ1mL1ILHTgMSywlWVHonpmrPA8uFcU5Jy/k74JYg
k0+ERHTE8grK7ZBtDOqIqKJ5G1B3Rd9JEj616nfJE5AsZfSs2YrwpvAtYVnFU8Bj0z8E5rHlvPsb
mAwzRl7P9bsMkwKcuz3Pt1p717Ef1gCpFIjbkINWJsOdHn8DRUbavPndKyaIkb1yyO6iXnbJq1hH
MbgcXOb9q1gM75mlewk/WPSUmEzZGwl9wX2apyuV7km9PC5PY9ywgUI7xCMEg9ohnhNqJfQNFJzZ
wMBWfGAm6hgEDwNLwstU2hrz3CzD4rxwo2H36v03kW4Hi7mSLhSumDPLJKIp1KJdu0S9q8bKBD4X
IvRnoE8hsGonsuDb1BEgJKOodzrtRDSJowgcmnUmFvWHqu1msig7/S6WDxLNgW7BG9RvvEdt8JVr
H2D64V76S74bZXyONr3jl6SNzvZm6cB9NtkwrSpq7axrVrrVkorIsxP6O6t4Uqpbg7qu9Pnl6i+l
rRwiB1aj3t+q5JmVWD7G5k3w3yL0iqTasmMNLKKok4bPTD0oCjWPTpjEQmYsXSUAK2FpThdw8MyF
w5X+2NLM++9MWpXQEYl0kEULz8FFe1XUaw3fZnduncHVDtBoHeg329xNHq71in93ai8vpYoanUUF
0bOuX7QuiaHW9SEZv7C3a52N9dEBDWOrNkcZYx+v602h2PqHldLT1e//fZuMOX+4zz8vvsx4/5iG
++EoRaRyf43trqIQM5XeW8Q7Qq+T+432J36BdX6ImnibyJ81ghRGYx66aI8QTjfqSDbHiVm0/jGQ
RXSvo0fz6si26lpxTCgfch9Jv595T2s8ZuAp3/NMBJef7jurBf5uPXWj7sRTsRklxKFSK7tkstqj
iSm+f6uI7qq0X2Mn2JVoHSPYwUuTR6uFWxXpUzL+StRjUT8LoU9p/pmIr3X4buX3EahjsWY9iA8h
is9oaLaBVG1w6h2DXBlploxsPaTn5gaUDwa6UoFVT63ZZlknIJVHcnzuGkwz0WasRpy7GwqgXVuE
a/JL2QxaJy+Hz7ijy04+bCFka2n2xcUhSaAXCXkxDT7OwnmAxxR2TVUpN4q5JIgkW5Ab8RTdmf2z
qmMaKr0IubEQss/zkDX4CYfyQ2BLqyxQBWy6Rp1swrw8TKX4gWGOd5PafvaASjpN2N+LSXbTpgxH
ST7gH4Jk+7qnkIoB2GSAJiq1m6KJvRbSHgoCYOyM3PvozcIADnEU0GfkYJMUOemi7HRVUq3g7dnh
SFJJukbhum7bp6Jhvq/BsQloSrEDVUp3j2NuHeRv7XRWATsG3SGfmBPLNl1yzu5IcvISaNu0nq33
mDNPUJc4MPmVZfPUBXekiaDTTTgG0i2t8PRIgavr5a7gEycA2eaIppPJiQO+YeL/4gVxVfHcxPdW
9NmroscxirOoCRwAyDObi9i9iJlgW4Pqwnilh2rHA1EX0V1TFx8ZBEOw54Q3EbAi0VODm5MzX4MY
y7TEHxb/Z7TXAYjKQU9lVTH5pafZNGsyEhxlQvWV7CNN+wwM8cCfJ0dl35sfccGzqqB/i4Fm+IJn
qO+SiuSIJBUoXg1TRL+5l+cnpWOcF7hJWm5l4m2JQbBjc6aDux9p1pE2OvbPRNIBU5C38NsAC7Cc
iqD8Gzp6mGHIGaZZfIhQNOm3soVXVKr3tJmdJq93PRCPlg5tj/tBGrKlrXMIU9UNVZ4FJkJR+daG
Z0X8JRQe1Bw3DnM6lv1DXDENFQ8WHVeSxwMBm7oqnsp227LFdUqM3Kk4iKQ29ONI84scGlm+0X+R
zVLHFmBwGG0D4I9Bp03n78rwcVaOQ3EmQw9BFyie9qWQHqzCEyXoWPRjhWEtcWjsSfMSRhAYcOLy
HAZwbt4nyNpVFHCZ0NoGSuYRxFCipIcw1MnZE7akt6wSsWMS/lv+1jBzUOinp6NGekazFqJhwwjU
jYWB/qqxNlX1WGnputWVRxOfYEYX0QfMrsHTIYYRthEVxBDWdLU5xYkC2LmaZmsB8BZrP7RRObm3
GqhnwvSp1fc1GUMmeHSRFWOct1BSqTHjJ0UI3L6w9ktHbCzSdUVnahjfNWKxZ9CXQxmugxI9ZRbc
J2VLm6Yavgm/pMQS97Il7pHyOIjcNw0Wz7K1gLvSO8OB7Q+vXcJbEzBNm4UntTF52ZncJ+Y2l40b
+GmrQsqcjEl9b5Z2FVRuqQ4PPRreuvLviPHZTF27toTeNWnxdDK1j/ohQJf1dYafdHKC0nIbRODl
woiuC2YSM8GzLHugRMbeYW7AZARlPJGzbfoI9XkVs+PKuNdyeomEhI/Jq5jeiDIxFu1Rmp6Bhq9l
6TmGWTDm/SksP6tURiW5sPrprFLUxrzpVpR8JProGNWLWJ6n+SGGGllrQJDR2gvxbgIrabKIQbT1
sMASyHKQ80eh9xR+NykPngTVOoNnPhamzhwf0FV0itvzrB/1tHkkX/poabqTJ9l2bh7KHu4W1VzP
7aEyJCq+F15C6zGO6Oi1/WrpTurBt0pO/JCLmwr4lMK8whobN6pPCi1muMueyBlt1ky82bFjJEQA
m/cGPeKahOF0OUErJ4M2iDVyKvXxOKtOTRqGKX9n3ZsgoBMfAAq/Sf0NUTGOZjyW1bdp3c+NQNAM
ql4LB8hEKIIPSPuuxEqUjATVYq9kbhAFAT/xSZY+/+97o4Zf8/wUIZf1mUtQskeIXkbOyzrWb6kR
wdktR7J1V7ylxGa1/m2ioEiatZepfhkKwmvIGkMmcWgmItVSuqayOhzVGqzM8Mm84YTdnjaiF9ME
gWDqluA4wcs7bby8J43hypEOW1kP6ADeyDOIuoEW19QI60YK2tWIsVOU1Y2FDmgEilwAHfJBDOSx
N6apzMUKJ1GxPJbv6CJv/ImumcmXMiPGrnFKpCT4UcQTWrmT0IyZ3egO+qtKLwsxEorgjVmAd+17
N+35UjV/1yvSRmJNUKQSFYfhGtNaGx6D7C3OWOeJ0eNet1raq6tonlUEmaOnLzumGVSfksbhimws
tZbXQvYZ9+eyLu7oShEJZHhaeo5Ezj1L46UQXqKB3hNnXnPZ1OnBlOMJu/EVmaD002Hzz0PYxWFz
7K3CyPriq3HpcxrreaNuEzKWXRlNon9N+//DHBvh1h/nzUVS+MeRT2akGlaxecZe6hprCjaCMGzO
Xnb2C3vz479PmD9ezZINWL6IBVDhXUzNy0TsyzERztMO/c4bPQYbeLoT7vO73L42Nf/xi/zzYvJ/
b62GrPn7YtaDtB68fv8B7fOR7cNprrgAf9sPLw/toLV4BhV66pRH/72SoctyUZriF4CLdf9J0F7g
mk7rRrfTI6VRdDKcf3+Pyo9lwh9XNJaT/B8/W8Rbq8ayhS1PYznt4X5EynhH0Uy4HE6jsn7QCJt2
Jg7Gpvzk+zcV4+QoOgJEjIKHLHrqkbyoDexmgFjnEKxkpNUswYeov83V7zq5EYUHrXhq+c+sVtuo
QAvEWoJQ3xPVta1l5Ov+qh2Cz54pPqZfk6i/s6kIHJlezPFdVIC8lncleWVWq5BV0VCf1WAmthL1
rBHtm/hb1Xsc2eibKTFGjkzpY1DeGv6+S74CkgIa7UbRJJthbYw2OyOBgGBKTj8nQXuSJya7ZD80
unYUg3AHS+nUwzqQy3e9fJ6CaqWZATAzRJPtyarvcvppsgDHqXkYQ0DQsGOH+aYkMAIdpSNimG60
0qlTlFI0pNEj1i05BhxppPgdb9pGZa8wlVslGl4kAm0ZRe1ln8N+nKXOKB3QsxK7wymVuE6Ns0GD
jF2dltCqpR2MQTxjLWFNq5F8QZjYRpyp5ILWS8FB+z2fsyOij3UBeVBmwGUFIAYFbUuKVZK8aVgd
Jw710mC6dZieBLx3QIR3NZUCPSP2gMrzpUMNyT6sadKUN6y2jJYiZRsHCy0aTK2Sr7WGlgNMuAVw
mrJuhdsm6YH7ZBsxjL0AvtSMgV0VhlOCYg+H3R6QH1QRFu2KKVE8s4pau3Y8lRm7f2FqL9AgntDF
EzZK29y6Nct6l43FG1FvLv3tg5GJI1MxghqH0LB1yselPZBC10PnwslK0Xd9A3s1xuRACgMA1vap
bSTXaLqvfjobEuh4BRbAQ2Xe9s3BJ5wbtG23UkWAFTUKTJi8ucgMpyBKQRbsIGAzQwXCyJOu461Y
vWYCeTOK9Qip40g2KsBLAxNK/MjkhMgjsWcohvYgjr9i5PlNU69ks1mHnfqQi7tFjslxdoxAK4+c
+KJQ2KpiQ+8cZ1yL2aNBmngK2XWa+VkJ/W0xcY6jtw04iDGc6JiNti1beW9a2VMpdo9BZZzhr7hi
kIJ+p1PlazcjIajRkOzT7pQY7Xb2Jw/gnW22twRWdvOrzEdkWL7RafKLOZpTCOdyCilBUb1YlDaj
SrS0kMknbBJPVZv9EqZlurtQRZN2P0iMOeJkuI1iC4hrdhum3ZbJfI6PcTpaJkwNq3tA/rsmKA0F
nngU5+BZ6DhlqeCNp6HaRYsnpENsDBHYCofbmvZNVNOf70bjHsXgzjCDm5ZwV6UEABCJjxVupDgf
bZFO0hjK69BK9mS14n4QMpRRtbn3rXYhNDp4eh7oNlwRcv+8wfzvSmxcbDACMdGANvxzvK233R3H
8lW3Lrbo7thg/Gvitx/aJbpmLGJ7ywBIcCl+G4JJIZt1/Kid4B6T80F+Su5kt7pJNqwKe9qxq/K5
fo86t/x/2d5+kGzh2RdRNKL1V0iJ++8WUA0lNYQ1fjSutB63EM4Yva6QjrOhwlN/WRxJV274b7Gf
qusq0WeWqilYEy96U7Ei6SUs6A9DIB2bYcrACjz4MeooYpxEipSGnDhai//e7H66qiHi0eAusRho
l/fZCYlqltMHRey28SKP4tGVN6b776vIy4e/2MN1Q0TLt5AM0N5f7OGNmsLRmye+Tpoh6wwRo7BK
HRyKz/GvzJ0d5G9eip3HowR2CVViZicSqGCTHNRdO08sJ5N/fBbrYnef+z7tm3rCY5reZu64aZGo
DgeMUyv6tFe+3p8OL3/euHXxytR17A8Exn4sppGR24zeEvvD8BjrOcL2an9z+bX+dWsXh7JI1zr+
N32M69hfUWUTVzvugkcc86vYzY/XTko/KGN5ZvB2IP/VJJ7ai5+1lrV5HiOsSgd1F22SXfxg3Ey3
o22uCDU9lU/d/tqTZPz46/3vJZWLX69NhToZsvkjp0GSk5STNR91/IyBgIEGYoyovk2kExm3tqYx
5EnviANbmdlDq71J/lOPHjJX7yEM04PsHfjS61LK3ZRkaDN4zQDmGJ8ZvdmW6VGPPK5mYhqkqV1F
N+QkOhXA5pooAIA1mP5Fu84eo/6xrwS34kFd8ApUUAhCmm1JqwsjTbjMNgiUJTUgqR+jFEj/VGzz
hWe7JGdL9J9NnarvJCABHBhXZRYl5S5GChMrcA5xhgN2fCq6h5D6drxLzae5Rk2Uvf/7/fz5MWXt
AfEj6WB+Lh5THP5w082Sx5SI2WUlEGxkAjRT7MnJ1tHDtSfnp+XV+ON6Fw9qOkWVTugw1nxSGrJ7
ublWC127wMW6lsfGAMWr/MC67yEXLdf+1rLR1sP3XiXr1IWXdGX9lq5dcvn3f1QN5oLhRJPJGkcz
ZPy9wIWnwCMoiPwQu/RwFeyv/Gw/Lqu6rJjIsRWqvotqFshuViYNX6M9sbpA26C2ZKgROgjHTvFm
fJrO/pWl/KfCT6fm+p9rXtS0EYlkXdlVvy36J2mzbBn6Wrzq0f/5kfzjOhdrC9nokla3y73Ju9kh
G3sj3fc23bWVvA/WxbWv8sd15X8vZ16sK5ARjUTmcqoXbJBJuAgi7dFmxr6Jd1fX6Su/21+WCUOS
c/j03Fvv0FqHJsF80s5f/M1UrDgqrxCdWI51bedbHoe/tgcTsfuCFAJIsHysP57Q1OzHnv2IIxUJ
K3bjjXuwUkiGxdVSUEs24qYRjRIqhJV6c+VR/fH7/ePaF9MvtSxKwYoRIGyF09J3IdPQYSDqUjiv
rzYnfvx+/7jYxXthQLGuprn6AELvUg3b8UP/4h8wusItWdXesGdQdvvvG/zx7f/jkhevRRmbUi8X
HBgjyt7sV1tdGZPqP+7tf1zg4n1Iwq5qxoAUJUFjqkF8rEHlj5jP128rUtUMJIdjvTFhz4VFgIFp
iYjeRAPnGqTGxE2nOhgasXVaKwRF8DHE8XpIvlV0YXJzXyXIcJhMVahbLe1eZ2xPyA2m7sIxq1ch
qdamiVSthM7MhqA9jZSfaT+Rs/4mGo/0wldlndrGBMaofqmJzpWWfGUGgks05BJ0P/LSoudvwyUw
hX4IxZL0lTOwy0XBNcatKOMWVHYCgFOp+/Xvn2b56v/x2F8e+DIm4YY2jh9ETTRJ5ApmYA/GfV++
h/KXTJfi31f7qUrCq/s/b9nlka+T20IphYGXW7Rlu1kp58wGN+1N23hX/X8tW39c7GIjJZenhkE/
/l5JmGMvS/9N6Vpesba21y525RG3LvbU0R8qo1HGD6s69swe8QFd+ep+fm3/1+V8sYNWE8lBIkUX
uaqrIg4Q3sYeMEnvyg/082UsyLGKpgL7uTjsyBmlfZ0sNU+waTzkl1SU/na+q7apmz+Z1D9Xe5h/
+7c1duhl1RUlrnpZZoERLFEkyXjkopvFybVgC7ZLDau+hhvYUy5GTE+4Ylz7+z65KDdoqDQzKSgv
VkEtAgSQNcU5K14m8SYYHok1uvKLSX+/W9yXiEdr8d6DLrx4Jui3tSy0JUABoOm83+UKGFm5XprP
0xpBLlE9bCt+tZNRK62vHSOXNe+/bzZXx4ImGbJsyublPpolNb4QzTz364UvAEhjLXitd227/ukq
tAJky5Rg99Fd/++2aZB7Sr6XcBZ3v5+X/bAmTefqoUBdThj/vRld0gxJ5ToixfjlzxXLStMAaf0y
4dirXb/1O9xTOnahGOWw0MCzRiGlwNIupngbZxLq2o4kAshoIyt7S65Z3J/k4g4BW4dlt4qeQwUE
CEL5MpmeZaOF0A5o00g9FAI1bSPDYOSp32YUJ+jSQ0F46uK6ttnB1tbU2npV7cTAumOUu6ll4cph
5O/FRJeWYyvGO12V9cuOgJnOXa5plI4WJqAvkBr2lbd8+VUuv04TlyIMTZ4M8a9piJh3jd/OVAAL
2mmbwjHUXJSay/OI92Zz7dAh//0q8Iaby6oCYQOr38Wy0qUZhm95/lgwitN74oYPy1m88Ax7GVno
dDuWF95c0ej1sB+ttcfNQJ3sv4TutfdC+nu9+e9nuXhkfWSqLKTjB9xWMEaz4z/H3ar6Mh0yj9bB
K3gw1MfYKZtr+9G1C18s4ZjCsnAQqu8FMJJsKnuBR/4uSFxyNN3ATt/M7GrrDOHA5Y+NhIzuGS8o
QMjlRf3vK8rdxrFVNx8F9jAlO9XZG6o2cFL7eH4AFRNklOMRQEhESEwn7TFmyI/wwCTuMxQJoMXu
VdLwbreTJDr07Z3AukXGwACX1+O9K99zIVhVouAhDwlA2Bl4McT4Uas+u+QRgL4ivSyEw9yPGKeS
SN1IztzuTKs6aVK8yRjjiiTmquFrHqCB0qpDJEIMim5BSKMuiOyCFKmF2+ojVpCw7XYG/yQvkLgT
F5E9yunkWY8XbHy1FlB008g71vPoxj3TFLm9KcODIh+GWVwxeCA5sz5Ki4YZM4+frw1l2FbMqi3u
L9fknWoQWlliY4eJJJWiO0UvOnyBsK9sJcC+Nk9Evz5qcuWaxTmsUHWp6ZZZ2JbOy0pDL0PIsZvr
w0bBk4OxU1Mzd6CBPaWIh5N3AclpFJ77NrSBPdtp0LoKwe1lp3s5QteUL4KYO5z7LEz9O7KYDl5A
qBt2kgobZdC3chbfhroJeosZbUkCtN/jZMXzoeLfazD0y88iIkiRGX2oH9VywxwjFhO30CaEtoSW
9gd9vAnEYo3oZSuFaGQLkdQm5Gyw7WKWs0xjVDTRPApvahmxKKFdvXkrJ4aHU1ASjygWzOau5Tsb
22XaVfMReHUn8Z4goE1aVRsRK81i1JSCU6xso+RLH1Dg8N9Y52SkG45qpJIfUOyvWlgicrFVYSY2
NPmbQw6JXf6OiRLlb2T60UD/ISZHUf0OS7KbBmJqFyZLjFVEekCk4QzNwchLx+yeVOV9mr9GYqnq
iMfO6wQYW/kaAExO7JPQeH371vrjGh8d/3mPNVR0wwBsofodM1HMladk2M9sxSTDe3pAIq38Neb3
uDhKsvsEBTalwtBLJm0ivW+1X6WGAWic3a5fFCSwsVrQXhnKCXHhI1W39KuxtvXHKq6/ZONBBlqi
V4NdARlV+Ozks0I6G2XdSWFSGmK4yfJPs3lZEspSNI157UTWJh1fKxOKdubx9K8G8OBB3hzJo91O
IMUCRMw6XyFUHE9OkRmbL9H8hYRqlU/HRLSuHA7/2pYuFpKL9SttZ5U80/FDM77b/CscxSsHJkVf
lqL/7EsXV1hObX8U4Xpo1Bp57N95OXp1jcyvQmgsEgCCjyuXmPbW+hZ3yTo3/Rck5Ysz+o7YcU+p
UowoDxIzY61svG7I/P/D3HktSW6kWfqJsAY49G0IhI7U8gaWqhzaodWzzd2+2H4oju2wyd6hzd2a
dZOsIiurMiLg/otzvsMGEAekuwAZFzEzecX2aO8nPQ0oBtcGaMPcn899mG1rrSTvbUkDLX6RQ/NF
VTwj8ISs7XUbjydycPHO9MahjL2DT0BhRzA0xjSEkfpVkZRnDtUqj7PrgNW77bKtzXJ0Lh8NKrso
6U6+Zf74uJ5GR3/uyJ7zY8Ryo0Us/M+y/Swwz0gg6Q0yt4z/rECWQyrgprXs66DqTTUa+xYxvmlW
gbmsOJeHv8TezMfFs1YDKNZ6+GrqJ12cdXLXKgPwKI5bDJMa9FNdxzFOwvrA+q3sr8TcAgjR1xND
4WF+blXMU1Xvczw0qyb+1cSI30kYsxu5V6n/GhGYtdG8+Ti08t7k+22d8k2Q/cGfchOmceAt9is6
7bnqkMDG2ypxNp0Lb4GH0md+68QlgCKivMdrOjJljF4tuOg+8dyEMBxBqAQVljhVsBO343sfef46
a/LHnpfcSUnkhgqyGu03B5O12zanhaVPHMjaRU6DqTOYXNx6XR5k7TNJwXdWiYEGQ7pXdjBgfYG/
kreyFCwtsUGDkoUFuZ4pB60OSSVRIQ6xo4qQngFNrxvEXMq0/qRFgN9JAq2qSHRgZRqG6Vp24W7y
040yrSCJq3t3igNfArBZqlFQNRWKocJDGJsyvfGQqTk7PDNGhmHas5EVj8DgqX5qtGcS3g2GDqr2
m4o3VBotJ+ynEB+Wde6m9igTyBS4O7P+W4+mrWTIgFe4jkjJWrj3Abc1EeKSvFTKJw2vZ/8+YZit
2GvMAvMhsJgGr2fSUNa0yQa0IWXytUGsT7ASI+WbWj/mg78ppw4PxDHEhDfnzjv5GeeuGi9t7t5H
TviJ3POiGJXE6HTLeutI1MTAbKrGOCFSxtljsru+q5vwZojkVdqcbZhyHNZxVRp/hkvKsm5ixlPU
1cmBmJNt5UekVd5Wg9znIVnoalulDjmkyU4l/R7oPhJjrBgCb2qbv/DAb22+cXOWx5pNRdShEynR
4UuWnQPqWTYTJRDFxbquYNe4qHbdUHvKF93XIsXKLazdlyH6Nog1SL0fP5uPGlFc8YSIw9VU0BLF
jSCWe1sEFXAbEwFSAt8Z7Syx9Tt9+rF8BxmAfAjJnzQHhKfRJh+eiZLbeTahc/mDW2swnNlCIre0
3O/E1oI4c8uNNKZDm4Qbe5qOmXDXhV89QEp5zTHoxPp3Rk56ZLwb8p6LDqnINSmKW6fjeRLGbdQ5
V6FJklTxo1n5umrY58JtMnyGoQBZ90Rl75aTS5o5hjpu/8xutyGJ1YIEH6XkHi7DzqCuaDkPQsiB
WQ3xq8PVMN86rRPUyDR0k3WP9FYuOvVOQ1pv/cNt8fc6eznMPc+DPaObxt/6+hmD/zjm45d5U5zD
nbEpgshbYSYgo2kF/vNjod6Yj//zKvsvv+1f7hCT9AMjFOMX0Vk36iroS81NflQ7bRsGydVC3wfs
6x+77b+P/v/y2y5V+J+urhFoYxEJ71dp/ub5eYeho6MZt+hM/hH+LpbJ1V/uSUtnqMB+0RIAcP4y
73RT9DcaL22z9b8Q+Ms9SlTOhY+lm2BFx7lyWKYMFg2d/VxjoH3NUFj/Q5f692HeIuD7rz+F8Ze1
gKymyh6AYS3zDadaRYH+Vm4JNllXN6jL/2mH9G/amH/53f7Sxoheecr1wl9Zch5p/KWG8fGsq3L7
3/fG/t9aVb4rdqjI6YRjAU/6y2ubQ/2s7UH98iyNuFzAbCIfgrR8MOJyA5niviXhVutsLL/RbTs7
0Dxjni+5ywb70DcsDlCZov+8r8x25089RhJIMsDlAGkCHyDHCy0QdPSz4EQiJO5Gn6KNsvh7zxkm
alyHNsy8cIjXeJiYMBuBjPuLiTVb1IC2tYigJFi1c3ny9fu4Nr8rBPZd7TxViDUH2gwv0w9j72wN
AmZiRQCKCJ+zlLRW/S7EnIhrBRtGoFNDSodQyOYtn/IAfN1yCFMnm/Q04hnAAFZG7WkSt7FWv3jG
p06Vw2zmbohCVsos7fQ6SNLLMJ0afGXG5DzLZLwIL7/vFQ5BZFdNn9yYGr5yfMTM4xOKMbMvb3hh
PHAR/rGM+1OHT3Ryvmoon03bbyOH8PK8r3+h7f+H6vLffX7+9L7+VaBT5H1RQdv/GinS6GtyE3Td
IR2//vuPz99Xc//68fm9o//TOTAldgI/Gy/E8lTY1pos2xf9AVbBanpEwlU8/ZM2honNvzkN/vyd
/WWgUcdAEB0L6rlFjhraSu3YqBio+Zwt6rJqbzfsXIeWAqQMSn0h7otmU9s/yyBL50UnEG2tS2wQ
OCalrHc2oXNAgY1Lh/E+lRS0dN85wdJjMwZVJ5AAfBb+GHijte7Hal0j8ENnuc6hArn1ZsTwArzi
Og6QMOy3xX00qFdTXRp2I64fgJnYIW9kvibsvebPN2Y+/vBUrTVAdD0+FZPYNDNF41Lh8ZgdoHf9
xoeCUS7YBwzEc18QCe1pT6H+1oZgHbRiP+bJhscZYIOKd85svlVV8VCk6evYw9UP4y9Caq+Va985
4XCXI8h0RRQIiEd4Ix9i3YXdmB9Dy9g6BAGoGk6ySgnzzlyQSjgfIDIQSwM+t30LMQ2vwgEuEOZq
IlWhtRxrmAcVqgXbmqFfzpuo3Wn5u97LI5lcdfwRxjw8cWUyO3QDN+rPYlRbx0rWfrfgfDSeef8Y
IuDzB9K5dSSjBvMVxcKCssLsbvpBQnt2LjXC/xn7QtbfmQctI0FYtCujuBBgIJ30xSPMDSZQV31P
2W0sHuFdjALtq3heRLhR8qTUpW69vUWBq3L7NM9gHKqT5j+Tlbof+u/Z67e+I+jssQYwdqnyW2+i
EMyOGX3+4vB1aJDxqO5VWb9ng3vj20xH627fjeipRb6SuXatFnc/ZJpu7RgnuxtWkkJzZDtd3up8
RIhAWncZjirEshNiLtR8pW2cLXgPcXZw5ZNHD2/aNOsM/5On0s53k/ZQGJAWhVj1i4RzpP9KfobB
5cATp8bJcb4c7PhujK45+nV1n2BBRXi6i30c3OVHqUHltIZzjSe+GR+NGY92cRn6MiCb5Pd8uPZJ
UPGiqzTeSgIXZHnpzLcUiEYqf8LipRoAs/cZ5AeYUha2DXDFHGOvswCEWMpNYX6Djdp6EltF9poD
QW91ayc6ncG/jzI05SBHbGyRUDeP875X4CNF8h6jhHXMZjOPn9Fk7bK2xppOAZr06EbfR5NorndZ
MhVLu/3sPaWEo4CJ35h0Z4UCHcEwQiMFGNt2EWZ349g/lhGkCItlg1V+ZfYMalFbuwWKHTcJLOCd
UwqqNdzC5d/NE9vIl9h7mQSZKGBQzcjcuOO7hYwy7Jn82cXK7gWzmmGVDCAy4IDa4S61f6g/t2hl
1hOPTPwVabeDse+8pzYk3heU7vgtmDbZBrcJVycJg/dzK9ZlBxK1ybjHtBlD5eRHb3nW3thOtq4R
XUcG5q+S5rpytwOGIAF+YOBgcTUTKAA6ayLV0APzSdnaaX22uvaxzd+daDoiu+QYO2lYdCfxY9kM
sI2XZLIefKhuNNzbKhs2Ro/QBJ9M2bdbohwrc3gZ+mTfdHTQ7aPL2lU1LwOts9+R1uVcel1uNPAS
7vTZ4vsf8wqUz2tkP07mbVeU6wQ0bh4+6wSCabcpcWMhs8zKT7iJmw0sWTC5yGkqWr6xcN9FDd+V
xR1IP0xkRFA5fA7ladbuEdOvJvWeDv3K1Evi3tAVYxWLSgTn9tsUYY4CZVh5C0yW18k+VV51UmEo
glJqP0gWTiPInQHHi918RktWK5vHoiy2DWzylDc/wpcIxOVsJkcf5VaNpau3mn3FWA9E3WGQdRAz
IFEZtCRSUX22ADr50drUr2ogAk4FdcfGcH+pm4SZIAG/iX1XjPFr33P/Z/lNHutHReCJiJkd9/DD
uXqIU93raibiI9tVHaZx5OmpbV00GqdJuyttdBTa+OaL9ra3L524qOmBDWAR9gSOAFbhUanIUle0
MARDb0lzvgtrqrH0JWMEFioRYIwaEKwt0JKEFilOzbvU9O6tHoRa2fDgkHpYdXKHHw9W1J2bp9Qe
0e1ck56hVVSP9zp58zbd5EhgE6dRXVT7wkLdUkBdI27PSSEsleHOHe+q1qPLqg+zIA3RNE9lGq1l
oh2cMdmY3Wc9qlM2wUy1PmYtulj4SzXlBGN9XaaIPnQyt3OYivvrgk9SXhO8mnJP4dRqY/PiYpyF
wiTLHs3/uRw/0u6iFTa2WGhqXhpUGahAc5fFByJYkckb64m5eMT9IXBElNZpliZvOKR4/9M3goaZ
bFuddAmw0QH312FXaPH61pLIogebYb4OCE+rvsry3jEx28xfIU9Mk4BsnvVPGV1VdJPVV6hPckSn
TtbS4H4NsgpEfMh5ASd5Ow/q0Plq6ThRsY82WRrWqnFxa7IcqNV4UG3zXtpwGqPiRa84ehv+yLPl
bULihqpZA4RSIzXraZIaKpFkn9rRU5QMdymhyVrxVJEoLcfwoJfGKk3v3DNWzGmV7VI+jNJwyYVP
j4PPJE2ZBxfnR6QmKgumdvGU71vl7mVjBf6Qw+N5yMIE1GJ0Y4Dw43whcxASgRY9xOmFIN59I/Jr
Eo57Kc0bpSWHvvUvbiX/EMD8j3LfLvFXrRr1q/0dF/elyonCLGp/h5H9149uyp/ioa1/ftrLR/nX
//L/w/g3YdJf/7/z3x7/93/gH51+/pz+9vuX/BH/ZhHWZqBgdy0E0AwJBF9s+J3+Rvgby2RXZ0ZI
kIrlOpTz/xn+Zon/BQzSZnUPEMHW3WWh9Z/hb6bN17MZ9Li2YbHysqz/Sfib/a8tA8216ZIGAGJQ
t2xos+ZfCuuybvvONZ1uXXt+t+tAt7iYuo9Z6ChQRbGO0apMy4/G7hMeVr90Ny204hgbNHuTUJfB
nOj9A6HsmChhUaBQVfGVZOCaeNxkPHp2CYOmNkZx1InDBIEJRHO0LNz9XXf02+FUadF37WWMII2G
QAiVg2/rWXE86FxrjTfBFpp5klwQ0rc1kJ9LRBTGWmfkHZi9P0KRsu9+/8uwgReez/W2VBWkHF8t
oZbwrFt8mypOTlMqevK7bA/EiLv1Za1ffNCSgZaEZiB1/RPx7uVPH4TbP6YVf06wEygh/qVxWV5f
9tsE+xmOwSCN8AD+/Z96pbRrRFtUNqP4AlmoM9rhKk+bkL2TCCEVgMk2ambKWjd80k9mV5hv4inq
h88WOFlbOdmDaA1jUw9xdFuSGbwD9+mdoPYwyy6MBRWaZvl5hiGy/MKim63HSi7Rj+bTKJ69Mm9P
8RgW29KPzRcrGm+Lua6wjsUIphHJAT2jrPz9a3//MPeL5qCaoLG88W6eC7lFub/8k87bEOr2KUvj
o2P41WNaPhMuj6Al65K9Ycn4gfheMI7cAaay2fAEnQM5dSzKl9wK00tEvw+SPccVT+V/8Ode32N+
GzZiLMZnc4rIyvOYlQOLdJ4UwnwYM+cIe3lH3BEBqY13jeym5yKAPraKQePQ3+NglXXy2kJCAqC7
fNnWj1+pJY6iY/poE5wSkvMzrtSSdqMqPDbBQPjLpoI/iyanf7HNCaaZKeLj7x/Co7qpu4F0mgiq
i2Vi8OpLXcPnPtPJRPn83vtNYHtUc1neRPvI8gFNmErt8Ln+/mbnNBfXxEkPhdeeZOdGvK8UHDa0
9GPRW3zOk4p6uZpYFcsuekusutp3WetQ88nojXCT/R+B7fakpVkget28DAD7gdIQAAQN2TV40Zyx
2BMlNVxxE4X4sdD+dtjx885/K82xP5tGbm6N2RY70c52E+iub0B0iqmiXVc//n4rZ8tpN66OiVBR
Zw1TSuJPdXDBLe1jt3Uv0GrcC1P9B8GQbueEtn36/ZcZ6+c6dxRx8e54taIkPbQ1cHL2RvZ56AK7
Kq1rnrfY3BvW8eXYrIeFtqrCRruEeh0Si11Zat81EgrSdC4i0zuQw+xeuLTsXdyONE1jYt1blheM
g1vd/P6RlvXRYfQswDsRMygLQDQkUeY5lY1Nc/bH8o1GjEqkyqNLnZlXqflvs6e46EM2jmPnPvST
ll17HRZqHyv6JAa3kWhuFArtujTLS1ON52Soq0tnNAR9L0CDqJ6dlRx8AnctcrllZH/3em2elJO9
zEOuX8yu24swKc+V1T/kgFMf0rQ89Fn9LYhy3cUGtuusnuGiy+re89KPanTcWw2mOTyeqX+XrvdA
2NGqt1V1KSvV3pNz4h1mB6jJ9OPOzau97BQsUq3RfbrOue99jAx+/Zw0bhzYyiTFcRDRLk98uG1m
9CDq8skoSQGgDAtL8Mne8hc5Q9CwwDK4IlfX0seA2WGrPDQgYg6mB6ioLrGvO+Ps3o62g9+8k/6q
sca9iNz56FjKvQhNDNsBeMO6YOx+LZPauEYtzSU/iCs9yITeX2ondG87YxIU3xTpv78gert0kwBu
xd2Zkl0SRdNBLwz5WNq80IUNth5fX3ceFZAuREe3fda5YCNGb6fVhnfLRePftoq0sakcMQ/935+T
We9T4BDy+/s/MYtYMgdyrFMfVkBPzcLc+UOx4A2q6hCy+l6nKYndvsG3CgiaCop/SdZStFMNSzsV
dwnvdpq9z0QV/PFPf/zcyDxlnk39auML6ey4+dWa8SWDvAXwA+4xtbW5/+NE9htmFFot0JsMoqMD
VIhCPOz0tZjAlCXmk53mxgEKGRzbLNVgO9blfZpCPKxJB9+1thRrJSHxKY7LtXS8l8gpqRpdqe+x
2nOEoGAkyCr0tdvff+mG4s0LW/uIpdLcdhrb4kZjiutdJzfbEp7ypLV+sRFe9dQ3Jwzk0coq59dG
eXeJFV/ykLAEzI2V0R4JAD01pgBrMu2i6rkyinuj13Y+g5zZ5acaQuajJpgUbn2ADj1tbOylfKi0
XaURMpy9tz3p2zCQFWTXhfYZREmxyZ2a+Qk+VFng9XW2U1qzp4K+53+IpA7aEG/30hEbwHMJ0AEe
vqU9hT+NxgUVm1dCKNGBpYtoM3XVRmgGgRmss2wBg9vkxkJqmHHCK3plrgGdqO06zu9CWAq9g8wi
DlnAAsppNf+ujtNDaPubXjLls284TgOzdneAe+liqMhp4qhzyG+0AgA0l6hX+9IKZvB6+VgFJXgY
o5/IJyE9OwERAbYvhXmcgAVqSHEJXdaYJHGyomLatU29Zmv20KxYLXbRcCa1jJRYZ7e8ELOr3Zop
nMsu33ehJGCLxdmsNswyFSCI9q3z+fbGV1xWREM966aGagm9tgABGudbt1K7CCxDSjCVFYXrjoMr
g7CepUZAtz6H5ro1hrOlRTtzNLZtYu0W4MIw9wv6Yt2a48kc6MVt1kimPJSTGSAo2eS+dZlH6ybU
ykMDp0Ov0B4xOp0zxptojlJ9PLcRxMywOMgQahZdnlEN5xBGU+yOJ23KnmvlXXviurQF1z6RSdH0
gayA4kwdaCYVNGyd3VsRw3Qfoy0c71mAZTWjkzfSd4XfmQrh4YggL2LIOUAPF7mSX8NUhARn1ltW
y5x58MrzgMAHhk/eKhvmnRIiMAyCgMkarKR7p8tm20qEbpOMEBx47xG/m85nS3cL7g10R+6AQq53
UBRkJK1A4PcOdovby+czWcwA2/ji1ADS9TejXq/HaDiZsifyFtdYCYjAZBfRe/dVTZDNEGR8Y6jK
nXWSeRfHywPPpzv2y898YSKC9F0vv6ffgv4w3X06MW4Om71ZWrsw3vAB+7UwgWIvPExNdC4RRnCf
b8ONdKK97mpfFcFDHptsT9QMMuqjXkJwgSAT812xlwtyTbuFz/ucyOayfJUYhvuyRe22dnlvgIpi
lLfOoIz7g7zrgOB2PvqLGgukLIIG0rTSpl2XQndiQJEmIgil9tBDmWm8fcQopKqGTZhDX2ni3fJ5
jpsJMGv73OjmCUzubQZIkj/5psLqlDZb2S6pgowduEZDltm9cnbLz/u1e0k9da4ScciZqnQss0FK
HhNEDjYPdFcOixEd8cJ0YyFoEBDTlr83uneOR4s3b2lULjniLtOKLmE9HkMb4KVK173FqJ63cnmP
QRzoyLBKh92VNx2N5ry8ySHzV1xTXIDNWgzI5gBfp455U8X27z/cALB17MdjOQ+whfLn5SzM/emq
aCyaV3DzG5NK1fMaNHr5XZozFhb62zQwEAoKqXgfpuvgUpca2wlc4WR8LedZduJ2u7OGhVzpH3qR
n20v4RTryEKCYpDajxRtDDQJhJvSWyNlUOvMwWiWwSDMW9vO14tSxbTnozkmp7mk1HytidCtZlp8
3oVWs+8M8HyCbRfgA8jGmNAR2CC2ee1R0C3/twd+mbJutchA11ZqX1y04LnGt0aGV8ZpBOU4T+Bv
t7kBbI2BaBt3NxwSoBDFrkZFp808OLI5jp4ZGBPOdre/sTkwZfFhupLX37kfbS9mUBxeI9BSpBZd
gEI/QnFh2p2W8Rkm8E5x6+laeMgSC8CPXObi26mbLsk43Jeut5EjIF2AX2WtuMqt+dnWSekyjJMp
hr0g2VQW9pvdO5dcMJBrN6IZNl4OxJKyBiYyodFJilgzq+L3ubM207ykBYB3IH7pCWB5w7AlDPtT
5kP/cXkxwRowAGOniLgXJQf0+Nhd2y2ZnMp5TSA/bMa0O8eScCE+v45evhbTfoqtEuCSdnQb76Hp
4vMAQaCQ72ZzF0r/pY0IefWiG6eoiHxyTpmhjhHSTdKjT6FYdB65fMuZAunE8MYN+Q563e9sreRX
Wx/KkK9Wb13SDjapk+rWxvJ1uNGPGvsc2kiwaKDs3f1kL5T0CRrg7LlPZYR7gQF7lE7sGyT6JIH0
oXPFXa9AnkWImCiifqj1z2E2fPtA/+wu3gJ+RRxCWdcInkJtfo8JxkbTIk2N1b6V3v2Iyj9XuvPp
FBIEOAZHOqOzZhEgMLW7Jp/vrJj9vFbMp6KyDl6hc7vciRTNXmqybRtcB/Bs+NCM19Eq72SsPVpd
cxvWxj15NsTUPUovevIja5uWaVDUFiJEvX91wFqtxqq8r0PApSPLOndmplb8lIV4V/PrNBvPLPOI
o6/r97aT5zrSP2KFUtQank3Xq9juqYuWuo+tQ+hIlARpXO5ps3d1M28NW8dqZ34oV36YvH3FqHYm
qwMZN7u50I4kTbh8qNa5Zp56t3rV+RCCQAdtLK5RVT+Msf/mEFJHcEVxjL8rFZ1qclTR9NGHbfya
NluZz+lCqrX8ezEkV02hTvLuzSm7tD7RB1Hy3afzsavDX3pKTpPG5aqSW5sx7TiUx5jzUFGeNb59
TvyOIsVARPRo681dYkyfxZiTPurf25x/LNgP6EyXpzOe9Sdq3A2JNhvfaL/NmFYqN559HABoPr1u
bV6bUrw0Pthxige4JKPBe63sN1CQ0i0OIhlf4qREkdnf85lBPFe+GeQ69KB2KpV9Q6W+Wprs113b
7B0e/IIbnl0le590vKGN2DMi17UEgss7+/L3zneO9ay+hwZecR/O19QA3VLhX6tZoc1DdIURF5cW
iPeQFUSlfbfUDyvrm6QLgdDM0OBXaQs85kvVCPnDFi3ToGB+805l5vxIMNNqQv7chhxmhmSfa+4o
HEfjmE4jGsW6uAHRcbE6+NOxr+3jaae0ATlian7GbnaM53JlOehH0t4NJNkoVGNAQ4R2nIXFzqBT
QFksTloasF25rPf9YdO2lr4uXXhknWdoW9R2QKrRLOrATBprX0bo6z3/ZU78PXlgtO32vmyhT8/6
+JnrTtCWlJ5AINvUe5sAh9sCjWCljqnhfvhac6sse2O3clNRbtWud4Dc4ut9MPfdaQlO741pa5QY
XZJx4/ftk7Sg5IzVy5JLphW7CRKbkbfcve+uJDoIFVWvX/KqL/ZOrri4lNA4cC7x6F0q6YlNZ1To
hX2uMs3vd+NYnvqCo3PWKyTaegaRIQfM7sboOy1+yq0mDgJYjIKzM3Bk9cDNTrZtk5vofZ2vFPwJ
u0sW2CmFySDEDkjbjn3KOsxLUiRGhwct6oG5SSQ1/KF3c2peROne1cUOcwsbjJFFH8iZPO3ex+LB
6u0dmv8bpXt7M8eAHw4SPV/3NafzSUXqwIjjrnWLu5HmfVeQv0fKwVNvNJ8e5hY/LNYaKXmQhrtT
6sXcMvcgjo5SatcZaUZy6RfwksubVVnhljyFXwTDqlWYFu/wu0g9ME8WqmYLBCIn5rklQjLR3DuR
V3s+iSfgnvdd3N8Yi0q1qU+RFIFE5lZpMRUBeF6gfqp77jt7M4fp2R9QmefuSyWLLU14EAHbVeJJ
lfhCUsR0BBcb2afGJaRPJSBWka4tO7z4dDzhQFVKWbyCthSUQ3ywzKda5ttmiA5z+ZkhnTQxOPoJ
d1HqbnOyGSYKepDWiCXHB+Kk8WFy/DA9fe1iAlNa2iq9OYEWIeKlFOM+VR1lXV4cCJXf4hTdlpzt
22KwbnqGMQASjTea2AcPOuK59XkLq4KBADq+aXLve6goht3QjyTnBSIezhW1W7MbzulIZl0V2U/e
uOQI1jxsOXkQSFT0UnDV3DNZ45ol+1CTN0bIqttzHiSsf4a7KFGJCshZWUBdHZGom+Evi3s/n769
lg6jmo88ukQUFMVVN6wtYd6BXwx7gpY21uTcWS5ucbSdCQXgHGrorsMALPuFulOvP5TmPY8GhKo8
PFaq+UG0sdV7KMCEAPq55B5zjgWR4ejxQ9jTNRrtpfvStXPiqZ3VpYfRgsorkkc3GoIOgbovLnA3
l0XzuSxjALMQcogczslkyaJ47eSL/TWWNz61qW62x7KLdiFYPjuOgzjMnsu7Jv4cSiA3P27do67m
qLDNve2XhJ1mqPSF92bJZj/opCLZLMj1+TIRwTagRBYkBMCsrDWG833t7xLfuY+FfiycZXFkM+ob
XPnpoO1ctZ25VU37ixyQ+ylH9YCwvuhTflwebGws0MFutRRcZ6/KnUIHL5g7rCfqy7Txdt7Y7EfE
937l/WJv6iy3EZEu7gLR05/TZNz7JaF0aIqTATc7uymrLbepeb+4QATLlNiwr+bcn+pZZx6sAgtq
bGLYt4mjncJMBETV3tpu+qQmdWYieet5LQ0SD5wenWf21pUod7RCr23/FXfxIRpDSJ7RWi/luu/Q
2rKZJj7qs2/Epsae0s/Vvvbc7WzJY1Zml4awRKLPGGFwaoNy2uZKvGiCHIaUAtovIbt67Gln9dkv
7WRPeAOpnU2YBWEybIjjmRbcMelQkiiVjHkI6tR+LXVSV9JwXlt5+Bbiw6gb/4RMAz5mh0eot/BM
x3Ay34GFfo0eZ6fjWsw8nm34a4PUd5KzbLK/m1oSJz7ddFVIemyPdG7k7Hd+8S7yIhOo3c/ZoaiL
z8H+cMe3Ug83tWt9e1p7anBgojZfMRUOcmt67YfkocHx7VY22SGQhKeZkb0kqcVmZEZEPfpG0gCA
yDZEfHW0yaPPwAIjt0+UtkbUlJqdIDWJo7JcQFcNO1+DIZYJu4d7xej3rdE9+FGMxMS0L2XBxrIm
tksjVF6atwNf1WW4zJO6yjKm3jmdDCHz4GEqcdv5tAPZY+h8FOLI/yrQVaO09nIm4Wew+2c7IfvP
HAM1+Edz2Bcs7FUeHSbd2s9pvJsSzYBbSX6A0RwTe75z8LfXkU9oyHyM2/DUZsNlBhfHvPC96nES
NGbxC67ntKLsPVmzz5J8fp7HJFtHjBq5oo/ZCACevC9P+ceuX0ppwlTsjMYW+j2lyHqqJA6kc0pm
k0aNGzrwSRmeDk554Hx4aNtmHXv20eMZUsrgCIqOjS73MdEqBjk60jV2bh8edTu7w5I0rMoiDXqT
LfuCO5rswChC9AdkvKXNxq69IhDKv8ao1bI6mNBY+G2GMmwUtynTANdorkYO02BA8Ws0q0l8opgH
5ivFtRgf86Vsc/3po+qIUOjM+9mLToyxH4f5p6JVtpLobYB5PoUhmfcuTX5zyCumu1nC2hztCDjR
eGXvhgrDiThP9biD8PQo2xgJKKa4ITzbEWIoe9714KkPDY3EOnO0VafN97UVBn5ZXvUp2SbpT0cC
gSQkzk3oxzWxHUsaXaY9Vu892Z01rUJzn/cREgYYVCTJEDc4l/pP0phgEwUi7sRBmsS36vFpn621
0Xtbt9c+rJ7ez6rJHYryc93777D0vREOXGvsi0y7aqhMTZflZW8xZdcxrzc1MYLs5clJWlXoz03v
IWUcGLMp2vqkgjU5yF9VryOdVEBdHpKJb8iGr54o2KYnSz8shIUl0CBiIoAtCjpfACzdwR4xjvGJ
xmItOYCW+BDHt/dzqbZuB97Vy8b/Q9h7NbeqtWm7v4gqECKdkiShHKx0QinYIBBBBBF+/Xcx+2B3
v7Wru9ZcLtvT0xIwxjOecAdYHMZGYGtJ2BnTaQKfrgIOrT2qXWgdiVU3wiYakaSiSY9s4nIEAkSD
Achp6AgiCsn5vmtKcICV3WKhq9U7sXDi16KMyofhZ04Jyyd8YXkVwhqrru/OiwAJVIzdsn6ZIAat
PeLsqdaUHqIVNlsKeHyCaPCKGCBJM12fJXowFdOLIB3E6EeMb18uXXv6I2PTG6D1OAoGN+LmJTiG
hFmLBE9gphadRyjuxYpWI24IBTMplOxE7db02j6CkKOi/sC4m1ZcZnYh6DLMLNNJHuyjUHKaNnIo
AlW0OvxjAqksTbXll3wL13N6fz0z2mmy4FxMBo5kU3t64wnhB/ZYYVYJ9vUpdFvtzLhyPgI/hoag
o4Y0SqvRZlBOF07jz8zw59F4vCq+PSyb3ybBTU1Jq6nUaStRmxnSgLn6e0X4W4zLs4aFtzJvdd+C
aYk2IRrqiEV+fbvPhRXd3JGmeqOqOr+T1glf9O3FgR0DXYJRtadrU+lVzlSiyLvPrFA4FWN5QS1G
BgAEDd3Ku573G71f0Hqri1Pa0azyBQvhgFXcRwzcxcmbiWKU+ojqSgiEq4gnl6Az4zUcyW34jmY6
XEMIEAKdISWHZDuqdlFCkRfz+Dupsxpadp1E7tJB1As7a1R+KbP0oeU3noDZWchigJJHS3MJXyfE
ML8+nbrmqxjTruwljgUxd4MGvcQ8ljcZ+DTpIy3CIARlVRpTBtGVFdUjfxsOHwr63iOl3qrRVwdu
kxuI9iNIWpAzkJgWwZul2GnrpG6rnfAuvDp/TeukB4UW087MGLgs2iIO5yMdr2pVIfWSGnUZM1iZ
fUNM63EIU/aiFMLxRNmFEktYGSmi6hqTEsYisN0FGR/ktvF/y0Ze0Oo8GUKAxO4rHuPmE0oTQSv/
GFt2c0HqOmr1oJv/+7KQxRJXvTIn6+Nv/334GMr1VSsntZCKbdQoyUYTjsH3c2eKp8C0xGx5bOjr
fx9eg/6mHA96j1Kh4PcX4DkSSKe3FOe2QoW/ruMF+1unm/aSFgaw/IkOqSyk+EGDOyp9cSd9XvT9
8hi+7ReKaV6ou7TrEG95pRwJn1F3LXtAFH3P2lDyFA9Rvw+W745DQ8kwIR3nWLwmCLCsjMpX4DvH
GMH6wUX7/rQd/TlBA3ilUOMWlloRpiQG661fUcuXKI9JIj6SyEjejfg5VoSGfmL7prGoY1Om4TP5
77OUtu4kGCVkUxqzABh5zLiFfKFHo+SAqrpqxd0Y5m3zbZyPiChuns/rUa0c9KCmh1WkxfzVw2kU
AdUNIMb/C2bx/wOyMIBy6QgZQtZQBi7JfwNZfFIt1N5fDXcHv8ZTRX5x5irG+6hFleCOxyFRomz/
gtwX7zSFcGOLF3KuBot+ohWYufsKA8YRVO8v3pB+7CdOVJVwTaRwdJAo5N3/4+0Owhv/H7VlwIQY
sqGifYAJCfNqecDk/Le3Gwt9JQdiI2LvEKC82oAEa/J+JVQi+UEXOKLQYaTdvPxVXA+jbbXI17HM
aPzt9/5c7Suq9Q6RnQEyEcX9Nu3eAb5T48+zyL78gP7254ATwBVqCWZROsExjbAuHz70UfWbSD//
+xX9Bw/q3xWNxZE4SB2iLsXX//OKgnSEkO87ROMwwAy9BA6wLkreZpYJq/Yf3DETyP+1jF6rinKq
oKCD76vNT5wk9CI0VdnxYK1s3LUbucr/L1bvfzAW/uv9ofKrYXNijFVUAv7n+/sGhvLFPEy0Yh42
vd/266Qyd1sG9Av+uaf/8ZLom2tjQV+E3wPo3Q/uLMjv/fsQ4Ev0v9+x0f+kAfOO/qHBxmNFkhHi
AtD1P9+RFAp6bQz9UaWUGqeWkDOsU+wRlRFOQynWrFJeHzA3CajzwJ4KUHVDMbaTAOe3T9RAyhx7
qOCvwMS3S4XhblHTxFCMj4ipHia0RYTG0f/+nv8TKqbwRg3iOCkeoqjGf6rNjfKyTMRYCexxsGWs
rphab+n3//01QEdpw27979sD0Q5wUrqhI/wKkO4/xXLiiGmtFjD1A74bgpaxFdyhfpol2sOoNbHB
+3myrO76TNtpO/3AhGwGaWiCPPMkdlRLdJA0cFSvWrx2ySpZFbP8oHtMAYxzelAYHM7Uv/FfwzBy
g4HUjkz00Ky+T3CsuNbtP1dFQEeJccPcrJep2/1oczosaPbwTXvE735vdC+fjT1/Synrdd54a2t7
ed156lJZj7aAa86A31blsT6infBdZKvh36m3ZBrMJdtHnD1ZaefyWB6jg7/V1qKnbv2lvI4WWDjZ
uZ052VzZCAd9hwxAhGhnOc+m4cSY4v/kYF42g1Y9IalaNF5wHE3eC/7pDFegFUPl9XjSu+Fh5DXc
AtlNL+1BfE+QBdRW483rB5z/JVxHyPZBO0XmLsT7SLKlxYe7UMLvNClXz9JBXhTPYK5+rO6WBK4A
maJ34tTuAJ/zB6aIPXb8I2bGsmA3q9d8dAymCHDTaXLlM7jeYmE86O3Eu+JAQuagjPArTz+TlwdC
T5q/3dRVUUVETfoq/saO+ItopnFPHAMh+Wqfu5gtMrm1lLn4yw+Nf8WfIbpZWLX+wV5egf4SzoMp
J+TbWXHAGDtbtagqWO2ipqXau/mhpC8a0lW1q27eAZw482/4OeHMuwqfzXH0V95qFi9y4CBmAWKv
PquRgwOzlziomK7DvX4x6LucqtPrx1h95+pmxHnQQh+bBD+jS7zkv4m66Vov+S6TZbgPULG+wgny
0rWbeYYrL0JcKHEX3o0qt8mc9mW3h/TSIF/cL+rVq7CiS7/gHd/SQ6zbvT5tekdRnMywssqNM9wx
LKaJqIQEcCWmrwocAN6Uw1eo/QyXM/gDO0v8kOJpvdVYrp/lcItpcxO5UJqtJ9zPFXwbDd+Ur9UE
rIYvzbmpSOZIp20nu99FvHrPakikCWtR9UAgYApvtvt6y/ykn0l2uaJ23JV094++N7KKAz0MgMv8
CsTtKawiZkd4yr7M13TM/cvdkofaqownZ8yBhi4269l715S9gKAAuaNu4mIUmjj5ul5qlVkVkzqY
MSEEysSf+mM2PyA+6wBrCtvXOYjhopjY06Xux2NENOW6uRNZag9xe5pMu9V3011Dq15K836aTJiW
vfCi+C1KS8UfaZpZ2aQnOiQ/33k111a6rTl497kqGpmCIzi4xzgSMmDD7kZnZdcdvzMqMet7YGPY
uCvZ5TLYBt739J0aFrhRK3R9O3TjiS6b/vO1VHY6/kureElniaX7Mu9A76cysk3PdCPZCdRcfDeu
sm2YI8tm/6BnifQItJb3jN6pw3f4qE5oeSG4gHagwy72FBO7LLOwkR53Bp4plCKrdmoHP7iphoBy
O8Pji2bgGWnM3fBrOA1mOk/wOxtilAtHayHZLV/A3CL8vTfVzOev22e152KmBjcB21USfUSKjr33
sVlm4NcdSoTowGADrSmV+gwA3LOYRc88oncwpb4yhGVC+pHY0AbO/iTZRc+QOZOpe+Ezp16ZAkl8
WUJidZUr4cNFc7O1RaQEF9WGmjqm84h1VW7F81J0gmZBu1FDV1vmF7Mq6h3yttDfeJ2RHcEymSJe
cnuBegL2ZrWz3I23HUJOoslKA7BfXxlB+7PU8HoVh1k7/84ZTr+/c1TZo9aF6/CaQwYMYNU/Mfcu
aodbByOwpzZ0MRyhnyDeGGm8S0hjU2kByYd2UsnGKJghYEbvVC+47M5g9JO4bWmzn8odgys7P3wX
KCSqyXAvRvC24JZy3TynI4MdoiEwtw4UFbqs5XHsvWcAoD1/CQMouNFfft0Mw0xnra16r124aZGp
7d3+bOzfi8Qcb/Xl18XwjX88sobHzYQfK6XWYsfEHrLO29eWeSH7nO1o0RTwIihPWJ/i8mmJx3YB
PZ71kKwQSK5g152ZnCW3HqMT1hjvapMQMaUFPL1p7ipTGjIu+Ff2DyF6QhvGCYnxrynspd13Rm7v
cBO8lxd70nx40ZitrrkiZyxX4KoTf+kv3wu6aSrKDH/JUd8a++SYvt1g9bqpqN3NFMOUznjyLiQ3
n+kTGFfpoT4aD2wKmGb8oa3MO00J3YO8A/E85dgyE7SPzXAz9kYeMBQb3pzZu5jAonFbWu9H7tYT
lTWBkinhuzpkO2pTmzU0Gf3m7pg8ABQGJ7R0HoOOXRh7dRvcpIexls49WcBCPic3Y61OhL306M9o
8dvpAmE1jlKu5UHTfDHmME8Xw3/JUfTiG2U1v1Nic3F/THgbHnYPxAjBZB7nksA50SFl5ojJ8FY6
D/8Pl6ycKb9Q8Od8fq1qfjAnAWkXnZMeEi70c8PxY2EgIKCstX11VtYtv6pzsDybV+w8rMtXksvv
fvPeOq84yzUcQtbIeAJFzNMn47/6mM/ilfiX3LSH8kA0CffImfLgPi9IgHbFLFupXrwb/6Gin9ja
ObsNVx4ehmdX/2Hs4fW8ZL5QJwq3J1+053AGFRWJZN8J3Jcbu4lbTCgT7b/A9h3fQtXa7LZoRfXS
AoTxBPGDpc4bet3IPegEL+RHdhT2Y/5CnXSI3OYLhp+s6N6FAThrz/Hx86duFRIX0UMzw8ltqk1H
2cgbdaWu5I08i034hS6Nju1rNfayW7h5H8LNEOniVUrgFP/iVX3E1WSXznL4p+bwg+9ZsGMYdww3
jCgm5EDEzJaXbR+0GVAh1UVPnBSuMC3cwpVmyVxbtJfgDpyBrzltJ1/34yhmbNrMg80h7oYTKG4r
afOZbglMfANbEu6M4KJ5wtfDz8LOslSCNNwg80hrm29V9tcNZ1+XqQ5/Dc5kEd+lWXyyRwwPGSAm
G+UToxYh4pOHkokCodoqkyKdBsCnow/9G/Vb/17FW79ALT+fk7bUx2DHfmlsDmq65INIFJ0dE1eT
8lbe3ocP+STDBeNhnCElNsDl3iZheQjJpUmgIjzwOaqsJEoCyiZPohWWf9lK/wsv1bOdadPmKv6M
ftTb+Ai59fnpYaaabKcrzoEtaiEIW1yh+ObMdGw8vWmc9ie8vz8fM/tNfmPV0i8cknfpJJ+KfbdU
FsT6zgBYbZZbGuXKHUNiGazKHU2TIHdnpEzvNQ7aDJPT/XvNl4zRtcBUZ+oTVjem1C8Bo6gpSKS8
tOIBFmJilJ7r8NhwSrOABmCMOQ49mVekKwkIN3+5Mq7OmV13Hu+z/pXn1frj6b8v9N96QHcT2Opx
Nx3/jntPpzWHXyxt2BOXlV2Ta7yV7qAQ+gpxTt/+ztshIl5L2EzJNoN4axZ7UbHBovzLSKlNaCRP
3hxJn9ZqoO59HPxu+ISREUqLxim71pN4Gs/RsIF+9X5oruJ2x/CZrPJZhV6IMhqeDNgJgOG30Q8/
7AVb7mvE7chiM9n+e2flD81/oIO9yP1KvJHjFovWbbxwhuHffLSqYP+dRrt2E7EX27OxLo/QHxzZ
FpfRoyTDb1bFJsRjujejM27ozbL+Cbxw3Z9eW4h+5GHpvj3R6bP7ibg2rllmGld5G6BPWnAL8Kpx
qS6J2uQrXtaZ+rLz0HQKVtKZAmtXbQw8Ei363yB35DkPcjtw7gJY19jzYKMyBQ3Ne4/2KdzYHxL8
S0WuGa8IFNqazuC+RQyqNgeZqNp6HSMKCQ7JVUZKGq/CDct79Z19OHr6O49fgw0egnlV7FHngdSI
t/neOMHs3pWcaSVxIqbqo4ONs0TnuA3bBsHptd143XZ0lWbKTLuEv/W0PMUwYC6Yv5AIeB/0lAcV
Iktbl39VxsVpa773PeMavgCPEu+G8/7DPqupigSHA79e9QeADNUapB0LUMFkoZmCUmzv+uVdWm7g
mSXnk2y7sstGrAaLhJXoFbYwxcmmTExGsqgt6/D/EXG+vVAu+vN/DKpdKkHQzQcGS+oOZBQGo4DT
kL9D+ZNr/4GB3l/k2WcO9hQFAemCXU82B/Jx4W/QcH6dxlSTnLikclxK/VfZwSq4GXv+I+iTChiP
7DZGkeqYLuxum8w/c9DdDO+NS3cqgDFm+BQ0ZnkHGbBJH2/D/HRWETgcPMB29SW/fob4AzJGBZNN
JmTsVAQOmYP9qJpplQML3il+krU/h3thyZ7M/BFUEKjQRbYQme4ARrbEU3P3d8PVKdhe2oNAVMbc
322qjSbi7GO/g6ngT99fRwxdCZ00JLsN8TcRt2EYLHs13Wa97O/prVoaEJT+TK8X3bEfQQY7ZKnp
vI5giyAs7YW+yfkAaSGCRoZ30mjxolfQEUOQojIVtFZ8es0nSUbY0JX0n66xP8Eyj5B2wI8r9ozg
ltcTWLjGGoukpiFP+OaHvpimCEGu/e2wwmB70zbMjtJZli1Dn5A4IHTO55zPHo1ecoIafEO4MR7h
5rXTUX84i/G0VFyjPBct7WNEsjQVA/kvAoTYpDoZut6EJWIv/tXY3KNBkKI65TDP/VFO2r1YAypy
DfdaUss1N+EcPonnJJ6v3XAa8JgrlLQE9sh0yHSyG60PjgIJ5QP+LPrFUD19vI+HzMuWRtyVUgxZ
4pLwdfoss59gSy59Ke7FHV0FfaHynz9VHHGdnY2f9zyhuBKt+qLFZopsAkQXXnnhu+MRE9Kp/Hb6
3XhWTStKMiD9rlusNV7vRUoDcoSsIF28F3gGL5AJXLfr0VI5iDvtoBxeJ/9ntCUnO6fkryMLm0Oy
/pJIOmR0yhnctvJZkhgm+AojTEA4bRcUoKB0HQxsKMMBk7Oz59wzdWzrFz0azhUAqEOZtvueonU/
jVza4IhzGzyQ6DDcHg3o9lE+hwf5oW/B4LH5k85Ur8HxdTT2LJz2LHYgeuEhWrk+A1IgPz5H5YG6
avax0BoNVJPUjx/kT6LZBgx1ngY4u/Xr+GoY1Jp4YBHjvmfpIezxoZwNJbO4/O6/e3FZ7RksrDlI
fpIf/YKwGQXsCXmZup0YIWYutr4ZInEzMZOpHcx9srnyJjxS0p/kxqszpcOAczQkQTcgL9thqvLH
qzUFCblEMvY5kjJoZ+ERPmMWDFXMCq0QT5tnWzfZyieOvhNBOqPWvkr38hdNynKSc+8xPzs0t89K
OBvnkmYFqTNpRklIZOiyTxdcVV+bBqk2AHrJhiMObxFMEjMkIzTjP+4lET2VgcRjUG5CmuBtyftS
mTcWwmYBqOxkwg1CRI4fojgRoFSwT5FB+aK0YdY7+nF1a6ZM+pGWAcSHckM0ZB/Ca91E8/DryhkS
DfNfEVBBZKMKiPZGmsyy1k07W6RkftmwaFiz7PUOhsIMyLlwC+/cZQHHrX9JCXUVv33885rTLRnf
cuaTt+qZecodDVDpHv3bF5xpqIwydCX/IAkYt2Z7KGnlBbv2rMN+g7RBUDTH1/gPiIPBlARZPbLm
gMjG8WKydNHsHy5RZkhm5aip0YDb0vf7F98bn6g1hXWrNKal6y7A8Oj3C4v+ER6SuXFOKFc5Gw/9
gQk3n/H1kOndxjSDuLFAvJiFWvXLGt2+w1nLXuD62rm2k3fdBaO7PHc6nEIawrPZXVJ4JjhMoXtB
fKldaCeSRhxfF7pbgchmji9ZvcRYzFEI8ZC8SktPsb/BvthEjakvLdaIdm92KK+s0s2b+7YN/tIH
cGLwZl+6HUQ9Ugl2KvJ9vgkHFZhwPKdZpQNmpi51KgGg9fA+MaFgz8IPBTzhc9mpmZLlMa0n+hH3
HqhqRA3ALxRhYaEOi6NJgLXZ3M5SH2IroY4gS88ieup/r3l4rgAMSJj2Dqqmtxp9HWa0MYA3s1vW
O6A6oEhHR9pZrLESHQ7gWjZJdnesV8U6u/Lq7IT4V73goQeph8t/r8vr+CajLThEHPSB6E/8M45X
kH2isK6xL6Cqb/44bXi+jG4Be7wPY0ZPgzgCmnYA4KzcMMUrj1t5SmQhSGkIFwsM1/v6qUxQOy06
Mvf8QaXCcQtkjj9jBVEdCzSajjP4rXeL71AhA/wuDvXte2iu3KB6SY6omzwYpNEyl6fDquXpMHgm
G1Ie5d+H1IKK5e+DzRArkqYCdF4aECSgL3zOTSmhbUBXsMKTPpzgJ/lGsKX26PSwutJnSduyXpLQ
kdmxVcTx0IUnEQ9aC7DHWEAFkSIguNa1zY0mCUoFeHZ4uNocWxCcXrXNz8U6SCoX+R0ELdMXZ7oD
w8ZAvQ91g9hCTJMlQa7IJyyuCn5o8CvsiOH8JdfDioayARAeXDBwdcwBSbk4sNqXixOj8aJ19uVc
mCaozLZWhapGayFu2Fp0lBB1zj6uTHKGWCjiESSirWX4dg366l8VgNhps+tu0fNfIdWZAfAxvDMx
BKPbwS5uzUQxUzhmKTNOS0WzDKl5gB++ZUQTwAcNiVlrgsRPY9vHdUSwUPoRQg/rRAz8FNxrxia6
SUWGk68FkCUrIX6YQWX2+/ysSCg6gTgxh5YQCCf4pvDxUidkjd4EurdPoA4jPDK4Ft1jGMJIBNWI
DiO62P5cv9Qjrfld0wk9EBAkGjsQ3cj2s2RT/yQgkgHKpLOwW7ypSLXFuPWiDA6BzR4HL/VPr9ep
NBOGNz7wY8Os/oRtzYl3QzoemEEsm/01bZ1yE01F1DvwsDJfT7SQgAZ1HHBXeSnv1Ev8y/6NeSpY
hlQwPEzShoL4jSibQiVpSVdC0HjT3slqZPYhTou/FWsXaV8AVduP16zyDfuVblyP6Af7R7dSLAtM
NjZtK0IlZwcRtX//OyhUoK7uWGPzm8EfumAk1D7dutE+kJw3LtKp+X3AvcEENbEKhqBo2xyiM63n
AO4y2UlshSNLHbnEcmIQb6isoZ6YQQ0lawh9Em2451vDG9wkxcFSjVVA46WeaNK2hsZJwGFPvi24
XMDo5Wt9GW0KqhwwH6GZ7xEfmFO8P2pO3/ZMBSGc35dgXlGroHiNuqtxr68+hZFA2F2+DIcuN98l
5rH8Od9keYoA0Zs+o+RA9R6ri8ifIwuFuM6wva/ho2dMkz4rJGxIK41JzZxIoy53gcDSxkWRZYQn
FMkKgVgjsQV2Z6FSQ61R0QdFghcIIIxWYNt3FqO/Q1aslqwqdlBGGqHARWV9h1jB6tkn3OIapK4N
4FG7SJt2zUkdH4dDjaPnPBQ3h3rVrKKHTucdhZzQVH8ZJkWPxEPXdy5e5MDkECGf4cxNfofyVrpT
eGfbxPvu+9AMUI1d8y/qbXftD9IBvdBmFz0+VN3Ztv6lFmbRfH7DNYzb++hZX95zNAm2EMbpdfE8
6VXv9X3zEJDhAc6IWztqcOhfHbWruEa49v3HMxrvhR+y14f2I26UnbrRL/0Unek1gjfO+CeeM0oK
nfd3YphdicDplIVjUyXJxQxX8Si03U/siVh9/+kcWERzOn8Rpqxov5soxRNNg5Xu8cu895qU/V1M
SC1IQkHESTQkkFfOkB6AH2qBFxoymHg4QPEXnzdUDdDY9a2uWbaqchAhygbxfFZC7KB7JlujxCG/
BCNHoQB6YvTHp9AeMUEPgXxDTuAK0MkN7P5JpdTLpoyzeYkY1JYiV85N/0dmxPM5Cmu0HWcNxwUM
KRkmimTJoBobcyBxU7eG+3qZTAEPa+cx/TUOL1qX5Upc1st8T+5FZUJspY9j3Onp7JR/GRrHRkMu
jtU3Y1XeGKkN264CKsZKhKhIP5fGOEfzhaQFTlezE06+apECMBcaoU98JGqNjt1ReFCm4VgAqLN9
cPSRQuJk7t/UckirqDLpEBGLmHxGQ+HGuxte56As6C5xJBHpYuyrCPIs03qTTdopyFsORY0qu6Gq
0U7ltp9xdeJRoAdK/4HXG2+pPTCtTk7U12OwKvzwDlhmch8WOiT5zgt2iN+Oj01J/6R6YsLsMRf4
7PJNQevjc033r2116liT8lUnCUSZnmcQmBEHJUWtGfU2OgvEXhpb9DR7G2Fosh0Zf3vyn//Kadlm
A7oRdUNrfBE34b17GrEJGhJcvEpWPXY6GX6vrctWpjgQe+HDwrArR7g1mcWftBX342d6N1ls/BE0
k4yVUNSf6IIlcLs4l8mBVIsTlH3HrS9Emy65RF9h+Irg04TTSpkRlRmxcz8bBFXnbrSRzkTd4jHm
3mIRKs6FZIHQNjsgxIuEvJ9wAurmzRKnq0A9Bi2cHA1qXb0lRcaRkZcbpqlwMEgva8llasaNgQMU
jidAYv1D8Ps9xWQuHGuDnp0lwfVAvfYnPb1PYCbF2qw6qyN+1VbwdoXXLP1Trho9M9REUnoxJmLM
AQ9Z4x2apBv0EUlDZHDqufvCuDUbYqYUobBowsGlJABaz92le0pZq9BoRbfbkonGHJqcPenTpzPg
czXpgYvhm/LXQmmUp8+R+i//42wivWM0VimktDYJJIU3E6u5QpJEwKPDBbKUlS7+5HuancWpvqDN
zcJIOwu0poYECtEWJVRUjfHmuCDn95Ntx4zgi0118Ik2pU2/9n2Qzu2DXj8i3qMVKFeNd5g77aVA
CHpg3P2rrBhr16hdAqKxyR+Y9qg68tK03oa8mx1X9ub3GZ3bfXFprs2K/uPG7s/ZXxJaeks2SicH
SDiuHG9uYmPaBZQcrAfuQcWxi5GDqVyMAxADtnFix71FfjsQuZ/0lxmSJYCYUsS7zO+++6X1Ge7z
k7gZPccXEj62H0JcpGkCaHG6s3DN6YwaYOiPsXIKx9MXMEtaZJLTfyYg9ZIxrs0TOrDKqVhzLEQP
6cAwMbrQi2bYTEKdDXUuyRL1bXFG5jqjhwjFcPsd7gkAbWJdglokAY23QpYKboN7d/ogJ4/5ykk9
8aVwIL+mLKWY53J41HpHD52c48VDQ0qdW0ZTXeW24nfgME2hrg5HJpO75I+2AOWcSn9eIa2yItjk
rJYDOl0yZX9vMiknKKKNH8rMZZmzHMVte8nuFsD6EFB/a8KujphcUeVF6FIPWSDdvWROn+EWJ/a3
niSlS8ZTotL+7G79gQDZLZNt90vSShe+IMDwHRCfAsR060uN9NvgOEdOFZrpZXz8L6QDtQz1vt38
ZUf2L8k+98pnDHMOX4gWmgGASGloulZ2PnYS3ABzS2LqTg7dAkgHLGCOdtLFR//eAtEINbga8ltM
TvurT8bBnJH0kt3OmPdlLkaICZAzs0KAktckQMPHpjaBdhHJJBO2PjhUmcVvwKYyC4DnmJW3EITN
zI2ccCtsjEtJaLoLnFuov/lovlPxu4k8a2XZK+pu8UXxrRWT7Z110VwR94xx6ogtkmBCmfjT7tWj
eAufxnCGfP5ef5wY8V2kvpeINOTz5ve3Yy3fss2Yh8b+8JAVXL63wuxzCk6M2bmAGwc9bY3mj658
NUt2nEvtAc9pCu9z/kwv/YGRxptFiczN7rsX7h3OevTR+zuLvUHBvZwX7/MncwuRHUSOVVrMLDjo
KYpgDaALO/5FCaryJ+mGQdybElKk/wTI4od6lS7V+64f2h35Zki3gDfUuSM0Dx7VMURr77PKRQvq
toI6Dt166ghwY3Shs0VEDRPb1a/1cT8zxVPXxMqiMNtdfSHq1TRF5D0J5YhCNjoggkU5xjwBMA7V
VFVZAEM4FJl/E9iacJndyCXfYBkYHBPkaS4FZkcXRB9QGRoEFQQrKGg0T7sLJ/X2lm1Zn0bo742R
KARIbQODbhTT/+XEli40eMeaqVDUZ1ZOLBzTwyQITlTJoiBKuB6CDgM/7Evm0YK+EkO9TVlYg/AB
R2Lofank8puBzc539UmAkdS0G/EcZySTL6Jk+aVWRBgElU1SY0QWfFtDIHgf3Qoa3UO/zgTY/IrM
Eb4ir0n5whAFSjChYaZ2ELZcS3wYy+ivW4+e/pNUIdx/fqR5QiYHFkc9kq1EF/aWC4YGXU0wEZ8P
798siinY0kynUB3qNoUpoM/EGjfDsN9TcCjcPUYvVyoOClFD85gRFeWpKOBMTfrcocdCdtBBqcQN
kzwS6qRbFS76am/FzUam/0hTp2p/oJc2r10kOOKjW79PKZLBVDeZ/X257zH+FXMSMtR4R8Ixezvo
quZPJul5dUbMkwxRA3A2doNg+SnQotj8a9NNgmgf3FFANZlDIDnxqM5cD5cBWMH3qDfFn+xKavpi
OcMMJIToS4JqYgBSywjOeTr+9SVj/xJSyStyZafJ+VXQWzfXPyklGamIoIymUhq67wsACyGY6zhZ
4NtDWZ4u9WCWVvvISExJu2ZXZfF+pgdkc1/yVseaSRqH5vK1SsnpSb4rfQqOQnjkz4hGnteHkzq1
hx5AaMIMsjSTRjIWGiViQ7Cd7KpDzKr0lHQdhTTlGjgbu/fzNf+u83X3S07EeHFMFU9UIzxASdJZ
jeYYQIlAKPX8+JnKTp+aDGxs8cZ4lS56GkIO+9WN1TCDBkXyINx+1FWq3NRGwtYOnAJjkIyX2CdO
ilSBfqiDiy6v62/N+nAZb3AwSf60Dl3t+UVrPZ3yBwmoTbT9guh0BV+e0yyDKL/oCBzFSFxj5A2w
A0AL+rSpssDBr6gOr3SvNuyl5EfVN0JKG45k+0NDkeki2pScOatx6hnJbRAyhpYy2r2OnHPottCK
Jc8j14TnU+soMgMKPsWkUtkh/fIb0qMenmrkf7VVIc6jCgQMYRyUV4osJqcNNhq0DGFIoJD7DE5f
wR35jlgwvO5ottQmJci3moyUeWisC99T1GnDfSWVFtAUEe3iV/WH0+tYNReRNkQzS4rJR5nVdHpG
8xR1Y6JVxrnW6j0KKepgxzLkuwxUxxqlEx2Uz4EmnX5j4yNea/WoyNKaTrbpulkRpGoELJTnGGZV
yGSbahsqLoUEvXqO13+Dq9cJ7YQ2r256tM2/00/9+/X//DC0YbDl0dwn80+jTQ0pPu+Rkhd2Ud3I
y6I7f9Ip54d4YHjjB83tDUtjrSS7oN8Fqickt296+2hbWrwl/j2SUDKeKGZ1toG6E0KoovlAjj60
LilvJcJevhAbnLUn2n0ohWjZovtQDgoMHBhOiZnWYkSeOEc4FZx/YQqqHWlkPADpHEXfom/jS6it
raN+rgT34LXsWBSwyUeqCyeK5jXHPsUrAQ+Ospnl++hz7gqspuav11oo15J80rqzEj7ihpdpc1My
dpE//XQO3LuhdaDNkAaSQN5WFpy+5Jjt9CNJB53gqHuMeiRx3ea33qFskOzq48CSDZAdGHyMYTOQ
GjDLreB5b+rIk79zSXYSEeHlSfpmAGDhF8u57zG4VDK3w6f0y31ll/lWKc/I3dKIzT2P2oniI/Mx
+380nddS81izhq9IVcrh1JYsZxuDSScqMKCcs67+f9Y3ew/DDNE2Cmt195skyef0KN0lGvGVwHUJ
kdAGiBFnQEqfi3WonllT7PJWTmuFyKxcwOR03e2v9c2Ah7mSDV6IjM896L/2a8U1/FVcKyg39Vfy
QiVpQ0ERVCvZn30NrIkC4SV7D74MdS3JhJe4TExw1x6fmJ+YwN7BybqEZ7nBy2htPrERqT4kGAFj
NRvmDgfzrr1YL9IR+1YXY48LKQGNPy17ErI4hLSoz+obQ8JcxKcJkaFzta5bah7uFOMjuTMPZpCI
w1N4mQPXufasEtZLeQAxfkfHtQvP1RGwB8xJAXSQ/2yL6YQLkr4n2nFVvgYQkMd9v5+u8VuH4daJ
otRsN/afuuAju7L/KHKNTX2DEUewEuiQCf+j2invFVoBZsMr+Dtch7OYKnTsaVSEAL8P+nAaPsYc
KEU6xWVv155pSbSXnnbZC22TVZRQBy7gNl6xQYU1PRk1z4axD80Zqy1CBVP7B8BBq5tdHD6z6Qhe
k0Dz+FBxaz6A257tXcxs9g3fonvuT6tkw0GG3DZ7ONmLTEXYNoyuXHrLNTnDkKLZf7eCotPuLYGY
H6QD5o0bQZMe+QlBwsHfcMUFAC8rvBF6CQY/wkEaXFQqr70nKEK956zIPF7Vq+9vatq1yP3GTpy8
Rjz2XdCJNWXZiuHGCrMPF7uRdba6QrVb6y+hX20tr9jaR8tDV8evUJ9vw1MMN3jYIqTzxUSeRu0W
7pNN4jLG17fFxThAj2F8fhHDLSRDfu+L8p05JETzzGWc24O8WVu+YslwflfVhpnSJrrALBjFRClg
1urcePzkyn7GVnAe3pTsxEiH4xcBFdI/M1ln4kDzq1pHPk1/+W5bETb4zWtKf6MNhakggeAKDBsH
si+Q/CH+5VNPdGcIbSP4MWrbe3HbbRhaUWOxZQ9vE/lFq4FygKd6zgmCFrdd9BxdylN0gRhL4GXp
Y1nFC8ET0+M0iq+t/3tjdf7HM83X0Jg52OUaDG3732/xwHAm8lPo8RKufHYRn7No83V+7hB6PDLU
I3EcEzfdZ89Iqg/1+oWEZRfrDpiv1XXYdS/VNdi3ZwzZwbira3kT34EFeoxhN8PG2ULOdhcIJQL5
zvfE5uyNQ+oJJp+xRRviwgE4cLou8T78hBP5TbXEy4D1e6XYPOSc2mFLIAOqx5Xtomvyg2PAFaDv
1Kv9ou+qw/VbcbvddCST9sV45zb1TT+Emzavk515guT/jiqM2xSSHe/zPn8doB8Kppq6Fxe6oMmJ
i9OCUV+uqp2gHMK0PSc/oq075nBRmpfyPH7N4LLLsT4LXrz4a1tYkIIhj1EO/E9tU54F8Q+9A3Bx
8WK9J1eMEB/UqbqNYG5df+ETCiEp+dGgNE58DJHeldfiJiFmihsn2TFP8sVrlbaCjCfvdV+wkPU9
7IX1soGLRlQgukHah2O1k9kGCspq2nTjPT13R/Fokzv8e+MmfvBzQvcQ+P0rxVUMhq3/OSuE1ESU
4mEH1ZWB3eo79RhMcU5TqM7WBvXEGi0nbFpBnVQ24gH1vc5YTroIkgXScchJjD54BR3cAh024wKz
MduZPs2gOPLYacG+Dc+C4Alk7Rmr7IhR4H7YzHvtEu1Qjbs19D/Zx8DrKJaR6cKOwHIjFpx+/foO
sc9inYBpw/vlc4OFE4KQAsVCAd8fzHAPvQH+e7WRT0IuYmwp38DrmwtFIXTR72/aW6537tGVv7v5
vlhZdFd9kX+mm/S13OK1Qz4tdH9fLC4Qxjb6av7R3UewCTaGR/bOQd4ZHsOBLZ4RHkfvCGjLCFy+
yBfxtW6/8DPm8WGxVvHYK9gap27P+6rb8yDb5bacl7N5RFHmfLUfwcZamy7eUitI7R4ROH6zrd7g
vXzH9/hX/2AhF5gwLIqrvWsO3bY5OGeJtdE5dzDp45PkEXOw5uvbBzIlHzdF+v3k2/JAcl/kD/kj
Yrb5ZpzDk/yhMGTCk+tNO1cHcKF2XNkvxjk4Nvy2vqMU4Yvzh3b790sDZL1CzOuyN5rAYwOA0Bx0
IHkKBF4gy+uaabmbw1iz3W77m7No/95++WdH9imvULwuvio+sN0bJdghF1/z0rXj8aPi2+JdLPTi
o9+b+DWHjwEaxbfF2+/15vNwfMC/v7/iZ2Hx/t9P/SIX8x0vJjw85VVwTNAFqLviwH62I42DE6W7
oS/v2g1yhHXt/v85qfi6tR44w90eA19O7eJXnviK7tbw74IN7lwb7cTZ4mMseDilA9cFrDBOPVfD
4+1x9a/Z6vG4/rc3ybtiW2yXc3YwvOlmHgs4OuJdPO+wftRuv6k89fmN7pVrYthzunk93crwxOPq
bsGlE/MR+DP73ONheY+HuAL/e3SuRF4d0W7b0GfujAJC/F3i+mScxjOI33qIb1Vb3a224sd1V94t
vnnMDhY0IXEI4JxurfWVXZMLpeM5sHp0rw7HEq8ZXxxTip71VRx+G1VGtxX/FUeYFLh/H+Eqxv/F
5sps7d+PoxjgOGI7+m/TTdc85O9VnO1/px7chUtCbC1iuxHbDJcfGcyxt6A+EpuIYLy3viBvwuLm
Bi24cQV3HFPN7YiKTNy0OAqsX3IoOkRqnipES87BOmB46OK8diIa+y4+F+IweF/7+WQd6j07tSe2
FuAYHkjogKwtEMGe4QSrg1gfRt/YiqcQ3C3xJgj4+D/xNePfVwUYJd7Es4i1BYbZVqwy4jFJ2fVH
SgPGxyvkKnBzxdaHtAxplIYki7d1u7owwudNfKijWtPh8i+7f7veUTuar6ij2QlV+PusrHw87YYd
bHYeRvWErsuCOZ+if3Hg/ow3Jlaehk5AaFhQ3xzEjJoQJP5g+ANoY9iKN4jJ9oxvvQT7y3otjmzq
8e94EoUOa+Cpucj3jnf+2kO5H1gRR3+4iMP772F58hMeiKuNQxn2Kf4DAwgpmdjy8Dzf1V//rfri
c7Gb0aa9mnsTFZ30EBvMZ+D/t8/MlHIMrDb5mQSPnfhMhuNF+KJQ3SBWQDrwyF6E2sbmNyYXl2ZI
uAVkVEHItd4FvVMIBpPrcByOyVVICMWTGYBFEVBGPzF9sse1FTh7FZ0Rs/geClzuxl3MGGebMctw
2DKM1wAe11piB69SvxuuWqw+4QBTCbYN9iEdsKuEGCoPNNxWAiQ2SXTvIZQwlNCTQ5gekLzb7B0E
Ebcv5BfhVc+Anky0S08IbrmrzGtCXi9y5W0q/0njpY/uhFOvCLJMq9ucxD96SIJNonmEOe6G5wmV
MNA1SPbIFB6z3y7q3TQFvCy/YyA1TYHwIl2k75yqUOuSQ1WVz5ExPksk0pAiop9t6S8z8KS4NcNv
913CFgSNfS6YCtvBSU+r/dS8TSbW/Aee1G2a/N7RTGK/v81y8FlmCDjKZDBDOw33KYO7hPFFYdEZ
HrIJJwQ/ovwprE1kMW7W+n6jd8mmVMpxhTmG/U3qvUr8D94o2HsuR00DoZ6NMxkc2yiaNnievqA9
sSrmyreJAX6AW3KtnjRCPuTxppSyQPp10CBHRFXhIQIZtI1uLe72YbKRWww6uwlqMQJ5zL1mVHcO
07QykY82KdW6xBycsVEAOp7G9DGYT4U7kI9yAnz1e/rkwnqYqq8ce1pRQVID56jKbQg9446mUkVw
mC+lL5mIQ2YHV9cjlkRb9jM5ZlTThnuoEwYZe/EnsalAND0CpfKWZozluhb2GCPOZZMnP5jbeUjd
3Sw/tSYEO1pFI9rEDaDJsU43Cb4R7V/om7v8hIwxrc/chDBCOHbDiqFuVz+FDDUd+QxAxGgrTN8S
x/Y0haGJWhvemDOF1TmpkMmyQ/BaN+em+ejSW7Sm7F2rFxVmxbQ3r+mTBi8Mf5mz8Rw717l8nhoT
oy5WU0iV/ciaDtEgz/a9uq9CHydu01AuLQbkDlQVJ5BfzFEFOPIT+1ttYXsvXgiFy1DQ3HXvUnK3
3tHhEUGkFl7gWB7ID916lQAgJfKNsd4IhmYlX1MoGxgPEq+ntJrbpMpHqRfPPcettarfSjpxQw/H
zK53nQbdcWYgNRlH2543ZY4qFUOOOoFMZlvGSVqWe9p86cbs4cwaR9qO9JXnwJC8WYUTOoIEd0q0
s1P7kMdUkeNySUz7HjsKfFMFLmME50CZ/EJ6tSvfBMUvfmPtgm8ok3UC0JYr5vu8fIaLdot0d4Kf
sNCshxXB61sQNezv2/kpmHYdICxhs7G1aZrT1O4m8zIbL2N3Y8rnkMEtlWu5fo2aJwekcoQZEHil
fpFiHzqlhpaKBaNQjw0UjWbj2qhaGKom90HcWEyvCl/pts6CsqjdLvM1QFmGTkg5JsWt3vLKC+2m
ZtsILfkCwKl5Wsl6TEXMgCqx7k16z1TSKPp3G/LETaGrdwYSlG95QgrCsdZ8u9rU4XZgNK1hc7ia
+r0MykpeRKFcm+wzx+8rJ9s2PA1KtEYuS1yz/O/MpNqLhN0Nuojhpqe7umK42ZB/eR9R8QU1eEVz
zpzdxiURr012XeSl7SaFTBl6QJI90SPtk+J8A7wpprdxHF/R/+rhVgXfnfxmypcQtnO3yYBckWYs
jwJFAX7QLJE5O94A4R8ZYeMRMhQLl89TSXAvjK5yM83uROZo4QMXLKPr10TXlxu9PE72xrAAaEjl
JqrS3cyMlViVp/ZNwXWpmx9V8MEnwgVdMU/lgLvqIS6/LIqFwWNuNf1wF0aUFQQoBli37YWQEDOS
CcMgd3SOTncYAP6ml8liPap9XloQkrLs8WTO4kILE9OfMHc5p23hjXjCSh4+P82H9tbecT8OpK1W
v+H3MtQ+NHNsfgQtMYtvXeu54sZdp1R2khtWR1zW1ORgSttSOTiVryfupkdDN22N+pJWB527QD6F
3VGy76Qyrwr9z0o/CfScdK72a6B+tNaBhAeuAkJkxv6YVtcJema/L1FNYASH9AQBNEwB/Zb1PvRj
WdnKql/zWDN0UMXGymxDI5nbcNpWzQdQGc+/wAkQJn6rOcDNeS9jtDddIvVoXYyGqewa7MqOfpWt
mRLq4CYgNqgqZn9mc2vWSrtFAcBcnZykyfrSgkfVY4XiD+37mJD7ucJzCLUEc95VfMCLDTAxn19A
pzk1zrf6xaECEpUJLkGML1ha/kQVDow/kDa5yR0Ps+ZG82QM00GRSVBPtppzj6jCg5X2huc5LFPO
BkvbPF8WbGZtP3J2kXJWh6OJtT+jLSzoax8CJIxGjrXLMQEuGRw/jk4OeqU1wHKzhWvKvK7+VdFO
v+g5nqAX8i2gB2axuyECujc2wE3kKWLVLuE7Ot9UYqsCDMpwIVox9pOfcutDLcEH3QpMnoTHxRsc
AV8jSjz0SFi6NZwNW/FNLO7ss2FfBnKMSbEqDiVDEX60EicX1jGOeTFej7kriKGTGyHQbTelvLNx
fi88GGZNB9Fkz6hdQa9NFdtzCK5cN8zEl+qiDD5wWG97zMIBy4P0meIjGgWHDzAeEoHzXaYuJ0JC
GxWRM+Cpsp9Mhz7gegXxSU/MJkfo9j/QfZB/Yeo1IjJSBWY/U+8BQUA/d06TtEkkzJZd/uqF8RbC
VCCj9TRCgfORaAn4DKPE2Q0MNHBIFjZIkDN8ZUfSLb2wcBFsGYf5zrHh9oB4CnMN9gZB1HhbQd0i
tguYHUaEjRjF+gar56pHxY/CGGevkbmYfCHhnmoTNIlEXQQ7jMnehqvx7fCiRpjOLNECEjYCl3tQ
0AEJPWIqOq86zLaMTUpaCoDctwJxAkiLfr9yeTUgzw6eg8jMtiiSMRokQC20rjktDON6UhYoLEBd
A0zujHe4BDULgnkIuCvxYc33uurjV8V1Cxc0Z1QbnAWvhrrB3kBLwraeC9FCsUyaLcg8ZgP0U9Fx
rI9F7eXG1SyOU/rUVCyceNifo43RPAcfmvFXlutVRy93UNM9Ox+2i4/JvI6KR2pk2NETU+kMvIJ9
vnJti5CzbIKnR/yBp/Tb8oCP/rjvWJjXdXxpI/YP7KZC4gMVC0AD20+vsc1r04bJrpVhJyRWgqsH
VrTeKCuwqPTrTDQki/a2Qs8ZP2IIsTPmUpOd2zejMcl079JlS6JfYeOKx3/GeLbPOmbDxNiesySQ
XH2x6GlV3BnrU6TDLlKxKZs/k/lQKjMw635gvsIUvERyRaRCj0VTUvhpBykbvFAFpDahh3bs3p8z
jvVEXrJIJ1e29hKkrNhK436JX+vlBssGdZRCIun8JOvHLE1cmCUy07ThORwB6FdhMPh2rIIydlq1
LYbIfsZ7EM5ge7O5CuXgulSnPP8d7XPifAn7w7IxfVdDJom+kc6JotfYpuzyEjDDymRipcPAXJtb
c5N9jcFeISS5dvOd4a/1Z8MD2cIiUYFoyI6Lt9VL9dSEGG3eLImAJuCnY2+cUn3rdifZqs6jLn1h
jC95lYIOT2a/F7R71ZWfNLhYHcvtsAqYswTEiOx6fYNnLRmlm5zvvC3tnpbAjncYRI8GwVTH1IJ8
tmENqBF3LlvkI/jzWJo7waoHnHpWdi6xfDc4Z9k7wFILCepaXoZf5wdUAkDx0fnhBcDmAn6tPau3
DFLuJ9yW5QFP8C6Qu5v2w7UA11X/xGERg1QIxAvRrUASN/Owtk68lC3MBPz46mfjhxekn0khSe7G
z/gUfJr75WJjWsBYiw6Ahhs2JRGw3aokIBGPCYzDAldLPM3y3IFYRcmVILu/YzcMKldetXv7A9kH
6snsYDvrlbUnJG+2h7oPA8GGbh6mnfXURx2z0VD6Hs38JVKMJ8mGaafTwAyYLI4TNXtkSTAQuxKg
Kd7L4fS39BDmAB3t6TAHCwAya3YzZqwYxN+MzXnszusue01zC71m5ltluawtdwb3DkZsRoZX+9bk
rdePMfTJ2G2n1E1N2gh1sxQkb3kG6HsLdhddLe010CsKqOJZQfaSDAouwlAB+hJCn+pACht1gnc1
r5fAYJPgnC9oNcaf0vq0peyEbzNhV7iet9JVaWy27u7T0H5dvcJbgOnIgFDuoOAyID8Mtig4Iqly
qyWuhQrRYfta29JN6ZV9ptnrLPgzJmrqFLguHiBNd3DAC2j+ZdZisAj520ToWdZYI04qcyXNPDjk
N9uSeSd0BOQ48gw8vaW49YJqcouEALqDjuEklG+Ill+u9Lxcc8gscBQvSveRo2VtCfb21GW7bCie
MuoaE8KUN0NRf7f+wgehUXqC1XH5tuSXKLoZ1QsFS8m8WgL2+uzm4p5P864eXjEs3xwMieYUbLHm
+KTvBgzfyoYL7PzVKPqr4awVHVtsfhwY4bUBiG3wEsvVk4mnRtlGT1h47uvCeI6oOWS9cVVcVuyh
/lVCAzivVn4JGvxN52WfyNTfw2T/tKOoAiZQ/1yrXxYdQRn6EUXKt4PjbGwleLS28lQ5xEZgny1P
Vr2P2debaAhPUTtBnY0cbTPYRnqUO1zHWh32mqOjqMOyy8HxcB3P6nphd7VD7JYPEeTEmG7KfJFD
qBHKAIcy/arkt64kRIgNTs1SVzMrP67OCX4wnTW5OtVboTVbvArPbc7kSMNipkemWyYfQRh9JkGE
J7Wzs6bKqzQJ0gOrbnubegCIJW1ZKtRf05ZeWq27tVDClaS5az3UyrZ5ThtG3vPCgL8gxLQ+ZOSa
5lCx68mYtoWGea+z+GRiGSPiq8RKYaxCecAGnnO+Wyb5w0GzoiY6Ej6J+D4cIT/RgzZ9QS7p8CR1
Pe304g5LzqYJsXNjsGPV8LN0XmOP2q6eWV929sxItcPqAmJEDxqMDK5zEBWQOFwkYJYVNMniS3zL
RBahgOFn8rIZoV05FVEkMSaSnuWcAiNfLzX6jg7TD6U5ZnPmhXRIYfNQC1zQKYU6DesiKjys0BCs
wUgE6p1Bd0Og6djtcIOambhP2VAeRHmrQ0R71ss31XyZApupgg4eiN+pKxVUgGRp/+Rpuh6bm209
t9lfLbR/7HkUPlYMWgr6y/a0impEaEaerMN0urbjl818wQBrDMYFupbwvYXNo1Q+vtgMZR1KJVza
ECJQA5FuR0IlucW23N9iZ7qzxTKMXKA1kvXuWHebPwJDPi46Shh6zLzApYORSZD/wm9Rlb3dakhD
yvVQDNbe6OBPDoMEE+idy47m22jITSwEW4YX07ka3PTAAOPqiZsMearJ+G6Uv0qspbxbXX3KQwc4
RmfVDIvfWvlIlx2FDWmIoODwxId+R4k8UIqwUbb+3G0pOPbh8D42ELgnRl1UOImkuX18Wiw0z5rF
7qSMtKnfmv7msFf346t5Y9+AA6rON3ZCXQGso4O99AQNmBnRKxKXQA1ybXJdVSRuUgKPKY+PKGNq
n7phT0a0wiDZ3ltl+ycGN2r6Y1HHzuei7g9d8dnox42sYPLP3X2vO1jzn735LspD9clpnqaZKBZ7
XQZnff7UFfhX8NeOJtA6fhTZfK7CL738IQLdlazvviMR62uy7hb0jaW1NngUcrPm8yWmAMCAWZ8u
47w1M1/5SfuNOR777poroE8xJKDFtYYnqDNRfqvnXZ8fCFLCuJxAyRyastFBhjY2kf4a5ns5Vi/Y
cmGo46b5c6y9tEPMSmdzjbIx26Q//DjKkTUC52KvCGilRENjX1R57xDDYR7V5gBDp+guev8H36WH
vKydubo149sEl2KfkOdPErsEqYjheHIMTXzAdnX7sAis4Ujk/szraolrP9LzRZ3LyBSeDOtzC2sP
2O1Zz3zK8EhbixjUdLgr4VdmPjqD4CpwdSC55SKXv4rxaMufgiJtPvfM2qSvNnwP7ffMelQmezmN
CxAH9SFlnR6/FdojyKHGqD9jHsHDxx9giNcLd7SblJeY4xTCqpLCe9q/JvZrC383GmTY4e9T/pVE
r2RlSdM5aXaaSCkv7O3E2mZMsLfG5wJCELfNKisuxL9b83nBJ6I7LrhzTPNbON+N7G4259C+5hYk
jOApw1jCRm4KV7rih1y5ATa0kKRsFSihRUPJXMB1N75t80UfH1TUcFjaC/kHsoN5U7QLqm7FWMwa
PUX+y2DlJ/nXCCO8hGoV0urb2mfYjicWcmq68NWGbGvhIdBCJ8OAgIgCoFLprYLYl7JxxPt6JBWU
Rne+KMt1KKYvefhqGGplKQpCWQyOZsVX2nfTYPmT1N8kQNMyvhny35B9Jd1HESmHUnT7ag4hlxdR
2sUqNavDSNJ8Q0C9ZszkvaB+wkEqnToEHG2IzbWDoNg0aVIjzbeKcic79C2BLJ/brI7OVITKDBHo
QIY3azByt/V81rhDJOYu9bB8jfCgpvCjqVvaSKokpc48W99PI1kG1xpNRBCV9IDWGsNQ2hvzXRbH
pstf8rI4yk0Tbvp2obIxlGsgdUQj2b3i5boV+GoKOJvGKvuGBQ1ecuLNsoz2E8OBNmJOSLCrT1jD
b6dkBhMo/IRUaMjzQ7eh/4HW1g3jE9Q5JpJeprcD4mE5EhIdOwBlGDh3s+GZuQ+ZrQ7edOnI2iDn
B6hQhXMrApLEr0H8oqXfMRLsydeSsxGyCHDNhM/s2mnxFNbbSPat9jW1b9nAXGe8kQpuJd449v1O
rXWRI3eOq8q6BhFsrYwJTcn4JJiOU2Fua9CHvoYZKBDjCdCfljRBbWDXrJOQp3NEWQSV7FqWuSrQ
0Mh0me6pAZvbkDK7Di3IhYG0k7rMl7P3Jari9zDlDPWB7a6TeU22BUMddtscaK61/SJsmASEbll5
g0p2ISQ8FARNi9WdEm5MmX7zPjqHQtpphQFlikAUOkFuEKQlE7INydCBGMX2OWUqlNdCrl2lb2+S
OlX01s4nxKVF/yQu2oFOG33mOCcsBlPcjOi8GW9hK2+3aULBgkWahAWcKb3qzS1EpiBpzUuQpfdx
3ZbZTVUdiKlBDw2zOUhFv50Fv5/YLflz6ks3gsYzEjyC+ZD5z1CSYXzKT5pkNsl/8UAlRK6JeR+f
2oE2udX2gSV/OpNKXigsTNtsP2Ke2siNc5/FWzXU1wQIrjW9/qny8UfriBHQTlpzwdbTlzaxlKc7
Q1ex2LYeWsdCQVtxbBS8kNjdMoibGTUGErPQqL7pcZhhqc1fO4RfkV3Tr+nKVdXsjZlCexl+TO48
NaL7iaQg3i1O9GGnSPiigN6OMbbdXIMCawXjR1vMjzJgBah6Hdyif6kI6WsW1NUxjM5ieNKs18F6
DdtzYl+KrD/rE2FJBQwcMrFsQ37KKusyCKMa/X1EvKCXpt9NLTKjOaRUJmpDHlAomeOEh2K3MFr0
5QVjoiVWd7He7zRofLIC4N1j7wiZvo/bk1kLNaSq/sZt+W23UJ37+lC3QjMh1082KimpTog7iw86
JzWV2q0lI+RIxs2QlRfq0XPYoCS3hkeHZNa1UhdMKspN7soc8yRM7exLFiCUs7gwJW7w3EBjEPUA
wt0MM0oTGbH5tSnhXugjs5LBIRO043ed+KWtuTnLGSd4fqytWGAb2JrUVSR6uFJbfspN9WaZ26KD
B6pKp7FhtzXBABmSrllTwnWZ4yG/VHsLdmAzKccS3UiIMV7MOzHnfsRclVZdltB54goNvNWicq7V
e5zpz2aiUOK3mGr0FRdZdzdrKARW7Y/yeK3b4bmPsEZFgoI6h3CHrH7v7phaX5y63xpHOGhQ+lhU
G+J1HHDMgzzTxO8qZiH0IxGUEoR1XyNd02TtuP3XWjttks5y1RgFsx3jdEqOHuMQBa/S5o6587Rm
MPdQ2XBIgybgJJo/JBs5A9ZkaUAsGGPD7C/I6FPtEI0bIpc2eR+K+tTHlAFkUwDggGSZjIJ5b+vv
IsSJPFHIZlxuhKXdNOlJjRwqqYA9OW4y4jQh9DWVq9CtpxS1Mh3CjNCjozZtiQhWoluWfjIPAglJ
1D+Nu7yi4XGgikYxjQD3AQUiTN3B+lZEzRQPeFt0uPXULE8dugIswQesc+QaL4xL1xIRww0dzp+h
WnsL4FPV7RRNfiliw49mtqTFzr6DfNykCVVlhBiumJlQ6QtXaj8Zv5gT8yT6ozUDNHjLWonGh1Jx
PSFdsCAudQaxCeVhzv89tPg6u64aVXATdS5rqAQkorSzdC/r5HvK8M1ijzS5iKz2SW9oDE2dHkjV
up+q9RJH5/4Amna4SmYODyFp65lFKeJO65f0KZrRLDj5tYR4GlrlXWpxTHVi51zhFGrOXqkipq2y
a1Rigp0yc6s3QXBVy2s1vY2UU5r2177mI8R9FmLttc7eBuvBiI91Vf3r2w2dCUPUZT4sMHGN5Y15
KW4IkkIZ+1lnW6fdbuTyT+r203LWq1dNfXWad7cb3zQEwE2n7VVWy7A1XYlVNvubx8+Fb9i4wKWb
rI9Iq5buehHdqDSuU9G9B9S8GRTxtEy+qyQ9SNDxHZShoCC9rBFIm74R1n4iyAbleRmErmpVDM9z
rvXGiexN2PJRv1yqdpuU2ruZRgQqkCLDxKon/TzFZKACCFALkmyKl6lo9nqz0QPMqyy93RR2gHgT
Z4E2ZsxDrW4NzyJhmGgMFicyYCKQ0gpA2Ct0cOtQxsFpWasNXIeJJqNTgudofLa06FVm0VSaeR1y
sjWTSaw9XYbauRu0xUnSfjWiWw/rh1k1reekxOzaJv7BcY9GxgzeHLn7NJt4m01vxfScIIEDNLWp
M1TWYMRp/5aspfXEvUQ5kNcASSV/q05ET20ROD2icQ/UUxEH64H3btJJHXN2Kt+PKpFHdQ3IQWUG
buqhO9tkwi7P83DrGCHCVIAYAajAsWA6Ec2HChcKC3AEdctJV7EJDJMnRetEDs4pHMpHTzsWce+Z
rJ9O0LwUs7ZHbR/B00HWA8TaB+O/EUWc7vXsr/XsW7IvluWoHrJTfVigy0qc4AJ66HJ0DgQjnyh9
x1ERu+mjq0vspx3UyKn82jbMBAvjveWbseX8qI12bkUMce18a+Z0DuL6EhaEIhkZcnL1a7IxCFMT
RsfdpqnHtzxQbnLB5LjuVikOD0FjcuQiJEgKESKLuvSbNqmYWV4TBY3gwnJv66TRsJWQJxD8wFnw
DHgfQxPjfIxRJzd0CHU5Npm39DgDjRA00pj849hhZxk/Le3R5r9kC9Bpk/7GrzNC8MU8IgwItGps
dJB4LEheCW4d4xCitBKhszDpxtIfQJccts8wXjzZenEG7HQah5T7bYmweKYlytgaFC75yIle4zT4
mXueljLo2rKqcNLtNsYLYNy0JA3FbexGkN+bBMagGmxIofGLud5FA9B3xEWVonPvMBL+HVhVe5k4
t5xbOTx3zrTXCTZZ5FfRwmQqbA4UeWX96KtXUqFwwkakQnmXQYS2s7+0vQWMYSbwPNDbed4R182h
sOeTNryZNNI57WXD38xmmzQQH+HhEMnBRvRAgkt+nBQdSKvO51uDyKYSrhTJk8MB7zdad6JTbuLP
vnzVkLos9Pr0/sYtUeq128jnWDqnjuSrpFuNjJvlItuOtvUS2+/D/Jxme9FbgfOjyWMaicMS/1s3
IQA54UIIB59yCiYkPdJuUg5xd3CcVwUpRYJ+3UTvrIUoNfxGIhboZIO9JU8ULozzgr1OeIveTF5Q
DF4NkzeNIki+mBClb7FSgD/RgTH7kYu/CBl7rT51pBtEN31hTuJNIfEpayACFkqEJgux8SMCf27b
vZL4VXrQUIks7E1RofLddyTIFh4uc5C/F4t6dMDylSjGDjeRTnWsf2C6QwEelR9GsC+Ji1MZcZMu
4kbyuWpeFtVlmGAqp8l4ndsfLgv2p6d8vOnKDqaWhaMOoSChP7abGnofOXj1CSmV6lYlYSvPxNxa
jDakY9AgNuNMDsQwRI2BCQ+wCaEsegc7edD2jrpcdOw5HTJMbd+g8AdvqeEbgBdo7xpRpLjT08vw
pxV3pbhLNmsbh1Am/zLTCco6p9h8yLDCtguahAGeB/pqyjV6NHeYr3pxHrJ18w6EMuZ+hbuDKB4a
uvv/kXReu61jVxh+IgLs5daSSPVutRvClo/Ye+fT5+MESIJMyhxbIvde668NJYyg8zzxxletvotq
q1Oabu24hKYnsgy2GcrmqdD51BEn5WL8w8WvXSXjNv3hCU5xpTdo3sYMzAQdtPmOPg1skiiyFawR
4e8QXK1urZ77IOLe0vc0reM6z6BsZC/ZqVm70GWRJqhm5dJSNLQqq+PI68DgX5jOpgfy7JNzp+7M
bjtiEYydQX9ag485QXfC1r8EdUiMBjZNvKXK2DAmBmQE75NkxZ5cp9+jgKW45+EGls5zxIb5fRwz
O9PRgIK4WSMRAyDa+ngqE8weVbyKrY8XQPMiYWDSO4ml6mSKdNTkdDeKFf576uGYw+2IhyGv45Up
r2RrE/F890G778JTX3qOCWmFYQ8iU+OeBc5oj2HOhIZYYzka5TqN05VtIiVwZUyK+UsRE+Q2ICaC
yXrOmaSFCPYt66XhasIgp467HhNSwaUsSqdSPde1UxcrsT+T6rG1qkMAFKG6G0Hfqtb8T9AXMGFp
b9eRPSBN5zbs+peZv2PA3QJgjgMIPE5XH1LxCNRHxreLVoX7RUzeVYPMHzzV8KNjjuTFBYK0BMbC
1m6LL5OqLcRDfUkLer1PS7M8DzJRPFmbPgYDx04nvpsBe6TJoqgKHQbAZo8WI62uHrbq8J13tm5i
kx2sX91tPzE+ZU/SbJMvUIvYdtRFSSmryTRu0FYdtNKhMPub4Lq8dL8qF3kfCV/kd2EVIu5FZ19Q
GdmDnNegTBa6ZDy9uMU56XWbLEmutSzt4iqkcSA2KdzVogxUxcBklcBeBp6crXPdJHAqAH4T3RK7
Fa5rfWj/SbBoXXMeLO+haUDkbubkHcrnoPQRA5Z3rzSBmu00PGfGRrAOtc+/4fjj4o4/CdbZNJhn
CUSWyA1S0fmkzsMSAV7wEkT/q43PUfd2lZ2vnDvrWLDXeArJYwXNnLCgXufoZrdoGIvg1f4b32OY
hQT3vYZDaUhXVle/3BBORZ80dy0ClzD/R6nTj9f3rIfAL4B+yFWYNl1xnei44gU2rXhuQQEwGo6t
svGzZk8dzLrpBRCMs+hLTj6pJ/kZSx13/WB9C5nIeWeQMElQqIiTR2Ojs6Rm20NRzbndNcPcZX5y
7CPvmEn8ypXKaimt1dzxWx54YyB9vVl02EINAvgkSfpTBIaX1oceYqKbD5mvr7Vc17dWTgx7IqMe
MuM5ioSIgkgiGbxJmyLIBGOZCiHYgktCobT2jTJ1VBEyICYhIaRDCs1GuMrFTQFf0yaBk2rNNkv5
uyX8M2BJgcpH1UN3uKnb9YDqoAFeTv/CnuYKOlH0AWOoB+3O0dZBBHedT5kWUdBDRdABpFH+7sHY
fQ7QMIzXRNN0IFMSDJKGJFVnzZ94AAteAjEswFZ7zw3OOD68GDwebmBu4tn6r9HBfAydDpzNpBNx
dg40ihqEimQ1MJjPEOaO41oU4eG5A0yehc4jpjt1WuXT9QYp0vB1qQEkDrjZscjVKokeMtgz7d5j
C5DliRfP7c+qSa+5y1iT0JYeMILlqNVSbWRKr746964h3AhFfO45G2mV57e0o03NkA6NVNrjoC1l
+jIHLdjMAyG7Jfz2VUu6kyI4XYvzQDS3ooG5ulZsnRmvhMUisr2ZvOHpp5GeEweDsLIbV4Z/9iR0
a2a0dZPy5bNe5Tk11ZGwT10ge7oGsm5fhsg2fSSZHTYerCqQ03h45bVBmhNckSBvcSBnRsIUafI0
r03r4ua3kYna5M8MctSk1CozQUSMjG5py3A9GWVTa8I2uo9YnzXjF0jYImjKzUhdTf/V0SvGwB0X
V48EMRwHXP/xpUrA7cmhsLR30iELUv55/KFl9uz0ye8oDbzbC22wBySq/sKUn7V7wJ8ESYJZkiAQ
BDOXsrwqCL/N/wR2LIgclxDe/E9Q/LzlzxRtxETAhybPTfcSkk5vIOxiN900t3JVr4af8jqF8v95
BGDZ2NFawj/4CL52FDavppIVAqEX5QoVOkYm8YNXuJanzCXr7Z6Ew5R8LtnougkbngT+ypLoJhJm
wgtmuwvxRk8Tbw7+HFxKd2HRbyZvHADLzNugGBdvEP3CxX+Gz2qv3qozO+HwI22nFprJAYe1YENO
FfGfX5BaCPChsHFrIdZ6oLfVHvbwqcXjxK/GeJeyTb0VP+iIgadTktgxjl6TM+wHqSnMil52Z+ki
LC5Zux8jh62gtMi2ymtBeH07rxboDGZask1TtpFNja5/fpvsVFxKX2X+DIMfemOk4IwPebJidrus
X8Ix/P/HouyIErWPUpxEcRe7BOQnUAvkHNkyeBeQNeG6X+QkcnD//+8oTeJQHODLrLwl9O50SIXC
S5fdeX3TiNm9w2IU1FuITWIGqN8Jmm01FkSvY/tDetIJ0aGSA5a8vE4dP1DvetJsOsk4u5PiKlpn
7rEkD6Tmg2PZyVCXsJet2h5AuNpWDGLzYDgkEuLnc22tc4GB5yQzaEmgoEHzsTXA9q7iSam8bZ8L
H61I7NqMplDEXZ1fQ+2toV3Jq4dX/xpCTYidsJKQavvuYdpo29hWKPPVUcWCokbSCeAQmorT2qyP
crVJI9RN0aww6aBIeZjFt2lRJCjF/dmK40ck4OYUi7Ubk5rHMcfZVnXUptSJU7oaDEc1xdig95M6
LPQRF5UtaMGvNWabMIx4vfsu3LZo6pDjq4IsOwJwKryo7hQ64QFZR6GuK4L9tloFkFD6JO/i/vZG
PGWFhdpNIj5yGDDoEh+O9qFuVrW+7eV9JTpCjAW6zbjWe/cTpV2DxbjEtw7eKdaq44NDN0Wx5FVG
VFoCO6Ib7fqdOh0Y/Ic8sYa4V+qVPi7YjqrimEx6VY5unYZ7o7cjz0blMoXx6vEiKDdFcdEzUq2R
srt0jVs2l856HiYmtIFF6CQmSH9ciahMWu8st+FWJY5AUNqbW5/NIdkOSKx6NA1eqXwV+MZzOm56
j5Wp/pG0X2kU1zkxVU2HPzf2Zm1EXEaMuJoLe4fKSM+B55L2D4VjpvFYoj1g8WfRRYbqh8gAjwFU
+9jeewJCItTXEYJhoU5uim7uUq1cqGh6khLMSKu+CL82T4axQmte0Htq/qIPXiYkNOQ1Msec6YiX
AdDCWgHU8IROH4WoUxPI/g37TJiXDA0C0Cwi0na5bBIMElHdzgNoH4lg0b7eVRpWU0swKaLJLPML
QWwJK6IvG9XdqjI2LcL/IiRNGhE6g7vPcvFnEJu7UPCtVmX04/Gg8LEhSZOIk83euokQcagH4juu
OdEfupqsA2VAic65SzUwUo4I1UOkAjpPIpwwQVYXLoq23KUR4IOFtJ7SLOMQDEsoG+mOnJZseH6K
RLcDcckM4gWr3job1nksFyRX+JQf+IuWnO5F9SFG2aOH7jhQEtKdiXWj/LivHZPIm1I5J6Xt/nBU
9MISBDLPUcajeP7KJaaRFWgZUy40FBDh2M6Mzlb4R2Cj82y/IKNgjotq3wbHCDUsS4nybppvOdt7
+Z7PhhQjizlMAa/R5nl9b7WV3p9kILOvjBwInmaLimqmgQgFXb8w8ZA2hJbAnDhh8fSIODRNjH+W
/GXn0rF2fzJslvzvwH6rF9q2unh56g7+03TvKBWZHz6FdvWSFYJ6IaLzGt6kQ+qk9GwB0jKQ10l0
Qbcz0W7KqwjXaAzhrjvqU0bCWF49xUOZE0X3KF0grq7lczWS04aE21o0tOugeUxBcIOnTlSr4V4F
4VmBi6cEJ24qWm6yf4MnbzQif7SYSRr81jsBb2ZAMMQZlCQqaZv2VyncQ1TCD9jdOX+6/Q8fVl8+
YCznOaWiYXGKq2UgLSVtJcfvtLqE5aIUbXlc4G6Jxl3oBsdcIG5YZ1bgrc6WHTVacMtODejpCzsj
RZhLf5V88IazTjgILJ//GGWQHD4QSV6TDESR5zUl2IfYXah3bdwGxBib2QWNmVYTAWjzW5dcFqiu
y4A154uqMTLgPPkkGyQFL8iI6i07zNdFXm2le3OqMqfx4U3I0CztyF0UuQOAHU23fY7pMEZuMW+P
tjAl/mUV3RUYteqVIbPMsZpT5Ut4B1EgnKyoxhCgYGrO0YLVNrtJwl804ytAyeY6BA6NnJuYaDj+
4FlJOgSoGfqFJ68Ll3PuU2Ucpo6UPnSKaHPyFemfYqogaEb8S8m6rH4LJLAu8CFziptIJ0rHxGrT
VhsWmaeuecc0ke6avpSmsG6ysqZleoJq6/A1Do/S9BdNUC5lGfVysfCwupnGg7z2gchcVUE/7Vob
vQ1Jf3Jts7glCrraK0UaAPtjaNv0zIXPzCQM3JnUaunekC66wa8CKesC4FsJcgX9uyRsWi/+CmmV
D39VoDiKvjZ1OEZar0PWE098sfp+jQTORvoxrWLbHnUaERDtXFsFPuJq4meAoDUOQO5AttJbRxVS
w/14HqG/sEBPpYBSqXyYsLpGjfCRkDaRvmk2vwNyl1oim6q4dXUwVwZ4wdB3xMQi84KuhVGdDxPK
iSEvIBXDj8D7Mc9wWFuIPirjgRovwTmW2Cmy+7B1FEbENk5mjN3oymJ3iQbVyF9VwM2NPXfYF+Ye
sGROwl+ufjIdfqYmTItge4WQmKTcNKCMudJTYVk6hUbqPx8X6wQFeCRmtHelWhvPJHGKcKlnMhNe
DtXN3JNBdBP0QM4POrWq/U0DAkeLKiKOvf/ELr/ssOw5D4TtKP7LNVI9n306MS9XVkiRnnsIjbca
sPpGlMXCXX/DfRxUTDD7qOcskUFrlIwWcDUo+lMfRbSQtMcRMloSj6a/U6LvhIWu4YJWeoLu1T+j
uOrAJjnvufXNUG11GxbNHkPEs2GhFoeVBnzeyYceZWhIrkWLhx+5cvL0hgW6GbPcuoptUFMirWGY
RP7OkoL66grUCMKjmfCye7k/cEOqohNI6wAgVpI+Fo+gGS6FnoN90w1zxkq+BpC0Pj0I3UXVHgnB
KBzqLZmbMUrPYzauYvLp/EPe7w3lL1Y/eU5Zb37IuYhdFnRF1WeCdrOYPCSVEYHjpfEwoyiUgzxq
/irU/lj05GgVSAfZIpayWdLRZ1CPJZB9TkJGvinoIYudllqD3BmMI4gs97KJmc+bKd55ghgUfucp
Avxb8F/oSQCO5HinYcX+hyCV8y3OZqa8BBzIAjtIV2nILrwN9SNKHt86BME94IrDGqSV8V/ReobD
oVcIx3Tch8WOsNshYeq+0mJsMVdBmgm8r49YvSn+AinToJxKMgX4ZURp5/YLzd2x0EFqwW9MjIm0
YDDuBaxmB02+a9lOhnRvL4F+SoIV95mmvqd1sDgiR9WMlfgC9gPwA+HJe4fErMJd8PPArKAzQ2xH
KFDYnviOb2G6BfYe1F0RXlz0K36+a2HawuKlcM3XXEK0BTUryfyRcp6Cv0hbl/3D6w8GQQQKs6u5
BDzpojVJ6Cb6AGU7zR61dzPKFcd6y57oL8YLQr4Cf+EOwIJsxlhbyPgQyzluNLuRl6GIoIK+wU3L
+COtxeHcp+c+/tVJUQjKRdKQc7nEoFPqS5XbYjhiL8Gw2vPR5UjrFvwGWsf6i2CKn7a9xKajdJek
/UZerHSzU9HaruY09P+1lD07HoHddb7rUZFvQ7Y+86LVXMgrPdsn6b9Q/03DrQ6KKS/TfGcZB0uh
dNKJRraCRQ5EYpwQZrHoF4XT+suKnDG93sW5Xy5yEa1MjtXSMqvfqAcUvYFie/SvyrNoKsEhnhjr
MfLJD8Xqvjd1OxgFbpcZbL1Kj++PBwXww1JC3FyH1PM+cGW4jN3RL9SBmrKRPxCrtNG+RNPs2xZl
StbBI1LFOFVaSQAxK7fAM+9X+r6OOEQrxo+s+A1plmtfPSOpTopPsFLUI8H4aeMwYs9r6mKGZZ0c
GveOFjo3f9pixYvfKCt5PJcs6tVR1F5Kh1HyFr88FLQCQ9Y2zr7Ro2BDgts5IPzGxJ0iDJeNaplb
t27iJ9EkdnNVrih6Y2UqtZwEiTbYZVAxIWpGP38YtGCmDe9LqXLFwQhSYtRxMXRGu+xa3clynHwB
E57VAq0ECzMvlphouPfrHsI7yZYS72uTH6l0poAa8KPslhWupSnEWEAQRFA8dFwsQzYFsvcjj/Bb
qabXy6aqHil15oz1LkJRAQh1MC1p41n1qQmTbJMFeGt0nd0vdWWYhIp8Zq3pl2hVPDTJ3aVWiYGr
PR4e8yn3I0fdGeftTB4WuF9JfiRNu0u/lIKAOcKqKH2elawuo0n4AyBcTiuXNYTLCt4vxEAKjmw1
4lrz8QP4GJyrxHemv11bEh8lElRqkE/XYOqpl6HsPTULjDwdGxh9l7JEEX1zrLSTMrWISR3gih1G
bvDCnBdZsDCMfqk22K+gpfOt2//LJcMuyHYpKioVjJCMmI48NI0vZCtiBd0OLCVWsZNRHwcAQBEA
UFo9JFB3fIMe2WAFcC+djZCZrA35+IXcoCZ3RDx541JA7WDEKXpeZD8Ej/houGlGirVfhWtn4Jad
uEJomHAgmS3gmO7SGetFRrFlQR0FekUFhk8BuG1IwqS9nWOTR96oD1EE5E2jgP4r9qSuVO90HDB1
H7OqRuYqMlE3T59ulgRHRL3P0AO2WUPEKiH95iZVBVSJNXUnzbaNbEMg/ipxavAR06TuHZ9Jkywk
RIdauq1lu5AQW44Pj/kB2qVvdoH60pu/QFtbVbhIArbIZsTmxRqgGP8sAugi8uwQUAjE3ZjKbtBe
FnerFhuQGQlLCGVNxPT2FcHJmGdaukBNy93qrWxsUstXmJFHDfnWo8vNjpfeEXnyv93RglYPjobp
1MIOMk6reW6/e+9X4MExd8yhnr9C4L7TCbDCVMz9YnTY+YyzLqCPI+dab16evxsb5IsmcA6Sete6
KIhDsxSg4gszZE/Zo77RkCRq6Mg28rBkEICgHMKV5jlSQ1zdDF06wg6T0pOgnWAfHV062Tbmro/P
7FU4QCAZvR7Ab9hNz16dPvV2ip/9l1jkowS3Sj+RkKyEWPv6hVxha5T+deMTGh7R2E7gc09A9+m0
oTEIGfxXIn4bwj9RBY7NDOZK3oSbdh3QGU5GhJz3XxDxdRKDCCC7iWrJSYR02ZvSfPSJ2KoXin/W
JYd1pSNlB385N48FiMDX5BcHKp2MeIIIDpyJY0e3bFgv5bG0p4fRFLj2TXamg28+I4hsvnz/T5Tg
zM3ngIfdGGGn0Jvzf5uUUiTBhqwcRkd1QtFdjdBa2MyyvbnEuJtOlS/eAa+nKRz54kV4R5RotbAm
rhOsQE/uOYUGkrfU/KdbvxoCl/n+EJmRZkuF+aixgCR7Sz+P/tmkfwP5GoO+YK09xi41WNWyzjI9
N8WnBrmo/CX5O+fTNLLdOOz5BBrdTjgdkbmaxbYUrlJ9wtSdpBex/A7J0h5xmXv/LDL8sh/T4/Hn
nE0xAevo5489NIRrNwqYoLrtKGwCc//im2C5aLiEiNqQl9PPUYEUBmDcWX7vh4co/UCHlA1UKQrL
hDgM/d2h+FCyqwaZKvX1bK4n+5Fa0orfoeCBij9Zeusju4SA8ohrS3xwveguMQjmviNdAw7iLa4h
MgMFawedp9ffE0TU+t/8R6U/R9pCKHz/ow13i+VYuY6JyKRDLF69Q5mNsvSrlY5N86vBeksPvLSk
b44RK+CPTNfFl/JmWPMZYEr+mRGU7WFp+S/2YWqqE5csVAC6zb450ZPFVVvc9HCZiDQE5Xuq0qQ3
lDmv0GgXp+JEz+RNBc4kLSu8MuxIfw0CRnxj8VYfVyFCIBo5PgnJaVjeeZeQHk5Z2BhZyGEh9JoM
nHaOb2ANTkx8dr6d01N4kD8lTQDKTJWc7kMVDkJfY5LdUXy9KpQ1Hnd0/RhFEHBj3KbZeKYs8ysw
u0oRC26Nk0jMNlGmxZxDFNE+wH+ifwFQUnhebknvypYleS7xNicmkP0XTImoNyLb2XJJ7qeFMT42
uxY55owehJ9qndy9T4HdElQSZz/NXGeqSXeE+mb9LVQePf32mROTRwbCuksugK0tiTTDXDu67iyP
Fg27Jb61yYGnolN3eEv58K14KdDWqW4xseQU+53LU/iK5MkRKK4NGoJNsIZbNsxTYzF2J/kXOw68
oG4PASb1Azetku/GxzQ+G8tQOqrQA5JDFjNfk8jpIiWHSe0HnQSCltneO2C5njUTibuwPjPcYEnr
8JdoQXokix1QmINfISxWGJCE7tHydnFy+cEmaW5+cGT+1NprV81kxbt2fvgbpx1V7i6JRLlUfu0A
nPgo5X8WKh26mzd2dZMurGpQ3gFlIyDAbnjhDVYJQ+rXLKXjT/CuLul3ANtcuUdU4nn6rSUHiFLa
ICweT3eutnOOAAnzAk3cYHbE3k6uGZw5xZzpzjdXGGDKcgUrA0ODooO8PE53307bJT5ZUFn+v+O7
iJYl+7T4IY8tmRXUw8VkaQ/wEvNRcAB/ug/iDpA5d91Sthvwk+Pk99NzlK7q3hH+IPTZUGrs/8GK
vh/irrthQtwQ8zwpe58le0jGP/qPKFal029rLgCFVOCbcMWKpJA47qGJWVmDTb4ANlXEWnpwxcBr
kJKUQPZ/zQvVVtCtaTzpC37/IDviYRaKOXtEfC0fFQLuadh0mPhybxWgAiZMCXiWWDGC7JsFi14l
niXyCLtdKG0GImfkNbNuMXBb7up2h+i+bJ6u9lIJm/KWtbJnJRnO0T1/yb8s+N49fiiH7qSeITXB
ULERF2hjvggXhXetzUvmD7OiNnJOCKwRpUCgZLGQX3weLYW4kKRtzXyEnY/Ox8Cd9+QbU9ROOdg/
j8UEwLX7Mhga9h6iOZW0+Gwzn4Qtv9rfcAKnleEXEJ061Sb7rX6Fp7sBVam/vgsBS40a8fAKvkC9
QypRd6Q3u9JAC1cUqNl1lUFuOHIXDOTG58hBSBJVNt5fu+cNXXxIQhmz2VwFg7J0fiMj1fEpcPf8
92+EIiWXwUcfPbK4jyNJPIEefKPdU8id0H9M+IytWyfvjHtMC3qRlBUfjQnwN1Jiss1UHv2QUHNP
AAru4uJi8KJGXp5tuyl4aMJBBtXlWxZVkiCVW1KWR5k5dBaFzUdAE4UQjWJin286UQxyhhR0QrLf
nCx9iiDp68gROibzUdPOxbVQFcn2FDhxqXD3UeGxByhEC3nQL1ZQqftCEv6Qwa/Uhp0VXM+Xbk16
y+glyaFZBMwIaUXEz0izBs1HRvmakzocVr+lGvxoaIFMWtKUT1uQobyTUBWPFbmf46JMXll5zLUb
FCogU2JdUq4VqbuBa5XGO8sd4nOUcV+l/6ImwmyxVVzQQgZT1Ua/KgFuuO4+JqS7uA3ZsXUPZnmL
jWU5TK9ELfJudYA6FcjtUvUvYBcD8Sm5xgK2bYhrIsSgTCzKnlZG6WH4nqv1GVZCi76H+jwQE2JD
6tI7TzunDjnsTsQNM3xUv3MgtcZMZnIM0hZfEmZU9nqNoHaZr6/HltOBy2tMY6NHYAt8R4o0pEf0
oxe3EpQq31QtdLmBtW3XKGuOSOxXwrT7mHdrEuGyfWl1ukgZ8yuCRfujRlJK5iCEMq2jQMN8sMGf
D4W0HXoyWRVs2QbJFxiS9O+cNE5qsHRuA8TsPb2dmNnVAJcUcJN1HRudeQxwQYIRgkNrNHqII/Jl
BQTI/iUavoPoH50jBv/dkAR2RRq+8B1KBCLFffGUJGIHXF07ERsDSa1kT2Byodt01j7oX5m5R1Ok
688h2QByVeZdMbaB3WZnXT2Y8UkLj9b40CVqT4R21qUcsqTVu3/BgIkgiPZ4t75KI5RBsJlcl37t
NGV58VjBS7SvfOLMuob/yiMbVr2wLmPMWmRUX3BZ5QwOzzWulQXzxHi4wSnVGGROLdHrkJYWj9Le
ZYTo9A0BQKGKmNBc9dS2yCPZ45iC9eEQyUvTG2aR9fTrQ4Los2XeL7j7FGZxnLnZIeZLritkB/fR
eHv1uUj3GJJKLIEywd/KqpKXWBYPtbjnaM7dbwYAnMJutadbdxCXkFRh+hoZpTQansGVFVpeEHgO
4o8rAa0WN4FUa+YSiaiCXpPmekiKHnykChPX4TxJ9FPQ3mrrnz6e84bRlR97VY40IJ6AbJ2Y5Oke
Hvcqoq5wB9ACD2JPZK+IXvLwqtmCypMnX+Vhx1ShQkK23zrmf8FctcIarWQ+CaSzQ50f8DunEgpP
UkqiVzW88Geq4aWtDkayjYQtgtJUQi+zicYrpl5BWqgCqD+C0zVSxVVK9qO0qih0UE7UwrbVaVBs
sVsBHTf7VuIQ0VZWvkQvU7bHSLj1K8F3ah+H7oKErXaw54A8CcdfDQcbOylKM3ehsUlX6Sfu7qJ1
d7UTVxoXHz7YTVFuG9JdBJVURncFykXCS2t+++G5AowNFulbNOyKBjLTmUpHzJ5EAI6Di9UANOIe
59hh5ZwRNIMaM0Q/Ny4MeY7b33PIdFIr6p9GvAt7N9kF45ZPaEaWAsONpf5WeE1TeimWfbTP5VVP
ZDJ5DrsJal3LkkNIVJB+vHyR5Gs0Pi5OgpHESsx9k1mB/qKS6tVhEWkbdhB2r75dm8Ffh+GsXwbt
s/H+UmFDwEqrH0b9hazFjDD+LNGTgzHbAbox/0eLnhUhDusJ1m6cNtpCEiUk8/QXXkYcisQaeCQJ
WBfyu5keIBkAERXvh3gWXzwi0LWMJaXA6YBaciGOIIN2MV7VdiURterZQv4E2en/YwTB+WRhQWKY
gc7tywJ+/Gnio6CurPgUFVt84dButsTjb6xwtasOjTURVcPpZyxPlbQzCAiVb0G+QUClS+v55H3C
x1DoGwEvlzHXx4Nf7kzHE3fIWap2biUzkg2fDaVrAQljXI52qG+FgsBDRGQ8/dNv5GVHMmdk+cmv
MFKF5yMc/snilVGvPewBoX8OsHhBYyVE/XT1UVUd/ixxjQGwsS6oJor2G6S3GhgwWNkPfrNUTDD2
bY2+g6WpyPYx2fQuuNPTEu0uXZPoIKcY/NYAV3G4xRxBY9hWscB1L1wJQXRpGD+AJxL3UXk2gTtt
TtDezKS8AeIcTL5ib15yOfMsuuEamR3vnEtFHCmW46wi/ID8C/0rwMEfruY++GRYw7H9dehMcoI9
xz0NzvVDwWkPEax+gmzTDIsdTA5R/pOyCFd6RvwOiISC5JsgIo5hZPZk7qTOdAA12CsCcWem+2k9
pG0EhZG2GIkU9B6RsfGCGaF4PZFQrmNKKzWYKkyt3+6HZYilklqa8kkoWCLbRCoJvAw4ZvAKI332
omXbbjTUdiKl3/xJKIPpzirmyh8ToKUeqdpmpkL+YBVLCSGjb5316qjpCzd2GFpji4ndRhvHjd0H
jOsOcgpfXyDDUcUVMh/RJ3wLKmTXMCaKc4kI4pgdbtESySTqtO4IhAe9eio3SJqtFjzoJiIK1Cgw
hhq+KASXVI8nU7KTa1wsH83MDNPerBr/RhPHhpxv3CjJdnnsITEwYAez4Uetf2kHD4CpiZu21kl2
TLxHJnRkO9RIgCT92xNPgUucuNAv175fUiOE8LaBT8/fOuxjwIKl1UiGuKX58cHJh1xgIIaNAMTw
S1o/4rAlEkKTCMKaiVTPIwXvptoLn3/UAEqQtwvG38A8u3Ta4nDMr0blkF8TTSXOMQoD16niu5lv
2vEe4IIMHALYWXy4LERiuCQBMqcHnJQsY076EDyQT+zAttKvEQuHSjRwufWGEqgA7cJGqS+ZvjfR
RuZ89z2IaRMqKw1/BkbtHAg0YPgeg1VIQU9HthQ5nTa9xcoul7AT/I3dn1/vFfknNJ9eGG9i69VD
WOcKEuYYBugtibimX55EzC1EsigdDPRIaBhD2cWy0Ww0TmQ4NMLep5+hMxTWZWuZ0K3Rs6H0UW/n
KRkGbA1pwxroE7Qy/Ajy2SJozX9KPO1x+sIT+BWG9AkoAEj0WekFFc5T6hsrZgnLIYAz+UwQJdIi
fwBDIGdTlby5qKpzhucZeukvbxmM3CepUc3F/NYxKjbtz5hTrpNHt+mmLcdJ0QPkAjQLH1Ygy4U7
qgufS3Gb+pTeGogFkX4VxS0f90ogzkpK4KSr3v9U3VnxN+kwJSjNqwrHHrGn0KvaeHGFYy7uy/pR
cUUDnuFSSGfoqTlX+DwQs2DTk0EZWsh7QTwyuvGvkrXUgRsL7cSoaxY/Rnkf6ckKh38murysVzeE
jZZ37tyk14jadPiOOecri4QR6SHVl3L4JMlb5iSc9DSyte1SwJ9nq45rRVlWPhcu2QNx4s81WPMK
54qpI2jHMPKFNltSlkFwG3kpZC9fd2hChPpfz25Mn1fLo9OGh4ZA2ASLRQ4WI7v/utjaSc0/mUyu
7q9GrpWzeevWTQsPGb1jhX4XvUuaE2mFu7MYSc0r765SnVXv5mPmI4PBy3foUt+UDPU2wTKu+46U
vWj+EwAC/NZFGWKX6qF1N0ryELE/BwEYNbWA2Uvq3x47TFC9eEW/VO/Ty0Q6aPe4qmcWnBrpRIN7
pkFCVCkbxNs9FpfBf0+8Fc9LQk9rrpLdHVprxPyENKBOafg4+z8RCuGsQ0OpOFhTHvkBgXsovzv1
0qEda6urQtWKBLOeI8DwDYdYGbFinu72PSm1tX5I4mUsUKJx1EPG+nfr+/OEiIIYjaZr+l8Eq+R2
re1az5pndKCJprl0IzLQUegzNolT4Rn9ZDIveEC+ADY3dAO458gL4lswCNApMYCrqzKihZVIGnLd
wu3IqjK2P161IgZOZjdiyA/cf7VCNYXrk2nGo1QQDCAh6QkcodzKhJYpHQmO+l5E7i2jfVbDyC6E
EOkCyeQlhWY1uZz6Hjo6JY03Rc/g+ic7QgpPZGa4TdLNQMd9tdKyRxr/j6PzWm7c2KLoF6EKObwy
gDlTpKgXlChpkDMa6eu94Idb5WuPxxoS6D5h77UNyBtgufbjsMnFwQovCbOUAVtQTOvGFzJlQ4z9
Y+gYBiY8GufpmQgnMGnTL6ruj+4EIExG7ueHwunBcy7J77HuZ5P7NkbT7/QPW3p4FMTacsjfShUt
GvVhDc+k2dh0+OYzGxA8j59hDQivO1gxTBqIgUNBJK//N2i3FmwSnJwmW7fwGkKPEQCz6YgbMOFx
kE8ZPpyYHq6rtJMV/6vNj1K96VaFCj09mGC3dGcCT9FlwP3LMEqUqAsBw7lePKzy7jDm8UY2h3mu
s2BvFgYvSZ2+hYQEMfNdnEat/hMxGxZUvorBS4zfTRrWivmv4iiznIA8qXAhwGxmDo606N/ovT0O
sSD+NqFrEDMVWN9eYW7kwWZyCFxO/jXTH6bF0rTqwo5P4GtlZttgSnEaeHCJkQp2JbS+mKUYIksu
6RB1oL/ImPjxd5N1ZP4Mk6qvda5FcBb5Nh6uWvZCpQqFlpmf5W0jsA7xFrVo3aN7eSWpmzcMdb8i
THeoSDpzURHxxbYM+qI4i2Bd6ndaAo6ftrt1ptujTdAudYof7xc0csaRFvTnyrqG2Vb1bmN10OSj
DzkaYJbS3RCipOh5pAvQ1yVuGoM8cUjiAG1/PZsvH5goNeFOJeTT8ndFSpZg9pSYgXkLoFQno1lW
TUlLQKoj7RmLQQ82LNNlD14R5om9VcNwPjCizoSxoKowmO/X1tyuPohqq+W1jP7YcWWWzuYhGmAn
M/Pe5eZathBBPHL8dCXF5MNNpaut3hJEzKWBfjr3N5W+Zk40AtpWrtBQtX6Z4BRxFjKLcYR7mreS
oVy1q4phtOHQUZ5Lw80KAA1Lqwd56jraJF0p5ZXX/KF6nMHP4AOiMlaIZU6WUvCojZWvMz06yEwT
k41PSTDAjdbLPxGudXVnG8eQiCRzXckfzbAfE6raIxS1GCW5aSygGJj+ViE4E98HIjvMrgrJ4Aci
QH/zQUbiM0t1Ck42PianH0/lyB9IeacdmD0H4xNg4t/WWPVEmkQXn8y+EdHaruODrgJXb/nA0JXR
GVqXsnuFVNheTT6aITayclExrJQy4YWwb6WWaTDTaYFuzFbWQ/lHZJ/dbSryu7hI7fQ57fRUsU/4
GQo2jrL8ZXT08Q1bMIVfEJ3zkt61OarBrznwlBhfdvbO0k9Fw6zkYweNV3hjSg7/QfJnwclJS8LP
atcpyGCujFmOPNoO3yNDgxnar6R/FB38J4CWYUJ0gY8M0x7mmqcAVeRGaADkGnDXBeK7/q+xDr2j
EXoOBGHEjXLoMCg2Jokr4P285JXzaPlISNRblORsC5SZuQlYoRl2Rev+U4x/XUxjaCC5H78dizd3
8mowfk+LSbyMNMDmi0B9UyFxIgZsvNkO0wD7zF2T4QYJL8zYCu/ScW6V9SPqDfA6lKQoTnIIlGYD
lpf0lREHvg+kiP20PWZ0bEDoGYviZ8xIqTaqe52d8cHMRZCuhnBjyisl+LBEgMuVvS4WpMCEyMn1
Np5COIemdh/YaUX4cgv9V2G7LJARF/UB8ZTCVKYX/HfgjvjyHm1jTlUmndhb9LhO8fEjuupdnzVT
jKLRoNvDe6FIsDuYHpbIgBb4sui3kHPZSCaw//IjYrUPOOcd2toAzGCfM8UM2M4XcyBvKxldIWAA
VKJXpHDTQhd1PDW/twF2txqAvXflXyVuwHNFwPyi5MlmdAYQz04Yl/LFFRB/M5JR8W8kJRt0wIzO
w2ZFkrI1EhJdp4lugH1Z/E6bKX6iGK4ifhveS4wX0RM++lWG21Tdqf0ll65xgT+TJQ+XWwRTUfao
Vela6ykGYN0CvZYQVabk1MnwiSprXDr5xiqsu2MQnZGRWSeDvEt/4w+LoR6qfcTLOkEADGGKVY/V
jqKv2DMI1JwXy9jY/7UAZuHtdh4Obby/t9J7L7t64cYWVs7JsenXBYnzzE2kit49UexVhLc2Be+E
cMrQ8x30uXBtZCwp6kXgQAnGp7IFGEQUTGSxZSWna1/2K5kxcQEAqauNeSpWJTIymfkFNTjVIj5N
nVIspQ7ruVhrfF2m/OfgHsfo6HtrLSJ/KnBjGzLlrCv2Jnh5Ckzt5vtTG/pUgJVEJ0Xf5BGDgvGn
QCU8VMwiELyjRl0sdGQZBQ2IGnnoTn9rGShitLdAWna2NrciaaElCHkB9flLK2L5QTZoO6gHq7W+
DL4Br6PfJ+QAG0qOD9ysgZaXn3IBu7QmkSOYrkocrR7FEUz/Qtq106y6oujPrk6LPOnc1886/JXE
VGXyBx4AB7Bw6OHyWpTzC1EBwvrU8w8McPQrXN6sWsoA6y94ouaZtb8hybctohCbkWOHBkFC8VIh
wekuZmAuDEdlN4m1zN4q7SoS68ZZx9wKFHnyG1PRNqsP0rCrx5eGywdBrqf9fzhUqN35y9F5x8lG
kaDo8jrR+ITsdK8tAE6qGQGoJKLLSeg+FAbVRvJlptuieqXlziSiT3E27APaYEdrN3bHoljbUxi8
9BoMGtOt0iHr25O+WYeMr7lqqq/peG3Tg00SLiwsL/pJWbI4/Y/wdZKImXjGx6E5Ef5VNbtA0dmS
TieD5od3qA6zGC96jJihrgl7/T9YUlswIuJYrrWftPhoi2cxEu5HpV9Ah24hT1deiChYMFvJZize
83NkF4/hnLOA1bqvfPgMfXMh+8NOruSBGMnmPTopOkB8Nr619loU2Xz0OhDk+MKaP3Yb6O962J90
ifNr/BLla57gxTMYAqrJ3MDSbNi3WFq1cDP8BmA376AqwZXuWWMoM3g2wPvtmb9PqFodzNYl7WMn
DgDw8E5dghzt7b+gxOAc/bQws/LhHhC33QFI73SWgjvL/LaSPXbLAd37APC3QecJqL/C1pDlvwE4
PR/3I11Q8QSggtUBrRijoF78lfijB3qpJjzZ0WNG9qPTEpCLwigBbjTcMgRVSvxRwcMOdXOj1eEW
yTEDooKdpZfejI4SmBI86R6iFDOXVWpYf6TFt6wxEuF6t3FQUGvxnf7/5PfJsjWRL4Top2zxEYVX
ob9G6NZMBaQEEe1UmZ7l/sAxq5SHjBeMRaEEClrGeUxSMXNrQi4o0uThG4ym1Ozs5Lch8NNlkDFj
ctyWhwJqI+gzCuAvJeI9sD4ywr2i1eR0pnFu2YEeS+1le9FcJliWEaN/mSpAObhBh1r0Bv0zghde
B5PSsDzXxV+P9kdnYyC/lJBd8leX/IxZDoxxn9lXJCvMIfwcI/S299yoPtAd1XS05oeBPnxMI2KP
n9r4jkmcyb8QVe00sQ0dNk3tViinuH5PqK8YkLf+5+P1kLR8Up7N8kebtFSkAcL+Q+CNwE6p8bR9
BP3FfOO3UgjosRYYcRdt7/ZIjvJfUz503beFbmcaWG06DmPtlhsgfHndSElX9wNLRvY1E9AiYwLp
FQzej+z3x3ZKgJV7qDrGzM3GnZzdkKdm2PbkOQ6RnCw90AbjGTMzpVwwk6oNZ2me3Fru62qY0BJ3
X2BxOUx2uO6uKXPqPlNayt0VQUUX/kPPHhTLWeATsrzyapJhUzztPw3azVIxcaUyu4E2bG/d3LYh
Onwm+asgBdTuvoFkEBrBgdRKjA38u5OcMn0fxfvQO3biO/S6RTp88VnPTSaaovEWdfZIBOEIOlZw
/KB2wz605rDlH5cAqWug4ILqIUeiobFvGrznBNducMYaiELJbsI1ih88ZbKSDc/ChKuIFolQ4ib5
qpyP2v60pPIo11AGWFtP4kuF0Wft3/3hG6JXQQIW0sDiAp9EEy59AEC1IGBOzaxWSPuakgJDCCyc
ZJGDISETLvXdkJMjh86hFZeWNB9mlWn7raCU56NH4wuBwVMurfaw673lEDLsYrLAlW1iTIj9T2wI
pOio8g4FFFYod+oUHDB41d6lkKnFHrROezPDpdruOh4apEdWepa7bfeT56faJzDIOiYer8y2Mjae
fuObz5VNQOhk+h7B0DeXYVy6ar2XSHsIMCir+C6s/hbwu+kl4OMIiHiz/V8hgQqx47rmCkTUTmSl
QigU/jdduTNU52UhTcw65vplCueZbt5izXWVGf86GUCM/RlWZ9ZR0zc0WDsFVLXW3K2c4jdlskXi
MT+R3H7xPO5k70jJ5pu7zmNKspVLPqm9qZNbglgQForuYsUteJNkCUKaBONPrLAkWSerU1fAbW8R
Rnarq2aB+s8Eg+lNeJuaOj8TM90jbMzyCEkgWLBcO91nEVwl/eGo187nYYrUuSwWcA6JcpAOAjEn
9n43zeOlpju4e71lqp4cjz7jnRRA4G3lbNuqW1TAKVtCScGjdZ22LMjrtn+h3mxHMArhvcANg4oi
sT9SVsngXQL9PKLhMNVvJ6Fc2soX4Z1tFSgDwKvRuaoeX8kW9onJWCkJdizXBZjM4Dy5PZvgRw2e
TsFoK6h3qrSPynvixasKSqg0uFTMCWMCrhL2zBbcq2Bs8K98S/Tk/D668kmGgN6dNJv+Knm0yI5o
F0wZ2OZw4yA1oYmG5cqaRqkt8rx/qokg592Uz079LLIvST85iOFV/1aiFMtcozubDaElytIOITwm
vqsO/sIBTq6XiGnMmyt8ZaMSWG+xQwvFT0WsjcYZm44X0kiQIrPgjGab6Y4BU7SIhqeKrcGiIlNw
s4zNJenShcKoRwYFkG9FdcyHi8VKDgskZtmpFz4uQhte1AnCEOTMKTEd0NAsD8JDRGRGQ7YAAAgx
4472VczXkjE3hDhasT3rlaMFtGhEGBZU1ZKJ0ipxyARPOHG47fEE/xWWNVMaAJJp7aYFrbG56cI/
m8V7BxkwrR8y05qiujd83cW9i596xt7Z2kWyvVQ8awaH2h2hAdAYpWy7NfBcfkZninRsavZnJSqa
irSBkAZPE7NqRPwGtqziTu5qUphI1a0RlnXGwAI42iAAJQ5L8k6m4GHK+49Ue2kUUUUe3SddYd8a
60lggdZB84154Xyjkpz08JOMoeiDPQK4uHqY7MC347BnC5n4PEWMq+oMm+K2wDYRMIT/9rVNjC4h
wKE7iI3w8ku7sxTUyRdMf3L/MiNS7SDKSksgmbOCnhLKsbymjeuIvuGLW3aMrKXoKiP8tA/quMWF
F5tYxKiew4tKWBsFNPK6ZJnJpDp8VcWan93y35mD49Stq3mr/NTqQUInHoJIwCSdLW0s0N5WKdfF
AGCVvQ1+jFJ82DLgXiouMOV7LPEl6PeAAC0eCpeSPDfmvvZU0rVBDqeyGpwNcoBNyTKYIzlQVqzV
WHVIujbbFExtDOfVFIsEUG+7rXxYPjiDvvvPwjuEEeQlRv8yql6MNvTBLRqanJ+fHB4H4A5vkfhX
eg+1u5sCvIldr4z0VzG2TQGsZ23oO2HaoP6IYGFMgyQNQ8qHiRgNoUYaPVoduEN5k6RPBVtbcOwZ
GnT2I4CkBDmaqReHZKd94gyPo5XbBfncjN9jhdSedf1IGlBhkiT2rAN7oaZYKAp6Lg0ZO4WmAhp/
Ijpn/T+nPacjYhQEr0HCWGynxYUr0RcOEyAh7uD2acShQArRkIJHymGgrwcNlPOmq6sG1YJBzIAP
FtAKEDlzNeTGT4iGO/rynUNbArwMPzwPVZ76yvNXVV8dApVqb9tUWCiYuds3Lf4nGRdAG+TWbfTM
e1WKtsqBFQoTCtvkPYyYQmBf/GdCBEjVR4C2JinfafaBR/yp8S2l/rdRPFN00Q4Vts/SlZFyExsz
jvAh0TZ5ilKmc3NkMHz4DjHd6towCCZhfjyQtDLce2cthnvq/2vHq9ouA+NgOLtE1dAgqZHL+JDR
jtCbeYmianiKYeeNyF/th5l8GzCqHDlZN4zgu/ADbHr30upzDzyjeKj5KaWoKlZKSC79pRJXpbJm
JTHTHN3KTQueUn+KQJ5SWentspP6GV7oil2ijUp+CB5jeOcfsMv4kMmDhxrQVDfV2mcsbGe+fvRx
cWb9n9WxOhGMm0AUttsc/2UvP6veW86ijAYq+UmIUCkvOhvUoEXnxPiu56TtimseTtKnARAVy+gQ
eZ5x5he1LWMrlsv8FGc1elJtQfVAd+84K2TGbE2PVKGgCnCkRhGl+Z1xFEIEZnc9VoT+JvHGlbvJ
BY2jXiIV48Mw/mL/nposiR6Wd/FIlgdq4X233HmmioigxXsmiLronnp9bfdKvelYC6Athn5qJg4b
1G3oPxtWpxmBwy1Tl/QnUN489Ib2UZmsmS0I11sRPAN2zkN78vxbEOw0JgJ2/MRMCzWmsMiBg1HU
TEv0unmriPydlQDKYaquQf5jFs+R2Mnqk82mKwZG2iud6RnWx9449OWzzOZKdgbfTsSPap5pLGx7
3zsvv/rypX+Kdoqj3TCgMHEn7ZhKm29u2RZN2w2FqZ6aX538ZZYs5JmJDbDpImvgwkDRsmeri2sT
NEgrogVT38ygD3Lz/AYzYtYTLSJbSFoBAWcqgBH/UdbhqTF4sfSNJc2D/jdw034G0OfkxcdcXpeX
jJZnUkIXOs5EmrpljQw1xiBDAHvLKl/ZssrHBofbgXaparbcfGDOWArCiwphVizbO1tCdA6EV8QP
dgVo2YAg8/3iGk76z+5fDxDhXLOdbBGy8tzUxhGAKPKRePzIskPo7DBRZyz6yELwMbPvaGTTfJ+y
zM9RF2lPO3vS0qg59OuDCnyfAydd19qKXfl0tJ58OJABl8T4ZdX5XsFwERmo8PSZA29aOHuPdW+Z
8jo5y7a5NPGHzFgiMU9mdO6iHU+/O0781nkBzNXg0yHOtP5K5Cvjuj665D3Is2Pub/1grRGuou8n
czwMTnyms4NUrLtumSQXYe8pryDBz6fkkWBuwqJKdnXHh/tncOD6c+pzP1kGKJlx/GR4VVKWgksf
bTBTaHXn6KfMuaQQbCngOPA10sWHXTduu2QpD4RZLOIAdPICZq1orxqOQfwl+GDRVQTM2pxPVWcA
6XwaoDHNFIuXTdALBoMNYV2IfJA0e+03QwMXDSYDQpFjcFwJdVOzWqxLoKKztFsPDuIzkq4Z8tfG
zbXKbR48VfhERsFVhwPzpvkYdvma6kWaPheIToCa4XmgHPlVipOja4swfQbqWUOGFZTpXGBczJpl
Kb4VFOCAiHwsmb4qL2zl3mt/coInaOGJEyA2hUEvlE/8C7fB3qc6s77pLvX3fOxmv4j5vDXzmlSH
jjE6yniiRfl4MvnJVqcHhdzeq2Hfsuize3Th8Y6RVGGcrOpWOnt6RwiIET42anyiunLrM02nQ69v
j4rDCnesgQeCgVybTPz0U896r44WIwcB7tdkO4I6k/Nz9QPGRaFKDmPsb7t6WMISQppihgfyQZoM
e8iHktyNemX1FOzVuerIUG3csXyFQ+GK6twHyJ6A6SH95H+FvqH7MzvyQpwXVwWDnmraUvLwatw9
cYwEbekixQDqUfPUGil9P828N/27TP80CTmZt9abUy1evnft1Y3p4bHgWasbbF/MB4NHFV8UTI5S
+RTikKKfVwZYfEut/e17SFPWS/Lx4G7L9BRChVHhkEehttCwQzkc+FQ5Ax+VVZBF5r3i8hvs2ixM
fsz2JRtYSjd07J18sjQKNA7eqTREUtxzA0h0Vf4/OMTsKTWY6l/++EWwojx++MEzUo7uwCrNwGYS
q5u0HpGSYmZpdeCAhxzXTnNJq3PDy6Lo+6q+l7QLxP/k0UHlRop/SpYxFkS/djOY52mtVGMDsXse
6VvdnPoQz1ZywdbFh0jUdLVCSSSX0Jm+PHqLIdkqKN2UZ0aYRufnc4mFeGqA/ukO4VfGk26js0Nn
anwI9ityJFzD+DUDhlILtkdLFtyzQD815S2WDbgvm8o5KtwgsEkZ9iUMvnKeI/7tCnJuw8Vj+3fF
QXu9cqzraLPwYepbGZBM0AUzQgMtHcT5IumtdSpOkC3k9poXvxNhMYCihq8qfyo44PNwdOl2UIcp
OLVCDv70OSqPor01SLCVzeTxXzunHEhJjBIhmZv5qgsOQNY8jvcifUX6VfjANJ9ZsCrxNeXt1KAa
GqofdzGGO83cA8qhHdQTQo8jpuzqq9YwwjBfs34lrLjqnCrJDs959t0QXDxsAZh0qnnsjW+9h5PS
I4IjbOKXrEvkCwQuJeq/gEeS9nta1OR4VXvyY6fj9toHwHI1xlAD8h/KZctNskPA9obNqZB3sXKw
zWHNchHqBp53VKEgpDizHO9iB7eyeJfxwq6+CuaZcbDuEWx0mcVTgeThkJN3S3NgigUN7CAzvenQ
LJoLbSQk2TXFJVZ2lQd0athS/itknLLD1gnEDK+5upqib1UcCspdNfEgTIpfRz3H7NvpKwwUwbYP
GoVWEQUcgx8FUpQ4GuXWiQQS+lNDsJpYytolqS6MM3LaZWG8POUADSBkQ4cZCYegyuiKZXi1z1Fp
695n5hz84lEoD4WYMvmMzijhXosFAm80ACv0JJq99Y1FM16t1mWsz2ANVCIVjpJtkvgSgyI2Vo0J
dgUlhPYRTSqPKF/I4Wom92sP0YPBV7PjGgplxtGuKN163A6mvDbQHFrdP9iilnU3a3lW4GuI2l+2
z4V+qrArjtf6jyEzzW+AHFjby/1Ho/NrmOha+p+Vycui/VRJXQqeQ9rN1RAiooRnlana8G7I6pvM
VtRODTucSbAuWYTWZHtV3Ftw9jgv2MDSa9IJ6eExa85D+o34a+YXNx3rC09Q2zi7AttoW4Zu0ATH
ZDgZ7CSraU2p3DILG/smIG8EwlDpfw/TjFIHJDYAUsZ2fg0ayIB4xZ1Vy4AaxL/34I/F6eRKePEM
eV5gAuLmQGNYzj0VfBHn0wXv4did2cgRxuR3bC/cWEAPFB1vDnNp0c+zLsCVEri1srGsYAtrRvcP
icqhkT0L/2vQPqsS+Tkdg9hZDnGKLH9hTHB4oeQjM+uJRKbI8HPjs0Kj1rJ067FQ2BxvEiGWjDDs
GHIgtYqOs1Oa/AIzlAcCCVxtMVXzWYjIwGttJvzYdthcKhWUGtWlMmph6Sm8YzWDNEJlCOod5V3E
4gjCENFw/opdFqmOoeY22jsNcIsjSAqTnTT+TmvlQNzyC83BonS4pFX00Va1q9DWM7rXCmsmUP6M
DByQEOI4onEGZ0b8heWa+Tvn+kYHRtD3Xg6QE7dbM7D2OorNkOnuCHe30emMSAzLdWjGh3DYyJCB
04AlDbaUikYpjmrEpyhHrcvooLcLsnXCHisxl6X017UUKxJDkaVfa4cqyi6V+ceDLKRzizYpYc7K
ysov/ulMXtrJx5WzLtz4BJOk5SPxBbEzbHFUsWwq6G4n2/fcQP2u+7vlvdCTxfRyBNo21iQfdUNc
KGxD+CkkbdOWZAo0C7M6TT9pTJ+kVdJcavhrcheD/1MkNhp/AFWhfquOERH1JdFu9NB5OcGIBFYe
ZXhW1r9Uv1TGP4sFteqfdKObldcFklvYgDDDg+wEXEyBqhcuC8wjEFyYj7hMGWh8PAb5lcCCOoLO
hxPOJvUSx3xwzPKVBS5STXadELA0kUo9exgE7yhkhpvi4SC1vG8d70oEI0NJvF1UB+huJ4mosyH2
y8f0gFzaYCBu2evGPhT+XiXWr4bGD/++vnXeg0g0EjEYWEQDZ6UKTMacZ1MNpSNHMwNqTda8jU3+
IwtpYg/7EY23gFLFAB97zV4u/jx697jHlITTkXW5J887zXNLLJ0mD3GtMggAAcSdLA1IwIcfQ+CZ
j1EOldMbg5yLxnsYXmFy7Ojo1ek0I9SMHRLCsFNqPINpKSP/5BXs+nbBfdHKe5WwUy4PB0AMwbJS
8VDM4OIQRbEvyVlbgCxlKguV1CCYtx/o0pIxCMkORxQmG6t6K/ccyKFPdl+pM2Zw3SSH+USARu2y
f37JI0/oPOhApXWI0HB6ZHCIMulbg0aVnoPqNbYlbNOfzPxjx+IPzjKD3jjK19YinpPiuDMwPuz9
bY/WMeYzLtsNnK2lFTC9ydZBeigV5uvGR1CiOYuhKAoJGh5QRGXY2BwQBb9d2b60VEF58ipaCigS
EtKj6Pl5i+NgJHsbmAgx4cO15XEGWtQ2O8vY2CN/d4M7wxBMo7dckaKH0+H2yrIixtAJAXen6rqt
nnJoofeql5U42z7SL3QPzEi0+F5VfPrMqzaqLYaDXdorCW20R5hpjDs1S9h6IQ/F4CZrZ1nG2bZu
LQKECSt4axyKk7qGHAJN30mtA26AfBtw4HSuzVka37Y4FOsCD5gqbbpg0hRMAO6jllxSS3VrKmiD
mNtuvAfxaUoaNPnwBv8ZBW82hVp3bhyGlPBSQaD4L4uyueDd9YVHgi0ASBYpFYxKGSd/POe/ibAg
AeM1iTb7ZonrquSzK486ccUk9fGeTsvK0dqGFvdEteCkHvi/p4QocqueJa26TBUuP+/JDq0sf8Uk
Hd53AlKBdKj1VzU++vGKH2uT5Ju22GB3n75PnJr05MoXAO815qVIMFFYUlOLhBygOXbUgpFGEpxH
gRFWu7eIrFoVz+GyNU6MP4OxX5vqYeJRwE2JyQH9Y6LqCdmtOYz1do2f+JUEzlz21sLGMN14c1t2
B2zjE0A3Wg0TeWkvxyutegqnXyfVCqocMGsbBxI0NUYctkNii7nFF2K3l0nxgmgNcHk0TkwZwzRe
Ck4E/7tT763gxIedfqdVY5PU0QsVG02BVpKcyUYKHNRwBFlXh6T5TMeQHwr5yS1xsOKFC8vcFIu2
3hbNNtMekM1xAIh271mARSBq9Ngz4GI6DJFIJ6GxY1XHgMNmblsc0CYp+iHF7CZS0BknrDSgvQhV
D7oVvyjPwHhhnFKWcspwvwMxf0Hfa2HmRJ4SNf+amqUvlM9nBetTYXPPGwlZA1o/500L3OggcE/7
0Q59gcqCJeJdKyOeHKjlB74Mj75Bkxh46pobYaLrDX7N8IuelJaaZJIeQ4WdbLnGCmKNXEzDYkt6
tln/dN271/awIx3qE6IE0G9XBLLmy7ZDGUoawL5R3vokwOvXtbIuQgoxis8BJmFB0CCxLpjPwmNV
LHmtjXztGirVzHcldnRRUQXu4mZJO7NfxZrLpxnvcIJ6HTOCbF31/aLrCDIbPnNB90zohh4YyxAl
QZ8T0+lqxBaJZ9UiH3wnIHr8nrLvc1B/i3gbYrsM9wXvMKnxXZ0tLOtKES7kk5qsK/y3XqS5WgGd
lq8mZYo5y9BiWPQ+hY0u9LMcjqkCKZk9eIs5J8b1E6WjCyhkNs3pnEzbmsU1MVeTijnhRpGo2y2m
LYQK68l5koKVAxJ4+0cBeo1fJA0PIj8CGZlp4cTl2i+kwJ4V0nZs7fnCMz9RzvD0lAg7mTIh6omx
Rfg2ASOkRtjRtn2VzUy3LyWzQw5iT/zL9mnuuXnG/9CJBeZqxKTQmwD8GPfQ/QhEyfeuZ0/Ysw4O
kRuxrcyDW969lRIVUxWyCgWjIJiP6WuhnvCSUS0tbEhdLZYxueqOJt2eqVF6M18rJ8xUErvC+Co9
f2ko8lL4ODzl/lmgkhr8VwN/isR3OAsFi6kOnQBKWod/j8n3mN8jXFEdcSnjGDN24T/L7VIhl0rf
bVDRJkE2yBlVc9xxbZN2/EybiQXXLU3MtwopAU6OMsT/DvlEFOuj5LOMsg4GLJ1KupJV0JuFHxJb
zRACJEyLbOA3qZCXatZKZ0nYT56zQqxx1TBJGdaVc9Jq/TT2RynnsGFFrwT51oysA5wq29vbnrj3
hc7PiC2FxKjlKLJ/ebSWNYQI43qRAJuxyBDUAcXEukkiOMaWciFb8y75m+KMYEKV+idQsRoaqTzp
EoLZAhckCyofn3jhbOtphYJHHoJuj75Q5qJeD1jW6p0j8Losu3g9OeqhBVGesYpyStJcYE/gv862
WPr1lgVlyCG/HmFpcx/C3Y9uZvvTBcfcwE5oWMzQEMM3yUKg94lanjl/oxTM/vO50q3bcQDCeiQ8
vMf6ugxDtynYewJf4hGlntfu0j3GET+DWfXms2AbaAs3Z72G0VJwU30YmIKlhkfXJdUbB+yE54+Y
Uh9HauuOVZT0V2HTF5AZdwXvCHNOruT3omMjG//Mm2AbSwTFrgoOi6jgltCUZT9wOISjCmnmg/y5
uHyaFRYWlG8F4HWfkk+zjJVpXpwIjS5HX8mD2BMtkvyD+Nt9a0nuxikTCcH8xUvnrWDk4BAYOJHw
4dAxXI/I7oFdtTCHks4TeZ26ysb+AO5eisJtvlMh8CggZxOlJpCroOdI2ZuRvUQxKJUFjF+ZnZGy
JXEkU+jCWWROJXQs2Mh5CxPVX8/MOozIiuI5nUQfNn7XuoegIZvbYpgcMznrCeuWGEyR+Oct+UOQ
BpdBLkO5m0YphEkPaJVvTnbw7E+P9lXJ2S7vZELD4CXmRypjOzsbglprUZRfcUFrGCFzj54m15SJ
PJs/PQYPKDij3rCQqJnTySikvR9d/OoEEwiwToXonzIYOz8yXYUKRL2E4SfJqMWnvLwn9H39mt9k
SGaLDP2YyxVblAsjdaW3Vs8Ry83TblOcYG1Kb5HgGl/Ua/OQoM+b+d9kbGhu9xU6hNDP+CgRfwIp
mwV7jbN0y9LsZrNJQNvBjhhDFQbEnwAHNqmv8lVcEUOqYL5WEQNWmmnOnDlzkm6hYkXMtqyLbNAy
VO9oAl3rFwOetrP5MI/VDzWBRPG8lB9MSVncUw4tFGYgc5za9jZ/NL94SPydvWpePTlUMwy+HgUt
1yambq7c+aRXBwC7Na1l+OVCjBs2nGvCZOw1J2C3x++wHD4c202XLBtMPOkL+Ttfqu+Jd72qAA2x
J5/hB58pbvIDCya+gPSv+fcvab6ovxiz6suYW+UMsBrZEZOcJVM37afdJKcaijfJbigVjaXuz91m
r+Ep3QYK2jM3nx1wRKhLPZ7JW3zqkdv+a9dVvcB+S975QnqEH4RicsXnVzy146f86KtNzTlL30iT
R7nyyZKhxB31dvK1/kHQRBYgIPiPpvPakRXZtugXIWEDeE1DukqfWe4FldmFN4GHrz+Dls7LVp+r
vr2rMiFimTnH/Cu3/LJX+9SUS7Z4brdQaBR5S1aL4Il6R2datMoUQqFWrL7VYUOxpn0D1uGvMhFO
mHuRfZvOmhuR+m3S1tBreDoicUiqEyiw5KCjvkE3yp1K7ZT8ap0XtSDrOWLxQuskpGyo6Ts8xEwM
8MnU8VHKlwgjUoU7C13squ63sQFIbOMPG48fIhZHTb3lYvdItTvvW2pvOgGPjmwQr2cAm4o9PTHK
XRQ8a0sOgDjSZU9wA3gMj9AwDo75q6U0gXnWYZZw2ZkaiUlYJaS3LuIWwvSFYF2ArrHCtVXB3pmD
rS39YmawaNp1Slr3qIAiSp5W9KWEDVFfNe/eeHZroHtAsySVasAheHEqmGj6ALcFQhbflQM18Fsz
cW5iFzJJHWaDV2OmEnxCpnFos5PX4XaJ+IAwSUE/PsXkHfsI5dCZzf/IGL9mBWH6aKTPqclgAAt7
nNP9z/arIdnG4UuVP+L3pj+l2JAgHFTTrSn20GyG6DxVH2zk0grlBG35RFek5xeWC1lqowNmQnSH
cs1QiPOajFKseU5ikppwkoyapXXHGYwDxm3wt3AKd//42NLsfbRWVfIx9YyjKJoqRmx2iFzGZH2C
4q1o5dYIlXuPgRprAT9NwbAiQ2o+VERXFKtx4FvEo1NtB+l6XaTfidlczQeX2X+Oyb6m1h4xWvgR
6Tp+x7LK/81R+rid9RBSGVdZ08+ZBHqMX7WcO5L3eYTKd8sOVJSbSQA1qjR1RaaqF/v9w7DlER01
bvkZ9MbZxrgUMWcn/rA6kmEzClJtd7iVDGs95vD8ETZS+CcLzmNkZLMi1Wl+VOfAS9wwpUA76n9o
/kdX31UdtQhqvDuLmA64r37IUl5r8TWQ3uIcTT7cQH0k5Ik4e0n1Gd8651j054SaccxeM5v8BkZp
7cHNjpmx6ZN/QfpLZ86styNcHpKXPAUtswTnogZ/lTI+vYLFesDXwxB9rJ84B5FDgxNfZhOJtmz0
Qg8M4bRFrLFQJdZGpOnJNYd10EOnx9EyS2ySSEXHqWjFOgFnIVTj5JauOAf2sNPhwymTJaBwOtRv
3Gg96PFdkBiSEUoOZG0EpdrJDQRSdv7M+bp0BojXfINUbdkcvV4qFZIwVxwGC7dlVFoH3BirXhxc
mqvhwNnCCP8lt08MT1vlMKAC0TVzY1h3J/bfAYNuy1Q8jLjl2GJd0DArWQ1KwRAV9wHDJbQIIqVO
CaEBM83ke0Si5Mhe4hVOcYcG64Y0JYZxKAXdPxhs3RX55SjOy4k0S3XpEGi6VtGuHlbC8QrqaYTP
JJf9VO8avR6BTSuq2+g7e6WkwPddvQfKkq4Yv80nWLd6vRo0T6BawyGOTeQXC3rzI27lJ0lDw7EE
/9Suc9y9DFnkjuWs/spUr9dhUVGdL/n+Ov+GyAGXdO2zryFUaoNf0WdY8C94k99L4wvpTgJf+0cU
q0FQxS30AyQQi3uE3GOxlODk6TzHFRHXpUdJjRExu0t/hSASWT4ujgNEpnITyA0eP44ZlnPeBJjq
FfhJOu6dTxOWUvirYXjESkh5F29E54UO4Hu094vIOmL3luiL2vNITyQAFbmqdayMZa55ev7Luw0z
ndaNCnYSNF3f2rAUmddh+xDsSak0vMg6jzArOaN7+4OgGuq+HRNYdMZbqBSkHTfjXpebuF8XPuMN
bo325KaIuFaxvRw7dIZbZ4LE4LXTSiIb8pcCRmRFXBSinyyQ8gOcXBvb9AUhNnQuHvPSKb+uTU2M
RdJ6BgZuc9TTLfSJGrlq6lMQVPJB9CH7K4hfVrVJm+wgZzVR6+ZgdxcKywJRBRev9akvSr6qmczR
AStVCLtmPJu5QAwCRK/zPpQjIsdlfp/UcSsFzxQrVw212ohAxbbJVC/hjLKIY4DHr6+cIOAEn8zT
HPgaCv9ay9Efx5fJQO+Fi0e6TDp1pv1cX454K+uBJafCk01Xlb2Ow1Gje52Rf2XdPvWam6lc1RFB
987aRysnetQHJ6Mj75lx3NURPFPstTrGzVJMW9F2vE60KTzwAPvYBn+WLaIrikTCjAAypLecAiZR
PBUicaIYC2PcaREkEbKNkuJZ8pzp8woYNZka/g3Rt+GC4WNG3CTkaHQ/WHgaNBpWfTdpTPNIHtS4
WGf4kQz/AazDQTIaY4hLbPQgpWOsiQgHEfhqaqZX8Rx2DYHUrG9Uv3jxk5IcyRGaw8R4YN44PWJj
WsN9OndqBrwJPzgu0cBAwFedEhVbiZp5t9ziOxxAh/n4NxtGxfQHDLA4StlHpvsOVu1I7c3lWHfI
uajESvpxXvGYdX8QBzCcKP7jrxGEuUveWFt9V1xOPdKBacjZ9qP8Au/eJc6SJQ+1xj+T8s4a+TQf
AZh/x4QZCyXvIwexMa4aq14WMZLopgzfNu2U79pQB4qMZgw7tAq7HQO3lol1ALQxMu29Wlm83+O5
mI081NOBP11DfqWqT7fMD1dMQy+hhduigmkU8uXFzAzK4KjjOnAIyyhhqmkWQQJM70hG7s230rmV
zk/ETG6VV7gW0+TgjrwWqFjbAI9FWXmMlBFWG+Qu5/hAURe8u1gfSuhDARKngqVEOpgs6vC797ig
Y+rLONjLMFnzVh9EFK2t2fyrIzYOmZkTBlRY+2GgqCO7wqZmcJTThLnZZZbe4siED4bip1trBW97
qmxEUuJQLDQ84htzZZQ/hfFXq6j2B+1h1EQrcfwFf05EYgLGYoMZ1siJGLn/psgGOTw3JlBO2ntk
d7BCPlJMnIIflBk8YpR1n7rvAbSO2PgKGYyWAZNZos5l9E7MyUIJvnjK/Oo3MTirsjkngdLq1YNA
mTic7TELi7ltAZXGkYfWlviRZXhusUx3IvAUvIMMPBZOrQeM9YjnsLudnIs7JAWq5i/1KV0psmbF
dqgwEyqp47naI4Jy2+XvIfuv4lvm9lIZ/kx++5rLgAMo4ioPp2lpUqOTkUVT95G3/xQLdzxrnZyO
M25mAKVDKhWqUGtnkIhhw6UpcMUqEkgIInjEX4UIDybrzWJiqqKw+bRhxmT2KgV0J4Nd0CdHa3gx
cJpPMHZZguxGeNv1vAScLfqqVxUrmtszNYVdy1sQHbpibzqQ2Hy2xkgf1wy8tx2r+armkx0memqS
Lu2fEddD4VgLm0c4RE81svYeOnROPVW9jnN9CsKVEdFn1oVXc51HFBROlxwJMyQmc/ZJf5HXsQZg
V3BLpRWSES2xzYMeqbtUhrCtaDF7DjQnoalQO1wk2r+A8p1EFy+EGtA3+ottXY1ImbPM/YhCYNbS
T9uwYJnFloxOrfzCjCot+9CgzsDMEBEkVdmYPBy0vA2MWbVwb5YWW0t0BJg+bZZtZUz7SHI43xF7
MdNT63eVQZeILpgFBx6Mbtfmt1jdxAQPL+0mgieD1FskV9+0PmoTsklaiU3bYFe2+3+VZaA1zgeM
GXp7GWfMArEBq3BUT0XsWgu3yb28srRFq01eGqMgJKkZAC/t4WjJXyXMdixZmN71sl4aGXLWydeS
lasoyarRCA8ZTNoe2bcYj3iQUMfm/cgsgbOsSdtHwsJ0IyQGX9KuFvAf+LDO9q3rsNtatvoVtQai
LTNFSnYe6sTeZ/K9HsqOacbAekypDwaBgKwnIeo6VFoJ5XHYxPm+GP27PoRfeSCfuoWVxy81mBzK
VktcnqBwTRQyS4DO/RcqYjMW+UhHWAKiYRGtpvMbjQiqMdNVOjGrJPLRI5h50yTd7yTtdJ2G2Nd0
Z/gdgpKFTMLiH72NPoANJ49Aqyjya7d3YSUGWHhLGwkL/iBV9cJqYLJ7pVnCb0VRLcZHwprCbpql
pX3H/Uli0lcoLVGcdA3xmtRYKQYXZJ1EjkJncdUfVT/gTptpv3hp0MmhMqQqtZPjwPIeSfKDoBvb
Pc8qClf/DdyTRKODtq4eaB9s4nZd8M36HqA9ejgULt2CtSCiKS3Ev3rW7F0R7cBoMtIFZUltVk57
5npUdmwkGwXgLqxfpOuEORBdEq5RkHS049PcvKKeUnve/DMlWoxXBtbjTMnmXTzlmA/LGYQdEtyj
/ZnqpmFjLVlpNi5NGsm6AL9T59UidLQhB6DgEfjP+Y5KxMDBrpOmKu8B08gGi1XTXlHsq1cHlFzc
WtvY38v8VA0esFEj+a5mfVJfenMC50qNL4pCMsI2R6/ico+pGk7dBLiZe5xvMv05t5IM2rkOQuur
z9naO0jjj5ZiPCUFR44ajRAlrqJS/VSLFBVZJbysc1DCdMo3AzyszjWBQqRTVMB7thjMEENGTv3b
bK0TS69SZwK4nKOw+x1mvoKRMidTgYZXmm9x8q7Ed+Ad2G/kwoMXYkmgywjHGVkJ8R6WD9K+R/GY
h30T5AlScksKnoGQ0MjNdjWJNhMnvFrfYkZjdhxuK6gD6wDlu+MUkIkC46ji6fKLAm9vDfj/idcx
Ct9l9E/Gl0Hse3pxiQvFfue22sZpuJ19W0mHmiesVkq5q4a3GPXjgIy90196hrtG807KxILAnUpc
Z5NnEG01jLDd0gMBcM+Gcz5dkvKHcXVtMKvCc64ShaoDaz5WZFgG/1gmC6s/V4jhWOyIgzNoqAqb
Tzsx/sa++nALFX31uBXxbzoBO+G/QFjOQ3aMJIItokGfW9jp2tVE7dD0r2ZxG+aGYJY0x1h6Q9q6
wndv+IYhdojjVEeEwbZgezSFna06TMlNKD8q/9psbGIpwO+e7Cc+Q32KuTk7aPpklWxDVGcQ47GB
EF6KBQEyoIWzn4x0u2xX9XBEVxwazWqAWAJCw0cvbl2pKE+xe5bpPYFK3MzjR5NhZqg8G6bgEhsh
TEIX5gdifEX9wW+XalCBHJD/nML9PEQ0MYshDGpumPZzsObD+BcmDz25tNk9mSK8btZK1x8VL7r8
E5g4lHMFfYBM+ewnTj869xloD1OvVuBDfQte17id5D61UeEwng4m3EKdcpLzx6Rs0/5XVJ+mddfL
izLHczkw8Yxl7EnJ6jz+gQnDeWLv5aaq3+IWp73y3eDBn0KVc+LgE7qk/5rggtuPHAJpmnx2nFsq
mlwTRV5N+2o8yR/3UpJujOreIjpwGKwCOBbJIUJRILouBwinQTsgY4RwJSTG+GnG9tEXHhibDd7k
OmUgvcOLI1V7jw+hcR5+fFLoZdmiqTHfss8Qgu9UT6WXqwrqR+hvALaQgyOkisj5ZdeDuVVB5RF9
FZijVMwZjdgyqJ6KTwfPJ8xFyfpy7/i7jOgZwmgr1tMrPVgrmIrclYZwPTtCTPFwjNvILzIm6ZhT
g2kHMI9MhiTe8g8KZhEU4fYYrEXhQYmUhjcnnaUe23AYYkjKG3/vyp3M/jQ6NxSf6TvZWkN2tIlX
Sg7sKMfAk8kuoeSotjFpLQOrIMP+nmA3NC9BfQu635Wfb1sR3f1g3/cfiboW8mJQMFq8fGCQBw9H
FXNzfLEKn9Vw1aY7JJ2QmMyVbh5Kvql5T6Qx5o+4O0ue0qnaOXD8FOiQ7tNEV5bzO3YYJclDLoyd
O3Bdlm8aVhiDIAVnSaGxTBHrt9zgQGjVAcA9vzm7kbE8JRpvzyHk49bLV1v/V9c3fR5zr3OKLv2/
eAPlaijBeeEBpmNVwn4JnH9R7OcGFzEZrdHk45XfynEX2I9xuI3Ek8RW/d0eWIDwsYURcM4ApRxp
UYBnFbjtQfvbO8VVi/QX2SPXktbFpIfDEucMuzYm3EBfdeotQNKgxq+hYIFNJQtkYY2GdAq++CkN
9+hLbauOGNwH/ONPnEeP8lk5a6c95FgYDKILcba37apXnyogGYHkm/gaBrPq3mqOSvuwDKhWu8Yl
AJiTDRF++E+CDE/59h2BFQdaFYVwHw+YAjAgpEV0jfi7lFvhov6OloVKQ48cq9zYKuXhbq5m/VGF
ejDXrfOSaN8wZWLUV2XwVotVU3c8VERw3F2QMkqCxP+v4vevax/vGLtibPajzoYKqq9E2+dOlB4G
a0KU14VBdqnjsxxF/ZWLhIYzG+AgM+hshYdssi8ugB6tu8UUOZicQ8N+gAzDLs/XKUeeod4Fe4aQ
cAHfjxgwilUQZsgT/eWcaquWh9aM93ZzCPQzFh1bv9TdlzIMi5pbfN34zUHvlU82ZksmAvEPUkdc
guSSsuZuu0/Df0rnlJRoWnWWlHiesa1nykbvrUWKb0jJ3XUF6wLV+NHq71bAdo7Fso38PruG2i1v
D0q9c/y1Wp801WPP4nzx9FX+B5KCyoYAacIH2dv6NdWhKm3aYpt22Za2GRUl8KNrWDKy5StaxGIb
iAXp88QGF6hKLI4+42gEhP/yONEBAmXF86QKdjhe016i4dq7a/iJ6O+zmZh6yHQUiJ5fHiL1s1Se
aMjKct2FZ8ksd9j1jSe4QMYNBQU8L0+r18S2Z9BC++J1Uo4az1LcLREw7e3yw4Xy3EU3trH7ho4k
7/eD4tlUxM6CIXP1O7s/q2svf3Jeep85LTsFoNuoQ9csKDvtxZyBrtSF+jKk3cJSQfSvcbTCmy22
Xbsd4ddhK9Z7LCVMcSApHAuABs5W3bssjx4Yc7oHqocB8CEiR9Aszoa7YVEch90cAtJuMm66OH3J
I0IzEW1tchbfzcae7z/T08pNY+4m48m1V6d7iZmtiMylpv5TBJNPFFjNui4YsaMmoF6PzU16HlEp
aT/W+KM+w9/c+KUp6m+NdYySDZfA/NxHu9x653ZL7/qrg2CZDfEbow8FFs2wRMm7FvkrhSs6/ES5
RfGpJUXdeabMpIbv/AMv5IEf1Qm3k7OplK1qnmdCBfoZHTRWt9aJBDEh3KxC5Z3/6pRd1ZJmB4FH
wDKCdEJiUq11Vi2tQ/05x5GBF69Wc9Iys9pWWxuEIZXGyDkQ1rcNshm8VsU1AMNK5wufo1gaJ9Nd
hH/ZDgcGiss39UWQkFMt82KrvDGMsd4Ytw/34NllKzpPA+g/exV+NdY2vbbBZESAM1YuDgBcqq7G
2+F1jKX1Zfvfro8RuHDXYMU49NPVDE3YIrgFw4WvxwDnhnJjWOFRx1pAYCB5Lzm/bLhi2wollxdh
7n2guiG0RTe4wg4SxqtUQ3m1CN4Mb7IZdOKmOpTuDrla+fTnEIk13i36qpqf1VlUHkmK6r+VUq3J
0wZT4W744XJ+RO7FeYKwyv7kVwzzuCRReImCt9r50CnH9YgamKixRYor+ddDNhMQaPo0G69xNlml
HyTgDnDYTC+pRGHXLeOXmkWKeTGchfGmnAQQUbEE0MAWmiucEFNCL9SUQKCF/mx1b3q0V9aW8p+D
iEDlu0RUtIjZ+3EsL1jpuCyxVt1P+bDk/DwDpkEs8I8faO7wfQZNc52fno0YPe/SY2Sj8aG1y2Sv
XoxPIhX519GsqB89ojgNHNAiBcUOBxgX7xLtNT6pjkkXNqduAzaLp0nuq29NhZ6y4JTjo6KeZw4W
Yx7MVgqmgjfub5S4oKqXWbJpcdC4ixGoJ0xL5PoQDnksxnlYyKgIyc6y6TxWKtKcNZAO+K1ga0+3
maDsrEvsGDCWyhX/b+68wV8grZxbFFYwiD7Zq8PYtd/QN1uTJ16ZE1mEo35FRxPX+C+6gUaucdbZ
TL4S7iCWxWxiqe8CmFVXiTC69diQyL34oJpnn5d92R4i+JCtKBuIOTw2GcB90ybhLFis6pv9Hr9z
2QCN+Zhfi4f8NNm+wHhgehYDV8YmBIiZopp4OWSvNv0IXxm7NXrE3+KTb0Br/zDNzGGoES7WDXa3
FPkPrjQkVB94VcL35J/xFjwBwjb3jNjYRYlYlSTVuZ2bY8WjfSzWzARK8kZd2NBLjHYul5RLIc/8
cqZ91Iw7eMUx0PrLxUTkNTgkhmO09/EP5RTLu/CdZh9LAFQ86MvLnr+cgwobx1pDX8y3Bj+NpYOG
KZ/nCKXWIuH0YPzPM0pEzTuyIVb0DTcdLcrvcGAqx0a3/EXkwAt/owbaueYGQ3BResy2bG2N0KWP
AXgv5mH3kt+cRB9w7/P/HSAi76/LW8WspV2RaUMis0MiBLp4gut1cqTXirkl7loka1RwaumhPKkw
pBhfHqPPoFjP/E2xCc0dP53nsNKTXpAt4kLfGkQXkBtpLzn3xg4104UlXt2tYQJsZsfbsASBwHM2
TSdfx1dx0bJ3UB1IdU3y4fhiqHw6Y9cY2yB/SWCgNsMP1p8/r0pBr7NjogCdjO8+28fNPaqehTtC
HmJ/zs1IQZU1D5Vg7OUEWRLtM0K1MYj3tVWdjP9wDKMGKhml7WiGq7E0+ZAbHhp2tZc6SL0O3WtH
uWO7UOJY0g/+N8LhFp6ehinOy3MqmXCP40eRZ6f5tggjNYhkniJ4YLC/qq02J+LWDOpQnbXBzsCT
LJqPVgMzET6CjmiLEhU/JVO5i4OLXQIax7aNmEvSJTXTnXwqpqgzIW6d+C9h/xeh2hyaXaIh1GVe
bo0ExjaUaWQ02TZNB66ctEADPhghu7aO2b0Wy4uP6MAIGvQ6dVpvWpVC2WoIghi9rmt5I3vcoNBE
jBpdFBiIoulXID8ipMMtM4i0nJFkpzw6a4TVkI2hM26N3Fei7fAvdxRdjP449lXtjvvTYfKBR72s
re9yCyjVRAbEMqm2dzWj+2b8VI0fDNNsoBSUwWz2nObRVxhYkVr2Ady+5Ka13Uo1C67rtPttcsJ6
/aF9DwfmP4FebrOu+0hr5PF6i3zNijYZi6tEYaJnTtvKKfF8UfG6vA8m2HF+rhnKMSrx1ahwv0au
8ZWMqLcMgiprJXsJKbTsyGBdEIKEIuWAR6S4qr04SdTUosCrUqfq7Abm9jI+u/HXoeLO4mppTMD9
qnBbWjMzgGumaLDRxUJbVU0NCqYnn7YOXxQju9pyqGlnerx8kGeqvgGTIhni5fHWETGmPR8aeRbD
xA57SvIyPk+9f64KtyUBGHhXPLpvRVZyzepwnDI2nUmGxaGeR+k+lIqmJ5COctQ2mPGmUtlL12RL
bLVw/oIEq7pLbSuTWD2bIsP2pEmdiQUsRsvJP4wKgAv6yFTlOM9wBnbpiFUDfUhrIQPBUJ3t4pju
oK+q4MMZ6B9Q3wzCT2AoCxAdKromcgFCm4FArqrUkwGWxyrjaWgfgeD9axvUmjimXqWMAPQazbcf
lP+IuTjU0npv1ZRqFRmbjLVsN4G9yPURHI3qbHV6j6onSFATx9Y0toabfsXyzRh9ApaVeUTMYNKR
6CAC6i0mYT21JUEfuc6DbetnoZmfbCOFVxklll8AA3Hl8BGFzDuYXQXrQIBXl5F6kX5IEeSD30mn
9I5lobe0rUPaj+tw8bm8utKt5TpR1DMR0j7gRyDzJZsdxeqw57Id1vNimdv8PEGqvHOpy1o1YJVS
dph+zAs8vGHr+QxGYHTqWzr/i8X8XywY/qe+Fq9dxsUY+MZvP85//ML/jEdRv4iMvMMIOA5O5rHq
6TpgDzBMVvGvTMNZG6NfANWwzVqJPDJwN65O1+UIreblwDEBlyrumw9Lc7/9QVxiQkDmjBOG9C6V
F29Z2Ze/LanC+L1kYHSI/tM3fZyb5JoBgM92PTWvjiYo5tr+4tbUGXqBbGkM5ssZKrXDxVE0DZMS
/GjckZxk6DVZSM1BiY+mQck6L0HLCGF6A1xBDRA5VdYcfdiXJ1GrA6Hn+Gsdm70vFqeboRJQzySM
UV2hsYkwRUtILSAgTSdt2w24rvwSHpfPgjfcqRa9VJMqv4Nu0eULOD0B5M8g5b/W+vgtDRflSV7+
+LVLBI1BF+gqkEnc5tFpKgP0ihWzyYjNyCNBNla4iRGQ9xMC7qCat8sFxNU+/WkGexmMzXs3Zu96
7b8Fuvn6lJn7L0376qSa9lmr3ffIztFBTFRAfdIhfPG9sXSONrtZ4izRE2Ny3saF/0si0WcuEcuT
JWy2jHJ0AiwFqiFVljlKBWjCUf6eWSWpkeyIcw0dqBDDPsina9Tui8He9OycK1Zlah/IVTL/upkg
iMiMzEOTUPWPyCBihdCN0r4Ls9r73XIQVJBtpg6eVewDs2KQpFHqVEwditT99UH+2065D//8XNfX
kwmURFKhZrkFXclif4V2x45eMhzpC6w2/gDQI2ogiOQOIgPHKjyrLKgJibrwI+endbFi7TR2wRx+
yEcdt/5TCj+goBwmaOjRyTLA2ziFBNTjyE3aFsecEYvKWEMFODvpz9CUL0MbfMXEMHYmkxgHnR/Y
dHSvQr4bFctPzrVPd8xXpdH9yQ5bQfCi5pwfZfoPdG6mMK2qNOzguoGHL85Sz9QovAMxXYeAsW7f
MGMy2q9B15FylDnZy4TFRSoD0agvlkiUrF3C1god8rC4mNGKxG1K2/aXvdPWTaqvvt/6ZvwalXoL
lAURnzBrrAiBSoYEwp1QRa2cZPhWsA9vUva4WsPlVFvvnRsEK04nQrHYTWOIHeHbzIDE8G4x/9i6
lqQcRC5gqdjmfPyCuUaasIWuvG4ocdWaFn1UUPZqfxElqtAajLyxOJUZIgXFBGAamZxRPRc52aig
a0xS3WkJHEVbUpuYRM84aGvDN9UCjl50oFEU0LBGRqhAVRPIPpnpO98OrG1/hMvGtan2zziePlI5
3Zy+/9NItsv67KUNTbRTHHpmxZUbaOmHmxXl1fcRXk+mDVhnmlY9Nb+tD884U7xWoBNITfoWOzCs
o7A4wl1eIG44fwYcY7wydYbgODGdzBkWmoUkUHJUDuxBV6qKxHYIsoObY3xL1Mm6z//LdDvaqLIY
9nVuMuXQAhZmSG/GiQvcNmAmlDU6esUXvyE2TKUzsmWp+v0mcNs5uZc/IEUWcW+cg7LeFHarPfq+
Ss+t2ty7yBo0ssHD+ux0o3pzNMSUKQbtpWu5205Ew4dVJ69t4BR/kfVbSW1jZzxSXeH415yTdtNE
prpUMNOMjeYeYyVz5o5UQKjk0GBR//8/RGcey4SjXHcz1DNmAQLUSr87d6aeN27wXTsz2/8sVZo/
19L8WxZiYe0tGX918KHlEI5vhMEftZpZv5DocmxVRbZblJq716PoKd3uTPlSHKTpOue8IjScd5mF
oi14NLXJ2AUN7VSXku0TDgbGSWoqvYxwY7GSbPIktheGHlwDVaBa6kpQqmUwznX0ZchcLuMMBk3g
VulVzNlR0UQ+r5V33zqD3bp0CYOqcbmOVinQBSnMsIt+ymAFZ0ctpNWYf4BJERp4ZFZi6+QZu+74
jlAHJSZJjdp0ixKuYMvph0s0aqQRtoY4oEE0T1GjM3Yf0wAnnBUys/RJS6MmZhmtP2u/s29pZP/z
KzvaNgIKft41TCOaTv1OhfBvSgjjgA0GCl0qsOt/3x1Bb5e89A32Afa/sRmBk5mZwY6HBixuBn0z
ZdzlMrLcsxU9ijpnhzokanad8kF5ag74/Ezo6ybJoLsg+ToQlHcOzal6KYexRhaIb7NvNOV14oBC
+FDlL7ZRkHcQOYTYEEys1nJctlUwrJWy65e9KJhrtXP6R6l06caRJcl0KWyC1vdJoEry/TBlD7Zc
6WtRJcMqmEhmCEMlO43FgzfKPsZ2Yx+blGkvmLh91XENlv4UoBTkD1udZQVJknqaXRUn6rh2iSLS
QxKkfjtkNflou/ZuGSEbUSXXhJEnnhjRgdSokMferF5U46aDf7hXBhXhoMIKLJdBG1V3w6cdLs3b
f/+jcXzsnbX9i/+YRPcRXbDTM7aJX/u0H99FHy9rR7MOTtjxFQvdr72aC35fszf47+uB4KYz7i+6
hLmko65K3rKXdPzUO6E/rbZ5NWpjnamsP1XX2BhtKG/ZRpGSajOMGy4MywejIRDoRYFGtNTgn3KL
R8qq8n2twAtIWgokp/MHlwR2OPBFbB3Gmo+bGGBDEfFZr/r4HFRFg5N0fuaMoS7WWp8dMuz6xtS6
EGDam3CLP0RAXJF+hsNCDmP4liXqBUHFeM0jm5GK4jrP2SXbDY1Gba2c/vtWI60DSq9Ej05pq5e2
7RxPmRCQ1CgEX6qRAWWT7yg9vjB3TM+pIbIjQecZ5IP7XrjflK/ds82HQ29Z8TrsBv/Qo5HtqjBd
m2Q1sD2xmF7ND0rIvEIbtYyBPXOcoMZ2U+rasUIZldW6u/EnPphYujbDGfIOwrL7bnqZ/dih9RbM
g1A5xPjEcWATuU5109fnMaQusQZ6oa60py0qOXdjqnHOcx+o1ctgpm/ugCeqzpkm08oID9tbcYsZ
gvVp83B0s7xLHce0GTrDJe9MmmJVIoyx44zUmtSdOHowKTA/vWQN+yns2s0Rb6W+spU23eop4yCj
N2ykpxoZWKb+Ug2VdR/nv2GsBnZppg4nqmb9Nv/RUGRta0t502y9PjhGg5hk/idfH091EuRMHAMU
DQaaq0InqWUasPBTg4PhcdiO9FUoX1KqJ4cjZ9vnDmC+LqOERX+Wuha1yDg8AkPKtYsW3IsVBEIt
zOY4MNXrjCFNc4NJ9vxHY5FW3hkIWSJ8uWeh8LdJlgZTQPtt9GH5VAZWH5ZRbVpY7i+jqhG1jaDV
Fvl0H5Jo2lWCH65HX3WXITio3sj/9f6fykl4Q6+QHhyEVYvEAFJQG9UXQIulm1lQ/NvQODnTWMM/
qR7SKaHZiVr5SN0AfYM9XNgYfcWjUSG5bgovtgOmjbHFODq0ptyrCzQ9aVgWEFB8FCyTnW8VvaOz
shk7VVpl7aqIiKzJJw9GVmV84RZUr/z8r3o7aihb2mhT0gJf6S5Ic+xzgxY10jeGTpOvWOa4TV0X
xXCTIs2OImJQ04aCK+lI74218wTs+JpkVO1aE8mtU0FxMmIk9G3mB6TPqN0Ry5l/qCRKYVsTsde7
jX3xy6LeKJTxi+5/TJ3XcuNI1m6fCBEJJBLmViJFT0qULd0gqrqn4D2QME9/FqCJf86NYtRTXS2R
ROben51r2rAmeKpJzDmGyEaSqtxRP5yE2BpzNw+u65e0x3Upe9wDeUNX5/osZBVQ88x4qvzgtP4p
w26JnQKGqS0SamcTHNSURntfv2A2s2ABF3M8MHskrPekXmRLQlELDfVg9OWHahjeQtwMh8SJoEPj
FL5eMLlZNnYTO+xNYlwTFKMJuTqTallbI+ponLl6Uh4/nLbGFmvv+JpU3nRWVnEURT28pA3AZl12
96CQ5cGMENelnc913iPI7qstQSMtvaxxdAhlZv6Bu4qSMP6QjrsPla+QuKb93tHJeAid/rnuqE7r
/ea3OcPAOf2BwPPgIEcyVcL4P4ZnhYdKVFiMEWk9R36Gz2zm98xd72vSFy82G7LolP3zxRuLF5l1
hAGK2N6xEv4aXNBzx/PNXy12Q8s0pj/zRHutUuqxcbX8lEsu41xWwzlv/OZDEyxMPpkWXX5UFpY1
d/kSDvl7FHukYw+Nf3TJ8jiu/0t0wsfkVmX7KSAnPuwRCYMN/nwpxgZGL82iv55vzVdPnDBm7k1f
fMuxx+xNKitPbGyclvYfVMQOjT18aabBOYO8AfsPCyyRzeTQ/t+hwghMu1/msAkXegl6Moj+HE1x
/LlMPELfyK3c58EMgecFTXJywxTaJgTEIgWFxSyxtDxZgS1PRN/K0/ptmCXxrrEysJGiOqvli8ji
DOwuRr0c5f2A1M296KrEgLgsfIFQHkkQoDTK0945Qby7LWaBvMsh6hsBrjHuBhtvKZGGWTlTliSq
8YwxaaRyxse/5oYe6rSmx/tPMYnmuN4ahNi6jgKpLwz3xaY9YPkGfKe7R1q3+zrUyWNlj4fKd7vz
OnzWgtJRxM4sQbFe4PicstdlFC41L27V3WPTpZoO+MkNWvIV5xJaccwhoUsn+Sy9jPoR5uQdyHlX
Ic51BIGEVYgZdP3WIBL/oNv8VnX8kETFMlMs7xo75f//5eefYYl1uhqTyCSIhRpIT23HbD/PuF3t
ocP6u4xNM/vBhcON6RXKp9c2gj+b6KhcEsqJHtt6l8Bf/EgJ8qGiPSiu5fdyHBbLkDqVRv8cIv3c
dXnlfLi5HE8ZnXLn0MXWpGFoRebzK2cTPGKKDVX38dHrQ6bgcgCtTuKCMNAg/pd/vXpIPcTduSu4
YNKWg2mKqOEgYPrByKi7GKXed3XT3lKPMPbMjq4U7llLt5E4lgqdrd/d63ki8DqwGoQbTfNs1ZlN
cQTR43wTcBIwFBnfdVG2+1n0fAZRif4q3fQ819VT0gU5HrtCvseKGmXH8l5Qm4PER3A5WhEGFXUe
lWjFEgInZ39fGR45ChbucSGz8VU4EIQuta6HKMSzqZLBvg0ZFq2wuzl+xh3mZVz5kqjMLnX6t9jp
d0bhWc9Dj5DI1E21+zl5TM2nDp9dF0WXNBTGo1t38V7nJoyWAZqi6sa4BINpXAx3CA5T1vzTtWwp
PnPEWz8BwNuml50tZVg4hhXnkGDeSKPwaMekggdHN52Sl3XiLCWJsiA7JpY81ueRd269sV0pW0QE
I2EZlbdUSvArPVmmvoMEQaYE6COdxa+oJuxAFjjgdq4DvCWiDcO9qdQpTkukuU1GeSo66yRzzXMx
S3I/M5vOzIHGw2r5lntvuvjw40FDU1TfE3OWLWnuyskH2sEcfxOlOic6pFd4KARBPJ2d52Sdk6RC
gwlspzmn+JBsyDsx+hniCjn+cVpI1m5aMliWiV92syD5PPvXKmR4Ew1ehvWNT0T3TyHUzbJb4yTi
iBnbQZOILHQq8YmaxP+maU0shlPyEozT4pRdf2HVIUNdj1b9f+erFcgvLQLUVDUjfinJKp7DdjFm
eWQjReYpNsNrX5NTts4D7hKc5YKTb7o4Ns9eNhHv4MNtOlok9HA2zfBkxPGzwGxvSmdPjXJJjgu7
SF0XfxHLhnuD2QuMJLV3YZjnvHuRWZ6LdtxOJRk8xdz8/d8s2KeSgbDrPxKfrPUCZPAcmCxdmVXL
jd1Z+NF7F1a1ZJgIZjs4WTjrtr7TwMx2WncQD1CeTchKzYa1a/k4H0fb8zYKy46bKvzxdvbkqQ5X
VALnENma8FWSq3ENin4Xp/ONHbN/NjMcP2XO2xDNEauZUtSkW8YxmqJvIoRRaedx85LU2dUfqYmL
uYA3/eh9uflihW7Hq23y8I1F1n1LWHRN4gYztvlG2kP2kuAKAwruAr8h46Fv6HJo5kMyo0uxA4dK
HDNE4KBgNknvRqwcvZCZ+Dti+fSCGt0yNMeevNmBID3k36YfyveKVHdmKvqXS5N6HQUci6qE2iSw
MRWbzBll4IBn5xZPRGlP47PBwJ3kigc9ZiJ5kGYB/GlLStksptQVtkCBDFJtXnJXIsqG7jnY3kBU
cBtZJzu1zVPfWRj9qjp9CoB6ltufnSHq3ucguqkUE8/PvwUq8TWmRfHc1vx/M0cqj1pfO8W+xgCP
rZAf2/TQrYe9sq9AlI+piep3ALp8/Fnvqh5R6/rAz1iFjsBAh7jlBFV27Gx+PvatHDdy0uqYYpb4
WaiJCWL5TPLDeqd0vDDbcokAtR/CEeNcZcXDcxOjf7Ri/ZXkreLCIolyikzC3q2XNvPoHAIZZBUf
kfBn3UgfEln+zrL4RyIlCg8micWLOp+wmNxDz/Xo2ra6+lEbPbtIHXojyK7j5JZX0wiVvUfqXB1p
1RgvjkEH2s+I28zpZxw27z+PM3kiREi1FDzryqZJ0nLfMUzQb8pV/XOtmySEj4nQO8MyKDPO3BwJ
jYuIB8yMMuemPQKbnHGFlPu2Z9Bd1/JRv88Z0aWjfuFGa15itpGLOQVHu6UGccrtX3RIRqQ2Dzwj
TasumULCnGkSDUKbZzyMm4M7zPAyJqbikPAQa7mCPEtTNUzhCSqt5sEr0+PA8wbZHcgrK6HgRG6t
YxjP9qdaHDP+dKiKLCdP1zDPZh9jVCSCl9wjZKvID5Dj8C+DKQA6sx3rLutO63Jh5MH5515yAkZ6
nL/bsdb9fapQW69/trXHz0knABbO4CH1gtFd7uX1i68d1DwTLQZ+5n78bwaxJhv+Z1a4tjtbnMOA
0yPwCKX+Od3nciAHqIgm6jE5iSLH/IqiXr/S1f7889ZZw26dWv83v8626LdqVGVzVjC4o92Lc7/8
5euXZnDYXZfSWMdJxzOqRaY6D0nxHFU1ejP+GYlVch/F2XPKuXwD+Wi2SQdTu0IRsvdwGQM6cIMH
/HC+gCe3RzgCOdXWIXeZP4zKFTs7jjHj9OWtKeL8xSrD9B52qM7Zlb1MFx/CYbyM8q4j1VkzTDsw
xQBEpNaKz6LGuOH2BdZXQ3rdwZ0gbEiYGy4xQTRTTgvyGIannyE7qUkRnvjINsp4M8rZOYqyzj44
9L3HfAxpVa8tuBJ8D/sghGNtZ/tXoAXxEkUdCLJg8vTgpD3Ea91dkhqCIZsaec4r1BM+1NE2Net7
FPZ/Mti222BhpWodM/9uW1KqGti2fKL/vRT1IVH+Em/lfxf4maBA2YVWgJEhkY5TRKSnumzP62bf
o+JZhxxYlWFLvVC4M/Hc7GewncXYxXmZpwaATcjk7Sh9rQGBd6o0KNldvhWWfFY6ma6h6jUOBEkg
etzK60h23CEsWn83luXiMZfq1BnJzYhBTuqw9C+FZ1p3R9SvleUNMMUM78A/yDuVGK4tFQIxB9s5
HIp7THDdPUJG2cyRPJdChxS2t+QeLUxBu2gU40XSYtuR+xDXo0O0D0N+M3cgQJuypkmmixxYE3IM
KYirfq+fcCbXkQwPRc5khugrX5yDy4MT6f+ElWG/GlWIlF/FXoj6Aj1xDwW4Wa/z2SFghTSddFtW
PkqRxYhv54GzXT+XlvL/Qn3j2S+bYN8oDNcl5b43K3BODhF1ZLI3OC481Iau3ZrENNIlZEzkW9q1
D+tnK03dKGNRoebwsD7P9tQgPl5Ke6Msyw6KBKk5CYtjMgziHE1oZCqPOajEfXboUXv7NhrRH1Ta
dKfmqTQJElDZCBVvR99JJbMPK0SdpJrMgphH67OirgHiO2sKl5Ynb+n7Q/3DyeMfISvo9JPw64x8
RAWGVv8IBj1+KebHx8LCXNyFaiun3r4aYfmPVU81VwEvDZmGt7lQ9Q4dfbMz2cdP1xSF7hUwhvMo
fJZCTXdbRbDozeL/g6J+rBROSns9RIthTrfGQE0DEPX4rNp/IkMW+24y0VgbSNwaPM3UbCJs7+rp
loN4YWK1WXhNYXtPsWGlNInk3yzz+d0zxK80RYuqcrc5zjQhJG4UXJxOHcJa5m9Fi6Ir6F9hVe+F
pASJJ5WITXIt7iL00XBGhr5EjR6usMF37ZjTrlv/W3kgOqT8wttVKfnBnRiRh2Xoy/MhYDCckzwh
/xDR/7wAOv2C76z/y7OQaiWW8xyO2BFYlTGxaQtjWdhYcluOiMVmj1oY1nBIB/Bp7l2OOFfme5EW
/mYY8ba1y3rVJSO1H8AkCNnrZSA0loFw7viVqJoaByLbxYJLgVUMD+sfVJmbPWexosTL+HZ1wzMz
AA2FGDv/e4E1FQ/EUINy2GVEEXzg4GrGqVI9xn1N1IoCs7RRUZeVhcKwjm6AqKjf83h6toVLzFjZ
cWuCM+NBF1R7eza+AF+w5Vtiq2WtMH+ydVilh+X0500rSu/JmpBGRcK3zvHULIDdmx1Z7U0pulat
MNOb2rhEjDJ/M6/8E3QMFgyc3m7sc9rabR+HX0s/XDsUB184xKXz4z2EuoRxBBzdDrbfYEPUHNSC
1lQR1adqSE1y3mrE3TZPTcLRY3Wsr27xZNFZfZkzD4nb5KcbshHVa4BLEsbtYfLcfz0sdsxXgugu
HuKdcKPuCCNG9FZY08jt0we/DhhJMOVniUZ3/VCLLhD/sZfQjagwT5pzhU0GwSxMY38wdPthDPn8
x0jy5l6XErXFshDlXiKOrf9UarXQyAot0SIbMezCJ6sj8HeMLL/raRivfj0eNPABBQM43TzgmQ2T
eEm0Ya8+spRhvvHZA127EhsTFH/rBPQew7DonVcBOLgNqVulTur7FAeveqQbMh7hK7wgIAlJN0Dc
JCv4db4nwGJ8JtKiuvZBoV8HJXfOaJl7c7n1LM6VQ+uqY+LypgOgyedq6CGCLKZ+2Q8bFa9FG++6
qf1dQWIQ7Yw0PKAieMjxAB6w4NbQsxa9N7QHlEUc31zCIqqy8dg1wXQat0kfuSCDgxf+5ujttutf
1faIyNyYAtipEcmVXwTvdfltzRq0K+U/XHBjH2NLes9tXGka99wvkN7svYFZMVSSkG87sC0Q0sno
imPEQw65UiGji5IlKqN+byCoRxnn0UBgU4WHNc8IDXWqM6u8Tg69MQVp2VLn3cP6kko+ejDizt+6
MU12dwixnFJLtjMiISNFE6Tfkf0GO4QdNU+qEzmsv0wD5NurxXiOK4fzVLIbVzM68soBL6PXUBY5
wRp2dhQREkSzwD0bJv383k89bTGDfQqU7dxMx78XiOPoRW+ta+EQmbv+TGXRERTrsQGweciLm2Ho
mpdlVS69GmPpkpUjG/Ms6QT3VTafqDhB49oS0Gqk2zZGLqqYdj87QlRpoVXHjFS5vVE5/FplM17Q
Oadz7ZF8tOlzu330XaMjQtcqcE7m4T4h+GcfDYudf+FMw06muy5kUbRat37O5h90bMXE3EANezG8
po6+T33UU+kLdHpavjWxF86lxEU7jqi1+iWGt6l6Qm8Jr3EqrhU19B81cPYiIPEPKM+4l03TeJxy
goRyPtPHukU561siONQGOMuy2gwDuYV61iV2FvoMeaSt96Lu4Py1OnGdSdpULONgWwQX9BY0ngDJ
xIETcpiwT0gprpUR04C6sBQVwz4m9LKltwJN/QBUjwohuOgAwTgFqzYB6QNiN2IGnVLa+3K56Uby
iQXM0knL0Dopx22JQyDFPe0m1LD9bO65v/tby3TxYbkcbJ1ClO70UXR1sKSPjNUbTDHRa5qVnDNo
hc3k36pWGNnUmOyYfXCNeNT/0QfH3dV6tBAhHN2ZzQxAECEPt4M0PxaNcdQJDg29yFQKw/7HmCUr
pZg/PcvI9gXOag6FgLY8j9yl0UvvBE3Q+uzxh8ylrDbp8ucptfZDWmVfda92jeuEpMMZ7/ipkZd7
1GcPc3fm3ABJj/6QSQKgwKzJ+ICcL6CdKikxNdbmkey67jSREb4JbVSbUyfvbhl4uyInpX8mzzot
qu/YM24BCBmAWfJamF70x6WDxsYBbKcz3SUQhijN/13kKbtGBRQXGuMr7kZxdGV193NU9aJ8d7yY
kHvfafcunRubsVDVPqaulPZYFO8LhxC6lvgToMfAABrU4GDMxEY97NMIsXdSlVDGy2Fal2O0dxYq
o8vHY5H7gjGDxKGoVuwpyg93flQapFDQuif1qbDZuTsQuGbk+Qnu7cJvtiUu6EpYZ7G8OdPyNiWJ
+BstvNz6pba6va3RMaRN/StGNUkzAo6c2bTBsqzR5t23JBYMUp8dRjRP2dwGPQTzNJrfmYcZBLh4
+lJTRAa359aP68eqqgpxRS0BGsqvOtXum8HzfkVqdZwVkiAvr4mOwaF+kgs5Suf6cGQohrZzr1ph
6db9AA6nj1p70Vno6pczRyTLDZW7lQJgtOtqZ4trs72sw50mqv25p4nPJgH8tSTdfT8yeTzFU21f
1ivFpu33KXQDdBOV9ZuXaFsjE+jr0Xw1HSTaAzssal/DfzSIZti2c4oli26Fc+OMATKMlMIBRNTQ
Wy2tJxJxUZPp6Vv71MG1CdtHa7j7vizMYyecZ7xa0UUOyMvWF6BsTfc1n7jcvXB8CsDfvtDMl6q9
uW6JKW+582wkRmc/azqYU+Yba/iwA1mRIBx3R2v0gH2Zqw0xeZsc2cBjZ3TtMWixrqpyO1h++x0q
uEwOGexkmfQuYT70O4VqXhkBSN866U3R+GgDQ22KBbMHF6ekacEHsrghy2Xh6M3sPwM/WMMTreny
WF6UYRg4WptyGo69Fb2IOdoNwhKEVQYUvMfl6QekmPHDeKNB0QComLCj9tfghx9i+qdpkl/m6JCp
tuwOHOXBMc9oNgScQi4yT2onjX8HQanBiN1q9hh+CrB/lmO32cmOOL0qq16GLCVmCcEB7EqEunxR
ECTjHJ7ISwbBXYSBRtymb3Yxf0YGjmn0Ew0xGgNr/2Cx36yHa3/xiWRAaUkiXlDLT38GkuATugS3
ttC9J9N3BdrPvZEF+W9EfIhCNWC6U/6u0ngLMus++HV9a8ai+lzUIabr25f1/WsIsHYlxd+zM6qd
Pd+F33I6ckGzHnKE9IZ48tw5eG5T072DAPLXdkO5KxUJDqjC5tMAWrpLZ7KTar8iC6bBr9RmMRnE
M+JZO0Loub6EwmR+B3oG1MTjBRaKdQphKrn2HBqGnRKo5KMmkG4+wkpQc5dNM6G+/ew/u2EONVQS
RaQ7i6BGr9xOblAdssggUrsnQGudq1MPSyC9E/HWkEFxdOZ/QkOmP4teWtebybaMt8gmw9fSprer
XX3P69K7RbFDD3VOjFPypym84eLXEeUCDZoxAB+mNHTRhDtP+VMYxoRM9F57iipmshLE5rlGSqaF
Gb1ZFhMdoqFLpEp7j4ALFX8mKE2sOV88m9aRBtXmnSqJ8dyG+k/VosAg6Hg+JToxTlIcemkNT5BZ
Am8HL8qCAhpjlz1T38h/eVM6dr+JlwtW96zjZTRku3jRfAy4leY+Gf94zhdDkfc2uSFvQqBucQD3
JITR7KtB876CI9DYSwhkUbrYjpbnHXEGXYN0NQUqpfcrRHegem/nzERY9oOYngIvN1GDvll9Bnyc
WilOc1JSAAE8x9uULN1kaTDwAv9guljn/dDDke+YpX8rXLPYDBLcKuTTHeY+lMWiXI9Ifj0NDVAY
qC1Evxm6+kmFzUeclPPeGDAtolg7jVMdnOKo3yV2edRIh+z9ImFsLT7jep79mxhL3Jzp8NQvBIUK
u2Ybmiji/drs9qWRPtspxsP1abEr/TyYw3iy6KF+EoMgjdLGbBAl41MLFJ0/foY5hn/VZeNL6GQd
Ujly3LNaHKuh/GMOYXaLiXBd6rbXT3RPVfJJFXC8DfHuJSqOvVsur1o7EFS+TFWAIEskVneoo3B4
6+nZ3TSt/nY5ATZFOn4UMdG+k2Xkm6xLlqxkpzmuH+X1IgutrHrSbBDrZZGCAmYrONXV/UdmeL/m
eeANkajEPjKo4GVoERq1LXwCTVjLXVl6yXyW1nQyq9n/qKieRTr21Ex4lRYmcwXIQBc/V7Bx9iO1
yVVBgkKQEAsQmdUWQIgTV5uoS2nH2he4DbZpqvHKRhy0KylUpIibvBE77Zj4ZCYXBn9xBGTd9kR+
OR31F4Y1sEjnOETDcvr2gW/w2j2tq4sxVeVjVzN3rkc6G4t7s1333rn0uxne9JiI5uqifzmQq9Wc
qTMi1wTGoCZkUJFT9s6+iJBvWajajg+lP/TjaX27W2llG8Im1avxb5IpJLsFkf2mA9ZALceTK9pg
bzl4p7KEgiNGX/Yzn5jmzvKMTRb7tNGo7tuk+HDjjZmzCazePwn5LWeHPvcAV1cGVHH0JwxVtoXX
TLXioZbQHRvSBlIkYwseIQjW8hOU8RO9t+cUuXWduTRN5PG+XGR/hu+zXLsx7TuSRMkJIBBKQxcn
o+yahz5y2JEL/2dNVR52beAMDDghwzf2/oDmF9dAkLiH+DUI9ECyDH48CsLzvSp9ruKGn8YtuwPP
5fRoq/CV669ehoj41Kn59yDJCZ9Lo3qZxii8yhLZ9Q/sUfQNKd7GUL9OQ1k8RWisPiS4f2JWsIpR
FJ9tnVx+CJrUxjFqULGYCG88RoEZEMLigRorWV/5yNWvbWMuFCt+uOWdMkU83JAQ4coNu/asg+lv
OdCmMhE7cfdH8a7yWXzOjgETjxhd94uQMQt+KwY7PTr6UmlvcRpTITKYKGAMZV4zijkG/daj7vya
Nc1EI2Kth1X8wjvx5pNByX9cgSONhMVZpvnu9UAOUG6Y93zUfUmsciKgfEqTZHX1CeBOJwHSttzA
MHw7P0uG29DmE3rYMXgDPEDBPvgbm20jX5E/ZZL+EPf+zzABr+hf0qtAUPQ68DzQE1p9DTZaJtwC
DBuutYzCsunuOWk6VorBLSnQl/etoQjx8JNNPEsaOUDbn1Iba3E2ud2xrAihWK9MFIYkOrsRqTBC
EFdJV09ABm4sP9mkei6LlJAIhYQhDqt5P3QjHQme/xEbwxdC5i2qACrKRhIEgvVP1WVtc8kx4NBj
8hp5w3sYErNBjI16TeLsMVs227HPsO267XgYC+OX1DjXCwYQxCX8QiOquH3R4kCFB8cJ4SBer6lI
K+e6psVBiIM3JrB7oCuouNMbMUTRJZvd1wqjTjOO030y63OYUmOretRbVTfIp3UKLmwi7ZCG0j4J
KjOXv6MwOlqhTbBJnJOm3Hv6yAyTscAeDDTT0/Kp7kj9IDakXgRXbWJdRdg6h9oG+XJcJB/rrdZl
ztUYwmsMRUsceI5gepmrmjCCZxnkdmE0bkXLAI0c2d8Yxt/Moc8s9ueW/MGBuDonOOoMvY4U9p+y
Vtmh6FBMy0SEX1XeA1GQY2go/6O2o/kYkHNE6joNQatw0mXG3LBU/pt5SxQeaPBbIY2/AySv01oO
EZYEs7+01lx+lr2RHqO2fW987JHpbMnPvvLQ7Y8dTkMhyVlaxtR1bFjPR8OHUJ7LKN+qyDM+0laC
5FvR7ufhliX5MaD/Fzwl+FkDQZbWwuzUkuHPD4lT5b5N956NxG9ddej/w5yVeyZyen6/zCJtEZGm
78XYzXKCnIveTTdTQDfsuvqZVv674Xc4FCiECh5PM02njRjj+pePXvbhAmBT3hGVI0pSWF1/xoYy
M6gSTgbrnpjdoWmwgxM1OB15Kp9mb7TPBZPZ0/phaxqXJh2NTmz2wrfBJDyBsLBbV6YJohruISsc
5qd5YcfL2Pl3fXWcBng5QzJzt4elMVcxBK76WKCd6gcJchDborGn6Wo9r9uE4uUfxLv0Y4gL1cl3
VOztQ0KFKpCLeW1Dwz0gx9MAjPim8OQtOwsquxw3dQwG5Q3+k6gL6hWsLD2PY2HvLUIrb8iBpy2h
cfEprZ4bI1L3NIJFdzvvalodQavuP01h0bA2EneeNwTyDA5u4Nj3Nt7kTDsr715iaIf9ysQiWDs0
9YtvjM9kKk7fTVx/EO92ZuKqfllVhTYzVci265xNjSClRqXBO55D6P0xOIIf4sQa3P7YTkXBjFk2
JARDO/hUCuezyr8CPGMizM6djwqn1i42CbyUT1VfTd8Y5RuNgDpIgT8S/IG7YdbGS5gAX5bOtu2V
sa1k4MF6Uuoz56To9mZjPw+Nxq9X1VBRTFHhS/Xm02F/IpvVftCOz2taL46Y6lWGU/6P7LHGImxZ
rNF0vHGQJsf1ozBTL3FyJNS8OY/ZbQQuoDckPtdtS1DFiuEPc2QcQSQpPwly/eSAIf33qkbpmT/O
vK01iYsY+tbRgfs7Rw4j0QBVUMqNw0yEeAfmgVjLy0xUzFGEPbLquAqwWJAzvJIigI/lIUrEpos0
NlzhfDlzlt4rXyV3Km1eFgw9n+KSsNM6OHRexOtQmFRDSf0ZEp865dFzkLwYYR7f+hlHX5ZSrRDb
3X6uKvnoSeQ0vhvpVxwiLQQUDrXMZOZeP+U/xxsEMApmJDNcIm+YsfWzEY2HIbWTlzZutpL+ztv6
JUZR2bmUvLZA49vcGKOnDj3u0zh3/dFzq/IwlBQe+biPEE1O53XPKOtgX5RGfYEtY+cSE1N6HtoH
u4E31K2O3k0qL00ELlpaJZgVE5uyDJ/qsQ7kYioIsrODbIffUVoNed21wDw/2QgItKF32kB7Hrck
Kgu3hqMcFuNJHqX5Z1SUz34fpdTxtk+xiWq+ihP5nlaEPAVjhrqQ3OgQq+onLoJ8U9swOLnvvcQ+
BM+KKNm+D2cbojhCmcViIBGph4E4TNzM/I3kPxcayydDonFaUqDLOHortPluu3O7L2IkMY+ISfPp
vdGh9Rx66hlPiFil+4iQrpTCbFKzlfcRycUe6jXZdzIA/kQjXsF8bVkCuk3UGt49zDrabPwBiRem
yofII5hjskFwehkVj23u+B8tsUT90ozYutW743vmRZVSkv4bu+5xSMcXk9yua0MqbWeYIXqfiMw1
C5jP9wk/b2CTQWj+TPGIhYZciRXjxhlF4l9BVcFkd8SJDSBFUey7lyiW1eW/a5vrWsep9T58fwg/
W1WNG7ZJrtWWMsdpnknZ7lpWTRxVh5zDm3UCAXHjQ79RTZPUFCPX9clMzUspBdWDFmZOytj2w0xu
q6LhipR5n2D6nATbhUVI2KZSFy+XssgvcAmQA9jXb5yYBl5ZofRZLLWJyGhA2P0p3vhon3nomCzH
KOs3dm5N559nb5UR7bsMRsDvq+gl0wgyC/bBR+D5mdQCiSO3EuI+JkF0LPriMy3m6BDUyR9+m+gV
KVH3oBOT7BLHrT5c8ObtaIzo2jWzgOg7ipCtBKuJN6lXp33OlomvouzraHj0Sw5NfPeoDVruGqWF
fUZs0L64Ud5sjTz+18Oxeufmhx2UItuRBcq9WpTBqYudaUNQGzyNop/E1PnM9tDSFtHW8wl5IRFT
c/QVJXP+j+2Xf8LY5qVwFiX3JDT9SG3enPo6tc9JJ07mQGcJpr7mjwfVm0fZX5nW7qeN6kQVifMf
dxIfC+NAyaOXHvK4esmI7g8fLmjtNXsVL1SB0nxjNtwEOK2JlyRn8dFcOEGsNSntevOiDdUNoGyH
MlVk0n8LarrZZAVzObepc0K4VR/GJvM+9ZAiWLbD6Fv0Rn70TdLcdW/So6H7Ra9km0SrxuUFHD3Z
5AICn+cgob63efOW5FLd5ObWHi1NtYEZPTk2TVkNMfdBS05dTwLCmfodoWP0GtEAzPDzIfZclwxs
M8cbFOp3CXt+khU+CFqU8QB39SXWgb5lbUxaXWHM/x09GgOJ6ErZ4XsCJaXwcYeflUw1kCaa0uJy
31voQXthxV/W4AFFZXl68XU8fxJZDMzJ5Mx6vtGL+2MI+7PTVQraHGtImsKWIdp5FS72kBIh6Zvn
i+LY2OBdnQ5tBCylSzQnjpTlO53nxblIcSOwmqqPEhXpxrFhGadyiAmKQRMUYCy3Pdf470/vRPa5
XFZ1K0bMKU3emJSFpYhfRdx7rza9rXHETlQ06Zeh0vESUQ0cW3g6ZATTHEpwftmTtpVHdPE1RWAQ
3coDsa5PCZ3jmGBKgmbyOLyNwhovGuaLLva8Of+AEEH2O13lhJ1yS7rzspPd53JfJk1/kt5OTP2w
bRf0kfNZwhX3P/A2eZ/EUJBR046MtwRdxbIXN2X7HzMU6kfkesPJxHuAh3m8NUbfv6WojYjgqufP
MPWJYODPEirL7jiGBorPFvGNHxZINlv5BJtv/kpj4Ng+F+cp7H7Niw5xkCYyQFJFj6Pb6jccLL87
5Jlb9/+Rdl7LcWNZun6VCl0PeuDNiam+SKRBOpJJL90gRAfvPZ7+fFD1dJFJRuZUdVEqBUWKC3tj
27V+E1eQ8bVGuO87lOspuF+3mJYAs4deVdbygZ0eq4MsprqeVMFBQKHUhYXFOG9K5AkzeeHyQ1u9
6UHtJOvo19FDsgKUsEsUNmTDCi+tpITzEsaP1Qv5tn4fA8j4Iw+jjDG0liTT9iQHMFOpM2EtUZCb
Rx0cRB+88dKa2H++oWWoqrTsSFEpIy/qeddsDE8cxyDyV0V/pcP7iqMYqzi6T5uycKEcvYkRzI4s
6KR5Hw/XvwqVYx1YF3Gcfaf00u2EzqBYjp94oqGg2g6q7bqtvo4B667hoeOiODokCcj551TPyzZp
V79SyCN2LG0jUgmMI0Sk6r5dGbHR21kWob7ap9lzhxKLW/rJvdtUj9hujDOtlaOr0BSCPeQ33UZS
W1OfPOR0UrY3jC3wyzELpdhjDlPdh2V15YsVuNzps1jEgFbp4406yMWCRTFmk0Y4UcjEG7fPpDvg
QPWqpp4XW1KyTALk633c+AbKz1g493eYqP205EkdCqRK1d5BEqKMntiZ1TE5oeuD8on7lYByiuK6
9DwGw4rdbcJdP8fkZY4ITbVCPXrufkd4ISQnPeudzH5SF4GTXCv+XH8jP3dlLDUnWGR74SKxIYhu
8628zrfdd+jY7i5a4eEwQzRsHjn5klPAHNbZfmUtUClcqWtzR75pzqybVTPVVm1sN5cNDxCUM6xZ
kO1fehxg4ZYjSIYo9IA+4KJ8lij7Jyv+OhugzdviIcJUCt0hbRbcm/thg+rFgp1lFSyDueyUe9kh
cX8ZXELKmncH9xX8aLaFbGzjNLuVL7ItwpJOfwW18hJI4VTeRtLBX2s30iVe1MrNsDEukeS7xeVi
bcwGW5shGIFvUeVwz7Steb4fnqAnX+V3/o987yP2X8yG7UBUYf1mrZutvwJFsFRm4oolt31WD9yt
a9IbyEMUpOBm0X32Ft2LG++i3HULFLUWoHyX7U5a+ldTGf1auERP7sa4HDbqyroREDLGLC/d9ct2
SR9QNkeorLZm8a58VC7D3Xg5XuLhumSdo14843q9ALhCk/y1uoKZuoNteFA3QGvm5Ro9OLR2cMcd
g1l8Oy4poVwqzyPu5MkC2aXbyWHEmjVv0IUSnlHewHhew2xdxbtiITgZLROWeEpT9PCRHIWChmjD
TL1InvQFzjlLndihnWyrjbTOFtNTFIthQxIMeTjgrfN+PvLBrHrxtuWVu1F23tbbSjvMsZaY9AGb
INFxLzyi2LHBJnDjOdkFYnIrbr3Lfqmu1FVLN5TzHHOsfF4vibjX9/HOX1cLLJbepocWN/4tDLnl
8AZkqLhXnqVHhI+kx+CiuJc30QVc7DlftZHf3MGoONBWfdUsUEB8NC6nv+pBPs6Q2op+WpfSo77q
6SbjUl+Zh3jdzrvFiKNVvnZXpHf5QWyfi3reMVBwIrHL+X00wyyK39MnFCx4rj/+zza6rBbTx/TN
Bb1DWn52T9lnJa3VffzIWxOWlDrnpk1dDwDt92wrXWkv0QMk4K3ljDfmnXtHGXRez4N762bwbfw9
dwZ5nxzbYVvnMjZjvJBsPmj8aIw/bH7PXn79Mi8gsznWS/ZEoWcv7KhGroHc8qgmcwMwtj09lkpr
UT+HO8Nh7rl5gzhB+7gkvuU78yDcSM/CDVZbjAq6TXoeH5P7Xx80fj9FnD7uX4y5t+xmqc25fCby
AWxjzsjbghF3xrvqUt8my0ZS0PqXUIBqCrzh81a7VkkXL8jHkrZskX0pETGtE7PGZRVOHFuUw+De
6gvTNhccyx1zgTfI4mWalYaG3NBs8lJAnGFGI3FfnOkXxbZwprnY0LZktn1Ea3lWz13eo3lI7rs3
4WY/NYW5vkMM8dA+to/pjknGNGUJqqhtPnYbvOt5m9jpHnAocV99Jpi4Gi+lG0wOdtLNeDOyklQb
wamJxLtZiis0UBZMiDVyBFfa2lijl7bXrhrHvVCh/O+NubbW1jruD3NKxNqap1aUmfHi76stkPut
tY7v4n237Rw8VJZQUpaYxtOZZBRtNI3pxnZVHvJNuvGgFwFtKGHHNS040Ey/GBO5XUt1cyOF5GI7
1QRdVhoPhYUCS5nigDmSwEQrgXsCWwDOKJ1gYziz+fbbf//zf/77uf9/3mt2lcVIV6XVP/+Hz5+z
fCiR8KqPPv3nbZbw69e/+ff3fPwX/9wHzyS8srf65HetXrOLn8lrdfxN09P8+ycT/V9PN/9Z//zw
ySKtg3o4NK/lcP1aNXH96ylox/Sd/9cv/vb666fcDvnr79+ecZuop5/mBVn67V9fWr/8/k2WlF8d
9Uc/TT//X1+cGvD7t5vgtSx//rZ7zdLXT//sFcDy798ESfyHTEJWtkxDN0TTMtVvv3Wvf3xJ+Yci
iroBjEk3VRPgx7ffUo5p/u/frH9Y/KdboOg4NZsGX6kyxLB+/6b/w5IlsuCmJikGPCb+0f+2/8N7
/PO9/pY2yVWGiED1+zdJUmlR/scLn1poipbIg5mqKmsAzzRwqnz9+ed1kHrT9/+XYTQ1yB20rNUx
+F6aofxiWam6mbKrQFD6tl1EOHFQk0CQWqwwH7bA5Dx6habiN5xpC9BNDeWC9mmosEgc4WGSZQM1
rIcADIywKp3SwOBAUuHtSfKqFqqEFI6Pvpp7NQKUo2yCU2he4E/QyNPB1fIjnLo8vFziAh8fpYXQ
VYv4kfswYZSgffKyBD20pIsWcZE8cHjUHDVrfwIweKKqzh6cIHYmZgiFSk2x6s3BmyX4Gs1CV7tr
OgDTSG9Mqb+D2Mgszq2KUyVms0jccD9FR8C2QtkRXYyE4YfgElpI90Hl3kSNus5cV1sgiMKJWhTd
lWiaZDMaecRFSEA3AfKeLNyTuGSPg1oULDmhN8EMfhP19aAcgMWaMbuFJfuXtSZIjuF7IUI2FJJB
CgchZWNfVi+0yCibK9HM1bcxQ8hJkxKORgAKwaxb/oXmy/nDoNU1joFWwDV3qL+LoiyhDGh62C5F
bgOiQtbdFKcGjL2NTO4upXCQnw1VAsiIwmTr/ywqy1fwPMasNQ17kouNF4sT3KtCCwSkxbWu1uNT
EbToQHkm14+5Ko5curQ+vu4SvcA/jjJBIEiSzD4vZLdqQQ1yZnlqfpE0yNeQC2rBfJtCJNh101mX
3ljHGz+0fLjD0PaR7VUG0Poe5/26CRmBgY/QWQJ+3UPza4TTDR/IQ5oLtxDcYKX8JfSUtlgOKcKY
DVDQRY0a47WO6BtbktTK6L3HyVq1+nJRRE19pXkWhA7u/g9Goio3XR5Za9kItO8Wsh88tVBL1zAq
tfsuKMa9IHZkmaiYzwKX/IAVJcYrc6deqEXr2uXE4ytUz3LUQpySd30lXAuV6CNz7KEXnLXBZZng
motC0ybSMvch9XNjW6WCP6+NpL1lBQL4XZiYEg1S5V0PcZdtUPhGmbQY2PwEbbxLNBUAXIHrdigE
2lKUsKpt1AG56ABPpYfCHU1bVeLnwOiTpRoqSOiMJnYpeCZ2ylMUi+1rPSldJpWQv0hFy0VWKiNj
Fpjo7Q95CBtPjw2EstWY2pSdkyqobCMFHo+LcrdoDRAOPfx78jWwYzI9S65ikStvG+k7JSaVNVPI
2l+WYIlWaj8IK8BFBTw0T3umFoVOXysKK6moFDBowjgsNSUPNnGcc7dv0ZN3fYnhOni+HQURpNYS
RkvOo7/4cYG/liqWW9flmqeKorIwKk++1H0jf1AHtHuNwNDmSHj0+4qyLIkRBUdyPezBC4cm2t65
MRhveZMWr9B7B1vy3WYJnaPD+xN9yFDLvafRwiramKQUWhKCG6q01osiiV0Bij+SMKdLObuVcrkN
YegdokxD26sDYmeHEWyKMDS0lQ8kbxPLWrtSuENftyEKLGn4PTIAo1dyfB2ZkbmQjbbdcVXLHU+v
xEWVpThIhqGsbIuxbG9D2HbXfu4i4CA1YSYrThWFGGKACVVX7qAXSLtDXgwOQ2C+qIU/GqsEPPph
VKHs7Ee/ExYJyAlsUaB38kYAg/tY7xp46iERimSVHD34YSQ2eGQYwWZQeusKIEz/RMYTw54CS3hI
BVmLbXOJYIRK+XaVSzqufFaHBIM1tm9wB8VNg3CkzQOqSNjXeIx7DSrS/mAVuySuIWEltXow064U
8JmUdYcMRjIHt6nOR1EuNpmZD2u5EborgcziPEPRAHMxvUPNF9TNVaVrAn7xfQA0XqvgtGjY5aDh
y0JXxZKM1VQTbhVr4vwrCrfBoMd1Mc0pD+UZwrgu+HKla5N+hoAVN1MBzBaQEumySPhrJOpd6ylG
kvCqG2WPWUzWdBHG8LMUEz3ueqrnIMtmIFVfeFeGQeJ2ZmQW5jFaDhqScTKMNqW7/HZMMgmurOST
HkDLrprLZoG1Vz7q4abQE/W6zVNcsao4ljkH+r63psbHZdAE3YisbqwdalllJwqU1ETa2vRLqLMl
SCek0UeEQwIIgVe9ZopPJIuEPZMs2KZhHv8ssnyyh2VTnot5O3G9OAltg6DkNF5LwVaOU38XhCLQ
LqsJ8zWCC9U6j8O3JlC4a6n9QUikTZuAuANrlAapk9TDWhf7y7bqnnzgGwCNNnlwAzNtk6ARX5vt
PPPitwaPDOifjYcKbZZvtVHfu9RT0+zB6nQEm4NVKxfXYwMvGQvCWa4Er2QQAXWgl9z596UJ2AR9
yKr43iXavBvquTAp1cIWyhU0enzkkGalpPwEmFYvBuQSAba7HbkYPFEGANJB7Vnbqgodi8I5W5XC
y0eej70TIiCCoSBsxm5hCLndVfivYI08ETxIythpjsqdjuUUFZVc+oFMwTyPmb1ahEBmtmk0eZNw
r4h42Vr84HK9SlDvHDiUjKTbSjh3nLZsSuUMFdGWqmoFGQIdOH8RlxVekmi0pNxpfYw2xjvIbYui
He3Sw/wFYc3Oe+0sRp5Z2d2kmS+YO0umMokkNOeiuZzCf1ExZktQNg7uQs72YACUF5YK0CxAcRAb
r6GpZjF3Ky9cKSAHQpwtkyB0YmS9vQHmRPMWiUjRy7fmiONkGm4kKX9ua+2m9YsDiU9k0AOuZ+rP
htxWVeEUlgNLtYLLKuQUFz5NMKug5JwwXAUdZw1JXFe+BXfph8WCS6F97xU6JM8R7dECOSozXqPC
4c+EajCWBmqZWAsa60RGDgCYuw76cCaypZgYcISaAaOxeRMGd5Em+sbwIALy/kv0jkdReyqL+oL2
7NO4Wjc6oz+tsK3wMEbk6KRZ5VujGAWSJByr5lGDwpaiZJbTukHxhJ9qMA/kHE+dIg/3Fijx5zSy
ql3COWoBPT250kzKVSAtXH3X+rfBqre9UERUXLZdY4SMiIx4VzlJDL6oVdesmuksxPRJ1dyr0kfN
CLq4B+tbosKluzbiTg4CAxi+oO6FpAmHWsS5PFm6kQ0DrKbglA2vWgRqnwyDLSrXXlXiU5Ieekbm
gMmSrns/S8S3VPzau8ibiyl7A3Kpi1K4mdYIKQ+xXYW1W2lOxzhMq0eNy56fVwsg02i9djNy63dN
Um/dkAEd6PdtU92bNUJnRcINn5k58wXvOq0KFdZKipBDAdvuNQUi1oHFj5hMIkrznRbP5QT4umkA
63hL+3gtRwJVhEPnJrzgcl6aD0UI3URDnE9FFB5YndrkG2NEAUq49YwBjTpUGq2JKt4tJLeYS56w
CBNjWbe4FIBOHNX2Ch5qaQt59iKYVyoukaAy94WqXKt+shTSTQeBmZo5OpUvAVQnYJDId0vZhdtE
nNG52ydsAD5KL7woHGcL4HqDdG1SqxBxREDtGC0CbHo6aSMj0jNHMG5bKs1WNvXLvg/UtVZZN3km
b3LpQFHtQYJ4nOD4KdbRDpwP+uQoOIvRIpFdR6/UuxbQXpq4WHnn94UmIOG0k5uJgrfOEfFTw7qa
kYXlsNY/Rbh9NtYwD5pgWZntnuLOwZO58CjlQvUefGQuTaVH6d24lJGp1nwEyQX1qvbuW2hJjXJD
pTEmD4lWiS/WC5DIh0ihhdp3QanwK21uXejlhkuBgWtKq4ePXQplWxN44J72UBBPCg4b4MxU2c5B
mGvcrXoV/F9961uqHXm4LpDyM+XIKcr4QcyqbQhgr2eDZ0W4ahOcFVQk4gOsenRaU4Y4DOPOCG73
HqzhVtTz+8iKL8xBWrYIsgpFzQnbfVRk6z6zskXqZzvD9F+6JgFnHFvbscEhTJIhE1Q64tyyUNVL
uLrqohal4gJVShzD3GSLMo7NoIXdOirIaWaaeUfmH2U2lA2USkPeQMrWZqL+qHWz3KqwPZAyNCSE
4fx64qzgCZr7/VLK4bR7jXyhDdo1emoov7MdUurNzFmMGsJylGq05gP8hfLOuhrlCo9Tq7Nuxo4K
Hs5+iFEb7pURxy62ZuARxj40oGmroPMkHQsGqziM42RyHUbCurIKbRUmPsQSqzS3LZzvDV438VKm
6NvrgGY9lYNzwH1mxkRXlr2EcXGosuyQng9j4NJoKpo3ciENM1mqkM2vGfdcOCkpxsEPkFUXsHzA
NWDibOJPNvYy/K0ulFchLvCZWTgp2ATFcst5JbW3gNBuRQSYPWl4Nl0daApAt5mC4UQAOVWKqTOg
/9urjglxsuYioFYZRgGALTE45XQAiuVaQJfD4vpLJYlpLsQgGXwdLcvySsnEK8sKhBtZHHyHWt11
qWF7AFJkE0F+6QC1PFpqLFJKBY96HZSavpZH19o0bpvdAHTBhKJF6ADQo2BLGstQqgFQQxENbYhe
BE/ku+xwFEbHeKzJV2mvHuTfmWyWUMrE9E1Shgcj0n+2VvGz04CujZG2YYl+1YDXcSPtsBdpC6Yb
OBxS3NxHtZpbMEASlI/9DBCa1l6z6HY2lrKXQ8mGn4wXat9AJwaS1jGXSCJitB5DgFM8dS4ZkNMF
M93XSPXmkY9yWMfhTA3h06egdBuTcwZSbjXyss0Y3XklzmqajD51pt3WcrmDUXrPBZNrLW5GTKWl
QG7EGPWVog0c3LKVlatO0lEECLVVha19mi3w19yruIJU2Hi7HiZwEw8nV9ex+NS70kLz0mXsfc/w
0LPMdB36PlCksb3NBQ2twrx7joYetveIqWzLTcaSlySa6lnQD+tmEuxFxuNSI6/BPVLQ7Gq6JJR+
KNiy9ITyx1Zyu/sy7pw2wCeb6oiGa7woPPdts27Jz3c1DbMe3cyEXguqSdE6Kj5Ix7slUNqGBLTm
VXZoov+qtphXyUGpXyupQHq572/TAX1ulPJ36N328yoRw4UYGEhbwYGUoxXC8bfyaKzhOAwYecQs
FhrCPG9dXmzBL0eO3Ft3iay5mBSBS8vVn1xzbTm7RvHiQCplWQcNGKFxJw16zMW4uYd161CMf5RE
nQp+U/Ni6hF6MnRYDC0igcfE7dDjegjN0EWNfyHW2i5t5GtYFXuleCgt8G/l4xCO8P/a/KYSfolM
03skbVHbcAowGLM6wu8sU1m0K8Vguhuvo2ZOqQRkoJuGIiUCKy2IUrpvFDFD8QY4FNlLYELfDsW7
YSx+oqCPoLhl/lTS8CGPycA3AmRRsxGuMr988CBEljWS2HK2g/TBAuijiizC3/iuctps0MHO4hy8
nrEycqoXEBxEo7lP3MSDD2EscCu2sUDAQj7EAMmNFWUztqGxNHVDP9SBh3ubGnO1dDEm0jwQ2CGO
1PPBKvGnc9t1FafWY+ix5XOwbUyqMqIWZM1C8stqOiqoanoIgrAXl30ayckGUTJhZaEy8aygOw/f
K5GYkEGtmod3GdR/ZSg/ZCRJbR7lIy1NJcGpKhDDkeo7ykfqmdTiaxs62lSPmVd2i8FW92rZqC4s
8mt55nt2OuYz+eJ0XPNMWNK079OgpPuSHE6Uo/rhUyjh2y7HFhrxUa4/x0kT3sGIQyW+7OBpng6s
nwk89ce7/Cv3y9oVGHdREIs4UDV4VqIGAx2eEnkA5bWenY43NeRjvpf+1WWF5LGsKCSTP8YzR6/1
BJCzoN6gPyJMObg/Tkf46g1q5K1l3eQPXubHCKSiAkPVgbCJ+rUOGhqozmtkBWde2LkoU7++6zew
jk1TeKmjJjBxfTuF+UCu8HRLvno3+BqLlmmKoiSbR33lki8fMwtAvp4CaLGGW4ETpCGMOXDHYXs6
lvR1MIM0taEapigZHxsUkqPkphQ5lO4WKJ7Oe9myy3Y5Xldz/xpRLGkGDoXC+W7kkHF1Ovi52NPs
eNeZoaUGcNMjB+47F2DsHbtwltdkkIT56UBfvjXG3v820voYCEHAgiICo0/lDia5fr2yAJo7gLT/
1kKi/RlKFj+GKntXSEpOxflzrcBenqu24kT7eBt3c61ccr12EI2FH/G3xsy/W3g8v1AbQCVciZyR
VHzgH6yAAxnKqQq6fP9RV8ryx/ZpfRC1YR05SaH96Clw4SDGyd6rAH6dDjQNvOMVQ1NVU5V1lg7j
eEVGsU5VvSx2XPl2UkgeNfXByjgTmsMlhqpn1v+vlqf3wY7W4bJ1rSwtYkfLk3td85KFp1DzPN2g
LwfhuwYdLVC+J1moBMDbN+M5+d2F2QZYiQID+g/jHC1RGntKysXDkSrgMxC6s2JvtOvTbZG+7DAW
Is3UFFO19KM1CmFGZUzGmPzrrN6N8/wGc2Rr0domt8lZOUs3cLe9MyPiXMyjoUe1jBz8EDtwB58k
ObhB1OXM6n4uwtEpAEkpjKukGOVwhbv2WsneTnfblwveu147GmbJWPu9RK8JPp7CyJJ6zNYa2746
+jsr67tAR2Mt0CsKBC0HeaQecbavr9ociSooaqi5S39r8hhs6+go6WiIHG0hFDnUrAQ8LnTov5K4
vxhj8eavd5wuKZouI0wMB+3oxUBLy1y0gp1IzDe5714livUmBN46KM3705G+mqW6DNpYp0auMbw/
rm+yosmixOlPjqCFkTe0hwIH1MLIz7yhL+MoBo2ywLSiF/0xTsYpF+w/gKsBVltZww1B7AG1zAos
5OkWfTWo9T8jWUc7khlpyF2owHTDYpdJJdKc9cPpCF+2RZVEuAK6bIna0QCAE+BpcpE7Q2/1ZNQ0
Ya5X2bLI0WE/HejLphiQ9kmGGqhuHnXa4Kc+dNvU0Un8cfHEb9kr9n89BGhjw9JNhT+PD19NnkiF
UOfAB8wdaUAwhQIcyNMxvuqv9zGOFjIynTFjInf6OljpkXhANGFj4Ir7n0U5mjMA3FupMZD9l5DC
GxJuUzF6bqaWPp6O89Wi9r41R4sa+kdB3jW543sVCkDltSK02yxpblTyyH8jkiXLCmdi1gH16PWr
pqUrZVY4STo+GWn/YCj43YZK/OZOp9bTsb58R3/G0o5mDetQ2gllgXJv/mbWHHHcBn6XiBLA6Thf
DWnTMCUFfI2hq8dtGuuBpBMI/LJor4NxeDU7qFP/UYjjplQV94fBSJxIQQgrq/10nXp+d2befNVf
79qhHR0I3ExKRTVJ0YrMNl3j/lC8di006ct/1pSjmRPpbpHBFHRYW0ryLpSCDKVdnY5xriVH8yaQ
JhoHfGjACN8BSe1SoX4GTLA8HeXL925Kms6rl4BhHa2ZVZoXvexlHG91/NiytS79Cz73AT33Pqfx
ZTtMMFaiaFjSp5SGlmYFmJTMGYbUQYobArVMhcdCe+l0S3496vFJHWiYoXJdFXX9ePmPG69vEit1
0v6ih9aYIwV1EJN9DtYiDQ4dhkpWntsyEmYdl7wCOSLsS7CirQ4mWUGjP/P+vrzSvn+eo2slgpem
JmB6UoE5JaXiiT/MdCXg3mhu0zkCB/awHKgkgb2PlufyKso0Ok51xtEaRbLN7RNGKCpUyaFXq54C
YRHcIP6DWRPWa1Ylm9Us72Vk8sUgwujPUN2iACwPq456IZWmGXLfI9oNaZ9h6FuNyROaHS2WhQkJ
SZRL/QhliE6urxtlYmYXLoasaMOJeJd54W3bauldyRXVXJRJjJdQg3pvUahqdEGVqtXfqD+hhGsM
ta5MWt7VRi7If58eE1MXf+gFSdKQLTRIYRgiIL+j0a1EfasDGHB8ldphT6qQT1E4R1pVRQUj6t0V
ad0zK6k0Tf7joNBaUGBTkBD8tD2Mro6nlSk6WsTpeoivW/Sa8IWZ9566rFBSdVMPImAM72ZYhRho
xaN4buhNq9ynR9CBUJqypCvqcbtjs0J7UZKd0FyPFnw9Y+Yi0taiGtmXEwFmZuDKII8qnM/hrx4q
6HLNUCRFxfBDMuVpOXiXTMH+VxMHV3L0ZjAQXzE78A2R9eDB+Lo7/XI/bfi/IjHPRUlXRck6WiCV
keKbVkBt08D9dJdRhvkzIsrtuUvMr1P9p960FEMDeaXI/P7YJFOttC5TSScvIvzS18HGsoOdsUIt
MVqai9ON+ryKTa2yDMnUWS9F2vUxGNzE0Rp91WmXxiPMhvK2Bqr2oi56x7DbhRWh7LDw7GjuzZsz
b06azhKf2/ln6KNdbcxFQ4kNxQmkIbQlA3UZQ9lgxXArZdl8HFB3lKR5CBOBAoVzutnTRDwKzTUH
jqnGeGX/Pho1MWCBdiRj3wNCWeiR+73wWYwySUHbDCK8R2rwXEd/2vkkiWqASeJAnJIHxzefYqgQ
4uKtmqCyfIiuRUaaGw0g0BHijVJfUiIZ8vsUuk7YvgjjOpDGM9P0iwGsw9iVOWRrHPGOZyncNCB7
puKMoEEr0TaDqxSNvvivTxNQ1qwCIiBsEQ25jwOq7LG6ND00pKxwWJtWYlwMQhU+hJkui3Yr9vWZ
E5j8adEVsXYEcWsqlqFq4vEKoETdkBUJ6vaLSR7XLsqLEm+qKyxaqAIi7j8vrnH0uvFvFMpN+1K+
APwcL61FPBvtbs0OvsVuR5iH9ukhJp17rul1vF+ZFHFM64Ly81y0lWpd3OePyiM+IzOuJHtqUXeT
NbV6qzoQwM7Fnjr5w/g+6pOjjUgT/LEGIfIrvY2+5DSdA6azgLAsHP27YG6c2YWmCfMpoEL23jAU
8EvKUcA2x2EY7p0TlsJ31zCHee5r6PXJSLac7tZzgaZef9erbjUAhEdOwZehrBZdc9314+WAt/OZ
Lvw6DrkkxaAWYYjT19/FwVNGAmCcQ1lNbnH5uq9MdHDT7Mw69EUU5giTUsedjWzIUbelmlFWo144
bv2kd2gFP7Xd99P99WnZES2dkoqokIJlMzle3yWXK5hHBIQZho0eYjghAwQ6l6P8qh0Sk11F3EA1
pOPecq0kN6K8ckpkRz2pejKRqi5ifXG6LeeiHM0oPPp019RLxy97xxrdg2WYD4mR//Xrtg6iRpNl
8mGURqenePfm0xIpf14LZht1vfKzsIlmvcsO5Q5eg8sURIkzc+fTuswrIslnKhwqUD34fBf2VTGP
a+pB6OWmxcFPwK7k6lWud3d/owNNIrDjoaFwvDYnYquh6oaqqI7kX6UkuiN3vvmqB4LwV18Vu51J
bmza6zSadzSwMbGIVT3XHcD4OHa2wndkOSsIku2ZfOJXh6UPgY7WAwGXu1CtdQfm2MpYZis0RfqD
PpPsdNHhdTUTz+TKP5cAyMFYqjjlQ0kvKsZRyzxFdjEp1FlagfBeR1u0CJeRXc0Rn8L7coaHyV8d
j5Jkiswp0yDJrCnHNQcpcWPLT11HUdvveSPt5FLtZhr2vzNc1g6nB8inoXgU6+hI5gPnH6XGdeLw
RzneGPVbiWZHWJtnjn6fJjJhSGeTNmXoc1U/ui3yNz0uxZZTJa+TOd7gxgBf/DNBvjraEsVkVRJV
DnrHh7ygrpsibF3Hw8fA7nf1S3GI58KixVJ8ho2jsoEG4NR7ME79mUX3q0HyIfTRSiVL6E1KeF+Y
xVLdjGtpG62olyvgN21jIzNIAL6+nH51n+//dKis6lyDKBUY/Pq4bjV6j22ywrvLwCPOigtSOftg
o161m+axmxub7Ep9iF/NM/vkF9dPCHcSBDlqlqSmj69FY6eXpGHI5ByExm4DjlbJHtOPe3eGUBGS
NWdmgzSNjQ8nDeljvGnDe7c8B76rBhjqrKP78NZ/AaWuOOFS/I7XhA/ty1oZG7Sy1iBvfBux9wKa
7ul+/jx2ia/pChkfmQOneDR24yICXifn6wDyW17oqD7emqZ+JsjUiONGKuSVdNiHhvkpt6QJqYYz
Sb2uQAn7VYxQ5u50K75YN2VRldgHqPlMN7+pme+6sefep49tuTZu9BXAbkew4201J/GyQJBirp1p
z9lwRxMCDTIuJISbVk3VnspLs+gHevNzME+rEjGQv3qwYpRoIndoXVc1iwvPx+bJXoO3cJ9hoFeh
G+2GcINmitijkRoa52bAp8P2FIuVTNE15gF3kI+xChw+jArdxf7ZuzaWw523cZchPg6LdgXMjFF4
+tV9NTbehzvqSlXSWiny8rVhpdglYtQzQx7JvT8dZPohxwPwfZCjxQRNbR3jWYI0VT6Lk+JJRua7
By2GkLb1cDrWVzPKkHA/4txIyuMY8pBkboamTLXu1dTuBhwvf3pIDZ2O8VV72D8NTvLYWrA6fnxH
HFPagkvKuhERB9DTWWOEM8PfFHjGnw70dWP+DCR/DFRols+OV611+bZHuBHo3yxRz1x5v9jZyJPK
hmipHE+VT0kvEWDsUBf1Gum61bDQ7dKfUay1kxUCsPNhDgp+E/8AG3xupH/Zi+/iTl9/t2gEBcfv
qRfdfXEhPESHCoOfu9J5TnajsBjW8UGYV5wdFqe79NfLOR6MJkk3ReSeJDHAP4YVhVansorU18q7
SPSZ+Tbuyu9gtmaRrd64t60tLvNrANfuY7gVHfMieDr9AJ/fqUZGg0OsRd5mOrN8jI9mjexVYbfu
LbH5UTSS6DSeal26qfvXkydEYkVmO1WoKatH084lsW1FY7d2wRAn0RDBj+gu4bJ+l7Ly3CD6olVc
CyXgibg2T8fZj62SVfwDrbhnq0Q4A/wnQiLIOi8SzrLdXERkhmOKtj7dk58HEOw6KHiADBAD14/5
74PLdlSk/VpLGhWdUffZHLonrauuegFWwOlYX7YPaIYqk4citXnUvtTtq77I+3U9KHMcPpc6ppi+
kixPR/m6RX9GOZrvrSp1Whr0a1+QjDmzfWMiYf3/qTuP7YiRa0F+EXTgzRYolPdFskhucGjhPRLu
6ydKenOm1dKoR8vZqltdhMu8eU2E3+fwPkUZ/cUH+G8vibvHMkaW/V9ijwKmbYMEetMD8x2l4NQb
5l425pf/fEn/9lceLRqywXsI/OCfX4y5GgcsR7iPmeRRk5+Hlxzc7V9cyr9Zw8i/2tC6HskVkoV/
+pUs1iJNMjU+6vhDKd32WG7JdF+ze7ssOA5s9X3zXhxAr/zFA/vX7ZPkJ025nKUsS/+Xj7katS4H
aL+J5ObqzLT0S409/vevHr9hs59xB0m0/ukzBtXNIWq2N5oErRnST9HhlGa44y1Izekf3/F/hQv5
f2OBnKqf4tY1Pz/d4aP6/wAIojy6LCGn/F+AINuP6qP4Iwnk7//+P0ggiqH9DfoH8d//BoDwD//G
VAFJFpXsDj1bPJP/4X/oxt8M/heCYTIixMKP5pf/AYCo8t9orX6kNFkkaY4y9f8GAPLPH5Zl08gF
98Oh1V6j6ZG243/+sISqd81sMijdTxSOpBZ1eykHuEgtxfqLIPFffopzoEENiQo7H7CsPZatP+zU
icVgqcDzfhms8mDo3dGJp7dmsD//cMfP/9iD/1hs/+ePiStiN6Q7jfwlXxKF8D/tjHU+RJmc2+kl
YaZbfy+q5//83//zZbAHMcGFyERVdY2z7eP3/3AZk63aDH1Z8XlIN5mxdtBil9f//BN/voR//AQ5
Kg7s7Lwa79wffyIrnUYbzDA5F3umE83+L9a5x6f+f2IXWC8MtJMWJ48ML4F99k+7UObMyMKcsD7P
gsEiWfmgAc43MDXCtH+xzaD9i9/718uhtCM7pD0c1VQ5pv7z5ehV7RRGqgYnI9APqdMvzDr5ixUU
MM/f8/n/fFnMjLCGPpKJrG9/Lrok5gNpLtXWaU7pXGdInNkGJZlXWa1iMqAJY5FWVXXoG8DtHDWN
VZ0b2gsuN2rhzL+t1K7V4IpGwYqZcngIKL415t5zcMeFtFRCfTda8QujxgsRtge5HqHFxdFXg2UV
WcYEMLDZPaYtHQZwRDLvrCze5qJJtqoywMGb5hQ+p35X4ipeo76INnEJCFGdZIqMWFlyxPPmoL71
SCzmYARSZlS+bYxvVvDwJCuzxTh0/zxOE+OAFtzbqoQtlUrgsRk0qmMm1tKGYaRiFMxyZ+ML7J13
UCLMspbMSRuYDaKOGvyg5DeoPC/N1PutwBVgGSrzw2qsbtIqEp7ENuh2VgpaQeTCC1swhUoTMhdr
KMVGlyecOhVenGmXi4EfhorA5CyZVE0SQP3K4hapPfQ9cYQU+gAqZJspQCymUSwejXGZFMZGruRz
NwBBdVCJL0wN2m7EINdSg9ILuBL+DGZPC21a2yANCsF6Mu1kF+kZq9lKa8wTRQWG+TRsm6ZJrnOC
IOeEZNLs6LeH4j0W4pBJ83Md/JbdcweItD2D1XpMQerDwxMn6CPdKDgSM/sgJ9l9yJnZDdplwJxm
pGpbY/oepHIbNGySjco8VP1LymItmAqbrdwFAXws+vYmRyAPO4YpGbmv+tXE+Hebt2ulhgisal4U
+FYovCB5qN1NP52xJJX2M6DbHZ70nZZphGfluaNSqOkwMBITxrt8rejOaIt5VVeDL8hQJzpDwtYd
ZUHm9pjYshreEbYSoZtMy1orCS5DYjSeCjFGLk4StodsfKvCDzlfj1rrFmblxm2LCpYp9TjeGHJI
Q1jpN8a6k6ntqscpetJm6CQ7gy4hwehjCtABOvEwG0uFRgaZAek68eq488y0Cr1ZRo1WLeOQychJ
sU/CJKEZom3T8vMQiZ1wxDGUmmew5POyxwe3HM06upVZa2/kWe6eH4acSjNvityEG7vKoWhe82zZ
hco+FnPnyjZtq5pyV4EET9W4l0a0C32yae3mGGod9iTx5li9P0z2KlXsW9YNmdtUh6bdT/W8joJh
mSgvSMcWajasTMWHTsxbwXnC3GqY+MTA2u282UlGQl545QAmYgZEYO5C/cM0fu0SFKCtv44g21s1
ALvcLPVK8YMo3E5yvjdMbmMErbZu1qKIsSe+FFmFIMaf5a1e7XP7VTJxttYGEBoIeFAzmZRv8eIZ
1pmUduXpevfC/MHVsg561X0hLliV1lUh94RmW7mE6eDWAIP73nJToFsqhMXQOVQdrk0t9BQTncEm
1D5F8mojERtmNPN15FVF4CLOdkenvU6UVgUmKeY1FhPzS4qzHaZkr9XSIhgYnoZ7UajONjHzLwvZ
awPhffhpFIYfjWyPT3OFpG4l0sqrw2dBDBzua/lUYsRO8KeDpskDQuT8yYZ0nzBzEDpfpT1jTkJp
Y/DCT7JrdVfDfnKa92SMFjokiKRuVmGFKjL9TmNl4YyHQiAlaz6GDFKkJcOUhtJnajuYPRsRAKhM
fsbybcrOLMVuAwVFGXMGlGZe9OArn3ddeByxXD2MmuFjUBd2Qb8ImukWaclT0PZ3vtDbLJmwjCYm
7NRVbVarMI4YbF0q4zLt0OfBhIH3ntEAzIOWH7qiIfByRspijZFH6E5uU8tLqY9/YAXflVZeOhY4
WVvsDKZgBmnclAKlqzXsy/ZZtl+Mkkp6XK3zvMaaJ/at9Nx01q4w57NZNyfcDKQAJ1jW71UDfDNf
BwiRIvEW0h0o19FVhdiF4c1VqQP0hz7qF1qTrCzmQtPE7drjHJmH3PgVOqO5PVSUCP4fRPxeglQw
w4HsokUy/qbFAV/JOi6118mUQHgxBit3xetYVQ1zSRkz4V3yYTjDC15H6BZG9NSOMdAG1sgOK1oO
SUuO2nedsUR3CgPeEUSF3bPVHI3wLLNahdaV46SrO9mzPV4HuTwUJbPJauyZGrolXCgm65lDWBn1
aO5mk8HqyQ9TBo0rINMSLiGpuFI7cB3aw0bx8A3nR1Go+35UdgIjhmm9R5HFaqaI90wFnDVm6W4q
c4xe1EvKsH4qy+ozqnv2SSzZRmO91xb4GqWcMMsB+hzBIob6wyPiiWlaQjJeSpCKa/xrRfVTNZsk
YzfoENO+DcVrX2deDY5tNL41K1s0dbqT0KKo8HZtAGPaeMI4T4sGbins6beumxdFWTyTgNoIw2aa
zcHd4LiZ9ayHtzwGV66qmxmEQ5m+5mnOzotSK2+2SoC6RWa5MPtPgzpTB5GjU8mVifqUhRBn9E/Y
5K4mzooertNRWVdyqHqj2W1kzI/Qvt3SupsF3JBhdBOpbd2yuDdWrrlKrZ3ayjhP7AWF2b+M7G81
Cr6h0CCMZa9GxU0vNy1TNaJ4ldq7mau7PDUuWnev03eKopX6IqN6nk5t07o9U/dD2vudndP++KMG
UE1U7pHktY0KdxxkH9kFc68jvdeBrevMl4/Sj5ragGQDFgoFMyaI6Cv21AV0ZzemB0+hrSkQUMY1
PIj1+DW0dOOxBq5As+2kKNtW00vQH/v8p+OxQBHIIWlYQ7huwhzRb+zqk6BDqWVcujrG2lJqcFaM
bA3zviIZXEg8weTLzp/tZqsNqx4VSuRU8AKQcUQQbmkkTue1EO9K9CFHL3Nt7qpq4LF9Bc7Mu0fE
KFd+ArAXuYsdpF5irWwofnOgIrgYXXVWPE5n+0AeeFu/On3ZdK8qXDCB1yfoV0HPy1K85yYAjjj0
eppJtdTwNB1WvZkuaBcBhsG3y+j1pDxDAgkRKFva8MS1+o0erczK3nRAWzrzZSq2qryT83tQflnW
eXJOKo4jvm1n+pHbD4M3J7DFSkStF7BIyThmEmJU7SVRpc9CGVcUaldykxLQFF5nJ2AZJtI0Ezxv
aWEHb8HwVjAQz4jHQip4NMjF2N62jQi8enRWXWOvdUXfGmPPtD1z4ayg1Dc+8yE7ZmG4oC8RrouJ
nxILBmRtnaHfIvIiDe8q9pHBopATRteaP60eUEnZEgPtNGMabuC8zTAEHhHinMaEcWAMR08KKt9q
YBOPI+BHuMZttVXEpVTflRgpG/zDROzi2lqYFLt6dDOqCXpL9xL0fONg7hsk5irS1zADkmIZAcIU
iNkDG0lvQlurbwOyr5SUPl2MeaWCQHG8sjGWzEOfpC5EGsRQu1L4VvWqjIB3CjXPVoKuXlcHc+52
TfnO8RIF2oBz6KPO9VsniIWj8KVTaC9ObnH0KSnnQcGdrX0bWrRPZtWXe3sX58Xy77avVOw10d54
K5ZhCVQ5si4PeUmBdgYLOCiPwc3bl4AqXoN3oX/g05XsBTxhDnJIIt4E8ODr0600z5lRe0H1NLag
AurvaM6WenOY6mxTzeXa0tnewnGnjfomD621JLRdbG3nuT+FsbmAlu71iABT6bkSR1Ql+0hpN0oD
cFPULnuUL3UPipyrNJPfxKRjadCpJXTP2/yx9lrCw5tc1zEQLJ3PD1Y/cK+4hak1lsu5j7aVduxR
JKE6/o5B7QpsHQIvkNqsaJBeapp0EPo7mpxj052K7m7F38HUrmXAsbmFsP5XjdEdF/1CiRktqDKv
w5uDKwP0im+Xji8/qDMNQsIBI3ykLFK72kIleMAaN7bRLUGauYFerbVk2E2AF0ct8gP26XJs6Tmr
N5Fd75syWqS5A5mC/kcV/1CSu/ghvCJ7AZ1H8TbnbfjOTaBOvU1Uc5qkcjnUoY9W9kw15J7NzInl
xW8zJIt6kL1aL121BwT2mo4RNX3ciHOylqSfOc42VmGs6Ct1Q2QwZQ3A8zo7l9587cCaqnCk2jpG
zZBwocYS6+8S2pU7TV9Z8kG60i8HUAhJ/+CnQlIreBppYm/t8KshZGKmBH7FqhHNKe+ulgE5c3qw
C7EMqfpJ9BlYCHC6a1n+UGMuqgsZ1pG8gb1Sywb2Qsqsw3cy1wszw/9ooR3slXXM9QfgUdSIDhJa
I+RZPClp9rhF7gSzhBnDQb1M5T2G2GZaOZ9xp61E3UFbqt9GvmGjlA+DpHDInqC34eztn53sQjOo
K9mVm9s11XnbCzqFMxL9EGJXZszFjF9gqpzwJCGl0aJPg9Vjno+iRizDdl3LAwvuuM44wWd94U/1
CNAMLNVQ8QXGYOWTrR4i6Kts9vV+4zT6kZiDfxgVaEVqbOIxuerEMf2WwUVslzAxqhrHyJjJ6yiL
dmUFfIeLm+T2An9v1Zu8H70KWF+K12jneOXLsxzHxyh+kzuoS7NLns1P21SFGqF9D5W6Q+TuCz3f
EJi/1WO+aUuN9veZZdrJwfuMi04vVlrEgaoOKG2EaNdmM9gpmdD3SjPI2JFZJRlXcaOAfSQQRAwM
2hREVw097Gl6xeC6qdRbSbSptEe9vqn9a1lvsMomyWue90cF/HUN9RZQxxTRj3jmoLANVQvNFlCu
9qzFtBZbisS3Of6OleENQMBnhd0yUZ4Kpz2ZnXw3uvY1tyLcPZ8jgYCSxucZImZJkjq2khV1y3Mm
8t1cZmRFGrZm2AEjoiFqmZ3E5RNe1wX7JerSQN0GIKR6dd6aOS9jK7TuIZqPQbx30o28h3wf9apA
vwWVfPRzjAiVrbpyE3lt/4UKib/wgV4VjlouFQ2YJ/bTV2yDl6QqzjPSpxJ1xYwNswVso9TZNgc9
W2GqMEr6MSBztixWW8iccPX66odq9VE2ogNzmXvR5RC23kzEKKSHZrPxq67yYqSNsbXMnGNVXpL+
pS+fAcAq4IXD0EZvxZf+yx31JNF6saksBBF8e5G7T0LXdV3OR3w1rlpS/nSCtzIJN3Joda5lonCF
gLoN1HDTxRyFtXJUF42AQGM+Poxh1JYGBvShzHfWuIe4WlLJ7H/t6HESLS7AJVMX2qUXT5DSCW4T
iEV9gCAPsmH83BNdFOQDYuMrlUDexTQbpZeg8+d5CWqLCSQ3CBQ8TuR5ZOyQIl7rgk0c0p8IsoUs
hnOVk4Aq0p5p/+wUKG32HSCI94VSJqQ01G84UW4liB0gN6y73oBod0iKDfX0BayZFZkZt+UipHlw
GxxXJokhfF2RfHAKsXi4kjQ1cmONlzlkHQCONsKDHQzWmxYir182PEM4nCw2owFatW5XjbYc2qvc
XAbs4orz3PVPtSSfixIl7dFEVhEAF/pNoJ7ZM8PvSDIa/XmyIEE6a8e+zy09HRjDOCyB/mEeZ8eD
RFHvzJeZlVAz3vvyOI47sHcNLRPaBnSw29X5ItUug3orwAuO8TUqv0uUloGyN8FX5OlXR1zYq8fM
3LL7tsO9HEkOBSXZqFfAbJ4I7jIH6kcYHY2vbRccKln8nTRUOD/ZfEOzPMfnkk7h0Ni2SvBhqb8t
d2Tudo1z6OHejayLHDKIj68Vt00uP9WCgYQNmLKou2TJ0aGhpOHQnO4LTBXxUrcuCWKiuQVrF2Gr
Z68FScHfCuOvfu856D++3TAvseddpET1x7b3IhVT7nQbLfD9DA2Cyqtynd5/g/9T1bxKg1gVWXHp
ouQil3tjTp7s7CuslBU9oW4dcVROlq1+kYtjVi8FQL9g/lLGXRvtHbBhdHvxOFp1N8hPQ3jJsl9L
v+q5wFGzdiiy8aK0zb1qsMWM3026tkiXylbv5gKpq7bMk41WPUvTZdJ3TXdVer/M4RgnT/COfHxN
HfCxrNoFHdmxLFra4UboKvJQnh9yb/1tMg59NdAcRb42JaLPvhJ5lxF+JL6ZHx8HjFht3N65ylG1
q7FxlwLyf2dAyntXuG2acaAuJ6WcRV/DrueNSBZOMC6HZG3yghZR6nbZskI1lf9Y0tmI1WWocr4q
n4Pyu6sJcudlFR+teBma8UoxX2rxHZpMtixlHZJsjEpbv3cshQbfhCKWrXgxOw444BVDBUzfRFtB
dLZA4WZC+CmvYA6cJQHpJyXs13cp2FfdKzADtyx/9a71HEHo/1TNT11wmzXEWmy5yrZpVkK7SvWZ
F4jDRdrUyxFp8qQSG5ESqMlnxMq6DiI/LuRNYdnAU391+F+Doi8H5WaWN+zo8P8cPVgonDvkrdQe
23Q0WdAcDzAVUvgcLrYPjPOx21/j8ToG6a506ndLRN8R5tgEaXvI544Cwuu0xUNgI5xrPBGuAmjp
D4a5btpVpd0l2KdyddFyBILTqdYuinWzYaCCdHE1qHCK9ZabCeZhBEvKOVb3EQJhde0gomyUc5KS
zHiwgcFO8g4b8lVwGBgAmskW2Y/gmJPYzcR2kFaJdABmtzBHwKmsqAbgm9haRfpwoFYMQXVg/eFI
skqI+e3JsjHnoZAYiE3bnfJIayW7FiuR0+6mXLrGfPtRCG4msT4L1KO+Std5JoalBsPTMxDN621M
ALzNoJvHdYWKkFO88juSzOkskxmYfKvYAGcnSNlDYJ0r60k2a9cYzxGpPxlSeoTP9tVpD6aAVrm0
i2vCfQ0HjlObaVqF7T6AciwvG1ClsvGVqM9ay1b61M4T7HVtreUF3/CwdEoiLU5UVbu1o3Xg3AoG
IMvhGaaAZ9WqHxudn6LNALmInqeAmlt6WXQeYt9KAPbKhITxZxjSDlLP/lzo6ObJpDnFSWGVt9nc
VKnaT9LL3I/A0e8C+3SZWAfx6HKV1qpzYxf2sSavZOcQk1tW4v1UwbCxWR/rt1Z/H5WPR1Rl1+PC
JDpWxmvLfqHn71H5ReDgVXRTJuRAlH4f5JtRPjrq9yhI6K/U6SIrl6GyHrZNXs5bkc3uOD1Hyj5h
pjOT3vXkZbIuZmMvHa46b2zfgj5b1tIdmM5GwWpgkPWyKnpU+9wzQ4CZnBqQBE23vPvNyR9206W1
1jHzPKG6yIqrwwZRqh2HNgh78m8gfmsNplvrE8payXPOhKcwXm3yaekdjJ/XFwe1+srU51RloN35
1We/oKPNwl4QX/D+eX1ebvr8N2yvYfyWDxRIsidjrHEFrvLujBcCw8FHBgca7uNYuWNxGqQ1SErP
LD/qFB5yy4nsR0nee/O95yTRdWdqUipw7LB5MR7OXz5BmdcGlppJTIoU3G3CPXPKzAYjFaLfP17M
5TOQxMVcXyYinMYmVfoU6ed5mHcTG1lefE7FT8LxeEzeLayiqvKsJRvwv5O9lvuv2DqQXMt5cmwR
Y/0acqQTzR7MitVfcuVNlOGiTAZ+/xwZp7F+qpk/KkSPkI8PY6cWRy18w81m0n0xMkCbKiw5u6TV
OaCChp6XZvsWaJdABXjh7Krxty9B6uMEbZonp2JMV+SLiqKBbriTQ0P8fI4nzij8RodLTPyUEhfb
S4sahYEjBs9htZGTfTFfleqo908ZQEmZylPcbKTpO8IXmg+fDCx4ekMOM9hM4a9lrVoHc941IkU4
SL9hti66o2k+CZlEOlkIYe8EzeqlThiAPEyM70q3Nms/YARauVSktGYwi6PEawkQa2Y7jCZA4m9O
tQzya0nxYKqPI2+WE6ucRl+DZtPPnwXVBIszTZJe8qb0dBgf/O1CvzntdlQ/rJERQu3I+m/BgSzx
XsUBGWpIsUbktwbhADRJoXpoCGYd0CoHvsKEi649SRpWxomPvL2HAUkzTseiuCXV0WpjukamZRKc
M/SC2eek6YuOYkVPQ3PTNZ6THQBuuX39NmnWUg1fQ/FeIeWMybhPEPlFuKNR2Z0YSVDhuMyw1B8C
CYstuUifUoPug+C7yo+hzuqXUaIgdUb1grrlVsQPIhnmO4XMQu3HJEDDZms7cJfPGdNjylzedJJo
ijoz7sPjJcsZk5Edra9cWteRs5K4uWlnQHxiKiJUd3ZevxLFqaRra/0addEzRGU2Mkjllr6aAMzq
Qy1WvaUT3pYKK1U9vDu2ABMpTb+O9l1koDAtTAusG3Oar/NwMZnkaEfiy0An80veQIHDTxbUjO9p
ydFkfjhJ0H7Aoh7eBTxXU3db6lCt4vaE3oayH7PCxxt+moxFyq0SyaEODkg4sTPU2Ek4rZGDz8uD
ohyNh5BcPmf19wN/TN0pTGePtgiOi9e2fQnnI4+cuharQuQyrIE2djPIyNo6x48c2o+dM5PhXvI4
ZKYsqz2BDJ+4mpyiR9BHBATBDyBn7ErjpSKQtDt1AfiyCxhht092Qj223Q2O6co4O5zJr6DMzuN3
iSQ1QDhRPWFKzcNbU4deU23h87uzgyv8rqDDhecjllnL+myfaBxeKOleR/jAoPRIDWuG6qnQ52U1
98Lk6V2aqSLZj3sgCJdMluPZJujGgGuwnAQQvDEhZq/EkgneuO758VNGcUyi/Ww9mVHqSZweCu2o
sIjEMhjcYBOH16nCyw0nNLK/asdxUzJL9rQPo0Nl0hKh7+2w9PHxxrkNxpcCME0Rpv0r2/tUexm6
24OPZxl+pey0SXFJu3Uy4abCkM+suw7zRWk4+zhMoMXvgumqlztt2GtAu2uHikcMieAjVte1/amT
UpMOGS1ZrZN7o7rWopVFRb0A3l2OW9O5S1q5tDltROkZowzVWtrDwszXlXQFWnWp4NYxGVhplQLC
beSHpAkLMtSVoFRNWnjUwCN+FOCAZI4JKnUFaDTISEt3wLptveTVPeUSgv6lgkY/EGqwI0qR7FXV
Sgn3fXkqpD2QYNoN5PUjq/TwEjNG11hLqvluSI2ybr6NEMNgcnqoVYwvBWWNPR6c4COWS0+Ia2Fk
3tT8gPIgp0IGvkw2jiFtIBa4urWKtXd037to0FeqxrCEgSSLg11TuKX5NThPrYrgIRN+VdR+4XBY
5uxJIh1HxrZiJcjM97YgSxA2pNhDqMwj9aenciRbeBQpydWrCL9V5b0f4EL3v5Su99PYegZw/ih/
lfVtkyRnbWIhGL6gsbhGwo6PDYhuunVpy+eQSHsgl49Uh0+EnTb5VMUhHK7DAAbcOksCqS1BZbiT
9GOo/lTKrwmnyAEjhaYkz7hjzuc4bLP+qKaHuPkW6kkO9jpBOQm/KT7X9W8lgd4mAsyX9nzpaW9n
A9H0XzUyfIXuZRWl9WvfxKvMkPedCp+3kh4vwbZzSi8lD94OaB4o3AXEO4jvgc2N/sAZBASsV0TS
xpFOQxxRhEcmYLJoMZPcaSBHbfmoBxw8lAKe15M+HE1looCI3Y+FBoqAHg5IREDIFfW6GSjRgkCF
kL1QqZTZhN6Voy7m1Fw8zisPfXH1CCIm1U2EtdDawbep7spcpTTmXqr+DuXXJL3FY71DH7HI+pze
AHvtFCbfV+DHdeErY0foMeKmmPw8ZsvpWb5CJjMay1lEfDiS0y7lmdep2mj2ZiI4L4dwUUnPM29F
oB7N4laE8+nRj1DN1F+Nya3Mgdo92oy8WaILdYfoqygrv7Ac2B07eegoqhLbj8OioLNgEMNxxMfT
6ydLOimt7aVTuHhM9jozIbtSepO9aILfgtJnpN8sYws/uEEEm3V35++P4hdcuTf0o+tkHwHxcsnx
9nGya+62+mSSdGnUYaPSsZ1rv7XzW5NltdR9zfopgYiyT2pyfuBv+2Wm/iYt+j7nCcS1xwfvgybi
PKh4dkIbP2U/W/sY6kMf/vSDsbajjWU+txzTkTkx1HCUW9QBWbUoJNOVFEJAsjGOsU27ZzKA3kxS
PnUMV+4xCEoS56Eku1kaOf2UEwnJSlzGGquYHEiHVo+OSSJTBwxvml0vUj7m8CqGUw8dt3ppNc3L
UTmhbnLtUvYtmmcd8ujR+KNBExZsLIp1mekqsL7pMJn4++jQWKlBvKvzYB0zkECiuJw/TFR9tbVr
8k2lPw/BreyRC3FsZ/fWrGolpo0dbysWeGECNT7q+b7G0hXOH3bPF6du2uA+G4RlGNW7q4QsHbUq
EYa5TQhrBgoVhv3daD9meOtHGuY/krRa5SnpX6ovNXk4nR+SQuoZ0MYGPVzEQGtK6bWJPuvuI6OB
wYkethv8Ks306PZhUy4XHTFcp92n7EUUtHDxWBqGFNnM1CbfN1x7jbTXMBcDnWDWtpcPVn01+DdH
6TZpGW/Jd9cTYJBIjhBEtC9tBciaVGASc84GjDKMkmcooxfML7MdLWqQGFp07rMULU/JCHDCOs/J
4tepZnfmxbDDx9ESYQQmzPppJDfmJOlGrc9pTO1U1jm5U1hACZBwMVmyxeDspfSMkNGM09sj+Jfg
4hg1IKSdqi8z8zDU7FhqfHIcDhF2u+mjd7KtLg1fXsePmRFVX0r4FK05UlJVY1035zf0U16Ln1Qe
KEoq0cImZBJz7DlheByIk1IKzIiuAVOfIuWg02HmSNISJZBryk/ReJrib1PVqae0m7z+LpFUzTb+
zbzx7ABiQBbs5MRwJXk1jaw4tUR4mLhlQ9cSapq61TjLT+sR0YsRLtU5pARyCpPmopMPLrpz28cr
u9zIFNomk3oz/T00GDRtthicVa+fx4I4DFCtAMuuaD8FSwuLmyFfJO1D0TBYOeZCDjYRKS9W9hjW
Jn139AYYHl0PrsC/0eYMyhWnRk0Wib3o49rPH2VNNVvlkuVX8VtFqp8yQclopDAQkja0DX62+OdU
JAuMSjaAorrMy0didd7jiUdnO9TOpUWRfCTFS1jex8Je9w6WL37bptHpkbf8UpLPGZGO2lAwtLo9
WeNVSOhhSayxc0yylFOJWbwy1eJq80qvX6YaWZJywOq+CNKvebIWmUrxk/XTmO+Onu57LAIRqWZT
fg2mJ8xotAVyIIZOrFjtbeg/iyl5r6xh9yg9NfQRkOgidDpOdbTJlE02vMUyk5C2jEpLX+g5LULJ
xU7gyhdPVo9duL4P9s5BHMIkv581xykZXGGVJxOAe5STzYurrTlzD2pl1fW3uZ32srOjUckbylui
vgQjc6zZc54kC2n6Gu0NXDpFjCw9a0d7rnAzORL16DhbJyi52460MHm3pC6XVSfWSR3tckzN5mxu
BjrOmmr4zHNlZbLtl73hN4NY5310ltMDfXrrsgUhr1Q/RtkdlAafTIqLhpO7Q/diyexbS9QqDC8t
n5uUtRKR29AjmuhXthx9lYO2S7P0mktiGVsEAxxxsAqRzqyTOyV1HlZlfVjWazq92+kb/y0xrc3u
YlnLQBx17Vzn2HqA8cc9ORyOirSnJHHBfG3rN5iMSHKPY+fm1qfc7Ux9WMZ95+kJhYMqXGh0NxnF
wB6yUdSDxSC1JVS36oNFTm9Kkn8GuGMsuXSnlvS8uSrrcWlG25AiYCSCRdLY2B+vHQUz3Um8/8XR
ee02bkRh+IkIsJdbSVSvtmxLviHclr1zyCGfPh8DJAgQZLNeiZw5569TeJwB0HoswEbAAIQNjQfl
qE70u3WbfvxQYsYqtbsPEDYlHhSlQWk0vxr1pQobcr807rwRtghkO8pQ0yh0w+gbTKLbsD8M0eir
NOGWKFULipHbj47fRou4/9Cb9RwI/fSlm+0ih/oLp6er3hLvg575aYDy4u1xcx39HxCQhsNTOVbt
UdhPwYzHl71VuTnsnLVk0nbzrVxM6korkdVqtEkrHrXnxdIGarAHRKPzCZN5Swk2HwHTdXLtqutU
/FDmuVApgfC85SSJquRsyYsPJFEr11LulfeGMEcptZUh77HUVm4MawSMHw0EltvtzrUVX+82blTv
e3ctGDQmtVgNwKgVu0SVnQ31J+z/zXYhKdKtWiTLyDmH1NEr3kPRYvq8ECykW01pF5qWgx3ZAJ5P
czS/8+ZbVm+Uzq0aUAhVzLdzvM6gX6ysZPxoTzzJlKuv06RYt0ADvQjoBto17iOWD979VZBNft2s
23anplwWkBRY11ckcrJjeDzLnMOyhLD/JchpL+W+SS/IbYzW9qP6VFmZr1jsiqb6MDtETknJFoZ8
NgQIrGn0UOHbu0guZ1i+hRZUnO3QbxMzOReh+2jhpEhdW8wk/YCfutkiaYiGmx25gD5bBDobzQOD
RRMTtCC/ikmUmQX+xedf92d619gYWWuHbm0iOxpAyExY7NFt11bq7bQ0OEpEDTb6HD37C9y3KWYf
zN4NRKCRswrof+e7omrm6VgPXd5ZhmpQa3l2jE0kSY2r7032Wk5IYe1hlScd3zB7Y+7DdrndYUz0
tWC7bNtvJDtxvO+ia8LF2H1FsUDd8hOL42Ac5/pDDQ0G2Ac1csucA74QH56zC6xTWR2j6aO2PgIQ
OWz062lku3QhuhQq3XNQfz7TuN2ISuxGtA6R8z1yZ9TckNm/sfoKMnOr2LCu7afibnhGJqfbDnTu
OTayK9c65ahArJgC4/G1F+ArHOojGuDwZlbszGhaLTA2T0cYZbYbN1AWCvcBJrqFnj57/aNufkzq
T4R3CNFaa78hrWhAxHZ27yaapcTNpbU5/tazW0ipmhj/lVzsAARmfi6RxtU9HKzVodB/i61PYn6X
UUx9HSVn41pH8qcC7iWPijSoMS9XwjqOIR2PzXVsH0M2rbPqxUOpUKSspxRBcfixpn97yuR3UKc1
kkG2OInaLzlq9iouN1l7CFqY9UOO/juaXkBb8uot83Ye3FzQeNy5IEPVX8xm0+dI1q7NkK7q9nug
79GKFvRDmhnD295rd6J606q7irTA20kjo/bnLaGWjfkRaTvsPA41HYZ+F7XoUz9r/RZW81RGIWpw
CDsk4FDtEGYRBCGJiGRpH7L80rURjVpkcKUNxxI/T/ev1dfs7DweF6aZRVWsJrD4Svpi2hEjsTSD
bh10zUqjoCnqjD0fAppT894O52o4BKoK8sojaPzFyWWCl6RkpFa+5uWAEy/o3ufNHeOHbby5zKzD
+N4Dk5fjyU6+1TBDG0sjbnnTp42Mx7OZoNMHOCiQ+NrIaXrYa+VVrU6Osvecez29DX3ow8mzRm/K
tlv05XeM3EYNvozyFHst7+ImdvmTO6iV85Yz2dpY6IntgzeCeNCrZ31LjuHeNf1YTVdu99t169KC
hC83bXKl7CxhtBfxwQAZMDk9QnMbIhJtX9v6kRkHmC48jt/D8DHS7DWlu3D6keOnDeg6RB0k+j5u
dQwHnzZlbkkOUgmQwbS5jKatO94bRIiEuy1FfYw9VK3Aoij4Nkny1Q9ocdXQj1liE0CrpNk4xjva
gVw76TUi7I1UjlmIJtJIFiyzJGv5sgEYC46Nd9Yk/T3091W/adQAbICnQhVK/S2r37zy11IRIK4H
dvcwfbetQ9ru6+BdgTBXwNVskK+2DTaJMR3j6q3oTpMFFpYam6IDKW3fNXJX+Q84rN4tNq0gsui+
+nY0k/tv77Kx04K1FOhSomEXVf8oLWQ8nXZu+pZF0OiAVrTHgr8z81vDqtRh2LPa7xVEIsldA1aJ
oVMoUbLnBI/uaiYw0vbRYyau09+cnjSJArloflEzLALDWRgqLhNKB4vwXkZPSnHXcT0zLvUmsi+F
lzGus4Sl97pNXv5XLLDMDDayo2DXOONKb531wJVqD1d1TE5CPvK+RurJbTldnOzalZAY3y2YqwsX
SSGwk/+WxqsznNsBWXZ864PdhJRkQkII9IA8YmEDxPYrXT0qHexM+6/JGr6dm6U8zQJkn52p89qt
S+ViREldyjbVRFzy4pYNul8X59Q7BAZPp2ss8rI86C5CX+/Zp8+pGXaNvPcDQn0R+vM/I8wVIUpU
kJAB6VxI4U4SbDvyJtUTJAWCsB/BXhLGRw9F0UCRX8GjEeWvnJqFqe5q5dcsnrU3Xb3yn1P+JArj
F+8CenM2JZw6qrsc6Cc2+IhaEMg+OLYZWPso2FSf0mQP0B8TL1cQ/7RAyq2gOe5YVhfKvqnysFaW
dcO2Di8BV0wArOe+eeGr6ApfzY4JAkQKyQxbXaoaDKapbkdtU2ZQlxvdfRSCVYy/p6okSQKMXQUZ
8B1zJwaqqzt+jXacOKNL63UajvXwhBVdEBqyKCt3DXA7yy6x0i+KWsHehEAhi2CBi0OiiLOXkoky
IcXyAE8ruBHV2Iv8H7Xj5NOeQ2ns+xH9F54F21oGM+fIWWi+lPpvZnEwcqHlo/WpMM42ZYMgPuTu
gr+psH69i3qfBN85QFhaXfDsHCNyFHUWR62Jty0ne8hMGnWJb6liVaDFMou11u/xFtjF2s52kQ6q
TzWhab43/R8NXnHqoBMF9Fyl1lnzvhr5SUPGRnD8oQxnkE5fusH0TSwo0nPXem7QUZVfW93cs4We
ha5v2oixgo8w/TGhst2B0IKt0wQrwxpoRewgQgoUKaCAkpNxl8YvdVguE831BUN+IfWdCsPeDT8I
aVFV0VpWXGoS3kX4YsPvWQCVnXPWEmerN/QHusLXKSm1veYl8z6MTHCrjEsjlZRqaisVaka3ebvs
2Cd+Cy2hlqzKXGclHdhyoq1iwtMbzU1NrihRF2G50bhX1eZPsIyt6JubJZ97AW+mdQLOhqO8lik7
Rl2do85d95m9FMp5mLdIRENutLQdNGbc6m667/kiqqa5eo3EHgV6HfZ7zXynemlRjDo362MOLdbH
RyOoaqk/dJLPPIqEe0fcjCb1A/kUautbAFA6cGLRlyzZ2yxjdfuemGq85Jmk+cPuw80AEiB+a/MW
oCoR2zA+TBn20IINjZZyXU3WCffDZIi3kYnKPadyr45f86MuoJa8cR9HO7U9WsG7K+8asxG1WIuQ
s7GrKz9lbAjwrJVAH5qHyFvuZpA5US70eblkPWZi5bT3KnwibBuK/4VwtBnvMmbJ2sRklisHOc4u
iHudYaeCqYvKjdo/5ICyOkDvYBwcB5E9TKf40ylcZckfACQmpeE9SJYxNFrHaI1cajNmCfRVthnE
T6E8DHrSsyBbZs0mVjZtj1vlotUnPTlmHfVpvDwGcPWQaOvEPcXyF0FErAPvb1RrzRwKQ9WwFBIf
DK2mcsMwEIKzQOnryXpo4OHpStCH+uLyKUXmh5d+uLW4J/Veje8aSvZCphBaNwueQk0RuM041JGq
se9c0hxookNDktF1DVTMi8Mf3Kh2tEc2QOKVd2HNxjT0wTK3HuLOb9E7zaB6cKP6cdnYG8v8DSA/
Yf+rYlfJcamqG0/1SeLbREBsHjHPWX8l1XuLaNFFW6CXpwobTW3uJftBk2CZwgpjedznm6ndJoik
w3VLLXA8/TjNOkUbXguExDkINGLo9EnawV4DORx2LpxZBgoHCd9nOS4pujf3vTwUg0rzKEseVgDw
vTlYGqUObGH1K2rpO0N07GuPbf6QV/iOvni0ghoUrfgpyxvBBDwM69IDtuVUKFRlZ7u0/VUN75gY
tpNpX12uG7PqV7FlnN0S9SuO1eLLdlnt8YB2JGb0FaCg+cICOXpHtBj1dEzwDDR7ygFM4FMNcZRM
MMUgKdW4F1xN2UyyOxS0S8Vevcn08rN31mrGmofCgs04D/CIzut7X2pgAbzEqLbi/EXxbqpy69I7
bWLwZaQK4LZJX9xMXjzQjblO72CEciFR6U7ITOFIYezzCYNIYS3y8EA6eIGEqNKP0jpIuGQMozPc
vh6NQ8dlKbIr9tttFkRLt+IjHr/QXdXypmNhabITEiq8SytKNcwOOEurl7iZ/LC/NaRbi5Ye4m1s
/1ZWsAzx1eWg2Le8PupIZgbwfzLClxEp6cErrnK0RTW/z2EAJm3Hsx6b64Tjpimv+fjPDb802jR6
0EdPh5zaajZyHHPZe9c2ztdtsCuaXTR99eKvIQZv0kl651Pyuo3qcFzFwXp+abP8S49wR+4LDdrv
m0zHpcSa0oaf2CrpSybfJHtwEDfWnYJ6MN/54fGiE8qoyL6S5kERGeyNDbVIRB2fjun9OdaXChsm
FSpjWVs95V30zqom5TvLXdpiyVIR2yZ5OGiwbZxH1Yhz6ajpqLHzTyazZUk1twMrDSga8fk7ITPS
SPAwldju2zAehXvsaWW01U9LnHG+8+Q8pai5PfKFYVxVe9ZfA/MKdsvgQ+bl0knuXQQwpDXbGC7E
45wCF1uFdPgqTHAse1M1n91cfxcPwsd6A/nONEzOO688JfWLgctHqb8U3IwWNrF0ejGDjWWtveDg
aSwMCoD7+FIjYYqQ8HsArl581y3qR0MMaDclvvNna9OL059RGQNwnQcDK7LeAzM1uIzPZXU1qtcY
5DXwrOX8TwMlRzobZIQfQkYpnb60uIWG9ENzz07xKc2/ML+WvGVqgFoQzyWiKqvGfyLGty6l3CmO
lmY0bCzlrdSwCXSs6eq/cEhOeh5s2o5EM/XZqRm7ySPtn7S3Z8G/vDqKgMzjq5zejHptAGQZg290
Rzmpi5o+ej136dOGQymQjsMnF8NXlP5WAChjyg+rWGsdbfPEhB/zIHlYKeSbCPeqefHyf64BrYGC
kgKlAsVUygYeTOsimZYJCBUCNouXZNABbbR/naP7XH4UZwIeIhkvvb9KfBuJB/F0HZqHPgAeo3bK
9LVRun5JT6rC2JZCquQT9yaexIAHDDwq1PGY7rHkHAhToTKTs1Qx+DrxMB2G8UP1Xqq4WQTqX4JB
0rN/3PKSJQzrE1B5uyqIiBf5sGGO8ntuTWv8ljHOWs/ZsKaTB4R0JM4uedQt6gYzOMdQMpb+LINP
qP9OjHjVQGaBEi5ifLrwQln2MJSnrrHUJVdUqnFyjUFxnNDvFGfJbkib+UPklyavF5l1nGtljZSC
6OiSYVSIK29tJGfiBBmSpa92fzXN0ja9yO1fGPVHBWKpHA5xEdwSlBrUoEgG35w0bbS1INcjkItW
actsnvZarpkYo4HH0jWO6O2SYy36batsMfmTN0nnaH0ounUqt1W5mZIJZI/htjhm7muPoKgNtuzh
YbuLnYOagX8hG9eVYJcaa90EbqW8t+l2ivltl5+JdgZNgzX4Nyvn81q8awmmz2rWrBzspmaIhimf
4Y+uxFglFDAk/cMwPu3iL6hBhburhhdQA9VQsN0wJpbTLifUqrWWTnVryY/m0W1bDenHK0quRa8R
dn/I9N9c1Xbcw4N0eN1yphi4kZ4khWAv8S3V1Sqmf1vTMKl09Sm06V8b2Z9idSU8dtDSXCqJ4k+a
w1ar+oVxEeVr00IZt5gmsjUhr0fbZp9aT+GLW38IyNuYGyZDyKaF3z1QJqAjSmlQLJedRWEiTBat
clFhWAdG0MDdOvBaupYiFZ+Vvmu78M2C4K4O6zanDY91O7yZWb2UCEg1JXxNW+xO2bei/ouVl4hy
eiS0Re6X4Uap02WHTD7VLhpO/GLv5J8FzpDuHeS3q9KDpr2WsOgYnTaa6y2LpLgGg71LB3vjzdL2
5IPwXotxwbSeJVt0KwBOlf7szVsNsJJttRsNQMupzoX5OQroThgC8zOY+Om2dk7GpPlJ2TDk952K
BY6AvS4QkW1tZ12x3iC6YGXf0tKymXitqVVbGG3He3cni3TXNZzfzPqNRa5Bsyb/Q2JNrnDa6+qf
njw6uXIQydLKS+O29aIjxchte+GZZ0xFvgz61WhdLEWsmuGi6yFPOs89inT93Z32lthG8igVijAa
9thrA9dRT5eo2EQ9eLoBNIeld5B+hM5OcS8tJcE1lXyx0Hw8IHtLY9thApUA8FYGtcIz1NmrqfoN
wGOlyWxwMxvurk0RXqSx65ylrv7Lsgtu/pndZiVFAh7N8N4icb1tDW3XJFeBUi9uf0Ryl+Wry0qt
aZg0aJRuSIPPxmTvVQOt4v1WRyifCvzZdbnUknMbflvZJi52AytXlN5G96HRRjTipAzwlcITtTqD
CBHgxk1GuKDhwkIU5SO674HhGUGXU2wwCYQGYfDABUVlvXc4wnUz8g3h7DJk7bM+wrJB/yKfRu8a
ibPLT1+2PB/qKh3R9T+d9E8418RbkRoFMbiFF46nR64Tr/IqAYD66dTksw/jJZpVgnZ+qIW+U7Lv
BqzStWi6Lsd1bs700wvaHvZvJLKji1L3DaS6RCQ3tRiuXhuN9yDE0gpk40YV7SFAT9pn11j4XLpX
VSFBI68vaa3vcOQelEmu2xAhZW69V3awSZmtHVTVoYZc+intb3s4W93GLL5N88q18VPR5Jt3X336
MFk7LfPFky+sBYb+YZvt2WgoP0bSD0Wnt3wKzppaBiKwG/XRxyYPGgXyfGeuiaAj7hb0joOWSabw
nHmgXk0SBQpsYOK6fpCM2EeMVV5CJmizpJup61IMZ7O+6/LWJW+jvVeBkLvKww3OsM1o2uD3kumr
yO698nD7ZtH2waYYUc/V71W179tthBwZBNiYLsSd2coeuZbDu2GyC2g9a8N7ERx68UhqpCjaP69v
Nwg+QvODKI/IeA+SXysl6QV/9v97RLFMG6ICPD9or575r0B91+oUlogL+yWDarQcAsIkxmdgHm39
nIaXOsEqnHLDqr8J1HpM8bju5rh6kdkzOaT6NmterXlXS28KAp22RjoZdX6DNlA7SBJbuvLuth9J
qPiujD5dGfhNZjwEylbRsDFOZBChcEpuZuk4KxOZuIy7p9eUr3rHj5amwD1N4lzIU3t1q1lRFpb7
KYneG3TmNGl90Sj9z/QksoII/A+ehMkY3OlEXISPORIVyMCEI1F5DsPwyJri2kztqkyne28wmeRa
8OmFAb+J4WxLu8DDZdXvDZvxLGpC7aRq+H8CXxt57CaRrDSwq8Tr/VGKT5Eb303jHtR0eFEnFETc
cn44SKrW7YMIk2WWWou21X1zQkjngr1+tLNHgGuwMT8V4+b1YLBMPBbKrqK7WMY+5v9cbhx9Q10z
1NM3pRiqrVCtJBdj71y4gPat91ZL8I6awI959FDGp2VKFghkkRPXzsEAQeDi97J0ObireHhm1keh
bhXsd6bFidMtc37ptCPMxlH8kOGkz44hulNHX9nIzksFjYJYjqV976uHicEYkFfn2Z2yp2E/SXd7
6SF7J9N4IVSnp9EDIaxv5MojLmaRMOE0prttrHM6HOfu2GAWWFBdMBrLxI7JljFZRJoK0xdxRFpE
FqlLnjBXIfVBFCCDqsUY/bRbpbIpaMo5QfGWk2+TiuitHy+UK3HX9x8D8KDRObu2Lo8jk6URINk1
wUam8iKygLR3TT3Rf+bgpK/gR2pv6UIvLFV2i5pxD8xiFEdhvSgjtO1WptuG1WTsPxT53ijvdNs5
rs8JA9VpncYeZ75W7sts5kOZ+0Q7YQsAlViTc8HZz1nXWWzeIWqTXEEwrBAzvBQ5OsW8nda0bJ8V
x30CKbhW4qOwDGfH5UGNz5OB6+hssWQmwzkOcSEnNmKLQ+EcnMG9900iVugoVg2isCLzblpgnp1u
o0fnpkQ5Y5/bqP0qA0wPc/fbIsGwFG9TZ5swm8YMF45hvMRJThBTvQiVt7T1y8yPyD1BzaubtyKY
sI6glsjOWAmYODr+WGParkLQ96Y65JrK/fKXGOAMVtEqLy3qYBLf4LDqHEiC0syWxAg3iBEdKXvG
p3PkBecWJlgdm6tZMNSpgM2vouINEQhEXCKtAOiBJ8pjp/qyflUY69XW8oWRbTTxbxDCQwLHghZ1
17A7G7l6nWazrBGdVAWWmRiIqeTUkQDX6uxCq35iqNcIFdDk7Ec7W5XRe5DpkKsw8VrP6JNO3mtp
ta/83kseqEVBFkcX+5EVHhPSZTw79FOGSWegMESmWAYQsw4/KakmbvOT8mhVNcFEbcZNTgxVvWls
2+88x48yOrnydhmZ6G0600J4A0lXOdp2rKpLCZg6Gt2hVCMQ4NneK6f95P4U0n2P0b84A/e0box0
po33PgkPZoO9PhyOROOUxVPJTkbs2+5rI4m9tw6txlS91sqjjsprAGOS3Z7pd9CDpeL9lSQ/pAa5
Mui2JZ1Jht81J2md0gCriT/Vuzl+aJRPtbi6+cXlinXPtjyX3rnNtUvtvKVGc3C0Y1kfpfsVaXue
DL9hWjVnMYYYVy0hN2QLjPKcWFtmyLJ8N3Pehbb8692vTn0OE7el9qUB/wwmzFf9qZoKZWf1ykFW
IPno3SFZi/YLx3Odb6cKytwjaaBbVup7y8pdT8MVu+SY75vh1S5C7lUUJZJ0ELPb6RhrBQkO02C+
JIV9SHW++VQ7d576FhgwLhb8GXJhBH5aBiL6aJSbA6BXvSIEzMuGAJ34Owtumj47y06x+uJ422Z2
d1HXFWacEbW+8jL9h+QVUNdr1V57Ip/qqvUrAiwS7QEGx13yiBCLVNZZ8FdVXzQj5w+Ob8daGWq7
znKIRDPxhcxIcOirTzfTVgVxb2psIXhsF8kETNAj/nLJgwJM47fI0K0AqG1apBDup7Ba1HeXqj9K
NMIdB0MRe7+VePECB6XWX4kTbbYwooYcDCqqdA8oGjnH1M9T4L5IUCMU1p/eFiTjsM6zc9ZAqugR
wJTgWPZKuivCg+B1xwGSMxvrxwRd1qQbXx5joiQzjefBuCUWj3LLONzpoH790G9CFC9h+hq18A/I
fcK3agZhegJamlMFhKgP30UVEezzUBwE6uq1JMmgFpE/wWhoCMbKkhQDEW7zaF8KwNHU21IJP5IF
lmGGjRILGWLnO8JeDln94sT6uW3G1Zj/tJGNdARxR+/GZIG80d+Fhw+JssBQHxyxJU71F4HJB1pM
rpljH5T8fSK6Y8yH9agbO94P2RuryOJh6MDOa5+am7OWN1cBBjfmmA8wqWd0IwWw25cyfS0HpK2j
t9Ojate6xrqH1Yo5mLQKqSaJ/zAamDIFPk0B6HU2SNOa5MTCci+s8agzATrwvUJ7GFm7rkqsAV3j
4E1ikXO0l0rHYQ8bmPG0KoayItto4clyX5sPvX0m9bR3Bug95A5JRGyPnWFJCXHIEiHVD289+Tat
VFeh/Bc7KlFsyqmKnFPDQupNl5iFe6Y5vU7HC8aZOBXIOfQD5bP2JBihQJU0godwKEUde3R0iwvc
nwLoTPtuxwuRoBOre0NilPvd5M2BjCarUQ78fQrQTxD253cB6/ugbyOERE63CzttbbE9D1Z8sYPv
pOrINkPvmWZLQ2iEO+lbR6ItxFBfBORiAahbDilJNSf1sKBXYE5pIbxklcuDEzonzY0voT6tKDlZ
O+TUSeRh1JcdhtS5d5bKugcVCC9cim4fOMapUfJtVYlz62FJLCJYSGdVuSbqg1Oqj6usgjQdN648
5mLfWD1QgIWJ2ACHGzd1QxNWk2PobY16qwybyvvuEnU9ptmtH01iMX6lFS9DJqD5Oq9cED0UHj1Q
l9VCeurBurEkqSgUQeTbWapbqUcvCZEI8b0q4wak/iNzALGHlY2ppXKnVVra65T88m7Yu7nwR+2f
ajMlix2Yo8MEWXgOChpJ5fVBdsNrOKrIkOc0DW2vGij4lPg8ODGkci2xNYJIl6QDFG9OEu1ttj1O
LnAkkq+Ge62+99BXkfGd92QbFRhqjm6yL50diY2ltq+Lo0biVBRBtHmvdg8w9FS0E62K0htIHvyz
egsxqLVI3Y8qXcf2UVER/047ACQPxDXrCA6DuTb61yj/YbBG47SPyoYUnhyo2V5S7QyzfJTaSZsQ
jWZcRp+We7KBSsZ4b1LPOO9mXfmU+MFK51gXHXVDjsF2Qb6MWl2H+iM3P/rprCmSywQLegJf9AQF
Mrwa3vDLNfWl4yYvvTGtPNj+AHi/YlwxwVxHfZ/o3Itl96szLQfRNa3PU3PhQOc8QiZ2qeEybbbn
NnIWCHI2mcSZyso3ugzvvGcmVHtcOOD1F0lQGzk+O4kAflBW9GsfA+MnBTsyPur0Qy+PyDSdHAb/
aDMPaONwhJ6Nbf4PQSmWKvXsgcFyD3vj4vGfUAK0mAk8dUfI4LIBQ4qygOcT/REoCwxqxAIzgb84
KHvKDGUkY2MVYksCYxIuPnE6p+DvrbPbOke7+TVypP3dIiH2yFYKcofePXn2xlMz5gjUSuR+mLtQ
hbbAAC25VF6B+uGkSdwHUFUu3qSRPq1lbYwnEFEox2EtmrcoO2gOD2nAPT4jYbP33/wqjI92XMuA
K0KogCEE7OFxjqtVZVnLCmVjHFfLhOvV6bxnovCtVpl6n8nOwX1PuY2JSGF2PWnjVudwrG2XT6m/
jdmHWr04003RPyNWaak/O6EAjRl7hwfPHJrdxAvfBsjomfdacD7dxXgAG9JnWCI/3KR5m22QJEqu
+mlLSQTqfwKyEoMh0wGMxnHcaA+Bu0svB8ZxkJnGXEg3XEnQDiP8mpUmDgOGl6nrkN4tgsJSgywS
jZCve9zLDQGf26nAI9Oq5wEhlhb/NuXZ9Y5E3AGhE11ITr7Z1xQB4oUs9vgNQ6If8lNo3DWQhBBz
DJJNv+snlB1V/NWUbELBpSMjIQKHwSPFnh8z/TQrL3lRSHKHkKa+9f+Ur8Aejr1AewYTNUY/0fRa
IBKMa43MKZJ0dBcxQOXbbJm1zVCIyd2QgLx3UX4parRmhQkQdyAXhfdyMQ8ixV+SRjaXyHigG0lI
+JG9EoRpxWOySiWzCVmOuvZPA4j3tL3toiu79Ya2B+VbxZV4Vfq1i4aRkrWIwJG/Qn2J2nJFFTlZ
I1wTrvXtgP8SvO5n3b/Z0Dw0z8rFa2gbyyb4rAsSQQ2caTAcUcjr3fiUqOKW2IF++4p9sJXo6TrX
nvclJ66mMf8IBeWQ8rDzdPCmpXFrk7csJVzfkOu+o4QHAVRsJatxWtcGrnLF9wwm8mdgv1fhIQwP
Sf/nSq55H5i9rn9DgjbzVsK0vFAZx6CPhkokVwynOtm0uXm2K96eSCKi3owonMviJeVKmppvl92l
YA2U1mcm+VUw9JADy2lsFln0WpvEUKPzfQYtindHX+b5T6+TdigepnIbeFfjzlsaiImtaPItlkdv
YjbXYcKj7EYSWWgtteheEAJZh0SqXAndVIFM+CHRgXUvLjE/E4lYVqkvDFKuYk5BXEy9DyG0hESH
fMfmSsAEZFKfoQxOh99CVGuXBViO3cJOhy3u+RE7VrmRibKYLLhXFiE0zZBqJX5cELiMgNhvy9vV
7b+4Q68CJWWkLpBTsWeBWYeagXIeKMG7dCi6SQRaiqREMr2zEvyvYu+IGK0fcSnFWXH/xfkdfUBk
8q8JY0n7PWVqq3CMyIk4j0gTO3H0dCSP6dsoD8JEtr/rGWyyuF3nTrs2CDRikiKBkdEzFMNKJJ+T
BYVQfBQ9AVM/PWdUSdZDMzgs639ufnMI5iQAasiw21oOGmanp+IlW8rG8APvTxB/HTmkRXT7lFg8
5WASAWJfyA3TQCGilFTXv1h06zm4k0Q53+aVz+2Jve/QNWKHf6ZrzSOQeFxUmKoQEfPt6MpfYh1R
9cfaXs+edQGpwvMjraMD4lNiNKxg9FyGyFpdRrwTKo5KLaqvibZh4SKGDl2T5ANS3FWYi1UVQGqM
b1K+hQJHfe2X+kelf+f4ZsdRrhuJ8AUTuiXfOlQJGiBOMHrL0tuJ9B1TAPqCW+mgm54tqsF3pgAT
0B8H0rabYUjDfK8KpGT1nzCVbWf9q6rZGbLqLcQGwmBf+nb4GU14tOxbItvJSiBHHsnuP47OY7lx
ZAuiX4QIeKC2oheNaCSR6g1CFih4WzBfPwezmPdiYrrVagrmVt7MkzUpW/81zE1GTHZi1XfTSOxQ
x6q6t9WI627TibtgIzWl8G3K+xR4bIz/nPJWdmAm3C0Jcqu8VOqM27npt1oYLWB8FtUqzVs+Mhlz
jaxkvFM4IDt7N+EU8P1LaT1XQE8mFthhsPXUI1WixDFgPvtJvC2tej3IZk8R1KKwoJGldw94ySjU
1WmLo2ZihrNGKnCtc98Dx9XfIsf47fnHsr6zpiNFhlVKO9DN8z4MAT+FuvWWKkoCpt/2J5umS+Na
f24xv7IT3kh5vGG19hm7HaeAnFU6ZhsZal8+J6gpHu9VLF7NjNUjFAzXSl5sNz0IKa8IddziLPwp
hEfJY2/XcOyYe1+ZP3TkYgt7F9p0T3g0xGRIewWe6OizwEgzOgUgoY41qrtu+/Z57MS7PQ/W+CyJ
QDCVpt3HmJ21/jo1bL1SmOQ+O7S+RRe01xSK/b+jdafP3Pf3fdktTFBSzaS+axVv4rEzl5n+o6ub
zwPEJ2TKSsCJdtaQ/HGRQBAqcDfmWro3Y/liOOFf5ZAVgSBa8zpqIgKKo7NT5vzOCDZzTsJqwk/J
yZsm3r2wMD3jEUw0wOOphcpsQ2aDcBGyodGcemnq/GHYYf5PHaEzOVBHQfD07gTEJdr6LCFLizS2
/irDEhlSZdeJPQ/PpJWCCC0SuAp9fdL5W7cdDsj8pmFnJGKzKJpykVsYEl12lzWrWNWyDcEUgbZA
vQhnMmGFW2WDwPFaMnZQpi/U15wdyJ986zuhi2NkVauIN1g0TowKEKnZjiuv3PtzvG/eAto1S+TS
WhlEZSv2MhNeuyj456J2evOOnYt30eiKEEfNGNq09lvrdjZZmYo32qU1y68u1T+7IpkRgz9qap4a
Gaxs3dKekqJ7pC6riyxkqjG8VV6fExRnC/dFjjfYdX4GcvdcrORb5WJw/jAdsLmYVys469i2MhDw
gUJB5cMZeFq3hs+m8+zhqfYAIuEic3TqckO0jem38ON1aYx3k5xHpbONdvNl403XKatfXE3gzwj/
bD14H+dXt18uDWh/QroXJ5gAR8QcrPWFHV4GHvZVckOVYM0h1v2s48XFWjLiOJCMk3o8NFbxp03d
u5ZHKzDdON0EE7B4kEXCDo3HpXX6lXI0KNwuR8rq2WLK1PppbeN3cMAxIxXFz7o3foQquhGo/sok
Grfr9bAEWXOhCG+DcNyZgFfSCL9rwsk6TxMe7MMmDfNlirfCLNh61opsshfzIPEjUAU4Bllson+a
/jYcgJBWfXANInwxBHysCLkrL20W36LbZHpyAHDoEJbAkFAQs/eHdNkmONb18p8O6HHtSe9cAHIq
/BC9n1BZEWxcgIwd6nkLPylFJFx3Fhs7x7PeQhbVCWr9gL8ySzjsN1b+JW1SI5xmtQGX4QhRVCj3
pQ9xsJKijzGH9zZML1CAjU+DRFydWp3cp/3uj/eay6JjcZ9g9pUGxGS7QXmJPafidOtcIn3tJwwG
vbIZj1zkG9/ivNuVf1o2/bY8nFMdxXyCgNVXG7YGmHoYxWM5rRRg+5BBO+LlHA7d0p0MFjhMFfW5
1HYOsPun/33tXMrdDlzeUgY7UslsQt354RJunY4jYcCjGOHX2YRmtmL7P4ojIjyLmucoPUs5YgC6
FR4O53FlWcmTZP3HVS1HdYqHZT80W83xVq4iYyM/XaDRlr0V7RHjLfLh0uPl3+ryaBoc+iKd/UNU
3sM2P7XgYGSpf8ohXQiADinh8Yyzp2zGLQetmxc676aH9Ra/utbGPD+OVfgSEAf2qdU2+63nGAS8
GwIzE4t1zfvyHG7dyWUBg7SsrI0SWyfHtcY/2ux4qLziDdg3XezzC/hPzyd8CuZzHThcazHxi6wq
nvOxpumIz5dZDQQLxKB1XYFwzWuPMLXebkSV9MAh+mM5fxw3F5Da/FccX0cHQydmzSRIN4FRboQk
pt95uOYPEsKCg4ClZwQTOKTnuvmv7WuOIznYrbbFMCcCuXR1J1wGsK3QHDvoFYQAszzaRXN3Q4cd
ymGxpIprITi/WdziBhqaxZYm7DFew3Fulh7mG44Rq9T/sQPsYAFIZ6igOSYq1iWua+xVQYw8+XKN
Xd47y9lcyRGb4xQ5ie6eOz+yf67LaDkLsnPCrXz4Ml9MNqKIbRw76eIBMuXs/EMyXGryYs60cyP7
9a1m2SGAVZscXkPYnX1P2xojKBbs11sWMyGBSTvD82Gi9N6y5JIApMuG78qJnrXh3BXlV2YPl6D3
2AEc8gJ3fr8yW45WKAMB02jW44XjazsdW8svjbV+P7arrEnXbtkfejPeDQbhriyHyBk6zEARwYxp
5UG00fRVKqCA7shbGu0WCVSnvlQwou5yvBezCUUrpw60tQlu7ZCNxVJnOdpqZzWZG2tyVgVhGmsi
hFhCNIVUgM+QPSJyhRE+F5a16e1xPYJ3YNTKAkH28T0iWO4W5zwkorHNlPZcVtbXUIVru09WiSIL
4xdEOfHHVDymp2TBkFlFI85SZyE8JgPiAU0VHHqidA6IZdpBFqk3bEyFU71/bTnqt/MNIAFPQBDp
mTkJjw3QyfzidcrAUCvzYKvfbGK35b/zxJN2elOzaZ+MXKfzFpaNv05cnNjmxQhZGEE5G+AQmgGq
+aocn4sM2cE31pVTrSYTTuhEwhbToCQxF/x1zAVa43OF1YS+uictcJYCno8D4MRj8ZkzsvOA8DES
BgsF34avH0MoohG6qMne3ZU5PjmefygrOqKz8M0QeJrre4QzYQq+iu4fq7om2EfmY/Y9CtRRYlgs
HJCZevBc4ZctdG0x2Iz+sc1v24kGqwRqFDyRvQk1sXVuHdSw3Ln4cqGj6s4soRgl0kOgXXUZBwMN
DOgKIlcxDBj4bVxR9t7xscxsMeSb4sQ7HJ8kYaO4PPWSB1OEu6ZJVyK8VxzpvegSsfRtGTGJyFOb
Rt5+uPu9vFSY12eOpJGLRQA+DCQZBuGFQyYj7Pa1AUaT+yNiR0M6w1hr7hFwfVvtY/5dk7vB20XO
nRETdnc5wgqCb2XCsTGOdXcmqR8aGPvMnXJZlIMTBcYTu3MM/bPq/G2RfeVsf+hc4Ur5COpthhl4
WkYklFx+EgZOHffJgl7RNPUSWdlBYAIxRtxi4VpMY1HLwRpvFnwaUsyHzgt/oqJ98k256mE2S8/Z
RkS2ez/fQTb0u7WtV2s59FyQb1jMXRhRDU5Uu35MJeHFj0nbp315LqyDHp+08e6a5SoCQ8CyoLa5
DOnng9BFpLdCQhRRvyg4ghjFR+2Z70Xs0BhIcDWxwtmdwjmeacoANFAYa5dlSyXos+jxMeN4qqxp
25Tet6ERA8Aia1XLUdsb7r6Im5UqTzVyBoARgLrOoL9hdeCJbi3FPAFaK1DbezLXa2brjQTXZRjp
3lPmKgkTbs4I1o7iUCcmhMHER0IfaXGy+0sW4MWymMSk/9UWUJfKJN0m9k4FJ+AtC2V+jj47KJyC
r5otpk3sbvpWQ6/1n4N+xPFmv7FQWCm8Bj7zFPUkNiCgJkYk0f5pEwBUea+wGsasw235z+FUuknH
fM+Wam+xnXgubLUI2CaUhvGSd9rBNUo8O0SQXHkaQSnHCNtZyRG8+ok56URstwIXqo8xvLZkjm1D
Mo4Gp4E2HDTNEDkex9VUnx3jtXG702A92t66RUl4aER8L8MjJe4LaNEo1ZLxmIdNB9mT16T/ZRVz
GE99WTnmCH1FcNNQMHL4cOuwelKdvUj5it5U7UNudqSjfV2bXya5l7yfdjp/cFJc40T8GxEvX11w
UUWVsZePsJK3+8ytLhbcmTQ/NLjWUjtfTVF48wPcNWAt1zl0Ge9sWbTbyGjVUxhjoIw8uzq3Zog/
dlPb1XxddfAlzGgXt/Ga5fOtDBMCFKPNXlvAwOrSdh9grN0OEf45i0oETojm+OsHfr7U0/xvnIEy
riBNMAjOD5TG/LWmYJlUcwJbWubo/OolrhItlIhNg9IQDikcEQe9J/OU02J/zub/iWyT9gO7w0mV
Soyq7Le/HJudpJ224i1tg/A9L2J9jgUhpvC02bG+iNdSx4FeTeQC9dHh7i9l946r0cCKLsAn4mWr
CnuNoxZdVK+t3YTn2YOS1LYXAYyqye9ZbEEzgNbt/hvlB31DT65P8yJ7wVmDRyJJC2xV/CQTW61q
0gFJeezTXTttw1ruIhTrZIMmRTXpk+4Py5ooRTGNB4XHwA9DVqoANpFGkx6BvdWmpaz8xQQCTLrg
JYeBJ0W99w1j5zEAaV55KF0ICJFkde9zvG4Tk7HIixde6K97RMXMML4rFuMLK2O8DuPq5ljjS4S2
EXneNeGkJ9P+XHLXjjQDRXq2zDIeh3TUpNyvY0DiljqhCoe5cPZGAJ0z2gjaHOzmYUNT8cDCGbq+
DGIcNPxQLXbgBgHSKol+6woN2JxWMd6zsi93owTobjRgiSXH8E933o7gxjSJz0LwI/nE/Melxryi
PlQPxDjBzza8Vra3G+1Hwtoytq/alJyCjDeSb6JRzpmLfEnsnd5GcEFYtDmueSzwYh+3A/MUmL8B
haN8dWYA0AQdmuYhE6UqAOQXi0cRuZ8BB8eBeoVlUxCsMLE+DdVVGPZLWAF34/cVIvmSfF/TwAGC
JSd2cA/fmbGp0kelyFPshactLT/cR8QVOhGeNHtaZMY/tzkn2XWGQKgR14JM1w5cgDR/cZkFktrY
KO1Xqb/AZL/VX8jBM0zpz8AIkpuwJgSq7NGCGhnF7IVVgFWJoA8emY5Zex1+OYxEPmkp1WAIK3h9
KqyJYcmOjytq7UpskQYVSmNwkbW+VEW4SFx5xH5AzDgTW/YjCASe9y4DUvJlQX4DGlSFHUqbcXM6
U3BozwnVTRiiEld5RrOVMoFMIXp2Zb4fBkKmFvg0UeyVUa6sEP6Lzc8E13O3cdiTp0et/IkU3z2K
cVwETzXi3KJB/87z7FS6Zr+AqJAFpwLD/bC3h4PSKYAA/xeTmJ2UIsL8GdPN4Rn9Rrd+G8BbKFsY
o/AGqX0HLiWYF0B4tTgf1RzmrKw5jpO5HavmeUYfcHBF2GVrUXOyjuHM2DU5sfxQxdXGMOnFO5t8
+Sj9a1AYkRO9lGFx2OouO76eK7QM7mZzNeJ3R6fLA6d4JX8H+abXZFK0ZZ2PWBLHVcDqQLAYSF/1
gaoMiVm2eKmmh2TiBpwDo2CLOriywD2lv1ry2wfkqetofENGgCHRzOQf2i3krU1DIh9UNJBprxLF
6f2zDHng8CtqUAi1Ue5tWSwbhVHg2o3XLtqU5jaosb6/xQaNdqup5bWSkiCDGui95vI9huZlkTQV
8IaGKqIR4d3zf+ZVO0vNNrzUPv89O7fue+E12TI06qe6+9axhAURGeic0gScTUptc+eQoqfqXEZt
je71VkVvgqKSlpydC3e3Vnh1KmIVNbAztl0kccOSXaSaqaq28aOcflOrhReUb8OsTDuXRl57SR7Q
QJh1ND5DxbiqQdDwOfIosffDV91i8wpGmfWjaN1dNZrrdNTkysvsL6+OPySbj6bQf7McbQIhWXNS
ygij26TH49IO2fcw8bv+B4Do7TiRDPcRfcdx6fHcHZKIV+vGHiF6Aeg3LJL6Bg9B0DcFcfGC0WTw
3EU7T4KcuZng9nYy0oWQbuEZbhN/PpgKDBGopgWXOMJYUQVv6dzI68ftXUrgD3w4gMU7m5UTGUSe
PcS/zX014/aMa+ufOp1JWLXJpoY2oUPUgKSZocdQwgGgsliHzN/2sW1Pig3HxEamxc5kw8585s1M
JO8gwYfb91SBlde2Ql4TdRwJgs31PEpqC+oTXpxWe3Fltrf5mnr+VeUUr8ArxLKGpikvHhBLKf8m
VuqeHyxrskAuYAebUD/+167PcGYgAw7Gjk/3yQEtLLwMOx2zLncXW5Ra5BiuQsKFGjoIAGM3UFvR
bExmGwcnuZKvDbvQWntw0ISRg5e9dOCzBwAL/6riV++oKGyeZYz7zTbPHWSNQvsKZYb4meabKk+f
NWR03lxrgpw4P/5oAyWKxbHJ0aGcPEysF1N0axBRQyxiBB22SYk9a3zT2KwmPcsBkw2PZoNNf5+6
c4tdTtBCUsJ/PsqA/U+puMa8larBdht/NjdBCH4kaXZjxgl+SpfZBNLHee3wNCWsLY32ovlIpYwT
+jhikf6M2jcc5E82FXCV/Zt6DMtzas78ETp6W3jRsUK4x7HwmI3dTVmMb8KlndDMseiFGOwjdDus
VxC9ueMMgGeaaAE9ymfD6r6HySp5S1JWg4ib1i8BaH1/JZjma0Tpqsr5W+DUK7FIpsky4h2huPAi
TCoNtpYm/mynr3749tjo5ICTXUmZDYkjx9roYbAs5o6o4WDQgWiO+8buFw1sYN+rzkHWfAZkcQys
dQEEvHmFpKcvJhJPE/2ZzmMSRKcPlUsrJkYnLZ4+U7DSPpMvb2HPpWRTVZySAHghw6qhoOupPFet
e8xDc1d3ZNxIFHR5TixAbdkCbaf2Pa0eZHsFm6pwP8WkUwihCiwHwaqpjw4D6Nhi8W6bhxGkB+iZ
yDM/iWUdrTR9C7VprVnGS0lcZwjzlexAIdKWoaPdkjta+41Y44jaEO5hTZUtTCzPuX5063vMKNNV
r2l1dxoGlHmQAAgXxfYmcNSz48z12j2g2GmdlAJnWYZVpdwSxIRWVvL8Ps3IqRzVdd6wtnzbiXlU
vb6JkMCtEFVLqtfGcZFneTda3rMgvtaKT70dyanogLSiRScJEEFQyshtJkmG4OK8WwVGDcO994gD
9QAel0T7+FpnGye6DUm4VjVbdbe46RaZOeNl3jnn8c4H76Kd5Gy7GNVZk9+58YYwzjvYv3fUEcYM
q2Gur5X6TBGoo7xHVkj2fuIfc+UdLE41EsXZ4Rrpg3ap0f3mQULQ4q8KSwKEs42Hd7KJ7ub00eGt
LQhlAqbfFXIVMx1q0anvDEgP1k7a3g8ZAXAr06Im4RM7zWUwKS/IzK0ziYVXH2IujdHmAcyeJRtX
MJxaL11E4XslAQxp4KTIsU8hwh7uoV7SIjuHYRA8p5/MvHh0L009oixRqUXHS0Qjg9CCgecNbhLE
TPw/kIYIErxw6uaswTLKg68gerW7eFFjQxbup8/WxlL8vuzbKgxafX6RCkmUQqywbCQTnaer0/8z
YCGE6XgggPSEAxeLgOTt454yxVOIWYSq62Ua0GRQw3J+dLjlBzSzIuP8WUGUKvydLbpDn865sZwK
PP0F9NNaYpYOQ0Rrwqsa5/gcTLM7RfAFRf8ScYZNtXNnQjoBB812Kq5/InmvYQp43BWGxmIlgYzK
fwhRqvGpsA0CBE5MkPUIHbmrQXBN9pgByYUairoJtgn00FSNA6bNephhky/8OY1NAho5CgCa6COW
xvajksVZI2OPus66mAG4OBUINs7wmZF9y6aXDJGWcJrU32mJZbh9K9XDlu1mjCE2YFOuweJUgb4f
Zxy0E1+akDg3S5Cyax/AnnzhLwNOlY1GoQCQII8tkU0XQPNPjWvqWIkxY4TIf/SULSf2yzkm4MS/
Fdh/f7C2UaZgvKXf0xy3n432nF+WMzAGs0CtPrvqO2x+BawYiQruBt1DeQnP1kCsC0yUVRJQUfA5
mfeZUA2y0y6X6AO/iWs9t+Y21hn+cSsMriKZFh/FhNqfOVeq4jdzPD/zSZxE1r0OKg4M/sqIZt8M
rPrJo2GCDGp+nRx4xlP7G3Eb5mA+a04i6Z9M3kfKx0LM+35zMXTyVxtPHq0Szcl85MZeQtny/L8O
Hs/ELGW34W42AoZnLQgWUUXBxSCXujvu3eqvk8ZLO0X4YwPGMiW37XyxNF+pWNN7mYyzb8om1DdS
QnckxtCjvqrsJlh5qHZe0UKH6rFBOcHVa/Ozsg2O/9O6IXUaAjzuyGu1DaJgrNrVwEvWmc0oEa4A
eJ949Euxi7uvMvKXCtHSH/ultH57AuG5/zKNV1W+1AaicEyYENmYVfY6yo4KcrfJgrelza5JvpRx
TZtzhDcd/DVJ4pZmo0GtvWo4RPr3aBOu1U+WcRx9gZvBRBjzn4J41gazj3hCP8/0gwnCARz15DKi
+yxA8VcRb28t5jMNeeZMqsyhb6VENimMt8b+ceB9GlygqUbU4WH5A1FjbvMyfm2wnA19Bh1rONQh
fbCc11NS7ZgIzhb+MkXMO5vNerKHsYvzHpB4Z2B33tZUC+OptNotk1KtfbgBZaW4Zcf2ZNTJIsKB
nFSMGDbZomC41QQ6JlKZqqCKmHd+y6Gu5+c9IkQnLnNW+C+1fn3mhTr4VuKlSuNV6XGEZpLFv7Fw
7LXmXwwGY8emuBi2TTsH/LJ2qzNkzXg0IiKVC8Dv7Oef7Wgui4EQ3muo/9Es0Gi4HCWNxQXsnZ/c
OkecISIXPMMLhmO8W+QFo/oN9sK2Ue17GK+EiflV3vPkVNofM7Jd43pO1Ucya65UujTJuz4dCmzl
dDU8lbP/iLQe5+ymuLuU+rq/JgL9APHAae+VZFGrbtnAgiB8tJZYGa0H3BqqUfqXJuZzJdCe8E62
aQOP7GV2YTQtmxO4Q93Y08qH68Dg2U/5GYjVwKEALTrjOqOIjDNQk6x7CLpjts+G6DlkfZXWPymn
jZwQ560AbJInw6pNrBU1DDzqMGCMm6alew17UAWKx9BffDtZmqY4+73+nMQkknH7OnicA/yW5bzb
1uKtDdckau9WCobESPkOjS2gffYbpCYbyGDzh4BIXqPYpsVai+pfm6EdAqcdRicqFILhNU+Og5uu
denvnNDAkQ7uAROfmWNKJJQaagK3E06X2OH8amwH6KCzBZuZM58IE+XrHpkF9Mg8QNa8g6bUe8IO
uvCNVxUQEtRBWrCFTatbgWucSoaDgR1K97HfMPoEbfyUwhTJXzpW727nLOvGXnblA/w+drfnsL0G
U72pmWQjZBj3XdUHR1/mfEVBmQiExsCFi189BsWHe83KV1vmq8rf9gK53mwOhW5uUhc46PTPjkny
Y9u03LNenNqUA2/HD/aIIyNRPDhjkH+I6CgfTw5tyUVN8SJwy8EKnik1WY0jfH37reTh50XxrQy0
zei0yG7dtqMvog+IAkWvSc6mjzISrfkdcduW5Hv9+hDa8QUfOmWeiNbYDgrJy9pUa+Tgp4iPcowU
lyn6nX10JywzDI7tkFPuMifBh43Hq8jWXgeQbZGLFXLe2bTZEt6YgepaCBoPQUNoE1Ew2gqm3wS5
uzQ4xFg/lAfhuL9o/0OyQa7IAqnbIR3b8wD96sgHR6jLbasgEu9i7+CPJx5Img3+syvLbVkFW6ua
SHPjBuKPtLSz2dGoLJ4thS0R/4sQ+os7wHGnSi1zUrJ29sIy/3U9xFFcoExGy1hhTjbIj3OWlwNz
gziZ83gxIw3Uhyu+DOtmNmQK+2Sh6181eKeYjhcUccGJWnUjkeOSwMNnXEDiZB2TE7srnY88/wzx
86QFzZZtcyqFfJFmvokz4jTSWo6M0TqxbvUz9WyfEGMG542gzzDyodcJedtHNf5MNogEMlTl2QrZ
LCHhmPjkY4jeFpbluMm2tXcCwdhM19JXq7Gun73x1eh2ccR5A9+R5uA9overBIwS0OXt2ZepY5dN
shgjwlWrw2XF9nlygrVruS9+rnNh89ePR5IEOPLNsw31Lo+oHezPofav0i5DvS3GH8HKdMyoOzxr
yYW1DG5cwkG8UATcMg1bbARb2HS2ec+HZH8ICNfc+2JIryZdsT6kIXod0Lwms31WnOjt8qqPpxo0
I/kO6kW3DSODDM5d1S6Ffk0xwHY8fcx1xbtQg2vYNOhXprtMUpgoSU47GVs1+q6yytoKNBA1hoeM
Z32F3dWP/yT8rJQ3nA3wauoM7Dy4YZ2H250b99zY7cbyMYYJseTbfO74RS16SIx+2LGH7N38VPlk
+Pu74mVVVDQsUlxEyjTAZ94OFj5N7YlI3Jao2d0mFVwMNTa3Fw6tTyFlOj1UwNi6mrXD+e2QIVJp
5I5R05+soCJuFi4sH3pcew+sd9+f0d2CFBuBA/PNn2E35IspezRRqqPCeTKQAEPeshE3aJddm/Fa
hxdW/Rue209ZKyGfaHuzBc7ce8+WfkkMHo+0HJqUEtXjTy7BJkOasMS3H9xtJDvq7roamzeofG2i
+8R8DZT/qJU8uGz9G53WvrlK3P8mj5hBp8qs5skWa1/bmKWCiVeCZn902Dn75CMerJU/wwpCUm4c
wUM4Tr4qlzV6YWz9qukxUzk7aHzG1so+E7/biQEDHt0I+G96XLdl/dmNNxVZu6xmm1iNmwxRWudv
yTcRwgBVih4cxARE2fIyv2C9t06/sdOywJ2nIRrmDPTkoFCRpEKre+pFd03bRyy9lcXt3vS3Mree
TMD1kok98X7cruEXUl3GSzgfH120NSQMjJS8JyESH2zbMbcwosbXjA5M3ppuuAv64lgjujgObHys
hAK7Uh1ZKAPpQjf/JvVPQAbuh78Eu66LPBBjXRpkfayiejOPEZ3lPVlMGgloM3t8D/2PsnnEJl7i
ezt7APoa67KxJJG6KrkIQ/8EFnmhaH8VLN4Ds11GmKRdXlRQrfL4225tmpTZHiZ8uNPNFXvZkQvm
E7SPYfgVyW98b1b0z9JvJf6PAjVnKr+V9jKlRwNfkNA+C+ds6R+xeRT9IW+Bh6baCyht5ri3ijMy
VcBAhfkixdEkmp3Hz2jm2PAY09OD62Ey2OnezYlQY0zs1+W/Hp3JhHzHNppA8nsktybiUlnUay/+
l+D46VwDj8eBRRkhQ21TRTMNuyGe9WyLbyX/Ycq6lTggR7wBJv5Mx6eJQl3pm9mpfhd6X8AjaX+a
kXK7mp9nzuzbM0tGhDs6jxrwki7e6F8hZ5f2fYYtlNrZh7pKO3OQQChHKhP9JWx/FJpGitG4YC6m
/Y+Yq2EDTQEpLXEW1QmI4W9TfcbqnPZiKx3ucQO4PXCkHHsqoI6GOkgCCmI1Q3Oz7q5N+GeYIELi
AON41mnAjvlNgm9QZ2HAKEjFJeAvTO0mR6z6GDgEwZEKnCJYO80VDJcPh1xBL02jo2g3RqLvbI7C
OVpPrfWUvKwyAg0YXGB3h79t+c0Z44nHbi8+hbXO7Re9+HAAgwmsIL4GgpnH88gXmPRXVwvu1A7F
JQMXVBQdu/bN87yDZNNpaps+/Jq7mUK6vPT+X57aS9LDT0Z5g9MoW0Ky9rCLq0NHSXhNGRwjjOw1
nBbFskaJiLvLkO3gwuUS6hOZtdR+EAv18IyV/bFnBeM5OTTxfZneuslcytxYsrzY0L+uUJ47J1s6
VblRcbuNMwDG/lvH4zVKbkPxFfEDq6bvKt520VecoJizRfTEqlEnAhe0x0ebPNuqOIXBRLKd5zjJ
JkKaWq0/IW+m5ovPpquriUo91/NVwYG/RMI3G/IQw9ij7wMNtQ33eZzsR0ZVr9nafw095g7nmVDr
3ttSMZW5pwDpo5LfFkdVEECfsARAynjPLd53i5N8Qqre5U6n/Kqi6DQByn2JOIMUszAKYj332beE
hFEulHnRcWAv7CacJQ8cXjixLbUrMQFFJpE+hgMVjOsixnPAMG1Z9IpxxUXqCkUbDrbjrVGrevMl
yF6NBoPTVbT+kk0jr6E9KLuhwVxTvdXtrAXJhZGcJZfogAddZDzvcACQUQDErWHT864ugoGVJ++5
LY2lsuxPH9lEH1nne0jBNQ2IaQwuY+vRY8OeW8v9h9n2y5pEjI9grDs1KV2P3GJCFFO9Bs74nbsS
/o3LQSnBB4Gg497GeY3l/iWcPoZOW7C4Xw79vy7i2Zka14T/l4ax9oCceM2utZylrO+Fij96UYKE
7l+cUDsXHIm4P1Kd/A0QG9I5/W6I56MtgSGijC2vF4bTZkKng5mHvy8991qwIDJo8fcNkMBCCDJd
+BYTvc0m42LE7Aq7gRRAf1RGsK+9AevZ3I4CtwQFyQ9One3d+qj5nmCl2Lz91QRC0sQy0weHLtHX
yLd7k0UqEGzMies2vlv616C+huCuhR+VftbQ27WgO2rNG5/s1jKZ1PD1yWGnqlfl6AvL4ZSJp8H1
FiFHKh5VkPtiQiDj1+gO3wMGQQVM3RXFwRU0SoAf0uvhdwyns3Je/fiuQUeY/EMf5Sjqu0GYWBP6
izZ470oALvNvBkJgOlJQ3qE6cqWIjymEiIjRwUtv40CsNj7UGj6iCLAZzumugUq3qaff0FiKYRuS
jKbKwJHGyk151hPmncjtsHwqf1WwJ4Zb8CpXCPlxAWiE+q0VwYdFaJO35JkbiJZVwsFhT0cOPQSW
zqJb00kP8scISvtYgvIgK3Fjs/PYGBNPl3rfiVXFq50u+Kc+S+EvWI9c4k3ve+PHxoOcdTMDrvdP
pmMiYucLPTu1nHdylz0T394c7CijXaaDSzNIsIyP0cEkWELxvGV8HujVyzi64gNajaSHSxS9wX8E
jrGKcHd7Pu+p5mTSSNEpD84GgYn60ZTHOneW9A6ODs92GwFtaN9aPyV0Z+JtuBLo2NWYNSMOFxPH
mSy7FMmbVj9KxvhqPm+Nu9K4j/9xdB7bjSNZEP0inAOfwJbei04ipQ2OKJXgvc+v74tezExPT09V
SSKQL+NF3EiHRWJWGyxhK72kWEFyN68smCjsZine1Q5qfW0l26HcQeMetpB0Q7VmYgMMFDV7zD8b
BSwHRIb+5fT4GTwglvhsilvnfPStzvrGfKXykkMci1AJvFpd+miKCi4dYPZp/Nnb9KEwjyJaCXVv
cIxSuDejVPIYI8FM4ofbV6usMg8e2QpaWpToFhTYveKlwfxAzszVSK3yim/ln8OBYHBNxMTM2n3d
kYTiJGTPV32OwGP0gOotwNbSROuHkbTE5C7Ic3L33nbZX919aw16AZRsBsenXeC4xHnbxkBCJz+Z
MUt4PKKerfGqVL97qD6hqeKwgEhBMFHUwS5GKcZbyx3wJgnpdvlUK+FS/Ih2AH2RRGRHkH5Qwcdj
pBm7YZcCi3JLqOxRgUD+1fpssrp8j9+bjmsby4axFsm/wSTJy+ZTc3FkJ1QrK0sF2NOo/CUCjoKx
dlCb7Aw87d4a+TZhgbUbdoYI5NEeVZrbCbLWZhiRigagQ8ZLDYZNhXXd4prO1wYqq0O7R8fU2Cpg
9V/qfXwa9f+f8tiqNmNWXfI8PpU9UQyekB7FfijqbU2wLnvmotr0qQKr7BWkj6p9ejmtZSMWWWpU
2KL/+hES49REVV4SnCh2BgruQwv2LBGFe6chLIl3lFxAtjcWHZu8kR19UuDvpT0wuNg6tYykgN3E
uUcCc2laSGg+BTl5scv47yNcS0V0q8AFxuAAG33He6ao21hmF4unL3MfSk3pfUMS1u83dA7Q/RSi
spI16QXVBeVB00AVTkNKyKmlJpL6r1UQdAsLyaBlz1RGW9U/hRHa0DbVMexhIiY1oBsFdbl827q9
qlxV/564/yZYMFP60mYjFkTpoq+LdVVmLxu/Z+t+GhAHbGJJdv9WgK1U/HfX/FVbF8ZIy9Xz0ZnE
Y+UqUGlw8SOgJO6FrUAbR5esRhzV3G1NkCfSLqV+NhBGPP/MDXPOuMjHBfJIpt6oLjpEyMVqwiJC
HFLjGz9xPT4gK+KPuaL6g0iaHo4jV15EJCy7EXdBvEIj0nDjXpzipuPctH8SRr1O/9SrZNnYGlTc
S8t1vehxDd5NRgoDhI2l/FQ947WlLs36pdlMgVuv/Mg77rg8l5iuQ+Ovif9pAkO98hDxMeGvbPlv
xEeiNzcHvhxtw3EMpB/Kg3gmUAk81E0P8nArf3wuS3qPDk7Vrbzo7mf1P0KjXEZkcnSXrg/GfGLG
fLrSrW8yYVe4Vjm7XY8MU3mw0C9yi+o9ebCBrpr4Xzv6xIKdlX1UzaZCpW9HPLacLlzgQtPhJ0do
0GLV8CkcrLtkQW0kJhpgEh01osJTWx5LwbNus6BH+c7F3AC/oSXvwjkmw0rius7wWNq8B/jzpOm2
tyfryMpCv1ZZv7QPkVNsYM88mjxbmGAJgCw13AeE9UKyg+Vnrr/XQQNFWadamEPA/aM2IUySpRNd
2uxoSXqnXj1zomV8y3ET4WKhcKNtt30FHZmzs3v2GQNb9J4SuR5bizsg47RBUzy1FXSPdMWRC1fC
t67DPV1Y90j5TYM3nSOjtl2C11+Kli7t4EebrGF8R0fnn6JQUhGcAuI10uGKjbeXxToJghrWFB8e
FXY6lb12cHWie0yNbz1Ab5WLXmOGCbm/PUePhPUhbo8y3/vsMGrvVaKoWqlKRK2GUXTLym3Z7mue
Bx1JOdh0BRvucjPd6zUCUtNm0TZpg2d4676pKJ416qURXwMgTSH+bDQ6By3Ptr7TlIM8B+DhLKZd
YKSc6pKWpvYeUGGh9MVqkBqr6OmUSY+D9tcJd9FoXAnsfO3FTwUzeG+eKiLeI9Nwm7zrKbBSZD9u
9kXcLWP+vDFMNKNAThlZVBC2TIJxBTw6hCDrMGI2EBVj2o39u+eRa6ZH7a+Nn475B95gqBncWw2z
CiwiFhVYyit9m/c3+sZzaLREB1bCOw/E2Izk4fAV+GR+6+LkTVSUjCAvyWCbAVSw2ba/TM4nY3IS
eOhOxsRYiOdZhqnpU6v4HT+d/EdDOlF3fbG31R9XgV5MGkph1xAJFvgHD9lu8EB2BR9pKMmfIVgQ
mchQ5aZa156DyN25FgEBrk6wh2mMhkgywbe+A4t5ALavw9LSrV5DGvMCT7kUvWtVvjbE5OZ9NFwx
o5Shs/tKBfaRD36ojfguFRw2urrVx2RZ1VcusGqlUM+GSch5H7udz5cXMVg3OdhpXnY2xxQ+HX/8
pGtsg90Gj+SpJZ6tWtBXWX9JzmU9e0Tcj0rz3mufOncWX/7T3WfHziLYt+LIv+vuXTfWhbVQsFBF
cKBs+D5AQk1a3/OIhbdcq94jMW4xG7oQW42J5TnTPqDb+yylU5eLibkxQRVa7g9eXG7S9ob9BZYB
iC88mfR8NzMq6QlZgstbBIwzMfbA+Mvrnu6gYvapabLyl3YIFhqgVfLCcjhXFVi1wC5KTGxRwH7p
lBPTbcCuZaQ/Gm045iqmkfEZcuGwzRc3BRb7fETl3nM9goA0pTvHCsOZEf31fJ4oGYny6uCYmwpB
ZGzxv4bbMH2vs4nfD0jEk4uS3gtJqrOxS9LDsHV9msyiQzSYHx7vpSjD+M8yzMlIVz4r/2V3f2U4
rIviUpeSbJyHpODtStogI84jnRdn/MjAAAxknKfxSJhMAdHdB/tZhg/eOimTW8jtEiHCpe/XwiVJ
83aTvlAQ56nKgIPGn/7RbTkm+hSFX1U2xlp3ZwXI9bbAPYRtAlRCE06XhbmnfIjy6PR306Tos/MX
ivXhpoBNPgInW1Jg/GNhiBky48Nt0CN88v3ETtusmokGCABIqhEOlGYJLPDjTEFnFyxpBzRzzQtI
TxSzQr1a5gVA39Ie9qlOdw4vqAiNpKX1xDkVOaFX69cwiDYJ0AlccsxjD7U7MzCEcJHcNPh1ShL6
zKSNBCBXfCnxy40qNIlgXydvdYoooFD/whSl73TvGjeHVuF2rM3JDi969ubRWxRfgxFk8QsTGrE3
Gnh4JRj1TbB874r3mtlNjZlr8JtYBrs87hPud1xRbI1BhDAYsTyeUoMHffL8YfRx1WBRAZDSy19z
OkSrbBM5Ns8RXCnzn21QLlqyZjKqmkpxOfMFrznLJSeBgQ5iXdN1a5IScyPhFPadgN31X5hc8rTY
q6lF15ncC6Y+hWwKrrqUc04qzVWlmTVlqRqjyNBvabhUcuGBhxHs86/B1T77EXCuRF0Fu2Ric6TV
10/nRn5I3Kchj1FD/Qq+bJ+AidEPuN4+mpYANS9n0ziYww5Dr0KIO9znNVXy3rrp24UwaGQPVkH1
FfWvWP+uso8GndZxIoQYSawbxyUQ49C6NrpgHFbnnbJqhk9/1GaYb9Hx1lTbhKQGLXUXoNrk3jEb
D5ABdO3T8GIMF3yj6kPN96vBL8uN2eXCdvX4kOjN0zfXCNUar6+aztoSazqjfoPPKKeqHn6zMTJr
8j0TXry28j2fcwXeSmJs8vyW6h82vpDwPHk8VZWpGU8YrgJ8AHnIYlwwu2AZokcTTAS2Y0onEHNt
k5CrWFqs7yIOhsZkFsGn5kx/SyMxB7UdDmXBLT1Ajoml+t477DZZ1/awFCIMKmOHqFa9xVglHH3H
NmBRxn/48X3KK7n2LbJmS7gGbIo2L4FpVDYSDP9TWt9Uo9mWVFsV+c7U3iOsguJAb7OabKCPFjlN
0eZfW5+U5BaJd491h9lQhQMqOU0ZJA3eijzVefekcJk/kVyAboNTvTeKfynSPB+N3v6J6l1DkCbc
qq66aKCv6BxbNXc7hrt63AXErxEP3XHXT8gCDq7UOFiM5mF8HeEFs72sx40rvlrtUvT/kImsbl+P
/7Ls7kUb4bMXHU9Cfw9gPxsrIGMzE7cUFX5kkgBH+NAE1VmuXrviV9OeFVH1hOtTrEDNwaBpTqgu
85ry8o93A5alFFhQiOHHAGbZ/8mCB0g4sxEHYYCvcWrdsdrLSHdam/x5HGfCO03A1+ou43e7XQXm
PfPe6+bom/eYijni/HCRpvGQYrxNptys6s1s2BjCaGMD0RAI6/m0O+ldWATvcWJPFkbcGXH5GSLh
t/HBS/6E9chztl+ssuC3e1rF2PdtwAbqtWNiHKeguK+9Ov+ZTM3dcMRY7jIVgBXO3XnCMa9oe0ds
RtKpkfxSAt5A03z0B8ujaN5M2c5ql94OxKU4e0o+WUAX6nqTmcPCLHcFfoWOzcfA0GuTCvCh6MSY
WQseySZgc+5eW4G1hXVsFHJYOWAQv/khioIbtsJSHcgYaYbsI7XXTXklfDLTjYE2RY1FlrIYu3+K
+PTVnDjpv0Se7PDDpkwk4ZasI8w9bPzQVs4DyEenRC9hY1gQC9SUZyBPJMTmHoFEG9T8iHVYslEz
kB4w9kUAf3ppbOz4m3VA4ZI/V96mqmoCWF4IbVpjt8JTA6CZ4vcKw5kmL2Y1kg750CcMhvloAu4Q
fPUGcwOa5QRmqMBf8WzUPWF4fniFi2cLvIqdQaqhmt44GT2ZPUp/ko4uNO4ggaEtc3XXIg1p6Lux
PTHV6cYJ2UaY6taRnCewy9FzVnikW+8OwsnCFJRzjfE0VJkzYqrLepc0D4ZVbrmGC++I0kL2yozp
AnAYJJ4K09Uh1IigK7S53Xy8ec2owCug6Rkgx8hY0xYj++ZdyfEGLH4+9q+AQvBRvqkkaLP2Xke/
QGe8EOtYCKUiAQSLilBbSNNb2xtxxrIfjQkavPE7B4Y6k/UXSiUxNQZs3D4JAKSJuZDw9zDKziD6
zTSHHlLMJJbc1/ys+f2iXD/G7K2T7Kqp0z4Sccw/lIP1EEGzk162TsSHiVreuD/juCGgZqpfkeZ9
GuhmZmPxQe5nmvHrON9eZ9I/xQUHv7DtukQ672m3bjFXxiW5ZU0HpMLA6ZobRzIOliTt3W+Jxzma
ckEaW+UReLBdXave3GOfX+TQW+up7AuUQIXAprmvqUykohuaY3VZ2/ZG87DDpfEqhlDvOp+odgvP
VTgcPQYwpEirmYwh/qwaS/q10KE/hHbE3Jcmh8yEzr+a2oWlwQ9JxIe8GddS5e+11aK0603HesJF
o/GyYmGi/+NYUnpo98kmDJlR7HQVqa+4fWVcDXNr72a7UVlG8XgoBQdXiWftXbQ4MNWLa2vEI2O0
/7Wu9aTO0j37KnxPmw5lTVedfVER9KZ+Lph25IvKUFcWoqNsggOGVvAyBuyj4Dj002lpuIcR10cp
KI7QeQmQ94mqfKE73bxu5aIOq0XHWD40jwoUUdsfGgTr8OgJE50qooOWxImxLBjFvOhT2p8htuOA
T0V/ztJ/Uv9VtWuQ0tixUnCOWph1O0R13MskDDGPl4jdHkZse+dQlFXXe1+nxAY9UOWd5O9Sf9uY
vzmA0yTi6mJ7V2nIczukLKCxuy8tPIy8qBX/u8yjjW1+8PhyYUmnS7mXM5jZTYSltZzZ6Md9IQGJ
hSsX52wxwekaJKihxA8yKnMnAHRlZhvcLzsReasWllpcYcjLL4NibZWa13CBm9XYKh7H0vAhqBHW
2u9i+DOiX73fV20/F0JdW6W/Dsy/HMu6BL/otH9RWpA/AMmOTtOb5wwHEwvYZ6w0jNTO3NDO7F/I
YrynLddVzifLeVjkBaJH14CuZJGVQ19zsy9dXdJjZOSciQpXbAxtTrkfnU9LhfSDLIpOHvkgXhVa
aUFO6VXKQo9e2FVkfcXw0RFtY4zLknhtop+KyQjGUJI4BwWiWXob5FMGnxpuYdtac//iNn23auzB
D0V75faT91cUHFxcYBRnyPzgcoPxbFaAUBkOdHgsAIyoxP6dCiDhmG9y8w9WOERuWKkpzXsKGCOu
bb6lH7hbkggNNlnJQ04jQHK16UWbKDyO3Beg4CyIhFhuITwlT+JeRziQxKMClqPA8vJ0k2GC6rlu
15RFVAbfHdhnKed/jGwSYMaIGLJ9fMOjEvD6e++0Hng9Cyaf5fLGc759pyIRcC2Qbt2PSfwJrHNF
rgP7kek5iyrlUYlBildXElQL8k0z0h0KKcVI4PAaBtqo8fvSfaMQdibtjrzG6qLSZqTFQU+zWScc
UJHyUUuHeinJQQay5CskQC01wgFoqmCNey74vnbWmvMwfA989RouOJcyM9yqcxu7ieOnR8UasAsF
K59exQTfgEPU1rEPhm5fAudLg2jJpuvUoQ5FfnqyXG5NuZWdQ6ugIZvWdUY64XCTzYA4OQFMcooH
+/JcBPYcM4/m3ciFqtaX0Hdy2HfWuSN2jkShncjb4nzaScYgMEXzrtfZPxL0h1ykJMtIvQz2EmRH
632p8tsi4Y05Zg25aZ1j8dOMflfjkBppIEpRPcqun4/xwc9x97JjaYxDrb5SUnj1tdfOnS5WpiUJ
l2t0kWfELKqllsHo9yZSBquiiOubqdJaOXZ7pWT1qP9zCGWVfIaJa69aRLGGElKdhSbukYUJeM10
XsGoLdkLrPzKfR8KY13iz9DZfWKXWKR41Ymg8eebi5iZ2/rmLF0XPFh+RewRP7RBPZi5CnK+5Q77
NwXNRix1tkIw92ueZclvQpmBXkI9r99NWqtsUNBw2i15HCL3TGcPJHvW/sZSjQje8FIo6FRKOW1h
Ooq0Yd3yFMO3SLxVB0NfHX8SwjiCvFDt6JThHTRQCZH32ac/Wg6DB/4dxkBuo5oo0OOsZWF+GDi2
Ff816DhEg/KmsAFP63BfsVdzLbnTwSyyqt0OObYR19xOyyx6wZjY2nmNLCr1bwU4HWdOb3/WnLVU
+gF9m+xfb3VHLBefNRFxFwyZycWnxaMTTDQSLYTyoq3iEkMAQ5QYfIQk3naNtSoB00vwRUFBqozo
aWCDWMG9ZsIXKQEC5PqC7a9DyVCXXEve9dOwHNi/tlrgWb3p1ZfFuVzTemmNvx5Vh+XwLkIX2Bgw
BaUnasNttj3Lmk8StRDqMD0aw95lFW4GOCsMqIES62J5n9hDlXEpMm+VclPVxc3R3amVepWqP2C3
5yrvXTfeEZyeYY+b4WK2OirFB4z9xb+g3ouRAhZ4cqHY5jQhGQzJI6hbdwBlXJ+j7MtsjYM9dQxS
ehT2mzY5BgrvUYcQ9yMKz4JrYZPCjOP21PyEdABwItALNZeWO+vbF163gajA2Pw5xnuLPUa695GI
SeyybIGWlufGUod5GyHiUK+xgD3DEj5NIdO9V3LvRE8PprG548UYlfuqPvIXcUArGa+ppV/RAI5E
TSeZxgwMD0rScZp7yKSWfAwawIHcXvrZ3cDIZbK21prfoMwWRkuETKH1EQChZBXhsj4NgDBzOR8H
fAPtV4O6zvhWZaSXwk1YEh77qcunjSyso7pbFVfWyTcyUvjxzw4rJkeaf8OT4j9bqlYTGg9tH6hO
V7FsQlvQ07UXDDsszZQW5CsXSErb/2ksLENEqLLH8DOIvVSGzZSrKxlh8L2i6918WAuCTmc40SQI
Iiyy5PjgFAj0EUhR64hNteQy6zA1Aq4czV0jJ/iVu9bscknHyxoAASZOqNXJh0Y/oLKKKbaP+S5z
E6gl/hMcjSpExCi9JMzWUczOCIhfgxXMkF/6MCDjT8CodOtwW41NPvbqp4ucOOhni3qqGldlCqcs
gYOp4sfnH8LZtg+8fAG5mXpqolFauXEK7kOhixicAReal1qISTZ3N3kdLiyONUkKvhYX1bjbWjHT
x2yWEriuyfICR1hYSENoz/Ne6/FHX9I04r3Jve2uMambPNuFwMU9nnoJhj4gAw5dmixMlkFGUYeV
BwlEx7prwUPqSUgqwStnA5FlV0GQ02fid7JVG160ot2pwF302iFhHCxb6gIydrc+v2bRJMueS1fD
pkDU8TLhv4fQa3SM/kjhO2+g5E5/eg5pGHxfYTGZGKhsbsnYVaveWjvJhgbdNnRAzIlrOV6TlM/b
yE9KeRYj4d5T5rzr4u4bC+GvtfyK0oE1K0VkUjdRTlF3ODIxFyDB0YgVlWtb/mh6/jPGg4Yq1fnu
ssHLHYNRI2vOS0szuoPISQyzMqEd/DSyHdeGceUFyPiY6SxWzi4bd48HPAEcrAp5GmH7c4/5UD31
kCLNdIW2Y1Zh+3ypEeKD7NWr73y9qc+gBLXSnLtRfY4pF1DlTzA+O3+4xgDlQ/JAyUVJ5K4OoZt2
0T7k81tQiFeQEuHrRnJhC5iu6azuekFJ1K/GwkgyGkVZ+ib4ggZEJQsKRFRwLea9UvDccpSQ/2bb
hSgHyW0ydpwTaPDqs3bemIXQUx44B+chWCzTcBchy8hEvgScB9TIwf+slXYZwgJRizPlWEF0rmLK
I9uTWl4sY9/hCOpOKn5VD1W9C7lhCmVOsTXX84UyXZsSaR8T3XyLCoRYXNU+1Trc1US50jysb2Pb
/3h19mVrP8jGjY5SWNT4eELcYSYnLuYA1uwFS6mSVXlxHNNVDbnFi6GQYV4f8CxbRnIK9E9qEAZ/
JemM9XdtjNmadF1QnBxu86FxVqpT2QHCZ/Ex2YUvzcSB4NM99d2Up2G8ulW5TkM64vzfYbzEhrpL
2vAtUxBMSzBYq4ocrhdnqMa8Lunx3AeTxyvYtP4xmxYHLmXPO6XbhfgIcnxnBCirB5HcjAyj4/Jz
aBaEV4VFmRAAmeTNQjsuVmZ9VEL8xOF4dsiQd45xrnsu1SRjvHrtQ/u1fOS5krREf3Qqlsyb0dmi
MQm5BWUy/cqqTi/ilNERaGHvJboxwwnnssobYZ1xURbde8D3UWEwHgq5TYpdrh3xE+vyWI6HnOFC
xzaSJrBXBJ2QyyCE+hax3dWQIqr80x7+AcIYySR46GdJeWyyV25aGClAYJnqE0hMUZ4qdR/Tqiwf
cH9CdqO8hhgExoWRX8v0H0qsnWx0GoTLj7JH2OTlZ+y67laCOrbZCkHPXqrcdIoGzOdb5XXzBidW
5eFiaVlTvAXlzul/Wr85KEmyw9E+b7IbTGBCD6vKpb2i7xZNrX7FZnwLs2sxgPB1e3qv6EblzVbb
1ATxKbZ7Vi3GvXb+9bzJMm8guF0xmChc41nyRu6O8qKFzL5lfHGqq1ZhwwerOsq167BGA71mNeW6
dJ17oaUr9O19laN/YD10KapRU5dlD1xOB4MeVgWERMI2EwuIhmbEOgR5Ch1A5Sj2oXULbPrmtpzy
s7ptfVQY323HutIbsKFLe19GzDsgOQKmSZpJWvd3FP8qkoHKzeFnoFJmp5l/1BztemT4mG7IPuqp
IKag2AwXRomoxJLMqyfeOe8gtroCWU1QYzUEJ584kIkjJU25iVfhDkryJmr4JYduO/Zcj+EZooE2
82EI1jDXSIl9+rqNc7K8Sq335qF+rKX5FgbXvKOK9CcmPYFRhwUEFpfJ5Iq6WjXci8HHKjqnX/Ys
JxO4St1N8xcpD/R+k+SMTbSUs5M6MfVN75pbo2CqwknQ0Pyotcu8gwlucwuwlr1+0/K95XmrkV9I
xlyOPNtceMI6In3DyKvYDSbLdDz7OSWudrl3imzZUveosZfNubnn/rgJRfZyg7tjt2ucLHmz6o1f
08CPJilO7KjOLImOeHgcWfZ6CsRH3bh4Hf7BQXN2vm7yJs6WyYjpt4IvpikgT18B+kVnUcRHPkVR
oeJBfuEubv8/LvxaBXfjilxev/IGH5AEF2xxLIHWAgPCkoJrVrxx7WSwnYeVe/ScvWfyrAVimWJx
6cFmKawucspWjWJXyVsOW5SUOyiimG/VlEoCWU5FNxJX21EflKwV/SMmcxuUFUoGS9xznL9in7n+
pJpXRqAmQCF4eGDUE2OZEg7ENp5ayB3+Z6gcdYothYuRPACLv2wYSHIVuFh3GnTM7ekRqpoznE3Z
H1sDC44Cag6xXMtOgb8dkHu7hlFsipvgG9NZxdLBcTD4c8JDnXXKcZi25DwrUb0YHDiw9IBntQUO
5d1oN3nfMpc8lMmC3+1U7VaGl8L7AqiJtxLOZ3aCVrEpxwHBm+Yska5GT9uN2UsXNe2r6ZviUcny
priP2n6EeMf4GLK+KlIKO4u4OLtiB5f2VEEy4lrP24X0OfGXRac7c6BrqJ7tR8uuX47puqy/zZag
hLH3DMRlPHEhQVOV0XHAwSPyTVWBcJ3+Ft2WIZYdz/t2uy9iaAHI7YpmYAt8J8+Ek2+ZmEU+LLzq
2waPYyAg9yHGjqMaHwswXH6xd/VTPl7oP8nVbuX2Kz1+SRu7fo4ezjvSM04aPpOAV2TEoGcjLgjM
bLLYB9oyU9WZpWqbqPxQRhL72Afy6jdWzDc9Z7nRnRue+ujaVA+NBTIEBJw+uKJnHhrv5Ha1wrta
/UruSB1RVrVFx+LRR3CdhYzXmhpBI3+Y5mfkvEtcaWCM1mEH1j2dbHvIS8ZVIGzI6N+IPEXwSipX
Rzt0XofMQx4MK0nfH/zybUouFxPuKN+FrJedQUG/uGUetbbprxTYKJOtDrnb4pxNsXjVGiZxTEBh
fKzUQx3fGv9s0ehjPmLGxWza+oxfVXy1wBYItBvMZxmJ8pAI3LDz6hVbAC8G0cerEQNAWEY7x/jr
RvDgmb2My3tl3npqHYHA58jICRMvoNeZApWw4dz3WLSMjFVZQYhzQelbQ9U7yrfqUDMHN23ka6bx
VKUku8ZBjQ1xwvZWctglPAVW+iTVTFkYaIN2UXYPLVsUIt2a1KIGGE4O7vDrBYcUfGZUk2QhL06Z
Fx8oQWIe/0Agaemhf8bZufLY4LoevWsdIscW344vF3r41Zq3EB3fXjvBqYCV2QzgX7lFhuRaeNo8
RiD/qbYTSugvJg+uSn+lOQec5QhyyUJGdBbLr4HbgNUOvIi4RhIAGCpi8XcnMCmffRu6u5qxEEtH
NDREfX4Xn6WYYIWcR+HKoJPFjzbSu6fDWxecOvYkdsvUjX1xKn+suTtgbccZqKwM42JaR4trhIqo
XNMYpTF7mcM3wKNJjtSDDAA3xqXRJUB3K/NXkiMhZM8s/yDJFnq/MWJo1d9dHNtAiauQXWTwG+P4
95yKOzQhUkxtI0uRfsB80L0I2pkmL/SpJ7XEQW5sZectB14jwqfMkGWZzcKgYsyVdFO1HuvIYD6K
w4BJK77F6aM0SKIWT119a0uYfVgsqgNo9yv1xYgKbxXoDjjfA+DOkIe89g+SCQNugIoiaFYNd0R6
8Vi30XAxS3Ay2ma8JSXsYpCna4TvOBsTPl9BvHWhDrUkYByHtSyofjaH3WREepcJwrwyo/iLO+ut
MB41V3MCRhxH6Nnut9cD0LXpa7f5zkf8X9D5bcIaOSQpHeOBj6MqZmpzxu3Qs4Ht8TLw89ZptQd8
Y6i8BHkpTy/Bek3eaZkx7Wv1uMQ7l8b30lFWFqmQAFurx4Ri7wr2cSrGn76xF5X+NbkiRYJSz50J
kFddqyD9GBraLyX86rw/G3CN6rCUyljccUu37a8U0HAMRbDdTrV10nkm5NA1vWVIwv1PyF/Plthd
5mLkg2idCk61GuuNCRDS1L6jhsjP9Okq8etFPp+qd+hxKGo7uK8GgSRPwqmGzZ/Eb330qpq7ZG9Q
071MF2BvXLHbLEvML4P/PXgfIiPvAbbMZNsDjyeZMin6fRgPJsnXDr0+Jx4twGNZwbpUe/C9QGDR
jh1eSdE5c/axsnY0YHwsvVq8QYrzg5eR71w3Pf7cQaE5cYHJMEZI+Fv2a+pfGIN34b6Myahfk2Ah
Page8UxA5/RZuOI9b4h/YkeUqB0dl+mCz8WgPKi0Pmb6JVKxd/IyE4TATHbCPluQJP/Liu8yfndx
3QqHIZ6EAdq22/4VGg3sXLYoHQdiIGkvC4zvCcpMUaTNyd4orwrfeo0inLZ8USj5Or11+HBSr5r3
hPRH5tZ44BQ3ed7SD6N6NsW7ZvzpIX4Y9CmfLyy151aurii2oKeZzMKwI8LC08+GA/iuyBSmYZZ7
PYiRDGVH3kdKAEzyiJqdcEFine9hginOGSdyOKRzi2HeNSGeMIy5yid9681YME+Ns4LdD6kgS0Pm
FJuSNXKuPRyCT2b2xKXrwgibzPoNvtPQgVFNmVNGHBRbRV3dGxo2TIeXf7YEqD1AzDTwbFgAeuKt
JfqVixrmmTcbdIJBxXkGNg32ZXJXKrExEkkJ3GcGVFfFI6JNlajOhuIK6dI+zp+j5CGqxNkZ9naL
2mf9G7xPq+MBzqHn0PnTHgJCYfZBa35AOSSYmhPnrRxOYUEhM7JZxKnEU855Oq89rBvK8BTis/Dq
W6EAhC2ulrfLuu7e2/9EES8LNgilW62zns9bcDY7waX8jWpldgqc/7uO0Xjs99bAorv/GMsV8Nui
PZfBd4FwAJm7N2HvUuIVoeAlTsE2clpN8HYurkq96y1/SeaXT8G8HLQNRrC9Wu8jBHVSu7MpOU26
Yg1ka8lin0jlW6/8OsTG1W4felh8wZXvatLLEP4sK0bJP8uAf/xp9uhhaDIBEoXA9MlOs9q6zPt2
s1MUUntnLpcqqJ2IcgOUPYz5I0Lt1JPNkR0Oj3pcdwYy+LaFccnwUx9anXmGXVd5juKzAL+VOl/K
8BW1j7a9j52x1EymVGpfKzZCIUovR48vMDrZNfoC4aBQrDz/5CNmewlvz4zlKuGM8ssIDq3PBHm1
W9Sr39D6Fw8/SXNFvhwZ4vro5Hc/aXY1FGIsHVAPMgYu2xBcAckWx5j0QOTToBd4V9PF0OsXy8o/
Ts2ALl2pEYIOmXGt4czRNmWNzb79SnjmK5flL6NFpH7WkApCxBvTuuTGPgA+zDu0k9eRVfOAQnwI
xrXbfpfmrXSufrQYlFuTP9Pwwx/fQ1h8CoE1YB69uUvZPSWP3Nto/dlqvlPno/EPjkochI7a5lRa
6qysSJclJT4FDRj6idQY4OaXbLYmmRXL1Bgz8BkbA03ImBfYfIbRoQUGbANBwr7i0KLCA2qGPwnm
64JvqnCgKV7a+k0QHk25sWechzKu56a6LKA8EZX1xBEtNUwoNEbbqh4ONn+vqNZdYVy09B7Y0aqx
OxpseC0aU7AeIirIeA/t1BsvHpKQ6x7DHKYqY04GzMQvwQKDW+RCDBUqo0RZuq8J0TnecCUT1h2X
xn80ncdy48gWRL8IEQAKprCVSILeShSpDUItA+89vv4dTMTb9UzPdEsUUHVN5sl+MwtukX55+FX0
OSYu1YkyrsGuVeTRNuCiuxYist8uLYB3hJWtMj/ZhdxTCrMgqIKkEaU8I+Xg7ApN3aTjJRIbnyUn
/NCNVUdUoCcR7Q1dO4V+eGyt6m108m3RRivT7y4KIxxHbRPqWxXMS4JTuKdlUpudaOKblNRIAV9A
q866QKLxlAwdH21FpaEi9qpZ4wT5pTtMkp9c2r4NhCYoxAkNVn9oomwF9BIOY4cGN8TRB5IrT9Iv
oZMBW2srJxGneeZuEQbq2/Kn9QlHr3HL1j2CvtL+FWpycViv4BpLDpU2z1YwdoykIReps7FGKue5
PYvN8C6R/8D6dFAdt4c6Ux5VxhRAelDAp73Ugr3f2bdJyX4Nwko72ZETpyxVeIu2xXg8rU8kWrK5
qA9SyXYCr3gm5I+eKrNhbtq0gC8NAmHRNh71wcNVkM8MVQWMhq1aRzGmy4DhTchYwxFsSrXHqJyJ
DTqF9VahqRIYY7R9Vdib2dVYwvKc4N53ZrqVjNX7iYQLf0Jp4DFxOtcFdfJ/vlTkkAPo0wBRpZ/Q
YCOMIQktD79zpJQFz6mebjSiofuN3V1NOExAfF84PaGf8/Ig2hOMAVR701NYdCw+4NSvivgLIUqo
PqS5U9u3iV6BSfcr++7ZfRfpxET4hGNcTIsmuHpHkPREO/cke9E1bZKWcFQpef5hknoGaPBuo0l3
FLGGfe+OA3ddg6FCWJxtoMT6iOiHpJOLCROwkWFdFs6/0THXfdkcZJfinOveO4q4184ggLyvzyos
jgEkYt2hLymCi60yMfOJ2vMnKCfM4DxNd7t+beiAAoOT1zJURfjenDqF25gQbJSJhviOGDm3TAlV
EKgathNtshYYMFDzrke0uTmcE10baQZMyj6d2fLHGLq9AIP2ZUhYcxhzHERpERfKACdVFAySoyvL
rJBc78L6GqgjhrnnZUcuUCYnIQxw6Y6+51JTmQRLFbmOvAIpSLUpi5ZJ+QiQUFlSJy3K/ssgeNum
Fh7132H4Y/FAv4bkxUAqmW71EPNLuW36jsSdkp34d0QrjNB3kRLK1OKIqpYwMpPeZUCeRem+qi6s
Vl9Ks6O2Z4WVv3HJCkA/qfbdkceYeQ+di8/gnmNWmgjQCMmzYvbBifOayzt97aKsaVxY/AXsS2zm
j63dvxZEMRKJW4fvFWYb0i9XAdGUCmc29B5wd5sR/NLYU4E2h9ymSyO/1LZfRz50wlVfeuJ6+x/0
ogtADerwbYKlKdjuWCDKjiaNHZN0bK/cfg2UI3cqfoEVvuRDv1f1gmQXVttMjtW+WHQ0YzBnCu80
zuMo52aAk0W4t8zKR+JTr8fxVS165KI2i6yEmTVfjE/fbAsLS8LagwKXFa+pcq96KMg0OfKoYN3W
yzddQXSqbjDzetOu8dzYfyrqT4BYIuFuQd6wQPnolhG58XFDxfooswH1W8MGn+6OT5wwRZo/MH+g
peL6r7HxlJJZB1WYSkt7lvLiUOPScTeUFuScN9FaY1tKLj2REcAD+j9mdgib35WSOb1/0kGmCV4b
kjnw7rs1jDilAcgwkGuMGFHLUDhuG+Ncw9uOKz5pBLVG+c5OZHZYOLELPWoGoXpdhs95DgckdlMu
jPyepIFrcCM1z0Hpdx2pxV1G0QRuVGHBZzEeKfs31dhOue86wlrqMZGy6XaOppygKjB1QLLGhSdf
FDacfmQwqKNb86/Qe2mracePNQQYBSUJ1avihK4256oyeMpGt6AiKY3PBKh+xLuQaA9KTcIXQmxH
BF4gfjX5zHve2w6IRNQgMUGv3Mz0fjKYErIdcFCDGMA33Q3eokeL0jAK1cpzCgMj/W7t6MCjQJEy
3iTSF214htYN7QmsKMZUmBKB3YpioJn78kYMBp92nbjxXC0HLNi76wQvP41Y+aUHhxAwjIryFiIA
kME1lNsohzybuMzhAc9SNt7jFHBA+t2Mc7v+mkNuKYB6qSGzPQMpynRS4uGo+VDw9WdP6g/gFXIH
t6H+l4zWsaPWUSDtAKpfJ5Wyoo5ZEg7HAryldlYx/JKgizc8DRBtKkTUECuZamg4zE9Tv1jJxcBa
gQTeps/6434gmjU41RXVgTEdckPbeO249wcCYQq51I1Lmf6LLaa0cAbZpfc2N9XNJNLC8REgoSlM
+qsT+B+hR1UWaIgy7Jeg9l6K9C8dfxrSC3W86lo5LKwWfXQ/syCW1J6ROFoxpgFhvhnwqVLvO0u/
iuyzZogjeZ5iPr8WStOYYVDjusKsQRvKO6OdhuiIr/pFMhyo4ksHFwA7ba982cVVDd3U1FbJ1LL5
3mS1zUPcLZAavBZoIVrn3dL+RfXGt7bwsHskinMSMccsWjsvpvNGdJqx3frAOLFS24c6wlYjaB4J
7UDGTXdu5YZnlBsE+yTPhnZIh6dI4B761ITFLVIPBSNNWa+JWELXlZ5DQswKsY+KfcIloDwwRyfo
X6vvdryr1DLzFMKGC85aVvWOPmUvOaFItywsFjSa5sQzT/3EnB9cRzHPUIJPcg083p4pfVrjb2Ct
o2ibDscgvLcOgyEGQPXS4Hz0ho6WmR1av06d9xCLvm0vh/4ceweC2DKWmlND30ZgNJXaPMKWfseJ
hbiFmpkvb6hJnj83wfDSGgl4sb1ATpTiVmonkpmSLTwFyaNQfs0NqXnL0l01nqxsDefD6/Yx5KP8
MU3Hgj+gCn51xjrKCByBF4FwCdZ+iCExAClse1PrWjfNrhPaQuWGGH5wcy7MFrFu+Nsw4PLrTxbQ
TrMqho2DolhTH0NxHAm8zyxz6SgsxjuqWtx0wp4tLR475ATFw8SKA+5GxY8CPxtHPywki1BtNn6B
/W2QWZyaxaoAG6Y71JuVwkmWQUAgN1spMbiuPFShfNMGTE6RowTu0JejifMzOtbxqjvsBRnsJPRx
sjrxkFkFW/72GPeMoaYZeGyhlo8JXOAJyRmBbSIyz/MAEUyxhwOREg0q9INaPuwajjzCwZd+Tm2F
OaL4MZs+TBaDgeyH5mSEhOMU74as+ACjhY5oTefeFcZKo0ITc4uFZtYaaAEKeGaoP4Z+MYzwCJAq
GvQVnJEwMja+BsL9hv1oEfflIkBWqXb6KnUgbPuSDCoQ+8Y0kAULmLq7ZYP9kZtc8VG8NyJjGdZP
tb/Z2VsNjaBFKttQeEycuhNaWXgv5UjwiR0usgmXAuN2lutUOQ2dhnccK3Z8TO8iZgTkRr3MlDLJ
3C6koVVwphD56XYeikLt6uE5Bg/sRdfYwYBOOeUo91YB7uKtNKJ4RPmWRnup3CHitTPxITwk7WPK
8OkU3qoPv/L2aqlXMSz9CYY5jEumX/140cVv4VxF+aMWEmPUcKxJwxt4M1TGx2N5mLm0AWZkJjQN
iVHoGTRPIU9lNvBe4+GkICnN2lVBnl8wB2SiWOwGGlaA5UPQXTQsFlMpNyWbx57BfMR0K2LJE0b/
hKBAo89DiaYZ/yJmmzrZrgJ1HFxi4tSy/kSUHXqfFYz0NrqV/lEV5yzcduQy0ZV1CfTufhn26aIF
fFmDi67Tv2q49DOFLlbXUx3dtXK6VlwWit8vGdktOpRnFntZBWVPxp1asvTF8OQCi70RG/CbeDnS
kXpJO8A9jZEqnD3uIScB2+JoUHeTTfgoypeeLSVn5KLjGZflrXZsN7O21fiO2qDz10mCAdANTTcS
W3oz+KbUMWXkIp4L4B/70blrDnVwrPR/VrPBcSflOSXvwpzAVxNfNSEqLPkre0aiJipRXrFRPw9U
dM6s4/AfJjw5jTtXMEzxJfNm1JKWl20y5QNBoY/wLj6r2S6Ivu2BGGdqJMHrV+rxx4j8ueAjmOwP
jCw6nGXFJEX0s5MErJ6GfqeNl1rbGPCsW+yRpJ9hPVhm+RaNf4TDPADpxkmvU/kP3tFmKoRNzzEI
6oF0EcTnYXanfgC8z+m2LLSq3gAPipcASAEjqQjLH95FJnlkNCBVTPSSGLphgUiVwRyW8Zr18Ec8
e+rIqEFnlij2KuEzm/HTtsKAnHZdF+8qIOI53CyKcA3Qcmssva3+WHI5FvqpMNLXSn6aU/eit1Cq
7xap3lPuAGA5m/zXnnRVfqp2+acIOq6PwXkWYlulDyYtVWKyPj1k0Q1VBebide+tvIk1IoLWTPvL
NTD4a3/egEQDOEZiLCjeNHGs8QCTD/5KngHTaoD63Hs6Hb6TsiJbx7ykaOBfc/GJFAj60KS9i+5N
miw/vPSz52gWVQcZ8GdGiPT6b6OTQ81h/0MQFb8ost+6WAUCm+BP+f9f8FvIY/ktGfw25rQqwtyd
og+P8hSA2Nggpayh7lpXm/hNM1pF0UJBVTZae0dBG0UlbaSnwTgElsmMH/tI2p5KrGhR7S+GiFHa
dC78tZU9dcaEaYffLNi0anCRycOO/e2MW8px05kSn8fwzyv/ifavVLHS3+NmRZJfNOzt8i1j6B3m
Me6/5gRoXIPTanHBjvMQOu5xZV1kxgX53reb2ENaJw1ggEh4THEgLHWVcb/5uEZyyksjPo3lzVBO
wr7n+G8sYqJGlYl9sJhY9AO9W1Ui3Sbal0bTUnz11q43v9G+VNFWBw0KCitfGmoFTD9fqliROtZL
wHkZXcWcyCMoiHMo92WsQJjRlla/yTBSwySUNkYfugxY4ouRH6XH6mIuJaBYo72gK3EA3LNrHIe9
8J92fSiAAntvMr0RgGuF6q2yZj3qiCX6M8RE1IFrMLipi1tG1IK8mck/ZCw4g44ZRZw5fFgSzdgF
ieuq8R6+82yH3RhtPPs3NDMCvvLlEO3D+Trk4KiunnhCVJzpNvU46wG4n8KgoobJGGfjQwRN3Y4n
NQC9Q3UVnfomu5uob1oQIZG2byDpAiRQk/qj959EXORYs3JtV5D7N6iuNa9aMjIasWilJbFTziIi
3idSF/yFLVuqYti33i6BNtZwa2vsOeJk1ak/yqCt4Heyh1wj4fJp9GY3ADNJdXS2iUCp9KRUQCdy
03TcIq4cwZRwoMpVpJnLzr9F5Yb9lDevcmiWG8t7LULG26ryXhHRNKQ4gGfTf7f9D2dZbnK88f/Z
WLD/sKiTYDBaotLjTWk2q7aO+pWYDIqAkZxy0y299MI0a9fL4bfqi1MJuyXLoENG8BfH5r1F0uH1
mMca8odzlyD7dTswoXfD+HskTVvp3o0ch8MuIXwqLJcpD6z9CJikJPNktUfgzsQoYGtXAvTKxbWH
ecz1jyDHdeBzKsWvru5kt820Z9s+m/KvTrJ/cfRjgmWYcJ4pmgWBgoM4T1y11bcZgvcGQRYGG2YN
3IVZxNJpaF099HYtC+uIyJEWRclLlowAxXVsIob+j9S8t7FhyKhFDPvs7ODM0eYYFMaI7FmUy1K0
33lMCmQULh0O5ozx0/hM2Xzp3V9YEdRY2EutoqIaph3H6CJuaRfbSb8zG00QmZtM0yK2bWmifALD
WU4t5NqkXor2C8haAwFF67F5V+bCxF3bhI90bgans5YdoNlrNtj9Qw0KqSAgjj0eAm2cv8jt8Rbj
VMfi0/Xv1oxoGA+xeoxNxJOEBRhIVCId39DK7F2LwqWD/E0THFEszTDCSH4ISgPbKJnrprua/JPs
MiGm6gWJx+8+j7Od3ON439BPGwiqw6/UI0LjaTEnC4KZgZwBxUEYrfRsdfg5oBcJ2Qlm1Z/XOVhS
dAZBE9NV3vUCqgouJNyqpAj4/AEg0BnSProCarskXjAFkr2LmTG36Kuj8MdDR22sS6rZqviZWCVX
1Y/NAFZpv0d7U7YnZdziskqQ2HVsf0MyC8oBB2Kzs6wfs7r6THs6lr4VVf4cnifaWc84rdJhpXJp
J8giq5RQCpgmHbEQEeE4RfVTO1sdQdpMA3GsXWm9owOzDId/IFezXhvsrVO2MlGAYQ5hS6Mf+qhb
Qbabu3Ij+2ZkRs35qFGeZAECZUZTKB+8AjJkzzSKKC/07eE+8U+Z/dQg24tiPxqMrXcIpGkY135H
dDyEstz6DXJqP/8jgWbHgioSDmQbQl28YtnxR0cZqKCHkX6ONcazAHKAj+4x2HSA0w2egDFErkSI
JTtAo0TXjH1LI+Ptt7efoYrKZeIbQvGohL/dfxmKHKsolc2n4AKp8hW1BLCyi1a+m+PRyNvXEoqZ
DrbamxBDTr+TmgE+QxzOXhsa172gZaGv80KA7uQ8RmcSyFAkv2TtJ9q8hQPCvv/0pz/N+7CTeVJE
AoWybEhbL4czu1CmCoiOo0NaX4i2Gzj2ZATRnWu6Ij8jNVmBqksLJ8tslPUPTX+Bh/8yMiztqfbL
quHyM5CudQQ7Ja9aCSejO/ote0eKXwO0g4NLtXhjsSHVlRJ/dtPfGJnbAdkNFAaVPZmNvbsd7hJq
cKDQ2KpAGIJ8mQTvBh45y0IElsk1Y7ecy5D11FIK52yJmRep3UyN6QHvECtwLTlb0Vsxp9vhvi/l
NyZGSHS5vbMDELAlfG2ucLU6R/nODh96T+q9tZizCz00J5m/1gvJ2vofbCHDJEgyOarW2i+2NbvV
MHIZLm5yBvlN+2ynk9Wecx33XswGfiWaHqdEQr9mLqtu04Ovx8J7KvgIVDRbRFbN7t8i5j7EQPrQ
gCXU9K+RwPkjzj6TM9k368kkjUKl2w/gnhiTRP7LkRff/PEepDgeT6H908bbJlJeC2eRV5iyiLxE
8SvexXBLp2MCl7MNvkJWYiRR1vOKgAwY5omKcgXUt1CJjZ/X9dEsrK6JNrgo8EOG4RMt6avgo8cZ
bgw/ermP5qwwRtcO1ykH8XKAp1jWGoU68+YaEbf2UVpPzWejoRM7TQxTmEOAnhM3rUdV0c9aaJa0
n8rZhs4FreLWLyhrkeB6PvHmFQoM77dN1mzuA0673H5zrJ+6OUqULEl8bKtjryIqq+tmjx+Kq4h7
q95O2drgV2lt7sZewfqurTxmrgPSkqi59MRtF3yHhtJ8Z4PxF9YkTofTNhbefkwbBgDNMmc3bE+/
YTkusvCqUCz77T+WHolGKxVAH3b0dY4yrm9NYjyfmXMdSAL0A4isA/M+f6EjRfODA/lnOOFdBYG5
Qw+RI0a1GVAZZbqB3f3ad3/kNHOrzXaU7iXWDwOwrNHHq1Gf9fpDNZGK7QVP3RzDhVFzreLmQmf5
kpO8KDFy26wHopzwCER9G7PJXEXTj4SixmxFqmsj/jG+J1TynzmeJ/NO3C46jHuXxqC11l59mOpT
3J0qDjd7N3brQjtqKjS/kcnG0iTwcAzxA403XYLOhAFdOouRo6Jbm9w5+qrXYk66dyn9ZUCwvWku
cv3SJUwslfLoiYOFhzKxkLhvQmPjY84cdWii6PSI4VO6Wy62/YTHYCM4E1hzDc5vD4qWyPGXRCU+
p1i2gf9SwLyrG+jj3UYjmU2A0inzu8p21HCnNFkko8soFcIMKAFQ82Rw6MjFPUdS3/oYSowSCwmg
BOAk+n5ymDvCxGxtHRVCsYiH+J4QFYI7nGxYpgYZtKKhXXptf/STzyjb4Dn1aDesfV09RkgYYxq6
cqLGK/CbJbMaJl10hLE1z8ICybHq9KNji5VDbWwz1qgIDApZr9sLbTZUsnn3vOtoB2eHvamZj4w2
TsL/gl6HBPnYY+8OSnPVjGy+SZiWv5n5kdUXnAPk3VYB2hWNTOx028MHMAVDWJY85hVWwmvsT9ti
yvGt8j0zME7Q7/ryQ8FaUt9q/C5s3yflqzEPuN9WpveGOw+bALz2huU4XtAgfRa9PNjAYZLgHthf
NYqlwdd/CFvdpuXZYFFu+DRB+k6OMESYOtjgnTm3kStbyMdJYnLektZeDOKj5HRSSu7L6DRZV5OC
IWM3bM5KImRbcUCsRPCWsw1vWOwTjjFU/Q557y62GcxqMCObK6PEbaMATlReMv3XN289Tnhza8Kr
y9kyqsStma4wursEORmG5naEMxYeJJdOhnzOUthV8FhhzvaybdNe7WZcqPVXoJLaju39TmjZwM5a
RQqv4ppvsF13wz6bvgz2S3n1FVPoYbFUxNsEGG52vbIjtIrLBNhYmne1PvlJ5I7eZ4PkKyQKaWCb
EcK8jFHHdkQqFpDUOoq1rkp56X03Zg6ozWssDyVI/jqAsmrZ0Hokr+qYtKp6PJDti2MS4WBcnia4
QvO4cc6qzBUuCNiB8zobX85rQG9QRJcKqHNP6cf5ukrAYQTEf1VoVwWYgRlTIVw0AWAfTqpyULEK
pX5DIDJ65GpyJ4G/wUE5cwzDh6w9apqdgeCXlQVdsVrRcnpwjxkxO2cfOarCEEFwCcSHXEMFzydc
j8PS0GYhFAYP5L++UWOT6K9oOEztMzWfHN0TvvvK9y8k575ayNt0SgGWtkhZ2bVTYwpxSzOMlCfD
P8XhQHBU+1qUAeRVgu/5AOZTtSUsg+oJs5wXP2ETgKWSdxuVDfVprnvs2PGjrJF3ukN3yCb6zb8M
BtII9yEsqaaNcvhTWX/nOe1Km5BEYDDQ+OyQvhSUq7NCWNFMQmRswofDTQ1uILXpHknS1NTutdPN
pwlc7zUI+pPahespTrZlnc6K3rVSNGBR/hBQLNEf/bT1+Iaf9lga0X6YjrPt0APyORGnxDq9UFj1
BKy42hcHPFhBe2IiI6ghM5WkKTacVo6+6wXbrZMdbNk7u5p35ShkwLyHtrqoCS/3kcw14bVR32Sx
H6jEdBndpyla1CmMuky6eDkCDuAA9o35rVMdVxY0Tau7hiSX4dx1O7JTmgFzmjjKeKdURbyoFWM7
xtqvqCJSgfymBavpgDEp2TtgqPN3OdNUtX740bMMuX9LglY3phG8TMEvjk9S+VjeMD4rEOrqrNF1
jy9S+ODdvJ+oYCCtMm/lweNro0//q4z4TIf1IvJzYawbUP39h8f1aILxqTrm2DCD62pbECNmFAIm
Wv8cOelDDiJRgq+sXgoVclS01LwvQ+X/KzZzkq2HwX3CjR8RHMR4Mq7BZaHbERbzsL4D5EUj1MgL
eVwHb0QCX7FqEIq6ToPOrXptqdMBhMWnRvOYF+RNLxtiXw3sngGz+BqMiYQLzANpeRhkTznVxEBa
jMdqvWo1N6JBmkLCiz/ybGMiby9VbNjF0ma1PKC8My0GTdEdy4TrQSRXm09PbtWKOFLunoAMVdKy
lhlWLB16kZUw8PCRrWnlylBW1uQaVCVefJJ5irJJMspvQ5iCKowE1mg2k58EKvGorr1i6yPUnRXm
4i69z4pGNSt15NvhVk2fvcC5FTLRkcyoYDjUVwyrrxX7wKjiZzi165nRqaVkOv7MaWQW5UDDirCK
v1VB3FvuceGWy7adRycs/5VhL2nfbR45ByZod81VYv+WNhc3UhOCTqzw2eSA4Za6ukjlH/E9yLc7
lhn6RtV/YqAwYjxj+SsCtjDpUiX60tzVDV6kwTkPJDF6A8z5tRWeDfDV8LDKVVytfMmmA4WGj0Ju
q3K4pBF4EQx5noq8FjsyaAtV56WojikaeK0/CsJWvH4kH665Yp8/1RBiA208BF53EzyIyIaovMLh
MAl2IEG5hiIt5SeRcguHIahKorJAUI7gwGMMn6sLe+AIZPlZDxBclApSKjI62tlmZgYEd0s7NsHv
fKLqJxmuguA/2s8I6H6q3j3M4T7TQB0X2iUo0KyjPhUr0rwZWf6b5NNkxRNRcFXwMVglFAdgLwxm
pwc79Z69UrXIFfRvCE6DirT4CfsQEqxZ/ahSwGKylb2NcAXNA6PuEIXsQHZ9oh5RfL9qkStmN8y0
BRzJyXptwnPV5JuKDglpNnffzmAqzxrkVQ2NQ4fkJz5X+tpGbsnASK58DDCkNRHo1dn7Bge3d/Xq
TZGf+lkmK2n1eUOVltdidC19xfwnRpEegRXYpMVpaB6GD/GarPFaP485DDJUY+M3vZ60rqV8BtFf
oV7GZgPVjKkLYEGblo2Uphwnfx4cxtl4MS5tJF4JNsPQ+ecDAZk+PZr3OJXws7BgigeDlUjbeeVV
1bceYLHo6NF/mljAQt7zNsU5JBDSeATI4v5IJyjsZH0wiPUb8jN24/TJJLhtr+Z0tc1vB7oFTmsH
RIz5nbE+FtiDVW6YBMa/oWKTPyti349XjT+sib5yg03wrOyYSEGB7BFFl9LZjO0qhY2hWXIxYptq
Uf6RCMV3R6IgCWjLUIHuN4v0h1VD6z/wY8Cg3QRcyHx/uD7bo52fptBcZeX7nApXAZGx1FtJvoQJ
CyTEG6Hj6UAPCcTC9N9qGCPWmjO01W4dr9fobe3AWzQEAiKiU9Hr2gTjtWR9M/WJFtLK74Sx3SZb
PaQmAbDs/5jzZQWQ3ata30V1sJly4nm0ZvkZagKSb4nmWTQdx659yFE6sh7b2ijoOVCH/LclwhuT
N97OBMWCHetMMfky8vXMLAW6a+J48IlKw3u/yOS5sJmJM0sx202RkbzyqvZEknQ1rXy7jLRjGmvL
GMjjpMcuAaerQJNXmP1MIuuVh5WrqYal7MZFIWu3YGLqXzpjjtCJYAUM67Dgb0nUW8A0pBfojNo9
mAi3RRUZVnQoIfaUGKNNzwjDcpas7pJIMlkqcdEmt5j8c33rQJcWUBNz7U2Mvz0RrQ6GTa3cFHW3
btv2NWQkIuW+rbCnZ/fEe8OoTj1TLmUvFsDoTbVaEmCIEw2XTn8Q075ipj3wh+f0zWKrtGtgEWwM
nohXksxZZUl3tIIe/gjC98EFnfJiEkBfEuEK0rQWxGoVL3SKqclvDDxVI+K3Qwdmo8s37MjnLdBE
/eu86wC10GqkLclwI8V5fTJq8Mz44g1SQGbpkMnzMl96mroowUfNP0+BGyb2PmqsXKVBQtTagTgL
F5mqF+H7QmKXV/AY4qK3QUgjWUahmk0I1dCNdX21KxTXmjaDyoS4O0Y1g/TfMXaj4MsHjMO32ETv
FudBAgDC0JGbcaWVqrzFbH2dgz5M66iH6ZPEyxboLusWjbehi6qtBQPDqG7SOEbKxtO9lQEqlniD
ouASWeiRS9YryngIYxBoa5zHYviJgSbnKmHf5cpXNtZwcbjoh5oa1WldB2ugWsuXmnRO6hePE7Wg
LYtR8WVuq+D6Qjnl4QCp1F9DHrVxPya0xHw8uvqp9y27X8wp3hH0jox2ov+ojWslh7OGzLcc0Byo
EKGp3HQmEO9S0fk5TKSEeEwcoUVTnDQjXVPYMGlLqHDszz7/btgOarCih+StNGoowD4CntucNGE4
NweaomP6QBfXOqYmjcHCjIkj6W1jNDuyWLgrGVLcHWuphsHFmVIgn6XDHp40AJUClqlEitjLaX+M
mu6A11A08I5vEdeDHClZSo7YAG+X9NhGQdUbZlkYySQ6enuRP4LqNk4hA6C3kVKhsx+FfxzZfGkD
2yTji/1M4+OlAJVtdnsgaIDzAL6mXwpoKOs95moq6rfB5EUktl5yivbOp8+iwpudEvUjwkGGiq0x
SPkK4HeQAsAOlq3VWXV2vIOISd71jiJP/639m9UxQDMecloZ1gNId5M0pB8gLospq9sPZn+svlJn
N1UnLTjm1ZWKgY92U3fDRkLLQwoCyoXmCEmXr9osdWB+sHDMzQKYEKE5GEz4CNL2AM0XABk7dLnW
1IIN4j+7J7uqyfamfR064muScQVK45QZ9wjisHkW01HoT5tSzKr3Cas3p4LkrcxcK5pgPMn7ssdW
hkR2LaCLTlpNGW3xV64lcxXRoEVTgCDLraHc68Hns8jxohRsCK9+tQ20i90d62Tv5A9WFQieADxF
W46bOIpelXLJ66vqGPtgztAe7iHeGgyignqEuHCx21+dOXaRstCPtZPHlsQb6/U4Yi/X7hUAuWTw
iImN3IhPUqn3ebhNowd1XiDKbVzqr57s9infRqQYa3Zveg4hHd1VL95646esf0Y+ydntRBLAuivV
j9zu31VEeG0PiBCGOw6il66ANfBWWG+xRVg3z0/DOexxsk5z9+eDrfzG9MyWWjQ7lbunHt89Ck9h
HwkiKTkzeo3RPVczh6Bvr+ryMlWEyGHebNZ2UJ5rcZDW4BrVT5jyiodwjBr7mhQnL2P8jrEmr/9p
zO/DdR5upmSjoX4VIBUlWieRqW6tDW6TMwzz/+XOXXduevgeVtoaHfo6QfbSKXJR063XvIR+aL8q
yMpincsQ8RYWx5ytzQsi6APEU3xG5bHov5y+3s5KOhbT62b+meSMaPFkq3qJdJtZfqB9UPe82uwk
mbasjPTg9R8q/GoNWHUXQXqPlqaWe+R+oPVpmHUCpGj/2FGY5GnFvEQmHkKH5YFvEkkJYrliyNiI
cunNYnlfPswSfHO3GQLMuHTmYFjrFsxb8zWraFISrxASh2iBjMBgjsw+naeWtd4YrTqpnRT7o++N
Zdlvq2TXa38ID9hHY+1gwhGMPCs2yWRduw6yDus5mc+gfK5e5n9P9jPQ1zEquD58T3WCblHzdHxc
zmQvIwpzVhNTP+5klqPgDRb1/J6mVhXN+a8h873VNJTs01h/sYaw+NhjzXeVCaPNtzrA4jEfTr4B
GvwqWAc56LdLuvCkuoFFW1myWPkENbIbnVcPfXMxaNb8OEazzdKeobUHaJlFGOD55mukxqE313ie
LefGpJVkVOR1+cnQeNgVLgYsnAKXe6vP6aybCWWUw2UVMV3r/X5NXOA4yJeKf91jN88af2cV6EBx
pg2S8NAtIT5v9Yi6lINYKPzPPAVOwt2PHt5LjqnCvgLboJgpcmg0UtI6QUzOu0KTeHTaBAeflw5T
WHkfaPMqcFYsWz3QamTmASzYlCGiOrIXAPFhdLHwmX449F9TdHBAcPd0ZQlL3RtGiMq+FsRGZzHA
1PRqAv/uGC71Exe/bL41dVgoRAwmLcs2nq2pHNyYGBhtEAyUgo1a3BOmN13umtBWUlvww4VXH7TM
CuxdNbPJu0MDQEw09lbSyTXJdEn1e9RzC4k3ja+CAZtm6C9Fxy9P5bSuqw8nYaPPYuwHrsDAWqBn
Gx/1P9JCU9zdRy4BRVEZfOFhVp5GV776jsnIvl3I/3F0HsutI1kQ/SJEwJtt03uRIuU2CMo8+IJH
FfD1czCb7onuNy2JAqquyTyZH/VqU5oHTT9600oM3O8/YfIvzD9D5sTB8F5SAbbWfqw2uJ89RMpI
nZEHsDWjF3AIvbUTQG68NNHbHALsBfl2EF8juRZkx4H9S5YN1kJSLH24AZwbERIbcN5DQ12wio1H
J9kNtQxHsqMzfQ2APowIy3IpV9nQvnXqu+c36IzM4NND55xjnkK//yElzAuYRfjWxqEK0Z3XkecP
i4oYoKnVNoZAZlbhq0Ro3InrQJtQRk+bUqCCVjJM5oVZ487EcZ4m914dbeQNTYbCGxmgYJwn+5vt
rR33LYCQC8ICYykQb+8/vfoz1E/fPMnioGixyo76IPsVBvdLphGrRdLQ+Jawz+iZEOO+WeoaTi5/
U9nPZtpKKkZbHG09Rnf/5cinipl2sV401TZ14XaeIg7ZAuevk3JaqlebhOFWzJAPuUgzzu8RaK86
B+Sve/almHG32dWADZdrCKW5Bc38Ja5BYbrpQ4vvNh1GmXFB825Pmw4P6TA3OjU7Tfnl1MNKOTvT
/0IC7IRXgV4/+e31kzSPaFm+KiqdWuaLBn5BPt4wAy9lGa0H4gXzgWbCvmFQqIY/g7XHEMiNXRKZ
M+cRjT9GEa1bhHnwaZ+OXp9syejVMFA6tJem6/ahb747WvWGpIsSsH9zRu8KkYlOTWe+UOpFgWOE
N4WsXxa21ZuJtEEFwTpsIjjpzNVjYoaXTVV/u0XA1YMTpLQSVgWJzh3s3oxp9gBKgG0pfrE0zwCU
j3JhTLQsnaW/d1Fc3mw2VTRpH7D2uXa9YlAXvO3MDYSxtxvnpY/gKhn+uWD7vTIs+K69aygkrPJP
iXpvF4inhe+YG7PvPYJ87EulN4gkfIIPLGIql8YY6P+mQhqLzIrqZe0jFbVxsUl7URKYlTSIX2zz
YioLqWwlwwPE/20UwWxoAQ+uuCAg4FRsRgvFPDhDhTVLsGTL4e6aDelPiF5aKLVtyCjDSg3+sxZr
oDkpr2gMAwwiMW6Bu9G79DeLtY0HNciJ8x6Ytn8viJLeFNlIWiqaELQrRb+XCl3egDPUl+JclKxh
Gl0H/MyJxVovt3dZmqCjxtH6X9uLEDzjUJ/CoD9D5lbLoEW+hYN9vAjTfesIrAmSrNpbzDAPKheI
XceK3s7kahjCHs7F2L/EcYs4WHgkbdoYHljmZc7wF6Q/Tt1ua/NqdfqmmteCMAJt/rdbX13+TZj+
5Py5el7+TWrcmO6UAJRyid5xLr1qmd513t0143l2N5JPQhq5FTxrj80a/sC8t04K8lsGb71iHN9a
uyHy97O2ty7Rno1c4PpE9IvwnFvfQWDn8Bqks9atj8T+MCQzLWherHKvSHOwJu5QDa6a4GnALJTy
tcxeZxfZVNzQlfFZ6d9Wmm+n4cUdCKxEll2a5qYu1z3s2rkSSDJ79skOvVwZPmX2r+5ejDo4a8Ya
j0qTrGthby0Sezt/7zIP9/JHgTADD1CE6RBQd/g3D0JM9kwukEY8DezMZ1wRxSYjNPrnClvgUjQR
oOfevsUNonQpWIuZE1YZAB7RzKIE5oDBKaUr6xDfnAp9C/uzFwehf4lkrWdfXfmpi92cyVKZEKkQ
WXexXJa1+i/1sNVIHX+ivqu06WueBQ+4YUv+3CSSzzRHhZtp6BhBrerNX5nGHDYYuvKnU1+7Cb0u
uLQy8JZE/KzR8y+YAJF+8Bo4L37L1TlezZggpm5KVno/otejsUC/PMJKGv2bT51b7Cqot/HaEjso
D+woxZdXO1evjIjM0nNKB/QBKWMd228PeCcsXW7ykuR45y0btiI/Qn2uRjQFe6s6KEwHpP/kRwsb
qmdSJT17AnlDVADrBhm9zrKEZi6XKYBqnJCq5u4bSY7tJiDIESKe1j4FkXhx5tdAnJ1yV0WX2S1h
hgyNJvc3yeDjGDsz/27nj4fImXkO4/jHyDoA66c8v7Re+Z+DkDPvb/EIZ+WoS9pB7dSN9W0g0Y1f
UzseU7qyknl4f5wwqTN9dYGvRUcNAIvX/YnZ54CuRUNXwYhpCY0QUnaLq5oFONf3oBpk3O8+ZGhN
cjJ416bnXHc3sjtX9V+K8LE342VBujcMVfgc7MOqGGElfS9KmoxJlDeA2MS+F4XJSbAK8jAruKBB
w3s1r+Cx4qgJX7i5bPpHzvZGAJnvMNAnkQQmwj1+GTFVS2mg/puN/ghwRLu3tBl+jMOBCgIJotWu
k/qG9QGYBhMhlOokuTUeRExCpFrDRO6Ry5U5/wVWPIUpkKlC/0apu6NfY+PoLnyiSQwUiOGIfcD0
kZEmJz0JN3ia2Spk1443K8TJa7ENUTmoZWt+1eKjZCbeo1xLPKaU7BhcfuELBfxJZ4fT1/W5Dhvk
YIid3Bmg0yZ3wUSBrk3XqdfOgq1UQkDuSqDe6DkeTNw0SExNrCCHIXiJG4tg1nYtyoAB2vSW8CGg
WuYnV968w4zWTkpE3KGO+Wj14S1HwGIwFwk7XLy9ei2xAsBUKg1ybtbMgxq42dmPV5wD66W2n5Bg
yrZb6TUwutxwNmHjs1E17XM3+OuSsU2DDaOwf3PtUBfNXsz7xmzce90+Avg08Tf5q9Cn+xTHZXhr
UIy1/Nx19wXoEKjRPUZ1YI2z3ea9nd5tjB4pXILcPWHXUTZCrzH/nMpdwtSKfsrMaNyTkxtZH2Nt
XQP2dCyjSBhEVuZRt0DBGF5mrZD+UufQpeCPSSCYGPsKGqGA9BcnP0V+tObkWncWs1daMPLTRyf/
dB3cbu65NpmYldO/xiOfJcF7vG5HyfqL0IdJWp9a6G4hJpADrWEJwhRgaitrTNaJiZPantYD9mrc
/grxCFKa9MuNRggJxcmLnWNMk2L1sHqNzUTb2+CTy9VvO75p+BVjZ9flXFwEP6hHVdA7JinyFOdS
MmWucO6arHcgZzFXSmPMUjH7GgRmSjuo9L2q7l6GuRjlx84oXn2kbWnvrGrm5D7gBaCJS6vy9yXe
Ffbt24RGsdgocaSR6PJrVPH5Gsus5kqYwuxdQ4RgXH33rZqzNFBb8CfWMR6W7FkV38q851iwAntj
M+MvUWJDQ4DlVCfbuK7+fCsl46LlwIshXDBlJrQU6DIbaW5OFgN6cQhTuLxMMFPycoeHl3/injzn
Mj/QYMajXAbBSrfJU0TYZe96+xfgd4dlkHiCIPhnUc2QvLcIRqQZODPY2wjcdznZcf6hkwjXHZ2N
x61Uj3EiGqM458kxmM3sDP93enmoyqMWHpjnzanHxWcIjDpYacMOdGXWfPf1Pk++gu4vJAEgIlCn
CQQVAE02qBdY4CRLlvup+KnCHfoi8MrwG5TxihvZr/8ZOJmbxkKRKS95hBZLT89D628UhXRRWTeh
2B1ECxe6Wag+A/WOtfXYSTA6SKUIVc3BJs76G6g/LD7qhU+DLwqd8VrK2u8Sy9c4tZCmf5bBqce0
qM3mEtaezXSZrNUUjxQNaOKgIk0BKmUHlibbp9HFKdo+BjRlWXMWdcMhoK1yvBBkO+Enikm6RijY
jru6uwfaYwa/9qY8GlTUEiNer3xOPQwKjGZ4/3clGlEXZmoEhMhDOQgpD2HgHsLaIqcjTxKiRLjP
kV7WaAkAAIUa/jwGkEG7sCJqpvIqEUPKwSFFi/dPxTtjjtjxNgOWEz35dRGPOS01Bv1OguxG6eVl
8Ig0hxsTUC/ZaLyOMaIWC+962H+3IdRoKYA1tHwIZEon/m4KrSWD+vWEvCTtWEnS5/ndn8YH7Tsb
RUquUVvbunM+nJDsI4lIyHKXk0fmCtKrglEQL5tlI+yPBQnOzjXLCJj/Ap+7HlseoDcHnlwkjza3
qWHjr8qa/SBuuMKIoUAm61hE4Bh1/01GYMlj3yJWVfVbFPjxMcF0inYGyZ03/0VroaoUNkeb0/4G
I4gMken8GjE1Eebqrp1x3aKg1TRY2j3SsuGUGtmcYoZVgW6DuVb1Lpzqp4IqlGAdthhEP9twFm5G
MBSvEbNQOieCcyb/LdVhY9bhzePI7GfMThIkgIqfuvdDljGeUfQgQ08yo6ubR4eh4ugfVHIak5dJ
f7Xzh0ouY3Jt2VtOAnujj+KN3BwHYTLsSTtNXxDRr3SlNuxO538sNbYRcwSaua6qmYQVUEU1W4ui
iei9NjWXhYvxDRywoOBnncKaogw+0/EZI+nRaMSQRiEtLo2tE7XOHr9/q44oK7RQnH0EBqr9QtDl
BRjrDUiconzNbNwJhEH4VwClxEilwQqZNVaj3aDcna2TCRB6P6Wm1mWDyTdwHswalm2/Nwn8I/MK
4Cyk76wLD1kESCdgPB6piIwjqyDtL+TYC38QEXGBUyjaDTMHX9fPXn2Vzn5ITqXwbi0hQKHzI61t
wSYqxZWY5hBL++kYkaeQkmPuoVPuUR3o4dEzn+3AHtY0IIQlCkPFuElNlwk9ci867k2TjKhjwSBY
MPHHGq+K4bJJLmlYtxovE7gLF9HSVGVvk129RyPBohVvDsKnhIUDPxpCgAyaTp+vE/WvLzZ5c5T+
J10+liei6abTlDrrFptaCRJZqkevPQtUPvRKkuVOFWsj1rL7NMgVBCzf/a7Nl0lFR723FralLVog
TLarlgY3vexIKY3eHPE6+HgCWu8Mv3fpwtPKwktAoZeqZ0LyGtdhck1TYn3cldTJLQIl3VXtqaG8
NANPX3dRdSVV3CBENRFqi+001k++te1BYlTrdNq0+Ok9t7wGgvUcsAjPfq/Gh2Cf6zYbTSL8gV41
UMh29fQdwFLwEIEMBlGRPIjJpJ59YS3meafGIE+yWuseRn4IIm/b6eCF7B9zPl7Fi1+v9f7dpgWt
nWzD8wZHKUb3G5S/dcJ4ZAbJ9NW9LeaAq9y+xFDaZJftk/yR09EhmG/FCy5gFqrvHZ1B2/znzNpz
tl1acO61l1xLlgXbQVckL6TaGMH8RTz9TwBmiUn6cjglvfgrYvkymuWxamnU9O95HBV3s81Io6FZ
uYwHZkAQujtu9RK9T0c0ASyvMfiH6xzzWbDFDNKxCwv5HLqYLBqUFVOK3RlViYIhwOQqCk+wUZYx
E/cMc3XMI9Rj12wnTLItoew3LXo3SrRowTxtIWUz+YgyJtLFjxink+i+Kn7v1VevfpOWPFZ26s7F
Renary22vFb67eho9FmwAvXJ3HvVSUohRsvNSquMbZ4E+4w9gz5+WBTnaX7H63DJS5QODuFq/zdt
7FtieUpiMHNEzEb+oZxHHpMs7L+iTaAHPLvjbWzfofqxo0ZyUCx96K9iBpH3/wztrUqumAZD99Iw
ObcSfLYJQunyWzfJWij2SX12eZ96/SmKZo3LFKVZiUHFKTfmAKyjAyWVcofJl4GCHNmgyYM43mam
+XhrMuhBtOwp7muzrbZd8s/zkbGGHWgVbeWMbIr0/sQEJuP+g7IVFoBMllpJJAW/oJcCp9pA+RTq
66JgC/EWQ1nCjps237zxpnHTxgi5EhYSspIxUdX7MRKvdfYBAmZfu0enRK2GfRKdH+qQAvqvBTBp
dgsbRnFJC7grzn3w7qrb0TzmoVyBYmDZ5wBn8Qg2fLW9/TCuInLXXfPDNz6BxkfWe+cgT8BmEy5b
eUB5oICeQUsdUIvuNeLdsJMvqIWZWDHTBT/D1JFKR9NOdBaTWLYpB++DuGOfuUke8gNg9MxNdses
kPtX8GILRCp9QngD6g5sAmxF2fktzVasGmfko0vXHJVwY386/4ayjJro4ebfwn1rxGcr31OaPmkd
Ar6COxe2uk8Bsp2adz8kirtYGsjeFHT7qd0E3BgOpL+mnkfdajHQKdVty6/onwaJU+/j2W4H+dbn
WNPjQ+3w2aLbQDItvUfCU8iyY4JfiFwdcOtvwfY/In0a8T4dxzrFP48SGKyon26S8sOu5iB7PKlx
vTbjj6A+5J1aaKwCTfLuDHy44Z8OwscKmj1AtwWzniwMNkXqEGTkreLqWUIajtG6uYcUlUd/cbj1
8/E3xrscAhfAqhFNuKGi28BKJy+rTWB7qwSri8pf5y7Wl2zY7WuEE3f0AD3MvpFLGD8GUuCa9uax
fJp4n5Pm7nk10hxjowhms6DcabTPPvZc9N9Yix22NtHWZW1mMYHyarEMx0PDwLJjF0IKn8peqcQV
S/p+28QbmEENloeREnI+iQExtFq7sXgBHLDzsxU/t6ejNFKM21G4SKO/Ik1XKWeESddfhAed1oEw
pTEP2JpeAKhD9yJpnPW2dnSc9wa7/gwGs5KDnRKdFe58DUsGmxPnQ/BY9s4m81ZErLJR2zfIf5AC
SvEU5VXHW9wnhAt6i8rdWfV7SCQKIRblnxcsiJdxrH0PoJv0nzID/t8lmylnt2iz/v820mvlbhTX
smt8JOznW2srjFvEFC6L59SujT2VaDt32rTq8Svr2met4YDvzyUhC44Sa8liZxS/06xjbFgAUL9M
WMi670zBSupbEpBPCSDH3v9r2NjWrCUH2Kg6tlb0vh3AJLfc+SaUA+tXhiyd6EhZAIzDpgVunlLH
mHAijd76bbglrLTX4dcgnfZePIMx3bLAjGO2+rpGJRjzWhjwqTSWlRm2VQm4SGFo6lsCYaBGDasy
WRf8xn2tW9RsAMBk/6e5xG2QOzohMiV/iuRr3hUNd/02goIDeN3HleI18Ag679JwPvB2j1G/DJKD
RrCErr4KDKm2QD7p71wPDT2Kt35v9btEQz2X7HkMInVtvXsC8o+AJYACLvyVR4HtSLHpKYbb/GE0
m5yAOLNA93dTtPtZMFvsjFVTHYN6nzaENw47geVJd6pP12+vEIvYv6Zsis51cFRMB+zyWuY+VSp+
HvEXeV+xtmzNO75LEg0JHsHVXOowW+etJCUqyS/JwCgvXfbuPuVaNml0eC/NEueITTCocQnEzmbc
LHnveoDHqFl1QdSNAUg7fNPN3eheJCMLbcKjpb5rdzckPz2VMdqr2vwpa05apgU0yk31M/liaQ4W
jmP4xj3g346w8pYfogelRQqQGbPmIa1MTZhhOI4t1NdR8zUYn51E20oXLsAnuUCYutHaZoa1acRN
MIy1yt8puAjxbRh733/VmkcaLPX0K2JBnVvmwdJQow7HBn9nP509+hmm/HlfkX2z7SsoDZ+K1z5J
q8UoCVwhbk+xYA/YcEfORTHpm+w7dyuQGLl3sIQ2tloEA2gvnkNNO/Qdgo7PmHEoChikxqT30AwW
kFF6n6O6OpBVkwdLy8c4DFUldaJdK/98zQX03S5d9jUuwQGIWxiX1lDzim7cdhhBG/0r0r/65tXQ
zhMT+fScJQ5dMzI6tNgWgXcG7Yif7fFjLKL6quHh8LhlxuGaVj0PcLJvMf3XfGOzHrXHlRQx8jWi
6Uzix5Ka3G3Exsq52adfTvi3hrDBkizjhAyyQfN3vXGTAUY89yshl86dTbNktpZbh1LJqIGLpuhd
UKnHvNdGuvNZAUjvx0TTZeWMSLmndHrXrDDQj+kNI0C5M2zOmNgkR9XBEJddlOBkJZGJ4rJWknoR
LS+K79iUchVgwprtlTyn/yUVYxIyzl2NrYDPxHyNiRRNAtisau1xC7Eo+8/iEU5srpFQPzhcGnwx
rLPuUksePuCKVn+JARx7wXJAqVLFWEgGj4nLTKsYje+5ITLYZ2XaPxt15mRtjYk/dcQ0mRIAUYHR
TjAJk4QzRMyVDVz82orPh3kJw5TKLQ+SqThhketWseGK0kcyiLfB9aHol/ELaxpK713jvvjaryxR
EmAQT+WB5GTeYub7gl+ZwwFMWEtTE8kWIYA7KYbPervWxwI+ihVddP+7SxEYTpdwmkPHmQbdY0bg
3H+hghqqf88lttUfR6c7TSPHdzQi8Hxq/gstOjtIQAMJY0Xmk64hd0gk/kPbtanjfksHOUPkqooj
/9AnX+VIWlS298EANDyNmfZhFuDTCNypD/awH1F7aXhxJ0GHMqoH/0mkxqw7JVjcYmc2e8s4+hgt
uHwlOEDQoWsRZcRTMtMhBcykMvQoxJkR353ewXhBWGbz+H9cOIR1Sqx+uMqK14AFVeURRkN9+REX
yAO158i8cMyRU/pkvrGtm51KsUiJJMEM5IBlEI8pRqo/y3WjgqEoX36r3JeiADgW/A6MzO2k/tb4
GWIdgCkLYw0hbTNUl8ZCnJrU+I0GGxofulvRvhgsfuwR+QP9OPuUuj2b0zGM2Vg5Het7ngPXXrsF
EwEdYhX2aTw1sD1+dLp9Ja+dmW2hC5/a1sHqxy4XmUYrnmS/YQ3W/quYJkiGqy6DeSuBI7cxqhc7
wUcVcwjXPo33bFrjLaBS9DPWHunVgf3YBLsQ9KqbPSwS9ZBUzSeGeuayQYzAvaL/63VtqXG3RszG
TeEddIuCH59WK15niKenvdhVeO3y8hFXYhk5uNr+Bg2pqsc3NCxjICr1cG+mT0aUjWXvRl4s3EA+
2JoKhc485fHo+LVdCzW7uGG8F3ybVfVNY0BLKDAwB2gO/7Uk0dTGIcK8VGcnnUw96+wgGk/EQZLm
OhCEV0JHaZOLAkfZux6XGhNo7y9jdxuO2SGP6R3nPEHIdcgk8vn6JefQCVc1C+ekvuuKla/Xs/lq
sORulMXL7O4MsanUQa/XFWysOkKB10lzpUXTle2d71wCJrqUokCnOa7ZFbqwr/wFlqNdZzoASV98
Yn68EooBjAuvhax+NxVPYPrWM5IUtbe03HVgnXXf5pj8cSbMHcWzKbZeB3SdGQQaD9Doc/53V30x
F58h5gOmk/ms7vz4kHV3iZsb7s2E6hkknucvfevQq3MY0tj9sxpop/ckRXGU/pQDjjqXww9PD05H
6d1zeZE+Jn6UXAEXqckm0nAJ7SOEYkboG0wfXXPvYlDLbiZrBuJk0NXsB3s2rO9EfYjUbwlhJpiI
nvXtTambYM9TuWoY7NgRVQWr6Aw5WKG/DUQ6+SZgpTMfbA2603fDq+kjpvNp+RoOLu5N1K9maEC4
ZYFbwo6OeaIJP5Ls0XV0gBbfYAjhCEWA2eJy4poSxKKWOABS40kuZa1e0yjhnX+bZ3xuC4WHO9R1
Dp66cpQSNXIMw+vAhc4St0/3Ja3zNHqPxrzr/TlNZ4wmj7pubnSLFBRK+TH0lmP2VYceq7e9Yn2q
H0frbx5+aq8y+BzmjR5C9opiIc3e5/V33wG3xYtuPVrtyXjPtQ8tw4SQDEYrNl40Va6m8CMt0nVE
D9bEFwosX+4VHTB63gnhesmoO8vxELeHgO+pVMcaffccYsXON+BuG9NnFG0N7SINQhZrctwZhRT4
ysbZzGDRJ0200pzPoA9M8ejLfind7gqqUDI49fkoa3crzAhlNdimXKCUfNXLn35AwUqtNtjlWvgp
eqpHNFIXxvl5pMZItgWg+6mwyZxgYDTToJKd0W5S7LlT0721Bs0zuc9iz8kp0M90I4Ogf57aWjOq
skLlEuqvcHQSE/U3Zq7M96722B8EDxuT5cXAjesq1DOozULk3VoQ7eeXQPP811gPNkHcfWrEyTRQ
MkMze/fpc+MGigVWT695qxm8KGvf0fgRORLhQRZiX5IvQFVkTuiCs02EfYwsQXDQUpw0P3JXDatX
fWjOdkW8swGICydNzsOFu26hKkrp4WBIfjWMq7vmmaL8ReqAGI+yh6wQK3QWIijWicEbR70xBhwB
MDsUXCbmJ2UKD3ttBptJQJhQS19AHdxU8YlwIApouFDtS98yYu+1Y9l/FIAvSmtTAZmFUjdBC2kQ
UrEP7oZX1YNvHTFMUxMBSi6Ri0gGXiOLcme8NrQoKbObUGEjDz99As/FIXGaZRsV1wjFLxIz2CIO
W41pbUXaOtHuDoz2tn33IjhSJG1XD5+QJp/hsDvDWASxHwyj5QBy5jaynyfg0efen0quKfclCHmq
OKSn19nWM1uCnXBax53JFq1HSnOQpnsIagTkIB5Zh8xvcLdBAm9Cd9XdFpfeIxi3jQBgRxXqQtLj
iw97axZ7gh0ilDQ/WdmxqXVkODNyKNx4RrXV+XHwUHYAaIwy+lAkoDnM4jpI9jEWM920P/EmXrT4
ZBa/w/Q6ERZFq7auZ44EVPZqlzc75Tu7kcswiDEu3iLa/PCiKW8TGvUtSaD4vVrSZ8eXr6quY5oS
EGlZYcX0Hg4DLvAPC0GVEEScPT7H1hzjUUNpj+4OIehFNaCVi2lnwBt7mYvxaAbayGBRY/HujkQw
NTpxSmpWjRfAYKcBXbVY1wg1onPZvpvD+zxmyBG5d0FGhFO/UD1xvAnUU/tgZkCqv0b/QYwvdNJi
rqPqs+Rr2vP/SYkF+DIgSapDVDnu2PsvMobMMDI7LrWIEzUyb0a65y4t6zti+sQ7jRqTZjyBMKbS
6JGnAJ+j5RTtCcfuIt4ghqNbhy9kGvZpapJFJMlwAaPnUMJMbAMDVJPxyY1/bXLf6nCn2yBXhTGc
szheevGr7uyTDI3F2qB0r1n4TmrgCefK5B3JSWiCvRPn0SrAjhei70PtmIQXW/yRvA2fg5DWjVnM
kGR0qa7hMGKIGHQH/3nWnRmN69zGat9PXxGdadxyncgD46VipHIO/2YH0JwrhFw6zT9q3HpO9lWM
Jysetm4JE8QfroUN8NJBHAr+Rvkvln+JMd9l+ir1w33k/WuZdhHJvapaiTR8Tu5cT3LLOZzj8AAF
Os729eElcblzgg0KbswUgFALxgsOc2LvMyG/MEuOhctMBE2BivK9bkOEI0HyJRPIHkJeFgZkNZF9
PazUEkay2uapYKY/vNfmEJ9sCMaJhOHle++6L8MncFY844mddxwTBdveLt9FhQCWZCqJlWNKiPOK
cS2K4jvSWadW+l0I+icHcdyxdTWeYm5G2yTeM4JTWTAzIp9sI93mEmB1y7V8b9ThhxMA/67mj360
fPeiWRikWJgxhdcBHODpgleFf4hrNQpuboeutLegcdmOWjlMoiq6fUZeqBx9EX4qPpeywCOhcAwm
zBwcMRk4tKZr7vYoMxDaGkN2C+qSVQiBM23qE09iYnnj/YeTdaYpudQ2y0iyh1lANVff1rI1Hols
FcX0w0Me8zQgi9GMRlvKRn+zzYFFmIdXm/Vs4yHb5P61xcXEpCIT8HPxZH65HLJZICH5EdPkeu6r
nhsEVtjXXKfn8QkAXnYBM6piAFlscnza3XnMxFfhQQytZbluDIbwnthXOAnMOLinGkaIhtGMNsO9
NP6UM8LBqOz54GhofCiQgUcEyJ6DKXtzyadtwxbZjX/U7OYcjtqXYNoQMW5L2gQwmn7uB+NiDfkm
avpDrA/YtBA5OKwTCufMk6zoB7HyZIwWgQ0fBwbF2sRWRg4wDBMq0TrO3/W223tcHyq2b0nOa1fS
4S6ytHi3Izw7mfbe5SxBKhcQROayvZhZhJMxkCVaBDXnvIlWS19FnrtL62QVl0CVhmxb6d5bXrtr
vWWbqlpx7Kqh/29q3G1Jr5nX40VqwPGMcaGjsBYq/cgqh20kyO2EFo2w5YKEAJGh5wnZXWLMGVuP
kdEqan90xMl1NaxmN4yL8R/QOr4m3rMS5cA8fS6nQ8Hqw6yoWg1vEcyW2nZriBurBQrifaVQeIfk
HGUSWMT0n1fS8+dkvA8cyQLNw7TT2AXGPFAzrrRCEx/FT58WBGvYAmKmI98nxPledXIgY0/WzSx4
q/FORQKY1LiP4zkeminz+EMsVOmiFtCXU/CgwstYuQwoUH1IV43S8WyzzuKbRPdXci1KtgE9MoHE
PRa9vnZZZ1oDlMbf1LyFzXcm37UGCg/fg8dUFnobAG6MQZBRR1ycA3hqP62XaXXts7s3In3EpeqJ
f7H619JElh1HCHAwj++WIKiopGVm9GGhcKsZ9fugDLvqU2QvNdc3fenE/Fhrv1JaFBvxVPws9Z/W
pZnur70NU81cJdMJ5aVsjjqSPL34y1H6lRu3u6XpCcoBVfiB+MW1BwZkmhik0/4Ow2fPjKLlSIqN
D6GAQxLqkmdfhmCz6obr2nzqI8pUnnEaZBbIAVF49c7tERh3ZAa1ZwGjxHwmPd7oDHeL/YI9YxXy
IhmQLJFug6jhVnEO1XBVg+SSPDeMNOpVEPWrznsqRgbYpDJr1kWRAakwh11ititNACTMema09/q3
9JhtqLU5siIF5fJ/xWX/qfl4sZgTWeCGkvp3loSCbmrheWhtypxv3g3BYHtzh6U//oXO3QvwnTH+
S4uHVBcsKlH5GnN+efLU8mCU/Z/E3kixw3nCb5BTtQse2jQsHI/Vxm/k/wQTzXdVP83oZCI2cSQt
X5Odk34C5kGFh5xOhigPB4gHAPg1QA5BO6IBnl14WB1DE/pZQyg3U7KxWTTM6qriq0XqFxUIrIRG
FQ5MoOb+HCWIIQBGnbr3Nv51CcATs7uMVm12NZHPllP4ppHi22+r4Szjk2a8p/q979589zPqr5b+
Oo9lEt5/XtgXMsBRbdIlA5hA2Ye6D/YcawuPeZRCTJaqu2hwV1ewW7chCblh2+0i4qTJRnziCw0U
ZPiL457S4T76H13A3jWg0TA+h4TJltricl81GRxI2GYi7jnxOiBG4eBtC8LV0+qFExBl/o2fc5EU
dwuWaK7xG+seWfjSScqRYNkASUmye1n9S8GLe+I2qAFFCSBvi7BI4qd1SsOJlaxgZuyDcqs3kct7
nC0L70AM/copGMb37NBLpmf4N5gbmSRYoCCoiFb0m3lm/J9R3fJs59kt5stHWt6y5jdr3t3+OcyL
m+ozgg4XPUmrG5NHjcAf/WExy66xF5xnlFqQHSyTqb62sYePgsBorXoM07uvod11dqk6dLYG2GU3
uUet3DChLPx7y5FdXSKsQSx5sUGf2M3uDNSAGet8nhQPi1Z56fEajSC//kfame1GjqRZ+lUafT3E
kEbj1piZC8lXucvli9a4IRQKBfd959PPx+xBpeQhyFGTdVGoqiy4iUajLb+d8x1INJ56QhEzS5jb
3M6d5wxbxb3v+Yryl6i6B8lO9fckqXCl9VxLn8EMXyXhndk/dfYTpBo1W9UDLwG56WivPMklSDig
93Su9PEJBrnurhz3p8dGGwjkdetwgCftZFQfekyRVYNUCIWoHcwscxdnt8xqCMHWJg7gpmcJau5V
C5Eox0+4pNyIkjJtqHchbp+qOYZ1cd2x7YgzbmraazdES47kur3pvfCq6aa7GkYFS4aWvSbegxee
/HRlJmRqYKXt3JOmpewt3o3wh1JAnqg5xzezksUmWzf1c54vUqJDRrLCnBuSKTrB/nYm+nfh82nK
jV4cbA/17nQQ8V9BCAFmIsd72ArCfxWgeCMiUQR3j5Xor/v2xcbgJJ2D7z6YaEGwv2j51q62lbdu
wlVdPCQakSMNqY7XhLza6PT6xzIC0YXpOpEP/vRCwDebiwk6VHCggC+T9D8olJfdw2hwDD7aiLdL
tJuReZcQuao2WP0rTikuaGvEy3DvXAOpdVcexxyVnt+vkaiQ6ZInyvVYW9xdoqI0uX1TZeQv4kB2
ay/3LCb1Kty2GAIXWjxsgt7UqEJXLxYV2xBAnptRch3KfquYgzJzg3qvezJiu9Vlcwt2jspODQfa
svBIrB3FdTZiIjSHGUceb2aWI7eU4biK2ciSWp6tcoXkg9ACOuapbz0bwjbiHimP22NjEjTq+QHa
FRUdGg5HZ+XBeXENcV9o7BWMOjzYQejgIjAWOc6mQJr3paqfTBxjceQSBYXvrjDThSfrUxY4R6Vl
wPoRCQwcO53YvAkA5C36SqU3NLLhVdweNecEA00Pkjjy4CN0RDqvCd23ZwdQo90nX1Cya2F5u6as
1l1lH6vQeQ2G8WWoy6OVuHucU4tK+kukY9wUDCWCPKrBduxPKxFcIyBIFqgEGSdLA+vAUk2gAAp1
PnCt0afZDEoJOYJwZG1q10l0ZwpjmXo3dc/+SInQIb4NxAWUbHL5WQvll1NvbPlz9Ha9sjNNLvYe
mG2NchMb9x0LXklmoC12zWjxEM2tmJxJ3FVV0bD0JYGWmrXv8zsj22i6x6RenKbA0IKRGBLeErID
MfSVYA0S6h5B1Wvi6+tYc4FE/FbYYCKLSAmjCuHS3vt2+hzW7V0c3VYcO0TuarNCNFeq/aiF5bZJ
XFhk8wrhmNtulMYGPOuHa8/Cc9NBWwB2eqoF1kz5lzWjQ4GYifomSDCwygaNXvdSAt0IVBz0VvBg
jvLFhd7mJ8eS+Ccyyu6LJCiXVbCjrxC2j/0c94EAk4uQL683WXHTsHBEXM0vfDJvlIlZMwmq2Kwk
xgbjPxku90lWoclg+TVxW8bGPDO9vWdCsVV11GMDYgbjVtYOGrF4xhMuQtzrSvMMI1GlKp4cqXZl
eXeTF86NCSTM48IeY9aiiUCPoC4alinunzqEXEG+iUqXDF49b2rIUzn/W9XMFSuDufdYxCzlBeKp
mLq+CHd2X8EY2FuUpSIQFLl/NJO7uLaWAQ7WIb8uuEGIPc4abAN8Kp+wqCW7soYNvDd6854csZZc
Qat4c5TnrIPN6XmzzhpWaVntHUbC0tFQyjXqQ0sqyCJ0sKz41BEMxOSF23JFwBnc8yNqQWSiZfad
oZIA7R7bZu5TyVM6Jrn0QRVvkSEpnjVL20Bc0lenOO5mdan/GqY9TMDkm1c+hV5raVkYeUpvlaSU
nMnsqpL+tgR+kDb9TzOCLM3HHTFb5FhYoypeR9P4bjpqzJKaa/wr0d6dIENyxz01u8yBUByHBSas
brPgTlNDysgmJDQ8mYFGOBIObeJWlELVl7rZFctsykPKudAT3PwgTj1o/qO0OHVpsFAU+91nZW+U
08SaLSjZWzCifYopWrO1kQ1kLHptlM1Sp1xxh126D13wpowxO9qKFepGxyuY9nAde3ZcNbVabp36
3rpr8AUnWXmN3RK0LGbFgnp8gChFIee8sycfaVTdtagLyzsv4aL/lE2ZQsGLYbxnHHRsJYRD6bF7
RCgcpbDnqEO7jbZy2uJgcJLr2vg2T9R3ciJB90z+xiU3M1XySzDeZLHAaSm0elUaRx9MQjb0XNPW
K2GU10mAMti6CzlB20Sm5s+d+lhyOzfFEFd9sy6bVaKsQ7BLdrp1qVVKg31SQlo2CeXyiTgj1Vno
qrkJGmUZAyzWs99R+aC5t15BXM5tmZpPFmgHkLGo3juOjZjAuwPkpGuDCpSOVAGY597ju0WJs4Xc
zXCZD239IsISKjCM7na4K8GcIqzP2R3k+cHrI27G2k2auRutRDQTA78uJ0QGhIgMaCohCZ5NUhf/
Ac8NlRw9n9WReuvpWBmrlDzOIi6eoiCdkKPWMdHxH5ciuFeq6N5QkSXGPUtC173Yjhgfk1CgR4c2
ZLq4bcZ+XbpwiGKysH0uU3seP+CBHMsnrVAJcef4TyIOlBn7WIIpIoIDpwBpC0Y7aRfUxKvE4xwa
8mO6Ur4YSblp/HGT2xwLUeC+G6SkzWLMiWNsrrOEtwnyBiAERuMatZf0V205bGt0upV+lyTqsugw
/9iv43iKsGQKSegOhaCon5umvtCC58KgryFhuO6zlL/zaO8iTchS+yENbfbLPzXEC/nA6iNvLPMl
MVJMDvo6pEQS8tB626I0VA8m99dFiSKu4BNRZQvAfKeC6VOGdTPKnRGTCBmMVPta2yLX2Xn3Pf3W
R6AXuiM2x7a4M530flSqgxd08xxIJkXNX70azN2MvUDdwzBn8ogZYgk3igC2Kcwvi+apUIIONAYC
aAtpjqaTGSn2ULwI0SOHDn1GgNyd5YrS5Rol0LFRbUhluLT0riEcqaEs2/kJVoQ2d5ulR81uOQpB
/DmvfV4gZMcXQogyfxUiMVWD1KkXxTB3hhAPtxWODcL2eHxOrb/g5ZQPPEXvNpqrez8lBWCsy4q+
6dK+JumMO+nBg9wpYojQgIQGZCBIPaIGM2xaDNmtzI0ODRgc5jaqiXH0pty/TBd3ehkj2XdVSLGz
SMIZQy+FrBWIQqIfCF65bqqRfSopq9XkDqDDmg0ptm3szepAX9v8n7GVzfzymCkARzoDGo+LbvbV
hRUSbMaG74pYhvbYWtZsAmFkBQUzH3pyRPXOPkk8avh2512/STAsOOZt3W4KiyAnr8NFb5XtDy9g
dItYwN92bowIVGU1PA9wPf2BCz5uMxSqlOw65FbwSiynxcBKFR5giSQM0+D8MZYIE1grFKgzlb5M
suA18hAPEWxS25SYW8s7GqyWvt0QPIegXvoqASsJRgLXljaqhAbXt+Ujm60rpHlmVZASYTYeFyCV
sXd1JDuDaljjMgwD81FNiA1SesXdIQIBkWeNlnb9n//xP//P/3rr/8t7z/ZZPHhZ+h+kKOyzIK2r
//2f1n/+R/7f/+v6F//NRrerIy10dM3RbB2dIP/87fUYpB7/Z+1/GGY0tPi7lR0yFPvXEC+1eImK
BKXB9+3Iz+04ghRAIHjCMoRuStzQZ+0U1HxiS/oPlrJ5EsP2+18/e4o/fl18/vW24LrGVHX/Iahj
boHQmVCQd+n7zDkMSjT7vrXzZ9E1KsjCVFVLc1SLTvvcGlXi2hldNTlyCFfmqbr6d3/eFKoqdUvX
LJMrx6n5j6/E6KUS9IZybDsIbgfyUC+8C4Mf+PDOedeWsNGNS9M2TdvRp9780EARdHErXc04LoaI
XHt93anp3ffPYJ43IXjXmkYvGbbOO5/+hA9NVFUk+9HqWOrSX0P3mrC9QJV1VSvx/PuGPj+LrVm2
cExDWFJyq8OjnD2LSpSSPfY9WFGSG8gBihd1dKGJz88yNaGrtrBsaQnT0oSuf34WPi48cHXr7Ebn
qv9VYqaq5siFvn+OS42cvXTEupl0dRqRUJkKWGjcOzDlXBi5l1o5ey0ZlpMwSjpnJ6CcdTuXVC2I
w83m+2f5/H3QYY5tC7rLljrdJdSzbz3U5TjI1g9OaleOC3AIyS4cgPx+38r5m3dsruFMS5emytfo
nL95/L1VrlKnByGvejNS2iIiPgFvDx0pld835Xwazbbm2EI1HL4WFbi9Zppn3RZ0HFMCq9b2TeYQ
ThAoMRh8U4qdq2bR1k/r5mFsVf8ZHd+waZI4eP6+fW3qsb+/2P/+AyxpMykwhzq2cTbK3awZKmnq
2j61VpFiAyhHkT7uyQEhhpMIqAh4v/AXpbwPwe993/ifD4+2hTQRnd2WQS9M//zDp+zEjYhE5CcH
6ETc9lJE656dCh7lXgC9tevrCMHE901q6h/P+6lNa/rnH9o0VUgBnUiTgyOHH73SYFNzCBvLYK6Y
xMX2ALkIsU9u2o5rtMS7MHl90d1T8w6X4sxewlLP3vegB3Vjc0NwCIsSx2fx3LCJ0jt12Qbcu+d+
8lsUI1UwEpkUn94gm+JCB5x/qA6zJmsLcxvLgGPKs04PohLSPleSB6HoVEjqW1TELxz3SGm33wem
dfTD9UNl5LdW2N2Mgsv6JprbWXlvhlCmzWLmKCSAf/9XfTUSHI0VT+h83Kp2Ngr53hToKnZ8iIzm
1YwCKivMIdz956kyC6I6nFeh8ZA0yYXemNbTz6OfztD48HgZGtXss9dR5RW+yTBODhGG7Qr2Wpky
E/fBPDEeSjynIXcE3z/plwPwY5PT+/kwAIcYO3iZMwKm7XXf/Ri8A3vDK4ubcZc7ugidUNZShW/8
S3186WHPOlnNAngvXZIclCjTp0r1Pi0aiiN6i5kk+dmaiNugYVecCYD3Qit4Q5R/Y46TC9g82lMw
ko5PYLS2eUZyeW7gnOR40mv5ItILzKKlct346r5GWwnUAhRoRzvlmOCX06liUtujArMchIScjYhn
aJvfWUKFwkj5L1RAOwvGDSxtJS/f/J6DvTKWO09663bgRgstmB1ho7czVJ1dW95SsHly1PTGrxBn
50Rrczf8aGnRk1ug0OZSEWsPMTTZSuUqujIGpOTpjY0joJNod5AW+DYVvYjbwWtAkZgFWkqSYAUW
AY6FWVDjp6IGiYg0Xvi29VwZUMItZ8PNN4wTS3lxucNspovXokSrMQVI1tzjqlb3HJsjCY1AJKmJ
orrhyjMfsTr0xN1Buya3t9MWndduRzVY27ZyUCxKR/QLd10lIX75zYUxN73ZP4a5wyyrmWxkxPnn
xSc/cj1OZK2pjyoqPZULE1RhpZlzXSBw2Bdc6mDJBEaRcWJLzHwWU2X0OV1q+A/w172mjYKMKjhc
+Mv+XH4kH71mm9OO0fpjCdCzQRLNleWHqPhlMO+TDivGewleuTLnjku2g3dosR2qUXPpQ/zzc5AW
9S7dYDOBoOG8UwDphK05RPkhVkx1ozqavtC5S5yD9qjWdk95UY14R5prBj/0TrTL0Bia21AU5mbU
VHWuxARbW4GPPXDEea4EXn0jGVILtYuaX9/3k/jzDfLHSnbsgJos6khnGx87MEnX7IzsgGY5aH8F
2ZNnNdDFXpohvZLtOAubW8wOGlIaoXJ87bkHN5xNBcrRddH1MAyTmrvK3xwq57l63VPDShGAG7A1
PX1LrQEPWv/w/V89zZ6fhx3HP02ArOIFs8U9m12D0Mt1k1rsYQSMigp5HwUFRUgO9hemNm3aKJ+1
ZHMosNjPaKrBEeTzpNoF5AYInUOBbnvFRnRYRYZRcW9UO4hXlAgJJa34AE0tAGzhyP5WSStn5hoO
10lRk8wIQZCL7x/+i+FlCwEOS7Msh8392Z9kWgFY3KbKD0HxOHTGMU1GPAoFN4ArJ36Tarz6vr0/
l1BpsyXW2a4auiHts3VdUb1MNSI627EH/Y1UDNhBkvorBRK8o9IafstBGa8jh7Ji13Dr9X3zXz6u
7ggTI7YmxPmxDKVJWxlFyhtoMWA0LXcJmgZ1sA9u/Tb9VSRgKIrMubB+n58HHEobQjqGxfIomEjO
HrpSfUSn49TJ5G+7VTxTrP5CE1/2699N6GcbxjKWue1GNYOY5AGJurN15zjA2JtKAlN/WujesyC8
MHi++HI4F+ocPqTuGM75NjHJiGrsfCc/iJR8JhvdR9c+eMK/tDD8Of0aHHGkbuiMUP7tbEtQBF6T
idQqD5Vm3FWY6rlirE4Zsk5Wv13uca8WyHWv26gVk/zYRdqFY+Of89rnP2AaVh92Q3GXJ8No2yUb
sDuDykpPTHtBTWvgErXVnPn3g/TPve/UmmXxVdpsf+XZhNRTSBqDyigPbuAsjahcdU29Hu2EMAzr
wvLyRVOa6jBTT++PAtE0Y314sGBg9hsQwh6ERsC7nQT6ItJyBwaq+O25g3WhH/8cMAbNWQ7/0nUp
zw/GvF219aq6OuRaNhNTVIOFAiWwL3zlf34MhqZpxnQOV4Up5Nmk5jtd0NR+TzNGOc8DHSh+vIZl
vzF0my8fAGtdbbW+u/A5/PmZT83aKFv50DmVn33mXLBbca/RbDR2AlNK4K+wJ1g/vh8dX7biSMHh
SFWJMjsbHa2Vkr0E9f6gjOk+beUpVYz19018cf4zqC0IXVNtnVrl+XG70PHXRfVYHWxCpzFSol67
akwgn/a9MsmCc0g5Kc6KQwIJ9Pu2v3q8j02ffWp65xaeza3pQdHslTqghLJb+9Lx5otxSMlUsOIZ
Oj15vhCneW4Vpd4Ye6vFZwkdLXnwrMpcMU7G3ffP82dTbNpUrh0sxqP5x+uCFYDqywyDQzcOw6IW
Y7lJtaxd5EU0Lv+tpoSqS4cX5vAhC/HnvBF5CLKbDGZgVQfZRgyD3NiZCmLUVNrb75s6mzeEKv+q
CDoGxDjBYD8b6m4s4qJu4H/aboWoQkOwYGmm8Z5yY7fpSQi5NCKnH/ywdZoapABja1hKbEfVz0d9
HsWJp5aqctASx3nx9JZI2IxghajysC8z6zyKEgZkEar9cxOjOgLd3b03dlHfcWNMGKDucKLpGdUw
kEIc7jXAh0SX3WuFzpmIhSJRLlRR/uwjpjPbYTtM2ZQZ4WwWytVYNF6dKYfRf40G9KPzvtxHw4WF
/2x80TGfWxGfZ3BZAHhz+lQ5SB+Ce5Ab2b7zfGWL817/9+Y3SoA8iiUF0zRFcynPFouIAyozA7yg
ZkCCCffxwmJ09un/8fvTP/+wGBVVnGiF6hSH4kedgxX/h3/+1JMffj7v4UUkCn++HOZWvCSs6Ptv
4nx7/8ffPw2IDw0IQ7FUb3ALwhT29qOjHTiXYWpOKAYgB5SwYxbID+TTqBy/b/lSx53tjwi47rO8
kXjDDWIQZ9jt/tnvn83JeZ50vqlCLEUwhxkJb9Y/+/2z2WQYOQWpI28mHXcSvrL3z37fONscW05T
W1nN77OPvNLkjtSR7x/gj4/wry/DsliTqV7Y5yt/5dV93pgKckP7VGTLXi616u37Js62oP9vcP2r
ib8Kdh8Glxq1bTxBXQ+thKsD6KzBIC/JcBTEJbEV/b61Cw/01wbhQ2u2JNNuGPkUqfs62aqr1qW8
MKguNSE+fy0ZRAJ9mL52VB/QngRMmPFCE19/F3/32dmEhXrNwwBIE8BSM84GyoVeuvT70z//0Euu
5sGVrfn9LlqVybw5/bOXcDZhaYoMtGjklY/xNdD6pIVR9g+f4GzK6iKw4UFsF4cSxzOz04UX8OWg
tSWwBcFW0pBnP6+XaeiYfsW5idTbKgfthL/IireEbbjFpfX2y7fxobGzWdCulKQWZlkeHOuOLALu
R1b/H+/Dpu5vcAtmUmn7/LoTKx1CrQrLQ+0AdSBLjEAZP7vwRr78LD40cjamvDESY5Ly0pOxXOSj
cSrLfKE46oXNyZdvxpG2bWlUY0zjbHPSJGMrB3USSAODR4dxvdeHNTll3/fY9H4/7dqmeZGrnOkk
wZ3+efHSaCvFTk2Gl9RQEW3032M9M5+/b+Or185dO/tdR7AvdM5eO5wflFR6W1KevoXtm2NW+2cN
nK1+pl7X5WjSAKqapvgRAML5voGveomzsFQpjGk8wvkTgEanB8f8kLxWeDn6JVZIYK/fN/LVuJIa
93mc5FXqbmeNuHHtjq1Hgchstgr0uXJXX7q0+/I5hCENiT6Ee6qz+cp2YtsjPXqqkquncIx2mVe/
+Z4KdW+qmH//PF+9djyP/2rsbGrx86YtPIWSvGG9XQnn5/e/fulRznpr8BK9S9o4Pwz2zPTgb8xI
DqmbCx/hl61ItgwSKQ1XimcTSurZIbtSrzjA6g/ubP9NRs+juLCKfNlRpk79Ea3TdIT6PGtxaqyb
PNd48dFNvtDNf/f8wSfOzfu/fl58/vnRRt2pKmp+SD385OLAQoVD7vu38eXYNZHqMHo5rp+fNseE
mzwhe8Q0NuSAsVzaGkQaK1h+38zXPfWvZs63iaxPJoICmoF3OkvG0wAP6PsWzq9V/9rFcUi3dM7M
05R49omQtz6KunG5IAHWmS99Z23YkOSuApJTynnyU6tn37f4Zdd9aPDsMwn8LDGTkgZBtLfhHXLB
JLuwLH45ih2LepfBcqKfn3MNoxwsnVTtA1k7EHRA2fwqDOvKulAC+PpJ/m7mbKDxtRsjRo3sIF33
etDDWVuh06e97zvsq0FAtUaVhsHrQYDweTwjg+qGNkJX7on7AbGi5r//owbOK/WW2UIfs2nA/h1k
W13+e/Wmv0aYoVJ0gApmUjQ5W61UI0k0zWNetPWFba4SrnH1Cy/86y76u4nzLoKBVsPlzA+ZsnfG
n0ly/30PTZPr+a7h70fgkvLzK0Bha9gtALiDZ+ZXIkFfS6KdKxE0kr4JIev71r4aV2zouAtCrWVR
X/rcWiVLv+W6HabeSNryG+fbBN/W92189Yl8aMM6m4PbKrJSlszsMMIdlk+Euhdy7uIS/b4ZhDHq
l5339+OcX7BZhFgMZFjxOM0RTsGM6ITSvCUlEielQnIO9yO5TgrCPhxOvvO7B63sYpHmmlaGt0SI
O82Lxh9W5zhM1j3CYQ1amWxeJDnPdT/dtL+54c5r7Znm/jTlQ9oetPZ3D4ZT08g0fa+bW5QjiCVO
urMxCRluYfm3GcLUBTDkMNoKfjMcSVq5C8e94h787rbXf9fNIcDHqJBvbyRojdpTYL5GCZAG7Bw2
NPYjvjOEiteW8ntINhaeJ+dGzVedtcWD2ZBxEflr3ztlXN2q7oYcOiu5k0VxVY+3Zn90W3GVigK2
wTKXt+FklKgggRNcqayq7CmtkGYWt5VYROIhx7BaNa8ZTGgwUle6uVWzYwzDbLL+jBh5NJJxvKdK
e7X724n4SZ5phV7kp4uoO5lYkVEIPCG4Rhfg2PkGwXwlIZ1gnX0JVQsC3luY3WRVTGgfYvuuvfLL
A7b0vDn0BLlh6c0Ui8DcR5/EpDEGeivAZQBue6wJC0nDtYhm7viQ6xut39nZQqqEDZ0i7whTZgos
tPVtXihAiB8QjvEiCMZMXxKvn6d+fAKSVZmPSXwoOfO5i9j4CWtWDd5i+1aYAKxV5LzxWgKaDiHO
trwSkQKSw7YbI3T30WV4wW3rPurGGsctIOuUWDtxilIB1wQGTn8qrH0HZzNP3tzolOBi82V31ZUL
TIRRs5+szPUk48LMaNLrkhia5r5St3l8G/F4JiiKGICjls09wm5Ghbr5vB5IDpZY2hq8g1D/J6Tj
NjL7qyZ/66AS9qa+9ImmtPp9658C5UdfLXLSAW3Y8T1hbC33yfcKESbOscwerMxfepABVP/W7X+3
9rpWj6Nwrjy0TKl0HwcgvSbsrgw+ulKslOSeq7Gx2MIj6esd3VXAlXC3SM2sAZ4I1AI1pBxTECB4
U7fPQUvA+bJIfiby2AAkHjxoAOJ36NxD7rjuxp9ZvQ7q1w6CB/NZTWIz4NHRxmV7ynj4qPnZYvdQ
tG0Nq17iz3I4+Gc27EE+Oyh/6D/I56HKDhO0JMxpIBu2XjVEyXJwcH7A2XaUKeW9zW47wL4qbqz+
oINS0ysIsKuGlAdgPoQ+W6doeBfFXnXvoU9PnO/cxrubbv0pfgGfzoiRYnyOEqIX1VkmHxAzDcWS
6/I8AAe/raxN3QNtkROgZJ60+8IhwAOwAWosrm1gsFLOKwBnxMKCqLQlu6Eab0BBqUzphr7XontZ
L2t1j/NTomeU6q0iTob9yze0qwptVn4PIgckpCC3AXQYuF28rlcjaOIqmpndydMJ96qfeoAhNfwl
8uxzuA+ehMTQePjLF2W9g4iOA+7a0NZF9OiM69ZYKcXCjNZwc1ttJ4M9OdSEWSoOoQ/tdYWTpgJs
W4TP2CoVj4znTTTsyPpKHIhtO6Ul8k+ZCXGfx6fYvhHluhJrRzyYKjPaIZBzrYbDSR47RvprJVW4
7veJEwbwp2KNFzeWuynKxxjwSkmyTKSkC0fLriXPxqXFDSqU+QDnGLkflePuPrDnfvhqtmR8VpDm
sKpEXLSAfZMW9KkBB6OcIdmaU3aeSUBYjv8W5/ys8VbkC8Oel9pNpN9Fo4LJ76j0ZOve5MONDZAw
6Q+y3Y+4aIrqQZI5Fc0a3PgeHo40eTdK8hOm4AygyspVae0Ug7EY7ZVo7zAh+yQlluR6M7J7Z2ND
CLeLJSEz4JwFb5fsQav+FaE/I7ZZEObhxiOmvninyJu6u0HtOSu69rrUEU0G68QhxxVmSUzoXVLO
tfC26m9N/VZtfkjjYDcHxdtz9J9Z9X0doiAiAQ698awwHqL+p+pAceaASabU0jDVpa+sS2zIlXYy
nfjopOQKvNT6HZkoawxPUcI95sTQsXSWGUrzFnG1ZHrNpxxw+B4zMyS4PJtgAeVOG1PYny79iwTH
F1dDSSAzCuCUIFNuTO+1KFklhr9TMa1imFJhQnWPEGVEvpH1uwQ/3HjaYgDSXlJXa92fJNUtfFkt
NHMbhq+1/6D29osjiXHep+JYgCA2UemVKfbxYRGQb+SZK1XcdO3OQ47YojaewgOK+CYAC9CQDFgc
dLKf2INpxJSgg93ErCNgHaS1CSx3RhghEXSW9cNrfkuEosqNIk82mL4JUa3YK8PfR93WI9NHB5j7
w7Ge/OJFNdbtuNcLkiB+JuKYlfbCVJ7t/D0I34O4mTtVCeV2uEadDPovvm4dTHDmW+u+mHBNKhhS
LVuojUdEgncje6hP1n1qwOhiSX4o6mNkcHGEgqLL3z22WZ5ycsnJlhNX8mC4Nw3BvgIoZ6NMZL2V
k0HpUO7iuL/OQbZZCaxpyJgWMQzJomnvO7hUSn7KyWTQSYXp3lNv07VvBrNXzKyKFrTlTGU8BE2x
8hmxYT8FBnQc7lQAiSdDf+rBVbnhbzM4qEAlMvXG6gqkxfDyVBjS2d5on0PA3/EQzHs/ukpZaOqb
LGG1ALiHg6AALC8OarFN3RvLQaFxo8ttDzx4ois6d2o1BQi3y8wyZzHGNAUkuIP1K7tzm9uKnKBg
j6uzAWRWkEmAQa8R1TrD6VQ4HHB0UGfgWdKiWxNv0+b6yi52QWAcQvIUTbA4AkpnHP7KpAH7I57l
+Qus83ZAjfrUFTsV1K6r/1BAi0mbnQBY31asTGytMkHsMb46YCa7mrCHbRNKchOWiMxuvNoHmy6v
zUrbiJDJjPmlAeShI7dE53RdIuVT2Ay2nPE8hwQ7jNEuFStbHLmKZAi82mm8JCp3EUfdghVwBrxp
3Rf5k+v8shiFFUkxqTde9STfaOa+8phQyLjLjbcgfESmR14q6bkUPf0R0UEzhwFxMOObzHop2xam
CEkXjPFch6jBl6feq8Y9trEfrfoYVz+s9jr2bFgXzw5AwlhuRwZGYj9hSyeL4b1zUwDf0VUk4Ciy
ZQHv2Vn1sc+dWdwiNSX0Otdw6hIPG6MhfgTwVWfV3Bgr6D3ulS4eGTMxfGBdOTrgGbv+Vz/sMvcg
800zPT10mgR7sKj1K6P9PWEB42FcEEW3sUtzMeW2xMNulE+iWwXNa1XCqTCIXw5/MD9eW/pbHh71
8DEnnIj8kewIsO+6yeLdyLqADcorWSl/u9Ym8/T1KI+lSWBGg0n6Pmx2dkSkrGQFGnuCMB8SaCKR
/6tof3oe67IxlzZ+0ge9A4ZeR9mbDnpNPLdQyQqPkQ/zruD+HHEm5uu+ehqG91gnMpouByffFzWr
WUj9fuMHBCEDvHEa49otoccSYpTQpTk4FA/Cnm1te2/pwjw09MegW/mU/W3iyZCP2FMagXgkeX7K
5gB8PgwPtsT/7feEWmusW09FsdfY0aXEgwRGdZXBvM4JLGMe8zl7pGtyVLqm2UHCulbDx5qgtbhR
roxqSzDa9UC8jtG0V0G383WCf/mOHFA3uHv5oZPi4CzGaj2Uv3Tv6Fg/7OancPDOG/tM/jbMpS8e
ArlVKpBtLxERIFV5VKqTb2yCCue4vuvAxxFOiggcv7iF9uXkJiEyeADFPvm9+K76/j0Eb46Radap
88Q+ZXCvSu4IKu9Z5ATGQWpNEAKApAsL607N1Znby5kOR8DvNiPnhog4lWQisSklk+Nz4oECO7qc
E6DIa+5zATukJkUXQGv5kvfgXNMNk3idLsY836ZMhFXBjV11G4TdlTYks4apM+4EtFck8AUhxJgl
zHlLObYsVrZPpsr4I/B0NpgofOBwVQj7g5YAxg6MJQyXvn5uQBQbIUBACDvFVg92SXWwhpPIcRiv
MzAwYxvPcKTPVHnUhIBapK6INZYc9fKHOsKhsJUp/d3POvdZJz1TB/Dl2/cpCKcQ0U0boncHX9Zl
yXXpkzgaPERKyNGpBV7QTvh1zkTvpX6nVTn65TW0iGvH23Xpe6rv3WYVda9DsQ7MhQJ2wbLmaOtn
FoU0FB6Y8oeZTlgy06axK0JzZ/rdnkzmLcQPUd/69k3tABbOtIMJ9lXywJaxrZ2V428hl0ThTWuu
kdFkFgHxJLr9GGsCQFHixy6b+pLznZPMBk0BVcDNNQjZRl73LqffOJyVcpwJFVRyVWHlZzF0cgD8
EwOodTig5pKRQBIxzK3Y2/buKiCivABXqinHYdi4YI5CrgL0DDTOXa89x9kvFbh+Ca8cHqleGHPw
eaBvd/+Xo/NYbt3YAuAXoQphkLbMOYi8FKXNlKiAnDO+3g0v/OrZZetKIjBzYnflKxxDfEtInmr2
cEWVLJ3RWnvBfbTPgMSWARpOtzzifvTD1ajuB6OZFeDBrerV+IeWOecaj5EkBB+a+uw5xqzgTLOK
bdwl3MbdokgpG/LYIGXZ2gpnE0Az21x1FUby/ANOcCDvenKrCjSzcC66f6RgWbSHdAhPC8Jkbi4M
Xvii+AIokXTHIvsI9AGJGqA9SmxAB4gAebiO1sBqBdTgqAwWbQ6ENGep3EGArnA6KoMGyDabh/rB
JV3COMra5kIj1bBcE1rip4dJqNrV1q0PDoO6yqtsMaj3SVDQI+K4hN4HuElyF8un2orvMQfRkKj7
1EI5Ci/TWNZJutaZTfcqm2vul0k0dDbOoofhGmbbvjW2MsmWhuEiI2Qy3Uq/s0nmfbezTeQy4ZP8
hUHBWjpHD9oSo7ym0TFklNuOviJR4e2WgbaSvnjHghYEytzQoByhdPvr+Euf/oZdQf71/BCHyY9S
Ancb5CqyxVFVzEMuH718H4pqSa4LAJaMMGLDn6oKhiN4KWRcGkxorkj9kRTkbtZhNLEgAodoGtyt
Gszu2O8CjMR9pv52eWcfO8/8KTLIBM0o3UXkVPa9TYAC9Wkg54XJcgHEq0FDq8efxNCyhC6bFuo+
qX6nT1atIPEAOOsrOa+Kb9XZ68Zv3yhz2wlmft1j++32vd9s4zpaTUWEwLv400a6+aWKS5tf+l5g
vePnHlKVir69yLHn+to4R0Pb5GuvO48hnGFyp4jdnLa4SXdZp58ASAGYBSss7zFFgzwG5+DcDERc
FJvybhUPZ+FdI+UtCY9e/22AaoGaIfWT75OUtNp28CAWj+8m3HHXSI8E78UkYI3X0E2bcZej+lSL
FLz+rQh3Q3Ou82HRw20fOEpLgqAhPdkA5DEhmurb5Bu0vFtAjDXZOhvqILBY+ALgcN0zNivHfOXO
MZA+edKjJmpmXw3ICjxer16kmOZr6yGieF+nkOeKd1Dhi9op5jWwjNLtF70Yrp2zhe0yT/R7BpOV
4a55LutZVHymVMwC8WakT/h42f+JuRu+IQEboMuknOSx9psT5GZgGRxfwyvoA9AYZt2kXgiVRRJX
yyA8DoCR1WJGATBXl5IiqE78boLDzK3oXHVwMEMX9CnlIUIlX+nOVrojY4l5fdmgn7dtNffCr9B6
D+OPMJSniBCmM7d19F7JehvbExgWpw92Ey4bKwgm/faqUI4TCxrHzM6J7rm6HkFIgh9zXcwK7r1N
z7W+rF2xrMj7ZfvoiKqK/GwQjZnBv4ZbOk22gCYx8DpqTEx2LnkrBliOmVcRumytcZlrL9f5Z8K6
4RR0TEiT9d5CjJOqu0bHH2QV4FXKuex+cryBE2wFKVCF41c3QWFTodH8dtXr58bkrXavdnut8tUw
bCuqU0EBLAQRUT+YIG/YnHKpR/SHKNpp1s4s7hyrwKiVpR7/6srG1h8SNYb5qs3dUKxE8VJLWmbe
HodMPvHckCrdGi5At9w6wamNV1awjxBYl3a0LIqz2yCIIwYzMiTQpno0h/gfe7DsPUGSwwIykrBW
3Y8AZRuMm9Z05jyYC7ODSxStB/leCE5MHjrTOns5WV/tA9LlxbGGf2bYzMo8n3XublRwc/228cEh
DBu5pRro1Hi+L4YVPXWuC2pbMJX8/k1E4aKwfRQPD5t1bcBlVJE/M31cVr67jFAwat7EQVkXXMZw
Fr1gWzgUNvN2NRWiHY5yOtJrKKMrE74MRNHPrGBNLfunAcJv5ZakBdcVld3uo9V4ADrwTh6QEXSR
XggURcwiDmofHiDlX7e8+sRMvvbr66hxPmNtsl+hQPks4jUbmZNtSbOhL3fRQs1POphxifHS3zbk
LxaMtXYgk2uAV4M14i/aqeuq6PCr+PuaqpaLbzh+WZDpFe+7dhRKxOZb3dwMXv4xHxd1dCjC/dhz
qvseN1xKmXKfcy8bcHwsUjDbDJZOd4xtcPbOlwAmravhOmsujYtJkTxrLI7EDoBVPtsRHxAeggFG
WE4cAqwSF2dFIH7xq0eLfh02fehgicknYrTK6XbndJgl3j2LCCm5gHSJpnLNvBo32E6kz4aZTYl8
ooMwQjGDyo5vA97atWiTeWCoMMjJ8EChAWBPw1ukjKexE6esDqDglfs66rdIpHWTZxd+ktrhaO68
nwaklmJAk+s+JFG267PYRR2gLbuXjLmye0i3jD0sQ5uv01JMc5x9SDUMAwfKwga6sAhOGoJfKS6s
78WYknMKhHwpyzuxWDexMDdD+TS19+nQ0VzEHdaiSolgjIrIMiH8brARmocWsUjG1+vhnIpu5bFS
1oN+zGA11urSiXdJcEf4IBzWWaNLiCHDyzdkvrWP1RpIC+65RDuzMzxzBOd2s+0Ae+lUad3gY/Te
B89e8PgQKiYbz8l2kU2jM2X8+AtMyrzNnz0JZhs+BQbT3oXble+sUsxCxLyOMhdFsjDZaOJYWkgV
EJfD5yZRLFTkg7BODayhIFVbXBlZsm+7VSh+IlhbJfsLiQ3PV3W2qjRoO5wo4JeWQvpwamFBJ+bC
GjkCuJ2glhUdmhCPaNifq/JIdxDV03dHjltSFcq0nSbvbR4uEgaFQ+d7gO86qchi+8K0w2rEAGYa
IxwXFHS+AFV/o3GiDGg/fZ1A6tNzH5ULwt2D/N796ImYu0Qtw6ayD5r5YO7knykmIvlIv+5qUGNy
yzv+BZvbNyTSMC5KcypwIZrqIY3/vILyZQjpX11Lp1+JSqGhKxhGUkH6A3wqqllfl6RdVCoo5zST
X4GSjk6AmbC9O4TvTJatvIg8sCrnmTiLBKCoS31y4B33FjguFmkrN8BSsUnmy6rPV16T7tLYv0ki
nDKwfoq4AjNNKBEBrG/dZWwgRFQJ4T1tQdecFsCHNJ6msjAyyZSle1P7TQfM23LGjecR5ZQwGxtA
YyqQslfM99Lh+K2ifA29aG3Hwdoqbo5Fvg2JrlY0UmhYckG0HX1r27vnLjyVOpRai21S3AP+1anb
RYFYHHDfFzxImfKsPU0aZMGn7v2Zwy1CHmVDpR6EOjfVb93/6NBnOeSHpjaVLZ+SanJVfgVw/C0K
AL58cLzEw21Ufgrqt9l1wA6RFSwdx9Dq/zp5UvJ1yyPkERjHBolR2SHvIU9wNk30KoFJWmSM68D5
SqEcZnCpdJ5UmDLwKK9mq62ooS7UKFo5NaYluP0+d4npUfE0+SStT9HyZ6dUh4w5m2E04chQwn8h
FCYXUFwMSR4tzEqUECOTGC5StlfKjSLwD/xEUEp7zV1JfsTCAzvPtwnQTJTjYRQcZ5a5SqyjXT3j
gIcZIyUtjIQYuK/3dUMlLwP0COM01BbNsIvdl6FQjPOjvcyA5ZuYx/iVmURTXfzWOQhGyrew35rt
w0WVptJFGGvCJoZZRpjOI+A25qrAwmtL8rJDNC0bRBkoPZ+A8KtLvuoApIjhzIR1s+MbZg8UAAd8
Ymvwg88IRu4Qx+SKwTamJtCXgmJKUOMiooTQU5a0ygR3dEuBJO2WBhVIUIBrsw5WheWuEEmKIlgZ
Df4VSnc2CUyavDfmyxCvLtwZ+lY3YNkQUFLERJ7OL34bdu+2enW6a9kAS/zQ00tgdOuYHeBC34ae
TlCz7yk4m/ZOLe9M/M4NQZ8V5TaPEJtHm7Zj216zZgVxuyY2hvtVKHvIsDOXVd2m8JYpKYNJTSaq
f/3B3Bh5vYqdrzx25oHdLBv+FBUHX2tTg+Mulpz1vIt6QpmfwoXuvhXVAzXGSo7bIHjwa5NV+GUq
R0PbNRQzextL4Gguoth+uIN95tqi05foV3s0N0JXTlH0p43Op4v+ZpHpQI8j/aWM5tqWyYOply+v
z5eOzSFcG5RGJoDk0F0rSzvabPGpVcbzLancU8v1I//ZatGSujFPl7oXAc1JYd6U0b3y6pIlcvli
sYIzEX42Bo8l7WBgCLV/aHx3V3LZN+ZdZLzoGk2QIjyWrYWqMEJlQm3AV1eBLmkBtfHFibKNFfbU
Rkk9RhfEuYpOyYNriV3rKXoKqm7EkLeRP5OprZgDlwtAPjboqBNXX7mSTqVIs2+I9odCZOucXL3x
xKZhcwl6zzkrOFq0AKpNoa5g6qCNsd6Y8qWqVN/G3vlDDMKrxhmDcDTE1ZmHESW3ajftysxSaZzT
3L7nvr4RoSSPSFHe6+nDBuWWJtU2SeglheWi5ObJJN0zg/CJnb6Vr+o/qvTWTeGSacFSmXcOpWUl
ekVmgACDdFfIYNMjbBvKBPVkvISqMOuxGtQ2qbFtbUoItFluXhKPItTQ2Sfgc6+Q/5m5DgstcXju
eN/rlP09U990qfeXowOgFrn1VQxTlnNRyjSfGjzvUeGeYSmsSxaYk6p/EJQAdW/bK+Nlm2hs7gVt
W42l3JnVaVva2jguUvFS6BGMIeCG2hnu2RCgv6mHmPaavsGnt9G7fSc5VNvhxcrYNcuHc+iZqzLk
2YbPTx7XZATtGgBwZdeODtFWuHZoAwSg/K2EXDcx43NFWK+l5VkdovfYde9arNxbEKBZpDGso7l7
VYf819irsCwuyAMehTuS3w021BvzGMlo6zoUICfBsozCrZGAUk5EQEDYXG08CXWSH3QtfA04oQxD
39jk36ZL1YXHns68RsUhupdNscKvBdzNvg5EqVZK9urwZPv4fHrys65MH4pIuJVKsP3prcMUWPCZ
GFrP8a8qNi9FfM377NXWzj9rKCAStsoKIOLZrQg1wIAn+EDUOroEaevTDIlvHp4dxdaXTZOh4E5s
ZgxoRzlKc+TJOWsD5Rbd2TqJ9hJRcmGLc6PGBXM5/Esidk4wsKD8ZA9NhNdwjG0CSoTaaFr/8oAZ
/NZ/0ibeSpQDha6sI0DMoh0eePvW8VBcGBeDe2esXfbuWto5JhX+XHMWbW28ueJ/4ETzGeYALzvl
M2mgBHZEsC6qwkbjl1fRtlEYaMbio74gclFHTopjY2mHvmSCw3KXueetWyk2llROGVXdtKueLhIm
qbYLpnupN1U5tSqwl3od/bRtsCkIRtvIuw9phohiuj99bSnL+JjAEOz7+GtshAYzIfnQC3nSi+5k
RvavraA7KNL6q06SldV0G68qj1UoAcm6xo8+mh+hjdwylv2yikuQyyaJfeoHD9sYjkFAqYbdw6tS
+hjijV2v0TdEg6VE5kkkwz5qzavGlKhAZmcU7pK0ZRWSX2l281ThZkdVcamzHs9N5J2zzNx6rYzQ
cUmo7/oh6sxdXZswTKJdo/bXEFvS6HSbbMTP3rTpKyntAz5w+K823kDf2HWhRWYul6EU69wOTqy1
/NM0GNhFue+iGkVAfXXC5m1UaCIPabSiWUBUNOxjPXxHJX4yYgoxYZZw+k0eSLQmTXLu0uQiOmVr
ds5bALUbTOA8Vcq3uLL2QNtOYU2FPq73mqo/LG3cMnbyEUjjOLoOwzQO3nCA335/Zu38jvTpnkr/
mrRoyiQ4d9dZFlBo6Ninh8AJy1k7elc3JtmtA/qMwt05o3FI6czyyn+2NjVJOdwId4YFC8IbHzo8
7HPj0NrlN3DCAQW6Z80DWhVzu9VBXMh671Hh9szogWW1Z2sU8WjQ7HSgy3QDFbxFnly7nXezDVyl
2ZQ9m8N3UrpMhdgvEMq4DV3fW1q2d0RKQwvFiDn05SOp1F3ZBE/ANBvNUi6pQzlIK2j+6fIOt0uj
zIJ/IU1JsgxcKJm20poIxaX51tn9oU/Gn1Kz+GHjK6ixWa47gJnsd8cf6fIFKEzteS96dk/RAbRY
DH3z2+oL+lH28E7kvXAbdR8VzqvPJ9o3hR3dZCwMk3ipL3nCiJEmKH+WnTUPhk8oqA7St53lQ7rO
CprdmoOgR34aEWgDzcNvkcGDZYGT6kOXzEFZ/fiNVOZlz8hL6KG5kT+N5lw8d1jrMl+VwLWDol3h
bVyVErl87XanfqhOGQBACvYbVa3mdUd1FsCxqePCYJfywiSkgr+MnMFRth16t4VpdZt4VDdwUB52
x1RVXh6NIP3yEpyGcAlAlZJb+9Te21qjMJYvZU/BGeXUysaW4wjEnqZYNUhBSjc6xF3MoFu3k3W3
TE2xHxqG44p66dHCjyC41hZ1OmjQcI7PE6qe4GtvFN6pDUeO4ST5xDD718jxJ2/IUuvyKMAG1ezZ
iJASuxeIlySYHHUFuxBc3HrwHoGTrEVqbx1JAztt/2U1+VwXqgulyw8dXVQtYPrKiSFgEwRTZ+OV
IHIpwQbXxTKwvaVqlMvQq3ZjIGe1PRytDA1zqgfrHh9pVHj3Ws+WgVCoJvroC+V3w6DFAC/HSMVd
M8ZTWtnLLP4/gwH7UqEXEWId9OFfoRIcS7+k12Qv+oJ6DJbmKmtYLAZEZCBwbmBeMWpiZfYXVNWV
1VaPaKg+o1IFxeU9ZetsAHxuINF8hKP241ICp2awqnmsk6yFShrfhSCe9UJ42Ok5z8CMFpPgO4TQ
OROuDUPDkiCK65OWUdZMsnWdSQj/CRlQ/eqnyJHZyB0ryEtVdWt+KcR+Sr4CgAvYH/+46qwUKYH+
RpvKyN5yLqGEBpEka6ztOTJexSOpKfNF7l0cZ5gmIFqP2bzhGabtqmPEL6to7MYwvg8iPmTVDncW
WNuVErxl9bgkFBngcWl4RZu84sM5FsGfXtoLn06d0ZwM+aNlH67Jt2V+ZjTKA9fZ4JLidYZiRfWg
yt8jeXIpFeSps4190LKIe/oLpbCl6nQrpTiPpsuQ582tT5ZH7YLMoTe6+WRxbBV9FRDN+iS/UUzb
mf52xjRfrlnLOFYXRt8dbE58p16OYUprH9PxvQOwP3JYupwrPUB4Eh4RtGskYfPKkXPbwIsMZtbW
/qzmlVPLEyoxNjo9s/nwpp8qetlttW4JdwzcXM09YqAtvY2Us/K2njWCe1770vm4hnSVM7XgQe9K
tItluvMSBZ3AJAOf2BDfKXg4ZTQWWrEOtXJm2LuSTCWcOl15zA+TTFZos/hx608deVHS/VgTaiw8
tyV1G94FuyLcyrVdotCi6ZiQ6j5qvh8Cx5IycAAwv2OYiN+68NhDY2IKNATi5IZfXLKRUw1X3uLo
n0e9K4neB2LR3noBPd0oGGIKXc5HhvsyKhOaduvy8yhuMZMIlssn+S448STeNnfYlVG3iOhKmCn0
GhOwNrVS424AOCs7kq5fkzaJB3XXiR6pu2+ZBuUjZfTr19Uo5aAF76ni4Y2p7Z9KZXrMHqix8NNl
Az8hvwQiCK814LQrR49Xp5BrJGWMqFwKtZ2PKsYpXE6J+EOZkLXvwvytJbE6PO3AOVCySPVvy/ix
wFXb64hGnh1xkrfNXMHHEdjML9RrJe0WGSLVsTl1CVrqUV/FQE44PUBnLh1wOabyTwGMxs03DzhT
rIGo793Mv9yI04aR1BG1fX7yoWNHTN1hAXb6F/02gSckKP4G/bf3P/IuXLXjPyy/Cwf7UebvUv09
bd5xr+TRP00Jb5l2y4Fwh/7Jp4oeiKktJ9dRMu5cmpdq2a1QI6B12SNJEF03M0W3dloGl3ibYnlK
B+ao1H0lAIAH3zWDYYGykdBrM3vn8Xy2EitnthA+yOOWiTXHRkYWLATn/1C/ac3RLbEFkd2TxMwd
unqGUxHP0w1Cn9xOylI0N6VpLpLuIeRLY3wNb4uSeGvdoSeeJnOy7NS+VZxLMdxc7holXHs9Ybf6
N2rpHGWaU/9kxCqpxiSHuWVKnLLnl/AeZfXlMfOUmdSvv8O0XrQsuLklffhiK8t3W7/GpGOaPCjK
L2PUcyV+T4PDmGw69ygEhL6Ycqmxr+iphMnDS8gc2GchdOpeVfPIwaDn1J6z6CjtV1ypHKy7SD3B
e2B6cdE63VzxKU48XCQu4gfSGUXXM3ITGirxPGWOs5Fo6vse2eylzbAi9oegYeLyZxLWe8kzKL6n
SchYperAiEmmvPrRmpQdC83gTqS/kdc4tT8i8zaUb7pTLLS4nXdMXYfew+BxTrki4wonaPKdltTJ
PwedfxB/Yeim8X3V60vk4qJvP7omWgyUfTKlXej9E9DozC/6RWzvx+AsGfwNJsX0VfVxEfxaDDT0
+i/o0IXF5+j1vzULkO34MeW2AQ+hGMRcq5RdnjEta25k8ErR4MK1YNK2Q3KWzsLhJ1M+/Z4J4DHj
PeVO5AdncDc51xS+8/DPjJ8q8VLqgH9HfOXXT5XSiNhbVI8Gi1rRmNBI/FBrptboljjDo6P5Kt10
kRfxvIl+sFOXoPEZX5nFTU7hDMbgEK3rcVt2/Kf1j1G/pvaAW4/IVzGYkWwgvTciqkv3IrurBJ3u
XzleO2WTRlu1W1INRByC14DhqNFPENbjYTE4c6Cc6ytVftraJuw++3gzpgyz25xTDszynJpy+enS
gmrEv0HJ9r3yM1ovtznYkrCa31fLrIRjUbSCMlWf+sxdW1Jd6b0xM4w3uLfEiJ+1Ns5A1Fv9L+CY
J3pfpzzZcb4JcrHtgLpbKqFt8DSFXGnCWCbhl6Jsvehf3V11h/8GdALDqILxyrzkOOWLFsR1Fbck
9HaT2SIPY8RX6/2qPk8FFskwe4SKdRC+YOZgp4YOLy7TpYxTV0Mw10XNFK01T5hm8VqxaEOJh/Td
nlQT/MAFOjSj/Vcx3QuIUe/WRq1tTCVY5d3ZdW+4ELH1MhnR/NYGtaLiTwnvY/HdJ58R4rOCdKgv
fgNzwHcS0kD/Ei5sSuriBEwJyTo7+6PxVfTq0oBx3/J8tNlOH/aTyo0Gf7QpABa6Y7/CmbpLZbg0
4o3oSTrw9qo0byucvPpbnCgrBOZz07mrxpM0fabaNCbbZqEPd0e7MTA8t8d4XaNA97x648vfTG9O
bdNwhkQzxeIIYh0k8r8bLFH9rXOhb4IQgqBPPZWDJnkP+/XU+B6074yxMr0CiY+dKj/V3SXjNsWO
Naf6v3DoYQRmuymSky54IdPP2j6ExYei/VU8v3Z5LftdCgeYEZ3M/CzZ1s3rRxQe+OSQixtQizk1
SeD1Fi27g+C+Pw/ZrkIcXt8GatFuMsxr+cfwmq3khF+XseJysj7S8GlZp8Z5KNOxW5JhXDybynGt
0jVm/nRwJ2YWzZuQ3h3OOHWtFu/peNTYicCYSfEqnzfDNKyZz6ep1NpMFlPzP86IBxhyUtuzlr87
7i2a9gzSW5Fsw3ortX81DyGR1tw00nkh1ilnsmRLwjTnop8m2vKtysqzcbeCUyYOIjsM+LccTtBA
v+jBgUsvIWrIuMWViAFa/60Th5xvKKSpZTTzkk6foNPmlTU/DMME3QPP4azTzpLwJit38OOQhlQr
8HaztKM55ywUGo6psyfPg3e7M/yble1jka57bteO/i6KF0U/FvErrzYFQ3GB86amxVKQu/n+08Cm
XLKZXzKwXH+0xcUsC0QprOX0+JDGcytavt2NtN6FW2AkvXeUFjxBP3hD6wY54J9NSBeKll/6j01k
1nmkkOMjdLQ1hZiSrNMJzFmnQwfmw6a/Oq9sGn107wHHmdV4pR7ILgqnjPrMCkqt4UUQ7eXRi8MM
5cp0ejnTyE21HlNn5aTc1+Vd6V9xTfuaZbTuNkE/h5Fo0aVl2tM3Yoq5tFiPuulolarmWCtHjeZj
bCZYvmpsxH9++4dQi1mJ4+Dwh6XPvvieZuyGNFwZNFV8XhDpHbz6HBLacGCwKBb7lzRjgP2jHN5p
3HhUzjX8ESbGHDagkAcVVT4fOnkoG+tohTqj6mQC4ylQ3yqHD8ErV629b8hES84QLPe0VAYs8Myx
CIMT39b4h69e7HtU8E1zR2Yy1/j0wvbCSGHINIm4ZuFFjyoihovZP+rmWqf+MgzPMgsXlPrT/F/a
f9rWZcQTWwwMSsh73vsLexLDFZci+fD7r1p5OOItLjaF1q6KKtqr9iU2aQMlTyV/ZpaAPfvSeYs8
4nAsxIzy3EL7TZJn6D2BHZRf2mdlu+kM6hZMZd76nKuo+G7dA0ZE2zja7jNsHjSTnZZRMZd7fu/z
tlrhshuI6SSCkZ6vnFF9E7Oy5ylqYFC0yC+9Zh6JXVedAuPqDVed3IqVD+s8sMjs87iUPMR3V1kP
qbfSqJ84NO/swbmLmhJRs7BdTMmnhNkwEu0q+VLNmz6eWgepUuYsjYgrW7vzcObmM7S/A+diyQuv
etbv8uTQV/ySQkbLWM3Qyz89eauiN6E/Rv+lZRGz1956MiEz+F0W9zYqlwUFR4EIJe7/NdReGc5p
rLfBKRd8KMxwvk0fgF4S3mHWEbl7zIazazBMGHmb2umXowaoMHtqzGxPr48TfjNcvlQDc+kE3cL1
b6FcNiqjiGHPcGi11EvkrBp7AIzhqudkGo/AU531G+n+lspHRYhaETtFvcskP5YtreaRu2T+dwgf
PYxJz9ODcFm/2hs05qS/s9kETCmOYbtr6QFLxmsDxM0jRvkaU7VokXsxHOe51ko2HSYqrtpoZESH
ULFM+A6CN0/R1oh39qnTzXIhOD//haiaUPZgW12XjGxNly9u0KReN5znzKiWU7Xe4I9r/hL7TShP
E3Zy2/7FIKzzgECMOlBBpObb342HGJgZCmJms+S0DJ9le6CEZ2EaHPENHzuqhOWxdxkfcYBOqmLV
M1rudSdruMjkpBVEVtgHtQIyscc4sMkDTXc0f+JmTOFZlcHvUMDM2/bUnlS+7rivlWZvsOWVaPo+
x7yXiZ3WY2HJnqHKBdPIWUU+GrkN405PNTjb1bs3vEb7o6I3ohWME5x1dJ5sxtIE0qayI6LDMlpq
Odud0dlzryPM6aJfwkb5KjmSSyTCqs/8r94cestZasO+5+lwajEvGVtl/2vJWMJsGMt5OmBTHfMN
u/ezTnzkyk9VTG1jqkHJ1AnpF/x0ycTuYbUvpfXvzbitGUBiNn84lcnUDEYOVLD/xubkULOeJteW
bmBoy04ZIzxh6sxbhw6/yYBHNmdnIvUuOrNzjdaiWARuJLhrJLxshSAbrECXv+JMmwcwJcDCj/8s
O5oroPcFnfqUGm806hhj5ZoeJi6gkWods071MipYJ9H2iJ2Ylv1jObIN1zGGzOn917AhCsaqsMli
RRyXrXarzK3FqFeROEzVWLjgefGjX8f/sfxrX7sr0uWKKqALQ5JqAZb4VUy8mHVvEeOVtlucTPle
D+E2ZtRsiPnxRoxi3o4Lf8kSyHzAFKf865Ntpp053alYwcXZh8GDHyvW/jm0gIrenfeZMnfdz9h4
+Mi0gpD+tfhnJXg3xhO1Uzr9BVlEyUQTQ1T0vMz85uQHFrFal7ZI/oiRgSaNc+78YVaKQ6V8dmNO
eebDI+hoSoak6W3pLPEiQnJHb27LHT3BTUZkmJfxLg2BioO+sAXDOOhXQb5TNAqIYpej+WApEvUu
pRMeVZo4OuMEEeziyeKWNOw2sfnE5CzrlCy+MQLhV1c3+dc6NADit3aoT8lQ32teKicLz4nM31xK
oclwb6BAwQ9ZDvT5MG2ZzSNgOqXg9xgq50Hd5UhJjd7cxPLTohbVjPDNPXcp+U8a+55x+1jfVrin
ZD/rgvfSpYDEgalwLqg+yeqNxDgaP8pgXdTKTGb5dnBbVorauSc/Un5QiyCuKH7q/B8DBkn8NLl5
DHYptOEn5JCNSf9a9NA9O0dGt03lydNgzefRqQ54gjhpkubCYgwVCZrJBe0hkyOuw6oLEP7Ri3KB
RTcq3nXvoKlHP8CKWFG83Qz6NjVpwf9W/SchpRh3WvFy1U0j5I6y6QXr46werpa+tVCnBua+m9IK
wgP9DeX2QqVTFXrOUmk+Mc3zf3lDph3kMVzEFGSCj0nkF5EvNrzQ3tDd9fHPZ1DbZQSUSWtaiox+
6BhwGELh5q+ZzS8ng7TzBkS+Y0DMEQvpvMmOd6BjjNvCsxydDeIoRL2Kqj8jBUNmrq8T44YwgC+W
zHyke418d923nPQgJuRU8rPeuXPanGzF3a30nmaTezFPsUztcYYuSx6igbHTkNGGwk8Q/k2rIgHC
RC6D/jhWrCiQwna4sQ1qgdPGpfuV2292urUHzoluAoS/Co4PtBKzcdgEw71iHUTFGjlWv9JRVvSM
iwGl5Sbzfn2LX1G/zuBuhJTnyv4HCSBz5ASM2rZPNxHXKOoNClE/DvelV/1MS/EljRtcZ7NRnAOa
OzRtOrYbzfQXh92GDdKEISX2HFhO+gnzT4vQLmKFxq9x7zV3N+EZYmFPcX/H7k3175riLEsLc2jf
zM3yLKH8/8fReWxFjmRh+Il0TsiEzJb0PkkgMRsdIAt5b0NP3596UTPTU13dJEgR9/7WlcNzUiCo
oN3DDFc2lsggBxzvDpEr1rOP0+dIgUfHQ4eMts2oQsRT/9GSo16VIe680wRskzvvmResjJCW9IHE
aYLP/KxcTf4t5wfgpYjG9JJjbEZmKbHAUxJkjywBQQh+OYGROqBeH36zCvGCQDLsFk8AKp8gJbCt
w0o4zEiIIig0iBAvmFmx9nAhB2TFIbSxGvlE7aNPRVjevKBe27b0+WCPyyRt1/ZLhpu/bNApYEND
Je6Maj114uzSRe1OR8ZaGs3fzPRk0zKPS2HbMQfVDg3VLsThUfG3ybhcht3PIKldhA9rjnp2c+mP
RnQSCzozI4je+K1y/lXgJq70ttnYUft3C7izO/crVA+encL5KtPmrbXx3MnpX2NOXN8F/aBy4YDR
TkBJANPptEPGPpe7crSzbeJ1/yF9d5n017K/us1PwLRGEx8Ssh6zOiWBfFMbUnCCzzI4GEiCUuBh
J/KexPBdInSRhCKRsdzeAYTr9MN0f/Q0h0sxVxH+Lpunoo72vj+7nHjSnc/BOI2ltrRZZYIMgwlU
Qcr0EW+n5r3T7WUJsdlqh2S2CTrZ0oUFzlzeOfTnNV4cjWaQxJlQs00rmwDU3MX42r/n9ZsPQm3S
MS3pnav8/aSS5YR1srW8dxikp0awbeNWMvVqbQKTojnDlLEI21dKdC3LWUd6tOrh9TU5vbYcJG4L
We5aFFDdcw7NVjK4tPj/MA+VHc5VC2+RyTiP7837SUpWz+5n4qXPyrvoYBCo/O4MSHWNVx/ozKXb
PN012j8aIQDSAATqdTz8wdS88a3eVGg3eUkiK6Mwr9pjemax1D9iySPg2LCyj0LgdGJ/i3H8GfCh
pvVFccRSUvAXEsQbNdRWmhuSxRnXHy7Wo5I46lx+Kiw0g8LD+Obx9JrNup5epXtmVbMQLgy71njV
rX1kuUfDxdRX1RtJAKBo7zLfdOMu724ATtCBHqONKA6KS8UKW+JoP3M/YuL+6aJH5F9sfm6e2ewj
emIHfCOJBLuhWBvSZ8AMHdniFVZ8qxv+2kk5u5C+1XG+JEdkGbTxXmNw1bHShq6/7Nx+HeDqcH2H
EwxvCib4Fhe6r5mAJRZvB1Uj0VOsD0+N7LkduPnT4i50VEtIVTNZAPqYZ4nbILDr17SjIAImwJfZ
Ws6Nl8h3Kx9mmXjfdIw1vIX1NcgI+aklVzlYtWyeVNkgIsK96az94ncs8ZiE3bNvfsoSsFFg3OFH
3Y7GsrfahagExR3dQabfVjouMzgAvXi3A8RioHAd6Oxk7g1B1ICiEcX48BiGgnBYudrv4FO5kTUI
16eLJLhuagUlitq6s3Cz8RqGwl7bI1dbC7ZCbKLZQjb1zs5PwoVRALhJHO8Q37uw1zcmXwc6ClwS
uBnxIxX98BT7f7VP6k9sLKWUKyNXmMLlJgyiQ4n3asKP2ng8kSNVvVmMuBuV6NxrmBun+W70FI3u
cn6Zu2/XHzFceUsCPbwY4zIJCflQ/ct6/5Q71nZCYldMrEMBIkr80mWa3n1DW00MYNgMp9++aUy6
ljH0lM4IRuJN9DtCToT0mHICmp0kR+UvTkE8LLfc9vZfE701wfAcOMFnrc9TXeK8ijpAT8E9MqJo
iT5Cn3Gqjk5Tma+CBjDcd97itPyulIutJFJ7GVZ3aLhtm9GS/llo6hiioCHoIDqGIcRNX478q748
w3qa/EM0NEesT99GBZnjmsV7EX3AuVS52jfxj10HV+kAvCY+VF15L4HzVZohO6ypjpx12xtdbEv9
LUMHHXJx1s0ru1WfUXUx4LJP7zaub96NhUo9gHfGR+O1IT0Cmz8sE9ox5gUgIsOtMZBgD9nrNWdg
/dpGO2UP/nzyvMgGTf+m8O6Dvs1ttExvioHbkiufsgTRbUsuIW12bwH92rFOcU4KJn2rQ+wFwAUe
MoiC3c4mjCVGXSLr9lDjmx4TqEBnWrccY1hY68lcNzy6Hm3yuBdxu59ntthFr6A4csXNDMtN6j5H
8jUEseuMoxiC9xACqBqa77LTHpaGBo9YE+SSckUc7jI0iueq1EkE9P9KA4Mex3E8XvCjXCqoXzEd
i2CTdRcXYSjGmKI9DPInbpA+J8XKyv90mAZvwA8cb7ghcBdGCWLZc+i51xgVLneTntOmum6Fiz7I
/O7Kh1m/m+l7VL1F2Nxs7SkWa1n1xNu0eyfO1oPDLBjLa6SZnwMRLBNUDoVsCLx7kxCZ61DfWR05
EGHPtlgZVbIvkptpPUpLxzFCITd3vbFK7e2owCvsbBtHJ5Emy0A/GupNK7S1jphnwtKVx1j8cXYx
bNvdP50qr7IO96JPT5GNzY8iWTOxMRyr4EsPA16RxsGM0iO6QmfV3lJ1qot3lZ27AvH0RcTU3Wx8
kmw0wB0zECtyZwz82nQIMYFAVTQHYJjcvBiCjbFscYlluxAOJEuKTw0XDOY/cPxuFxEd8JSl6Z8f
FYyIqYZIDg07nigpP2Sv8kUYOVf+v4xqdPTbYwQcnA00X9NPbfTbcdyl/I4xbsCz39piWtaQ5KE4
GiEmK82PLjWoqztdEoI6xOw8bMfuijdmtm9g1KHJOy1nGUe5DATa6eiWc9GE0cpw/+oWzSYSwGcJ
nwSFSXN6NZ4qCcxURphH0kXR3jI+IL0J+8Jsbs2Ir1jblv7FsE95kS6b4butofOkWheOgbC12NX1
uBEpbcTlpeQistNt7m87CqWTW0JD4xB9WvI9a7JFLt4b75/rDg7fNATpbWvzuE7POrVZltaiaQfO
SZem1J6lAPlvC17IRO4NWm7r8CSRM/YFahHz1Bbs1HwVwSNCvidf0v6vgQToUYh4yP2zXeUch/GN
8hFnrelkUfjIxfpwPXnwuoeWFuACq3fo04TcJJfc9ZaxF61Ud8z7VVrrDkK0AHTwqGuHHoN+Ixm6
auc3sxVnR7ZMYea04pJYp7IQq5BBwa2wwsHdpDgEUKu5/BWVu8EN+AapCN01+VLZHWCuzgLUBlsV
bPW6me3+P36UbRje1n5Odhm+MBaUds6y6YZFH+YrGUa7xBXwMEfZ7AMQaM61qlw5DPIOBlnMFZAl
wZw36zzb9ovRIYWUZ2XRrxT9FT2ttwyuKkOwkplqXRIzofCtBBZXVP/ALpMiUGHX8VpQZQIWaDqz
xT6cuMVKqse6khB3b2jRwIfaxi2mVZL+mRBiKJTh5dZKby8ODy573qqrhk3pePD+4QJFNWAKEGGd
n7xRg80f0IzR55SN69L4i+Qu06rNCG3lUO5hCfBfFioVimVsf+XTsPAiXPIjyR9RgLCX8uOYkyXT
biUEqslGTH2PIG2B9ZoVKiNPUFv01sXm5dV5dAZ5mli0U4K0hmqrd+2V7ptl5aEQsoknIbOkRqpv
Yh+C63lqUBOlw9qYX/UCZh7YoFr5VLT1nEFueq4xrkWz7Kf/nOStb2+CHmcj2Ts6BAdKvHjEps5B
WFsnfgJ5QnE9LDCCy2dfL5cWMmsi+pcCB0dBF7bJ7+ecKClufa5AS30mCQsI9x1MZYUpi0ihreu8
69lIYAjJWP5Hb5e7GeY35/0IN2GnLbt89vSRHgRnK7RkHZf8RAsgrDYr3qnJXKbVV6yWWvcRp9ve
+nL7GHUOld3aW+b4OIHJIQmh/FKuUUKf8iomtgB5EeEIevDbJbtUo8JN/BDdldb9wuCxR6oZrHhc
FHNXGi5CuTHUvbGHdebumFD8aWUabHaY2FglWsKeNg02MbO/ehl3M8Ohil499xZXCNXnqqFBfvld
tDU7AdquXvpkJv4HjCoR33bN0q6aejEZUpRlgl/m33S27EGnFgazaq2lPw5OJ9P1N1FO3XW8qqwd
dlF9kEuLUUO1OulSwUdsOx8cqXWyJ7ojkusm/g2gqOLyw6l2Nltx468S41YHTCvOF6li90o446KN
f2S1gu5vmuEqq6nDJZesponcMF/vU0bp2QVX+oSJzIixk1WEKaqqXdZ5wb6VCXMZFihSHMS0EXaQ
J4qlrkXXP2JhXlpWh6mFRS9d4q+A/4bqrQ74MjiIW7UVEzej1yqoKaqxEeqj2ybDKD2Y4mI1RLgZ
/amkqfo2+O1lZH2Kp+ep4pGQLyK/atWxbDd69Km8amPoN6uYkXCfPNG3QmfCE9RboM3B9OmM9yn7
bMddYzcLg15rNSJrQuRBjsRn3TJXDcey3s5Uj0JRhEMELLUm7L0tivRSQppypEHcQ1kFrchPSYMI
Rr3bpCyV7b5p07XArGAqXo/Qd1fKiD4mYS/KifWtK/VVn+afzfDVCJvIBBJIlz47aRfNYdPxLSy/
wmzrdXsnjI4NooWJ0OOWTJv9iOGPJDPJPp165UZGl0pgKIqWMsNSGy8hVXxgQV3PficU+nCd+Rq7
1N+EpdRH/S4086VnQufGmBsBN1lmb9qEGI/kz/LoU8pbtiTZ+B+hvY7yre62v87I9jd0wQ4bxEIV
2q6AuzOy+rfxtJ1ryFVs/Yi2WVQ9TkokPI6364wXw/vU+q8Suro6uwG2b3LxqnMV4EhF+DiJt9K9
I5Ygl6Fd4GrYZPEh97YKx61PWTNBXKANAoNwmtSnPjxZNLoL0HUjQ2pvMficNFxB3LiWjbojWg1V
dLb6c8NEMLXnMty06TuGKkbVnWjPXZqhGxvunfvj6Dd0nBsdvg7MOSmOVXQCYYVhO4G9uuD0hnqx
/K3nb0cj3jj51kfBVyA0b5prol974y3J1mH/nCTmNTMOCk6g2Ndmuxmd56qbf/JMPBKv3pBdqNdZ
tjgfue2WVaitS1ttsHTvlJqwU46Xeqh2ATKFsppw1RE+xK8JrE7PJ9SZ1jZLaJH1seo6XRbtNTe+
4PSwu71FvIJvv6loP6Ka68KDcgCSd8Q4SUDOMNipyl76lThF5r8+ZF/goMPJUhMAxgszqEXEL44w
h0vO5lfIa1iCUAj9IDx8aaK7807rwFm8lLL9UNqj5jsrUrk3/Z5d7GAbR/pcFRtPmFxTrz6YSfVd
NQezIbQSikTbVi3hJOY21rYywl88p/RhdMuN+qkLAna2gwEv2Y871+YwrON11H7gvVkQaUTgU7qm
eW+pvIOR4XnnVk+cjvLQ98BCdqb0Td1eTNJZinlQ2eFobtVuRL1Fycsiy3Yie6ZmQs9fLbwHoPl2
+ZegTgQE6rrPovrMc+xaJilHRw5K9DIGWQg/yXRCWK6c3yq6IJPyp88Uuzsn0KL02pvmwZPl7goN
8rqQjHgRasHpZkS4de38S46zJAQzLbPhpnJ9DF1Ggmai4OvR/F1quW9gDW9YwxYNEQ5jTXpKSQWl
RDRQDRViGgebInYLItQ2mGcYLdgPKu/XrR0GrFrDpJdxEw2Ne5zdqr7YFxUfnDw2rl3M7gSDlEtN
Q5Rrb2C0ZJJ9SwsZJCFFl75zqkVlS34C8XuZvHgEq4gEQ/yubkbulmmhIgi44dOrt27w0CdUBdNv
qC6Zwbn1bKsjrTkNugrhftuD+1RhfQ9nzMh9Y2sb3Z2RPXfUq7fF1ohmSQCDiU0cINDGSGwRc8y6
YTEb6n1ifWCXW0UVMO5Dtscp4MBHu9cAO9kYULn6Qtpf5SFv9iGPhn73q7Xv3HrCoUxIff9NB9GR
MFiDmH1HcBzN9Oi7/VhQDJuCjQ2LAA1YWp8iVW+0xEODfvP99zCYXmTMUNDqF4H9vu1zMl5umhEv
3cAjoYD3QF1nrUWbdNTHDiHJBQM48E+m1rZ6eNZ36p8Q8CGn0flO9M4Zi1KJYKeg4RQiG6QVH+ST
M3s4WYfx6AIp4WdJ+1US/PRgIOaUsNrVzJsERE14FPxjaESr3LlP2EUiHx4kXycB2ZXNwkOn2SJp
nLattmuz3SQ+bMScGUNoehr8bBkYMLTc0a69io1D2tT4/W8IcjZm+dcVUKv8ftGGhwznfBSth+q1
tCBmf+MSm6G3xMFLGlRlPzEb5dpf3B/Lib5m4fy48tTbRE6Z6xCcBa8UTMVL4aHtZnHGi9J5DcpH
tdeCDxmbT7396aHODxEda2nw6pHGV+qXEc87xcTKw34ki1sIjhoMFgb5z4R9qGM6hHAZiAKISEpA
9mN6Rz899xyhk8AyBnkf4vcy7rS2rgdoMxvCJMJNOrFoZbhKmgL+qMRRaK5q4gpb+w2gjtvfgWTJ
8fTze4l9EuNxmg4O2bzaurdeQhzz+S5g7eqh6yy/5IC8t+DZeKp66B1y2heZ85EaRGEQk9Km3070
kOnRwwbLxS66XR0dDFcsgIwWGeKt2NFPlcP1z/EUeQ44N190A01uQsS0fDMZEdCZTdBk9j/R+khb
9iZpwdI8eLDfmAFrSMfO+kXYtNJRGYW6WNXq0WsPwzzkGh5hbOfWdWhvxXAimEiP7339cKYPHE2L
HIyj964uAJ2PiB5BZ6yddYfTtTsqH5WDRf4TFnpX7tJaLCrngLdhlSS4EYJy2eTNmkSdZTv1RynD
hQRKHEau+mRptGdRYGMOkEASnOfDe5jdxsZ+lZNWSziqcFelzbzMQhNpuKaadeDiUKww3Wq/yvxu
hs84BW+FGLCc9+J/r3O+7AG3woKkThe4qn4ZDVysNuqD30y8izh8KwHaY8IiCH0IkvrJYM9t7xp3
Z95jX42Wpnrr/ENZ/JO4PL1Lqd4GPj1vmB7V6E/yhfTB/6O19JlEmvdUVLuCxyQOuXPQv6XTl4lT
JuZJUgZJmY+pn9a+SdzQpuWTypGNO/3VnEvJ/O6QvkUkxUjic8EwD44S7GZtrte5qMO0WaNrJ/Q8
t/gDSVcT7jKuTm0JhC+2rjlhUvnNEetI/WSQ1eMY17Q2Mf7w0KYwCb+8lAvdZccE3A7qktt+nqY3
mMN9UEaPI0RxwtbFn63IqZ3UwoPqJwSND3InKJyJAAQU8MWB2a7qYmlTAaz0fiORl5v2Jk9B1KyP
QT4b0ZtqXqYWace/rv8p+CQGyvkhmf711j3oPgj4W9XsgQXzB0JNZq2ngS+hYfN0mbkixjZ4qDC9
YnDqPXhE5LRF+dbAuerwcQ3yA48EReJaSdjEGaxKxFTokJCQZWC3dY/jOF9qIAIQ97b+b05uplNw
RTKk1F+6at/3B/psUWVsXVjZHinDSFaebzGOYA8w0UDozZtGMmQLgWykr64RgFYwD5XbItrpwSGK
PkEGQsRnpoDU1pBuxWiWk0VjpqQlhLDP1tqr86+IaJpWdhfN9DY9IankyBLtgGPg7JSreu5LL9cD
6gxH/7SLAO4HdQtuDASAZohJVd8rn3AK/V/GceeUPrFnE8b6/qdiCJbjX9AML3a0isbbAHLrASYp
78PEU9UQZO3b/wb3Yuk7e0BF7Dy0zIDLQvcXqJ8Oy8HQOtCp8nUSAwTqhOt6YL19+PMdPX/0bVCf
a2QPrtV+Oh36NeKnELpvZeWs69HZGfSAEzr5zyI1vPWHjdAEQTraMcw4Z62w0ZetRUiF1pyMUezK
1tsFwueN0nadLW5g1ERjkZcQ7Rtnm8Yrjxo4IhSyr0EPubfC4nUUKU4rH4CDf1lxyrmbmq7dCKKv
WK6S6qPwroQ/sJsuRAmDJAzSnGETBpsIK5phcnNR01c9oDeLI9TXKdGDIeNyZfLu/8ry4jj3sgJ/
auLGJL27vRY9+vE8rj96nK359FKZyB+rE52rR69uNoOH4gSMHdc2KMtp0E+AH8cInazXP2D4OJAR
5Qb4UXjQfRsJUGp6lCpDN8TVjVn24NvBXguBMmI/Puo49chwINl5jHjgm+KKc/foTNU/hWdcEG6Q
VAwMrG0iP2v11UvHH8fxyFkEGBffPCkYHKxVqGVMlAptNPrVzgHNL3cV+7oR5SR6r/WBR7tdD+DK
Rs0xF53rDjT1xQxfJwYB76Z0dtglWWZ2e5LZWzh/x0PEreaXiaUr1blGLC4RJjaOpGaZjhERsIx1
hmh3JpcHH6W5aUGClKY6DfYtZ61qvaXHemzDk5A2DtwTHytsqsFbn+zjemd59XKIj0HYf1Zz1oxB
hMOPHpyygNfgmQBlNsW9y9NvrKrp6rNhZxiFzIjYRNfjO9UFd9BKIFBNPAnNt8i5SHhmCkJ76r/E
aBeZZ+4Zg7ehvS3tajMgCmtIyxQ6igTbYdlTT3O8ES0Zyyg7RvWHTVyAhRUlMCuUns6CgAoUK6VX
IERB2uD42lfTR2cF1OghYinETkbpAc/uWQbDEVfx0cTiNyRQQaZclECRHdQdbBUguGK8u1YJtzGx
jPmqh+UgmknWjwB4cmystV2SUVWgq0TRP8joUYL9+UT3Wfqfm8U7wIMl94siX1wPCTUhUyfHN3Fk
0EnrVSIwzQPgz0NgNLFaO2dZLFpmFrkLG9LaliYOwqGP92Asfncb1NYUGYliCGgrc5NrnF4ArrN7
yWBmw8DR84s3NUVfk8y/NP7VzFLIcLMKkXby5JbA1emjZHAWs+mpe7YmfReldBjh3UfqHZFyYkYH
iyCpGrAab98Xktgn4ZF9W2zNxGAAS1Huh+Bg4I5o2DSJVqGki2ye6ez8TxXXCZpc8bdmOr7A2Qi6
dLAX+oa7EKODFp2vt/wqgENqSFSTdCpJzlsV7e2KbKzxXtGeULuvI1nnsCOKr3NMzkC9S9CaTj+l
GE3HKDkUtb5wJyKa0IUEpzT8N6uRp4IYpJvGqBlhBMWGVwbrcEIhMK66fl9Yz0P3l/KUOuUZCmfk
czQYwoCoZcfdSVxRnhinth6QZg9A5usxW7fmLyEETwp7s7Z3ebfLsVpI0keqBKkUEHpCwliYE9fM
r7KA5KivJrxC+NI6JyNgaKluWgYwR/pVSmY8RLbVL8c5xFyR4hCtPec7yk5YO3HG9frWKq6jD+16
c7hXlM2nD25DSEZoQ6bwQ2Q/KdeWBIklrl+REBUS3FZCcJxFjnmgPwxEtTNLDYgC824z4UyK4xRL
3jkgGc2q/00dmSVht2nSg6Hv3QJT+gzgZhuPyHPDezNBpIeEENR9Lg6RfxrJBEWj261GTJUeHFRX
rURRL+gOW8bhiyGNg8i/uACZkmIAuDI3n9ByPjVuu7Yc3GeMH974XDVI9lByV7CnolqZ8BgeKvSO
sHiBAIohpvtok1ePPD8bGtxADieJQyLiYSGnbJWM0WoGSbh9Rfbd1adiBsaanQW0mf7okuiY+zDe
7dlV9edNJw8w2IMeCMqNFzzL5tAGO8ow+/7aJ1dUUp2xGsrXGEWZgevKaX7QDj7lkrkr5zLzaTjM
To1Jxnf8NGm7PF817c1DAlmhPvcufcvt+AEUvnCGcW3jtRxKfTt26mg3+N0r2jWmAb2Bu8/KS5oj
QDu11slAzDWVpxI1YRNe7GmT6EedcK0c8zyqWuawAnLBLcyd5mBq8MzlJHmbY/JhECNQVU0QJtWF
67A5KELdi7sbXVOyVLzgkXtflFUs01JsPD5/frfzZKn1R7MPTpXaVvZridyI+PR1NqGsDNxPWb/Y
zXAueU+iksS+Nv9ozXtVvY62cfCK/Br740FZrEAZXF/CNOqYf3r6bgjnCw0Wb4KFHqLdtr6+Gcb+
QHomj+oIVh+rbtuo8S9nLUnR92uIFfR6CWstFmSd4CoKypeUKcrd6d4N8zv6dZQRyC3Jv1S5vqjR
nA01fJf7WylqZNSABmzfZCnO1nflfyr7u/OYsMmvq2Hf/IMc0jNBqIH18P2faZ7DnB/Pf5M9UKJx
sWrnZpRb078wtz36aRPCkZT4jfvia0j+vFnP5nF/fISkRs3Zl/4uJnJI3kbikrvgOSSILvgYOd9s
NAqddYlnSAZh19Qe0VziS3ObQ6Kb+9j8y/vgOlRYG6LVGPOn4/jY2+GLAswLsBZobEeqBrv9Cgh+
bZRaTcnFKPYkR3o2fqG7ky0iKN9+E0a/BCPo+R8/hpX0iWYKAFN4mLr4HFU8FUiXhByvblXsbOdO
PTsTREa8GXxhFqxo/2Uw+M2aa5ZF2xj9vhlWBIyyy1tnNw2ZJUkGF9chrBlP41XYomy8o6BeF5Nz
jLI/0Tu8yQYRY7+uwScpJ8zHKODDu2+9ttav7+tbDNLs4vEqBc2diB0NCRrAaZLkmxr+a0Lg75Jl
HBDfnDFla5jLrCJZeuZhzjPNnZw0IyI+1iZqGHEAPyrkfv7P+mCVzw1UJhhRtkZvHLAdUnDQrwLr
2sTPWXmyvAPBdbBcTnRK0pVdX6QNIHbOULgM+zQith4bxm5O1fQIljjr5vxbfr03babvZQ3k4cDM
2hpmUiqQfMd4skAr6vyMrcQGsxDCZ/MLhs2kXK4fJFzJrLdyyn3yv9POmyGt1Yj1UxD25vl/5CYG
yT5IvSfffa4i/TGA3RWuR8pnR1h94EXbjoaNxaQEmYulvk6iBgmv6p+jAqyzNeC9ovIiB0F0eNM8
0WzI1QRUEFriW7bT3m2Ds2OB/qN4417IsNdCE/vasBjN3MPPXqPXKcS8tHxrRADlbAQdRxfawhv/
vUh418bEx4Y0biX0k0HciZEnamvleXyIpoGUxZh0geDJLojOjeLgaGBdwGm3UkqLFpNNlE0WcYLr
A2K3IuRihVLrPM15CwdXbXxdRr8FCYiaDLYySH3MR1EAm6d2egfiniVbUXjbANOrmekobPHZxcMA
MDV1/OF848Zq3FaeAU4cEL7lt96RuICKicM7Yd9rV4ZH6GDDE1ag9aSU6YhqotvoyGpJ0UBr4BHd
lZHlMKO+Xp6Q5u1v6ozVz2DR76rUJYPevDglQrWec6ktOP2FgpEOTCxwyFWv2ewwc0fCgiRAr0Em
bKDlB/4HWntIGTHebO7UYI61sPxP6XRkqzs1unZU3YFpHzyLmwBDYl2wdLq01T/RvcVQTsOGntN/
Jyt/9lZMhQZIAbjXxc07msnN0PjbxLFXhLFDa7CdDrioLU8HeA2qn9o2OpixSRl8p6NmbxGVckqV
OVyCUR2sISZF3t5nSY5/sHsxMNhonSL5xr7KQXZvdYsnw8wrBO5jDl20MMzCHLauzCFJAjuQ+sKL
bUAuJgexK1gdBNa5yh52Vq78a6DYSWa5JPdQMoQoiUM71wH1df55mSRK1GX0b6q6Bc+K1WenrF1Z
3yFknkrBFGoH6Yel5EoM9krLp1ucnxuzvUSQ3obxN464kUpr1835QtzZIYSEqG6quY4WGtQhWVTa
fBfaPwYzsZ5nx5alGO0//GK1jv0OHS9BMGK6eImBYOwvIQtjiDX9HFNbcxoLXIYl4l/C+HCE8BeY
EwR4Rxz/harLck40033t7JA1c5hih8HLe2/15occROJCRlIoNEUshNXC5+mx2a21Ol0amhIM3pin
QXOe5GyIavJ62VdyAVIWtcem2Qrtg/hpHKSuvZnMa4ScGS+HfZJNhJN2gokw+K4+pi7b9DhlYu1n
8P858dkVw6KBFx05oUv1UAiqHeczypHPpSzg86KxdqwUk9VJ1yFXUaso82deauTQoxNi+0EjlaD8
FuIPVEHWRx/0PSJ+IkTwVroWdE5F4BCmjfQrMV9aeYXz2UR+/lxS69QW6Jvx+aFh5Xle41zZF82v
yN+S6TaFpy6B5bR7AHO0RRpGhyYl+mRaBEW/EF2waaoTHqJvPz/0BTtFrW+zGJV1GWWPCJV1yvMn
fGK9m48Spi0PPszkNbMMVB6Ry0/e3cqW+C/D3MVjfWwJd0T8UvbfjvddD7tG/pbyF08CdLXaIlvX
hmoTct+iE6tTi9s6RHshFngVl4Pt7CO07yWKYCN4WFlOfRMxmED5o8KviQJdqFfaB8BFmRN9QpnG
14g/3IdMA+B1dXKP/VfLSVnGLWTS2inv2nuZhn8YVtnGgte8Gko0qmBqlY+E1CTDpUVAp6CWZptb
gR2VpMII36I0WEWAkMb0NvFzdYl89wgubPt3TeP8ScTOFacyLlYV/k5NL/FKS+tnIvKGyo+VIpag
zf6ciSeGhEvPWvjFC6rApwyYtZeXAQ+ij3KFQgEDqFjOdpWU2Da0WMumkt+Ue3WLHNgwpbOp5aEZ
m5PkFKft5B6C6BisZmFse5921VEhdSj7f1MqOHsU7jcCcnS1KYudg9xhQN1u9fQ3YAXKGGc5Ajcp
eKnBkOEhPgOimJsPbp0gMszRj0lIPlbuLgsNaXkLoE7tc77ANLjAjbJIg3Xjv5NfVS0tqXAtYVEg
Jo5BfSKRnXXVVs9OVDNZeOljREVnVQ9TJ2Br1hje5zej124dRhY66YEGOrD0O6xsCFgQGs0yF3LZ
6zg3QhSQCW8cDAYQEsY5s4i+8x5lBRpuQlDcRkDxln0Mlt/kaN3QS2ut7mJlzbEM8Q/Wa+vF9JjV
Y/UazMLNmhRop0ITUjsh5VL4aztAi4BOGLiIkFxP30ACgUmjyv/j6LyWYleyIPpFiijZkl5pb4Bu
oHEvCuCASiXvzdffpfswM3FnYo5pWqXauTNXas66eu3ibe49ayd6HyE/OKjJeaWLbO9nBk1O9XMW
Zfexyo91ZJwGE818qC+6dV5KPyclQ5B9Rdx13PCNI/BV4gvk7UBcVQIFz+Ap2PvC1Yjx0THQbbeS
2GZPIRkT6gkw1K8bgvtfHS5iIpWFd/bbajw2FppnRjsHt/s7C8NBUea3RsyvA6CyQkGAN0HZYW05
jPNwsGssACZ7p7suVY8Vax5PQlgx0U4G+6uW/c4eBVq9ama8/l2HcLlk+OaEmaeH+OmDfYB1evSy
HLdIwywyvxnKPHmLF61DsOavZGryDxbVEAaG60m77KAyREc0rYBXUJZmR13Kt2EKf7McQIZRO/ij
mP07OlZg0oRO1KF+5d8evRUBZSYRZ9OYZt9eC1bRLsjl+BxaKSl6McLd63sDWJFj3cGn2tWBc0sn
FnxlAifbqVmyYqGw62Vmy6maa3zIlanZyeNsGt4mbqfqngxlt87n+ttqxo1TqJfacR87YK5ZCl9/
aMb4aYiM4H6KR/s3deeCHC9VfJ2Pvu8AyToMlUKJhqUE1xOiWoYPuayeh37k3jc5+0naB5ouD1mA
tNHnyOixbNHagzB/GeeGLyi3muqX35F8QF7Oxg5YxHmux1dVeuz/oebm4lPVAzgY41i7rCdI1H7I
mSy0i7WzzjCDaPtqTPUhbN9hQN6JTm7M+FMDqHEhCZYj5pb0DgC7nJL7oZuYk4ivp+QWWRwN3FSU
u62yU0hYtjDnvefxBzu5MsBUzc9Tkvp7wh44DmegtnDj8OWzcw0ox9DOU6H/tcO1SHYQYJX/nft4
jjkmwn0W7vIEuFf9aJk/okSGU+6mnW55hxFREY0csk3PNaBs2nOdhudBsJcAVxLHPunbt94V+6rg
ZTkud22aIo19Ur9g4L/rlqLC+aH1iGBcuukVb+rKLH9HPmYuS7jaef+aAQfIOxWZ+EVhcDwG/Yln
dNtF55mHjTatLNo7KWuY6rnAdEBX+tpAaIqjvUzfRuctzbg3HUtUyHi4ZupLErPBDJA2r1VeH50O
ko57VSbn7JbrBhUhfXZeNJIUBdvGT15nv0tWZnmsQxZ+An+MEQfrBd6CklU0NJZMZDj8kxVIVLwc
0yJzny+PEPV4QB+bwAPoYhyln9JqV3+q7jWsLynrUgcfbxh6pxoKtWBJV8blBTjYfRs2jCkTqwMr
+Zll8WAl/k/aWZ8W9/U4MfZD6Hxy1YJGHmcfU5aN6z6hYTSAJYpudnRj80GE7q8TM5igpt7lXvYe
WQUEMfj+lTOygidoZPuCWy6uFHbbckdGEFJVn+KuMPEAQ9zNR5uFKaU6qfU8zrJbYXfAPZEPNDsT
wt5NbsbcOnUXSQaySOtDGgxPMuwheLe3eWAAHIr30jM3chwvQY/nu6aFgmeJwhr0JbYJxaGPW4Wi
ThqobjJcdEAgnMFkGV8Wt54WE7QnRg+DMbTVXKNNXOq8CMseTkBYvRsCK0lWvkULKZwO0HfQM8cw
D5AUF4oqJEuyd2hj4OeYZJLmlljVvVCkdzM+Zj+NsB0bwaWWxjYz+MzHig1+9OiboHW78GDg6MYB
0BHk6w8RRXsa6xZEalxm6WMDgqjW5RELyb5R0GEyqsHZutwl8JW11hiWHEIswP21+1hXS1+Ytxtj
1qB6fA+r8TEevS9+hj3CHQakxLwXbnmvTb01aJppHfPGec17VUn2pc1Ohz2AONRg3pGrwHD+NREi
HHB8SJcHi/pVhaw5pcmDkYfbpo4BHJX53inL59auzkYOsQgY3SQNtBsCS4FVnr05e5NDu25auPgR
bMyqXGWq4R4hwAok931Ugx4VNK4O+ykF0oxZ8DzN464Ea5Shmfd1xibKZOSu9yVw6SHC5Uwa7aMz
q2nHYeQTO443gS4uddM9+aK4l5QAMj1glzHbau2axYuBu7y3+fE0zcY03YMTV9t4SBcw/K/vJIeC
tzxgzAdFQ2pgiYOCQep6eh0b/kM31D+OzB5CAhhGEF3Iw+Cowr4odfJQs1btOPQogtkGNkKE8F/C
nLltKn9qg7jJ8H/4jzdpph4zn8xJb0w4mftv3/YJIPjZlvGCKsjyRGfvpurJGoKJvcrEZCtHoD3U
1mXOS9KU2YPidEjS5Jwv+Z4RU/RQgaqN9KuVVou2tQ4NeYpwDbvQ6QcPF0Io9o0xPVWWesBOcBVZ
AL91ehlS+15An07G8FETjRO6vdb2uCnN+GrO+JI82P6AlM+Le7tv2a5m+TVXBLkqbNh+8T2hYIKe
OaU2PzA/f6gZe++aqlzPXVqsDADVoCwkfArOLx+IKRJz+i7thDUSh55MF59Wu3OtggEO4kyHMzdE
/4uDZKPy8KQqTK5+Lui2M/aptI89W/g+NM4m3UBt739Oo7z0Y3UrgLn0GXRHvL5S199mOUmImS2U
pOxSNCg7AH0in0tXLY++Uzwb0MApRAMCD78HNq3FUtMQcpsUgLGBrw62vO+UxYGsNODdepXWAVY3
7zQO40vh+SiEGhnLwR3k0Fbc4cgwi8UAnJ+xcW7ctvjXp8OJhdYuESbi2HK6ZfdkLDZzll0GG57j
5F7msDkMWfhl1bSoUUBoCot2C18g4qfiye5IsLnQb8zosZ7cQ5AC4zdAwRKH/YamvsThTHZezjEw
A9R6eytxm4WVD2nMPIQCLkrZLobMlMKpTA2feK/XqekfahjPmK4fhWPdbLalWV6wOcS7St1ZJO+a
xj8m2fRTp+Om9coTx9V2tiv6HOnzI7ORTOUMdoO7nj3FAvPr4gyL2Cx7EdLRcLS4nqUu8u9Zj+Mu
wgCIS0hS2Tml5q6q3a0l9xM0fea8WdJ2EgcHyeI8c06YN/UMcoU8V5uiNuWQI0txADju6z8oh2CC
jKc8/gJLz5l5T4aL3Fa7EcbIYhAwY//ozN4u7ECtat7v11hfJ9EflnI2VKr1/zIZS7HGsYli9Zu+
slfJgOhrvUfsciznucFFODwihvFbw4TOf0X5kk4/S5giyZhfkK+6AU4jO6721YPEBb2OM87ml9yn
0Vc5vUji+5lkrd/nq1G0q45gyJh9OHit1KMat66NieCjn/C3HSsELgmfiExLFf82bCTze6CYd6zH
C3wSRfMZGD9p+2YX5R0Dqev94/liPTuvXHkW8uLwfOnF3YVzy3cupfuvxb/fPykfY/1IW6r5Glnv
k3z2+g/l/rqyBfrML89lI8UuMfNUTgr+2BtGk14/6cHbwqyC3MVAldBcDC/NN3+c/GXmZxHIXYY9
TNBCI1rzqsMvWX22BRDxjIUfjz3TQd28zcnZF7cYDk1vvQXkhSqMU38dGcz+b7BoKYt44UZPyviY
/XvdXWxuGepxGNO1LicKqdy1XJw1HstUjNtwdkuBAXuu+OKySvQeR5sT6NQx2fUVa1seqBGmCXcx
GZiXsVzIHeQGi2tnWauKvRYsgwmLkCuxoeGYxzWEGkuJktd9lJgp6dlcuwDWhHgZ1cmm5AIfoOjI
Hi1d08ZXOe7gNXXAswQ7z8yAf0zICi8rbBdowywDmFRwfn+UfLDj/BbgsaXjaTVSQR4WlK5MNV/3
s+L+lNjds/LUyiRlmBUcGtiPxW+JN0ZBuQlo6XFj8eOEEncMjXLJqZH3k142e6DcWRMx36S0FS6Y
nMbqt8irwKotFT6kE9d5Y253nvOm1Z8HfylKzqT5uHUB0+p/yZ+h7/l77bIa43cNDbDjbzM/iaj4
i+yfpiLX0B7nfmsaF5drcj9wHcVEOPVUOkW/kC3MBF8AnsEExEfgfZUNlY/J1usRFH2Bn5ilBIB5
9smO4+4C0X2kJbFO9AMXykpOEra/tDl4/ao/qfqTQS6nMnf89C04J/aPYj7k5FhJ8Tp5jAoYaSH9
AyIGaF/upgD8gyyeJuz6dRO+YOl7yeP2c/SI6vHgxV3/5YVM1Q5UWIlFM+h7KN7B3agGfCRsri96
ZOC4iol+F32OZ0Bm87YbsURxNY3aQ0SXtBQPPY59+6T4vrHTRsTexhYrU685BIMPE+VbYRYBN7c3
lM+xm2N3YGHe4nU/1j76Lk44g7I43syG8VKj+KoFEBmfZj7Jsf2g0WNl0fWnZbgRgf9W8xWXzbOF
dKXs56QhzpTvY+caqZZdvbfuWbKVmXoNUKCl3/HUIU/3wB9unOWszcC4wqDx9WvmMshBMmHipJQ2
Hf/8Jn4mK3lAgr1z0T+gUWzG/rUsJHcJQvbmgxVZ94CD+dD3ecHnsteUXI6wXkFsmGSHzIfA+qrw
QKQd8Tp5JhDE4l+sjI4AtjkgsA1fHt0j0y8ZKMP6GgG2C152c4ijhcYCNiUJcb7+A1fCuTDDJ8Vf
upZ6Xwbj2eyax9irj71bH11IXXXMN45Z2MA52QPbF9wlg1PawiyYqa7dlxV9tPq1mKgcOJgsI3Om
UrdnQUvmxYx/B+p02/K7zflsvC15CCeER5X/qjFcTXLYjE5B7cfNBtmb24TiU05o4wxEyO2fBUHm
zj5pIE1O/TVMj0LctFux7bvgDBQtpTQF0aebBL+Sc8pVydmUOwlWLX5J5visI7VRAeqwfe9ChPLU
pyLuUS4PXBrsG+z4cXDuwk/UKFo805Fnl8pbp6Lfphs4s9TOa/y7uKL7C34B30ZlfVvGvWeEO5+S
3PItQC4TxWUS4SYf3+CyJ4rL8rNiRe6x2MrD9aQjJvnWNSKOsWxavG5+wyzZCjrlz0bFYLxViTse
9FzQYNmE8zoVIl7xzeAGkdvgaRsnlUdHp3wBfCALjpfRjOAgbPcCYKHXuSTOMMzBjClLvud9vO5F
7X6lQZXso2Fm99xB8unbUq2Z3TxSDhi669aLSdTX+kWkvHTNekoPQVOWyKIpbfNAWVZJNlp3leYO
KEXjrs2kKACOBy4/xKQ8s13qT+xAqImh7u7spSQ3bWktpVYi3wnlRPvC99td7ITRvuaieyK9N36W
ZYibVu7rHnauG7bjh4769oyFGZZCB9kC7DtngyfiBzd1A1y3nO610BPWPSfAc2JAEZsz/W8conzT
8lM+9Xw+rBIbyHMa+5yjQFOYBDPWwzwNZDUxPLP0+lfia16HSZ/TFc2OyayhDOmAb/5Ql99jX9c3
u9Ek6iJAUSoUPyC9eZdMk/OUS3WbNSSoyOB1Z9s+/UDRBCJ7zGlztWTKWdL1ZAAKtSudoMW4mZlc
OYPy4Pa5cSKJbJPckyRLq2whIfsIkI3+g7eOgJjFM2lqu3g0rMURgroAmq/uTx0KPVojcWRXyuQ4
DqwJPBdzRhQTaRZRWDwYnt89xjn3WuXO/b1t+N7esywAb10OHsxwmy/6tvGvu4W/ovRy4A7OK7WO
RtglEvrlOaJ6LSP7yRM2l17yMVcM1yQcTcLV/GjngGrMlE0cqw3MUHs1uNz7GhJVFUCOOxh1QPUS
V5DnA6UeB2lyVAbGmJS2g/4u+f/fSZG1OxtiwqbLKu5bUWTXT1XWjTx8WJ9ViTQHhSVKkdp4ixpN
2Gy9gU9WCqnWQQmIckTKxYnPIt/La5pHJsi4ZmB2/5xyZhNYNK75SFatogCL6lzL6e1118KZ1NrH
+6cVo7msj14ERihAH936KfmenIsiqxzM3eXUjiiMjaCOxlTXurFJeya+fJ+DbjhVKaGLHqHpGs0E
cUW51PJImsisgAWAwctzY1EFAVSvI8Sd0D/5kRFaO+mo9vdl3ca7YIy9O9TaesdnhfhtEqGMpkZu
7Mmm5V7a8ZoeFgxbuRUyCEHjL0tWX6GdMp4HZrEb2vDNrimfmfP5S6DoXT1t62I3CXe4JOjze7Nh
qdeUxrBvZzrMI19hZ08Z6b3Y8Q7D6OyZVSR45ASXnEaB10Lpw0Lwfwi8JoHK2rSnqvZxipip7/yU
QyB+RBAormqA86yatwraHiuGGRmXDXDHMRBxJEUTXqxsHskaWXR2OTIRj0YVhGsRwownDNruowyP
pDFQ+sxfsDwawAmfrVATaJxJceUsQHisjHVYxi1pbJxeowGp3XGrgrLBKn9pDB8Xu4OQKnIQ9Fx2
4o/CqqczIypXmNjoGcARX7uyG7mnpsEG6rH3ROUMN2gWuqwZ4tGI15QkQCPPNAzCgsokmYD/1hGH
2qR7VKcE3FTtwRQ3G8/9kIEhjrHphRAQRhYGYy14tbtAoiRdMweO9vwyWqLfqMwa9rNR1U+pSk3q
rUq5dc3R/EcOY4HJSIHpOSkEtUKE1/5KtnIEylNyMjHhyRPSU3zLi3IJB/nT+EJRdL4WfUhaK6lA
TVTGUtWZJv5jlNN6Z8ddC3vOx70YMfhOscaNU1uGgy3Dc4+p9pfogvmOaIjeIXOSaLqNPnvsP9zC
CH4rrqPQ+lhbsPYFS+WGk8awFFqvXorgYMr5Psnx7xVRrf818/jjFxlGU5GmMEnC9NjF8EJjzwEF
FuoR8BIKDuwR3ZKVtFUnrqb0lkKCEoMC3c48zsFbZCMZWq3DvbU2g/ocR0u75EAF2hihkHCLDK40
rEUQDbAecL603b9qSodngo/ytR/AIZs+QnLi1mxl+rA7kcKbBmxkBB4Gu0v+mrox7svALD9csCIh
66mG8IgTE2uye6LLLKKY4wgMR/bIvSmy2GGtEkfN/Y6EwzJ4dxxKHOBvIgInWwzz0mkrUjn/0sr8
Rg8RwUGgZPIb40pHdblqvyXmVweiiiPhstAINJnfFKRJp90UkRjocxCsuHYTNEXu3xRWe5uouDeX
rEizKmx21/isEnGTA76g6ThJUtZYhVIWV4H/WVccwY64wXlXySnWENR6k2q1EXs2KVaTMlu3AscC
9oaegQOqxMZw0GXS4dB79UnM355ZraMSOyO2GcxpZvRpkVxJi08vTUh2/fms4lIMVvGVf3BpqWqG
x7jg9hpi1AFtFofrJIdkwf2XG6hV2jR0ogAm3SdCFUHB38Hcps5r3wiynDbhWcPMH6qgXMyB+Nq1
2gcoSO4w7axZrN30agbcEymvw1UW0+wqnYvNAqCK32YLT6TCulz5x2peuuLi5pRmDfQPMPN0pcyY
dfN0ZXoWgeHuOlMRB5ECBbh1o3UALCW512Aratf9KzRTCRab4ksFW8eGwyNfRX3PdstKyMgSDbac
zzL5J1lMdeqfEf3WYbhsuO6M7KmoD9pHp0NuV8XKyR+j4huuyJKSY4pYGmtd9eeaV0t9iAps0tFn
G2Twr5lO++qLhqyFCmrnjw4NMP1S9dB+DsFR92/1nL1y9J5jZ75zJzbXr5QA3rXGuc1eOudNinda
phfSQhid6nq92KGFRh6dP0wucTHOZ12xLv8yUeZDGIPWc8JKIWaKquuzTs9WAhzW3o/zfJxVc8CQ
sreYN03/5npsJilSBSs4vgEGWTn6KddPVfjRWa+qpZAUfGN3s3pWRq9DDJmde2EZdXvfT+4j/lA1
HEGLsMMkAXFcverHwkg7Wn8dCJ1J4R9TzGrrIDyP6C4xvU5VY16h/W55rWwcny6AGMP5vq5P3QQN
ftwJ7huCXpBi2UHzLCIGDtkJ2ETT7wK5NcpDlv1hkkS+t55SibnTOqQCxsQ1o1y4qh8sy11VbLWi
BAyyvIrkYnKc8+3cWmyf4oSpN3yVmJe5QhO1i+wPNUcXkhZ82eGdEL/JcIBCnyS5RcHUgoNKl+uu
KL6MGZNAO3SQyvsTrJc05R5SSH5JqfFzj/2HXzylgFhDYLAyso9D7BBYB27j52vPHzEqxNzfwaup
d/pqiHOrlVHyF2ygIvjKeJT5B3MnJhrKx3zv4BeQ6E0Y84hqK89G5UJV1IOZoBIbV90N3JWrwl8r
OZx47dzVLnV81XijUgI20H1ZCuIS36xeN23lnryM+bS3NxzAY/XStwj9D8Bx97rFlAV7se0eYuCA
XIZWYZW8WlZ369PjiJcgKH4ozPoIEmODh59Fq1zpxXAPbeGWhiV1BTvWOyTryCjrnhyu82JU72l3
CpvHfNjDDTOguqB/QXOoziaZhfyQq3NGB1ayzUw8pQNlfIT+8/Ij4wqAScq999nBWm/jyDhGjcy3
bV1Ufg7Q/fvraC7pFKhoYz0FxzB6C4MLVY9+9mQWfGtYihvsFWMdsr0u5L5sux1rZqgY2cmmyjYK
Z2p+1Yb3Bb6wDq2ldcqtMgjklAkTAh5QE8EqNIMzZVq+C0sE0kTYXVKfnouObNLKKRn5pVc/TZ2+
F4V99VV0LcLpImOHAEmFZcjuuQwEM05wY9s4+cYZZ76bhCaRy6p0OlQzdYZMn70TPWcBTaqF0nwn
+/pWmPyE/UF8N5bH5b+jZSSxmlcnNR/SJnic4nidCblxey7BSu0SWvVEmOwwuzxkNSMv4OV9OZRP
00CEI1ISHo4d7yMiuq72qQvCH4UTFqBsxLeLB5eBb4eRCpAuXu0xgzJWAJdixboeTK4PbvZUMohy
CQ9QhEDpDvwvBUtZ6QA9aOn3i4BShWech9YMXdvP5RYjzGgwTujmYsAsW3nKKTeD1cL4iytSUcyN
9h1C/rgfyuFj6BdyhaCgj4XsdJe81m+8JMzn/FsbfLPgNMMNRHEXePv1DADCh18f0ocKyXJugVXz
BoBha+wizwy5bsPukF5HGy2RtznCBDbp5GaaZP7Ltgp2hIm+s4ogiac9Uq7JAlDrZQRNA18k+iFs
1dm5LwK8/cNk0tCw+J97CksyeZL9JfBeoyI6USWAW1MFXN6NFoXMLT5H8KmO+ghw8euGpJbBddRl
2Ya0DrMkwdg/ApWBziz8p4YFM54Gx/1zCDdS0JXUP237YvWYoKJhqUo7kDtZNbn5PsfGc97dW6n+
Yalmyz9LzwzBBrXxpoalqI8dptqYKWfqix8OKnyaNNSTHJxmf51Z9MliQOpJ1rQR1Yp2vGEDcucG
lJiY7ms7yG+7nfFtONhZGbjrabFh7aLFKINi6MW/6ZLRw76ZYr1yPALWzVslKNjmSE9KelvrcGUZ
xqkR9YpTd+MHl4LM8iAB2vUvy+/p6mubsczQIADsMiBpGLmg/blI1oWRbtxYAnt8znnTR1j/8+ph
ZJC0579qqakkympkBMnh7xJU1KaJHurcCYAUGXfCIbLPWeWR3p+baVuZtIf4BrGFNOe96I5IXjP/
j97Gf/bQg3fybwYJYiMVGYn4mDeFvMHNUJtydJqVaUAFNMM/nR+juVxLNrFO5GDwneCefPjhmQF9
bQ7gPUyADdkpcgCs4L9knh9SKn5I8iSPHElymAmgzeSaMGD6Dz7LlX6kcRK5xqu2Axp+JtQuZdy1
Y3Mz+PNuiDRguZq52icLTHkGKSI+7lXkXmUfIDBxZSRTXHsLPo3luUFtDJhkaFzqCiSxqbg5DGwB
CTiL4UYRjyGnOyMm544zo5oQi/B/Fli0O2U+lpIXXDjcTawv5+nsjGdhN3tms11p/6uCa1VXm5bJ
oQQ/1oOusOuPyjR57s+EzRzAB4ston7KgwfwWFuDKbHBIj/82UN5DLkUeBJkWTitE15bNKTuUodt
LMfarcO3pesXFQ7bRuHKbo6zz9M/YKgzYdHPfUrPYzVxcFrmm9N4O7P/8JrPbnLfJStjbO1ooJua
9kRew4KjQZ+qlgg6mEY2GCpQm9m7lPowmB8tSAizBGZbP7n0nSh/gpD9bjEVw5ZUdJzV7IZzV9Mq
l60Hi41F5K45zCXpGDdPj+n4mkbshkJoJ9EbBDLmElZl4ha6e1OfKZ/86YiR9CW9NOy+nThcuV5L
rBLS3dH9XwgiZKuo/mb/MyxYyns/eIhl+uXO08FKAAjRGO0FFGKU1lrF0f1A+lci8ZZE5ZySWXHS
ALD1Wg7MF9asd66BJJlkGOxbfLeWBZAYfaAYaItrXqOAUok2eBce1DisUZ1yNhZ/aTdftuwcNOQU
9GKAC+fhbEXZdaJ7woY8RL/V05zS9ZP8qOE2k/bGJGxzArtyU0UfI1ULXX+bWue8wOp0oZ6HMN1R
w35qG7XpdXGbekl0DbEWl5W7btRIK4YxHtzCeR8quHr7QNi3WSq46VgnNVm/jMatxN0vGluIIXGO
IdjUdsZR0qht1YECKf0LDO/3wgnuYx/+AO86wzwTQ3yOm/F3lunNUNa54zetkVk6wvfGdIFZdLTY
iTc4JolHctcONy1jftg/+c3VGo4BfTOdPvLshZZ8iHkEZu4Bvf3STZ9T6B6HlHnCoKBI5rcyBPsI
dXlCAjR3PvNEXb26I9Y90p3xj9I/kJoUWAjBxm40WWcU8VPlnNP+ahDxDbLnXJvbKSL202c3WxLl
YkRAKFvNRri3Z7SRaF1nOeRu4zhFxyh8xGp/54bHhURcM6zA2VPc6lwO/bZfqlDa2yDptBIOyIxF
p5JPZf+GYICj1SEq6lqfBQMWRr1HOrq3HdVurV9utV+dEgSt8q0aaYGO3JXL9XQo2F1y6fjnUzFZ
wBynBUxS6VSCdE7ppQsZgTzQn4IgXGQRhuOzdEyAQgRkRfmkivA0+2pXYQygKWGVEOdOUcMzDV2c
KD60Hgr/MFnWa50/IZnceSLZ2oRZLYyINbvP9jeJ6Fdxm31kOIuz8Hfuh5+I0IWgQk/gVWq9Zpu6
lI35JNdn/YuUem59Rj3BIsil2EZEBFsMcmadfqyHf/gWuIfd2/olNxnAsqBelVn6iLKFY2M+zezv
ooTdTNnjDOqwflIBEl+btCWTXzg/dZ08QLICdSQOpEg2onO+R1tSTTbvoA9horQ1oKn2RbIt4AtU
N/ydetxbSMtdWB/Khow6qdk1QVZezxbmTF0AXK8m3tL4aECQuO41xfK3shP8RgXBTihi1k/kNfft
EP1mpklfWfUhkumrcgVQSlRb3kh/PoLICKYkZNWmmmY4JfauiIpV4fhHn0xewwp14ARX8oNdhUWz
QjMS8PXtNSFMdgxbCOA5OKE5Q0avMxbi7VpgCyk0VOEMnm43fKuS4QcHZU9IUbcGXT6YVwx8HcTR
Wmvv9gWwevsfQNg8k7+GoX/EdO2x4lhfCVE99VKiqYRNva0beVHGvm2u/YJ8K4NNX/h8UiTl86fY
InZ1LwwkAIVg12K0enNMYuVwkxDKzcgD0s7UHtmMVAiaMX9OhkH/iZQCWKKTljgMYKF4/FM0sDg/
VNW/yePqOm2AWSGQ5iPvYpuYIAZrNt8OvumAwDbXmwHgQeJvXHKXJdq5AOzv6IsSz7UCg437vv+o
SYYH/ldHuCXR5ooqKdrp90F8jrtHgDoxBikBtXJpqVMH0BYKi5fcUkNuup9JgUrItjDVABwQ9Yq+
PyaEwmM3ZamX3HnlV4lTPuMwD6Orb/6rI4uTanphUhONutJE6K46Mf/ENjZw/lqx85hMglfE9GP0
wXrq9+YEdn7wf8smPNrVIfU8ipLAw/EIxDYFLE1za+qziipCEOoeRB9RMqpoe+198Jhsw7I8lpQM
9OODagA8VC7mS7XDkYeE6/HdWrpAZnC9jbKwR7EfTV5tz95pKDEJF6lesVVGNNGMrgkpLNv9a80v
1X3k8YgC463yiFod901Ic99lNw9IJorEfmJUSj33X1zQWzTed+6LNR0iPo350mQX0V99kitBvq/n
N9LBLoxx51iyNVRPrSj2OkSX2eON4/WOO2Rva7xRDOhBjAhRPiy32IRMekuOhmBySjGS3dEcWvNa
suZ+xUrkw4AbaRBpplsDZZoJpzrwhi9ZQETbNJ9NVvnwVDygwxVJcoPN7HroSF0SEd1PaM80XzjY
X72zmZZEZwNBtD04VbO3VxCuCs/bGa0OgP1c6wXomXOknOXwm1kkyHNeOgY/D74oySk3kzP/zWfk
Vh9zC6Grw/Pf+88oJVR3vIaz/W1VuN24w6oG7FO8d6tHkIdr3ygopuqi90r1z5NX7CL0Ibc7FDQ7
VAXkN3rPK17U7A9QwdOdN96C/rMZQfHzqwuYcD7vRcSM6ThX1zw7tLZAbIyZtVz7p4bOG8fMjX4G
oxhBxvec9VSnh0rdR/7OK8fDsiYd2G0H4AgwAW+m0XyquidhYtVapA8zBuSmYLrmNDd8edgh7fTd
KzW6n/sZzWH2aPtjdR4d785G3RlS70FTyIyyTPMRoD6jIwvhnKxeXfnTQm1j/8O4GdriQfiSDTlw
1GneZGO80kwIqDlwwDlkM/+u6ShBxeKyYMHqxSNqn8suexDDdC2jeu9EJowl97U2/GJVuQ0GbZdU
yLw0AXaZQ8GH0R1TrtilbChMpCW5JeWtJ3fXVbBd4iFYl1AM0yn9YKEAUDbdRkl2Rl/fAcU9djWl
gprlfgvlM+bzrS2oefU8foeJ/92qbkA9WcpQh1puq+Uwk0kPdhutOSXlT/YobRSct/EgRIOOzTuz
DKx672X1ztIMuFzKPRGcrczfMvRz5QWbW/twVFJ7effVd3He7kc9ozET/o98Oh4j2WFgJOpAYCVn
nk5JPq4cD9IjcDRJfmD5z/FXT28JaisFySuXsF3QcF/lFx9ieytY3tb4RwhQ0v4FJSHFOEWwNIcb
IEefE7YhEmQ5Dl6j+rmo/uPoPJYiR6Io+kWKkFJ+S3nvqCpgo4CikUl5L339HM2yZ9pAIWU+c++5
JXIyQubQNqZsVxvOCA+JQ9B8q3RsNXl+io95k1jnOHu5Nd8AONReA1M35HvhAVFpQdsHmLqcgfCL
li0jI5yu5N8CBI6ifdSdtxo53iRucghC9M8ES/Mg2vPS5EQf1IWXBs/WJwYtONQFPvb6Isj4w09q
ZKxyqkdbqOehV49RTD4ppDaVJAHivJdOQQkhwwsl9E6JOL7ZPHKO1yM+n8JPV4zj/IMlQLEN2d4Q
3Rf2TLwV2sCrYNNzMZ3SqQQ+hoiuNTaFfGt9+xw6uAKq6KB5/D5k8E487CNYfyZqPI14sZT+vWHe
7tT2quRf0QrkBsqm1I6eyRFM2+ap+dnpYntOkIa311mQLzwrNOem/WexFQHREMYfwzj+ul44QwbA
ewSiwWGCzpp42eW4VhsSYPoi3kjVXPgxin9b0w0a3mOZ3joKSZY4/XraMdexd3LYvqj6CFkfYGD8
HVIGXMPc5suqL5I2qjRhsZn1ueoaduAlzljQKGbgGtxvHSHiRFzmTzuOn4p6rsIBikGK/nER6S9P
v1ZkN4arLnpgd/FnwvQvPXFSjHyio1/pqwaXqZnCDAZgPg/UcslGYpshX7bsowy7malV8Mdvvlg3
JmZrVleVF7OX/83g2ZoU1XKSOpmsXIupdkEAgjKqRz6bNdcq0U1aAzyfMRk8DLwqBDcpqmeWl/OC
ip1qECteye5kBLZBxkUSrfpanwVFuApHJnIt/RvOyIAvWQ8uRGVhljxgmZ1LCzkWDk0+DTw9YEfs
aqND7nR2NVsS8o+87r2SX5loZ0GfYJ8/53ClXCJzy9hYkr5wjFwEkyC71x6eKWFPNkkJSuColaDw
KDacgnM0Apk3YMyXP0PJjKCudh60HoN+BJ3fjEFiEuazkWKodDZRYr5pAc0fNsAEd3iXgWsGGEwn
EMC7EdxlSqfgLtg34tsdTop1yDJxBq5Gb33N0TKKdFt5jyhHHrCJ/R1QGMsvZzr7Yti0GlQbNx25
4O0PfBqI/9dKvR4juoV2KfKlSb/JH0XauKrCpdMwcMrAjh06moNW3RnqThjJKcg+JBhF135vWbmp
o7bPETCx+Txk3DB2rLKc4OEJgt34f+yvOXP68asPYzztJGqtzLT8kZMb0f0o7bNKNN8ARaBcKtmV
CjF08W6wD2NxH5g/icTxhELgJYc7yEakSgdmFI1+CHELqJSgHmezy0rdx7ptWxYWvEdmjAAGjUXu
0grQDbcsmhOX3NJELqentAxIbTOt6up0kjEev9AZUFZ1tZ8AhBokurPpny0/fXXAz7qeRoKDr7xI
BM5+RMgNwRSCNaPmfPcpnRNaIZHe4/ASIX8vrEWWaW8tF14WfQbOZ539OXRPcY6sDgUuwJWSckeY
P2qx79LTwEaPqM3e/rPJV8NGyDS9++nVz0LdR+FmSkxCgBqUp3D48LneSSOr6VctOGhqcDPRGPKx
TZU2RiUTmlujB7OSy7dg8e1bHkZF3HxhxGnWUt2cs8n812xZzkLpWiPdQEsAJdG6ByXMphwPdbYQ
IB/FhwdDmYwnKYJZxaLOqujQ+4/Gw1kZH7v8NwS5TfoIhcnGbQ9OsXFzeE1nWd3MZEWLgcD3oCLQ
hZ9T5+8W+Z/ReGwwdYUkZ0aJi/8fb4cBrgxQWoJt6CC7bWCfa2pYcIYzmy2NwUWv+ZhZg3d9cFYj
DKQy5hWCXcuFH6uYfxgCocjwSZUCE1E3BtA1nsX4VHRizs1K0ov7ZqXx0kTcannPjsu6zy/xuOWM
0TObbxHXDNHPrgIWz7qPBCTWwdWRpPpMRkxt58U7vBtvQJU6Tp0cZIAT/9QGXkppkWYG/Xc4ptWO
MxeCkz0xcJmYIGyhKNLX+AyC6EthEFTTUgbTF20dPeOiGdpbYeOjUq6Fs6iqPzR8Wz+/2EQPN54x
D10yDI1b2HOFEiarqShKZ8hGNfOCEZL99xUEGZLSaplZW0/bdcy7IqgyvKIK88PfikzcfJjsLxTE
HhAve7gXmH6Tp87Hk8WfjRU/tbZYgq1axqhClH6YJR1h0ylhFeUDG/JBw0VAD75woRX3cf0RMPtr
rA4cYLvpqiXtzhLX4Ii8McR51LdXP9mmGQ/S1eapHKBVik8GsECTgc1Ul0ieS360iZ4ue/+MsuEt
5yLVXCZglPJpzvUmdkRfRPl3h1DY8+49L+7AO4RGU4e4XzIIrZPPrPkSjbkY4morgnhZoqll0k0C
g8Jo1DuY5bNkcNsGX2yI3rCAFcVHgcmA5dWbzQ8XvBBRfuRVKwcAMrWJN5Q7XiZEFR5lbW8mb1fP
vhhT68yL/1qM1YV21nntG2SL6lM1DjUbqCZFHzMQ3kbhr2wUJma9yskyshQWZ78lGLhkh9dGjI+b
5FwVDgHOXf8W+90h641FNDAAB9YaNdEipNISIPOrweLEfgYiuviNQro62Bi0uub0TAdH1WZ5vTX6
2yiP6sSWkrtOOTjpXrEPvfFVGMay4vGqzRDi5C3m4IXHNgQ/Q+OvY30b6kdH0tBvK84Goipmevab
JxOEhp8N6gf31RXPON76zg0zGNlbbQ9319+X1ro2LtMLLE8q43GTgzw/tFx3JnPivn2p6o9HU2Dh
gokwuoT2ogc9NHpb4tqSQi77cj3GwLHYZrFOVtL3EIkmjdK8ZFvh5iQZRXiDU4FljNA1gFxFcdfK
z278UO0dMitEGjj8zsxUMYJyLcBOBzpHQmNQcleV3wajrRqzOam4bGDZ+bpfsrtZ8VdsnITUOCBA
dyLRlozCUWNRu9fKwOZ+23JXsSbb6PI3J1habdHb184hKV6SUiorzl5NLvwWYME6oTVGizCLkmGh
VafY/AX9pjkAEXjlmPG6576FbrQ3qk8VH7wv12V0gevz1jjrRNxU2OzaJWTIwbu7DXjcBjj1CRZg
7+xO6z6DMeDDtr6H5FcfV6BDVHohjoKtR6E4oZHimmQW/zhl09fxV48WbBqnVHDIpE30WExV2zk/
MVOlpIVEXy2ZkMFltddBqELFUt609qFWJKgFz2HY9agchodHSFzc0NaxEU/lzC4/XSaL6uAS5HDt
Ib31Cq+f+TcwAomjHzAR1JDTQmgDlf9YADYYx4MXkOG+EuHeaR9JcE2NYxttAvTaJROQ+kiMos63
7VEGBS05YWsF+Ld18nOmNqhDIfMslInPszOGk5shMl2WIQ1i0S1jpV9kzdmb8gxAYZcpEXGIN8U2
LRdt+dHh6g/1aK4zquxSwhXip6d2E+R3lvHAuFj7tWEX+ivGaMj2sV4mnAbImSt3W8SEv+9V9aQh
pJm2WJDFLyogr2zZoWwtNoZ/CPRNAzw8Oqn+hZkWq6wfLWA0wAHiUnM3l4jZEB5RDXFX85db14xL
wNjrRrVJ6H1k8aUycmgNd5lBCW4mJSL+sTyr3gz9GNUnW1PeShLD1A8D0TpBbbV36aN73Fw0OroS
zUlcbSzxG9mIDCRb9gu/7hiAifYK39iS/FFQMMZc7++pcVK1aDFGbDwXCnvpbpGjjyf5lcOt1h6j
CWHCmxk16+MRAt4Ltb5uv/vlXQAEwXAOpa6A/hlSDuP900esEMuCHLrKgK+OKhxU0l7Rj0a3BmA9
vUumfS0gvqMzMdoXqh4k5rjc3mzCPKGxxvJcMw2zeCOeec4iabxbxcWm4wrbl1APscH5UA4rRV9Z
CSIlDyVpTZ/G6KIDsRn8q2Omdi5tKBIZLSnWBvEhk93SeXV2AJloUmGql1jH1f//CtP37qWyYqW6
CJWthZq/2QzJO18h0/mQDiqd9yl+lMmfmqwUnK31+FuSlVDpj5KZOhr9seTbZCYYHTNxyRuKqaM2
cutoRwsxSKZd64ZaRXlnroJ9Gjsw2p0uXSDTmMnqHKCSRcNmRGQDZHj/H0J1D0YB9oAU4tHqfplO
8dzEfEutemsRh5AL908PNgpBcWmHM2c7NFj2C5XEbjAjbnOcDolCtfh0olfU7Frv5CkSTNqQzcdx
AncAkoqE9hP25ikiTykfH0mPlitnoRoW18k+moshmelTevWnY96g0CBtZh6C7jOpUrnMVHnJq+Y2
uO8tiC58cmrH7Ce/xvU/tKP7huCu8Vdqlw71w6QCaANtqVaXrj3V8T+bXLIeBhVYjzLcOIMyC+tt
QO0bq9uqezq0HHiUtP/zFxAGAJnKtXnBSW9S59isyXENt8u48s7WQApCn4NahD1aYJLwY6C20CY3
6BEzjNHZoeFuIyJ8zlSbIFyJwFrfgUznpRn9dC1IWJFjds96wj60QzqggCn24VBtK7aeYifjCrF2
BAMTV5mPJDw5tt2qMdcsbSEMRj7j/BamWNXQ/FALQCClpBiohZEXTYStz3a81TnTcLMkMHHEneKW
NPiDAEvAvJwDhx6Av0AJ5MHQcMUFnVyWgbevi1/T+9bZNFLL+clbq8DNqOpi4XMZLcw8B1sOwGRg
T81oy2bondo+4ZG/bUJT0FCEwIJgdRzCZPCa9p+m8XIeXajiivLha6cR+m4NpLsn95Sg5aMjlhZS
OdqRjg95MA4qzQ5eqK2UQBijelVUVERUG0rHzixZRf65pPDvyHZtzXmJt47MBLAuQ+XtAQivuoL8
UnIghvjdrb2tkTtLtRWnDr+aTdgyeWiCY3hQ9EOGNDjun0rbLtManI8dwQ2L31CEQYQkpMpmwtAC
3NVh2dIHZGBMq7kxVIRJ5OugpV19iKKaD9R9GEBZ+33U4tKD8aGQrAJ6aLJQHKxunMauRavPpacA
YfHZNvQqryR6pjR+4o5bGMbVHLcux36C6ddHSNqQM4a6n0BU5m0dINPY2Yzdy5smvUgtIxZ/any3
2NP1wAwFI/iYGGehaJCmWsQTAGtgKSEv40wCZc9X0w9XUyQzJi+rBCZUMhwcsAHSLxaNsQfrOdcR
/E0zWhf7GSafiJHQFNI2/eQ7DZkZnmbL50v91v2LET3tFK6QN+w8+w+JOfe1RHTPxcqJxJOCioBC
wv5MpInRc1WXxPlo3CUaKyOyB6TrQndYDdxOJjPlcvzN1PYQWy8zOEAZGP11HWJ9xRvCWWiSmYPK
0mHC2Y3ovaLzYOxrNVqHyXEUD0mYhb2NxMOBL+DXP1oSbjr5Mb2haf4VolYLAXwr5Ay14adrIfcy
mGlkM1nQQwUoyVAe9WQ1cwGztaJ3cbJvjYvExx/lu+jhe5wVyD6UOHlDqIvr9d4aBxsAQFWTSXwt
+LmG6krF/anymoWg5ZT4ZcY3eyjJk/m0mTTHGgZns11K7JdN8aeYPOM0YTlTpKS99/m1Nn8iCYaG
PevobWTyW1fdRuG2qCkd6iIFLAeWgbhtc6+KdhP1xIkB/FMiUu46fU5vlJi/BYy8hN23WQdfNQMo
mdwxTDBnytgS3/j3FwpvvIHdO6AZ5lHEXTtTMaVblJwWONJyuJkt053sNnXqIdajkLmYTf5SE+jI
eHrcatywDp+sfI7afUDiWAZ/KNfXrvtQlXaVjowCAU5gadqm1TCz4k037YyrH1G1C6aVxJlDOR8V
7llkvaiBYSu0yr2JPyT8dyljsF4XH8WPPypvSFVmKa+lwkgZH/ibmaks0lG69eeR/xwR2jINxqhG
O+hwrvwIlXTLzhB8l7dkoC8ENM2HVteM7S8+bBDz1xDAfQIPGS4o5CFbJNUEXVN2EUZX/CY5WlkH
vqWkQRytCJv0sLRdicdBA+Z7seE4MHeCy+y3D/anTQLrh/+V+WxxOIQYdTKKeleUs2j4lFPlze+X
JY0PNscI0n872GwT6O0ncCMqJ3pZJwNY8EcU2ByxIwsY0IE4W4gVZYwG6haBR6PdW1VDtYw4kTwB
Ub9Fzo5IX81npeWeavfAZtm1fsrhUOF+9wXxBAzNSwL+xocbqXyUL7ItSMPYparyhZITSuAtagqW
nibN4NrkHCVdYLrqkQ3eC2QpuItY7CNEsW7T+tfJyrklBUrtXRtBjA+Y/ek3VZRLJ1nbkz52Mioi
90GDZjBl8005r4nUrc0zzOM3waQtMTs822gK+xKpZQEYnkyBVpklxsfYA3KDkkvcE0IvGE/rLL+K
FOL5Ucu5TTlgC+vQuE+EtWOmnpxWvA3F3sJEESIhIDNypunUig0vRFtiuYBn4L1rSAbKQszJIDDy
d6d6WsY/zEhvArRz3eOGhSkakZ0UFwVJtD9Y1NDjsTIZDxldV0LomtnsW25uE7YjCU2JbixBaa40
Wpus20G4Y/tgzYPqzwK92jH4ol5qMUrp7LPRGs0r71U5/loX/tJV+lPEwWyo2YfOLDUJyrWI4Ie2
/Svx02vT466zzfahmTiA3YwxYe6gSYndr4xZFsFfyVpJ098O1TnpaKS5Z7byQeL3M+/iORpdjH9E
LvY5IQROooMiLeaQF75blKuQqVZqLleyZCppj8/UiriBLef/CPpFo1SQJnmj1RIwA8c0Uvht5bt4
vJ1rnFoXTuAtDc3aijU56+v4R9fhLyrTvMP7F47K15DpBAMk7nsKtqpJSKx2B2ry1FjGqN4SSK7M
InEvVtMYuIqwkFDPARVjY8i81Oc+eNeSCzHHsN5t/6oKg8dtF/A9wh3AibKOykMwxTQPm6o4x42F
gGynci/UOqHaa4Bz87D7rKbI8uifSe59ZZyM5Ek+namcTPtrZH4Z/5o5uHtk3KL4kskZVADsZxdV
4pNpPCcHplaPhWInFzrY0lAUi2H8DhSM50hJbMxjbn+aFrtNczVQFtocZph41rRHQ3VVOaajVcRY
gLJ8Zg/XURJS4CwHveEIm5I4WSsOxzw/+ZzvNuSWbJcW86xQKUBffvrtVT8+36t5ZDfu4O/Tfq3w
4PBs5oWO2+5PFB8WtIE8IchRPYF2radmt57X0ACGfhO6J60GD/Pl2/XMBgWfEd1g1ckMnms7MIo+
ERbuU4lgFWbJF9LJUNiZMCncMkBLhv+cJlrHHUYHOkUoCQKtYGrC4cmX7misRkIREU0p7bnKP33v
zzOhEhUVKyNAlaho+NBDgxQQ791pe7BsAwbErUZAnePdBPuqChxZ1N+sGjTxdPNJY22jHgg8ONnQ
SZEAEphw8IMRUf6+LS4xJf/AeKMlesrcahr4QRZvo3svsi0IUj4rlvw5atxivNjiT8tJBp10A8eg
uGBaXPgoiWJKs0q9k/kuBajdZYQ4Na+RN8JaF8nKQBBRQ+QBGWtUz4rZlxN3K8XfNtpF0UipuXrR
qWBjISE8OG+OzoUr7bmBao60CkfBVRZ/6ej5maeqRHaZNvvLBkGwjmx5CUVqQDOSU3RMEGuTuACX
9X9EVh5XyZzYbSfbaHjgIrSWlItp/WLk9dYTG9ViP8wJccBTSZZpqf8alA5syvp3J9pIf1uDL5Ry
ZzirLLxQYUln18hLiXFHFjfhn7RpEu3SjgIdJeOy0B85QqZUbPWJhMSVA5x6yrdCFGL4S09eoIEw
qt5G1q7ov4MalJ2QuJMmjStCDWRY5rFmERSttCk9Lb9k/tNSGT3VX3Czc+sA1tiPziIhBxy2FAOG
ndVu8IqyoVzHiIzD9gyH/q2dYhq9L6qN0FlpNOJaXBOemAE5BQ7en4m3kGkzF4A1U+wCtsl8hA2g
amCKZ4Mwjh2KC/iO6KobRZlLkkTTHguOas9JC8v0m0UzqquQTBxtBds09P9VprphPYBi5I6eHo6G
v2+xz1rBERfkzGsd9F0hyNr1JMtoQqL0GLdI0fGefCbjT05miIsCsCWUriguffE5ue90cnAvreB2
R8VdsiGO+Fhi5R0GdG1taBjYMBVT4HX4jZFLKKuUQLouoSEZOWGG9ilcqFRPzf5EEW1qFHa/nXsq
+UWE9QxlQws4NQ46AndecQ/82d1pTKK0/tUqf+jcBszkLRtDBxFCBIRYoWwc/HgVBSa53nhUfpMa
1cTgLgv+WmpcHQNvqSxcMyES5e4zCKgBppc8khUcVhV9eX3Bg79SMmZqLnBOOjg7XAUmYas5ZXIE
RXJEqKrjvINd4Z3ShLCPVJuXVbpLKfmtfm6VHwHlee9SZDtAPz7BZasZyF+sAKr5V8Epz1mDYBkk
H06fde2dTKe5ih03h+U27LAbovSc0kHd8dMKEOPxISTyr+7PTX12DX3n01Nm4iuWhwTkSLVO2h8l
3BjK0TW+AkD7LZnIR9++q+xAwAPMG4emtC3mQiA3WJXtK6oPk3uiB9ejeRAp/AVx9riMyOZjY21n
ILX2g43CLT7n+coH3lNThyntb4RDJKIgNbIVmfOaQN5n7XS+W50xuqJ+AzWahvau/erLR6Mf2+oS
oLmP2acRJjyZrqWDA8XgL8L6aSAatrmXy1mifTr2dy6uImqWtVzaAGllfx6SXRWuJeM71zbRSfeI
KYwZ+LMZyuRZMtRX0yfggzBd/dIxcuvDO13AQvf4N6pmZRMOVwzF1F21xq8YvhUg3Yr3V6DI4Ms3
9FVlLbArzkfMkiZaPbtlNfo7khPV/ylK91aj0lSZGBIF7lYnybvixHNZPYfsLwAFXcMCW5kk8BQm
32MyKYw7pt87k6ckwpmOxoVyN8HaC2GgqP4ix5+rLFyJ6X1L/Y2gbDcLPFUxWAPqWx11c11RTcqr
YVIT9xtpMyf9AKOgKf5CuNtc+60p/SUrnfTTDs5tApod6IH3nTafvolFyv5opvCd31qvVrHPLj7b
I3cDeT53CGJwR1YjLnTnIVlOVa3Oa9uo5VzEz7L/iycBNxPXWIM+4POUi5MOYVJlL6ljPgmYhYFF
RfaPhY4rpqBbsArB/o3+22BG/i3RY6Y5/+GQ+dsqu6EVm+KTMaUw90IvHpwm+4BwIZMxEJ4WL4E2
x4IxMwbMP6wBIqaJ/TTmEi4qXKodh8TK4jaIT5cxasMxXQZ7Gb1yekAHJhe48kVQ8GrpWJwNUCce
cEj5k8PacS325DTX/qKzjupwi5kykH7NVOMk+0kfR9m3M4dXqJBN9Qh5sSM0he7IQO42afvbzFgW
Zj/LONXs+CXZHHLnODnxn96d8peYNaZeYtuJz7C7mnxpDTsZ/A+ucVSZxYW4C63wU2OxDfmZd4en
xAbYTjMt3HdZP8rgGkr2RDmj/k1g3kOKttplSszGA3JW3e5UEphSFnNKfx2xvFbrMP2eDHmGq4LV
RU9ErenkBbhUBgHoNnxeaTd/BOMLechF6GSAuLwAzLPi8Ahf1jP495lnptk81f9AMfvMJeKc4S9D
G4NYzOHkeBcHEmGMJMVjV6/zkXj5Fd3l/7id1AK9AaElJcokCIhENmYiyukJmCPGLZIlk3L9RsYa
vd2fimgpJadwlFR3DKaFtoY+MSual00Chqpm11LBSgfzueNEVd0CvhWD4bjPn63yTmAotezYnUG4
HTTuO6NG7WQPS98eEKTKT+5BAupwexjtEu4cZgmDjmsB3gOW5ifk1wP0mXmcfSM97vxDwkM7Zhdf
UDWSPzJdFF1/lUyVyu69FimDUDbN6NCE85UiSNdca1HSnA5GvbSqn7Z9j1GpGCHDcfDZOQZfBCaE
2Ar9X8ZwL1JuTmdsVJtqIV6U7d4qkIEoPHJUKF57LoyE1EVcptyiKiwYRjdAABm7wOjmykSgioAP
gWzBZHzcNBzIXtYto9aZEWIdK/CJLFCr3VfBbnMiGnuN4Fn9GuFlmlvZLKL226n8Wee+APiLYOeO
1jYULXcR/jLiyvy73mpvUUw0cM1Jx3LUwSpMJxpqwaLO2CN4bA50Wt53DduUztc12leS6iONEhl7
ChQ8XFamex6bZx+P87A8t/YP7ER21WDW7GNsXAeP5R2Nb5g/04HmvP2OR06AcV/bbOYmqhn5o5bx
ypAc1hEHxDXmmZc5gn/zR3QmY3r4ZSdRq/NG+zP7XxPTU6T+CDwXuY2j46zHt7H7lxJ7JK1Lj50p
wQehde9+n5EoAcWr3fnxwwVxDz+0DM4Ewq4crrH+Hup3luSryH445T8BEVezLnQLfnVNML222m8c
YNpoaAFfMv/prQ+Lk84QSx8lQZeSfMxSnpeIltLm50Wb+ibbL83bEX9pjLRQe6YBig/YgNtPt3c6
8yy5KDixp97zH6UjNjWsKpLgVZQI3MVh+VWQ+j6pEftkhSdTp7Lvuz8DlW/qXISSHcH7vkVoo8Gs
aWISYkfFRikvQEYJWKzaTShBoqpzTehzI/smnIRJ6xpOObO7NYWBHj6dgBGEveqcc6X9K0cmJQUa
8GLvTXAclHyY7xb5+D5InoFFll/6GhjE1JucOk5gi200oT0LnKBVsVPUVdtjOKFVwDFRWVw0X1r2
i2m7axY2T1fLALNkwRvTMXgEdb+niH57nY0y3r2ivxSkH6nJlwzudktZXzJ4Vj+9FJweWrqaeAf1
4KWsIZJ934mZQemZjN8xGvgmd5eR8ll3+UGUILWxSBT43WK8fQYNRUB50qkPfHbS+6VhzUhrHxHI
2sTGBwnRyFufCygq+TthNpiXuhxXRUJJUAJXjVx+tv1SMld3e+rz8JEUVx34ShC/K+6pd2t+T3oP
GQTUjr4wEK4kozznya7X775rbdO2X2iMdfzsHIh00QTswp2HVP1FrbEeBYqsBKwHjGSRms3MYV5i
eDF7P7EOxEdnvMKaw88W/F97UecMvlB4azbQgoa0QTTzXvmBCQFAMBHBrjMLq/iBTPfYNtFdDvGt
A7VZpq+SC8mYgoD6cmcHWCgFzC8VNlMbLdIRaaOKKLt+ykhnXI7Rh0lE2f3l8NfIZWh4ZHRO6CJ5
5cYVtm5WJ0sl0XmlLmOgzJEzrkRq7uzuL7UXpfI9ZPKCb+tUqeGcR4zUGlyWHl0A7E0PrJxFSrvh
E7EKzrlkdtHZCxYH8Aw2Wo9EdxxhcqyrUez91mCcQ1nVh78Ws/khcdceWfVueVKi4Vh30aWIopfV
ADzysqV0KZ8uKv0kUFlwLW9hvO57NJhfnfqtjXsVSBentCS6PkanByWI7F8oG+YVhpmalispH3W1
Bbaoi3+C94UwCIyNuKA/JCs4U94NZJUOG2mCsoiE5coPj32KQyH5UYmy9TNzpzJmqL27Q/6SbPRF
ol5G81gGAwViTULjqaI0tE8qPugGmDJjBvS8uvZjVdsUErFAIllwa4HJm4sJrwZSSuPn1jDFkzqf
4PAMwi/RseER0FiEttC1buY0/8p0a6NdiPSrJs8JiidGGzOkASRQIlaHC3FImQ462rs/bJnaWQU5
uhx6XEDANsD6ASrAKamyRdb838lrZNQnE/VOWHyRq7wtsmMNSc/Jd9QWcX3rGPvqzEareDMSW4Xh
zFrHPgRpmnxWZ3ONa61MPEhHj6pe+mHPgJYSut3aSG1j+13QL2vgxQLLWSL3AcUCe7brHz4Hvuut
THHyq1fBK+5S09fdIyLkplWvtvLFUuKN4gAGaEDxuhg6BlY0dca/xEMxgi/Ay+6xtUFp5thAO8nq
C1DoMk5TxYPsE3pDUEh6zvlKvoyKqBL5vn7XkZoI5tOOXkBoQcmO211gVCjam2awFOnQ+P+r5AHT
Mf7EkKRQ9PxAdBChJv8aKM5Mr4yJMNy/Ouhpo/erTiOk/F84kLdkvDdpsHQ06BoHoTMKRWmj/QsD
zBAMdRuD0Mx9ZSiYuejdy5uPDCoof1rmARHHKewVZJwxNcRRIy07X/ZgvpPiXqcOHSatsIyZSoLO
5DpwaJtV82XXvwQ2LvrWoZt2Zm7/L7OIox3eex0ppHz35PsQrgQjZMurQWAr+95/pMbWB6BDVa8x
3SnBQfF7EqPejNznHniELNfedSTmCcdOwp5NoE4wcE6ndEBaQ2LwKQjJI0KzyEjQzBgRRAaUCBRX
/GgUcgRt8+Eh1+xRGEoKFE2rqSTrRU8IlSfdVYbQeySdw0KvOPQnAxvr2CTzfGBEllcYgg1Sm5u1
jYSHijYbbzn7Q1Qd5lZ1r9Fo/3OI9JLkZTCjdzDt8UpoCdGwnwmDtiZlAmpfQ4+WFMROwmtnJETr
MedVvyFyaE0xS8PuHCUSVBjx6F4rLo1qzf2Ad8cpziGJUoVXbXv1n9bms2Kkh0wurPpW6njJdSat
wSXCEhxiwczjI8LoyO7WBiZsMW2OuPgUrnZDuE891Bc9Ihr3oOolYzlnR9RCQOEfqB9KcNWwrToP
jjy+nqU2yNmkp+qYpw9TmTeN7uEVi3efbVU/UqhERAsGG5PckTE6TfDiSaoc49+KsskQJ95IxgLi
gZnfZLTqX5PoBaUbaTnKy56tKYWxT8aOBv9BCX6qEOkIXDKMPAyZcPSaBZMsBCnFSy0USg9gKeE5
crFk74Y838HoXDgOg8PY2rZxOKdOgwh2KRmpmdGPGr/73nHor5F+KisYi/ncLL9j5xYywpq2HYoB
NoM8I9jYyEq4pBi3DPm/wX0KZnzIhDfEK07nVMQlF3PvhXyZJveSFfzLstdU1Fjpd5NsNOV7OmLG
6AmG02Jl2UfvumRLppwT/ibEXYww2S3cFY99Gb9TjLip+nKho8cQJo2FPCUW/V//iUxeBH8Fawuu
kLxBnI7RMiA+mHlLggvECI6muLVswHr9qSfsQsczc0Aw0x+9dUiIe9T6nkFtuzREuYhGj8d2ESUb
R7m14okcmFkb3SAWjXaFmu8tdJ4pqjog4nPL+s66P59Sf4xM0Kjso+r3koDLwHyvk+zoxtB2DUZp
eFn7YqsIIshxbuhLDT+TJAvnUYU31K8OSSxkWvohVz6Be070PvgMrUAi9TAjwXUUfxrNlJPhYWZ/
0ia/cAlYj59jxMAtnWGa4EHNGCAxdJShdgsV/5GQIWpy7PXyp7SB/WvPyN6h/JqP/q30B+YU2YKc
Vu5xRBwxZYe2MqYKuFsN6Kq7YNephDbuBg+hItLuJMB9Ds6LmQfRW6Far4bwQ1N/DNwdg/8rTNQK
BBo6/Vy6S3vcp+2tsGcdg6HEftrDWaofXXZs4LXYGOGsYuP9R9J57caOZEv0iwjQJN2ryntvVC9E
ydF7z6/vxdMvgwHu7WlJVUzujB2xwqXRIaXmcl9jkonjC8+gzYE+xG93eNl4fLRV3iGLnT1vnqpr
Ucz+RRsW1CRIJQsKmB6h/uWFB6eiaCRnOd/jyfXuebeKs1Mjf9sjPUT7GBANm+SexIRSMp6z6KsQ
HfGmr26IuHQmSFPYY3sN8ZCxyvwq8m+XwzlEXVEb7pkJN+uF3T9ZeKtkz938VzYPY8qNHpy4nccu
aE42ySezvWgNO+IunjlKvpCxiSv6gs7g2qDl4Dw+lSXdclfZu/vlD8HmprplxiJg86tI98GgBIUb
Qo6b9tIRK8+zhYZcYBQXJwDuCZyehOG4FRGfEHA4JohbMdNI4jfg/00uVmW2qZrvSL8RVuFB2Mh4
xbQ9FR9NyGcjbfWWOR2fRM2mKg9psAmRj3BpUCLpccwOrwLpWgx7zvtE2lcjx5r9vxDHnKdRZTll
FVfTO3S6dRE59l8DQzvls0P76MjDdeHLaHiPviuiSAnm3gKgsNcQJ9hmKA0eoLHeP7fxwex+saHY
yq5nJnUzIgARhOTP1lxhQk1TWKBc1GPegzkauZm+4vrs85Mzy+O4dCAMFTbCtXSQI3jRxOyhik0y
QGv0IDrkhwbkR37/VMJEB+TN7NnaNJzIyU5GnHRfhvSd5Z8Cs6gxfre9YankBwRzuAxby1sP+qYp
drY1Lr8JCbQbGEQJarP+KARRkmiXFndXf1TYujPj5aV7vVoV6SK1/hSJdVqK1NB/gJ1kJnR5zXJ7
Y86yrL+A3XIartjyDGyNSNr7w7sHGqKyyg1c+ucRDUmp9vExCLAwbrr6qLrnyDhE3FU7+daoAw5b
znjBIJ/fyvQweFfakSH9u86ypoG9OHn+RrM3Jk4e9toK3AHDDicueYNOvTF4c7h2+OXzpY+CWuFw
ClHx2vDXNxMiyIS/bdpul2Z6qLDo28NWUbMZxcR0hGAQLE1YJsqvAkHFZ2RSvGEV+Av4cbOYCAGT
pkBccstLWZ6U4qphYgNz1Nj3TkNeRD1Jyh2mv1nIdADR5yMZIQhBxaQASR4iNDq1K5Y1vS5hsAHk
CfnrlZJHTR8xxBDKIf1Jhf9q6HamjpDxqxjvAk90dM3aRyTVi7DbRmT9W85nDbBGXW2a7Fq1J9le
0p3CNWDQz1F97AGpDDe5PMb0INMXnqU/WrIKlWec0metq7Ma+VfDBBYT2iaUyAbPIdHtyNeMRWkN
Pj5lIi7Esqhw4dxThaOc1pOMxULVUAm9cvji028uezltMjY6MPdGcnso1LnP61zhxSV9WSRsSDvI
In82sXXohbuVk5NUECI+QID008N4zcJmXvskjpB13OQuscMU1iONMso+oBtjDsvyh4MgGhvLNEUG
QvjgAjokqwpx0vGvNbVm7vBO64Pb+4RwZ62/DuL2ICO0+hSAFGZEQYS2EPzKDuqegeklfLcY3RuD
fkNlAX1qMhYwRiw9I/tLYt0AbqXBnqbhaE9V2lg62lnMhyI/Cu6MkXbpW5Zqys5oqKNHhJfKgyjl
rWMM0wbK+LgMNds9CLUeo6XJOqxsblTKX4L8q061BUnESaGQqhxYYbPGkiBwmDlaL6hT60X+VuLx
a+eS6NmNxYuSUyGXqNdOemYb55eekI8RjFch7nZ4eRGBJfvtIo6YpcTzxv+1IIM0tUNtzX/L020E
UauKpA+7xLvIasLHgl4kc1+5+f2uJfM22glGS11n8gzbKF6YgsRZI3jQ7GsHBBlebAe4P32XdjmT
IUyXHCOK7OAon7PEkfRDoqwbraBAg/c2P1zsb10KaVWd7ATrUKOEPqmOQx/9kQz7lTmVs19Mrmjy
ycpPxUJly4dFblKU0dwuqYDuM/AFGOtKZFIDAyMcHZN64mAv9UAGdPaXljS3yHiEwXYcE6QeTpFD
MalXS+zTQdg1zQrjGh1H3BN6TEWnhouzjmySXpKISyjH/Yhkc1w8n4Wz7AdprQB/IXhlGW/40TN8
l8zUUnC3mmc97DXjwscie4/QXMfWKh6+ZeObRhqdi29FUMNnpTDGISOecvoOQ5DTCt/YlIE+4GNX
M2RPh0z4fWy4H6Uq+ufX8JmvVXh38puPnctp97Zy0mV6XbSJntSTDLBrLcEmxCxpwTbAe25p/TzF
w8l9gq92IGxK0VErNJM1A2swvA2afjD0p9b9aN5LqnvcYB7L/luTo080H1wd+DBfdlXOMA3io7QW
JDyA1LPJi+aZ+a2SJvFZPMAs4kYFOg38mIx4xcLEfBq4e0PvqQKwi5BFAgbRlqxPV7yMIpu60IwF
7Y8BvAAqkeqxQJWgANNR3p4aXhEKva65vK7LfWMvLLO7utz9DKEwA9uMGHTQ6+u8udn1M/G3dl1O
zWxX+M3HwH03tCccaanO2G0T+oFjxyau9VB7FyCyieFPAN3O7f6tMKRRSDkUfPF42aS8G72ALmEi
/6lDk8yYD0ppiUbG4eWaFEtpfAqHh20eHNYQ+T10roa8pzL+Y8iPSXDNyi/hHGLGkBhVlzF6cPGi
0scrYxyz5xGuepkEe++BrdiDOMWgCs0jnXek1bULxakB7hSYZ1p902WW7rwcyOPVDeFofuUK4pJS
rUa+oY5RN3o0RExJpHnpMVQuCi8cpbyH/s0Am0WUEwnjHaMXRPk+tzCCcKcyqms5PPX2OrL/y/Cg
YSKLsb5pCFoCDZYV015zfsY+MUoELIocSKuTRXDmCSsgGzFvIE9iRfMacWMgb0Xt04SA5Ycs6ZwK
LKP5hknpTeNtOooegXJXywdGCkkFCsGsGG1TaUPV2axFj2myTRgvIjLRDHWW9ZWZ0TwPQKi60yH6
rtJT3hy5x01YWqQZ3WTPAE+N4nPEw8ZAhRyXbjlrP77RTvQbh3gf5EcWMyXPet7yUfoszZUrMxkQ
jRGj640dVIbO9ZfkC7K0YcEyhDVotYqye9ZvYod3mjQzh3M49gjySNaVP9PwcKnrQSw1Qu6pGPEO
N4OKB5NSD744snlsFezINL9jgKU6KAaZEHDR7bofNX6UAVCUee+c3WHnCwIzFEDiRvCTh1Ewv44H
LGt6U2HD2m0CiGqWvs2QapXwXGOXhd5OIoyzi1PP4grHvTTpnpGFTXbg3gMqA2VTGx4xm8emKed6
vY9y46PDfJpKKGQPLGIfGpdLtpykG5L8lClfVnPRMV+6v6E1leVfcgejgGQl79RZx0xOBi6HcteD
xQb+HXJQxyGSL6L7NtPIU3poQjREMvGEuB4lzIUtD1jYnTwb22BH4vqhazcqR+z8sxXmTO5wRBB3
rVClOhwoXj2ncbsF8VWJETSJUqBcCd2HI3t0vONf23yZoruZ25Swn5lN3PaYYJJJq0sEhWRgTAzi
p1Wjv2ScqMYry79T8PtmFfDv1C9+jKOAzzKQ6OZIphWvodq7SsUd6a4N8ML6DxR5VsV4GyDDeDNT
3aIXo7L76SurVE5P2om5GRvVuU+vgQHL/pnmzzrAsxPU3JSreRS/g+ReDzd9XPOXfGYuEvtjhA8V
DrYyNspC7Ui1XgKVwoJtihzmmi9YqY5x1CrotSiORMxRasZtzEkl5EJZKk8IRaQG0Ju7xhEcBT+B
R/cd2iV/FQ9vmukQXKAMkOiJkMj4tX/owTjBWUiR1Qn+2no7qHsD+aWOXhb/RO4epXhf8nrohyWN
oLa5IjPpI+RH0RbgWonE0g8LnXik9ZZ5/fYcnx43azjE5IhGR63brKL2T1L+BvG0es7cP26ttr3D
g9EVzDk9WVHszZ7/RnTkfxarBxcgUMrL1n7Ixq5wf2hTj+xb1K3o7GGs4RaFzvP0xKRvVjBJ8Vgl
1WKQESzcFa33VXlxwxfVC5Z8d4dF7SDQQE5IFnq2KEDflK22zGmwdrh5bY1CW9ZtSsVrN2FFznn6
Z5pUKZFGhYiaBps2XJVcQmPiKiaiXa5edU4fSi6ScZCP7l2xs4JuEvC+q5RmrccdHOCT4p9V3jlg
MkpgNTaehvRlqreqoz+oxv/KOk0Z7agpRmf12oy+DKpwJmRB8GTrcCxC/e0FDxJLg3xq8KEwldga
jbsb2d/0LVewYN/iieiaW4s877EgC1DcgTvXErtO/yC4DzThXCAHDp86ji9n5pkLvzqAEyIzRmfX
VMGAUfDt4EMevLmknVSFQ7A4FqY/s4dv1z+4fI27+JeOPqqosTWYJJahLWeYweEoBuy1op0SDEfb
hBah5xyZTrOXal7qSGWgcYD2r91wVBWi4iqyZO2HvA+QYtyQ3zWqJ8I9ZJk+YYbESjoNQjEx3J+e
2QhUXFFgE0U8op8Lk3Ulfj11n8kEvAt1ntk/sbweqa4scMJkZ2iHzj8k9NtwFbe8cDHugnQgeLGn
Twx5SnMoaCNSPeTiDJCXz0QmxsVHCW5Zzx61dPh3fDc2bnD2lRbr6ABslB6SCen5MLM7TIe3iwJb
Fs60CHAi6Vz2yaOpTXY2akZUniup2sbeztQuCU+2+SlJP675U/cmgAwqgDika/biqCLGSjIuCKmU
YZuof38B1Tjp1aoQdS9psyv1XeLsjdJClzv3wbscfcUguiHL1Omfiq4AX3eiyx6leRAKX4X1V9W0
hLm8ybzoYFkWQTWyMGhJljOw5QFI9zTwNZtviZo4zoqiPlg6OaQ4nVB+ajHP8w01iZk6P3AHSZSu
vWpWgu5SXVxJnEEQQzBK7GSCRXWBZLu3qneUYRfGD6cMe9MZn6pjZdX0oyLtrPxyZQF9aXvYGxW1
p7uEcETfP02ME6p3qVn1mPB8rbcbdnzILjt3xmTvz0ac0dOpQtpEM4dlhoFHaea2v9BCYsLfDhKg
nWI8vPNnaoxl7yMcu0eXW0WSXQMaA2NiNMU+HMP32WfQAQZEQ5L2blhtLfFqBuoMQvYXgEwwpWhc
v3teJmJu08Lpc42fZ9TcaSsRrdjgsw3qolfWl7hKv5gaYp4AwTbFjd1JpuxH3GFC1MLuvUnYUkL/
43e7FvAszhmqk/DU++o2QPipuQ+2/V3ksB+vZIRHnDDpQmoWJr6x5wsszG3QPyztYovvPpqJgmqr
TT/Um0gAp/zEl9YP+yQDA6GfCNp9aOJ7XGX1L8k7BNUKb0pajpvmXkOEIbatgrSH0BhK7tIqXwAn
B1xgeAws54/LlbCXaR1A/cfEgwsdFvmy9h5l+ZlCDo29fqE49UfonBWr3QWsOFTxzLK53K00xo98
/GI5b+F/Wzyzyd3o1pLxlQZ7MV6LkRmGjYbwF1TfrPV7cchU3IbD2cEI4WbfAqOpDBluxMd7iPaG
C8y1+e6yR1auZXXT+HddrnhGvm3/WmXXIrha0r0Y6YJYWmQUA1ECGPc3ubuWCM+2wVPTyfZ8NoBM
mN0l2uaLNAWbY5xcfuh/x90RU5SORc8J143xihzGVfVVKF8aZMFSxULw2RtH+lk+YgdChArgEO+8
zrzkMx+oFe/9sSwFrCh+9LakmFfdFFnOEcdrJ5mLhC0NKpExAIF1lLPqupfUIfqPgS1R6PhWkBOr
v7JbmeFLIvVuMZNbIfe6s3DuIv01AVorCDhdnWGtpvQ14vFpcOqsIjIrLo1eLqH2ob1F6pzOWGYA
37KwmoPIba41XwienNivNjXzaa+8Q3YF8FM7qVhq3De0EasrvYywmHaMOvFeUW+yy6qCc2p8KTiT
Zkx3mZ+u/zcEJ9O/Ye8HG99IuyBeqOkx4yFJyoWXHO3RJVMAFJQBrhSEvVa9t8tJ6TfXqH6U3kFO
yUq0k8rXaPM5Kzb4uHei5mtbnHVzr6A0tzGaWfjge2gMJ6ufy+F3n4pJmdFZyPGKhFnKR6E+knpv
4BB0gA7IxgMu2K7yaKD4M4FWV2zkPfTITsZ0r3Uk3/jvwpnlKhhUCdIzQ0izKcNjGF2LqGIbRqyM
Gm61hjtkUyBGNfRWp40ba75IbyHsHNzCUNtCEBbZocKkQovPJBd/ruOvNeMeISkn7LgyfYsn6UPg
JPO5amZePRssa1abxUiLuKTEVodNZ0FSW6ra3qXJSGfPyMtSVF+R+SNnOy/x71qF81ffQLHypNUg
gWju5yKcV1kyKV0w2DymdfUj+DrKYFG9/lioBz1DLsTYSTfch2EsYS9LGR5EOlR09W3FG8JMtD3V
afZXinQ8oraZHt8yLboJOFIjl8KIEJvUDHGLsVIkf6aqTezgN6/utf7ywfzkxBVDQKJchKMxBIju
Gv7bJ9x9m64wbZt5DIVYsVJaFYcTeV3CmSlb1mhicGXIYDF2PhfHIV4K6GH9QBeYj3nLUPg9oVPh
huncnzgtlg1PV5RQsCxWKpfpsJD5ZprzQvoZupUNF4yqFRfRsJJvZKIxqywo2RTYouiB2mXRVsZL
1lXfKfkzly3wYK0U9WJxZOVxCgr5B/wlcEbOFqsn453N0mrjVS37JqIrGLA0x2EJsa14HfuYQpm6
zYo7dzhhSjfEp9duEqRPoR0Gvme0MpIsKbGlsAPwn6N67BvefAxeD4l1pL6pNuABcn9xAP+zB5dM
adWx+xdgWeE878Y1pBSVi154C60tv9sh3XUsZg29gc7Hdz13tqmvogJbm6GWZ5oHOSY6aDQgMunE
KuJ289BliBr8p5hE1pJaUayhQM2TP9e4StYujNsPwz42dUVzDOt3drI9ypl2bo2jC5e59b2pcDch
kY1QPbdquYo8mBkn/Bid7C0DHw4KASPpZLdczqvbaAjHS2XdFecr6/ZhwEKeHls7XXFhTJWDQl6S
QKXE5di5OwwT5LVcbTcU87TX5j2XWsrLpXIttTOvWsJxbeDFYHKoeWZK+xUr60Tca2OfpvvAeqEl
xuzrJDwTSbF2eMOOY4zfUDtfLez6xhWorMwPrd3lYwBQR9jlGvxDscRCpyC3TXf+SOi6d3CXrctQ
z7wREEgCy8M5YJftVOe6Aiq8tnbqiDExcLIla1BGNvBcPdzr9dn0p0X2NQRbw9lUWT0p25Z85Vpq
Lpa7V/tvnBty90qNl5L/ohvVOOOcz1Jett62r46ZdNDqZZzfpRxRD1QFC2jH2mBnNXlBKf5PRj4m
HPfiBtPrVkmuWpxuqEHtWNUlp1x62N6mK6cuExjE27Y6YpGpciaoS+U/h4CpUtaXuffZGWe0EX4V
nIe6/h0lp4A7Hm25rbbQ82dqMtAQf5RVcNEriOFg7z5cLq8OsICcjY9698WOba09zNT4ByNrYt6L
cqkXUD/+D2tV3V3Kri5xVjmaJ+KcB2fPPkf6OWiffcTU2F1Vogt6FOLDP5bVOQFhoc9Lpl9ug27J
w7DJ+NUD8EbknE0KGvIDbdY2FSTjxjgf+fR8KkJFVeY7M+cupdosY5OZV1zkTkL2BxwaT0VrQb25
5T5BeC6elzjaZPKyMa8VL9Mck7dA10n8q4pvQMbQYHIRKpSfjlW1rRBZQNURmyTinoNkGL687uAl
WNuONn9jUE5Wz0ktseXASRZ+GcaXZT7dYpmDtSm7bYlgV+OrxX9n3TU+QxUGVwq3Yhjo75gM/Srq
edNWXz3NWl0/bMx8RB6CCcVmuKiGl9QZNC7/9sXDI8ZqsC5TU4DEsFUp8smhWgdo3rOyf1rqQpJX
mf8wta8QCbswePh5CwUj7jtsZw5prKZdVfJdxqI+AEO3PlgCZdaZCMvUlBk9CbiINps65iktfk3j
a0S9y9VRr3gF3XSAT4RYWbjzT+kUVBS0oCAi9sNXWgB1Dk7jOrPfl+W04E3LVn6agaFLSaOgwnY2
jvZNX6366DeQDyabbFqsAZtI69Ckpnrtd/4Hwk4FiDqg8XM8CC6SugiapR68BusTPzjmiW07bC1O
b5NBPCrWoTIPxB186C5I9JkNKk4jn0IRHktKKoo4Oj3ix9o4w+GDQuDQHXuttnO/3qrdMNMpM1HY
jrh4oKsinBH8MsW8AwVVc1VQgW5IyV5r9yL5DUNYE2B6DPMGJDeov2xKWp2onkUky5DlQg8mBQRV
LKt5FU2zZm1gPaBaicVEP9Xcuwg7FvfRtAv/NH0hsxwYL8sBnCEGAitU1lhwV1GMC7+i5KGCo70o
qj9DnwsHUagyYfMxdPaYOXQaZkJiKp8pEmSs+h9GttWVp5ds+PD4V94N65a5B799yFCXmugWapd0
gHH3k7L29vEntiWWEvWzggNMRdqsY3bB2l+zkSyckw6/iG/2WN9TmvxoBHy8xlzhPC/dPxGsqu7M
PYNAjukxMglI8ZexIzsnylMjYQsEMX1LOBeuBYGMB/hJu5xWglVDoUHnvRT8HnF0dwlPBMMskN+S
jYGFBF6us6azeLgJvVnDykHz69tpDiqhF4uA7qqYOjDSDYvWKScDv+rYd9eIYtLiXO0wAFr5maak
MFmH/ndZv8qBFsDpkDnsUJadz+Tk2h+K2DpqQhTipJlvgwtfq19L1ODAJWmOMbqrv5Sux6uJe1Jd
S8rZhuY64BMpZZ6Td6kw8HgPg72O99vpyzT31qMV3P7ujAClbCHaHzX6itOFYbG74jRhpqGNBA9d
/CuXvFLqqdF3Mxi6xC/qj97u+FWWekdVhfOQdP6ue6fGWCIObII5mWBoHfiDzI3KwF3Xw352vWlP
mjJZRRqUYvvs0InXnx3aaigMCekCkuM/8K9TBfpvOay7XiFI5XyIZuHV2EHhITlVtjDjaJZYGAIM
PHhzMzE4Vk5RdEjgmwkIs1q0VyvCRsTsSXTgEEztlcbAIAnE2YgiH2/elFCRk6lF/rhE2teYaipn
G4eMJJQU/bVkDpT2ocr8D3L3T8qD0lkfOhsyvgCB8WzrI9b0SDrrYct8vHMVdSYaseicVR9cW4jn
OTqqlkML37r1O0WqLPDuLqJy2eOOqLuxyTeeR1jBIgsiL+IzvtPUfDbqWzjwH5JzYp5rxs/xF7GY
mvHLdj0PE8VRuSqQ4O+ZutVdyGFja/cg/UgUn/ocd6THaPeIYe1H6j3mL2IQGasVoH7ZLvDntb72
wjOOmg9TrHQ06QgCglOYbJfZQgSXOPwNCoqndtaYc5VmgE9RqF8uYk2TrWyCcQrtWqDC4YXhmtIf
dIxgrnQnunNxtIvEDw+7f1KiE6uctgwsHipNPRwVxMc4PIrIm2RwX00FBymBarfgZldsMsIvjX3g
O6+bVyPaZs41aW5mf+nwLXXBGa0CEsjBQb3040vn0gQdzbzsEnj7npG2Z9wT1l2HXdg16wizMZbc
MlnD8Z1ZZMorqPYN1ixmq8zcNQPg1WgWUoPoKhRgXXIYD7L4U9p7qCer3r1o6prsTY+lvqhOsrPO
sbPl5CGgy8yHkiJacYuyH7va5yUqOX84Ml4tKE04rs5VbR8kdKhzxRtlTGrvqbQvPRzQilmLsKpM
FZpw2TbgP+74SzqskIzuE8w6qXSEaApi+rcA4jTCPPRiAyI67Z8N7/s+X8k2AXy0q3tkH5JoV2cI
g8FGELoIrXtOiE9W7k2xiFt/3vv7Nt3o4aUpd6oEvmTgFvnZNT9AWznmViLlR8EeHm9SlOaw9qcK
f74i3bW6Nw+bbdrth3JR1WC7UXokLKimhH1YWfU+GOa3mh9D+1xroGoSTLMXqUFvilYa853N6zDr
4cctNfuiJguR3Sx3UTbc0/Jr2LJXupTOXvdXqrVxilfMFtVmfunRowJ8IK4HmfBbJAQTKSJeOAG3
WswONDUCfTOn/IsW3tjTMNpi2HBZm/HQG11DNXdyF+8V3XtTL0jIxxJNS+19mVlrAPRKw/RMgb3a
zuiOX4XYpm2UBD0GwciLpcw/FQqUYuDxNyenidpc+uJZ5Ma8KXjoqMKs7VWH53C8F7uePuu6ZBI2
vyrZwgQ3e4k1Q9GRa6W57D98NKpUsIw29VMgD1Phz3PGOlNbCwfMbHscQJ1giq66VwL0v897fC9i
OtY/p8awFeH46MMvrqCMm+Sa/HVB8k0DYNlZVPn5y6Hm3xeyFLa7ac/2LVLWUncZ8X/irogdjH+N
b30LNsjTV7RHmPIschZ1+yq6ZV7dDD5rs0Dd4IsWYe6lWDb3KOHgNtZZ+YkwhtaOP45HK0PLyXcI
TTb9nrxU3EtevQOvOKocx676KWe33AIvRfan/+bWNMgAvhD8ebvQtzjXsbqBBplK7aWIt7qFTCkP
swR3N9e6xNhl/s2SlhwqWajBBU7ZIS78bJdC0CuJ9Fo2b1Ne/YFuoY7iROd9F8GzKD1M7ZRvydrE
SS6i1kBpsgYWBujKm2VvYdCJeEuhA5z0c8yHIWVHNilTeTgbFlYWgan+EGKrM03UnksZ8nFJfAQz
z8X1bjy66p3hJySRC72Xz43zl+M8dTBp6RNFKSaJ/YW7XOnvXX0bdw6K/2gh9AgEsx7QuY1Sidwv
9HnHn5BtWxNtdC7LmAubNl4YfByJQr8x/TM4lA2JmB3hGounpxu2XjqqAcAVMBungNbjQy9tUklA
KrgGgEk5jqZVek76ZcG84YY/Uf0nS4+hSAC0jyH9Y8hbD29NKb0x0dts6GQ8XqU+sEw7BRIR1vKn
J8Wd4hNuBr7GQbsxEToo4KO7Xf/Qi5FWCKu5+bbdVZD2U6XbdVyywhrtpWSc6uiq7W5tu43CDgAS
Okm4qNStyt0rZ5E2BgFthqgymmXuLm+/GtxpSXtJCXYrN4ZIJ7p0IBBocbKZadPuHeSLWlxbHIi5
8/KKdcmNtVC2jv+VIRxlHB5OhT1qRc/IFEIMaP0hb6eajmlTImaNQf8V1W8l/qTsBBgll1vFgqn4
Fei8FizgGpeM7VAow3ZjFSwfRLisgr2J48FT/FOHTomz1IlxnPAM60g7xPPbPvjtgpI/3NNkI1ez
w5PHuDmKY2rxm78MB4dofzaDV4FcoZcL4Z099UZRyUfJj5Dad608mbk3G1PqGSk3LlEun5U2Umcv
fUEI210pDigySGIBGkxBICeaQJotaSXFKJHmfOuTpWf/wumpcH08HRNl+VV1o1UZNSv5MYJPjb1x
IIoPz37n2OXbdNgF1Sd3Ezw/UkbHmfYVYY7DRz0R7TWVVLj8NbMb4S0rmHUeEzA2vJRMYBxNMNzh
WPjUIR672RVDZDw6NeF4xIh/wPJ6bIwxRSq8S4WykYxwkoTyLE87/F1/Mvdr7Ll9w1q12cvqwYgZ
0PRtFe3gjSdJt475evm8r+oEYBXaIfAlxZg5Mtc6HObGtnDPOeMyqZc+WVfYiiTvaHtfI7xUxiva
ypcM57IHdSxhAKKy14Ll++Uoiww4Vnfr6mDSS/uUcESQG7Nq2FjOA7t2VG+5rfNd2Xs9w61+SrF9
Zb+l86vBLW7v/UAauNk6EpPi0sFcaAOIAcbGXMSloDqibunY68zy7dYvbj46aB8FlHCjvankrd2G
3FU1bwLsewNWYI//sdWASFhje+y2WbwVTM+O1K6LiqP/yewJtG1imyFS1SplaktJk9n1VwGCtM7l
VdGvfH/dlGfDeOjdIQPGkLtb+qPVYdOgDQWCO8TAngrciQPak6avSY8qhT9MYCYWGuAri8XVvfS2
ulYTXGVwpaCtLdxpg59fpXfITqpZDe3Dghga87Uzx0bseir3j1j/VOpzRqqr85qpBeXbCbYmiHLM
n119d8Uj4nPvicVkJ1ua2GItocnp2ZabDqztKCW3zMccUgbgXpvWnWpSPMuxpfjRVSsJ5rkbOTkr
zc6n7ELgOyy44ij2htAWVLGJ0Z3MgO2SjjXOhu2VK2w2n2F/tVPWrp2n7E0FVIj3NqOdqWwlC5u7
dawbumrTlVk+5e7k6+tEZ0ddn/Oy3PZeRESUImK8TLG7LNVF5K8ysZWNTzvt/gbrW44YLTy0aWA4
/ZjzL1aNxuU3bWZuCeKtDVbjqZ+iIls1wLPwKepPCwkhtBNsgQ7/4eZ7FUXKcPWZyPYYk6dKMzwB
ktFJxp/In8jUgTAa5dU8oDVRNUH38sXiVWT6VyhMTMsWgy9MuujqAGmXAhZ1BZXsMm8/3hxxeqQg
ZRLjL3Uli7bWlxjXa7TTXYXKj1VutfxRZ8T2sRcRq8N+q0C16XEIu8jljuUthkrMnH4RFyCfyDdq
EvYT/WHAdkHpjTMm/oFlmXlSRLFkf4agTQVSQJ7QD9kgmTNh7w3uL2WytMgU+IS60URNGkmjpYGe
aClbWzrU/9QgRBD9N+Bj1cp1a536bC/zPh2RQZn7dvKLRgFkBI7dlAiMHm15l2jLKDsESI5deBm0
t+WfaUhETnjY8CRdjMwCI49nTy04YUw4DdG2ItbGS7ZRvQrUB9m5Ubb20bh4IAGEEt6m5ZpY28l2
VVQ0+2OIfzVSSlHDSM7XX19m1j0zdhV1pflnCPqzx1kBd2xoGLV0DTBtuQyzduoSVxKCAgk+RCM7
ZQbZWJskJBkPGyGkyCi25h+xsbAO2HFyZqEqJb2Usg7Z1wODcfUcPaCRas8V/0uJHjaRRpk+Bpu3
fEcwx6MhwKyvtkvORznDjJqIrtnE7Zfk3em2nxeqwtnDosriBxHLHhGuZ4PFNQ43JXnRatJyhU2w
PwXgXDA8KPnT4aSV0cL8O9Y/uf1DlPLFO86+FfXL7I1JIRc7ST971hGuwUcrmVDN0cw6B8f2HhcY
hDBiZ9xbmz1kE1xAp0i5J6w7+hBUKByvMiNCKn16ajiRqnxjoxLlQ7Vu2Q04sN+FZs5sGzf1iPsd
KRD1We4zWAv2IsCTnJ59761WB4mOMruZKfFXH/61bfsfR+exHLmxBdEvQgRQ8Ntp7303yQ2CFih4
775eB1o+vRHF6Qaqrsk8uRaBMmG8ZqpGCuA54pMqNZ7KQR7MnooC3BtqwEmgqQIQGhHxhma4GMxz
bIhV64dk+pIfg0JA4QYrUqBw4g2TlU+WowJDK6WRCqyHzqDMpR7Ly3Guq4CG+h+XirohdqYtPhrK
uJEuYrp1amqkqt07XL0K95VNcirfkoCqUFNrRcquRK7gB2eVMXrC8iXOy0fZkGCmXaCNs86AJbLp
g52srtOH5/QfjbrPeKlr2165xkFrXxIvrmYjhv0mkKNFzG0x3CupiWrsSnUzS7pLQeVgmMfActdB
fMmjjRucqhCnVP7F3cAOZI9aA1I7mW48pq++CtBR7lhoAwufT0BRCjOzfzft4DAhd0WG+/o2MHjX
ly3RctjS8YsTPmD8elwfJT0pDGGS3Qno6QrMqw8pr+wOgVm3bP4Sgp8c4jRpIcdxJ+ALqt5Vb7YD
uT5uwWosuYbMBOqwuzZhtiVPPeA9saBNkbInm3tCH0MOLC+lDgviV2HXZXgpVNsVVlEHNGQDqJRk
g389ktwBgKuNxl8ONILcyoV/DSt0h0t9KtXxAOrYRQP1bnkBezm4mwE2BkTi5MZV/E8NVCJfXIBq
dfB/MyIStLbeJiN5o3IqyPFgayALDf3bsm+lwuAfgTztkJY6C+FD1q/ng88MC2NSgyZp7BdWHbIh
nxPP3OToC1i4ZAVAKF4gtTuTxDgZTQb/T0++Uv2eFuj8Efe7qAOLowVuFOvWZyVdVFP6r+e8ay0h
UrQCPP1T9GfpwB7wGeduRhXa9sAibYCxSIMnoKCk2DjFRwR7Veogw4HUV1FNqB16X/NuqydyCv7Z
6Bdte6cUL8K45rqLaTWcW0wdnOieFQcTyxmYej08STT5TvPRtMVas1YmWo5YkI0xrZSrkLhiTF5V
vXcns7y6pvVLmvfYIzBl6jhDF+wdcdoTXtQwf21MpLmE4dD8+dlNqcLZaFyaNN237A9yHPuMdq4e
X2yvhkeKcLPWf7ifFzkxeBGbxtZ33oJem5tCI4ugRQaAnpXoJeInYxmvYliLXqLtkv5GCFsBYNLY
dGzfwuaYu0xwmAHgSwpx5dbzxr5FrL0T9Z3IgxLGcKrvK8ZHSUGgxkcPZ4gvgaMyJg0WPsyyM4m5
BHEi0MDzec81a4tsiM0NEzloynyUoCeMnlSJftX3Bzm8DF8QPkdYuPFEq7s1lM+U467CKSOKnlif
ZKbVR6ovGwyhUHGVfwhkz74DKv5EZPmsLIuZStMvI3GI/EuIsTlBx3Vm+Kp6/b3VwqPHiMqpz5Ic
xfKCHCTrcP5Q83Lv0Vu0zsMdXDoFjv+p+rAWlnNohsfgJcse9Se3RBev0+YeyXVdvJROY/dxy7Ud
GIa4gMB88oOtI9mM7KSD8Bifv+uszWIa+6QDiZIWkU0pQj6qJYkacpHovKtiBrJn5KbHUWtvXJsz
aWQkH1Eg7c1ypXHyJOquRmCKpE+Wa005KDjsus+UnQxYuYhwkIVnLwO5quwct+VmyFgLoDju1jlp
Gj5j2WZbKTPBIZxm+0E9RRML4FwzUGxkNI/bGjUPy9spWrb+a8CkBNpvpczpL8tm3yc/TW4TGn/k
ftAwAaDqY5kYndOgXPrZHWe7UuwJY6ikijFZIIOnN3OXcAP2URLOvTOkg0XOl+ORKcIUZqfSyNMo
I7gxI9ZLGF9UOgXIQxWSU3TdA69XOE+49hkAhcPGt35sfq4WosfbZeo4g+ci9RN+1UK+IPgp2q9p
rNX4gkQrTVcD+jEkkzU476GYtaxe/OAgeRzr8hAy7cnan+k7t4K/keDWFMeDBWlTX5jOKStfKvtl
bG7bCa2hgRJ5jAFH4SSZj1/EGa9yQ4NKSKw7iCh0fnNwaV0C2nJnDYsaZbQ9uLN0XMKD1MtVU7GT
gvhuEM039j+5RCSobYlmQUiZM9skqzlF/0bDpqbPzNpYKBxG5tCj+syrzWjRf2wH7YslW8dD6foN
NcSSv2IEkVM7Kyoah3fYF7G2qYMfpOf/ckLcO5Po2YMitqZz6EckdVvpv9eYQ+wLWST/KnOrAFVG
RqHdcVqJdG3rEzOazR0E0lkOkslZIZHookOQzZVwJeqVpx9SawEBNqGLB9dCJRSRdS3vk8LTUQ6S
2sSVB/DaxN3HAzbH6OAMm15JKWKVrDkmmVIuXKc1HnYat+woIByLSERHtISLgUUasXJ1c+iSO8ju
BRKIf3XZI3Q2zo4JmVVn9sX0GoMz++pdFWLBjNeM2BnEwYcj7KvVcDaLhM8w3Tg99J8kmtv9QW8I
8ZSLVmL24YaF+zMc4uqZooEh28doH17Es4xc1u3fi5puH10nTTSB1FR66ZpBtU+5rhPqMZyd5GDh
tEMivjCrt1B5ZcG2HDeJgqwPPlbU+isX0WkF2qF/4JkH0BoOXOT530CEAPJuZmTCffg8FQE7l2MH
FQOSTYZFQGGMTWitClBaGyG+YWwjWceENzi8G5TiI1jYndqqa89Hotyps0jYwN7hADAhsliKKQ2m
jHIzADI1qNxc9PVlequ0Z4WCQX5YQFmgt1ID4YkUE3UGM4v8NRoawQHtGb8mA91/OTqJxIK/U+O6
2I98jQ3tnI+sBacuiZGzxlHOFrtL0T1ZrqGx/hGcYINxtq2foplGzHhJMKGCtVuMgsETn6i46sMa
rBI3TW3MM+SrLoJsiSFBVYMtCHuOGQRmCv+1luJfR1AABysyz30QrSP9w3YQMGc9HTkznvwja32Q
XfeuRIuLhYUpqM4nFCsbkwPcxasSsoAV2OGkc3fFQhUZjvpnOhwMiiEdVWDvvUyXwqpMNmW+RbCO
VODHVnY+gmOFOG22CQ6Lw7o99wOekzYFEUSlmM6mABM34hLDUIAIsRwFwKZdxi7U159p9q6qfDA9
1mJmsZkFh3U55T4Fw93yK8wR8yHeGoR9+M5HzSGkSqnNa/IIWscFn3CwkFwlr6b7NtX1kKw0tPyR
u03dz8w8S44yydoYvRR2gm2Jn4ulF+/RPwzLIzKCCJYASVuXcJJv2RDt7e+RA78rvsvobpt7rzoZ
7Gn85j2LoAgzd9eQfynacYQDWqw7JHb92hK/GQ6wxrvVyZuSvRdOOM8N2hVEvejdeZNK5V0lLil7
+l2BdBlCJUILkd0M+FUFC/3G1Rd8Y9MKXbBVwN9j+Oeq/S3dbQ0Vi6q2C25V/qKuSLAiFjTUCpDZ
aCT+HIOI137l5jkIUWt3D1dZm9Y17v9yec+qn5A8EzvaV2iTtJDGT/wkwxYS2LHgkVcZILo23Yke
rsbk3lBlyxHr2Jmbdjnd2kX7BXfw3uZ/BosAS/7WwDD9Z9he1OFtSvgCWqugyvDhuqy9zog2YYxz
aEjgiFM2tIsg9MOrphMTEqa4N6IuQcSZMo5JmleGXssEL2V1l5ZIpKBBh0EP6XLqhxe9fcqumVdQ
Q/rfCoVbiHnM7Ml0Hf0NYWaLRMEEH/7S6M0dSJP1AI4jMOYTGd5UVoPC8RS8FINSxBvZBIO0ZPub
YpIMInOhcUy7pGgD7nhHPr9KnLci6lYCHWlDaeSF68R8Bd6vdaxRaapgfz6dTVGfrJx/sGPhCfLY
WtiYJ4MN2KB/ObqDYNxnNl52KpJ8OhOMn4QbzwOf4AVnO4FJNEG4r4H/5VAe89xzjrkKYQLRMVTZ
1yCb4jhx8GEBdPDNW9XsQ8asBWXG1kf8wrNi1QfNgv0GhNf2HpU4yvzqiQwXCKgi7ElS+2VtOteL
RVd9ufxlYiZeAdy60mcwJD/D6JA3N0GO/WgtGmfakcNXH7RNyUSamtro7WXLFaITrcIsMarIFjla
pKuTUGumpK7C1yyvQ/dpazwe7zHMHyjC1NL2NnLIKAAhkCsHjEPaiIE0ZPUL09Pe2VJb5MG+k0+t
Y3xb3FV9x2xctXeWcfXLo6bfM5/p5LIMdklyRatDtB1xsHMjOTKN/5d1pzg8G9AzZP0RS4Sj4c50
iOVb9RCVpI8o4mGKexZzsCBRKeq3jj6rZsgSxwuJui4WXDPWtQtOkqDhVHkbtZPbLPBLzM36u/We
sdED2CFNyvu1wxcEmpme7sN4oxXAbdFXEUK9IEDQxWpbk9mTCIBRh8iGZkfLq6lLq3DR9UUbuGCA
8liXH5Khx/PzzpBv34oPv2EsJtxTw4yVN/ye0eGPOVNBLcde0jEaRdpK5axY6jJy0DynV4xHqPS2
gil7ASMvRizRFyM6qG/Zo1hJGSunm0T7RU/yD4FtyKss1HBBCiWV33tRkD3AeKphZ6tItiH+QF7L
lC/LShX5pIdkz02XebIlijb23/omW9nZJcEtqQF6GGniBgoMgo8n/2Zu3QRDE9lV18Z31xpT9wLL
eOm994ijsu7hoU31SEAGBJhB5B/Nv7aC9gyAKf/0gn2eUR6FvOJZsBhLZS7VU+Wa59GN9nXuI2rm
9gFn7TG/8PmIO9ijrgjW3KfrqhGPAlBJk8Xgj/1vQwfdHv6mY3ZqK86PDmMwMyufxbPdbD3L2yoF
rgC29LpLQ8pPTRG5sv5Becrsj3HnOOyMfAUszst+qhCYfOYty/RHJxezEtHCagxk9t4DhM7TzMlS
tpsloL2imKLZJig3OsQmYT1YutSe3K0i3FSu8qaE/SZLWeNGGIf03v8rMdk4a83z54ojWSZzJwV3
oqXnGvSssS73JLKw7CjYRnkk1utPERWfI9KxWGUtov8UyV9g2vyuPRSCh88CK4nfYjfhk1YIvHxK
9xGwMm5KBFrjV28uVDQKw59boFwJv13tHayuyVwjrYAA5bwLFnnKMGjmJdw2Pdm3ZNQ11h3EXQac
uWO+rVHl0Cep5U+Y7pri09QvZET/y/Rd0O+KDJsrs1TCjzZB+j8SgwdtXlEKCfXZ+fGsRrxupZJZ
ST4bIEI0LA/rctcYu1KSf8cPL3PzXw+UuFY2oscjnutfDp/gJP7VbCYXyNNLMpiktbU6quQKnD/6
UZZTFiYaP4a/2Tpb7GDwXEBfJ8YsMY6Zfu8xUUr2PZrxyy7e8I6lstOww4WrBs+bw2/lTuMjxN1/
DdMrBxQK5Hv2TZwpe4FfgSck7Rmnmr8ps1pHpzq/ynJvsee1xlUY/6n9QS3uZrMb0j1kI4RhTFmR
NjbGq4BkP5hr3YLJFOn/ygZs1t1q6NtVD2XJ2SPppn+22RtyvrpAZyOpmF4aSU4DIX02Zwjd4LQM
9Q625GVKb0mLYvXmlFezurcMWHqLnp7TR9CDGC5oYXWTgV2P4B+aow5zC0XEKFFlHXNll1DqVOM1
tneJ9Ubi9WwE3YQzBAALyJg06E5Bt+VjZA7zF3JzjwAkdTxLCX13kCj/1PCvxabGbtBHn0NAgkRH
nHK5El2gluZyMMIV0FQdIE8RHjWO0wJWC1Qb5qLzXnu0GRMiBD9q/C27TxexacCuQNHfUvE1MmrT
jrq6ScA+6X73rypAI2VPpEJu9NcQ40hSt+Zee3k3akIVSO3JaHVrQlWg2BeyQdDKpkleK/HQCKKq
S+SpSrscWehYBdthg/K0cOZQ+3BydxPqQnNmCC705pnUPx68rYAxacMeuDdwgjNaxXoQiYrM4K/p
DrYbjQlS+goy+MO48Vt2PwVqvkqLLnXNZt8ji8LZZ+2XA0LRO4w6u6BfqzqlkFbyC65XH7WFz7/l
1ASQ1GzFPWeecxkN6Ms8lnyoJ3ofCFP1ZuOwzNWbFUIrGwCI49Tt5YeOgFWAsK/KXaUfAXaPqrHQ
aduyIgbTvhq5G5gBFqhsa9CvRsfdTBBJVlir2Pprsq07LgNOjAznkL0J9E+fBbNnoY9kZRH16yRl
qdkhYm1H+LJ8sGMI+QU1qFGQfrIe0ALL9t0EARPIq009EkRvpF75JnkUyOC8hyzvHukDrv3lF7cS
EySAoBlxEcCmedyth+ub856tcQlTkau7ZIjnMGoFPCH+N7V/upRiBmGIzI/VfAFPl/eZTVN50sIr
ZF927A+V6UDtsMbTKKMSZaFH2tzgUbGRL/pLQpTV6C+3XwYZ5g1p0ehQWerUC8tkrd7eM1KT+vaP
xSL3sLF22FTI6i9xVVScJ5O1c0RFL6Ozhc/ZfhI5RtfV4Oq+9TaDBSbeLxOLG0JD6IjkTGITm1vV
VakV5uZQPZWLr+wL+1DIDV8wLFz4MSzs4IQeHIs4Iv3HEi+P97OfeOCXnoVFyIFvZ3fI2NOROIQ7
hzazpo0R9Yet7Kf9kMu/Jnlz0aiMvwqRRtmHZB49dXNM2mwsn362QPY6r3jb8uo+iheOOV9shrxa
p+xSNZD5HTtJClzXlJy4FkIzdSPppKKJKKbNEnzYWHKJw2EbMZGbOHcnzqpJdNQ4d+FWIBmOwnHe
Z0TyZsfCesl4a0lmKT22Ua4V16jZ8y6MZm1JRhwEV5urkN0IWVEs8XQHYwbTIQKWkdEI/GusbWhx
s+FQceraQCYTTNNgpzjpgWRrIGkISe6OjNbk8B5x10fPwPuozAVGJ/ahoYWDhYD4WnOXImQQrvds
6qGJf8oIPQokw7Q4wKgRDgCTeJZ3q6Rh8rkifzT1z8J7tSQbBIdS96h9xWzSENfZpmeFwmZl71by
qkgaVRWVC0owsKq2S9KjoyFshLfOrC7l+BMa286xnfcE3CiKcg17LK4NpAmX/r2lROPujCi01EbH
D0lcM9oKqp2ST1Ui5x3WqYhnMm23boEbwrOIBESfUt2s/K5j3xnY8ibmJRarlCc57GkMuABTtGsY
31ctfgFTeddA0Po2YlGNGheDwl9PUkv8CpAfCN6Bjop4wvV4rEAdGw46r3O3a5qroiczxVyX4hDa
71aGwJHduG28+NhGrsu01GYKYkHZYgWYZnkkjLTopNiXMHQpc2JZT2oKI7l32C+XVHcOogmxHBB8
I+JQBPtOQAGE5sLXwSfKge7XXxozAsogiyyezMThyIAQFSA3PPLefxhDEP2JecVQ1h13Y/DKcngy
ALDw2y6a4l2qhw7FrEBR4u5iLHkGvqAaJsCBAC2LMZYAa1og4gSNV7j7HNBniArCey+mEgMqXKi+
TEx1/rborwELtyTYCnJKFNgCfrdWOqIPtoS04ULQWQiJHNUzJXETe+uk+3D7Z6dc+pKoFIYUkJN1
PnnJ+qEP97VGrJT3XfgjywBj0URfg6ryJL2F+aHGClgFUCS4fFOOH9N+atRFZs5NSyYhSRLWscF7
qVJ1d9HT1J4GJUcl7l7wNg7gmdpXE+AJqU6NAFzwyMPPJMCC7baEnml7yzi3/NTSunTWtbFfwXhF
nEXUEeKsTsOAOFFYf1uHpxiOg0rgdx68K/avpVwmpnx2MuKdggmoXyP4LlE4hBbDA+/HL78q61bS
WXhtDJVoXUf3ki7QOlv9rsMhmDxU2aHD40pPz6XHO9QfLf1ioxaVU1rOO/KK3lsqJj3JlyfZwCrK
Ii2fNhbXIfooPLkyEeDkGAkjuWP/Z2OCy3A12sXaNTAHMUBAm9wSQgtqY7yanBNk0uX+raXqsFgy
abBRSREWKD5UBKMddK/GCBZJa986/nuju5JwAJilNoq56eqFT6tgAIAelB+TTDGXCOe22tXKp8pr
RXg0kMQ2OAbqJmD5X8g/lJGeXLbdslCWYz1Cm+GhUNOlme3cnMhgexeo5oJkGAZ7kHz5kcInGs35
VUe5TLxXjepzdGGmQWPNxFwwqpIri18+Kzi4HG8exEw1uBdYPsgQjSb+wmbvFetBmaQueGRQLjxT
SUzivusupP3k/oJ7uqkWpOm2znvq7MqgXNeBQmBbh8aEjcVXm29r1GDpZ4USobAfdn9T+r0av4bg
oaBeDZqNph9UhsPy0dcbYa2D6i4RMhF3V7h/MZ6z/JKU36n4lDFe0Ts6Q9lRROPFR6JjMzzLP5vi
YPh32bz1zOGb/GITEWghztYjE71nNpdABSsy4dh/UJ3LsF028tsgMC6Ma66qVUTdNR6C5kIyEfoI
yIvE/dlLWV4QtA70oCmLqZY/mt0jd1/Qadv2D3Z+v4dUx9QfM4U24mNUiSE6CdwtXJqudWJCaZu7
IAXmzo0eH5v6Dqp60bKxqO186SvWHMQvTaGzUoiT5KlwSY2/G/02Nr8TlfrGu3XOp2lfKj4pdPIK
oRX8Ar3ZEyw05ZNWFHjXskRJvncQ+8g3rPvMXfXZ5I+OqeLVa14upXzrQIzkEVYG1g8QGKbdAKiA
g1FclXKf+g9e7YUx3CPdQZqUfmUJoZCdthhodeLqrSoASSPQME9gaOyKpFskZPaXgiktNyVWThr/
JJ/X/cBQ13vT2QPJNnsN6A8ytr2gVgIbmXwo4PWO7jFnV8b6mjGDj2DroTkPXVmjiuzRKhT2JSJk
TCkJ65MmbBhCheBMh127KPU9aWDL1PlJDfXZEhprBeAFmyBYwc8O+LwKv2VUcFBZAofZDdq01aXL
tJ93pM/q3spwWYzXCxdQUN0li4B5go5Adeh+nbQjNfDTQeyqMrVAJIYMHBU5XU+uM0vyGBLDHSuQ
EtNI1g2hkP2HZh5a1tWNSp3OM2h/UpkiZwpPE8gvd7C5CUSW+b9EX9b1XosvTvYt5K5Pf6dPQyNr
VF92gmIKWYiGHjPdapFYT76gRKzpCxPeGL50DWyQw4GSqlh3KSuIlEmZ+tgGKc2Msq/K5LjCzwjv
JHXiS8Fs2ODGr1gdaDlDqQZ7KuNnhsR6tYo94umQbBTICXB0Yo9WFRg6GKeXJYdHslLZ1PXmVDWz
ctv6YbTMA9hpDOJXjfLyo5VWIT7Zm+p7VX44uJizyqW/ZZtK5xaIU0i/bcJSqQAbEn7YAnlhDPEv
Rh89LHvt3dCAheHIMijfw4HjYa2Md4fZkHFCgm/CNoO/huNrKZAVtyY1KOfwmM0DtZ8xjin41xRN
50J9DOKYRidsKq26dU20Y5+VchuCmwxDpl/uRvXRsCRfkrVJAfLd9JkT0E1jjme0v9EGbx0k1rlx
mL6W5jzriFfUj3YZYLNql7jemFGoyjK0t8nw7HA19ExNQpRf7RhQka2S/qtIMRYOvCUAEr38O9Vt
l2l6AjFA604uK3AySPqvNDgLY2cFO11r53pezQZ7aenHwUVuCIKrNYYPW+0/eamJ363x5hLkOun5
Y8c9G8gLG0A4OHAN/COhhUkQ6WkP8tX1271un0LgcjkwLwwMM8OBSyXrRZyMxLuB22Iq7VvurMId
pCurrPx2Ashw33Gz4bjD62CUALcm2vpXo9+Edk+8j2a6MDGYa3clB/xKJ6nSyMbmRXbXtD5NUVAC
KJNycNV3Nz6IGIf8VmU8YHVY7dECKOGHL0gDGxk1ez2mWKyIOZIizxKLFssHl0lHWcME9jCUt6h4
NPmUfyYdWAAPa6R4kBl4v4z6CJGzPBThSmdAmZaCrSnclvjNzt695hWaP2Z4QJ0HMu7Hc4+e8zcw
d9ZlBAWXjhfXTvptRd91cO0UNIswiU4mWpVyEej0cgO/HbArTLM8tijVM2KBcvyLjM0T8CIu69JM
71jFPjFEtuXO7ncTlUhMCRbAmi2Yd2P+HWHSSR2sYFfpH2uBGmzKDrrFznsQHAv10Y27zL/rGuZg
8DEA/wj1o9tbyJRSAxnsoO2kgu5lXfNcx96ynuYrn712t7ONj5gJDwso/Dx7E3zoWs42gfJ9XNf5
tjB+VG1dYoTpeuZAUyNpfNRyZcS41yR5Sw9eC6AQRvgWClaRWz+4lf1HGV1tjfrn6iQI3Ybv3P1O
p34bnnS8i7qLaN60YluiOO1wFS/oJqzsO2IGEg6E5/b7viay6qvhz3oPgBqmu2uNPXXauvSdWUP/
yuBJL9Y1O3ztmSt3+JtNRQrzg3WDiwgeg+BAQqJxTMlM0Tm8k5sKhjZ3b4G4jumtcZk3djOBFxIV
rNMRircj5aEwD6r5IuWS1a+JehaPm87wxLg5bQcle50GxTJ0kNcs0WMIojSURUTbYA7HRH8Z6sXl
GfbyfUz0EkqoPD8qzK/ohTja1365jJu1Liku0EdvQn1fAIUYnBtJkuVwMtJVXx910teR8xFfPubR
zAo2iXoY7aVLoxYVBI8ta/3p4GYVl4yNyUBqi8ZoYzD/esy+6C5yjOQ+c1lXWzv+hPpbx/01ZLJh
KatCbJM8XvnDvfAQUIQ2avBuXRJzUygsnTWTmYGpz3P8+hJmk1ajKGjNXWQeQTF4ULX0EBtVgP4h
YjaNnZVxUMzIphBo87Ndjf0mGdt/gftTZTH1w3MiQ3U+CHwvX+og6wZwKKJkiNHFz5ys5ABWPkW4
Y1OcarDlsvpkp+PJZLlUhKTtVdZGk++FvRHBZQjCVca9Afen0ol00FasoxptFUfrPL7YprbszeYZ
t0OKKo+sJExurMVWDJ9IvYh2YwdrrL+VaFgNXFKIEnqkSwwr7PILidZR9PVS68BMyHAZR3vhHQRf
TlftBfvbVtTstJ+pmVyjMvlf0cowsFc+Jno0zuDZqDfcC7uaIcP4JAmr4/8dwciXD2ui7tebyDlK
BBrSUdHcIxZw1pZyDjq0cf3BT8+Q/DMOo4Ci2IARV2vPhKs9cPkUYwt6ChlbofFw1VVt96hlrXHr
ISTX8X3F/L3SfufwSQ7MsErZf9icnZXqfPtVvFMB+2EDNNs51GNSgSrEFibZUVxQOcB+hTUMlpw8
wQPk1ZeMgKGmjtYd4R0Dg2775an0wizkhHLX1TtxrkBHDvQ/xERwupjxAuur6mEqnzn2fNCD74pY
6EznXovNSQyF+sJft4kzG/3xoiBIS5un2XwaeIic5Kkg3zOlmA/eJquAZjH4jehZIZqzwbL/dfws
JcYrx2R0KjcjfZXmcNZB0oQDWRgWjTbH4wCHKw7fouCO/YF1GKvX6kvr4qWPj00CIDRbaNHNZ9RD
8kWFyB8I6oQob8ZeomJrubFrUAbKX1X9Zi7VWP8WoA1VaLVUIu5sOH1hQ42MPt1Dz+MxHdEZ7kGW
mFXoCQZkuhpKLwz3nvLMhU1VtbWLV2oTk6V4897+NR1rnltgK9R2kesa8A5kzCOWRYtFHo0Rx9SU
8GaU1y6/Sou0+/DP0K+Cv0Zt4zGQlxzpwZCcFUzluYEtt7dQ0iyF3wJrJGBwH+UQEgD1twBPCINa
B4Ox8Wu8t20zVwOiQuKz54YXtXYWlp6vOiolB41o10P8JXTPi89K+jcm6kp2rJTQ+k9CMUY4Xght
TACG+7UYto3VJnOjN5RJq0GbxDByZtKwZdhMYuwmo8QLhvW75IHxNEJNwresQCxCPKnLH+vcg4Ka
2jYxegNcZ7VDaLgM4X5LLqPJb9+iHikw6zNdNHKqyS8D32KL5L2y8MfaCpaTlaWQGAdzucD1LcBC
W2xjjKzlQBi3tr+MwGLYAlc7SvE2p9+kYjTkAd+Y1rFJRkSipsPRYLWa/fWAIg1mFx78/zb8LY23
uLsLJEKF1a7jTkVhqc5skhE1hVENE9W2GPDX4WU1EE/Vdv0WsPeIKBr0ODx1CD74ZGblAFVe9XeD
9VDytZqfRL8GRhand42LEp8Q8G/6ypqdsiLX5Yi2MF0bBsGpSFd91pTsMIUVXuVg84MhiSlut1Et
sdGc75hGV1f3aY2RSEfKbQ3pdQzeMwW4WCY2uuoyRoTDlGc7n4bYRJCUeMY5CQH4o7YfYPNQEku2
+42ebCu9PArTfssRCHWuT6COfZSZ/1ZMT3cOaafyQOcUl7jpuX2m/0ZKeJUmj4XNBZNm2wqfTFMR
Ro83xgl8sJNo29Mvlcm7ob34ZRnI94KZD4zhZuC71NtshTSKlYA8GfgWA8AoQ8k2GkXJOk+qSXGo
gOlxVxQLh77L1h6qJVvHVx5GzBkmGFULjbs18NOhatUx/jhqC5EGOp+HBC0ynVWeq0u7hxGtWtXK
8vKKuFOclHVgMHogWcLT8Yl7rGSFO64ddwBcUy0azV0Fwl0VSrergpwVMPt8L8PJHwoCMumsILCa
PDApqhud+KVfl0pKtw6txszXt2AhtEvL9BGvNO3aFk8n5e/sxvvAZNTfdcTglM58YmA2KSSPot13
lYNWuCQT9NkbFT5Lkra6fIF9AO8ce9aE4rBCLGENBxmbZIh15tIqq6OKuTFHwQUxH0PMRs/lH8mG
v64zMviN5jk5vdPvaRoPbEcaF3FopNsO+kQAK3mEepwwhgnGex5pi3qyIWGZcoCGTG54aXeLIb7/
r5tgFm+hXNBEeextJifYuHWSP4U+nNXUKnY9Cr4aIY+XMVKv/YuCrUOyDE4wkoYq+2fS0/8pNZYm
Jz2VunWBqob7eORlGbibC3+hyG5ZmS7GjvKVxykFX7AMRg35B+bwwbdnuccoF/tcoH2OjfuXlNbG
CEgqLOJFjOEhYn41GugZ2hr20LZXamspdbUBAZ2WC7MnLwDHNvRaMyiuTcWwmYwiaz64fnpUnQnu
FSflzAschJdZ4CyFamnBTnjckYSW06UrurlTzcJFON6nUftWRLaXs+EecXoW1A56aekkLLBsIhOm
WcX1ONqzzEo4QPPKYucu8wL8R532IPZLH0dPrpgQbaEhOKnLeilMrf6fjRQT32VfbeNSc03e+boD
DStck+m37zF0b0a9AxwcJPRemt8lu0grexa5Eb6vBk1E1abm3MwK9YNczPBTQ4GxtzVPgNcuJr8V
4HOj9vlFDH1cOV5qw7qOqkMifm0ND0cRpoDtwo43zM9xuLKMp+0y3Aibk9Gne2mExs00w4C2VMcR
LDxZPGPLw7UaWQb6ImecMCOpDpKwzj6wurksNXxIKbnQjbumJOpbhfR4F8VGeQ7Ffxyd146tSBZE
vwgJD/l6j/emTtkXVBZIvEvM1/eiH0bTavVM16UgzY6IFZWOLyOmQRBr5qy7tRNr4TQq/S3rGQ/K
rsKCoMnc/yqaSK1L+HtLJ/ARXbrC3k66wwB8yjPiuSoEZ0e+SKbOwP5TOOktznOA4n0oRLSNi9wY
SAYN/CNaFmScsIaI2UkyTr+DwYvSK4B9ga1Q5qPc7c5YQtJ24fl5cksZ03hzVtkoXX8bJOgLGL7F
Ywp9/ZZLhIFO9vqhbsxuYwyEhpxwao66cLvntqGFMrJEuvcLyjuGIYqvhi7ta68PFOz5wCxIUkSv
sitJDE6DwtrvenTATwO1YTaeWZd0m5SUeRbWOAJ+yQv3vdJNay8JBVHDNepL2XN+MXpAbI7Jipj6
GtFTIzYfeuv9NcqMMU9m/RJoQ4GfIdDVZvRDXkORs0uwkmJU6zolKCs0WESNoLTJ96Smxwh4LqMu
wCc+Ms2dF5syifaa14wrEerpidxG8+0brn3xyRRzYlPDBG9a2lzzZZt6y1o09rKMIWIVs1sRU+NE
cD9pbyKuU9KedG2VEdcyzyRoXVQagHzNHNZqhGPJqQA/X8wNpHUmuao6Mb9uPSAa2+S6SZqlYKQV
tBZ2RQ2ZPhxsndc//tVBcp5aXlcwYnGYADSI9BlGxUZpz7gu3ee2V0rNYbeX+IDqM9ZS8JJpH93B
RpKW4WlizBYsPWFOP4k4NuWXKXEcQ2Tx89+KgsUghUXveM568sO95yd/VclxdZjEF5QsXkS8/7Lf
+IxEyVtdhqq6+CTo8goIix0x0q4CGgA5u+SG/uZWwNpcRuW6a9WHYqjB7RTraWY44BljvldOm94h
gEvzDCX1U7NN9a0Lq9nbVpO+AWrNCbfCJ9GR3tQ/FFGTQlTMVk92ewJ5Q4LuNW/IuYKvFuA1xK9g
k/EJIdox6K/0KYH3wRqvKHZN2mAPce4HdzrxRfetdctb3HBozpIdSXwflyydYooc5zaynkdkTxU0
B0bApCf7Besd1JiPPvrF4xXKF3M6C4ZynEMWnfHVa7+Nfyp1jrLrEh7OHIhKbKKXG4MMWMFbp+zo
VHpA/jgp0QRr77xyXGjDVnrVTLHEhvFlCqp8Jp36IGtVa0Q9cm0bql04/cat5LTF3UZO+H9/lcdx
n0RVkXorLfsZrICQEyHLpI4JhtwTKjkHn2MyEmOaveq2+Bc0YPbfKAOGK+Vqb122NjloJgyYLB/e
QPqUUgaczkojvQSKuUa+bpB6AYhCrnO488yNyEfPxsNBzEzWwIzi5Uh/TFmSKYhoDzMN4+jTHG62
gKj4KtxiYJiRbzXI0naYvQeBWpoGck1IYqiArmxs8unYcYjFuzaHbgsaX/KJcpy0YWbY33qPBrYR
hdipgAXiGTKqdYX7PndGOKkDGXeAsNNqKNt9xNvblmjswSZIJoa6mrcJEXgisns2y1fT9j9ldzdY
kQt1TeJrX17+h8IIVK+rV1yH9OYECJRI4yo8SZsa7wA3DG8ANBjZwhBELcpPwQAOggYxbdO5sGW3
wtrU9dHTN6KDe8Z9DSnPC97M8uiViIWUwkhq3fISwYFnQbwNGx64MqfqVll/bgF95uq97liH6mY5
ZeKmuzZFryTGAPKBwDNqxjv3Lj8ryiphmSy7gJoG7A2AOFdsDQtMDUuR3toZOM/ktc1fafRrDcjV
FDJUJDXYuGvqnQlL0DlpvbATrwZCqwnzGn9qFloMwD3BIcByHE/jykE5auRV4zBXpxtm2ToHDmcd
YYvIX31qTXPF6uHQb95SkuDt+Yqa/j7FPmQSp8dI2dOINHwafBSRtcmCCzYpDP+WuLsM/EOHnrJj
H22pWRIEt+2HXl+cpqbFB2MVPBNpv7XxCdM75rj0PFjWa+QnrxOz/cT90vutge9p3Pb2LQO+2SPb
KHT4aTxRijp0jMkyLjX/q3vsvAL9L6X4fQRpkr/Z8aOMgdg5tw6fDWcU+s+evPYQdoca96VZA3q4
FCY4Me6MOZ9Xmt2j+DTKC5GdGW33T3kQg9gBsKVpBDyvCe4XhxyW3HHE39T0PaSUnzP+7AdeosJZ
9z44tYZllim5htN7oNpOAzuYg+5GuscwmXjPfXgMI4AztGFrWK0DB6iorhNYYlZ2hiiR0IMrOoFL
PuRwQGEYwJyAY2MMVxchY4Ah4r4p44BXdCbTmuW2YyeViPkcHGjh1a7WmLzF+BIY40fWsiYzWH2x
dOBJG7pzgXbjUF7mUUtBsU3DAtX1RyP+BKKY0dVYvEz8dBZ4mcl7GapjitkAgKqidjN8lqxaLSSo
GH8QxFBysXzE+Tlhni82YcVw4u6GD7OB2MXFUj+1AYEkt787CiFL+hpK7FqPOjppPmPzvfCY51L3
+6Zxsra0ZhV1Xx3P2OJOG+/HYU3huz0dNbm3tG+BA1CvWDThGhTWN2eQmLtE/OrjhWnotQiIqw7k
tMn1l7ApKgb+OLQJRQ4Ad/Arpl+mwpCaMvLb0aEIL2CNQ7JnyJ5xmdQ4ecXhX9u/OyRNpkgRmc43
ujTOnWvsIv2DQ8tyRJfNuowvuk7BWWckp4nDO+GuqNZde+1Zyyub4k7sBUBT6ourIQVz+QiJqk2s
uVRYrDIfagTJd+ppq/iqwW2tQMInqQWJCNs6VZSTCZsLOdj9cDRqdQ5Cu/eEsAPJVlculDkQmzQJ
/OGwrJuVrT0PNYFtxmSKtVzDTZU0cl3XIJ9aeg3HAU9dux0rbiAh+UVa0k+mcYqqa60yqMkO6UJK
bWmvaetnWk7YhpkHq13EGEQE21AA4bS5WdH3BbQqXQ8aSFBwWUzuqy3LuE77p21T8LCmJMcb9knY
361iX2nMYcw/reWNNN6zkTX5TRSfUv046Vfd/DT2Z67T28pMiUwIjeea8R77fDLNm9G8FECMm60i
ZELnjVld+n7j4SeQexOVioZs56EGluz7kLxKZAkJTJ30xnLqVyU7K9XcGNntY2GdDerkjTT8CV1j
75LhKnu+ljr5bE2Q/TF3/7C+jsSmKv6+W2d0Tul7S4Qftnf2cFgY2J6U/T5f8GvzUWGL4LSZzGiE
UIdu/D2OFI/Mwd2M3BiR5Nj013pKjhnIAkt1y+tdNiM9F+SU/O9GK5clhNs8npkApPrw2GN3VDlt
cRFzGaoLLWASg3c1GCzl84Ws7d71TG0bFswYqyTEghEXsOU84YjkYE94Afqel4FPAcdecvL1cKJ0
tvfRiOpQufk6G3jtqEesWqrXuGRNgii/yncVI3Fz0AA3gWSmY7eVp7H4m6ojwH4Kdy8wm0bnuVCw
NIPVRC2rIgvIPOMRdvccW7FdfI8Ckw7aV5i9jnh7Eo2ytdCD8Qwl240uXd3/ViYd43TCDREsjsD/
37wttQjcGePWymHfN+B8YqxPPMS6q6QzxgmSg+G86RmJizLivtMW2T4VzvQyUlRFL0cYMB0qHVAt
tPF0Ay9Gc/YqomHTcEupJqg1pFqJpAowGcBS4OM+V1QHMHVQQsnlgHypSmzf7vTpVkW0DpILd/N8
PXLa7W3S6110SrgCjlZ/MWIAXOwEjmNuqqn8qOcst3UZgV16ApZu6nXLbFTrnBK/mGIL+zgm8dEf
YqB8ZO1s4CYICY3aObZB16aUHzxwN1vmeef/BKlpX7XM1/qF5ndyzUBlG+CzrYQ4leCoqapbDKma
uUxvGv+plTDIjRo8KSI4/ywzW5UO5iRfri0h1GuPxPXn+c2480yC6ZHgCmVb9ttEz0RdBngw7HYu
1qi3ncMN3kKnpBygWlu4HWaitxEjMZSjzauZAuimf5a/8zK01T3U5kIL7KQ0RCCe2tzMJ4ElxBh5
j1sNPVsFe53GeJ+0cMsVHLwEW2KgCIb4DCbT5jVv6Qvjyn/MMrF3pA2vNPq2bdhyTn72ipgbN9zZ
jkPfAD3FpcWa3zazqWrt4hEMXFcHjOV9xUF19gUHC0eakD2CDYbxzUAysozKnU4nlU6mqUu0pxqZ
cZDetkBN93JBZzHbG37BgspSUdJ5YmGQIhPngnHQp47LN8Nnst0mA1nqWa8aGfSiNXbTEF0du8ES
aG68AXpibfzqaDRaJVa9Lpfj/Nk7fJi2nf35OcweUwLaTP3jNEkAwd1f4bsHWmCZaXUHr8Cdw/Sm
cXTGZOzSBr/y0KKSKqY8un5jgITvgStBNGKP1p9TazgUMfE1jo9mTaSaIunEh4UvLJf2O++Q+h7p
FeukTdoqpEg9xZLf1vS2tNSdBh7yEOZlAb/HGakWhypl9w3BMY6R0tnzDy65XbMLBNvW6yj4m15D
EwR7BCJrDqAOouTCG7W/iUUuBuPBI6/rH+G53zabl44PkL7c3zBwztXUgfGZh9BJ9ToOPZapZk+6
CNNPx6RsSFr6ZMwu2ggz3/sRGXg9QIWXjcdByMAdoL0VvfXUpJBMzNI9YvP9N1EI57BVJiV+2cGA
fy2S1UCjjUI+SQlG0IY+XBnlQfxguJPXo73sWElKAfwRNABeSG+DCW1B2xxGWWXW6zbuVx1Sg4ei
V7ctqpnPEY20LIfMsSHuld8o5jtoSj9kKflJI3sBD/JCgwm3mNFv6RvKUsbkeVVqv6GT1VvL8sny
c1bJQgdhPHBnF2mFCVXqybqZ0NFL8R4HzZNZA2cpJ2pyiKeynaAPEBQi6ma45rILddbwDGEmjOrj
YLpH0il7F/MxpKtNRPI/xUSwLBI+Lc8icmxnlzwIYSmMPvNOq95HZeot9LbUSSHzYWNYOCbBRFw7
IBMuB+/YGHqzEjrOV83HXdSOOhYuOu6Y7k4tqunkYsmLiGNFyrH2lSHAfYQhBFRFj5e5G4qMa/64
wZ30amf7Iph21ejiBGrVCVeme5Ct4f8ape+/KFUS2g/8u64FFyVRdQqRPwQFDbR8cGQkbRQ+F+bJ
75Kl1XN2qX5jqtWGGJxkpSPdRsvBJ+7rZvmHco1tSdi1UGKrZpR/99CzdDfPge1sWPVdxSiQuVIx
rlz7o/KivedQeRoQx+2dGm/HCAh+lLvcRpS1KufQhv1J1+kqLCKO5GETef9Knn3cCpIF1dF2GcuI
jF6wUy5Q4qAZe1zC/InUTsNYmCOWKJ+6+BFUnFoZy+NKZ/Td4CSMtOd0HJk6U8fTf9aVuI8DtpGR
tFgfAilRlGSzeZ2HvrtnfCpQ8TG/5fFWI3bShs05Fj5JxzEUwy5LUoFBHLonNilMBbnv/VQ6/ORK
CfIBQ4BdPBUNuViWxCRNn7rMRULItFLeap+Msafp4olZb/eWq0Zf9DrnW+HbmNLivAYV7FbU1oT6
4O7EDPdt0PrWrkDVZj30TqXZ2OtU5sbWmTJGd5k9LfKBU2fXpbMLqq+56pYOPRH+lH7Dgyo/LfYL
avlmyhcTSkxRo8eopox6vLXaoAaeLA+jb9sAHEEpaBDxEUbLDh+xdDkj+V5BjRgWnRJpzve2BlNk
BjBl8868Deu5N05UmPsm3i0hMTAPAxA+r0mBhZdTQwi+jjDJFVLNDNo60L1lNSTuJ3tbv+XTx2Fm
oCkdhjDH2l7EGt5htJYjWbya+tS5pTu354FY4INlsQwMufUYkqcaU4SdgZIeachoH2LOqMiN2LD1
mwElp+PffvEtpA2tBegelfmLcwsCDMhBy2UFhpv1sELZPWQYGq9mVIdvYn5heHbTP20yfyy3iE6A
ZurzZDFGkEgYMuXArexDCOLDg4hEzAB81BgIOFbF3XbqdS9cJv79vszxcyX0V6T5rulzjYYv/L0l
FmKR+zdvLDrwVvMgNTUIabjJVrMgqFTxI2Q2uzAC/aLBapVlsmkovSoT7ZFQO4AZah9zwXHC+MAf
HW87jxsnH9f8xPlnquJcx5gbMp+WUl+Pdh0Keci3NU8K6DV39YtM+YsUki42ky0gui09bJskz692
K44gALamyfaVBVDxao75cp/IGk/V4N7iqYIH08DbcHI5Yojxi1Jihq0fqmWmGhb4D9VFRx1M4Gx6
hdy4brmpMPCpXh0GRqGKJ5h1nLQSzwHeGpsBj9voZnIHIfC0RYxydO563KilebOiaBGBlclzHb1q
rhfl+piZJ+wkT10VkC0GItn5DBBsCcM09j78qicrEdB6XGP2tTwQTey0DirdXGlhOsNvCn8wRMRC
PdzUHEEGbHQm41o3MEAnDE+8QE9Q0XEL4+ZAS+kMWAT2jTLRq/Ix5UaFsRGFWo4dYcp63EejtRIg
9O1UHaF77Rs7RE7tD17fgWpzb05Nh0RrUDog/ODDR86AfwMzHSotbiFmMgb9p2kkL9PQ/aoaVFhn
roPZKVs7C9/FbZOp9k+b3KdJCzZGOr64wluIalqkuLgHB1iG6xCxLpNm5Qr1HlXTI1EVxwZ41Jw8
439mQGrQb/YyaldeWzKotq68A3uZhK+pmXzmMWutbclVQAEQViTI2VvyFnRJjbqH/QeVOjtgaafx
wESiRR3beIIi2X4AQYROyDGDoZV6ke6hC59y93vAFAl8ukOPihuaUaHFRuTjPUEomPsrYuKYYzKC
8lV/z0110uIe6LpH5bKo6B81MOfhiuFqRd2pq1MFOUvfYo3k0ybmviwhnXSEyUYEXFH9OaX/3lE2
skjmqQY1U8J7t9gZpoJnaTmMV5pNq+qlQ0DLNX5DyQYBmCj3d64Bcd9wT75BQo7JcCGnG8sG4151
MAkVCds/iLo9hqn51Ib2k225B0PTmcf3ywSB2Qy/Q/ukj2Q94k+CFhqulDqqoLo3lkUEEflZN6Hq
tfVPSVGawS/UgTLYUnIZG/ku5OdlRdsqPaazL/jX+MO10wbgtW90wlINze0tbh/VWF0Mxr+j1p1K
KDVjV7/V3b1Oe0Jf5ZH9/AL7cNtF/asNda0DuaazqbDxwv17lGX0EO4NcJ9b59c4YrdJdcS4X0qm
8umtCsDAz9iCe+K8+FgjfMO+R4HyTpL+MAPvBQ6KBhZ4EvQLuq68TRQZ65RfWsIRtpbGmkDezrXG
hcdMwG2qpUsdZGjBBGqKdQj51SKdbKpLE9zDVO7zsGIy6jLVkj8W3qfJNl8mxlQhN+OR/56z2n5g
rGxXMbz4IVpvx+fBfiQOV0ZkCc3epWjpRZXtchd1u4uda9SJG6OCbKU3Pi8uoQ7CU8ZvDlxcpbtK
+xBA2YQ7HhRsLFFwxee+ZDGkFdfJP6Gj4vHY6tqfrf4GqtnVn9DopdiNLsGxfmeLC2PSoiN4d9a7
c5ViKXvwIEAInQPr3BP9LByYgHIAzOUDhIF8Jb/1+BqJN1/4GOfLB5CcJeLRCnPWSljJcyqwn+v9
a5XTuI1ERVkGBdlN+zbZxiaM0l1jIAhg8r2ZmjgbBH5kJNxFMZS0IHvcacx2YpRBgDTO9Ril1SNF
a1IwqVO+3kVTtymSAtBpdtbbYWMrKHUAzSdG5znGDpMzXyM60jZ6wLue7Du+ryTng9XCXwi+q9nf
IuNg7YcKowW+4vBzLI0nqyZ3Azoo30fFsDQ1Mha1Rz07Jw9TubCbxnuaKKbpFi7ILi6fLY6bMUGH
dV7E76VwOR+1v8gOz6oMkaPx/5DP9iaC4KU/PTz4GQRcQlQWeD1V/C6Z6fey/mo5jPAAgE2YLrnm
jPKKthfbkFtXbT9siGs+btiyh42nVUSMWnOrmcCXzBIIuaTZnr9OZMiAcHqKHcp6iicjN5ZVDLfJ
Y4KOBcrNSG/rHJhZJ+JOPIA5xMgxVgmZI/SnD7eUrzlh4j7V/rDVP9UJbIuGY2xsyrVRxStNFbgz
38oG3yKz9qGDxDWsTUY8zafU6ctV49EFvBzCszWf6vSLrxoXOBiOojsp39NWZux9B2bLj95uJ5uk
YWUlx7HSWPat18DK+HnbhxHjEMap6sdcm85mdeb7WSvwGyZs2En566H/QSgEY8d4TJbPDkItvluy
jxDhM1p10ar3kaRM2p7tbLoaVwEqW4LZ61xDgUn0+t549irjkDpAgIbAjPgZ10CVysOs1kh0rzTi
FkV6zB5w4iP6dQdf7buxWQbFV8csjJ+3h/QiOo4/kAhq24QUA/zCYX4ESjCL5LKmq8LQSTLH9xwG
bwVgjFtE6d305Npr76OMDqDknidRbYbsqZePqaX8fFPi/Byjb2npbyJs9zULgmPpO5wEd2Uj1hag
Fu19n3zWAXUCRj1PQh0SZnl664Nkw7lnzo9dptrY6l2ynVBO5Xjp83M9wOb2inPM77tQCTgR5jHE
4mOXOlpma5Gb/CGlwx2YKaWYtgIYZt4pLZ5iEiT4tzV0QrLV067OgVI/RXXaHnROVcNqaHjOycFN
i3ibl6EEzUgk2/zqTLxtxAuMuxh3oEsr8DxBsePrXTFVh5aIz7Xc+SralZpa+CK9ODVody59blge
Wr3bljllUQkHcTslw1FIZkCXpv6WJgCcIevWncygoLklBS59TlWNLZh3yY5+djvtv1qXgBSKTT9+
du5v3tD7nhietbI49B8iq9XYqzPrEIhyKVxa3quaGRLUxc7dSDOOVpyFm+8y1rO1O5dFsj0EWJU6
zT7E/MEbOT7BOhwhhoE3MkRhvxJHxjxe9o/SGd390Nl0MrrVeACfhOm+wImXdU71LPzeXNUTo8om
XKe5C7DIi5AFfG5F4M1zG45YgWsP1X4c4ntfmVsAZ6LadrSBjCwK4FmTcxHnVBPGlNoRO+NrQv16
99J7gREzZbzJZjCUt6j6McT7SJ9pnelzDyMy+KIvn03vlFhASzt1kEZytu1hFXu8Yi0ES2tYNx71
V24Ik+lgRvjTmT40OmUGa1v/rEOgKX3bHKsIDxdyJCVu3G3kF/vwP6OBTGyZyzzk4Gblh7H7Kewc
8SP7FxYfY8qtcTxN8H9jA4gITq9NrJ+ztMZkVTKfdJ2LE36PLC2tRhJ8ieZlSnDEKPsTg42BWqqi
gMY16TBWrD44ejE6jOH4TwHWFBcGoh0qEo4dI/vknpGnpB7eRP40nAhg4YiaDmkW+0xoffe0WjQ4
kbFJleoWQtt3yvIgO8EhGfCv7G28SgSNpb0QetaDmLU3NQ8iBxQRzk0onWj6RVG0KJo1Jp9oVdVv
Ta5OatxaOnO8noK+a1EGcN5psWsPuX3Ae/2vIIdY0eztxGJRU0nrUQYeFt7K0AilF0uKMdYyykDC
XUKMJ86MqbQJ4lUaA3d4bUnk3zT9VCEbp4PBn5V6trb4cVyMZvn4y3f6rvka5T3A19yaluaDH72G
FvCS5mbR0FdhnA0t4GjVRxvdWoNPA2Cvlkb7jEFNLKgcbzX8tr/ehMch9AhJ8vZSo/Y9RVcoCWub
Qxv3Z/QhbyE9rJw1Fidg2/lJmCaUHoe5GVdGHlBFUjIPj4JCJyNtPpRcB9TVTu8aGS1FQszx0mVA
AIXVs58bJSZrz957SQdr6yO2W+m3C9Sg8V4oNdTHQ6+rWwHQBTkABPXwoLPH8E0EKf0fw4MJmzwH
H6v8HvBeZO26dtf8v11RHyXHv7kMtwC60EDNKFvMbNZn3p6ypN6l2oN50b/Yjzdh8TqDGNKmXHbx
RZW/EY4wL2yBuDd8iujX5fcYmcuoupSoBxahrEC8OeRObH1XGc1SjYeYlFgqsSABq/BjR+ziEk8a
9m+9STYhLYUFULieZmnHbTc6Bg8hsXRja8MsaLqPkVB2xnYH65I3HO5OP8AB6axVhbQhTTztU35T
zAbJzNDgF/Cle4N9aYNxiTHszyL1idtnj6CxNqHADISZ/mmK/dTxmgfutUfkIWoU47AxipIsmeYx
zGFnykrKxqoUhhTXSlzQBiC4vP5hqvPQNf3FttKjR1rEI/Bm1QFUP2FHe4Xu6I/1TYmI27kVewP+
HVYueOErx8Yb3VP4PKlvZfmHKOm2ia2Bf4nOkx7fDMvZl9whGl27YDtb9TU/QDkyuRGmfRr0/HmI
QgprYn8J/BjAEuW//GvwfZAlSGuCt7KGGAihVDXWSQaCYWe4iL2SafhEOohdDaRC0Wa7xLi2zWEw
Xpk8bcyG2iVEfb77MVn09n00PkYG4vhNfXvtWGcNc5NFs7QBdLId2pOO4jIRHE1F+a2X41pWAcyV
6cqUcltV4wst1CvbT7DEw5xgS0Wv17q/WPCjh/tJXuYyrQDrgzWAGtLlJubKJAoqPMJVJbt1lpMw
jQGghsaJwrh/mvjy5vVgHTvvpf3d9ivpbnyLgG5wsIJD1n7Z7Czl3lLMvjSaUtZ5gLUzWno6F3aQ
GQZIMPz9NM/li57jWEBYGAcrFYAQRTg3xdDMeBVqwpqW061HNzqZWHL4kzIyeMdNQbSUynWtxCio
UWCwFYC0J0lADyc+epFupcuJaQ95zJl+m5u3coSadqgs5vI/srgY7E9u+NRWREnCXzfhWIQxcGQI
EuAt8RVNs/EMjnNXlQ4Fam+jdAXVctSTLXSPHTwSmkpfISPwykOrjR5N9NKCLhHXgexmvWc9sHgF
xsolZ2ezqiv2Beb1X+O41d0PlxMPQWy2m5q876+Ivlp5U/zveSyxNbc+ISrD+eyY8tpWdKdeAE5D
TDNd7Fxa9TbqbyHCrJNSrcleSdLi5rk2QY6bo61tQc0Mh7AAUhVUoSA9DFj+pqaeQx212I/drlHe
v5rVnEPLYOxb76eMxbLnoGWKB/MAl82x4qiScukJq2XkqMdcJS1rjirabzA8Zy34MfNoZRgVjIZq
GIth39OIvb2hnaAjyTzGL3r2rYPGMTtj3RJSClIXwjMmZgVEj0lxob15M9iB5ZYwznKCpDE018p9
iznP14xmMC0+Fxa/V+dZziRHsgzKDx+ND8F+VQ3Us1P7EFrvo/+Ny+Jg2ac6z16FQyZ1bC5IIfv5
SADKMvA/6doqeCa6/TTq99zUQN85IFYWDEXxuEdUznLJn3DiWO6qHI6CSCzHPFAJH5kcMRj/BOZf
nSYrfZTELsxVi31J5+0DGrbSrCuDZzYere92E+7c8cflhBZTeOOSipXEleySSWuO8K68bT72c+Eg
17U1B99bzNpnUzqq1I8J2VGEEawssAH51v3fN28+FZb1AQ30ygzvqHqfoA9FslkLoJw4pveVqpd+
IFGhquIqqWbWzOzZrAwiZ1hD3Gnd4+8Uab6GtLB0AUdZ/DM2O1mI9yMOt0lVPmE8WU5Dfext44tJ
KIG3nzT5VrMDbQaJ/zTEbEwcOClbc5oBMF+HmrFsmDWmyFaqxftivHejDdBf/2dWzJSSbZ3DYBrm
BK+7CE1SFmK8RT3xXHdaaPAs5l/p6OcbEwWfyi2mDxpdGoj9GPts4VDjtJqCR1In5wFZOa7J+Jov
cXaIkRWTMfjB0cLJb3pvzYeWwYPlPSgynBjVItXgHpXiqBEcajWqI/GC9cTg/Mzi3F2TAAAP3E7g
w8Gq6mgVo48XdwueYpkLoCsjS0LylDkSGSD4CpwTVtStkoRjXBLSQbhv/Y5LJGQWUQCfyw/I0bQQ
7Ujp0zNrgNsDw7PywsWU7cJqo7fYuiI4wxXpMG9d9njx8rOb5jQWdvxRLOa76aVsbqPOw9kbsGC0
7qoYH/mRuR9VDJ9x9D6rcNwV8PgyKOeeB1xd7RQYDR9sdhF82xy6SQk8XNku8xZuSw6KDQKNdGmU
YLymuTvPvln/UxblwuGOg4mGz5CuGCZeRqMvM7FszJPjgTh7EgPJdUg4Q+6tLMw7o3fSknTbUqbd
cKwxeYsg6AwdhUNsZznxklAcaALyZwsPnl+D1E05nGuHC3/BqaEt1vjnb1pLkRWhIRt8ooYNw6a/
MAZL17OUmbiQTCw6WU81GhUqjb2b1N4ETuF11WK2DJj6zvO/I4JFlZxDxihCBcr9w/KqpUY7N0LX
ZB7i9phBQABENbD3xB+TU74EUPbhzRk8F6ILcGOoY9AJQg71stDdU42Ly2lOdUWz3qVq94qNsA0h
b2AzL2pSsfqhIptUp9fM/Q6qeJk3J0vtOnxFTeeezfq7wCgzFtamD2+Ah5EZKgteHbnaLtP45pY6
kby5LWHadmm4lMa0HRJUW/oS46HZNiOkpGiRUFeE/XoKLjpLgk5k0jI2roc8UH1YBUpfmHwaZIIG
532EQdBgVWv7cwlmweXA3vMzUQ4We88yT4FWjQsSD3i3p1VhX7RcbLroPTD9u4UA2nnvXscg1gWM
Df/Vs98Kn8B3Oyt5/ToJMDsUvxMOuC6n+orirCh5FXq6MM0l+wQJ/GMBkkQa6aloIWAVHDDZy814
JC3JoIC2XtR9ANZ/PZ1opYLK7/k7IxX72kdwLKalz3ulXHEw6FsfGhD+PAcw3HAzCqz/c/6vEvSd
4O/W4DVyZ+BUvbb4j17gIlHxmrmpLcetiQN4NGBWuJ26GAw753mGN76D3Vthl9qqUi8YSFXs4Bgz
+X1YDv+Ho89jHoz+BNTyX9/NdDDOXxqgcFyzHotH6KKkpcDv1D1ucQxTuBY4Do7hP8vu4XATL6Yx
YEz2g0+eDS+UnOG+9QapbJ0x2EuK5JhAZgIDu+1wglDyPvG6m3R6OS9mfmRX4Kf8wtX/rzKQEC11
TgwShuKjDSBZwKfUM4wt1qVzMAbWxJL9i0VPBZdm10x3hewXXYm5zbMWUamOLdpp2faPIaBk2V2Z
5efElNGPDw2Ih6QkR+XddUYcenlrnPcpKXDAHv/j6LyWI1WyKPpFRCQeXlXeSGXk9ULI9MWbhIQE
vn4W83AnOmYmrtRVkHnM3munMCyXKKlGu78Jyq20vjWMmFX3Z9SQ+VN0XOGG1N5twrvsEa7SjOW+
jO9U9qexnw4hk1mfwFRg12FOpry78CfoLJk0FKi1nBjmOhzb9LVlcZoN3k574N8QCfVsTYoJ+g1h
eNlwbOpnK/yO0aT3CAx9dCVC/DC7XvVwe9jWEDj+2ANiaMdThCszUAzkEACXw0cFCcQOJiiBOLQZ
aTi4w90+pTOapseSRAS/YoPLTkon98lFU+GfDeaTfn9rJaknuEHiqFwrW+wy+TF5vxWGkBL9K/Mt
Fbw3S/A73VbY5EAaTqxpD/0iQeFSsLJ7JdqtgBEHCdNjofHmSLbe+N3qutghwb4ntHzefBHjSVmv
aX8PmpcoOyzR0i7RWziM/pXWbolSj6YbuSA8YNC8ff9GNLKElti+m/5z798DKbatW98srFT2RLPj
/OYgHLKGe6xzuHj7A8kfHXLV4F8JQmPGFFo4DNJb5jCWgjk5bXIiH6Zy4ewiHraibU1IQNOlnJXo
wkfyE80XP4QW4MRPNchbYNFrnwTH0SEr7mV0aRF48eCj4FWkoBDlj8nSTuabLiNSmGfxjEa+HY8u
11bMWq5GIU2ORMXIqejpi632/8NHgbFplm+ybvHp19fW/kNYsGvFi58j2BanViG2r0y027Qk2YT2
gSsz5sAJaJzJAgiJ8BaA8pmVZBFTXrJXyBntoLY3Y7hxomUBwUD0rRyb9eDshL0TFeleaP7S5FKQ
eMgg0YC/XVLOTpNap5wxPcX2EjhH2tw2jZCERDwocFaZNT1wNnIH+JuOqidlxGBWvLLM6kNHbQxY
ZzL/L8OT73DmIJGfinLX9mRGzslORc81an4rwGfEuCemSFXpO+iOBxN8GELaCEqb8JngYZ0v+TFW
9Dsa7+gdtgEym2AJgGvkKzv9fYkyLCjbs8gHRgMECCMfM98impOS+RTCYXcAuYD/PI6J8+OhxkpB
16k30p6QqzgbquNjJux1lA6bCb+QPRmrxmdTLE79+I1RajdkxbourzZicHZNiQoeOsaulvM1BBO3
V7ar5EtFAU9izDpxCHDG9BECMBQxWSA0ggP2yZGzSsNnqlhBulgWtSZGySY8Z54YNg93NJ94XTvY
SczDCtUfUfQ9VeJJawRIFbUZQCvaYkRnsDjMk4+UuwglYAbiztru1RPRWY6MVAN7G4wx+6Z3Prbt
HFKty58y/5YGq2VczDGNRT6fM5mhk7UX95mPmWnaFJmJ4I3WROf7LsLbmXn7Zm63hv+B0GdbFC+V
6zHq7HeljSGd6bqX/cEPjqOFKMtQL3aJiOU6AOciOwoFXZFKqpHgMbVYXP1cBq7VQRIMEbbX1F09
QYL1PZjSbdy/6v6msHIJ0C4lpbgmplfG8VnHuI36fzPJPkCIJ4WTlC0uL3pRXhTfVcNdyQyJF/2W
Ng7r7fBkmOfUq8F8v7OXxHap5XOqM7AMCI6snqUJEhXG4I1CSsV56h4thOVNOm3M4ZTPQK8YjUsN
5X/+KssFnHUf4uuA0SePEJjNT1aT7WeetZjhX+FwZ3yYbFcN67eQxEgX/TZhzGDG7271kqbZJXSq
//Rw6YcOPT3XN4u35jawiFHBdM4ILikqubOplZv4TzECajO5GbIctWayrbprbvLHVOHzmWEid5cg
8nfWFP+JyT5VQbWfOG6MrF5N5IgNbO3jhql2eqlYggb4LmtoQTY805HIEOfZRM1lJMzv30r+NCEH
0bg4cgYF+Hfh4Vq582ap/OSqEBVBurMNOI7APNqK8qNuWPQzhfTrjRc/Qg1aIzraEI235SyFK2Eg
hKDC0tSAovhkXXfR0Kj61FxZwLxjtshet7LjZzl+ZOpTleUGUc1+8Ml2RazukMq9BItTt06vAm5I
gmctXFJsUvKcqHlSRKdFBxCXmXFD47iEdwNcOysaqlT9l4WvbrxvJK+N9RAhTPDFx0CZZFa3IMX7
taSBPA0CsVqzHcTTDOZJWwb6wN+kR5mGbGuZJYfOld+SdTuquG4tm+bT6epNWpKgGz96Id3hDxkj
ET3YsC1idJTIytH4bkaobJKpX8fNXFOoRW56TOcnLlp6Zvg5ZGeZi/cCDJw23lsyCK0ZFU1BcDv1
5IBetAcD3EB+tpD/6KZg+Dbvu0UyQBAV+dTK5bTv9miyuNRrUGo/cYrkLDPpCqNtw5VUccp74xey
cRzRDTUFp2J8igGJ9MvZuHM1Uw21mcL3LLz2880n9KhqUYvU+8b4ryaDKDWBMZVXSZSp1n9ef8+Y
03cuW3buQ/txiZXL+1/JmTCVv0F9oV7hU8ZtNZCjw0sRU+gp9pqzepn6lx4AZ15ozhBnwz259YBk
BGRm23hmRu4O5fGbMbxxm3HfmTyFCpPPoxjPcfOPEwuOjgO+hjOEQATavHVB/xF6BB0ZycmsLdBB
FjZwYtWjp2CUGwuvjM+M0tP4IUzYLNk/bJqHLtkFKHrd4akATUADZ2vqJ2ZsKQz1sl3wzfpFoShy
Ev1oNJC6YmxW24bDm0RbRHDPGlJ8ZIHcYX7dYlIbcpAKmPFC9iDd9JbA3Kh78lqMd9ZQG8HCqScm
onafOvPWgCN140thWNe8PEA43hbqJ0m+TdHeGlGcDX6MKxbqF54D3EkjhdGQVmw6/qn617b03nD/
bMKcXZ5kOlDGmiSAdtF7OyHGMOQ9x4hbZMx9879eo2roL0iaQOqdZHfKufaUnWFFTdcNa21rHvZ6
EJTJSC5YAdah90gu70ODHb1uk0Mb7isu3Rp/LTxppNhgZtltzNaeqdeQXpGOI/d/QamKGUHzkN5S
5KoZtmxCSvhfdlb4OXLQL/guhNIOeCeGK+uOgXwESRxWAes9/umOHC+bWXzZ5WGZpup+8UygqyHX
LvBuWeAAAuwZBOGa7bonR9AotUCIGHzm5kc4X3v1lPh/QYYb8x/5gRt8Hon5tWwMFNjqYYiAyp5S
EJhJ+RxBXxrYTgoOjkE8tAgqFbex53cnW98zOoAl4kv7b110pgdh2cxQ5C32mYqPR59YCvzBG6Vd
unleEGOd0VXwet6ZCin7W5pED9jQ85Z65a9hm1JxSBK5Gw47A1Gslbk7ES+chmZvJv6usZy9lkR9
a1zZ6a8hX03zXTT7wqw2GSavpn2R6sutrlJgo/8XMkiywLKMxUfSXJQHGSB5LeH0N8Wrn3wS4Idn
ikhNAhJeMuK4RtRVATTYeFlDYUSzkq8Mn918LghuoEPINVq0K5RepqyvfnSaGfqlf7bN4PvdUMdO
n8eo2cOvx2f+LuibUg5zyQQqnPON4Web3uBmJlsmALzXoUv7VzCWUrjlA5ZTEGjRMcXhX+TeAErw
S1LqdY+1A0hnU+Ed6ZKEhQhE5indFP4rBAi33yEJBjJam1+x9xHVZzF89Vn6GLjNSgMWh7KCciS8
SaSI6FVAVSOsYdg5osFsSKdo0Vm1zOgA9FNx9R8Rn8eST9IycJsV070QgWvwn2ntR2Y3AdklS46F
xHNgS2YWDnHr9CNlchvolgz5GGPIIlw3cP8sXRMlNqJZwfVmvfj+J41U651C6zLOeg8H2J7k2rb4
20VU3TiawShCi3owQWqyhPEizL3QnOxxh+2TjeMzUv7c7TYVwS+kJDwwgqkBrraVs2rreR8S5KQu
+Cu1tc+HxxoRUMRwLPaYJzRrLw/pvS9yZvQyV5tA/Jfig53SdwkVbYII1ENr8ArFh1WfZPBu5l9j
QJFklzt3fNbj87IMtyhE9KnFWD96bNLzgrpdrELFexXjwpHlPgtYhSbmJa2yI/Nr9jk706BXNRU9
31MekO3FhSHTVU87Eamzz/ut1DGqnCs5zgREiPY6w7O2kv5vyt2jZKua2DaVdAIDDhQhrbZHAl4n
3oIOXAlgjJD/yqavHfJ/WudHR8M8AkE2tRol3vRcsXqL0ulCgm1HL96rtaO/M1qO1oVwOCbtZ4Sj
4v8sDG2ceuvUM/eYpLyiH+C4/LSY31sFpOWMLCIC1hTL9RnC4kx9ZIJXL8gQ1D4IDhfkOEvTECJg
jT1AQaatPhJ8K2Wtn+qs45c2ElIGsrcZybM09ZUI1RANrT89oRbktvZxk42luW3s/tRY5Ulr+k8+
Mglc1BSX3vxuyqfaW5v+WxTStEaUw6RUZSNSAXLIyw+PVQeiM82sktUTLOwfox4LHNBALq2xCVee
bcNUvvnQJTqFN6u+G4yNtf8szXe/wrCXVt9O126HOL/0LIJCWV5TF+97TKmBBJHaE38Fa3pwEez5
NuNIypxvm4dMumxvm9eSGltO0dmq/wVEUmIDIKAEckb/GzENzAMCUZoXqARbP/6X8APygS4AvVZJ
8efpCcuCs28HDFf/kTm2ygFaCDT06rRgStLcoWsC+gdL301XjXUlsnsVurxwJDIqda36m1O8WaRo
N88tX89EITeokw5+9LwJYSg2r970WvBlcaLNxCAgvuoQ4tFsQ68dONnD/pQrdejT/3qIGRFlNnOK
dlk8dUeblA4WWDizwHSjk1HYO+cQ5PPnyLGQPhreC7vaB1zkJO/YW7NHWGD89NJb5RyCjXLORfjb
4rpLSjCOnB9AP9v+ya55Vj1WNSk0YoD/Taa37iw3UScPhofALgsOCU9Kzqhqyl4b14bngW+YU4JK
bycrRrLGFz39MRm/DPciwDLjc6yHz6waF4N4VQdbDwlHQS6AGVovjrvNQ33P2cxNuX0w0KURnruz
zDdoSguRNuKMNoofcog7jUQKWI4rLrJnDOVvSsp58V9CIBKCqpV0EPQUvzPsOQPdgIj/kI1EdX9s
wX9Ln4QnGPAVGi5JhVDFQOk/+nY3hd+DvbdIQkvYfB58bu+m/pOF3Ezqw6CAULgP7Ne+/KZejZLF
IExPPkoaS0zoRoZijQvQIzCCczwtWETy55QI6SC0171zJOirRiEEqrpAft/hNXXNV88nCfXAKAKD
zV/E7t/kuBOb3r775bEt/huj+8wJi52PJRszMrC/b+RvYxlfmEsWw0kmnMMmpV2P0XXRcmfJR4TP
1UThauMzYG9wrEY8T6FxiubTCLk679+SJWc2Pho4yFwj5HUeC17tH40QKYJCNzcsV0KYXSYjqvEG
d4t8M7+4JunFFB+2/SmGPxcnf2pbezAXmjD2ku6iCNn8oXdjFcJcxQVpVA8d7oFF4Bft2NexeVAs
gd3t0LTPNI3M55xt1b4HemvSxxnfE2d1Wb/4jb3KM75FTBPr3PGo3dj5O39GxA+DgBlJkvrCW8tv
Pfrps0T0VhSHvviGi+Oy24RWP6UkJ7G0sRioNJGzttTRiXJE/uT1OutZ/sKts4gxdTCe8eMesyXA
FVf5WzgVOzmgFedyTLvkbA2a2Wzl3NOsP4UF0oxZjldhGP5xsPW18pqfsSVtPpv6Y9AOwBIm5ssD
3eiMI4EHPkm3kpxpWDCXvOvlYTL5lOeETL3ExLc8yE3oVx5wnWBR8HGZ8MzmDyPJrB4J8A3GHQXx
qJLVRSTqhl1pBYMFtxAubkksZkOZZsv10DHJlzWDeuury4enhmqqnptdBUSzK9o3rwr69VSH9ET+
qzXE/wbdIhJGiCyy7L/OIcSAntiyR9i2LAjrfO+X1qkTDe/FiIAPJnhgtOitKRfbqY52U4SnYx42
ru6okYpPrsCnitRaJw8eY3d6Tmvz7C7z/DrK7l3IrxtM1rON1z5X1kan6TqT1JW9zcJIGD1I0Pam
yQCyi+6W9PiDyzogWo/LsFt6Dl5NUHXsigL4Zlya8HrVqqqy7t4486Nhdz9TSIWoQBzZJRY3I/6s
Eu+sHGM3WvNv2hlbv4dBDGHI97n95/g516YCheV+W0QXW8O4CWb7Nmd9j34CDqTFfbUmXpoknq6u
VrWGQBRTojTt5zxQ51j9jLoUUyKTh/IxyrxnG2lY0ZLwKMxj0FB0jQFTWoeFXmohjDCZZvZbVWWf
vlgG/ZgLOg9xpDvN76bhg0fNqkeMrmAeDcAFyG58XCPwZcnHcVA6e5bzklakXRKZhP/fb5+9NMGh
J7HWd5s09vHxe/eW5ljMS01fMrTP3g3HPpZtfRxDdc0ngt6YDsJh6BFD6beiM97LdgLE0MZER5om
OtTa2DO/P5gx3cRE1ttYuMfcwUhIKAFXnG4fER/eHaQ+OphPlMcXtydAryUjC/alM7kHT8hTUzOH
RNLr2OJqgAetzP7ZaIb3aEpYkhR/iScvQ1DuB6xmbRp/da334/tcfDiE/RkN8ajPwiNowMq56Kas
3cnMvnikHmq/g6pP9ldovgJ6ucYa9kuJ/cxhbjJyDNnO8BG0xhn72I+Ig4vRe19UTecpGv+JBPta
4qJ/4wxXDLrGyT+arBHmIDk4Y/BYzMEd7DJJZFF3bsaOOzVZw/ar5LXHw0JKXhHfS++iml8XQEbu
XmDoLnh7lxbN15yXFg8rjE9TgqAR65GNwZwnT1U1HUaEM6NHlurZBHCoknfDXGJKBvARzdnB5KJm
eny/QEssqbLNUHz4bXKPBJHBXwCwITT5m0wgNkENjJVIBvFz0dj7lDNElv0tM2AEkfCQM0YkxeUW
o+ukQGfdWsTklgbNeJm96SaqF0AmT+XUbq2yORjIZSE9YXNmIGK8tAnj77q7ObTLrcfcfojVzoZJ
nPk2gIOwm1KU3vFissSQj2l/QFrP0TKa/2b+sXU1+TwqGEuN6q1kGQivaJt1WEssJn1ZyE8z3fA5
mkK8A5JRhIWoMJaaot1nllaU/T20Gd7B4nzLiTLCpvQkO/EtB6NaDTapTr169G3xl/rkE5YwbOlC
gxtjJerITvAQwiVNUKbwO+9TX5BzRDdkFbPDGI+Ksqi6YCUm3ncWKjp3BAjCyPtmxOIfHdygUEWN
0Ar3rTm1zopfMN83AzCqNGvdYxe1GZZRor16nZF3V8JCQRoTkDjSFdvQw6+mUWmezZw3UGRevbZC
A4NgHTpU68h1i7kx1rPv8zpX2kVMm9UoU7NmaLZZLtzHsESNMLUqPbc4u3DzxqG9soWImOKHofdK
vJ8Bw66ZMqyRDLTIqc+a9mPOKT4eFBFCVA92e7cabKOlmc6kIgLQNTmV2PYwd08Qbd8iQe83DkC/
Cbnjwu3DZgdCdroNJo4I1/CbS9rnKIiR0CIaZcFWmqQPTwmHaN/05VtGjNIcRu2ZHLqREWdrPbkQ
fpEH8M1tWt8zLx20wEMxtvXZrUA3lSYZ327Nadx5Fe1vYrpPcxRXxznngUj8RgMD6KZrw+ybwEjH
A5YIQqaN3GTTazckZLDN8GLa0ZMmBnzXdiid62awkZaVCEw9J0IJs6AQeuIvI2fSBJBDzXZsoo1m
OYAXnJBnFgGUc6lhuPoRujOkssaqRkqyDxPL/2IuJVYRCN5nk4N5VbtAHL26p0PwM2Gu5lEau6Tz
sTbB81l7IdMIM+dKHW1QfPgZGfr5Om62vVBiC/euuQ5mHK1D2VqPttsitM/F3D7rSeszI+Zkn+lU
8vEZxnk0I1TZU4bnPHedb9MHbZcIh/MzCcpF+OFtOUVxqueZ/9QR1PVY2nF8VyKLLmXP48DYccIs
IC0a126I3zVy3X1XJOUhCNlDtV7frMwklX96IqJ98gUnu9ctE2I7JomKvwZWJQKHUztynvwxCXeh
1+hrMen50R8IMJ4UAM2Jx4fVRENglbGwhQOP5BIFotWzJN3wWM87X5jeurDho2N+QWyoiAVY1y23
kOPG+RaT/HAEb4y6ZFALPhcQm0IVNn+4KXtlH3/Jag56/ZKPQciQ0eGKqKlum0X4kmRtup0rD/2D
inpoYS0b8j6qfXwuA/KbBucUx5XcCK+1yBQavZ+kbVHp1DraY4mGM+HmaHA7ZkpmyirE8XINbzNM
t1UPXziAlcFavE2OPTL5vS9QvVUudvgqZN2UB8jMB1GJvV+HLyjj+l00Vdk6KAbCD0yAAjxK6DtS
Dc2PnEwQmGb1mvemRL+bjTtMn+OTdCfi8Uz33XFsttYuJOd70CUgU12DQybm1q45t1edn/rXKk+7
DycYm33YU457GjAKz5/30UzWtB6bUZOaPjsvQ1fJ7eyT1dg4fNmlT/Ngd2F8TERreQsvv7QYdmCF
tGrD/K5sp7uqqieerBMMTCwEDLnnBjg4cuNkjd34rhAlHQczqwh8gGqGpMHZwcNs16FAu263ZO7i
xAeIgxqufBnqFth0FpGKk+SjfMAhtXBHFJIgejh0NINA4RySsjJUS3ikkwz4EGp4ckYwAwoZ7Y3R
VWh0hkxJ/v519+m6ftCuJEvZfU6NdXW1qFgZBmhDJgwxjudH+7GtxnMSiWhTl0X1XcYGgj8fL/+q
thoypYeGt6tgLJM31UAO7oCgtjHA4U81gxPZKBrn1t+2Bvs2EFP+oxZTezVR74Iv59blS5fn3rZI
JE2wObexKCExYYGoq9EGlKa5/CKYTZ2FQE4MISDGKUe05Ss+9J6x7xrhp9xp3Mh/EDfjSyPCz9Sv
6apjLrPOCGy9KUOELj3LciqdoT7IOrT5wRgyRMFSuoRvsvUqxhjzYPibxHE1WOnFvTmaJRUtBrRi
eTs72fzTdlrc5YCj0FBYCVQzBxcRLpSksp+JX/CjhA1Q6QAIyIJ3JwOEYimvKoiwMOWnmkbjxRtt
eVFjNH7NTktSYpBRCunSPbDoQXbotQ2rn5rjuMi0tJ+wGDj+lqjoU4tG5N77tMiTVVr0vkq1/8wO
9X7Fo3vLi8B5guzZ3mddxLcJow+KDE0Xuwm61NxN+DKogKpFP0amjx0AIy0nG6EDYdWMbUk2h1Vs
1ujwh+HYzcB0hddXqyrHeewl4tMu7JgNCh/b5NB+xd5yd5az8yajHJqR2Vg75YqYDWEUbmxn7Ldm
TCqvxPDE8Bd2qeiTCbwYos2oq5gD+gEiUd9gDJbAi7OqyCTVOs3fuyQvtxyef3HR2dAQ3O6oCvx+
qVE4m2R2hhdExdWqSOhRhKgoCpS0dk7F6jcukJzrFKzcPPD+JKr+hxZNrWd0UFsD6u4um4W+t3Cm
tvMUPeo6MlBnaV4LIF2bsjScPcp0tkUu6SaTYWNmlq3Z77PWIKHMcYbk25BBj2HYIIVqIhBpDnhK
qqpNJmbJMiNYnHbYzINyEw3gBSJvhnYr43R+Hw0Y4mPvO7vKhd/kGd6b64ThQQuSPWyHaxMWafjg
dXax7fLI3Vv+EKAYDdkEOrVkyjglyvc3Ugr9iYEhCtBZanVtm2A8DA2UP05Zf+voFllcTaPj6MG9
IUESf+OE2INwgSVMa0oe/cSYFrrkw9gM/EvT1ybBQWw2r1PVHrGibXQwPfv9kmFKWGyJZRy1QEsS
i5zd6xCnFF7cVUyXEcVC/XpNyYfuGTSlY3Yzlf2MfOkX7epzM7TMg9VhYhAc0Lm4QbgxkIFNBgF+
Kt3y1i4Ymq0bFKc5FT9Zax5RUL5QkuwyeIuzBKswhZ+eNR49cjcEZD2LKXqCSbhkwT2l3c4s9amf
Qhau/bPrOWvwmict5Nrqpn3sl99+0hynBAAkOFDe0oNDYeYSAjl0I1Vye0DIfs7R6JX5wBmkT7lt
nQEIvLf5xFa45umAka9LAAYlu2yF5wdt+ygxviEALOyLhtTsCYSlHbPkcjS20NZ3aTfwucFit4sD
/edad5gjLX6IqTZtZfAUDifVMFd2UFh2rbTwr9t7boS9aitWP6hqepf/iAVLCZFhkdUFSd5Tztei
9GPR9EjyGROoxjlMfn4gx2+dVMxY4xQduE6TT1+iRIUf/20PHdHp4jpN9qX0IFsZsVqkai62LRtK
WzYYMyJN6GZ1aKQ7GLCXZrqbyZOQn7P/WIF2956r7Kb5Did+WyRpDxG704ys3+GC7JmBDxRBk00r
UdhW8LpAjNSvTN/CHpkgQuEcqqRf0/MUVvLoJopJiwvdL7buroCd49+Wy10xNiFR1e7VShh/kRSQ
W9iOkhYYlF82Xiulj6U6cAOvzLnc5PmPLtyd7nbDkKxpOPBoTg9CP8N3my2UqG69GQzGtiiK0gaY
ZvFvzhFjoLVKJ0Lh5Au3D+xNltQEOUKgt7CjGxpn4HBcEuQa89Bg/jTHk0VTmHVnG/hEhXAlNl5i
wgxp0MriZ6K8qADTTsRmaYIB5v5HNu2JK3fFt3OK649APY58Bq3YGcSyMNR4MIVYA8pW/ouVxqse
UGfFjsfnCQ3s9CgV2FnH33nON4s95hHEaSGQksMx4igyjILYIzqOhmwQhnBpYTPdv1pil8xfBB1N
5o/Ozl55nZPbIlAf2TPP+PdCdtOlOFpFsPUpAcZsWA1NjlumePLDt7nDbYlKaJyC9cAAeXlbG7Uk
wkF/82CSfwwkeoTKWnFk7kbeY0jCq5nNhcd4ZvnNB77hgJWxZxt4hlBjZzFSPOLrfOujnMiJqMtN
MYErKV3yNFg/VywvkucObxDC9FUF5URbN4Ti8LMK9J+82m6hrxhLFsx6uDKt5wAxWuGDDlA+Tyt6
0wyRVlrrF5uVZMYDXSXBs4hx+TJB9xn5Y/BYZ/kRY3freYfabf/Re2xr/TOjsx16Iv34YPqgvcqW
T4zU28dY7HT0q4ffNDqYLE8iQHhR2e9GHsRMoBfDacB2zk0j0mtZ8zBB7dMeFDuACORHtP1eSf5b
xT0S3yXjcvBDVfQJZxu5CBuG+i9Nf2Bas1Ba4oMONgTUuLrVYbnvuRkwWO9B15TViMbojkpjgpnI
ZObkzX9JexJhumrRQcyoAdzsYw5vOn8NljRItKWLv9aUT8V0jxg3Gky8GuT8lfGU+bfeeyvGf271
ZiRg8w8mJFgH0k8LMkhRn4/Od6k+fP+tGV+jyONN2aeo+IP8S/CmZyRqgpFDF0krxz4gqe9uq9ZT
J35gtTP04HEZ8O2lr6H55uUXrkkcHqjTrIkAsu7u0YD0g3VwsFG1SyeTlpCA4rVAxAtlbZd4Lx0X
RGngdYWeSzm85pbH/0+bCd8zk1hNsFJ1CNlkAo/S4gXmwe+baOU43qZL7NvAr5nop4E60jg08mLD
WpxKfiH71FX5qZE9BNH+wZze83aR1j1KAvDM5J2WeqtJY8vTjL3UUREDZ/3B5meFuBbWPYzQOYKk
rogSgT6zlx2WNExbycD/O9+0nbkbyTnLOdc8qlIPXfCSmhuZ0YHsSNUiTobg483PpcK5KbxncIeo
EsrF6tkOTFyx7toN7yYCgdRAqCWjbZ+EhySfCkwVCgZQxXBDo1/hPgJ0tKwj494CcxN8y4ZsOEOU
p9DUTzBOn4cpf9RVd2+7Gjdfg6MjOA4wQIMafZYCg4yNFXPcvuTq2DL72EuXFVGegvR1L1zV57EP
foAxUccZGFzyeu/0yVFH5A/rYq9NYDYRH11vYLio3CXxmnwFSC2Atv5r4dSgyDEfao91EdACXvzQ
o3Wc1fPo9ljAl/wWvHWc24NEC9grMiSyjy77Ew4AYP2e6vauEraozPZT/D4ta8xofClz9rvV2TCe
RlTnsJNufjeQjQlmgoGpGKuDT2QmC2PCby6lAOtUL1vtRXvcAOBJP20SuUbksDvTblaJ+SvUEbGY
7N/l8N4Ul8r/VLOPRA5vEAqZ2r07PGcF/6KY58/B6sD3ovT3HH1qcWZzSESRyxdZ4oBBKlUstuAa
ESMTbbTikT7AWnsIxk8/QCPmPiSKwUR0crUN29Ha9obD8j0FBXnmL6VxrNfMxwx/ifnlGeKQkYna
pSTkwXTAALi32M6U8SWensEMqe6HrEFEERRs/SFKWvRFbL7DJ7f8MKxPtpNdfBXVJRC/uOxJBfQ5
7CVYeaRgzdmdDh6WnJRoHEUYEvOtgBMraL5qVIOMOE2XEPsPW16LaFhlxl7DHDPNbEUG3cNIZZL0
4DaQAuqF6ofgYVvLeyxOKO4SZz8M93i6jeWVWS6cg0eHaDOFVy5xL6PYlx5xn18efqSOdwHhZlBe
YB2O3lksckxKn95neYjfpf/IBZq94SdF+lmVBvq1J5dXyrDpdCF5WA6SKxDDyvyIJYwp9T3Vdztm
nICyw7L/65Kr6TyVaL0ydHOL6AZti/DxUxIjKN/j9NUqXlt+kYKEM6XOtvhp8/eMsyElsMGG++Xa
xoakLy/F7XszABWC9+R0d8W9AI1Asq2lD6o/G81zliBNhtybn2X/abFik0ymMCVE3mrsxHM/QqiN
foGBDJDyhwSjsgIImGMVYoQU6ZgCY/4bOKMLf9FcsVcH/5gS2ly2hwaBN65xmyN31GQlel+pczNA
LGfFjmcJbtrK7R9ngMKxL5A8LoGTrNVx0/tIkKyJEOHua8zQCHjHuC72CSkAQEJJa8t4tytgw4SA
8rjZA3CHm9/suewxenGjMbdMHk0SsFv/s8d/lHga1+DObc11HLhrD/FAHh1iIHMGjxDWgLUXsKVx
UdUVLwb6xQknSRapffj/edW1JCuuKU4axWutHm1Vngu+Q5sLI20AAVFNibfIL7ZJgosd36abcC/1
2SGa45MF8XdwvhIcFEmORrYiRRo5UR/i8bz6w3+N9dIHt0XUXxNKuTTuFeUmPYP34xp7BxtLFr5V
Bhi38T50r2nP6KfG6f0zw/eLHbhdZ18+WSw0CUUIniw9vMzskrzpXEdk1g2sOf/H0XktN25sUfSL
UIXcwKtIgjmJEinxBSVpJOSMRvp6L/jh3rJdnvGIBLpP2Htt/OYWP1ASdLBmuCGMzzg9hQRFueHe
hhAjQM4Mw7BK2w8HhbIW4JU1mfK77677DznHyRYcYMzIde2upz+N9aWS7TWwV+F0bGE/y4kUZxj2
qaA6CJmGtoSbbiv3HPZ/+IyqfjugnioAXtjGdzhQJcfqImXjUGHxcZmw0D4yTUUoPW3MnvUS/KlZ
9dznv3XxL43ALMykGUgaQttVxWuh3Szkk1ikuBI/4jFBNIsWILorwcOOcOXhT22yr1nG2iNUH4ct
mSFokDp44Z4LhFiaXzN01USMpTJFrOKn6oReT5UIWwKJJu9G068rhpAgRppEUt8GrNHOgRg2AilN
auuLGLubpn9NXPMkxZEpwnUfbDPjDjpo1OfYvMJz5DVxn1p8K211ywZ8AtKct72Xuypxx4jeug75
j6EvLEvl7C7udhrdI0FFzDXcx+G9MgsA8BGKzAFRLZsSw6Su3kb6Xe0vprFqFXAWIPjaUP/jIL3X
5fQPD+EyBEmaRZRNjyl6FfalYfaA8Ym5e29qyzFj41yR6/0t3Z+h/J2kV/jbetgFiTrDflFamD8N
XrERBV2Z04bEfCrsVCUG2CjnyqCgxbOBzBcpIUMoqGMtZnZL3FK8zxFirBgql01Nnu56ivdORmwT
XxX/GBgrB31HZFAUkdYSSt4/yGZzkIsY17WrnX1QyyqWwj7Dbc1u13mJtR/YwYq2dyJ1Uw3GTvXv
AGTa8XVI13nMx13rzKANtFzWi5/cCn9YVwidTLrJoliZbngfa/ve9dYvPuh6kaU4GsnViZel3p5r
knbrpNrR3m2aIt7IRK4KLA7d5K9T7Ght16wyzjQcvPyqAvgCjME3QYOiCPPsWuNfnGJbl+mrkhk3
HUFaRial2akUsJpMPcATHKY5rOUkw1EaaEvJY25Abo9pVpgMrpXEWoVRiZ9heJNR8FZLsn8H7eCK
+Gz6PgZZNNMV42fTbwJOYfhPznjNrIyYtDd1dgyQodciFWTRvpj5qeoERBZYRbGWGXtYFUj90SGu
r7N+bMxSZDMniGBFXjEfw89OqDNqZNxnpXLTA4lrkWKj1GhgsebE15RheDGrKT6Bu8zmbBYPxAt1
ILrmcooDejSgIJGPbPqGF2oFy2toR+KAyqItL834kasXPNemgEivGguMXCHh6FWyQwzGk7ak+EPC
zAObUGDFd8XCWb7myGO2US/Y0qxSPry8fwjdY8Q5iPdyUnlvL2HpMZ9Arqmi/Al3dXjzeVaT/l7C
/eGyVLn9swkAqbJTpX9KuX8rVj6zaqtqb6HoLnZdQcfvrwnCRu6VEs195xRHSxlxlBnbMYGumas3
yw+9jtLN7k6S9rFokgUGPhjXMjpUMWZkxPA9KoXm5GMSboI/hyxUqgdFOiuzPvP0L1Qr3YFX3DaC
AQPjgph1qbCHf9Hgb/WkYRdMYCrJQgs/HT23f48LFtx5gdiFjHSGe5apLl3Q8khN031kQHIMeCOO
jI5fGqmtki466CqYBeTzjgAOo7y1mAfaEopCHOL//GqtR6d/WgQt8OeL0T2QHrwIsAmDsoe5qOzN
YWZ2x8e+PKg1ifE1so50DiNbdXq5J3ZwWSHjlocY1o4bIOapd0X8YxdnplzYajEp25s59aKyhxcU
Gczjsl8dD0BW8PRG6UYCrMKCYAivZ5ETSzYQFCNOynK6OhRYqsM5JVY82wxSjeyWjJFpKr5CiJol
R6pDlMNkBlwbHHTxB2ZwT4WlWQ5e1l1I0VmJoF4M0G3KCJBpzHDGaF5sp9/VJeRpSAXOMwzGs4Uc
A5bE/11AYJ4aZzc7RzufbZASeQWXrpvtkizZZ6P2qZEKzgYMxLKJYLrzwQoUtufTLKdpdmmriPUO
1gX3QcjUy6Bf+3EHWVPg2I1TLPTJRYr1DCszk8uEObLCct6KfS8/XVDyufx2zT0Fb0tG44A6fEwZ
I9Dr+EjyU9CaVDICIVENut1CStgarJIrgu9Kb9T/CifGsIe/C4FPrAHZpFxSdF59i62lBYSZh6Fl
3KG7f5UEaERpZJRnlmn8PofKeFjdTuifOHA3AhsIH84UbXlljHZWM27sEAjq0DPQV1a98l3zXpCD
2zO6q3QaserTMY5jd2UUGRou13W9zgGeO0gcR9vHGLKzuhlBM+zNEVXXwLQRs09Grv2gGF7Cw5cY
ny3oUKImNwNTM+QhUNvoEtH+TDPCUj0pI8o3Gkz2ZJAxGd37uwm9ma0+iuBWa29uS8HM64vBBnFj
+KKZf9Qe1D0BIVndbtTjZ8NibZCXJtib1nRtwcG3ag28qSJvFbnrPGzrM+Jhzm1K3JXNh+U8uvZd
EB06RJwwLQYOfOYuWYVpjk0YcT4PmGdq7qZgSBoxUa24m7Po16TdqAaclf9Y7pNee/NbFX7gNcQ4
gSJ84UCICG1mNQ4Dx+GJlmpnDJBJw5MEGiSaJyvnJRgOj1PEFxz6N7ViTD4hu8tWtX8iZoVqysqv
lXN0o80IzqbW/qzktaezU4nFVupXRoULc9wIc2/RnbhBtFNw5iRVxuj312IRFkYq1CSA6k21KUk8
NJn6sXJjEkq94VoIGJolyBKQSuQX1PLQGODMR0iE02XO8IG/9mKXD57erPvurBbbNr+X/VPbP1VF
TKa85ER95MVDkAXNXiNDhRyWH2p1bxMUjx2+5ooyIE5OGppR9qMlL14kT2J6NUNW0fahZps+XBRe
r0IgLKN6y7uf0GKuPjkszTes7z2Tg4bR2EvP250XkAEwe43ulS37qtW0RaMxU+B7zpStkh6j5scN
5XLWGAx3wUfgZH+Dc2dkv1DQdqZQhwX+Uko/Iw9QjTIGAE/CIC6zPmVzgkzNfqUeTn17ZHrX4X9r
xBVtOGagRnhOuQmogzN/q6jgDse/hpLaks9eO8Yjfo5p2wSH1NnV/q4ZfgfrAyYgDYP2EqK2HY6T
e6CbYRECJgjnlQFqMyZwahR7AE+ETx0goeZjtFWJ/6v5SZFUDyCbETZscvOvVB5df+GPnE7XJrwK
AG44zyIejKkyFswJVoUDGq0YyUK+lkR7oEhNyLsncqTLGkwTvP8uM40QnA7IPxumV4Wbl83QomO3
Pv2M/0snaA5qDPE0pwHyuqDlk7c7azknOFc1wb1GCwIv4PE5igqD/YdKJKsLZJthtmlg6+AJSokA
N++YTBn5YcSDl1JO3w69lyrkLqEM8g1nG+PFyxNxDPwzW/RVo+qnJP5jLFpCOxvBp3TpoyKt1q7I
NXK//ZE8ti9bqmsTpkM1Hu3o5I6PNt+W9SYY2aePr8l0s4xjnV3V8iKdr0x92nzJ7ojl8SvnqmGs
t9KRXJE66/nDZ25yZeWAyO5EE2Al3CnEY/JXvmqsIv02mp8k2MDh29tAYH3/4GTXAF9ioj389iuM
f2bolZP+6v450nYqVAF0/7GcDrUghSzBXYtiyaAatUc+NoFcnyKi6wuEiXKbqQabYZfwFpO7iqiX
CTmF/arXu6Sbmw0cyAn3Y4B1XLe4J5BBkhRHAR5Ixj7qz2AwktXZvU1LTclXeCPJx3FuloK/mVAT
qdmoz/4ZZbPtxBvjN7K4l2WIrfWgiRqMw8aoJWER0LIMJQGrJoFPqbuCIJUiG5doYqFJ4jGNACAw
M+nqvwy/ZliSUDS8pNNn4dxVc5e0MF7+md2+M76VCRhiiPHBatdOeRxLDwoAqo/cPcNsAE0dYSGd
0D7BvsJBpztnwRsfDYzVZ3GSdgxahqWkHTT1c3J5b8WHgnkbVkbS9cvMeGOqnlbqo2W3VE4/TvuR
lPiv5EfnVFAz+JMwdPVhbej+b0UxyM9cFV6XPw3trhgS55tcyfIXRIlnCnJTEKhAHt814bhnIhML
RvwsT+r8Kv1/9Ki4Cl7zGbU7ofOjdhkTYNH32v82DWrGj7D68ImVnbmmtvs92+aHmAiuc8nPoQvs
U/ce26QPzhlDKp2vHmA3zo+pQbNP9ssofiKX6OjiTwwYKym8wsnGmDxCmGwWdku8K9HT6OO4+p8F
yzYox8xoEJM2f4l2dIlzSt91/dZyoYUBu1g+bfGaoyHqyACnEbcY8uTqYWgAhIA5wlEplW/mPXF1
8bVnhQWkV44w/BUkdqG5a+1dqaPkwdEh1U3d5DvL5KV6ZNV7WRMkPicY5uBkEWujgJzkl0M7IHUG
YyXmCE5YvV12E50M1Vn3EjM9rlX2gAx+zPxOKhLwkSD6DtsLzpXR+CNABoEEolOo6CWTtOzY4vOo
0X44H1lyIpJCcfcVFpmGPA7KMdUZ1gRWepY1giIyEP7oi8q5tspTTCTGoGwyDyy6dPqiwRx3fR5c
LMagNUrwDhaSY4ynPEKrTOsIjcfAsq7YrefXwZpR0XJMng5XwzDaH3Vik9kK55/KXJIOb+FvqLGJ
TfmPZETmTp+T+pNYHriEMYrggjJh8KKCmjbaTvlFj1JPFVdb/DY8GFNrLZIEGo1zIgI6YzXjhvFK
2OWptbOtIZubXvjvKcOLYvoKoMnP4Es0jKBC77AtFE4IlSNUSyquLK9VX23aHpQhmXjvi1uerxNC
D7Id83Y6oxNI5TLghtnSpiB7SF3ArCxAMHbE6T3xz+0MASIrq6n7vVvup/jauDDUcCtPeD1uAvSL
K78CxV1ztVNgxBzWyTrjtuuP4/TgqNri8nhRtT89IWfYhpr9MKaa2IAM74Dh7nMl8VS1eLIAwbAW
0u900d4f3NcEH1qH4YBthZfzSIcqFTgbo2xEbNP9ZhaufG3lCHfZ6p9Se4+aTURtpEpaRFqvOgx2
uR16RZJsIRxTpIL+BXiiAZrOntOIE8x1iKD+6yRrEpz21l0rZwy+sip4AK0y33IFLsHRH1kmLxyG
y3k/cYixGmIUY8lzlJ6SyedGuIPgWtjsWBRkQTWFQUNdP0tgDGvhJslbLKNHz+CnntdEQCyq/o9Y
NTP8ygpyu+FLMMyVn2qUHJo62TmNepTsZ2MBmTUIlzYengxEDkAzyJ8VyZsZk9Kf3KLTxEML/Hox
jMnajnJM1Vhf4vegvnXu2zDVsMnESzMAR9FIj+veJBTXEseoa1RHVzLAoBQab53VLHHJLHrKnkRd
g2OYZ7drW4hFYgBJit/b6DQr6omzWnTxPzNBk2BfHeeaGQfDJ0T0XCMQ88ttyDypjYd34FkkI6C0
YtXJ8GFNLBcUWeL4svfWx04zAPg5qeG5DXmY/x8fvJNRy78+Ltq5ckP/lobaTXNnFs7bXOK1UfXi
WhdLZcv753ePrH1ng9JXDIB87j2AHirFzMBUYSzhCgwlpGJln9nYpn7srN4NRbGpa/UlFp+F+Tav
XekKx5nEBA4BcQ7+DfAIVvKuNiydy2CVFe8VBRpF+6giq2mo0lTnMK/H9IKrJNKhjxcD9SYVI+eH
MZwTHXEDvMlKe7V1hqbmktbNtW/ELtIoKhXWjLWVMKpMzoQaWqpc9cXBxU4U4TRRqlM9Zti/yC9M
wXpbBEAyNFRfI5RvfvAb1Neak2uA2Pkv0l51N9xG3TFojhV71gZ5CpFEIEvufrsaAo5rjvyB4Ljy
SRdvtorX4EpB384acRsbjIjELwt6nG2CAUPg4uRCZqfhx6wkfZR57KMv0mV3MXJqB70Oy2UkdvgJ
DU5BZPTJCXnVNO9MMSrUZBfDQdaSNa6wCIOeVO6p81Wwox8xnCUcc752qzA2Oy7lwK39fxBPkYA6
Bsuum90iXsLW2U3lTqVJz60vCzV1q9GkC3hKP1mwi03qdxX0Z6wsI4e5b1pu834fNE912sYto2PC
RuPvGE1A+lG2B5PdeQbPzYo9RzsMJVssPDqW9R1zv0x8SY7yJXwvqHdG+x6ke3pwo/0VztOxv0b9
PpJraaE49+lDM+L+xvjJWTFFNMtxJFaw3viwTVQ3DgOMUiXbzaf3+anGjda3Xps90hLs7wRzJPpQ
+MqjufVWlqoW/U/zjRm+j3ubzy8hLNRvrlqBhI1DQMHczg1cAQA2MfyTmrwADELe7ltHrpnAbt4W
TGCiVRF1a2a+wFd757OBxjJWu5I92iTYzqTsR//K8a2f4XMVsgN8u3xzZvyGwI6Vwr5G4dI/AnwI
ssCrxhqo4NPR6cUDwnRJQ6+0DP17C8rgddJAAIFFyINjSQ1nUwhArQ2NY9bfAZkm48Eq/+mzmXQ3
i9/nsPFa35nNviMxrc8/EgcVA1rgDhFlR42Mg6Ohvg3YhzInstmfRcVnynlZsjPNTLR4hNHxEfbc
UaT2fs14AKNgUdz4a9k/1eAplVdyLKQNkoI1j69+6gz4fQvgTbVsWucjjvV9gDYNsTgyXuKY83ZV
Vt8hml+3OJk+fIOSj+es4HKTDmMyh6zHcaVyu5kjJXr0YbFCbQdxCxz0hIzNXNZsASY4VJ4GMhir
OMYcma276xjLFv2roEvVD65Bi/aRt8u+4Luh0jBWIt+a7W2atq3yESn3cGJ/OVsm20M09nzdpSew
j9nEfRnKhssDyRYh944s8aPg/aecnHflJkHrKBOBAY8kqQCzwkc6BW8hZF0ddVK8bYNPk80GEP5R
KbdZ0J3NsvFSrUBDlWyLusaMVH0G/cD6Mlr71PNuP2wNgJy+TwEzIDVS11gHidKen3YulBztqT/V
6zn2pcH4FwAjsWELWepPS8sZWyel3pKO5CS7XqVDID85yEC+m7+qnW7y3v3XlPiqkHJJSdhD5QXW
l+QcAbyY75VoCfTDlpdo9FrDK8dlZn6V5kKMV318bSz4K8gRxxV51+ZwK/FFuNoxc0EX33S504xl
nv0MmGOKPMfNTZ7ILQuhSr6PLJF1fTXUoAmZ7sawUrQ4PhshTkM2R8zeFwHDhEHf9xXpdBKYOfsl
ccc9zM9huxv08FnZvuTNOxYndTz2wbt0/saA2MPx1caxV2ieiTxZWHssNKjHk4i5VEs/tPdh9CjW
qRuVl8RwFwRj2onOnJMeefhpbT5NQEbC3IbFZ++8N2A6mw/Df/DkIJbmZJYXJ8rf55xUJWyXMJrN
qdxkzTOBqVI/dTx7irJtlKOJdCf8VK2PXL/UyADsEJzBoXF+ivSjNT9Ra77E/Eej+rUqf2KFbUaw
6hM6QXcn5b1tf+JWfzFZqQoP2qnB78Cuj4aCEbwaHuyx/9Zt6oay3pmQY3It8HRGOIoEe7jyDfzk
AbJFjXNrY8Z7AGdlfxcl6+BbYsbL3oZjANDJLydUHD0b99VgdJ6rZ2t0kdTr//QYL7Gm7RWw91OY
7cusWLVsx5TpE982a6ZymzbJKnLBMow54RuKl6tAzup3s9oMKHmNmOJk8PdqwZLElht7YEk6Feua
Ua5CSGtuPXI0qHpEEcZXosUoFHtWHsSJzMOv1go+VFjjk7QWcXmEyW+QJJhgkocqrrRnfAxLJVKX
5EHQI35PNscplFkstDTxTfmYMiRcR0JNvJE5Vyg+MjAZ2AgXQY0taB65M4SLSmb866Y3d3F6MIgA
7epm7QwEPg9E94wu290Of37MauEnNSyOGGzNrKDT6Wmk8AY58dOwJf0ATt42CH76mlwz8wyrQIM0
MqdR6FO6qa3xOECBSM81iTA8nUznMFkNKorlDoiyvVKScR/aIZKhdGWintEMYx/RN81m9YaLB+3z
S2nfpf6eJ28poIQxY3qlXTts1oFxrnHGMW6yuCJoH15cJvKacQ8w7oSIE6O4Ws7L0yQ7prIAXDy/
pSRZ0nSyWIy0EjudzaKSo6p8tzB7EsC1UG0E1PNGAn9VLe51UVwl6LAAfyoPFyAyq35JTf8Lk4pg
hgupjV2PCj2E6LVlUmLbYjlI/LrY+/7eT/9Ey8qTzgCAStdVqBW7ha0c3fxAegL52NVHZBwwCai5
oA/lpmV2HI/aKjAHTkaSm1mSswjFIGgmqMLDAo5Sra2sVlkjAUSKd1Uhqrf9+6QsNe3T6K6Odgmt
vZbhAPm/jGZLJiy6fbVh6kkUbRWah5I82Am2bbthYZeryqbRpkeazLE9TD11cLUp2rfQ+gzNM6BI
zbrU5tXJ8kNA6oQvrM0sqqoL1sWUOMR9RtecwsMathb7Y0X5ZZiB2YfTMuKJYbzsrxqdsJt+WdG4
j9t8Bnr4Mf9mfzURPEv3PYjXdaut0mSfMy7IoW/0yGKUGREGEVZnz1SyFC+bhyjWBp9lWu989+jU
tzLZuEqAiOIzqSnzo4+M+dGkVr8awVmkmnmCNZRb5Izuhn3JgEJP3lsJlYmvUXwEwY3PQnINo6Cv
xp2AiF12nhRI3eWqg7yoBPKlMY4RExQ2LsiliGVS0K3RrB0j9SKRZ6NOY0OUcfVO2joUF5DQXUct
hg47ZMdjUjDzgzKB05Q7Ppmc/1qXX4b4nhgNd1rJwgJUdnAa6lfLfEiuFdtiyfVqcBKF3O2x+z4r
GWxmSxYDXiIgO/SLzWpg7WkDiepQKrlsUJz0O5F/QFpqmcEghr7pEyDNLd4mP0IvNy1WAQnKfGK2
btfEC41oNvKTKtRVGft7ZSq2DZ7zai5MiWVvDhODALMsPEUHnVJDb9J3ifSgy79oegELjk0qZL2O
R2ZqK+//yMTJ/NdLrOKRpyYmKPc1YLWlZDxkb9p+lmTOadTTQjgpE9qDMez0Rizn7gQOj6eCXLaH
Q9T/jrH5hsx4ywG5rOLA8zMLnS6d0kkPz7Z6SUR67LWAnknstX7t9+sRiJbjwxWf4Z216HdOC/mf
I6VRCH1+ZiqvNQbvYvxAxRx1iDCUAlnRdxW9hmGy1XvI5ul7Luqfujo3wrqm0HszY5uE+1KDWbTP
grdJWP809imWXRwKvLrT2Gxb1LNly1EV0ko53Bl16fU9A1OOAQohqS0jtmBa9T0BC1As+yIwoAWc
rOq09PNVR3C7hAEmAAzGtfERM0q2avxazQPnFB5XY7pwpbsZIHv3DbGdPiLnhKVX6HB9bm0EwnRK
30YMaHkq1pWe0o4ZJ1mHlwBGUCbsmfpRUwfrm7RWX/VwnkHKde6Yq0ijktLJkNCYC8gwWoZ4yawK
nXHfoCpfa909NPBYvRVUlH19Z5HbxWc/ffT5tMaYYio32wlXumFu1M76igIVZcx40JR/+tzj+WQc
V3L6tmLxCwV7aaJiFuPDLink1cazbP+NCWXXMQxMfhvfJf2HuhcgbK6QQE6QuT4hNowgfk2vk9GI
jZ+4/2IRTS8hR3YDT7Ulw1yq3DyMdCy8FBYcyKFDaPypDeoOuAqXFJsirgA9+M3Lt1Fj60JM2m9I
SgoXW229KfWK4KuFdFumMOrKMW9OxdrcuOHPX/Q5KNUpC05aB4eD2CK0Au+tqX2WjeuJZtjkpF7F
5bBRi3BNsJtqTEeXb7spsy+yDKqKrQ6tmNFvLY4OljuzkB0EzVrqxcaKjLsGdQd5AXrxCFUG5Enc
dp1xqWhCHJjblRcH55gA83YBnE+MF8pAPC6cBFwMjF31/guRO+wk00VkYr/K8j7lt4z9Jubh2V7j
xdr7gO10YvCtoJG07riEFjVfxv9NDpFFWf5nMp0UJD0jfUlHROuYsXJinRCSLYixpjVvCSZM96G2
4gU64Ymaw1kIrv0SaGLJOvzuanIdzOZZB/E2S60HBV/SIlYizISE7JhpfIzypGnMg7T1nSYP5Fe+
2fVnNz5ddtLGsUye0DTZHN1KZdjV8E5SVpROZj0hFE/it7f3U4vuZt6cqHfMgauYOXAQfE4Q16pt
pZ9SEkERe7YYyA2KBAgNbnuo9R6vIOm1nN1zpRUj3gq+i+46Wge73tskO+AAfE75bxnhl2MyUVXW
qnUwBiNHxNXiDvzZh1hBDPmECrHteRw0AqzQClisGCiCauZRNd9Elt5slOt+A+oMpbNh6ksXJQoC
MuWk+tztjbuZpH7v9Wo5jVtVYYPawDlZMx7bm92HdJn64SxPTGauFZ8iFHQ3XhhcRIlF1M7grgNA
ls60yNR0FZU1tc7ZnV0NGQErQOtSMCvsjZUuPNpEffbhyW/OxXxbJfleKD1lJYaXkiMRRLh/lDZS
3dnzNbxLH1E2iyAUHlm2IdBUxFdcKfMWIvhM9L+GGBFxzkftpYa9FTF8qTkCIw1QV8WT5TensMT4
ioFAMjsI+eJLdVfZAXfKnMWDlhqQQAqtKtO/Jw7HgchVhaOPsa4LFQoZdvDdD4cckpzRnMXwBufN
zLYm0hbWeTkkTDV5mt2Wu8TAyTDS9w9i1hHGS1fcG3N4ol9j7sxyjzcr1ADqqt8KowrkAKjb7zlU
2gzln/4qkA1m/F0f3UwSq6323yRvTsISofmd9NceeJXB3/Fv+qwaLP7STvd6/apEV/5ZbLaIbzAm
Ee3D0gkSEXoQLCX1rA/s20OF3QA9R/+TOsltZINS639Gg1DCRK5W5idieRGFjS+2tgPVtKSdqt1d
r2ymhtIc/n2zV/M1MztA5xl+lFtB9hQ/xjJqp/sMlrCZcJik2pXx3vHLtdE5kLqeo3KvCYQHXKmt
hLayuy+3+Eq5UBqTaARDWSvFbsR63aD25xv2fWMVADX8f6+/7+0PET9S52piiS91ZojBOkB4okyg
5zXsq/KYhRuNZkvj+5Mg/y3MkBaXwmQfFQJc8OpxTFr2D+B0Fao/LAJEtSg0KxN1gxr6NysZtFPU
EPCZnGTRe0Y7d1kzNDm33zGb3qzwT1CLjVa2jEWK+7+82BWbAmajaK2Jb0frSGTbGTbIkUxxL8LD
F2uPQCvQqIPpDi4uOl9fX+WYDJkfR3gYQomufgAF0yxCejxR/o5+smxBmRkIxhtvpOHvqESkjz+9
j+pb6mTL0qU2hFsW1EgW3GljW92CpAeC55gAE3zFFmkwbsIlQ/Jbh7hixi4LTGhSuLc7WjuV/w3I
wEIFckpOy02lsER2i99HgZBNbQ+l1Wd/qo+s5YOzYFLNB5LPgBgcT6b1U/SbNNyUrG67Xt0BQSep
FQk0yWRafGGj9GL1H3Y4vscQAZjPU4bnGm5fNz/F06dlIDKc3X4YT9T2L02fY5G+dUPMeIzaTOiX
qmKThQxSMv+s+k8tOaQB8spoUfjOjPKDQTqzvwdCXf85g71NBPOfENCNxQieNVtn3SVSbYL8YIc7
hsMQ1V5Wkh462nUOKUdeqRTbSZ1eh+LKM0CTiDp3ZZt7wyQA9qkjXiUhFqEY8pffgU7QJnl9HEiR
k6hYfPdWtW+zH7itqyMmB3iYNNMdqyreuRLpsEniou+M5HmX2wRpNku4pQ+9MLWYHOKe1VjymWnz
OWZ01Ik8wCM6dT6twQlfNkJx5KLlzQ/QXItFQJmj6qyICHhygFOl9rvm/3Ox30ZtoK2accKXw7YZ
yg9mon54JvVFV1jBpIdeTfAPu/xa1AZ9vNGBooe6vxKk62HM3biqR4jcXyn6V4dKLkbukqEMHsSb
mJhkc3PY+W/F64lDhE61M+Ori7bI5k5noIdFiDT6cJ3V5EvVGbb69OG2fxlpXNWxbZll917kbgON
skdZ9/k10qSPZTRa5DqQmwy3n0vbzqA1M08RERE0wrGLbZhfoOt3MPRgfTRggIQuZhbNdXb2ESX5
ITDVkD60GFY4Hhc5r4c++kuzqtnPW3OIX4gYMVlqDH0nn7ByWW87Vg8mJgGzQWcVmFsVdxlm38VA
r1Cz43S7mwzeHEhjrd+vdPVjUB+Je45H2M+G13XJZjBr9OX+jVOHSc66oQYCBES5hgVKAjQiRFqo
N1OarLGVlToNSJhfkaIxf2Qot2uqo3RPJiFI84I3Je874VflzKPgBVji0oexF7f/qjHE2kKb4rI4
DodpUSuzg1HsiwAYzshwDKsxbMYSsY8l1aVFWtjI+thg0TJOcjH24M65bDn09+lE+F9mrt3kh0DD
Y4xyp7ARKqlzq9SsFGU4ps20FRC5xODewzHcsM/zjCxZaXG21wJ340R83mj7CFMnaYUv1k+8CnlC
D1Ij0jkcEP4O6W+gY9vP9jX0Kekjgp7jB+3iiOVsZWvfhX5vUQuZxEnjy/xVsCwCm0ciGtPyMGZV
0Fa4hk1ABia2Ql/WPfhjbA3sHmFjN57WTMusaiBEMu4aOC8b2hPm6r6kYZyYFTj5uNaJQGSThCBX
F8MixwiTv3cO4AqWZQ6GGz3B3tXwLOx0fW4iWSmzbBTDNjLYgcIMCb2UAqeM/wX8NpIOPusS34un
kEdUwQuoWTmvsn6WEsWfmST7kVJEweKXYkTuXYzJhsBkPKJFoHvoTaYLlbKw7WaLRf8zN+qH6lgX
g96KvNB6W9juDvvqVnSUOJO/cQIgpm6q/o0JjMtgNp+nUb9MrWlrB1DrKqNrWGKPn4Fm9gs7RRkE
UgRX25xOqITFAhrGiFVHe4sU/ZnYSrxwZp0cNCX+T15igyE0E/Z6wYrlpgWhusppsmAvM6EIKXNG
gJKLthTqRmUHZcUDyeXungWjhxv62ETJqs/QTJaE3fMsWwZuu6jhYjf1Z5m3p34SzPiIgUt8TOLw
kd2ifTgi+hG18cs9g4UXQBSUrUVSkWrkMi4Jh9ihm2xBtNjQip3JQkoyJmzGJvOh+bwDnL+lDJmx
+6ssIeqY3WFb9choYBuPCEphhvylySC3mkkehalZi8kWXtpX5JGlV6lgyOyIte7y76Fj4AzwcZP6
6Lxs7Z/mVpgXQLEbzhmbCn8ag3DOopL/lD7cTURAVnbvdaJc65rzBqXps8gxvtd2wYyFh55PvZmG
Z5BZuzHAp+lEGDChp+fmboRGYwbDykq5ZyLAsaL4q4Euuka8aTFGZzxXSexI2OMwAQRvsP4fR+ex
2zyyBtEnIkA289ZKVJbl7A3h9Ddzauann8NZXAxwk22J7P5C1Slj+NPtdCMj7To0cbLJFYDqnqTu
Meb+gQO80gesl6ICwd9/a2YyE4+EJqx2ipU70P1TK3cMouse8q6ev1kek2pHUheGGumtxGmbS+yQ
Thvks0WOgFRHEtojbYpd62uDccPE/MLS0G1AbY/z6arXzsGcFL45szgWonxLI+2oGsayUeSffc05
pkkLggz3EKOLxHNO/ewGroJ7QLVTHOeJyUVvsYYK5dnV4jEYkLdrPiNew1wAD+ahB5WP9Y12jiPW
qi+tNlwt6orQ0XZOxpxWS8nBUSST8C9GjWRQsP5USntSpM95vN1FHiLjrbK16OobyeHIUYeMMZcC
bsT2PolTxEQk/y0ZRrnP+DMEe9vF40qLklMymDt7hmyc6/5LbDRvapQ7RKjDWmjtfmGvqFZbN3F7
bEKYgX2+zK6pfyq6BHOxw83CP3mN96+VaMm1kZaN37niccB1WL5HOa7Pvvr/UMJUK+2I2WX9kXjh
P1RWJEuk7k+det+jgR40a9QqLtBSGTP5oKYk2BogC70KEXX1aF0rBxOMqj4kC+wxvgnrn2ExCmcO
4KDhNHzg7RbBXimaQVsAI1q3tIMwuCsU1x3JtcOunxHQ45XRdZ4BQvdYH+TMz9kE4yjtrLO+WGgB
mWZkIug5sBTiXBrMk3722zJkgWl9rnHxxMiF7PwrxEimz99RMsdMvzNymOt9tWjkXAiFyIgEdiSJ
y9uJDrR1eFk4aXhzynWpzmq+AHp91Cqgv2Ma1Dh96BeiO92rlgXcUniAw3yDco2xL/G1a0N8iuJZ
T977PLDYA1UYiHZDtxkrVBT6UZPvI6KGzJi2SAW30fDRA7Eqp0M7HbTiL9UgKnk6JvxjGQFfubRs
/CRZXz7T+7I6eNO/GFPOYqQryl+rPMfIxcKOZxqrcQkZLzw23bejTkuLHeenZjxVxZNJ56q4foEE
ds1DBCoXuKxH4OYkSPDws6Ofy6CpnFWXbrPmouUnjdF204EyZZumJby71qunP/bETek2uhzCTrEb
Vs2LjJ+L+Dntr30NBJhR+0fKdqSz/zX9c42pMER4DRPmwa1+jZjYkmenRZvDH+13e3gfVvGZsIHB
uwaoQCuiXbSUwCilvsJuYzOC6gjzwKy1dpAbZ8Nro86ZOEugugAd0hgA6jHNvokLHNsXbyZckRhl
9rrORDOvppXKyIbpjaCp+T6n0SM1MWsPmR6dwZ3j/hiqs0sTPlvTp+yRwSQ6FYQjdmzjsdQbnz69
CFBaTIr1c1Uwy9Fm+9MT1RZdRbv10y8HK4OFoYIcTBwq45PByAFlPE2ZYF2U01YxzIiYB3kxA/+z
Vz4p2MJhF66Fn+3adtgvBX9IpEHSnO3pdXCPI6lmTHxWWLI6G901niKJEMtz/3Tr09c+27TaCA5v
k4lAi9mt0tjQQxwH4DrqcFmn19ghyRMIEJQmrnXxRMr1rggxLMbYOyHn8/VQC2Nmn8PPyvv24AEk
1UpUJ3/c1hZW8bMqom2FkyAxyahw8UOm6hBG5Y6IDnpnol3j17J+tvRA+fvOfFH+DyUsch9gBwYc
Ag5yFADoLRAlYPyHvfvsaDhL0aFIHJSpS5bS2gy3mrQBdJCZty9nfRXlxDkLgJGP+oi+dVOPiOaO
3F9b2d3KHGCg4YJyrHagYBrJhrJZWWobTXsNshZnnoApKEje5XRheT7vJnPnNle8/GuvQWpr+v5n
b2joxxa9/69o/6L+GkbDQ9yzClJI5QmbL398rl43j0+chykvXvQXIZ/ucH/1cmQuRmyg9+r6O2u+
o3treGdDAgGDyA06r7qZ3fQFauRDBw9WuOMPd8sjtjnIdWHxr3Nv+uwTTjHDsYsRkuOH8K4Yk4SH
1Yihv+/gH2WLCoiqfEQ0Q59S3Llt+ON2kpyZlqFhSVRcEA34itydzpJA56ss7Y1r7otYY7G2m0RF
9xHP+06Ab3AF3U9pPzh8NSWC/4LMor5H72OGLCyhY7vXnkXRYpwt63gvMH9647cKf037C2uTxNBH
AwQ108g+wcVhD2QQp6OU4O7yN7WBrvTb5grxEaoJeg1PJyDOq99MxFaN799VxLK+UoJVxLAqejhP
bcb490Xvs3WKM7YQXx3COdWeO/Lkmg75coQc18EbQJmdkgFfjp9Da2/S7A2SKEFROEZ8zECAhAv3
QJoW3s3Hbr47LuVrAu7J/MKF1trHkMK5zDk86n3Hfrqmopj8uy2/1QIQJ2trcSm2jIoJkxGbzPxD
aWwTCxC7yBfZjrmHOv4jssDQDKbFFdPF5th2sD0zAw6q99pDk/EgJWMOe0lkeYii8R42CNi0L5E+
tRGhLVABC/uSKmpO1L58AphrEWZpm7TYw8BCLqZc1HQ65nsE5vF4qzlufGo109DOcwEki1AE+mk7
Etu4OxXW01g/MhuS6TFmmMHIPWwPVbfL+h1yMieEQUda9/gmbboNbukURNVetLjMdHpb9OEQxTbl
RGKER8ZGNpP4yRfL9s5+W1QGA+yHluBAx+ev7Vnn4hRR8Y428tcGo2SRlOi3n+DbrnrxNwBH1Zdu
sKYFIqQpt9E/KzuwZg+OxbKIg5JWfsXuW8zwJAUhG16ApKCWy3X0DuckpQNn0KIfU4W3OqjgDCIn
AdgWjIhQZJPuyfCo5g+0l5r55FXiMlmnYbohBDKIo+kjZw9yhCnOBVBsKjkjWMNqh84h0ZNRJRov
UG7Mq/y4gikOShWFm5q43z8ZD6Ri3+AFQDxAGPaOjmkdoZfqNmn3otonHwYayb1ae5qmd8F2Il6s
IOFTjgqzbud1naecqy89YuAYyYtJ7rbueFu7toPU9rYREHDKr3si/cuMZK7rOIsYbBndla3RsTT/
iJYJbeJ3UV8ssHVkSZVx7LzfcLLus6cOTEQ3sKZZzACdza5a8iK4m6vhDoFduFcdK06Jf6Qs3zUC
wlLa8eeWIEpnIMTaAdIHe7dUb5LRstO8y4GLDoJLWd6Kkry6Re7xkRasxYph54rfZRrUaO9Z9b2o
rvQnqISUhbBMSaIlHJCaq6CVJ7NnoxHePg0UbgIhfINyhoW/zdmQUndHw7XWtrLALGK+lxGCnexq
lWrtAltL5J/dn7r4NrU3XOhjnq/rHjBIy/n3WLn+cUjwWaIWaDA2YkVVbf/SyXA7zLsMoP1Aic+7
LAIfdXIry83YjZuKiJF0GnieshKxzHs/UUuVOE2H6SvjhRY9sgXJw5Q8WXjSO/4TMSHQmKDc4HyU
zbzOmO2IZAKYZ9FKzqu5psBHvDBgy5HxFSUq/dy0rvDSjyGDDJRY2YjJqt6xu11n9b6Abg9Ved/P
zNM1gBnkk04Wg30YPRHhgYgtnVatXNxXahGTOl8Da8VcY6Fq7VNBzgfz4DlxVhRglY8Pp7vqglSf
XZkfocsDFGJ/AZYVsY7C7VH/+mQGtUvQKRsGnb7GsHpaCM4SVJ0CNhZgssKjZYAurcOQt7FegUfb
6iwDDOo4EyyKyA3GMTcYlCthp+xQ2RmyZB08BKz2V+QgyvjxekSRbI57wByNPAnrqWKZaQMhzvhU
m+rfwM4mE/Yq0urAIXPZ4yHQ/PACVvYQIcGxaJNa982qKauNjCE/CjJPW9k89uA267NuwH7wqn3T
28GQ/xSxzkkDQo50HK/L1xZTktK712i6QobHSkfoXxa7UFVbob7wHG9ii6CQ8q+QGdrfYg2Ob+U5
/1iOhzHpI+du+EB3FiGWid+5J63oWPewcPiw0AZ1KYOv+h8CIl177bGpV16IFnzaDOpmUvD658Gj
hwqc+UU1MTYZn8zvc1rUq5ylAw4SHhY2SIPYNWJE46Mzp8I40r4OucQH9e1IgF7gIEkXdd/19qlY
Ai+Cuv/MhYFQeLj5i862JZuTdDS7wETDccuUSyeusGUDNJMTyBKbcZM9PHkxPqDB5DVDtTxRkLV/
nXkeJkhlm9676QLCiMSSvEwsbJbLSLUmEmXgbO+rpcsYh4falo8mGC5vQtPLsa4eHcMhvwadXYv/
i2XR6Fzorw9Cky+y/CnFOcsU8Zba1irZ9PKElNRo6dHvAECQAoiiCQbjLuVV0TD4Tdr4mvI3ZD1x
MNPVn89k1Cfyy2rJzF38vqjjelTITbgB2EdKWb3zx/nIp3WvVHLUemfr+BwUONS817YkMTelnmYZ
zmE1txRby/h86trtXAIdLBW3erf2ljEyzZ2j2Vu7IILopYur02gX5EgGqti2xlthQP9n99b+aFFz
a0N0A6Qc2q/E4OShFiTM8+EfGu05dqE44YqBaUn8wQtv8YMeo5tl0DpiVCsjotpZ6KLlZfSCvK7Z
yirfddz/ajgMPsF84ycJ28bESsr+mtxdXyz5cGuj2Rst9fKifFcc5GPDs3djsUMqFrBwVLOhWuuY
rFx5d6lSWxfty7fmEE6ah8DQOH53xD4RFLyt1LEpw6e28S6VJBkmQT/DNyFGata+H7eeLk+IXKXh
X1tfuzSNffLK/iB5LwwSjjrEhriSl+zMOFggNOQHWZhl260D4L/csUiL1UnjWlXYPXKu9jm/jN27
M9+lQxwW+jgcQ/xDLwO4vhEM5dw1HrFY8HjcPPMvq87MFgvFffc4pnethGFiJdAozMS/SPez97e2
OI3gsSLSIzzqT7Ex8KYpbMLFe+N4m2o4sa1eNuv8L3p4vFNB+GcJ6CoozKMdY9M9pFW8HimZCtIa
4QjkRIHxbsWvUl5iWCB++1VGT7nxCKmoGcgDtIgjwxdoX+yy3dbDRTDTLQtIMVICD4+2gkYYtHT3
mPkKQ4xnlEGimzwnekV6AZhFXDblJhmtxXC9RNTYa1uQ51zXjAEs7Lo6qRA4darqcxAT8xbUSPBw
znlX4xfxt5EHQ0wZ46tS1V/fQP8eGFdYflEf02WqYxaflv+mTa8NlpnmK8lf0d3N7ClG+yhzF9/J
n27+6IPaMMTZ1cjUBoYNGiJZz/4LGac2/aW3xkUM+ZCR6ME5Cr3HYL8DQaZCo0e5FTkf+HaA0XPH
/+TRzdSfTJT3bOnwTH81KX5FdY7Ksxbuaaet8FYOh4mfpDUHbjazzNaNzeFXHOMxu1RhMPXPcBGh
WG9MkzE6KzlBnDWmX1urcTJuhmY4CUk+YTivG6tAnVE558RdpkxwTgk1oLfunszxTRs/puRfRBee
9ZfEjujYTib1mjNZR0sPUeYAcwFTBHRJybuBPaTDptFk4TNo7h5ULzGGbfoSCjCCLuiG8upRv7EZ
sw42HJ5h54Q7UgeAEAm44e290lFOnfqOkho2xdycDQZsWf8ionekpj3RVsVaDrAfRnqguZPAcwiq
HixusCU+ixffdQnCBrJlzKdOAlH1iQLZ+LXLwttZKTqRuaYOxQm6c4rontfio+/5mGJwDs27ncgn
p9deUu1TA7ZdSkwMPiNmAvkSUtd6ZO7MU4MQd5TiLPLaAZj8e6x/NdK+ekLDHXmPeH/cwjn0yDI7
5F11buLmAABQYf6v57bhyc42Lvec3sI0aZq16wcGt6bl+QwDLGbh3RszAsRarOCxuc5uBuiKv4Rz
WUd3S7QIgWc3ZzkQzUtubm20VeN0nObvwfqdQUEUBjdViX1LFBhcaS8YicW+xyaMvj75bhlA+MXW
YVcVUqfNCNqJZfbuAxWiXtyIgPZcfavodHJeXO3Ri54G8VHw6GgmliFe3MEKYgTbLOionbpnX06B
ZevBkKp9BW60DwG5oPn8LlPin5EH8djE2nYiN3Wf4U0q64CVGNq0P2U+thFxHHiJxgaL/vPYzUdN
BZ4KrJGcoanvYMqwswBNUBeg5HiuCy6cy9IbmdR0bxG1uyEQWN9rdUg9uaNgQv8OBWtJA9DhsRX8
18prNXqIji/OwDqBbFHgC54BN1ny2sF/mnN7V0Qvdf+kSIL2zLcKXIhloLt1t6p+W/QfU0fiNI51
1G9YEDZevYmRagL8zCJk/7blvnPL4NGg6kdfgGRoyqKdI0ZKSkoD5E8gGL11ph08B7y48+wqfYeg
9HlEuW4SQ5Z+uhQ25AIEni2JK1YPfbxvtL3lXJsSVx6zgTHW0YMVWxcsGB4+jSqMFC9kkZuOM8O7
9wijRxc1p2x27tC+5zV1MV0nscDI8vEjxg1UIrIqI+xx0GD7rWi/+uHVc94Hl+ySHwuby3RbLtIU
XLN1daz2x7LoiFlcO3F1Mcw7r/qs1k77UvOD5mV7IvDhObAOYPJ2rEsptyaXjIeZA5Lk2QK8zwK+
O1m0AR5yDIG1eDOja2/nS29A7dc/pJzX1niwnEdQ2z0TFRft78DP7JObW33UxamvrmgvUTKJ7JCP
5Kw/4Rn71IT/k+OZkpF/4+BdoalkS9BSfXhJuVlgtS1igRRVSZL0DknKC+/lMusl8sjoc55/fNIu
xvZSEhXtBT65uX32ivFvRMw0jt9O8ZTA2rD1J0T69JLHsp1XPn4DLn14rmZ9ysozfcR6sRz2YI7G
kgF3aB/IIn1WKiU7xQiTjUJGUbOg1Uu8+PmLUw64ZbmcWEDYvnXtp/BOJDeVADtxOZykXTn8vjUj
CeRCZqi2M+EiA6mBjcInXzMYay3WBXqafNhYSFNg4Q+TNJlHMtoOo0erNnh5igOszpU/FB7KhnBn
LPNKOIPjs2bWR2V/zmLnKjIMwC+oQHODmGU8bREwRfJS0Fis3WUwRXpJQnaDeGB/b3Yf8Lofhip+
t3J5ZM7kaEf2krlhf+vE029MGSgwF8hlTfpC6Eenrv3fCAA9FOBoNFY/vooYeNtnplpsGAr0ivG6
1Ib3ng6KVaDQvsm12AsCNSTaJeRhqP0yLoZNUWzaiOoLO2W8z5n9hocaweQoq390ya8DnbLXuM9z
R8M5kwA35qewqOmKfR3vDKPxeHJPKW1YlH7nFQUvzQ2ZBwiEv231WKfEwNTVa2Q3u9HSDyHDTzK+
zq15ISFZAYwsim0W3g1rBE4P9Q8SU0cTQGGvFMJF81rmL5GD/abfdClVOQvSkSUCrNfY33TaszkH
CeGQ6WXClVtF7kpL2PDqL37V8XKV5z6G5foc+hcnPjkkatYK/fOZnBjBoEaceD5AR2M5BhGz6ZxT
qkiAOsN+AkBN/OnMOH7YjO0BINTcQYQA4Obm7G+BdcIP5wJlDktxYY0ED4avcjj4FjOWFbdwXqyT
pYmdg2r8MiptX/d8Mg7xxTCDqnybMAaYvIa6Ge2T0colxfWhrXEVOrzdISEJCF+hNti0d1QPfGzJ
T2Uzwe+aVSbPmfvpI4mU94iCvGB6qmcAjcjWLZ4y82Ij8c6jo/KOqttqvgcbg5aYRZO6EVM86Boe
0JAjTkPk8IKpddsDcTA6wFjFS6Tvc3nK+VNMc0OAy3a0LiHfvoXurgopeppmFab3OGOwZHyN7sci
DHH632L80ecniVZWwCrXI4ZoGPSdn8H6czRuguV0TgwmFFDX2ZG0DPYzY+9A0cTO2GmHhntUy6mL
D4Wesa6LYAXcSufqpE8Nwv54PJqkKLVfug9Pkp+YT4+jC5zSqI+97rI8ArCMTysMz7p+noziShIA
q9sBSABnGmd8Rm0fv3hkaChkegzgdHfVow7idwO54BXa1oh/a+yWDtHZOfjbcYkQafdphfiKKgMZ
apX0X1qfbmXsHBUPuYWFXtwybISRtSPZcvHrwUFAZZnkN41UrxwPXyYWR/GXxdLIRXxjdQvJjt3j
vDEbQYpXfIbRBNp9YJTJnQuUwSs3nrEvy0NFvYj7tKjuLeuzHMlGav+zxw+vvI15kDJVUe7vZP6Z
ydXpLpIHJ2WvNyNvdR30GLhc/ZbRI1V34zwy/HmvCnWKpHZrbHkq/e6nLPjOGQrNmb73IjC+wJqL
rH0WORdOpecnOUx709ceWt0OpJcQuUbh4fO7uAzCMvHol7gfk/BSKfLUhAMliCipOon+5aO7zjru
K1m/4yL3gVnVT44w1kNb7tsGsbaRzaxRordxmR8MqNcULifCAhholNwueE5Z6YiKaVV6muvHcOL4
IE9CJm+slu92BItJgUad+465fE4Zo3W/wOVXBB1gIFXYffV+XCUKHqMBB4CE29b2vmIB+WR0qdx1
oBgQcAc4UtYdS+aNXAifVhgUKMp9IxzAhrgdbtZ2gGmDy5Db9DCKZC/wQLC/Zg1vzh9xg2QLJkdk
mF9Vlh0bvUaqJb71fH4x/GGtc2k6CQVsqx0S4R59z9maPnc9oLudY0fcmphyM2b3GnVgY9Ec+VWg
xeXXKIvz0HnRqptS0AuL+57V24SYXpAKBdmk/XOa6oie5zmMtQ6RubxUrNQUyQkWyn0ss2Jbg/MK
aZI6vTzPFU7ymQj2rmDgVmKF9Daxm+DpACOpCKVM0tl5UAJXFDJzr3T/6XF/nc3o1Ry9bx1XVtkM
l1ZENEpF4FpMYmIMbL1NrdwGjpm66ySvP0a/2mpTuG06/ayDngwRLlGquW+Vh5nKRLrYud2bFjJz
azpnIypB6AgvRB5aJEbn7q10YUGIjPlhh0ukI5IB3wLaTjMbv+LGc9bSTV9QzTCvd4ogrqqdn5H8
MYY6arAR00eU5u9pCLTFwiIqYMFrI+bSoka5byc0pjNxznTdZ6HyzxGnfRaRh6qr36YC+eqllI3x
vGlY8HdRezeJdBqoE+VEgmbG6Am37DiFhzL966X+2SNaa2rvlE94hDJ8Dbb3pvftQQAMkktMS6+x
eVSQv0ytvhl1jAs7BhPk+FFQ1N1l7O1933LvuvVbM6td13HHDC7zYKXrf5mBlNQcZ6Yz4BItsdhP
bu3kXOw4u7ox7X0kPluzcVeRi0WmUTcOgKtlGe9N/kks1V5nK9iqZ8hnnM7xdc5wavJXskQ6jmV0
cLEh2d7ryCxeSFDuxnYkks0QA6I0/4HhSdNE54EhWRqdgdo6Xncfm3+2UIjykHua1l6TPyiAivoS
d7eZNsiSJ4s7UALl4I8hY9vN0rPPRG22rXOHfUXLzEealjdzjDZsnzIGqBXn+2IPcmP7WUMB7mRg
lORbxe0W09LigLPyt0J7lYQpO6c43LUzMpoZqBEzdIALunk2THFYwvfcTcvTXrgGMhbmutkptD4n
81mgtTGLvxbyX8mR7DEahnjEmqdOWDVh5PBZ3qV/neVtiTYxIsJTs2ZTVzfJqg88RfUgq2Phfs2y
P4zzJw8w9xgSeRI6ugn/UXcwBcwKs+HJB0Tql68ZMIaq5KeRnfi5CDZbfoSiXdb7i2udI3oucXKT
C2msKbjMmnYjir7HFu27t0vH9DDNGwP0TgRWkTggDLxd+hUxFcoZRud4Kwyn/umaal0yyVuGWmVp
oBIDoMtHTEmQn2m99vH8Mfndi+x2stnWbLhyWG4Yf2szGMQ258HSrV08puci5d2zOHCYLdDETOY+
1mM4wzav3hhMXNaNdSqt0zifVL61jRd/AqpGGHZbYeNGdVj+T9m1yGBrxvPYPsfGYz88J2KZ/xOk
Kr9TfFcoim45xSOG1IOj92eWzIA/bNZWUACntTeoo4fq38+vkNniFNYFsj3WNCADisDp94VN6GOE
NCO7G8M1V7cSXQQhMWsSiPZu+ub0pyJ8cZZV5rljLKKm7GL4Bqmh9srI76zmj0ajfvQsDpzFS+FX
jy58m4oxs8M/Rc8tW8bGwjhp/mk2kIsW0UReaf7K84oATu41Jo9ZQLOT80s6fBSt9gvtsBBv0bzW
luI+PjYKSO5Nc498YklCRgB1Psxk9Oll+tsLn8E4yvBibYl9zsC7z1Lwn+As7ONQhId4+u0ynThV
tJPFJ+odARAs4bdI6+LdAtMEwWhT5I895WJFfoV+mqf3kWzB4diO66J69EMiAgAvNhyPGPZQ7hCV
cbLCfddsKxALMRMTCl426npzdrR9Cemd5BeL2iumcoscNnzTDKaXAZehfL67i3LJ8kRV0Jl0jh7g
6244tQ6KlHB6pHjoI0JAxu0UAl0zDzzxpBzlqXpQw3Ykw2Smrqyza82V3xeXRr2p8mZrcI8YudKe
eh8W4ogUsvD8BnQEoQIOOJMrMZ0fXPPAdS+bDQnJjsZX/1KWrzhHXNbbFBQoeIGTZK8cggzOwofZ
Ri00dd2qSndVifIUPBTqSXBV8HeOiEbiNnvWbVQ269rgCee0M1nCp8cx9y++99dmCeRB+ZG3JFZ5
jIqfIh+0B6cfSZ7siVjV0hf2cuMyYFLWO7a01TTbFGGkRrm7kJwxFELlAo32Xpnxxsn32D21foeD
FCrujfQM5pq2dzZq9ziF6My8VH8YVPbpSg/PPSOObLY/0pi9dli/hS6fpeD/JBEoGjsjmIUJD1fT
kNQgNWdAhR17PeMyEsW8rBuf7dQq6fvtETEW2tWWoHQp1JZopy/wy7smod8zUbDF2Ux6ZnxFsr2t
DGOfhayHBQsR5IDhvegZwOc9K7OxoBo3sv1UiEOt+b8G93wdV49VS5xeL74EhqNab66CVUo8sfau
9X9FwuyqzLcjQmnfmM9WOAE7LliJ8jtjUtc7CrwU1YWjm0TZo0jhzUrZy85VtJGpPOSZf1U8BCMh
PMi/VmmTz5jvilvOZ+I6zrlNxQW141YnwlwNE/jClpZbXaNywUzrSiySZUGugvaTQJrATdUTiUIW
HIeVjiRPRI+5bA+INvatk30MCsoS+6ze52mL+2OEVR7gi/WmGkTO3sww3loUSgjxkhb1Ar2rZZLd
1KU2BozMf6LH5oe0hXZnpa7vRQWsMzIxA/s26kSFvg7zIP/yLAqwgWbdBK7iJdQ/rWNoJzHRWemu
EZ3Kqf/SG+k/2dTLc+53uL2wnvouD15lv2cJUPGSNiJlaNA08uaIdJv4jKujmTZfpYQBDzJ7zUKP
psVBLBhjuU1m/IWyh8U3HOpcfESZRM/mEvFJV7NSOH0GOjiiWqiyY+e1JbCcGL2cwUkfEWIA/HXA
uD05KBN5ZXuTSZJnMUUlrymQ7AJGcmmaEMKg1qkA4XfJfHmKR3+VuqTLVTapv7YM2jLA0wIFIj+T
STLA7gksieafnmbALW5Up8JQcOoaSDoEJjEV9CDrNKzJdlWEpE1PcjI2qctWwm0gJzDD3LTFiLDa
ju3t0NOvTxrq/aIxG5SCocl8ViqZXHz2enTzeMiSxLMe7XlGX2eN5ToRFRWv3eFhN3GzOg2aS62t
KRpaKIWzGUYINeyC/s3i1QfU2mY7EVvxzWnJPh2ztL7Zdmwc4yThhe8q+Amp9NAbdUu8dFWxEuxq
l7lEDvM7MfxjvLwFnkzKIJ098zLGxXAzKkno6jTi7RPFdC+mQT7XRpvCCEGlXifUMmU5LQx01kAJ
cY1gvd2YEdcIO7Yx9WIzWNFzYjTJO0hEATMBzX3sMMP3EVFAjtmwFblmI105/0bBjQdwsGUBrtL5
ua8JT+adzb/jhL5fRvLojynFm9NVa2eatGWaP53rJPdWjSwFOMjeBfHJ2nM9OuyMEI7KiwmpeUkX
wvATsdSXE1V4ZCXdqZlZMZSEiu7M1mHagPqMPYGZI5+XzOZzUe6saEYwVbjRMdUg2nKDZGTW9OU2
MQfvlMI92wNE6Dczv+/KqXlR9VkzEe2U4d1xloY+MQCtG370XtQNG0HoYTdTQ0eULzkMU9T9KS+x
z02vYMrWLRqYDOON3xv91jAleoDCAnq1kM9IlomDWFPodmRDYpHQwxVNF+9hU8FzacmJblS8cMGM
/JyHaR905HOeNelngR83GuwbKuJKgZMMRzN5dBn6s3mo+w+EpvHGnqP43e1bZq0legDTzawHOGFL
r5wRNRgJrEo6XsDNKDwPGREMzcoaWVd2MzDkpkoxzvvyOZ01d+9J1IZMOKfX1DJ5j4oZU1OEk2kY
mGLJuafNI82UiVJrn+nmEWkbXGS2rpeXxOiWx4fVpcc6FxlF1e2JvAWoUBSL2jI1Ai8jpc3sIQxV
hppOLUaHjRfj8tKIa0OV2oGaMHvy4XLEiJpBsdnNWhPwerVrR+G/AsND0xoP/ZGwV7HyddQ7oNvi
g8q96l57dDmyY74Jzgr/VIYfjIDZmc09Gw4+2XKdpg6y4clpkdhBIgwN/W4sS/RJeAtPCamnzKit
qYSYn4Kevw/pLE9pi1iobHkqmiXuOeyKKGitkCc8r0di161m29QVfLC85t0YZ9LMQuJGgjlF9JC1
CxKgJEyw1rCMWgTvMBlkNoj+prhoWuFtJkTeXAUzSucCllMoZv1adZII3tJka9mIfvjTjIjqcRYo
ivImPhKkPJndntAhkg9zVACl/ls4vwR/cK9/6MzRGxD0kWkHUf3JWc8GButyCU1WlxcPlR5cQrf3
vtndFNrfDL2+QJnVTF4fkOM4B1EMJRpAeGmTNA5OZKa7b7RjhiMZnkwPyFoCcZj19waKDoq7RYEG
wbymu0wl7qHy3sBtdJW4xJXNrvbZaqEnuTNaFGcXzodp1NemeimRmNtYq+qJPxbW24JeNJsQViLz
W3yS0hiCNpc6ulR3g8Lt1Yh+53bvD++VfDMkYFVW11zva15cmAUHw3FILkWJ28O+jKHaxgz0Ema+
mPfDVeNSTbdv5vA2pj/FCDH4D4L5yjb5OABoCuspx/WIZBsUxmKmT05ddZAjjot/RnrRh7MqK2TM
tDQOt9G808lLdrCZzbB8Riz+Q8fG9rurCGsKtPSkM4hVZAGUOHVa1EHOXnW85lPJQHqbcf5XdbJB
trEhpSertyOQQ9my/gYz/B9H57EcuREFwS9CBLy5jvee5AwvCJolTMP7xtcroYMuitWKnAG6n6nK
6lW0Yh1bPUryFoSnjL5Vj1Tla678oqVL80dqP1X/5iWsCMVH5b2nwykIz33xckixhK8rozc2E238
kP4zLK5ySm/p7iWBke54cnB7JD2sYAwIDtonjuuZkhLIFLHz68mQ8GgDVUbb8bfM/UNqfI7DK7B+
Qi7DlgJZnQ6ln0mdVFaAK6aQMSe454Kf1EpYV/toxojHGH17CqRd2Ja+4tHahDVcYL7xnu66RumM
K1pJ4CQaKZYy8hPrvxYqJ6alrWvL1QSaZBx1Gf5njBDfBqHGlCcNg04LcMB27sSBIMydrNFaBL5/
/JeaTL8F1Lpo1sc7+i3MPi8rT0DPaFgfVkqRkGDqIqdprhxumG0JCgv0NfheorrBXIDETGDitCFK
RroV7FMiuxpNuW0I5IpVpPDHWP+x47NrvFSbkIqDsD67+prp2ttYMAomeE8pPD4ksZkuN7oXYoRQ
N3EdUotsG+tbaQWLC+6LMtu66a8zhjjFJ+9otY6SP5ki5CI6rGmCR59fSmNE/QHbC8HG5GRhFQ8W
wSoAapVNv2SHMm/4MG1uAHC9UVYpa24BwJCByJFSNZsxLdFQHztjjxOPLIIZQYUpBpRlmrUEqGvB
PoDm4NosuGLgvS6Qis4dFkWNVkrgLWmI+c1yhdoI94fSq1sO40MSTsS0OqjXNXvsfkqEafWl2mfW
olPjva4ec/PiMx6U0FbZ2oamtYis5quW+GdJFnJnHqQjy2JTYqL0ljjG2F/7JNoHsIPNZqcVcAkg
tOEqSWQJ1QEJ4A7mqIohwWrx3hCcwIgIlTPkeNG8HJaZxpAttT5Gm4B4MKKuMkaOYe4Vl6WvwQ3q
BMlTONgWQ6l/Ynqmj+hAkhB12pIjUxziYtejQ3JR08fUYjptqcPrVwzQt6RU6ThVRDQ1AkWgXsKl
4mkYN2RbRWktgHusxU1mDg12RcUziRSxAf/r5BW5GSmGwRk/KpWirAY2nNdam4aJwKJ9T/3pcwv2
vtZ/GTURUzUiWcuOV7A93ZWbmu2/PGj/mUNPfRQNa82L/bnCf1VI6yIxSM4TPzxouseMxoRB06pP
r/e+pGFvBocFH4vnwKHbUbFMmdkrpmlTbfvX8H699m9QziHocaUmBHFEimUC4Ea3mDtw+nmKUszf
A7DohIimCCNUi11WTtJ0WhQWDI12UZNhrnmQ9Zx5oV2INIx5IAKqhghXmAIOIc2sby0dAUjUXwF8
sYKQb679iKEgy7gJ9RPj9zGA6/T9XRRE7gQKFFJ629yj7hbHvByuDgriSv0fGccRX9uk7ZlFttA6
BXtOaPmrIdZ/bSYYQ7jrC/2WTzOqRuNw9r2LlQG17Tca+ZH9ptLcm+Z4zKaqE9atXF8JBbEtEiIU
kduYFHFHPKoUOoFPVFDi/nQaqbfMlYi4QDSzGDSQKGm8T8LSX/rkFq+yARmwDB0US+gXRItnrR8J
Zqgg4NcfEdQ21KILU6KkgXyCreVUhsNllIG1NGrbXDK2vRDue3L5ZEhSGO8O0avkK7/FXbuMSuWg
RSk62YJpehDDDMd9yz8dkGn20xlNvkvFZRmfWfo1GjvBqcrlLsJLwxy9JR7lQgVJ2k60Bnj1VXcB
dKsqfSVaYixZBb6LFnyYhbp+XBVu1S3y4EENEHIjUD6Y9SPkr1/WbpgvwyA3Fg7Df9gNY+Or+1wj
SMtqfzlA3l2HThPlC3stfJ3Y2EWGWNww3EUN4rc0/3y2HKCCZraDRq3BBzCMIeLZkZxWdsJiPGTq
h5XD/FeZscP/YMOofFrIXdsA7ntFToIuy7OXY4dOnEvUrh1r6fLhiGVjFMid8xvWGqBwq7jbJBLn
R0pEVj8P+Mwd7c1WsdM0iN0ZzTFK/knI45za7wFjXNeks7Y89PFGAVKhhyaqW9wEVXAse65o2kgw
Mo/e+TZruYzS+gzRB3Jnjkg3+q7ApURmei4C7aP3lGZhgTkx7SZctEbxkg6+OCyNd6tpaZWLz7H8
sqfpZj5Zl/9CGSza5D1nY5QxhnV4C2v/pzVQ6afjwiVu3smYlmGzYbAyxuxwMGtWjrXNifToyShx
mwhZHi6qFhl1EEaHrjkOnEqYk7HcdD44h77fOCz9hrII1l7hMQEX5rLVvkbelrJiwSwzPHE+UdGQ
avn8EAqX8XrEyVLpp2oCvIwBxeW1NAhFJUoGZ/cPeEbu7BJME4obkT380bypmS+WPl92XP3oqA1l
7gHHS38C9y0FbDlNtK3fIYZ3OkFcgYoo4cJnDqji0rD6HR0ggIxZ2DIfLC2MX0ODhcIjsr2l5Sp7
JovRwKPj1vxiaXUwlKvJ9ZMTBOaK8ji6tN2eLz4GbdJ0WOExTuL9iEdPrytIzwjH28jbFyW33UOv
uDTcghha7hjwZko8/fb2vGPFxfI+vtvEN3QR5zj2CZVhHZNMIEUtJYYKKVvBYd4i08CSPBtB35Tm
XWrYylwrRznmkF6BfZIlu+wWiKznhsrEU9kTSpww7qtY6zvIr8MMg77KorNV0SmgHSL+xEcPkvFn
svI2tMGOPHUyT5lsWvrD6S+tus7ZyjioYI1v2yGT/cKqmG2RHOBkQcFa1cFHygCmIJQCsuoOEFu9
CaGHUA+hBtG8qUySnLwJ8KzGIMDeyn6sYaOpD3Tuc3/Y4JjS+p0/XnX1mfOqwModd/AOqvJpt7sI
Z7opjuhd4BPedGOXVCwvkS/YqD+LqKVzogcsPi3lbqWXzniE9Rm9ZZ1tioC3PPxhXjyPkGe2nN9e
1Myj1rxh3zi3UX6JiO/190bbn7TYYFhBbnBGh6nbN8DJXhV+dnn02dfyvWMcGPZvYWG+tNSbADMO
gEo9sj/6IZ7qGAYcuMtD9GUVuLEWGD7X/F2CmulyHVFcwztR3RECUHy1H5XY2x4+ePbYUG0ioWxS
cbZwpQR0loCssn7DRVZXaGdS55r3KJdBqg8MSmX1IFjP9xl3H0D1hiDgrZPZnnJ3q+t7mW+F8V6S
IhXoj6GnYYJUdySi1s43ZNpq7bGr1lZ28PHMyrXPNtXcpnjeGheXjXojnXmjiuDYWNa3kWpYIXus
SCWuawr0PfggLmAlXLFNLJcuLA4VIZLndepZy8pgWbmotcxiExNdEjqBh7taoqrgb3Fx56w0cjNq
IdFxAppSPnQfZDqzKabuqQc4oRAc/3Gq/cUxR6xIX/G4FVr50SpvlfVeusW1DfOHzNm9ITRoHWQW
Va8BC7VnLY4SNWnJJz/aZKQKfRFkPBu5zT4tCNHpQTVJmWZVLQZV7SsbYhyMwzm2z0V1IjYctR93
GtJiTdkkpqQT+de3f4R+o81FoTxapyRalf+Lldg0YGSdQhtVBHb1Rgs4RJkvFhFFWQBTymGAb/CG
+IJYROEiuumSfUYcwzDkG5Uo9DwkSCUrDnbtPKOBGNseO5VAGja0xb9IlK9MT3fmUGPfhZBGaPTd
T9G88ldmRvMuoupSTRKMwrh3ckKQZivfLVOyJxADBLDcgGKFwVb1k5shqo+WWeqYcXj14qom2Vvh
xv8Ky9kTPsZZ3qj/nN64+hVJeoYbXXARnzX0uk7fpW8kGC11Iilt4uohTmxHTUcwdeutq4mCVrJV
bco9wNq2vTBsf6uEPpeUKjE2w76Xc0RK1CiAIutl3aUhc9HdEHGTrlQ2tKM2Mv0CSu3dJOvSKDJX
jrbWJPWQ6AXwMB+etPev6cSNMDCPLDMr9DbKSOFVMy+AwjxQ5IVQn2PH3NR1+8iqHxw0mxrPo3FX
OZ4zG0LQpFjHqqQhJihG/cSzPevyf6O5HgJ0eNWNWWUQRatMPZaAVaGAyfBXpVR2RvoncrTa7Bd2
Oma4bQ0eNAWvw3dNFvqmYyfVszdpSXes9plVL8lP4XWJTzo0GYr8wGzvukE7rSgpGZuJzp6qCgcs
vimB98HJizlVg5GaQtu03tZPDyDjR8QPCPulS0eX1sjgQjBM40Joe9TA8zgbqaBKjfRtBk9e8Am4
Yl73BFyU6psJBwj35LwJUREEuP3dzvkzTO1PiGyj28G9Rg/iNS19kVCUQzxaz6hjhI2QT/KnLImO
LSFFNEegdRSdGOYCDQNEbGmuLBK7y0y7KqmfXfLmX0+SWmowrsgIMw2j8RrYx6I4DlDtMReiPoVO
XfPUstllOdG3DS6zRzAha4rXqC31/l3D/B7gXir4pwKz3eAp1HLM7RSVCrqQaLIyYW0Nh6sNwmJC
YbTLmvBl3KawjruBj+rUTKUeIFmofyFQICWSy9LMYMJd+f+U4Xhph13qrFu8LWNOdPLWwzLdaHBK
uqNsT71xH/oHTQ5Jxve0+9QZ7iTusuUYL7iEvRJPU3nmFrZtekBYon9RzG7SZzx5EARKLsrE3ZBY
51N9Nj1rq8n0KbG7GumHi8WlVG52ADR8ytGiEmc0T2xJ3z90jBKYIuC+pysFXnLTUPpN1Xh2IP6p
tRiVRWt+3cBYGCXgvRXJzkq1j/PDOM5r711Xb63x1xsYmi6ZDJYwPZ1wEwp/mRcLC83ztEMEve5o
KzX5RHU8ZLhO11b14w0x5jOoKenDk9eGbaaKgCRi9AN9zmRnL8K33lybLGcksjabeZYLRYI09H1L
L5X33aookHUDrq+sqY36VcSpnjbpU4yxt8qKI4eAr78LFICdvMPd2WRRs2lpVOMYKre7rCM+/uBQ
5y9G6Ld8eNTNDguJTx1llG/cOQj2qHfUa21t1Z7M52xe8dJKQubzBXMbgxLW6c9cOmAmj7q9Bhlo
UeRkzrlyTiIZUKfv+gkOgNkhnHVEUmZwa+OLTR4bxejKMHFc4IL1Spgv3E1t+TDRIarPUWw0Dy7w
q8rWhveyulfgrROIWpBriEXyszV5hVw8KUisdxe1JAljEiUXPRaB8rPJVBC/+dgIKOPpLosN6V0X
g0CMpkhWMeShvllbDmmmmJf9/q4UVwsYW5IhLQwxpqPV9ol2Kqg4R2hEEa7hMnklnbFUyedj3VT9
JNk2lmseRVYviOXG4IjtCQePav1IuY7iG7QXUoBUUotYE3Pqzyt3a1DeKoKVUJ6fR1RIvd+uO96G
Rt8C7Gbbh2ycIHh6oCBnxjVlTamLysDsYX2Eob4bS8xD47n0uc0mW0+FeM+iVd2rNupv4GuMbKs1
qxiiL2gtNWqxs0WSiqgTVGS4DNtV5EAsHI+qXcFcfkoyEhy9hqRvnUOtZn8m3lWCG6pHE7978tNl
3lTn26T7csL+wDWzK1DyGT1OQjbb8tNRigVhYRQiRO6RXVU5GKckAZ9qoj1o7E69omJswcylpwuj
J9QK4Ns4fjnjRwFHUnrfJijZZojnJeUp6lYLS1Y7FgijC74859Ab731yBzgyleJ1zcJtkqMzA20k
2tiRSoFC0mqck83utFBgQQwuEoqYnJJYMSA303Em/rIM34gYa1A5VdDC6BDZxJCt6i8yrCG9km0p
lEEqrSz1Ex3TzNMyhBqHxjpgZ1RofmRwdqONFz4qC5seu5Yu8dY1/ZzRQxK3kx87R2FmOgcFnI6b
IYwdCWdx1KugS2VpSLSjcc9H61uUDFsLfQeD6YQgDazCm6jeixDIgMW+CNgh5hmhXUC0zVz2XWJY
w5o1aJo1Fp8Z+/+Y/CjuhWif6pwNFkwnC2xqF/3ZDD3d3v3QxwIeqtnd9VBlSoizeFoBCf1IBtKq
xYgf4FVOn36xQ90Mf+OZ58deSVBYWON5lFMSd1adB5cJcOdRduZxDaWuR19Ra1NmacDCArAr7LpF
ir8uToMfzQYcmL20CPUUHCCmgMMinL7xCIB59hf5H5bZ0aiVl67+NSLvVYv6s+p406oQHmMyz43y
pNUOwDYPZIQ7LaEydgDm2ezl3RdHh+D4pg02A7T5FOY7gOo+0zbOQMyJTU0wmARQML/2SeSmh9v7
HPIxRm0v6tcK/NE8cWdFiGAAOXtHdmA+C1o6wS1jT1x9er3WsC2L7MsiSqFKVynPJkGAjfeX0eCZ
+R/9+6zkmvSJkhfGtVLfy2ZJklVR3izvzLh7OTDtUyUWYfYNQwRnCE2NFn2G8XswnNp6h8p9o5fJ
Ii/WMVVhDPCFRm68qdF3ob5H8PUcNtdMvfXhX+exHXn25TtNcZndfXSmw1RNfaBzi7lgAwbJjkqJ
XbrL0tGXToSOxjsHVBw5XlE2/rNIfKhY7Pz8ZesvLvOw/gnVct5B9Z7SavSp+2bKJ+URwDwiuvpS
cG914S1IWI4nLXA/1Ec3nbpBuFw/LOuBFnNEDSbW71bOyi48OHYKfmfrtk8Pc7FevtVx4bKnVW4W
yaE+uLVaNouQB2pcDqH3JDlwEqggT8zsn7ywcBFiOI1bwmZhZDUMIcLkOxnUCPtLtVcYHtTWJU5P
xQhNANpjcrCCcdkn35Lg41IecbpSgNDIOne/pJdGZe536lpQA9S6PVPsq5ay01Ve4QDsVvlR4aTb
rcqTcI8odLvqPcWQMWI1kMMpTd6mAJbGg4UYYPYd7pH3JxpmDhY20Oyv61HJwkRy2Kixy2MGqTxp
A9nPNtEjGvmZjVMOPC0KmGxXUHEQFemsayJ3puTa3CZvun1J+m9F/Kusz9ZZDHi+JbhNMi4zzbyw
hsXPy9mFHrqY6oAhWRQD5m3zJwT5FyDHhhnE/L1cCuXXmnxdEtPwaOxrmjV0kwZAsU7S92bnkfW0
CQfP4wtyUxKE6Uy5WDwE4l1lL7OYLK5q3cefmoPZ/4hNfuGW1yh5edZV0+5S/ab4GvJ91d2VvIGB
AZBM/We1iL7kVUNIBCTlJNii5X81fWOldnOto0lvn4Z5CUpC6Bx9rzdwlDyySKB+gZXf1q28ROxB
RoUGfx15684BokzxuLCrZ4rguZHg9vT3IHug7FbtU+YfcFO4+VdWPWX4Ztl/JVrCPHzCHIHtpBIj
TbVmuWzimbA6i7BqTmH2q6VMzKBhlY8ECU3ffeFpx1eDWE73gOyh32gRAMLe4zkxXZDPQcP7stfw
omB9WkzinoTDOGtsiu1bWOxMTJxEIw2063CKiBQPn4qrLxyyW3Bu5+ZrcJ66C6LSgMHkzLpRgwjQ
HfNWnsK8/UaBjQsCegHSJNe5RSHhoFW3j0WLgIjQBMCeDqvGrkFWQbNUDAOwAuocxI5uSW3yqPqt
YsNsNotdGtlfCRtDnWOG4gXnxhGMTWgB3TwraXQMcfAacHBCA7EgBiOVJEu1RtDyTwn/tXTT5ATG
XH/c667+11GLmPoap5wDj8jD7EO2XhNQyaNB91xwVaJf6zYOPGoQxCrzwmJAS7eAsnNIv1V7RCFF
ILGZz1sWDAPzEsuqNllLuq11zsLg2gLakKxWrfhu4AoyXOJe5b/IdxZcrp1ILoGF0uFf353y6maC
Lp1kE3HyTYkztxgKK0w5x+inRJLlVgjL5hrfTI5zY2AuAZUu5O2i6/ftZ+A9XHCJebhX3K/ee4vb
o8OykjaF4R+I3UreE7nLtW2FUETF1OtjoIz9D9M68g7id3ODDZCjtcH2uU6QsiIXN/HmiMI+hjFf
EbFVNkB1+LQhX0AX5/vE/NcMzx6/fYKmJ+L76o23pN+NxKy5LE9RWLV2hcGBrYpzDD1YRhrHPB2V
8uExPBb+sexcJJfvdkCMDMtxQMKrFrOmYaERAjLHDzQXPJNYVNa9sQiS3Rj+CmbaYXECMj+g8FBx
1LPuW5SDu9QazDP1l88OrkzGSzSwyezFpwC36PJijra1LRv16EtYCgUh5VhB5aWm1TJXxKmCbZ1I
Xom2ixCVjzCuEgJPArc9qBYJ6MA2whgoIRicYuyWJY1ynQ/orMqFBChTckV16UVP+m2AH6ZUNg4Y
XkEp7g8WbzjXBhdcXQ8rzV0EaAfyqWe1SaxCDhjk96aDxiRwlHSLUACzhrNjBg5DqAxQ1WQ9+DPa
eO0GClfPP5s4G6ShCTsW50KDkkavGpO/gw47yqmG8AiQTrQtHVCeFaLoghDIfGuxXalYJZZgd72O
vpDuw0M+hRPHzzejisoZ8WDK8irzoCY9G4TjXtl8pdXGj415k4v3wCGxRHEXAOuwzqGhZXief3Xt
mmWCRmhUQYx1AVJkAFM8LFMFflR0w2eLhmIi3TDEwdXLJYx2aJGJZ5zomPV4L/C1FtQXTa6sQhDK
OI7ciEe0UvfRlFqJq0Gv3sI62hsMN10+31g6j1L9zZHWKyXGSX/NCqRwDhGOy85cdj1DRTIdjJaF
4SYqkdrZUIRPqExmYC8lsxs1+UqGC0QH31+l6SmuNigKFIfgZG2e1kwbzP8759E6ajbeuSbbGrW5
DlncNtyYDvVOxDRUfCnuT8lAFnNLA5DbmFBQ6olRDOqqMulBiBA99ukCbDUmON8j6x46TJCCYbeF
1KahkPaU5BSB8es2fXJO2bmnQ8JWR5uEp2xutiEOcnCzM9txoQuKFQ0+DKPvIHoJzjafwQu8l3UI
Edml404C8u0oVPuIqOdpDN8QPlvRvA+/NjKHDuUbslkpKWER0dG8xJhaQdXM445J4sB6xeVfcmEt
OlxI3kR4gngDgb0R7zYsIO0meURqr/gem88aqL3TJBhX15n4Lkl3kuKqFc+SLWJav7fpb+FXAAGO
Fj/zaCsA1EhUaYm5+Om66UkjP9QPSQ9R5Sq2EWmVHTbwiCb3hPg2IHxGtJNept4qwtpmarrCkHLH
GnXTWnwrzk2Q6mThLQ0tFQsumUOThy8929UxKk8jPnbRp3AwNriq5xGpT2bvrCvxoShnfLb7bmAz
br3bJewISr2S5z5mUN+4ETs3OsQeq9yU7VHzIkL15oI+msba1d6L+uxxXA1nj/lD6n67IZyjaNja
wcXT/ZVGwItGVe0ZK6UieNpd4BeMNI53kj4bzoESn03O8ZQnP270KGvkYxeJESQcH1lcb112HvVI
kh49T4ogv2QyknwPKpo+KPQpv5ba/auZYQ/tWcbdqiYTmRUKmUrOVve+NA9GsUqQCxEzIL7C9q0j
BQBCTilMANRbq/wVeEU8fr2EzW8Ku6NO3rzymA5ocvAncM6P5rdiTuC6t7pHZ4159eQQoqo2txHu
rBb+CePPYD3TUYsWGiPQf1bxr4i2Ie12xCUP6oVsD8y4ZD+V9aHR9wWo6zj7tjl2Q3LV7D8v+yqt
/AoZ13IfZv8GaarG5g/OXu5s1qNNfOo5ZINrMN5koC8reP3Kxug2BiZ+J0jXBsWn4c7i6pLiO2zY
FFriBLWRCTEKc2djNpj89Feh76uh29cM0wJ4nQ5yCEY+7anqjz7j67b4qsllALZY2a8WjGzhkBG4
QSqrdSTUrIPwt+2/HW6xXrmN1bV0zIVMGhiGFQyHTyWk1DYAzpfGqR6A3gxgn6ljAEIiZUOWG5Wr
MhJbkaC6g9rJ6Fh7dOkZBn+JPDZteVTCe1x/F8D7NSbJDcCLjipXR8BL0vFPzFB4SrNSIrjy/bfN
22YyZzFXno+kcheKn5pwcxmTyQidHnnhvgg6hPUDnPdg2zMOZnq+TYq7CTzXdxG5Y40oCRsABVEg
0GwcXCVdt9DhO9j+0kx4x4ZZNVY4MViSkBu7QZtCAqQSIIJE9cRWGPdO/BATJWxj+OcEQyEGXT3j
DJsGqxtSPnxvKRNcUEj3VG2OiEIYj7j2Zoq29tQF0xieMoAcMBXMFiI9o8ucpzXdVvVTld/pwJp9
aclLkG604cm9S+Y8Yu9e4piblTUgBoAltUNX2DozdMwE0CStu4js4jdFKjmjkKigXpkajAHcDgXR
X9vC3TaSCVIy0k82G8TPvSa3JvMpnxWAg2QvUWxUAOp3iDxVdb6NpJkpOrAqUEOCUXbuL4vk5DJF
Ce+lQVKfZqlrRXJzhNignjLbyOwfsGdhwRu4pZQZ3nCO6rUZfYj2o/WOlUfG27UDIiFJeCz6d6d4
mwqXjHgJKs4h26gkbLFfWXehYOUdQliyNXBeDD8N/NWJqhKb1M/VltqcH873i8VEjuZFgqSkIL5q
wo/QXFH+Vw20KRT/06jMAfeBL9fr523lLkkORppCwhqlSj8tmAh/2FIU93LhlfO2gW0JwZPoWhWS
RTjGC6s9GN3SUA8g1qoQB0EHpWOLwhfWJxs8d1gH4mYRYegdpA772ifk5ORcNZEuGXfFbBLL9J8+
4gW+KbK+TPtIkeHgtSRbUgdu+UP2P1ZQwvu7+v5F2O+1dxtjg/6GPk390gGDpiOLwprhWYFcPQic
he1+KqxnJ47GqHwSRbjoQyzsTIiYm4BiAtBxistPk6HpoKCYIt7cJokiMUwyCgUN8kTH59uPC7hF
BXVFwjfZLaz6CVH8XA1ozhjFhmerY2puLgXNKsxQhJt4iYW7VgzaLkb4Acv6KgKPRtyvEqZLh/yf
woGuYelbT79PPZTz5vBldPgt0tHb1+aA3+YnF0hGD4MjGIqu0BWcPWKFTbXikk+ZfnjM8SbRmHFu
eRc75N8mU2ahsdgzX3r3k6q30WWGwTiNwcUCoTaTTQ+ENmGB84keoeoDjaq4sbbZ+LLfsd1b+ubB
1h8N0YiyHj6rcZexVXQ1dA0HL2JAeB2Ls69r6yYPLtLDeZxaSwXHe32z04fvbzRjl/nXyOQ3RWjp
fBfdKxdvKr4b3XtV6S6ov0vto+nzXVV9OtAssU3oDK4971/Mw0pJ5gQYSuVMlh7qkS/MiDsKRsZ/
dKxpWV5iZsJEwyjVW+Pdw+GOQgzMgAr2jRPKTmkLL6MSzGt2CpUeYGK156r/qgSjJRg6KQduBcAk
UbC09qG2Frm+b+zmCNt0Xkc9PzzC5BRDUQtAdeg/kC9sIc2d7JGBpGVsjOlwgNlN9LhPeGaXsNWB
FM6Siu8FEsAsMQ5tfg7YNuo0qQ1lWQC0ocNeilCKJRymjdlkbDXY/+nXanyq2VPz5qTE2xCX8dji
NRiHj2G4ZnSRUXg3vWvbUAZZqEDyop53TLckU/derLXxIowvfSRFjQA/lLNIb3vq+66rV1Fn72rc
Lg0HsjPU+66zyIwsnq63b6sraEE2lm259ZSa0LTv2IWaeknCLzX4tqJLjjI5XKFqKIhaFj+AB8lb
KLWvMDjE7PY0PgOzJ+VjnIM6AE8uiP8pogv4pYnR3ga47YboRGE5ugG69iebYN5vxr/Kez4SwqPO
FOcrHq7G8CfxxBGDaarRXPBRYpPf69YVvgzj6apT5rlDUnCasaj/GfVvNOwzMyPwwloE1j51zjGe
2JZ1j3ljg6HItRFvimLTq3up/kwVum8yukPVmenoPsB516CnKNpwggrGytY1in9CZViLkvVQsIuD
d6O92sEpTlcls0EHHaatfpUj2/n4oyTztUHdkhuHKN5YKfGD2qNkWiPre61g/2EpGNuvmDovMchT
eTOmRcnUsFcLO3ihrl/0TK97HBdQjAA+lXNNwBGUZEG0/SpvqUu9ahf49bx2T11tnqv+aZnnUJVz
Ah5XlRM/q/aoV8fe8e4KDzsgr5atI5NnqoE1bnVyG1IdeBJi69gnvJgaMxKvXLnoNsb5ERHXNtMg
+qHpsnTYpO1FUT8wvEXmx+iBldmXcNeibRI80JHr8qcoWIx+mrjGBSqIXEWb8DY9fC6idrvZGM1N
QDavl+hjPHq9hhxexBb8QN3MxA0SA86iWmmhBlUjsZCBuUBGwYmVFLdUP+h0vFnAbb0ty4em/agd
DTGzAIxD4pKMH61FF59/yoIF3UeYkTfo4peHFe9sp/kZ1i38Qo+G+ytigiqYQ4v27uD07fVlw9tT
0bEYAeg1VHspRufmbnnNUqfeGMOTzaJJHa/Qh+lUmaink+5xhFZZ9G9OaqOSH1eOYFi2tlWTH+Pi
xWwF0x9DbAyTIFjcUD3Bq+Guo8IUjxLEq8x+RXO09Hc9fVrlqQ9J9HkLewnM7I3Tl26AxHq/5iRi
Jhd89tB6o2Btk7tqAsdNeYyxl/V7A7ITCx20tXCl0d1WMSFXi2bYRepnVZ8VNFE+Sjdb+zOZuSfV
RQvPQpwpw5VgC5S908GIXkEgwfIvIsop1qiEjFv6RrRPlbsxzI5p8+Ry1hBbj2gYv+rxHgFBaCJ5
SeXFjU8Q5UXIGcETn+5UBrQ2ZNUg+kqcCJxnsOp0Qq+8e2WddQ6ZpP72w9/CeCbqOiOLvD4WhgEu
m1dDR9pG6+D0BHw9feXXVm8qi85S7GN1Gn/NkvI+etci38v+L2C9q+FbjfU3JdwJssZqi94COhc2
1YRcU0Cu6Z1FMMUZGlw7QJUP4JCpWdOPcxZqBMGQ57gtodU57UxjW6IzA86rf5XJ9ANkxS7OL27D
pOzepTepviegPkuFjKs3PaYWnyauPuWo9tebV7tccUiW4VVU30L/bVV7K4E6VwVW4ergQMkefp2E
g2PKGlYZ6+EBLs4p+Si2dwtYxiX9b1EeKnbTjrEpUBJKMA+FF6M9rZGXsqElNqBEz8Qw5tGzejUM
1tyDU85w8SySwCTkK4FVYZx0il9PROdIUpgFWnD0uuRCrMwyDxGIR4jIpLIkHWbXTod5k+8tqW8y
G5X32K/HiBI/48TxGrlI3Hvgv1oZ7BomjEq8a5OnmgoYWjcCUyfXYB/c8Qyg0SH3bVeAomhRKCq/
EcP/cZtCum76fcnUOCRX7/9a4TbgcM67ReBc/QJn+ko0+bxH7z8cC4XkoiMBduRkMXtpkUauuvGK
CBI5BcQXpCqMGVMlWHYI8UdJsAQmRxRZK6kekvIauodgXOfWGu9AjrJbCqTVKgaWBAGxk4WYTXeW
87JwxHvSmruNBFgCMoHDODn+R9qZ9caNJdv6rzT6uYnLzZkH99wHKTWlxhQtS/ILYVsS53nmr78f
q89pZ1JEEnYVGt1Aq8DIPcWOHbFiraHj4qHl/G203wvpPraffP0uF0gthl9U8u4JyA8dHKuM7mCj
ePTx3Pnxo2mDCSrOVSFfScNDS+jskQUCaKcp4ryVbqSm4cchKkBivc6fSvHNT4EaXCSTxEt3UYBO
HUpE1DzuIlrjKUWjyR1R3WmI0+7GgjrnR0KxQOVB15LSlv3Tid6hlis6xT8KwgOd35VSG5PtmObC
7z4t1bgZEx3Uvr2Sxm9S8ASpBNKE3SYDsKIC5PYeQhjkVYCZMKt5ybci1wG/O32uA5n4yOuvvfot
p9hCj1tEr6Ta37bRh9Q8FgWMbxdjeyMhH0du2/C+Gc1tKq6s4lrv77vgu0mcKF/2BQEFCYbmWudF
NlEDAVI760YYTLZivG89/dy3443dQPIRwLKAB0q3k4yNRsrEHa69lNQ7pI5adOXpxtagnaIdIFSF
+B9gKS0YaU9/sHVSkIVNbyDmG/1vgfeQ46o15UajRN0CyCeLdBIUZLQn7uhtDOKoSagRZZRAbbLa
j6DBrAloWfOf66Y/7+B70uSr0ULxXOduuB3FR2+dV5DQAT4nPbA1ENZxY2r7OztEgdwpRuVED0BY
3Nsaitc/1Py77t754UUI/UHn3bhEoyCxtPApzr9I7T1IfD6DF4dxeYDbEy/6M9CMswYXHqHqK01t
Og+yyzPlrO5e3eHK96/9/HyUbnv0p8DjQmb9VoEGEgl0iDAPhTR5VY8S+gTaeCuir7Z/Z5p4DTo6
JqCZUT767pU33hDjdx6d0xsewFEOBrWB6x5uG/LoQL5G6bLtyJmqxZlnvvakYCU4pPKfeX3vw/Al
j1/75lbK74UL9JWwKNsZOXCDG8VyUm7CbAABId1EBSIk/uNEfyWRfKczN++/uPoX4V0Su6oqbcc0
4kr1q6984YzW+s+R5Hju2sin3clAkBP9nRqDRvmUbG2J3p0fAhB9gEvID4atSpejCc9ud6GZb0zV
FBlNOC00cGRE6AIfQDlcep0FmRwEJJOnb1678LuBrBR6f/5jZ7xL4E4i9zXPkHqLvg7UImXgUzrd
gCrd/T1sVzFt35Cp6D9l60cJz2z0rdTax0D7XsQpL2bmGCID40OWv8Se/1pVymnsc19Gji2eQSZe
aAio1o/kwlPxze1uehK7Or1Z1Aj67NwgfCU/eRJDNmaC3xY3pfqqsU1F+U3T6rfI1x+8Rtvo5FDo
OoI/4dU2zkcIEiob6ks0PiU5RPZKpmekOyWI3DZwyAv7sWH2mqk06b5NYnqS/NTzHDeKa4WkcFJ6
l5N6D21irnmTd2T/0Fvut5F5bfQ/Sxo9mpHqP/rYg2VfkjclVtva1Ys1vAtlB8gR+PVpRaeGByal
rJxYh+j+RW4ufMADJY+YACCMBslnmr5YnXGq0EAdZT2V2JCuRSpr5tmoflERkfbqD/KIkGWiNeii
HPFcFe8aL1DQBycG2CJqgVfD8ENzd24Xn7UkQnmnbirP3hh0matnrQ3Fm3GW9Pdp1//ooRZXgx+R
SWsAuTovQaglOpFQF7PDO523n5CuQaGTFQJBF4w3UOGdSkV25eYS2a8Xd5IC07+pyTYWKoRm5EJU
Hj+DfOaB+8+ld3i1BR6bWkvektpxUUqi76BIT6m86nCoVXCG5vrdoBCDTySOcApFHzlBaoNKX8Ql
NvYxSNWdDtADugQ/3Al/q4L/qMkuW/6XftIYoRmrEWRJCZnJB5hw7ucdWGqCcmgcYdyizMHrnSI3
lXHwtWfSqPBUfEkS45tdGHclfCo13SOgNDYa2ho+ZQiqJXH0Pa4sZAVupWpbmd9i9y4ySNxL24Fp
TuJvf5Xg+/JUp79t8F99WmgLCks2RfwaOl5zeq9JcEKLb73pblswOCVvzjElOvf157F9ydLrwXOC
8FaSrmzqAZkBDlWAOeg60vTfNGjHar88N/p7U71Sm4uGfWJUL4r+YJWOaU3o5l2S1xs5p9+wo3n4
Ou9s2lWcpnS0YKuD1sivwwFhcjzHY6882dWFLyFveaZBzjo1J9r5pWHKiPPeoVoRIMIMdUtNPpTG
c/2pta76DL4SEFqwPzfcVXmxo//XJ2lTDW+99V3tv2bhpUp3bNEmdBe8BpDcddXj0BHMe6iJbxFk
tMpbGaVoa8vCtNRgPAuWBN4zSBG58CxrPLQVuj1gIp/oaCb/E5O/C9svsPbFNuVXp57Ojk/BrHzM
5TuioqF9koN7i0EkvHMkpLe1iQAj/wgNkr+Iprn19553nww/YmlRd6/P9fxmqhN5tGa9lv53v743
jBTJwIS2kZ2dRNwPCOVwYSap47c7EQB3tJ/S4LqCGJNOXaFtG/d61C+FgewKdQD3u1b8sNSPkU6U
snoNYGTXmtueukpEj6sOgT56NV1OdZXEjPtzUtoos/eqfxeQZyLpZJtffTCQaTmeDgDKbe9JjW+y
9mvl3Znja5PsZO1FIgDwVUeAshxbtJg7WIKVD4/TPuQ7G3c0NWr0EVT7JpIx4IdVGjy1wbyUaRPK
4jeFym5Pyc1/VNwfieZY3kPS3dDYjaeCnMVzcnGj2RT2NKp6wRV5B57Q02MnSClgPOrhm23f6Tqs
aT0Y2msNdjI1ujWSLdGigOujfdWQNur1YqMq17YHo/R7F3Kdt19qg87CmwIklEx6wvdQwOx/aO2L
RzGuqu/qmqoYOqilfGkUIMWBPkmlfCYbu4A2fGiu8U2gzJ5iQRYiOlXcZ0VMKqjUzuCA8KihxYD6
vdLJQmlDyUFz4U0FUFu5r4np0u6FYMqtIIdv8h2rAfP4KGSYy/WtXV+xdVIIqxpo/SGxI8n+FJpf
7Tg993QYXnp3g8KbFEIORqN2m32fwMM5JQFrfNMris4wQnI+afOpanpdE42baCdXkO0A7jCf5cA/
LQeIFCdkNDUsalduuMtTBfSr4w4fSfhsUbPyAVzlOyn9EQ4QJtyU7a3n7mIX7cuNRVgQIYy1rSy8
PSwlFgubRlNldpKBoEPsh90/GNGjGO4781spboT8swUTnhGDa8nbgKqnzgymL0rzw0guEOPOoLD0
wKuXOb8Y4IE+ig0AadVvT3QkVYvxZ2X4pz7QqBryq7wtoTzu+d8HV7LOZWiK8+6sAlbb8pcSHKny
anJv9PZWlD+tmpWiuqi+NfU18lhZ/1ZW1X3c7UL9LSqeY/eHQuq+vqrNneoR6BA1N/pNMLGi2RJJ
dDrNmq9S+/AXtbwB7daZrJ8Hgb7RwveefZL5tJQIgthrHSzASE9R/mZX97m/81Bx+svhTMfjtTYh
/x+AVlPDyACV0c9klcqVq/6A4PHGLC+77k0lOmloCxHFSyqfq/GjpCMVZFGef5TJgZTw+vYKMVYP
qVFLXUMAAgPh0eUcM49Hcv7R0s8b5fCNhPdp/lDStgyvN/fOi2w/0i94Kosvqel4ZQ1y5s0mFNeF
I9PAKsVnLiO36WUKuB8aFgFFWR+CIog5IJ+C1RotErXLz41konFh/xmquKlBuNFvdjaE8cYQMEzY
hDvooRGrFES8UYXevf3uNVvdflMrSJKA0Vn0uJSOnEP8N1qIMwRno/6Qa8lZBZBd59XeWK/18A3S
BlAdVxKwECPwN1Ak5PFtWE+FnxM/eMgtam13qvveaiC0n0oPpOjWAhKM+EZd34XtvU25kH/3X3bn
9aFqmaPTpe1dwzPKi1M6FsCyttGbNgBQpIHGFu3Jv4SXJqMR8K/SktS6ZFuzHU3///zH//l///dn
/1/ee/aQxYOXpf9Im+QhC9K6+u9/av/8R/7v//fq7b//aSkU2SxdtSxNKKZm8g9///n9MUg9/mXx
L8m3laEO7GwnMcHZJv32u5/XVUW1FV3VLFVXZHH4eSsi35uD89ghDoeojkwu2vxy3ITxaQSY0GHF
tFXF0DXZPjRReuQ1Q7iZd/DOD9bXqD4zcG6B7p0dtzPNxOFMMQiaihWmSgXIP5upklYAiLjsFMri
h1z6qeUAeRO6Yz4MP10xtTSkfVPWbEi9qwZoxaS7oX9NvQ8bUg6b4NFEh/r4mJYMWSh60leu8l/q
tDv2Vl9r6Ewpgj7dCe0MZvWaB68BXv7kuJXp585mTpNNkyMo27Zh2+qhlUbk5aAHUrpDJZSQsQ/O
qpcBrgzlsujejpsS07eO2ZqNyENDmm2OrYzycwzwoBl3lvp1cC9D870nSU7vWgPk3deuB4ULH+jh
8V8wGfj0AyzQzAD9hCLkacr3ptRzUeJrsiTbJVtThtnh8vjnF1ZMk/c+P9uFtppXpTpE2U7Ob4KC
TtYLyYMF+OG4FX1lELMNaNmWsKwOKwUlMfC1Go7/+98zMTu2dZsoSRpgQkGM8Rvd1LjW4xYWpgoN
SrY3bKYQgxgzC3FfNH6ho1T+I86++f03P0IlfMWGUD7PlK7oiolr0JkTbWYk9PSBllOOavTdPHlv
SfWbD1a8hVoQxmr6SPvh1Le/Hh/Ywurs29Tlwy3WVUA+mshKd7lPA4b1HOX2mTt6KzttzcrMdUd+
jb5ziL8z22efCkRJT2XXDyu+YcGrTrOnarZta7asz3ZaOppaVOucV8X+WiWbETZuVBAbnY7D8cfx
aRPTt2ZHU8fR2YbOprC5LA7nrfY7yBZ6RqSeR6BMTr8Y8AzEry6evOWmN907BeHn0f0OAQYF9Hi4
D/srYL7R+fEf8mlmTUU2ZbaLogp9+s/h7yha+nNHz1Yeadxuq5dSeVIs6e24jU9uaGZj+vueG6rj
AnZDLnfYiXep/fDx974+m8m2lG3ZD/l6KeqzLtpIIPKOW/h0eGe/f/r73u8vXUM0vYwFU6D1wCuG
98h1tHJ6lWkPH+yIyYqw2AuTpzbU2e5rReEZYRWjrWG573Xhn0OedKm4qFa2UJU23U90LijMVjsN
GLkxqGcibM55wjmw5MEzHkNfAfVEaFwMmQ2PbMQDTd26bnhxfDI+L6YhDH6pbnGJ2oo9c/pR5vZC
lul5aOxnw3gKt3/v87NZoFOxjjp41B36Cgzi3JUjvvDrFYILIauyQqD21yLsLWURBbnq9zqEfONl
01+E/cpWWf4+lEaabcqc6tnskLf0WlcS7iPgMkoE1h/8fMUwTK4SjaKzpRzuRCUtRG7KlflYVrcl
otPXvz35RJSaZljsRQLL2VGCoC/0BPyOj3BFUEPvf39tFX2KRnTN0HB9s/tJ5Jmeh1JMzYx8hMJJ
+m1PYCi6pViq0FT8mTr7vuprVR9LpvQYgGrxsi+FdPv787NnQJtddn1jiCEtLekRBHboXaTZygNo
mt9DF2AohjAheRYmiWwx2z29p5hCBS7kkJcf4EWaoKN/sEENUzdkLjqcvjVt4L0DkMt5OIZ5JT1W
3pt9qyBsc3yKPvtKQ5NVg71JKK/I80eWLtW1NEBziqruZkDslZrbeGkrv79RD6zMzoEAJFiXqho4
AYIwwymw2OOjWDjGB9+f3Yq8ZOOsavl+XV7VwRWyC3/v+7NV4JcTNkPP6gxf6SmwihUfvbAI3B+2
ZcuaZhOiz5worSNuPfZq7NCAQOdafM2jjZf88TFMm3G2WbkAVB66mqIqGDrcSVVRxgN1rdiRG5CT
1pM7FSOvwTtQ+ThuaeFYcCI0ToYpC5vA7NBSEjS5aYZN5STWHU/PCAyIfX/cxKdwzDQOTMyu+CLz
4Wa1i8opOpPMDr20kN8Oxa3obPMZFsnwQeoCCpBuomkro1uYR5tXgUxKQhia9SkSNA2/jFKldCg9
RpR2jVK+C3O9uVAblXyjniHJVsTq77uyA6uzAac+RJOaJErnvOhfIunl+HQubEC+rmm85m2ZpMvs
/OhFD6iiVhmT+JrA1li1VxlV2TjY/YEdk24Poi+SLn+9wPe8mVnZctb1FFXG4KmxzzTRnhb6eyNJ
K2u0tAPJTXGlT1GPMd/r9NGYXlXopWN1KpjH944aVaKv7MEFp2PrOjzTFmfKVufpLwFPbUFzbukk
Jlj5ILgdSvPq+HwtjUM3NJPox+Q8zeerTIN+tMKydDrR14D3rPARSi8a8+zYXzG1tK1NRWE4RLVC
1mZPNk8OwSqqWe1kIn+WFAvhyokq0rXOiSopt6zlqcTS9JkEzwR3f3m9mT9S0bOuNdpLHS23UG5R
ukvfQAH+AwTGuecql74ivQSpsgOJQffwNoOSEjXpc3iWH39/kvd+iJhFCXXRlX488kNqeq6MFtEB
AN7F83EjSw5r38hselXbhhCDbLXjo4U1ftXNCz/eMcsuDAPEnseNLW0b3sUcMpvnidBmDnisZLc1
phGl/XNZ71woLfXs5riNxeXbszF3SLInq5mf1o6F7MJEGVn24BaP2/hr6md3FqG5AUe6Rd6KC+Xw
JrFNW+40/S8M6sPoXk/gK7iL7OJVqOml5tL+MMlIrJmddt4xq7Pr2O084XrjWDnCdOl9v0q1r263
9bWvKgVBAz4lJNxXLudFk7pqcveruqHOn/V90Reo4/qsGN17uoBs0n2IqVVA93kSSu9a8UWL/sB9
mXsmZzGNHddw4luYDOzSqWAaa9EbPb5+i/vQIDEjmxZbxZodcT8DzijlbuWovE6MW7izEI06buJz
Eo1IgDjDYoPImkVL2eEWca1UigJciVPT4paB8QvtnVE9KA3ULOZpobxBSmXY0QUts4m/YnzpDFiy
sISicQHo80DHSyR7LFTOwNBvZFAVxcr+X/v+7IxZIQAIT+P7IE4hFNealQfeklPa//2z4xW1WRRH
IqydZiDjjfxrBmqCipc+QL8SkfKn0c0H96NTqz2+bGsjmx0xze+gprcYWQYuKgI0a3crAdM0N/ND
zMLwpiGbbsHuebgvxEB/cwJowym1R7N+poXStnaBePvdcZiyzOuMflcia3OeBApr9sUQariKc0lt
N7HSrUzU5yM0GbB1QVl7upfnrtz0NK8vWgz0z7V7odCKAXHK8UEs2pgyWIqG4K2lTYu1F5VpXdxH
iu9VlBUvioi2ahrDVvzb59VgGLyRiS5NqAnnN5Lt9W6rSZjI0NoBSEN9GbGTaGXNP++qQyuz85Io
vVo2sGg7ifYSqvdgzI5P1MJ9hAGbEqv876marYZcl1FPXFk5EdLthYN+ps/eTfKLHuQpvMKWSM9Q
7TpudWl5poDMtKCut625F6WUkoyKYlXOALOZBP4EdEbVrizQihF7FgSJVu3RszIrx8/vR51a+aYS
j8fH8dnb8BxkEwhSVrJFZulwm7mo4yIswpkPSNTXZzpUPWghhDSubYJ8xbMtD+eXrZl/kXvLj8sy
4fSj3gPhL6Tw1srJnH7uoYM5HM7MwbS1S2N/QeOFqXZo91AaNOky6AjvJt0TQA3HZ+9zhHBgzpgt
UJhmWa1NHnMAvCX1Z2JAsNwH8hRfw8LXi9sy/HHc4tKZ3VsvYxayhm7R8w9RJPCINroHP6LZF3Wz
Mo0rK2Uoh7uiRQxtNHWsVNJDH7564Y2L/s/xkazZmMUIea0EDYwbBN8Ej/aG3kVaZI+bWHI9+5M1
/X3Ph/ZGoVsFbdGOpZ0jnlYpK9O09v1piHvfL5u+Ht2qYAj9s6afmtLDH/z+CaGgyAbv//liZ5mW
yXHHgYF3lo4guAPe/sCAopnkt6g3yPM6hBT6qtwVKkmh8Nk/D/Ovf/B5FQfJXWnyYJgtcdnLYdN2
onIQNYKXWnn8e5+fLa+mjKo19nxeVqQzEoyQxx43sOgcddy4sLgoPz2/A1dRh1a4wE1FfaoBFM9C
iPhvOv2t68uzCZB63N6i95rS7zaPfuXTE1GrsmgQmV/Bu4mIjUdFjna+6l2Ox0sUFM4Svbs4bnDR
f9mMzdRBjHx6C0QIbeahoZVOG+tXg4YGngrXxXCvmlufZhoEYtsoXTk0ix6MugVJ1ekVoswOjdkE
rte4pOq6qAQfZp1o7V2avFr61fGxLR3OqQhIdlWnSDXf22My6maZJ2QjS+hoaaiXRf/bz21iDlMB
ozQBBT4VwvTQpCXVVQmY7QSJZ1qfQmMVbLM4jj0jyqGTyTWprSXEN5yI5TDg9h78eGXfLbzXDgcy
P6hm4TZlaNZOkT747hdgUQD06DoCRDhCZpPBSX1ZQ34S0+MRJCsB4tImVHBBgqITdbl5CEJOWBda
JWqH3nlaq891sPyQEG2k8a03dKRptU0BAeTv7w5VUKGzdE0jdJztQrXKRKRWSeOQyjt5cGlh+Xvf
n07B3tXgd4GrVRrfN1X/NIYQsweRedzE0gUKao0HArGv9Slvm6ZlWCWQmTkuErlj6MFHoJ7yL66c
o6Xzquo8QKZips3j7XAk8lBZeiiljMRQTjyDvrdTRTmB42JlOAvODx9EvcXkshP2PNvSdj0KZr7c
O5mW00/V0VN61dEwrt0Va4HowpESfz0MSUcjrmZPO3JvcaSw78I8qQfH8N4ggU2/H1+YhRkTAGAU
3eDaIHE0P02hMbS6b/YOqvZQFI7JVT1eIEh53IpYWH/MkGlRTBBRsqwcjiIa4wZJs7F3DDhPy6lX
A5I47ynMEYWFETnaZQBw61Y7Bat3kkOXliEpE2l0KGnO8Z+yOGBNm5LihCrmvKSbaTI8ovTyOk1y
AQUwVF6uuw2/HTeyuGh7Rub7MNJa0ckhPXOwAT1lsDEf//7idO59fzadQUuqRffSAdqbK3To6SVU
45Xrdm2eZhtjQHBBb9WEIYQ/J2j7jaSfBtAqHR/I2kRNf9/b3WEvDWNhsBp+dQn9ZlDtjn9/bRQz
16nVvfBQUWWimi0IY7e9He0b+w8e2ELdW47pV+yNAjkWFe2aaHAC/drwpVOdHhuV6+f4WJbnimNK
nKDbnzI5mQIMW/azwamsDZyPSnD+974/GwUIBYHmIZtKUDBRL8N45YWwvGl//f7Jqe7NkhtDC2AK
eBQhYXXFuU7nXbsyhEUT3MCqQaIDSPlsuVXLS2K/QbPDoL0gP6P7yxBnfzBLeyZms1SoJWz+iTc4
SXlHWWQsHv/e92ez5JdqBG0RQ7CbU7PdcOqOf39pisCjqgagUZWLePZ9uacg2NawCenGYyj/HGid
CcMVtMb0jVlmQ0B/jjSTzd0ILOpwpUvb8EovzGUnhMFGUhyPHluluAzGrQ8ZyvHxLJ0Kfeoe0IjT
GdHMT4kK9psM8QtHdNeVjIYrDFrHLYjJW8+HAwYLEBPVRlNVZldwKY995vEqcTwtuxg44wkSxkGX
XjWWfKlW5p0ZjjQ22c9Ch7ADcvzj9hdeduCHBV0GssnBn4d/6LfUXgFcwbGrCdJthVvF28YTfRkK
YytjXZpN05CJNnWCgU8o1STohpE0q+I0GiqNQBERjT8+mmnt55O5b2G2N6qxbt3cxELXbeCSOe8/
vOQPtjhVe2pTbD62+mxLdMPUupJptPMkG3rMUmQU1/DJS/Nk8Qql4EZdimfw4Q43XVdDSgaltUyB
qDGayPNWBrFoge1MaZsGaHO+6aRQyv0xyUYHMsUTH2Knt+PrsOQHKDnppAyIgxjF4QgGxNtqTSau
LBoTXfX7qFchUFu5fpcGsW9k+vueyw/QxqXjOR+ckRZS9URR/sAZ739/tgx1PCBpBnOHo3oXSPbS
vHx8kpY26/73Z5s1HhRXD1OuLDdOLho4ghL/q67sRlSFjxtanigQXBQgeb/MUXSq4rpFF7WDE4Xj
mQfbjKW//bYF0nIAAYWglvU5feJrRl+pCCQWZXKV+P2j6bkrV9fn/hcT3TFQQCrNNqBa5qciSXw1
1tWiI4eJOGxB6f0EoQToKrUiOR9LiHrVFrVNU4LPza4N9ELxqs+lVgWXVT/AA4yGcbvi0RaW8OA3
zZZQQPFnmTm/yS8vFQv6HmhIs7sSiv3j87tU2jkwNLtYg15KClmUnaMmKa2+Ozl8Qo6I5l7UH74Z
w6MJnyZcFn9i1QTbALKTsHB+OeiCdCuiKq0TqXRAQh1g56d5f4FOKWp/9qmcfkGzplTzFbsL3kOh
3Ee6kS4+zM+8h2THKBVaZuMI+3sI2qCcIIH6ysW3EEbQvjfhGQ0CCeKJQ+9R9ZFL/0LaAiq7kVLk
oYb3aHiQ4q2o1x70C+cPRKM8QVm5nHjbH5oK42psdNG0Tge5OcQC4+87KhCyXEcWsL/P+Y8mi3wr
GvrOCWk2Ks3grsy9ldzH0pLobAAiBXIsn8IEWR2SrNAKdAeSTcKB0h6F6hzfbWsmZmepLIPI9BpM
9PZJIENkvzXXMgVrJmanSA0VuBVHTKgIqgfXPWI8a3t3aa2puLOlSOqqVBIO1xrB1WywseJoF52+
QZzq+CStfH6OBvMVM81llc93Xy3tro5+/xVFsuY/v/6vYHXvStWMOundhs/r9VkoXafmKfqCx0ew
5DL3TSiHEyRnXksDKGvgfS1r9ClPoIpGg++4kbVpmh3ucaxTu/LL3kHJooNEeQzf/56B6QfsTVQg
fFidp/MwMWL+iNOPP/j8hHgHswGAZ+6c/DrXrCrjRE8MNxBqhu4f5Eaocf+yMBuAohWeXMGz6QQI
116p0dmfDGB6U/CimZKLh/OTDArq5X7VOflYnMrwD61VpJbcN+jW/zVgzs5ZYcWtBd0D0YB5F8en
PfAWb0w29L1n1goUbemJphg0kNPjY9KqNE/8ilF3e7UYGkfOrhO4CsSLlr/VJoJbUKBqxrburzXx
I9N+vxwwRTt4XbrLwd3Nh6gmvh9rQeG4JTLVMEJIz2XibyYP6aMj6UHsp6+YXJhVMpc4LwtMj6rM
EY3GENb8Ac0XkUBAhYCdfyuV0E0j6xQZv908zbN639gMBVFYquslqpU7Gi94y4IcM7sA7VW1Ow8e
WKNXT4/vyQXPc2BvNp8x4UzjB27uuGn8gtJCZ9uQGpUb2j/WUqgL/of80IS/NzUWb16vDiq7sHtZ
oJ2jnAxv2cpNuTiQva/PDhdVuMptFb6um/ewWPT67WBeieji+HRN0zF7Sx+MYeZDq85OtVLFyjBc
dhHcv8Gz/KGgitzYH4PUnBq9shL3rc3azCfpZW8lRo/FvIHJ6byQVjbA2ven8GDPaUtVVSQjPW+Q
zUGuicrWyu9fCC80i/YV8HzESOq89wK1dWRyhJs5uvUaFFC6bcvox/FFWRoCzXoEx/LUwKLOcDZx
3ZoBLHy5E9/AzKn3fzBD+5+flxbMkF6iIckdmMva9oVe7JUpWvz9Og0JlGno6TCmrb23BE0nC02S
1MwZtDu7enBLY8XAkgezaAokjCG1wYv30EA6VGqrxxTVgyy77gOkZ+GCjOB19CrrTMm7lWTk0lGc
YAO2SQ8i53z6OXvjIemc1rVPl0VrPUqZe5pk8aaRHXOlvr6ws3RAfZAwAbOiN2W2c+NAyr28Sgsn
+IDwsIIKd2XaFsZBvzZ+39AAQOD7D8cRpSLOG0gqnQy1J0igym3Zm5sQxs2uj1bmbGEPHNia/r43
ZzzSG92yksIp1XdXkjZW6m9++5QcWJhNV13bY+/RKO7U0nk+uGg4roHwF7bZgYXZPk46K4OahTFE
JRkIJCAgDS0vwPqbxvPxsSwtPbnSqY+HW1mZNwtVlgSpm+sVjt47FmodLrRJF8dNLOSAIZr5j4k5
60IvtUUXalyMZXVVVwiDSE+x3ZzQO30aFg+6snYRL24AHsS88Q2LZM7sIpaz1ohGU8HPq5tRXKj1
nyz/r+/P0aJBreDCSr4fWyjCbCBbOz5fi4dl7/szH+O3QSkMT8sdv55qTQqCirB/tytvsTUryuEx
8fw267xAxQpCH/6VpmwQWnKNlTTImpX5wYelGWkOxsLB30mhSfHPPKu1cuPm4crLb2XZ7enve+ee
cmzx72nLfdilEZxaubzWhjI79YFkVFqmMmEjZKPtmVRs0eMa187j2iimX7E3Ctd1a7mQsWJ6Fwl8
dvnK5l0bxexGabJGkVOPIKVJkWiLXKSCeqmzkZZAY4JmQu38+GZe9GR7m3kWhZdVPhptwngiyNLk
G4V+d/mcDtVQXfEyCy11FE32LM2OPSJjACMTjuUQStu411/rUT6rzQIZKMulnlpbu65JLyxpPCsU
+TJm5IWU3SCerpy2vvl6fNzH5xnQ5+E6hhnJ2zBlnrPkzIdsvbqJXuu1hNPxyRXzzPtYJIEcR5wu
txFio7Vo3emyKl1YAfzDja3DTUpj8MpEL+9Q3lYa9As0M0w/am+HCt9AsrrgEeeW51F2Lq1hopfe
wyzkLwOzLeP5Qonk1CBKDMTOhJZMqdQvsgddomYjpaJvu4ld2bfPR1FeFLb15U9W7pf52T4a5Wgc
Bp3rKmtuTNRFEyjuwB+fjsgRHLe0vHz/sTRHtae+2hl6iaURDSf/OpMfUv8y865XW6kWL/lfMzp/
L9qmWzZNy4y2ygaSgwrGR2XFOy5e8nsmZtcJvTVW4+W8thUtO+ntj7h7CeRbLb/xc/269leulbWZ
m10rMs0uWiJhzfe7p0SqT2U/gkTau6oiiI7lVbKllT1vTH/f2/OeYiGe3k65BPtGre4UJISPb4U1
A7PLpZHlzhTT9CElA4OwVdy3erVycNcO1vx1hOzgEKiaTmCErpUMt6ad/1Typ8z/HusXcMRAi3vn
pncdUkvHR7fsDH9t9JnLMCuvRUCe/VeJi6o+l6G8dc+iZuWqWdzlOtBJ+OPI3c2RG1Ks5mjNjywS
0jLBjtfF6co4pqM/y1lQl/9lYTYOy9UVJL+5YvTyym4ukX7V8y+RdF74KNleD9VKumxxU+yZmzlC
tS3txjA77k4DKt6T9vc7LCeYwa/hzDxdHkcozRtMWBFdPNdr98TKZM1zCcAxInkQTJbP1WSclA+B
9w5dt5ndeFDt/sn5+TUUdRYzo17SCnUaiq7AVwyNt787voVXNpc6829FDHTaaIbckWLkIR1dvkez
4biJleWeoxqiuO39sGHCJordxzbsV+ZoeQiaCpeCRTv5HG2UK0nYDzbRgookpvqUy2gr/pEf03/Z
mMa45yj1PrMRzpuC5PJyCB86/fJP5ujX92d+shVJ1aQZ3x/0cz24StZaNdfmaPJke7+/ot+QAIA5
EtUukrZq85GGa1w0azZmXsS0qSZY0TRH3lnnXXagvX+fems62SZOEAgReOHZbh1FH2d2PuX2kazX
w4LE0Vr+dnkUv0zMrmCUOewutEgc5PJj3b40CESg/HZ8tddszHZTagq/MxMCpMp7MbJTybiOfp9S
8HCmpp+wt+BKk4ZRCvDAKctqo/lbt7JODfuPnMevuZrtqqFIIdD6K8liI4t01qFu0K0c7kXnYSAn
pQn++dSFk3S51PMCwpcXETLj5qnRrPB9LVnQQNVRbwDj86kJpzeTLG/CHhcLTX9/gfDH8cWetv38
ct3//mzPsp8HlXZvru/wPUbkKWgfIfPWq59V6654kaV4ZN/UbO8Wmqr0gdXmDm0vaXriRucoXyTl
898b0Gz3KiOilKLh+lak52K4CBMg3OfoIKELcdzQ2nBme7gtslbp4PN29Kr8IXJtWxTleSxQQOph
tz9uaynO35+62VY2zUZPsppB6eguR6dutB37MwUBPPnBUlZsrY1r5igFZOj92DIuoWyGAMQyAoq3
0Vpz2TQ7x/bdLMpKG7lSh5h9RzOWmW9U9M+MlcfR8kDgb556sqFlmgVaopB7O7Lw+HWr32W9/EVY
HSoRJSLp4RpD14qteXYya1yvF1MkVF6h5qOeIL8z/EGGXaOF6H+GY8+CLSkdRiWBnNqxkgtR36FI
fHyPLXuaX9+feQKgQFnRhHzf4y0kF9/Rwl1ZkDULMwcw9nXfhD4WTEcdT8Tr3/v9s4Pf0G8B9oFY
MaGhDwXmtUBubYn/P2lf1uOm0nX9i5CYh1vAbruHdBrb6SQ3KDlJgGKeoX79t6pffc8xBXLJOXeR
WmG75j2svRZ33vs8SiMzwnbq5YPUfzHTz031M4kFuITtc/HvKrBfcfUyGrHZE9WUsQrl5zz9IieB
NOz+20RxBzyZLQsAVRy9ad5H0ME63f78ZkrweqNyR9vOJrW2QrbMUJOqSeJH6ZcYuMaiepLyzzpU
eQEydm3rpz49DupL7Px2oDtw+0eIthp39ssW1BZWhPPYA1XRRRBZFIzy9m4AJmy5TlFV9VrEIhMV
2pD6ASpfU/yqkC//ZRiApi+thHDDaJnDioYQjsnlCl7/29OEvovl9xUzGbOmQvCjQgp6gGK5oMS5
+X1N0yxAGC3b5FNgWt0OslQ3iKUr8oq823eVtPu/mKIrE9wQykRRZ1PDc9U2n7v+C1Ot/G8GuFur
mVqUiTFLp0ZpXKvDZhVBckWzxP5+deap3Y3dMGEI0GBnIiYiiMTmXgWfmewAy41WaO7mGhQCIBSY
XAAA8iCbmZkPirSDiMvfzNO/VtivuBqFKtlQfG5x5PQs90um12mJaoyigXA3lzMUyRCHmKgIEjZt
dNahZTpYkDr9cnsom5cwXAbQZOMqAqB4OZQir5tRrTTkBMyvBpziAXylXS8LNtZtK8BOLK2UqZwl
IcVVLzvI1rg0fG9EWf3NnfW/gayaBHJrCDPgBeE3/kNzt/t9e5pEX+eOXmhJ9jTNCNu7KKhdkgqu
WNHn+YMnNXqtFlgFyXooNPCcC+Z/czddTQ537MJOUxvI1SD7az7Y+/LbmyaqFIlWmP396khE1ZDX
JqtZG5k3QwW4g3buX00SaLos0CmrCp/vk+cOtV0Dg0DZOgXDhajCsP2a4wzYjg4sOm7x5Rhq+J15
ltbM7dHdvv5ljk+JCTFmZd/q72Dt92MAlqjxmIbPVau5xHkG7lGwUpvzePUbuPOIxtg6a4cK+afw
89ztTeixiDbD1mazwQrKOOtVdXVSChJ2hTGMOTA/ygGCYb7eCk7L1iCuLXCnpQxpPjn9kJ+o9icq
P+n1UQMDxe0TudrSNpJ0YNNQLYOxd/HJRiML1XGY2/ISO4l9bNV8OPYl8sygRv4t14WoOL+WqPiw
ZzhIdwG2u4JETqkly1lJy0tbW5AGfRgsy6f5vshbv88PffvcZxo691OvnSso9aWBVHXPSlI862nl
hpbqVWF8aqFkd/80mPA3bAPdcGht4G+OrKezVA31JWotVzO7nUTOZac+EEPEYcZenEUYiwm4tsTd
IXMFkjQLkmKXtMcEQC13mA+zc0nA6GESQWFitYE4W+zvV7fJLJtpXaMIfDGjcDeDPQfbdTcKG4Q2
zdho8wNpMgCJfLMDrvTcwKapL0T/pVnDcaaSX5QiJZrVecNg0G+NPWriXyv4NRq9QK1pz9Vl7LLP
A80fQ+L4t3eByAR34MbWAahDH6tLOil/Usk+pFl7vtsEiF0MkNkbGjpgP0gsrpZEn4fakPKiunSp
7FXvdiGiYNs40AsD7O9XBlA8UBWJlBX01IF4Kx57CDZOo7MzRI8tu8a5jbwwxLlWEQoIaNVJq4sS
S58Vp4MybfdIyyPUHvak6/wKgnp3z51tQ1YGsEDGMMg3UNVGCQ3ueCwvGi2OcQhBaVkQ3WzsZAZs
h1gckvEOKK2Xk2fllWLMTVxdZqndZZJuQlLUCN2yTQWGNnYa61pXdCRngLTlabltyY5iEsJQIal4
gn9Od/vWIGCCHoOGM8FaiPmePWvQDJ1ArPPSd9/nuN4NjohPamOjwQLa4tFvBiwqP1ddCjVhtCiX
FwORrPzm+kry5fZ6b+wwWHBACgFttTXdWGboQzqVcnlJjNzTawjoJv8URvvUZZOnQBZZC0UZm631
v7bIXQAG7eOuM2CROqPX6UEnny2oXN4e1ubEMfYI7DELbhJ3QvOhgipi12Mby+mx0+RuN5kF2Y2V
NXg56CcFT9vWmNAmy4DJ6N9E88pyT+etMlUjzdJLkgE0CkXV1Aw0RRRobW1ouJM4nCDPlFG2XFqR
+rSQnNAhlxjEaX5ZHm/Pmejz3MKoUUx70OiTi2M08asDdPTRMoUJu/VUfcCrofXCYPsraqdmzlUJ
uP740o3xXoLq4Tg5vjPI+9uDWZtB+6eJdlodfPzQMuBWpNGmEmo8U3dBT5dPtIM0WV4K7czbVtZT
hvMPGJnNaCtAKcHdz9C076kZwbOb58jr/Ri62LcNrD0ZiDaB7RepFBuAcR6NPlhl349Uqi7OrO+N
8UuZPRMdpDT0uzV+u21qYywLU9yRmcak6prKqi656To5xE7vnysFsEPo2wFeDbIt7t6PtAzkZ4C/
XkgejhCjhsZ72xSC+VqfeyjYgA4Ft7GNt58n9MJ+InMnd/0FKjYylF2bwxR5tuh22ZgqdCIwTxZt
uirYsJYHsY1poyQjjS8ANoYvSaaPO8NOKkHSeW3FQm4IME74Mej05yFxBoIr2oR1eI6azvCdndK0
un/vmi9NcDeKLcfSqIBo52zEQT6d2sN/+zx3o4RSOtcdiBfP1ceuzSAQfrcBUG47DivBsmovd8r1
wsiHqavts9JXu+Fz1Oq7/2aAOxSmBjLRJmrscwute9oBjiaoJK83LK7yqxFwN0ijgaIIEYR9nsrW
B6jGzdxBAv0hGJ5vj2R9ITIXAgEElF0UEw3myz2bpCNkpSs7vxTz0wzBGlebkb5W79+0SzPcjkJr
fDmDrCi/qA91PPm6LKLyWJ8KoNnQmoOUKaJIpD+W49BmVabN6KQXtPK69mGQReiBjYmCAZZhxBGH
c8cvuRGGqdZL6cXIXtGYRZTvSX+6vRbrRceDAfZrME+ytgz+IS9apcxTe0ixFp1vGF4Jyel4Vzmp
4DbcmKuFHe78ESXMZieCndBw3OpHQpy7z99yINxi2KnVVu0MA9WE4HfSPSW5t74K9kcdiQwmIqXB
BeZWI41qbVYGczyDBgzxr29TERHYar1hwZBZ5zd7MVYSQbntlJOdjdNZ7/0u8iNrNzYPt9d7tQ5L
E/zZQ1BFCpPAhIIi26sjohJYbSfu89yZI11oRfaIz4fKY/8nJJlrV4+l6ALZHASuWJ3xV0Efjrup
MiPNTehQTOfkUZIzd0Sv/O1Z2hoGizhRpcRNteq8m2TatolGh/P8NpjHIbyE83svUkpcrzYkGFFD
YAcbVwgPP8iSZO4a1EJPyZS7TqS2ri2Xtqc2tSD6/OjjW8TueJMQSSPbBaoQRv20vKhIW4+N2eQq
EBu/0xBsLrbi21nljfpjFb8M87Ou1x4BnNVO9mYXJH83Usyn8aFUwMckU65o05AOKniWZbebweMf
Z/5Uz/7tVVtvCwxTYXGwA58LxMfLYdZoPJDjelZPxrs8HGRRm7zo8+zvV6kWOipQpajweW2cgGZ/
iDuR5h5z1lbrhO0AkjsZWVqes9mopda2awMDGLPdOJY4PNSdCVRpAct+KkbLrYTdDpu78Moml76v
ikw3i16HzQFkd48NfbFEMl6bE4fAFwNTGZ8et/3QMFn3Zaxio7fugNiH+rfXfX1a0RiNo4pXDBVq
ZEKWCwNqkTCq4Iuf5nzX1Yfsqa0PlgibsjFPYEtGPhJDYDR23CD0UNLiRCv0k9SMx0QanhNteqlr
ur89FvYZbguorEfaRtAAgSLen0+bWO4UudFP1Jz8Dn0uofNqF89NH8xo+r9ta2NdABdS0F2MY4mu
IW5IdUeLwik041Qmsdeob1P9+baBjYVBRkpFXRmhI4oN3N6iDct8h7F5auO3caBu+b0BwrIyzrfN
bIwDVyhjHNbBaKjo3DgMjVpWmUnGaXD2quRpglGIPs+NIlWdGilWfL6V3wwZiU96LwjCUYGAQHzF
SD9AZso9mk3tJI0chsbJbEr3l5WK4AMbW5fl7dArCF4tOHnc/KROODRFn5knwA6bJATLguI71t3e
EYj7FXYQoUnOVmJ5CJ2cppVUTuZJHgbXKb0s+nX3Klt477GhZAgLgzpzaWBWi0SZxto66cq+j31d
xE68scxIa2D2ZYfR8/NljUKVRy1GVu6UowsGFcAd2d07AA004iAdw0WIzkP+mjJ7p84msHGetNBv
C6/OBOWf9QAW31+5diHepgwZgpOsPHW/s1JwM60PM0SrABBh5xhirRo3/4UztlZnKuFpzBO30xU0
JPWfrOG7JYJKrrfr0hC3k/TGjgdQpIcnEu3KR8jKiKRXtkYCTkRNBfeqtmY/nVQrHqI6AzzEKTyF
fDP1SzS4SisS0NtYEGiXIAsEGSsm+8Wduw6NzwrRq+hMda8In2JdELttfx/1MRXaKOB45CYqq4Cj
a/suOiPXlw4HIiLt2vo+HCnkZZAYwMHm3lV7xCSVWhKdpbEIjG56TJXybowLWDuubPCbtih6qKJC
Ue4Mgkp5zvdp4jqWaOuuBwLoOIJ02zJwsOECL68OJyeOVDiKfep8gKM70YZlD8DyzV5+nu23K8dQ
U5MiRqbDPs3pblQnT8tlT+s/dZrlhZriRffHcLAHVwQa5fByV5yYXZRU9aAmDoC4Nvx1Zy+4ytcH
cPl9bjymQ7O2qEKMh0K3xg/7F/n+J29pgjsaxpzlmpLChGrupc6t1OPtu5b9f35JGFE04wrTzNWT
GtKpjaiVSieVTiD+h9NZHmw09YSfnDB6u21ra3dd2+JSG1OSZs00w5bdBsj1OkBH320AeBMVBXcE
pKgfcv5BaA2WU0lGeLK/ENDly/Hd9IVwOBEgOqjmIwO4gkPIkT5YhtWFp/ax1J0d1cbd7RFsnJCF
ATaFVyekyae6bcI2PCkkfYh667Ec9kbuN6pvqt0h1Oz9bXsbO3hhjzvwpjRlmZliQJkh/4rT/pDE
+WHOst+3zWysPPSpTZSPdehsgeBoOax+qosmyTEskr1p5bMpSMhufh56IAhqsJNXfM0k1xMU96sQ
SgbfCvTVF3fT/2PdAQUCZRIEQ+FYcRtrTJS2Nu0iPDUDYE37Wr3bscX0QOwS1Qnw5qzyWYnez73Z
OsZJa/xB8bLMvz3/W8uMMIllkcE+v0peliSbWm0w9ZNe5sdGq9+zsdoDcyi4D7fW4doMf8Djphx7
xIYn9KLJ/8iirkDRKLi0hQHOb5AQOvqpAGtinaQetYhXV5X3F5MFKgBcVTaKnXz9rstISkpCjFNE
6E85dV5atO10hDzcNrM5WSYypRpiWEAquJt9qLreAu+0eVKGzmvL/ZhZf7PqDlJZrNbCsFXLU1dV
SlKBHAm7ilJ/yhsfHMWz6AbZHMaVEW4YupyjlDbAyJQ6rjG+5cm9JTUW5F8Z4KLKihR2GkUw0M85
eh2I+xdewsIA573JbYnWCjZN4P/ynRfLuT+eYaxhKm4mFJyRh+UuWbnMiB6HlnbSSnocE2lHK0Hk
vXEyFha4lVb1oQ+ZkNEplN7ndgchM8FW2lhl3KwariiQ6ynAAHFbqcwqVe4S8xSF01ECsb8y/sUd
C9kDHQE+sIZoauU2ktomjGM7NE9V/Ky/Quzt7uMGdCUeH6jxwhPkMeK52YbToBbmaSRf7FdJe/+L
zwPmhyQOA/jyL0RcKmUx9thEKDdq35P55+3PswXk3DRLgb8BtWzElSvHI9KcPKOVJJ3M74SOHnKf
XmXMXumIyuQfFMm8JVXBQ8248AHB4mqOpWJllBq9BPYaupPHXVE8yfWnZHpIlNSzNF+GSJRdChLv
G/v3g8scSWkHtPMWZ5SqDZpbUuqcxui9No2dXlWHLLo7CgTmC17b/zfCPeKRJkP8jBkpjNdyn9n3
v+E4Gog1wHYIPlp+/86aLMWU4PPII77Oqf41sqQfd+8CJLxBMa6bSBJDS3B5CkkjOUZFs/Dk1L7W
u9Lv2XpIREBJds64DQCgBAA/AOJY6MfmzmE6NilN+tA5UbTEW85P0wzC7Kh9IYoIEb+x6uysgINJ
MVDJ46stspl0DZ4txAPD/NAgPFMabZ+36sPtWVvfXeAlNhkpKEh84LRz1y/owONGD+fuHJutG4wQ
4b7/+7oCYWzAZIBc5PNhk2QYtBzy7lxov/IHo/rn/s8zbVE8HFDgBt/1ctF7yN9MU2G3Z2f6bMee
Uv7H73NXe1jRUmtafD+yPetyt7SrY0IOhs07fj9CMu5lGkE1SSeILV9m+dgY+/Zu5wBs+5h6JC0Y
PpWfeycPAX+ykuY8HCwz3znNvLt39j+8fjj/uoJ8LV/2l9Q5RCI9r8+A2DvxTg7vzkUuv8+5zJ0c
maFuZDVoeNKX3E2KWmBgfcgw82BOQCIQeXPkz5fbRwubqRnLrjpXEf3e9bPnDGgW6OLvt+dp/UDh
tWC3H8CUKMvwqNcY4H65GAALb8dvqa55s4SKDMAFeS0qYq2P88e7ZFrgi3MAF+MuQadp4tGoOhzn
Aexpbi1qxRB9n7suknaQEq3D97XInyw3+XV7okSf5w7EZNi9lY1td5a6yDO+z4YI17phAOhGHUGk
gSLASpTLHNuqDm25O+fgDW+OCgTn7x4BLlKE89hROBF8FaYsBj2hc5udSf612xXDt7s/b+G0obCL
XgYmyrvcsNS0ZzOvKnLubb+FzoLgNdg4D4vPc/OfRBLcqxKf9zPje30s+v/487nnM8tbLQQSjJxV
cL38qOx4f3t6tn6/4cCLMZn0FdLmy+mZZ0WlVErJOYt3+vyghLtJFYTx6yQUWrcUACUZBhcRKvci
9E5uR1QmBPi2s52UXtfEXkcgNGNbu6j6x2wF9jZ2LDCmgGLjkoIMDB9w60OZNdSOyVkeZbeIj81w
vj1nawMOSGVQjEYMhKonjzAd2xANqpJRnIf0DZIE3d3R1/LzzPxV0m6osioEeq84RyBIMUDeVyqd
O3SGYOVFo+AOBg58WyJjUZxrtyQ+FdECs42/9PuWo+AOBg3TEUESPp/ps2voX6Td3H8FLvju2wO5
WRTtEYfB00eRdTlZgAmCuSLJpnNTVq6VJa6IdGljmljxEC2cyDOuIUllBjXBXp36s+np/Vum3h1F
MOka1FahX4tohQ/mWwli8kMuj2cleS5zx4uj4v51ZoEKQCAyEz7k3WLUSJp5bp35nCSP0UPs3B2n
QHHk6vOcPxmTKYqjAZ9Xzfc+P5u722dtfT/BDQOvBvo4oJwHh3i5vk0115JhlvIZNfzJz/JC2iGH
Zkde1zVCYlB+rVEdhqgxolXTwF24khPSM8R0ea3Rc60cP2fK4fZQ+BPx8XV4d1D+RjoQzs1yKKYy
j5RUNT3b+Wy/VmZiP6OOYhzrtKkSL0vD2rttcD0cDMUGvQor3IPkjpu73rYomjmSMYi/lvYuEsHb
1uNZfp57OmKg7Alp8HlthoZU9xWC6Uq5j0UlJdEouGlL5bhRIgNmICld2S51BDtM9H3296vrFvFG
5LQJvl84iVvPT20mCCr4LQzHEihfnD0AltFTx5dzlTCN5WEah0Cpz4rj2zIO+dvdK31tgs+yRFos
pQ3ypoGiuk3txQInZ2OKmIgEenIcdgz5vg3iaH2davkQ9PIDQFGOqJC79X0AJFAKYQgEAECXS9BL
jVJ2STwESJ2CEY64908PoB8fLYAaToPCeSBqlGS2Bu2AgKiTmzipm/9ze/6ZF3b92GGJUSxCrI6H
Xweyi9ujXTK0ieFMbWBURyl81GQXsrJ461LpfNvQxkyhyZCRzsGZZXpFy5kChjjDiQ6BFTXdMPIV
gesh+jz7+9VZSC0bcmoVPj9m79L4Xb+XFOFjnq5+Pjsq19+fk6EYR3xflr8pTUCC27OzcdKAaUC+
F6l11sTMO8s67ao8LvogHoqvddXurVFy57wQPHkiM9yTl2u5hgpF3gdJvVeGX1m2K3uRYtjG5boY
CrdlS2MoTXPCUJTYD4kvZTundqVEcLDZV1b79t8J4+8NEFoRJFNgxZAek1JyQdfjUqP1SPIn679R
wJR7wQbmgwG2A+DlsVVC98Oq9282K8gzRg0JWiNBA4fZjI/IxdjfxzC2jyG14rc46dtDpoyZiIPh
oxWIGy3jqgDc7/+o2rg5lSoCWEdlkSCezeysWz3N3LlJitdMQUiSkZru4AcmL2lcJZee1kPq9mFc
P5DEoX5Y5FPvVtB+fEidxtk1hhUJHooPD4D7gXBYMVz0OjD8O/dgO1mdZyTO04BKWXpoaRrmXlza
5YnOxHgxJKr4FSWSNxBDfitsUrzSUNP9PlIVt5fr6VWK1fr33Wdq8Zu4u1lBv1BYo1claOf4U68X
vyVoY6iDdbxtZuPmgcAS7mhwUUELzebMENJNzqziTlDfLGV3txgVth1cKcSgTDkIzQXczNKkM8yp
UZug20vh2akEF8/Wr7eBBUNaCmQDqxpvrCp5rbd1E2SDZ2S+MXr3zw4Kr/Af8EQiyuEutnwcLBnb
sQ305Ikc+vwvJv/689yFFpLWKLUWn5+Ns5G/13cG5Jh8xq/CigAAO6x6Jec8kbpEktug0Xyb7CJL
kJPcmP3r7/PlnrqViiQO8f0x9fXQHQXew8Z1v/g8t3fK2TTKopvboLTnl5FOj3aTeDRu/NtrvHHj
wzeULUSZSECbH5W0q7eR1M3clbLRBHIV+YX5JvcPPbS2q0gEP9+6B1H3MXVQfJhoLuRLS4UWmnWk
dEWAn6N5QFGWftyY1HPKTN0rnZHuZpNWiatQCVKEVdSmv7UoKwaPzgl5peU4PTRVB2rANKPoaomB
lxOkfzemHLUJ1uXOwlZUmpd+wijluhzZRRYM/XjUod19qLOE+k2ofb096VuG0A2JIi5QOBqAa0tD
el7mlpO0WdBWxfB5rpzhaYrq7tmOolZQlNxYXywrwJBgjAC2ky/pavaUJXklFUE6Hfr0GFXPQ/I2
VwIrG2eBgTOYIBsyVJDRXA6I2gWkKnOrCKrkWbH3qaifd2vCrr/PXRX1IGH/lvg+qd9U56Umn+xU
cN5EQ+Ceaa3uJ/SlwoSsPMyvpuicsRlYPrLoJ0EUAPoEOCEGD2Nx8l6NO1ObgkR3Vf0b6oSyuovi
n/TX7a21HgbrW5GZJKumsWThciU6muSWQaYxKMkh2aXN4e7PA3jFNKKBtERJhluIVq0Tu9VbGkz9
n/jQ3Iv6h2oEc0DwUqJTH3uJ20fTYAypHDlD0EI9QHsv7gZX/p8BsPMAJ4p0y+rBHwY4QUY2BmP7
S7V+ZXe/mEDKI6mGeA+aoMhQLWe/mSmqbNKM3EcUeumDphsCA+uDAAPMiQWwCxUAjdulo5VGwIfW
U2Ckhhs1gS2fwvze5lpMkg6WOKB9AAXHw8kBGTJ0WBGrToxApo+67jed4J5d30mQuAP1C7JdYC5B
eWc5S7TPYvTv5GZgPLfyF7vKdqlT7gzl/fZeXaFA2DgQj+E0YMqYC8PZCfWwi+vECpo4UP4BT7Kk
75s/w/wLnDyHqBT40RsnD9YY4Q8C5HUFfSxi5CRnWOtjsFcHZfEXy4LBoAqNshgeUT6fQCPHLuWp
6IJMMd0XBxRrt+drYwD4PooYqMkA/8G7ewNUO5oYFDkBgMmeuoNgkWDzssuBuwMZeAx1HxW954C4
LtcDbD9WgobhLjDj0ZPa16R7bcsn+6Ke5Vze/cVgrmxxe6zIpdjpQ9iSIIlQJ55Ui4CcG7sYiW3g
sABIRYDHK0brExik5pZ2gSF/6lvtYKeDO1kKuEVEmjpbC4NcNFhrAHNmDYncvDVZjhilQaLqR2c+
RNbD/VOF+AcXl4NeKOS9l5+Pxi6WIpKyoN/trd3dlTEcQxZf/e/73FKUSgwoVkj6oKDQYvYySwCK
29pW8F/ReQNXf50nrCpN0hQ0HAdE/13O39r4V9X8zOTv+fTHUERyPSuOQzYawONRPIZDAoIcdkNf
OczGII0UNIN94EyOW+g7mRzatxnUjZ38bmaekx2L7LH6WddeNXtj6JP8hC5bBGjoury9bispKf6n
cPuiLB2nVyUNzaJW5dbSp0H6PiffifQpzZiigtEFNH5Vk/NtsxtPEA4w+COABIVbyTOAgvJca/I0
xjX0tf0ObAEQALcNbK0nSAAZ1h75zRUPhlYN1dBGuIcUq3qok0NlaA+N9KSnxFf1gxT3gjh0c0AG
w5WDjYH1kCxXVLbrJGsVpw1Cw3htJLTrDdIbfOb97WFtnWKEF0g3gMuA3UxLM+NEilqtaBNAdlWq
HiQRQHdr2tCKCc8MHiayGZxr0MWxEXVR2AS0eO2iZ41UD1V5GpLneHrpcQveHs3WpAH15pisOsaw
gsvR6HPZla2mtkFlJGTXDAB1xfNY7yIw7Pm3TbEfzj0boDNgrcVIp8Dn5EwZoVGayTTifhppvy9M
izyYdaz7IX0riKvE72U4ar5aR+XX24Y3xsgAXyqqWCjqw4VYjtEEAMLKwbQVSDWycwmYuB/tSdTu
s2kE++Kj5QPvIlvWq/skJlasg/CyD6ZoV8i/+vJ5sA3BYm1sPfujkIwCI4IQnpFhQImzJLPVfdTM
oPk8m7HAwtYaAUaD/YC9vZbk1pRsRBG4GIO2a596QHzlgRyG2XlNrfIFZDpH2qSfzCa7O+5UMR4b
mLAPDkF+YBk6WqJBtfsgtabDN8mcDrd3wNbEIWZjUDAVvZ18FVsZp0an5TQE6R8p3ssilOrW2mN/
ffQTAVovc1eCog9hUc8UBbQBbwX6OqNZccv+992DYMEUkpzAjbPuouUOa6YuHLQKWcjki/KT/rj3
40AJo68W7wE61laQ8dbISW+ihhlIofYI7+7JrPXzbRPrWVqa4PyTvmztsM1hopNHj5b2AXLZLw4V
QQo++AmW9wwDPCMpg5VG+MyjJPt60mcta2HHsb+HaBt2S1P+msXafgrtgCjZcdLA6GpAktUdekf2
zF5+KmT9m+pMb7MefYo189QbaEGUHGv0jXJ4tkief63HKfyqV/lvoIYmt1GcyHdSE8wIdum4tj6+
a21PXUvqA1ypL/pUl26f2r9ULdGhBa0Tt5ijr1HVHKXOes+m7phMisiZZTuNHzsK9gx+AF92BQiJ
1GzUZxolQULyh0hvPFt5KOh8HOzpWEoiIvSNkgMYSvFoMJo5lnvktmQ/1JkzdRoJ0kxWPDW6uL48
mRBwrKrWh3PlSn1nu+YcF99MUhee0TWqN3ZJL3A1Nlwo/BBGhGUBqIfGau7RpG2Noic6sAJCLnMG
8U15V6dPZfhojy9xp7mZAvni5qdjivDW6+gBjcm4Kz84Is1Vt7UEDlp7ttI0mCtIHsUESPjepC0E
2bW3Jsp3t4+Qws4It77IACIHCOmwDa9VVasqhxIyCaaBHuDeef34FMro7O9yr5Y/ZaCNLpSvoWa5
Zf1FzQUP6foaZcB4aBUjqEQbF5/6TXPwVdBwSAMr3bfRIRJFxhs3xOL73Btag3vRkdM+Dbr6TS4k
N5nf07upVkHtuDDCbZXaNOeqL8c0kOOXJi39qv4R9qJ3VDASnfNFp3w2I2NusS1srymPk/pgiSBy
m4sB9jTm6cK74TPCkYYgNW/mNBh+EXvvKIKyy+YIrj7P3dYtfGwno5gmhMJD4Y7gfxOVEtbOBlYC
OD8MAccWYevyQUuNMSezrqdBLu10+nUKUy+ZH0Pja5crbpGnvpb/vH1+tgb1gUXGW4ecGH9fFYY6
GY1dpUBalK4Wql4sv6KELYgQNi5hkI/hhWZhD3L27FdcuYK6Ougq0WusTOVHod+nbhgeUhRjhrtL
V9rCEBc49qpRF3oFQ7ryZlcv7fH2bG3tMBPcPEhCI4lo8ZWxaWyGWu2yj+Pep/tRsMM2p8nUsBJo
hkGgw3lNzdihV9RooB6gedBMlj5pP6CvVoj04jbXHD8eARtSucjbL1fDTPS6ynQ8DfPEek7VwUUb
++2J2hzJvyZWxbdSydXBNEkQFTusdqm+2Yk3hLusEUUZG88NWLz/N5iPd/Bqa5FwDkdoxpPAUdyO
7LNhP0NA8l51SnZFXlvhzn5TtbVdDDYJwFc6jm4pwlJsjgKxIEhpgQtzLG5JUtkeJdmM0yCknoZM
24TTfjTK4PaqbG5fIHmQTgKyF00Iy4UHjXCJQqmBVYH6rxl90SBWdr8F8Jcx1m7ALmBoaUFX0l6b
jaoIIImkJPtBBC7c2lfX3+dGUDRoIqNKWwTUuRhg+kyQmowA6ZbJ1yEVnEY255xnAdZE5MOQfgMf
Hz9bVZ6HiWVHZWDE1ejORv9HHerOzWXztWsbT6KjK+n1Q9ney1eDzYZmNWjr4opBroinSwX5cWqb
BAU7Ndw11t4mAt9w4/w7cFrgs7DAD2jg5SKl6dTXtZHnQd1Inzqi/Eid7phPiSB7ubHbWI+LhbCc
VYL5JIOat4CakjYP1PifHwYRPFyir7O/X537hDYNOteaPIjVz6kViHDSos9zG1mbgLFokA4MHPru
7MzscvucbC0BOobx0MNpBPMu9+tHyDFFc9eSwIDoVnGWjPO9nX1sE11b4AZA0dqitjWzoO9yfTe+
3x7AxoW1+Dy3hzSzHmajBe7MzB+74cU0iN+UIN4UVTs27SB6hfNgAqLJp8iajtpG2hLY6Z5JWu9B
37XPoDqdViKSv80lgbYBq2NrwMhxj287GHo1aQkJ6jx29Rkyt7ntVqByuj1xWxsLZxvSRVCgQL6U
S72ROc2NicYgwyT70EWp/Pbnt+YL9VOmNAPIwuqKRyvqbDdthvmqPtFG8Qr7qS3ewv5uYCtiaQCX
EeIyD4JH1rVtpTcxiBOCuaCPzVzu0lTyb49kvR6M6g/1TdaZyoBmywM+6I2TosxKAjVtHtTiUqqd
V2T30hoorFXkygq36rPZdNBShaMCdKiXaWe9FGk0rRd8aYEL4cIplFp9ggVJL33H8czyXkYUfgyc
82C2bWEWEfw5rTnE1ZGWT/K9TMUfJgArQKP2B7kjV3BW5oiChwOLYcaSN4JjwFEFkfTmcl9Z4Dys
KXIq5MhhYSTv9vAiO0j1H/9iR6GLDWliHBBEPcsdRYluQCoZ8ySpqdfkNYgSUELtRL7cRuoFK/6v
HR4FjBikB6M6XNLuK+ldPfWL+mHq9vZ+tLz2Pc5cKmICXLsqS4vc8hjqQBO0YZMgKVqX7kv4dVl9
HPJnW2v3GQh40+50ey7X98zSIrdc2jTSDjIjJBgYsZqfmgc7cXVRfXhrU5jocQTbHXTeVnpDQ5Lk
U55KeMSmUxd/m8JPZfZ2eyBbxxOSgg7CUwap5Ms9kt6UfZxIGWKu2FXCz6GoyLNpwEB1gjHuAkjG
rQ0NRwg3kTqHJNxj6Ei+XfQPt4fA7qilo6rjeoSvpYCDBDcyZ2GyZpVCTzkL+s7P9MyzyXMFTSuS
eE4iuJQ3BsNy4TbLcMI15gE0eQ4YuVmNURAp5U6LnyxqCgYjssANxononHUSLJSfGm1XWXc/v0z7
g4mmQHcNUCa2467cRonUZK4GOQ6K9lh6VSq4YjZ+vY2KAdKt6ILH88t9vtBposhxVgX1+CMDI6DA
6d04D4vPc28ilDyruEU/a5AmHnTkPGKOvimq3ayPNiD9yHH8P9K+rMdtnOn6FwnQQm23srz0kk7L
nU4nfSNkFbXvEqlf/x3m+fDGpgUTzsxczAANqEyyqlisOnUKdD6OoOmTrkRc/FPs9VP9opOwrpoQ
oy1COzsM5s3vg3M50sVIWN6U2gg5bvcyNwGff143i8uzQPkMRVUfwSPAWHJZ2nfKAtjEPH0ZfjjO
A+As1z+/sk0wBQCWYAyCOkNS1DFzZ31ClxLwiN5XR+e77Fmj3d6x2q/XBV0eOrKzeEqDHhUai4np
5yqbtLnH03KMj732XI27ZNk5qhfhylZhcBQehcANoioor8WsLZ81wMq8JGzbfK9VnY2qz0uXBalI
W5s+Pq+1b973ZlDg0y79H1hjgEwDOEAMD5KbEaqur8zO7IsXzPGyrBdafvGLFycN49udByhk8GQW
OFHYBpHWYQPX7872UL40WhnYjha47vb6Wa/sFNiv8C7EhYHyjS0Z+ESs1BmJV718BBF4wDAC6799
X7Jt4LGJhnb46oUsWzIfqllxFKrfL9k0+h5mFGvw+012yNnOU2zPiikAAoJrx0JzN/jCpAjOZk3v
FUVdvEwi++6821m+QVu8QsrKIk6lyFnevmJVVxpN8aL5Qf3Debv5CM6+LvmNnPReXTpV8QICjYVt
e3LzFQSKMzBDCVJBZPNkxPrUzjhfPy1eMJq1zUKuInhZPYOT70tHbBnxkBc2LV5cAnTMblk2pWrI
jkqEdMxs0VAR9bPixSQ7n4aptzdUU+BWvPfpLsnQqGwqWO0CrfuSe+70U+Mki4wiY5vJL4Zd3o0q
jJTYlfMYTQz/BN8LWvQw10MOM+3GHpuh9/OXAtTTVTJtWrTO9nYemHQPThV0OX27Vc1Q8UaxBchB
3B0XPca5GZcZJsgXL532zXTywCu+/DcBwopOIqlxpIVlNi30rIuc9q6dd//t+0JJTr5v2yypOYOt
x8sBg1OV4NBLJTvfIMnV1gn6E0cfG5SUGPoaTv5TcetUegDW4MRFkABSODRnSt62iu3Z4ujLweDK
ALDFurzZm+P7qBgA2oCmGwSc51vk0qQukzJxjmb31BwcVaP9pY2cfV4O9pem6UiVa/ax7ponj2i/
lpl/RSZj701ZeP2wV0ThXhUMMIIqDM79fCVFW4zMGGN+LEL6vaG7qdrwW8ck4zTQnyW6oFAixltP
ur1L8Fv7vT3px7x5nsetfvvb6Pz7UpzWdqlrFhq+T61jMzybqlmlYg/OXYiPdzAKAsCXCCIeyeDs
TLzHCgdgabNMDuB73LK0ewLD2i94498t6+5HMtB7n77ceDZo5gKrJcCC0DNwwkhnQ41J4ws1x6M+
ZEFNAowyDXT3czL9/Ac5gI8iMSMmQcrr66yRaZ6O5ukUrdn9FJZt2JAmiK5LuTB7rAJU1KYIdcH5
Kr/QYja6bZnVANZVe1SjqRtajcJzXcSjECG65QWXkcDgSDckNY2RGmAKPy52d9A+jlpaB+kYtknV
YSZzv7++IHHsZ2ohpKFeBN4bTGhA+vrcdLLJKxxvJkAtx/tyOHy++evov8WsVAGCu+Tu9npQfWm8
5Ed+j9Jq0m7/0+ct6cdr0zT1xYLPz96jsR+zW8NRtMqe/Hq5TyarYsvpJnx+0HbJ1iaKg17Zenxe
9HsIWnCcw/nWF0WDRgzH5Mfp0agP0835yj+//u/npUixMJ14il18HvMYPO8DyT6k2q03iEDaC7oh
AFzRVCeP3nC0FC2odasf0z4Oynvuq6D8K+YGAYDEwa5hEnK5Y6iZ2cyc6scKA8kTzQpY2W6mWZWz
WDkJTOLEvQHIKRE0r+cnYftIJMCy9WPphA0LPVUH0doyTr8v5J8EI2zS/YYyfL/XP5bpc1XvlvRw
3RRAxoiPSJYsJpKLg0DB9KKTEqTmHvqureWY8Jo9dT43tnHcjIHu8+8cSR+HtO+9rf2yZlrvcJ4U
rriPtMz7YeaGHeDymX9ico5137kkBrlP5o7PqZZWG3MGE7ve6x9iO320hmbZ0qbWtqxM/QdaV3Sj
M46EkuMhW21k9G7m1W+dp11IRqfYA2BbPdGepj/x7PVZkBN91nZc8+uPaQ8yMm9xp91EzWqP5CCK
KFVal0HGHGvfTy35Ray8/zxZxk9aA3VgzG0WFTaCgfvSbkLfbcPZI5yj0N1WPNDaCnMUep1vM55o
Ed7a1s7g3rz1S5eG7aLRLHBoPLwhDTb8JgM3wrT0xy/5MA59WMzldjaTjUn4sOfVbNLAmWznCS28
WjChC/pY8db90vNxAFueXn8q0nYIMdITAyodu8Ho1gngNFr0UVPz5WdCrOmhpuiCz8tl3HipQTeM
TN2urTOMF9Xn9qX0smTTFTVmHpbGtMOogz4Y0NP0w9J882C0tPzErAZIAVAuxZu5a97TxS13s8b3
rDKK0Od99oZpuEU4tX36sSxodeBeutwVbdtvQMXWfPALo/w8eYu+XVg7btLBjDGXqvS3U0GTwFms
bwU1DjMmkm2s2mKBVmbNZrLy4wje9KBL5mTT2n0eLJP9xTXct3IxDDya+xLphRqEHaOnB2ZFDzqr
P1uOCpC1ajiAoaL5ysK9LldVAc9MWj2PFwBntul8l1hBWyowX6si8LgC1SWKeZ6c56N2RYnRLguK
H3sc/pQfUtWg7YvwVLzZgJ4WDOWIhGSUXIIOtsbK7QXFdGdjdLtce7LNqGI3VyMlOeJ3nLiZLnbq
Jc+d5Wh0ofMToNnrLmbFSwLvb4F/BJQggNFIF0paZ0D8aB1aONvNUoSAxv6370sRdsu8AW6yd495
ubVtM2AFUdxXl7U1pN4cMDr8IT0StcjzHWIDNWkOlp1jSwj6UE1mzt/nEoOeyQSYTjBYGGxXFKZ2
vwgyGg9jCRz6anLv0/WVXuocQnD0yCFBjjsH7/rzn9EtBRmaKSVHi9Cginck3cbOj+syLk/rXIZ8
58xj23UA6x2NNPSfaHtz8ILPi3wv8o0gfpY5ITyrseqaudbRYdp9v6mBDv+H3w80qyDFwHxGObZA
uburhsQhxwRRvGcex0yxgkurxApOBEjWMqFRNTGYTRBn/wIhWdBlSdDm6FdUZWUvA3oIQhkBdBPI
3FyAZK2WNixPOnLM83uQdVjxK+df3Ono19+ub9maWmGSOMB5Ipa5gEw5U2HOM88Ieqz7gHb3GYD6
Wfd6XchFKkrQRIkRTGjnxitIdmbaYBppMjDraOpJiNsoQLDRkjtjfK3pk2MqpK1pMQDZgOYDHw/g
ixQj97U+D/o4G0er/cS050nx+jFXv4/vog6DwOmiRGxwy28XZzKO9XIYCxb4/HfeznuUdTdxBSzl
3vd+5sMWWMGsfZz1BO3Z7nYBJ57dPcxWEbROt12qo1E9zcOT7QQmfyaughZg7Vgx3+z//0bcIefe
YulHz0p87EGaPbeYhFtu3Cm6fqhr2yD688E5gAAYnHbnIgqHZWU2dyZIPg46f1ier3/+kuMGSoMA
HvbmOGhzl+/xOemGkdoGNJPogVt7QWUWm6HtQ5MXoUvjbdo8Fo23M9Jfcepvkvq9rg6u/gGjHG++
ZMDhgM413PeilCuXw1xn8Zwe6ZFIz7pNkHuqERuXXuX8+5LbbYwpzfoM3+ft79lyt8SE9hR33jAp
7rLLIzsXJB9ZC66xZoYgC9AJsL7n6aLYqtWliLhIFA5xV0p6pzkxcxvu2hFazL9mLX8ZmgaM495z
Zlm76wpyqeKmIB2HMHD7Cgd2rn8p0RsyTqBZ8iyANFr2PNqYulfEpkLO2qadypFCjDrObTcraiei
wxcL5svg86+vZE0CQjyAoTGRS9DLnq8k9+eZxGlsR62LAbDDENw6KhKWhBoYIG14qIKUQn4SVzTD
sBjcNhElLNDh4Zt43sJu/mEZwJOLkWh4VMogX01jfMmJbUc+uPj0QHNUrUmr+ySuEAwsw8AeOTvc
JwXQB2yxo4zlD3nWf8odVSLtIuMpdupEhKRUrjl5QHzrdpR68aZc4DZLY2vkc9AV22kaN1yvA2Df
brdLQboAXUb2Dp2lUmzn4wVsG5OjR22CjEXgGwoVXjGVs++LjT0J8inuXqdl+L42biw/JOjxebt+
9it2fyZBUmE3zX3c8JAwdzvD+5oCI/8jU7VDrZw/3hJIO5pIC8P4pcOZ8FbRvXHWI9f9WNCPumKX
Vj8PThUAHnDxIEQ93yUtQSf8aE16xH0vmMjdAHTx9V26jINAM3QiQcprx3OjDXqMBVDya/bAY/i9
4PXGdZ5z87GYJ4W0tVM/kSabSxEnfW83TI9GUj+1ifW9W9x7nszh9UUJl36eQzpblMxR7U/VRHsd
i6ri17Q/6ukH06cAOvaYHKoQtWKdwtUjmESJCyyQkgK4QIDXBKxWUeXfldUdL98WswxnNu3T5DgM
3q7qFXHU6uIc4DcBPUYzvuzTSD4vrauVerT4ZejmH3P6GoMDOgNw7/Z4CvsoggygPdDK6kvq55Yg
ftOdQY+M7oPfDKA8UXEGrRnpqQRJ/Tjh5mgOPRQioZsx4W+ZE4dFbAezkXy7rhRruicggo6gLwcy
TdjaiceB9WZO0qZG5HqHxATnaeB/+m8SJI9jxzExkCI0osEFNrg69HHYcMUqxK+UVft0FWJDT1ZR
Vf5SlQtk5CRweViq5lys7hLe9CjdIPl68VJJODK8yAUa0UK+keLRB+XNdLi+TatLAO2oSL/g0S1X
hspkrv2JVkbUFFMwHTxkC/+bAEmpzErP7XLojWi238bdoDLAPz/w4gz+LsCUXnOkcLrWHFucc189
tChrN/b8PaPeMY+re3iEg+O1G2ep9jEb3qqWHIw4208Z/95MbojZBiHFIOahT8MibxQs0qt7iyeQ
4LvBzsrFcAwDSDu78Y1oolsvCdHE8Q9b+/f7sgNPMNWUx7ljRKkBBuM7pGf/4ftA7KD3BPn/iym5
qI0UyRSb+P3Oqzd8er3+9VXl9pA5wz9IxcrvQ2fxC95ViRn5VgssBQvGmW7neQqvi1m7U9GL/4dt
C8wD8mvfHHvbSnpdjwjP7ly/3BqVfacPc9hWRh9w1n4zPBXb/ZojPZUp3UN94rZdUkBmkpqB5t8t
1YNptYGBEezXF7e6hyeLM88dUEFnkMUPix5NJAls+z2pp2CpFQelWo0cfU6TZbcahMyMfkhhJRxD
Gipj3nuZagDtJVmFaDA8WZAwqROPWuajG/OJ6+J9GC5GVM00KBtU+OG+xzzyXTD7A09edV9q9pn3
hy4+Xt/RtcVi1ieCBzCPIXcj3bKDXi0WbS0EeXZQjh8xSWBJNojFrktZU0qMs0GkAlAB/iNJITW4
0VHoxJbSD3n2sRs+aNMnh78yo9/qvSL2/sNGJbvIU2mSC85aK2ZshjRwgW5aVmz0zglK+i3nSVDX
PEhxd9mc7uLORhdNE1juuAFXNJ7/P1p7OtQpQAlmHaaNjSrNu8vnQJ/4lrEiNLwmGCk4oso5WDTs
mPPRNPEx2wiS5Es2zSD0Ban9SAJa/dTdBd147aa0360iDxtVL/Fa9HeyTPkmQNXQczSxTIP89P1f
VnyXu4htE5TJhqAhyd2iysKumd+pRMnOqWemadzCzlHeC7s23/st2Rvt8Om6tqzq5F9tkSd4DUD5
OkUOAxz4rpqfmzms24OlJIpRKKVMZytYeRtdx/tmSdPXzGA7v8p3deftHLYcqnz+aFfFbiiqZxJX
j2NRbvus3GVJdxjQ6E6deT/qfMNJ2UGBVIPCL0lV4BhsREAEJOwgpJA5fee08fvMFxZT3Nf1wa8s
1JBfDXI3do+8ywJtxnCl7p62dDP7xvb6Aaxd5KfCxSvgxCt5+Zg6UCw96vptfp9pis+vPSLEsPg/
qUzAgCQ1ciwwaPY91qYXv3uKGvpg3LHh3WLfKFXBW1YOWUzSAm0xXhGAVwhdO1lKnk9+r/mZHqXx
Nq93+u+G7bm1s41PiQouuSYKZDOI7y20yoK87lwULXLA3yjeRoNN7ywn/1h56ZFb9Xsed3u0te6Y
xhV+dcUg8fLDyqAtKIHJtFLoA6JdXFLch8neyUKbbqxccVgrunAmQrpykXWa7JFgVdpcbYz2DRDB
2y/1MwnyfUtshgEkOCJkuAMveWFlHygrVapliL+f6EFRafNscgiJ85e+v0+bf1kEMKBQZ1iOK+Oc
knHMnU7DU9zENAN6mMd+w5SNbGvHjeGhgLKKpv6Lep6zGE6f+tYSja7zns9FCKzjr9bWFDHBqhgD
T3xkkzH5R06/AYXCHFa6S5TZj62WgiPsUz0oyhkrPh5k3H9lSOehVS0WKZbiuU2g1UMQYy648Zin
CvVVrUX8/ezc5yrzc7JEGtnSfuOX+1rlLVfcmZj/goIhoN6iaHgugiGDXQ/EX6LEuOPsHvTu0+fZ
vhliAfJyYE+R6BX17guIRTc41J30JeLGvuv2XbVvVLnetWAUERGa1l0TOWW02ZwvJM9dhJ4e51Hd
GO89ZodxAGXQ1voMJp79NA578Ppse3Sy205x5wKA0w5TaGIExs23D34GyrxIaIGMXK7s6/6keaS1
eORssiLfgCRR8c5b0b0zAZLuWWNSdrR0eUTsh4Z87ws9wFWqzfvb1wH8IJpk0HqKyrW0nXGfNBNK
GTxahg3qGLlim1aAGOhigEIgGwdGW/RDScdVGrFR02SJ3ET/2FrlpnYfimzZtIaz5caTExdBZz/r
7o9GU6zskv0clotGXZwRzkfUsc9FV01l9vmSW1EJ0FMYt+0Ww4MGXORop8iT5lffuz/nbgwdG0Cg
nFAFNefaAaJZGJgGFM9xq0sWN8ZmjiyLbkW9sxu8H25DgWnaWQoXtWLXKH2gPgSGBRS8ZC6oCdDP
pc0NK8qKx3Lowo6noAX6XdU++DQVSI3VFQn+OvCBOkhLSU8WEyzcFh8tEnkzJiB9c0ZMcNLApqRq
U1+TA5gswBSAA6ykODqT0KJgkJP1W2Lf96AcG4PCV/UPCROSnmAgufw/OTKquEfR2Z3QiRbN3pOb
tiCdjG43rlMBUgyJwgHQLRYE6DnGbUW1KrW+dvgOyDUE6hoqLh9+OlNkumudREVTsDuUKctHWunV
vtRMDO1stGZbLmm9vb4oYTYXuwa7whRyXL5IFZ+bVWnHVk212Y7q4bHFhJjq0Rhuz9HBH+FiF7VV
tMJLvq/JNZ1qWWNHS8a/mBZ7WyzVVNDVsz8RITmHOU/oMugQkZJ+a3hzyP4hx3q2CKHlJ5d6mXpD
6ji1HRUYwbxl5sv1Y1gJ5NFHgtZlkLUKrjnp86mx0LRqDBI5Q2jHDyS9951dlj9gzqUS67B65Cey
hB6eLIX3gLOicYlE1WgGhbnxmnBE3uD6glZP5ESIpFfj2PGs/yNk2PzSb0ewA5WJxhgbtIIIgOXQ
JE7TnpkJha2nwz1qumHKtH/R2hMR0gLc2QT1ZpuSqMbwuIcuZ+mHOckNRVywZvMuig8OsN+4VXXp
WmE1ybzOrSBlKgMP8Fwv+Wl0aFMZw0RjCmFrZ4IqBCYko7qKkSiSA3N5wzS/aUiktYcmOxxuP3Fc
W/DyeFqBe16ywdxyirI0ErjHItC+lSqClTWtPf28ZCFVPTo8Fecxka2dY/75o0cUjSMr2S3EoX9X
IBmGl5TxPJVYQVLt0UxQVyhcHDArGd3rdcBUlWjVgiQFw8SYEizIkGY13oY7TzMQ2m69v34oq/oF
fJgriqeC5erc1kEER4bKykjkp+WG82aT2N9Z+3lwkTLkX67LWrvoBTgArXYIKVA/PZcFRoTO1xvo
Mlpngjz/7Exa6FafBvYP9/CpHGnjYt+0i9aEHCNOrHtmtmWYcNyO11ezaiygRQD3K0p3MBtpNX4/
NznLScTYs0e36agIv9a/T/DYRSoFrW+SMdY5E3xeC4lsum+KwJ8Vv39NvcAtCb42U6i0bI6o37de
0TRmZM27sdqhNpIXigfi2oGfipBMEqWRuUA7lBlRzANZQmbe13STq7i81zYKLBgGeB4w1BilvvOD
GJfE6xzQ2Uf50HZBNoKQ3MypqbivVteCBxO4dBCD4ZVxLsVL7Lp209SMTB+Ne37hh3k7dEFl11vN
u717D5VgYDbRugkWkQtOqjlONKc2UJezMZr0bVI901bXYjlA6aDsDyCgZIhm1/kLN3IMAeVJ/Nkt
mbXt6q5MA5sTbePbs/0Prh+ZAuQgwUeEKSrSEc2LVhvE6k0U0R/d5sn+lycEvgssAzh4BTnn+eFw
204ygI7MKK0fWgq2pl+A2QXTompIXrUZOEm8h3RgAOW0itY6Xh8PDpo8tGWjL07Ye2Tj+jy87lrW
nDLSp8izg6AGDQXScuxpTJCbxfHPlb93J/4+xs03czb7wDRiLyjNRgU7UUmUDmiwbScrMeE2Gu2v
1Hstyl2MmTrTq+Ur7oA1YxWU6CL9IOJZyau5xmQMuq0B6wBUtTu/01gRlq3p9qkA81wVQKBQkGWC
ALe7S/1ts9yR/s64eaQzYspTKZI3MKrey8oa+wVU88J2yQO6TGZ3n8aB9TuOFeqwFnag0RrgfBiQ
yOSeL6lpNHOwNJhrOmXFHUma4VOm9y7eAaVxl7Zo14SqC+xL7maYiQ54r+IHiAtTfgMiIgRAAFNp
cHSSdvCm8MzSL82o0MbH0h2iHCOKWI+yolvT/UjrR0z33F63gTVTO5Up3R1JC6ws1wq4wG7b/ayy
g5JdeVUV8UxAWQQ5ZbRWnm9raRdL7QsnO9nHoX+i7O5fVvD3+9IKitzE3FM9MyOkyYLe/Nmhie8f
EFaI1f/KkFSj5NnS+xNk9DGuPWYvbzAAM0jr6e36YlSbJcVU8EhjZjgwK8CA9jWmKNiZCiWyfuJ/
1yKForM2Z6whEIFrPg3iqdwkmbnTbE8RHq56CEFUipSWj7hH3rOJW+jodA1oVph80PRN94GpOD5W
13IiQ9ouF/wLmoZ0JWA775TtBuMwTr+vn8iqCPC4AJMm/pXrbIVf4bVZY7vM4r6Kv9YkDfQ5VkQ9
KiGSNy1AMDBmY2xEQKkGk/1R7/xg5Krre1W5TpYiedNsbNPSsiHF1J7d7N68PRtgCTgJRr2IBBaY
fM8tHZ3DE0bE2sjNorW1+zbrty8AxIegosQ8IFxpyD6fC1h0E+gADWlZ9rA0TlANN1OxiREJAGqB
8fYPh6BkG7HBGSp5Nh4Dmb71WL6hi+Jte2kVKBCjIwvEM6CmwSjx8yW0jC3dwJBctBqePCaz8QqC
AIDBivrod6qudmFi5xcK0piotYNbDtmZi6m9STznTj6WJEKj9ZJ/7ZYQHAZ68m7dXrexMIJOyACC
ExlGod8nqay+49RPu4FE8Qfm3MeVwsVfKq74PIChYqAZXiCS4rLBBEF0hjeanj8gP5P2L9dtfPX7
opCHDBZOX65pdNUU21qKZqCeb4ppP5gKV3hp3tgXFAlRqhFdqzLDH3UL5mU+taPWRV3rkDoBGiVv
XgJIx8XEHyQvgbSSNNeu0fzbou04MkpmfGpSf37XGCWH61JWsCnI86HoI8qdaF21JTF+BezngMb/
SMOYymHsArBgfWPVvJndcuOxct+l99XwVY+jpflZjArjWTknMQdclH/QwYPJQ+dqBi6cJrGJpke7
mOj7OjX315e3Ypyn35fLaku9JKNuAuTMDb5Dy8CWVTSwbDRqAqpyXdTaUqDSBBhAAN2RYjhfit0s
nVZXuLlIz7dPGBK2vfn7Jmbz4fK1wJaIcPb8+wapsjqdUabTvK9TNLa3W4zoPIBW66jVX+BlQfZR
GgRgmAgDGpv5M7k94EIF+O/3L4pISVG5TudZQA3+5vVjxpALYIrTXjkCpGSIKWAVIlkmHUFnVyl6
jWYrymGQ6XtPbs8sonSIajaSDHAqsP3zM9DR5jsMTTZF2p/BqcPvNAmvn/KlwkICcu+YG4I5Y2Cu
PJeQ0LiYGkJnVENeh+UDMXdZ+6MfFCHQ5UZBCnYJzF0AoFxM+nNHG81yrjZFVlHvJksPdFshYXUd
JxLE30/ujwaweSNnkJAghu+00AItlEvvjOL21LtYCuIHIKaQXJIzC4NhluAeNKdomrMtcgK/htz/
ef1MLp39uQixmydrASvmlBmxPkX6XN5bXX5XNPX3rogV7TgimDq/28FFBvo5MO9gzgfyJOdiWt5p
RgPsUVRYP3wncq00qIttBzIna0Eni6oxc00cMgkgthTe6oLnQ9OXKscYyCEyhrvKfp78g5MAspV/
mpNv/c2zgNGsDSwK3opIllsX8IneHnIkCLUhapcDdaMiP1i94ipZOyWYPHAMYgTIBY4AHYhmMbb5
GNGMBJ2zr4xP8fL5dk1ADt5DSkEMOpA57/oxrXNQymHPig1hITEC21M4gLVlOCKFiZQfbne5roCC
7kQ1An0umk8DJgBX+kei4vFak+EBF4THD/icL7KkWTcaBUamzfDFKLg35Km16H1jezcHeQgcxQhs
VyQKLrKlydKMbckLhnkZOeav5ftBVzV9r6/krwjpgZLpRt4tGkRoHjg5vc9dnQTK1sw1X/a/eYRI
+V6yenU0N1ncYrsS9o4pTCy7b5YNaH6u69ZlaC92S2jv/6RIHtPrO7fsakgpskeisb2RAI9VFxuN
/rSSH9dlrfl/pPyBhBD9Civ0A6NPO6tnkT+0QTb86lQpnNUtOxEgnYtt8dzM4o5FnfGZ1fdxdmfS
V0oVCraCmiLYMQzIhL3AHB1pz6p46LyCV9Cw7K3WPmM0fZd3W+IXwZxkQVJXG82878zHbmwVocYK
vg6iBTACz28E6XKVyUs8mk2uOUd6Cz9dZ6/+AIClbz1nefW8eNbWWpwNZk/dZ2l6IDl/Xtr+bnG6
r9dPck1rEOwg7EHt2btIC/Mm6yqc7xyZvRWQCc2iOdjCMkDcH3tbgdRaM7ZTWVIEmtUYoFwk3hzF
6IN27nn6PVXmTUTAL1+CpzKkEM6xZiD5BweuqXoYtA+NFcxt6Az3Tb1r8nuwA13fvjVDOBUnXe0m
r22qc4jz3SygTRpQxaW+ZggAT4GEBkQOQMdL8Vwds6kx+AzfUaXpBtRzT4Cw31V1/AU0Fd+vL2ZV
F/COE/fGH8bz8wDCm4vcW+Jljpzxm1sejBLzgRkIKsywH0rFNbW6ceDvMhzBngoyr3NZfmllIGFJ
WNR8yeJXoiJrWlWDk89LalCkselNNT6vNyDpp6GbgFrUDGbHDFA7LP0p1LWba66iZQpPK8Erc/m+
sjqaIk+b1BGpX/3ZDEi2TRNr06Sfr5/S5c6JrAemWmCkBWhzLUnlwKxYjRMxqqgOHBDS+0pS+ks1
wMdR/ELlFlHEBXcIuGUrli28iugOzSTOb5+j+rUt9teXcekMhJQ/rb06Elryyx3tlXRJJ0jJwV8b
gNMpUBXBVzbqVIL8dq/zqbA9IcHwdgWudXtzfQWr3wdhAbIeqEpiPPy5CtPe6scGTdAIGI/lxkoU
KaJLy8cG4XIlgDigDVpOEdW9pblgUKoi5J9a46HGI4i6PHCHWuHD1k7C8lC+BaYckAo5VcdmcFTa
NK/Q1PHiZpFbbZV8nZdvBRtRIhreAaBDLc0U5nryAuom283pNNeRzTpM6m2CfvliA+uvJ/0205Hg
9lSY07XdO5F4kS4Y4zxHp2ENzGm7Ne3ubhycOigH9iFrYlXL69oOomsf6TbhAMBUcL68wcl8uyJ6
FWV6+mayLGJgx7TBF3q7wok8l8CDgkRGnndBssorx9SF5S9VcIeZ5QpFWFNovOZ9BNwoeoLG+HwZ
5ez1emtpVQTaw19lEv8eKl/Fkb6SL0SqEEhxA8zV+B8Zi+QXcY4mpayOyuqpt0mA4e9Bh2SXXt+l
3ms9PS2jAcxNDS7Bj9Wwu76Da67tVLgUVtJB5zCAvEa/PH80+iEJimQ86GZ3SJbyecjZj+vy1hQD
xWNA01F2xzgooaUneo8QNvN6nvQRRduui2ZBgx9aFe/e2rGdChGLPhGyjPnYpwxCKj3U2kDVFHz9
8yhFn38eQxJIrBVpH1nTTt/1qtHEqs/LWQtwtJJJfN5D09o2u71jDUg6PB3hP+HjkG+Xfj23xike
yi6yg5RtiWoq4sqvx4gvpAxFwg1jh4QCnOw99YtuiSveAFqZBP30Vn+9rkCr3xf9XShxAALlS2FS
p8UZyzp8P24+l3s9e73987haRLugMIuLrpTYcJMRBLWRP9Kdo3fbnNzODydKTQhg4VkQU8g42mJu
+hZ5vCbKkm/DlAbwwNfXsGJjZwKkE3az3OWLDQE+E5MKl+ZzQV6ui1hxG2cipFPO+oliztDcRLyM
UYzdszj07YfHyvpyXc7KNQlAI6BUaOlDcljORZotZpJUro0Qso2/sI60ggk4Qt3zzdTbnTumL022
KGA7q9vnARuKqZ5wyfLVzI100Av0DkXMKdGYxFCHahP3IfP19vbrxUU5GJk1kLCjl0tyvrxu2qxi
ZhuBfJ9/quZ/+DwRI9QxrOAPnea5KfpxXpSeA1NJGqO5xxuwOXpTr+rKWDPIUymSR6/HfK61TGgb
9fYmMtK53SpOZEUEQP4o1SD2BvxcpqckTmzQKTGHSH9n/T2rFJ1Mqs9Lx7C08DI0xedHJ6TPi66I
61c/j0oNGPgFWFOuyGMUeQYMMz6fvJPxq6WpXtwr+uoJhl8xLQJwQNkjZo2ntZQXY6RrotaYBUUd
uiqU2doiBPe7AMuJ/m3pznNTXZvauRwjkKJv8m2cqthlVsJTFJdRbUDmRSTPpUOo67Skox0PEXce
WHOfsgcO5DwJr/uTtb0CLAj5ZsOAj5dHhfhD3yaZhr3iSxkk1a/e/GVq+e12h8P+PyGeFPxOgNvU
zoS96u0v7WasFDfgyhqARkOiAOAjYdfiqE5uWIYmqG7UDRDrx/vM3HSL4pml+r74+8n3jUb3ytrG
9zGjU/M/zdZmaY7Xj2Hl+kAqArO/EDyBfVk+BpOWvsG8fIh6nHBn8JCYX/rqyKpjMr5dF7WiuGL4
iAeILHqDLxKzet8ZI6uaLvpi+FHBFXt1+XUgIRw8Rn3M3UOZSYrVxt63BzPVSdTtrP4QD4r84Mrn
EaPhCkJDoiXAMNJRLKbd0IpZ8OBJ0IHX4uZJciL7LojqMC8Nj8OLVlFdc1lmc6Bfkl/3E/15697/
r1cI+BpUwS8Yr4qpHQwjm+yIfyj6p7hRBCEruyNAVOhzxRMFzz9JUYlVuHPrjqCMKsydVS2fQfik
KIFdeiXMmsQzHfNlBLm2nGzMKrtPSWUA1NgF1N50fhh3B3u8OWATTcooTQM+CQyM3E3JUzzDynE2
IgdjMCb/e+bquwoz166fxqVdQwouUEGwBfckNye0pGVerLUmEDZzULt3SAXo5ObkLGTgrQziYBck
/nJrQs5KE5TqC+D8i/f/SPuu5rhxqMtfxCrm8AqGzlKrW8l6YdmyTIAkmAAm/Po9nN2qz2r1uku7
NeOZcY1MkAgXN5x7zn6YUAuhhXeHdDDAwMjg//uDrqw/kigLaSAiSQQEF1eG72e01FKhPXik6l5o
+vzvx1+ZL7SkBNByXIr6+JjPhw89rn5rtI0PrLN86osUg1ggW9We/j3Mta/4exjzYpjSsWfutf4D
N2tiKDJMN9bkygAuijlIW6Ku8rWDo3clxBYNnEK7ezcfzeLG+y+z/Lm+sPDnA6WzJP4QzyzT+Nd1
kVq56Va16Tzw8j2TSfOq1/vJTHSVsOnPt6cK672wbuiobX+peRu+EKxoLWDEYj3b5uP6+48HSwUM
Lpo1UVy48HGUY1E16Jr7UJkkb9byVoL32kL8/fyLDeUzPZ91g3kPxrlLUVzNvq8CgpdH2zeAGwtk
x7pYCnD5BJVXZ+BJK4AFEhs+j+hq2wXe9yEi6MKHcAJiF3SGAG/6ec3zQuNiblr9QWzz4ZjO3/b3
Pz/+YqIGE8IwWgHm0YJ4KfQFbhjCK+vw6e0vTlxjsU7nEx7PnKgICM1vtMst03xxIsDNAkiDBzOI
DqPF+/nrRLR576g8y9UD70+9e7SLtym/YZuufQJIJNHqhzMHc3ux0mghHFqt7gDqzn0ivDYU/FZw
evUrEE3AzzQA0Lr00aitF8otczBpmhkppgdW5KFQv7595ICTgeAACDPw12XnH5ItgeHIVH/wews4
+yoculs53KvfgcIyvGXUtIH2+7wafS5UjpokLldzmxVg4VD3o3lLF+eKn7DkKOBLoXKDU3GxHtAM
S/O0AH+SXv2pzX1KN6mWBLeEMa6s+qdRlrf4a2MhVQvViJbqD5bzUevHIk3+vRpXpgqaHgbEa6Dx
tZQlLp6PVPQo8wp0iwB96LQLLVDko3D4/fMHlzNAymOBXX4p9AveC0mHUn+Qurlq7emu6LwbHtUV
Chb09S49SmBpWphsLzL32Gug+aMduLMtQUk3mnHPHUpU2qw7hPm6MYDfozl7dh+7HEo8/57IawsF
GU8HzChAg30pGLaQSNG1hfOo056c+RBkt2L+qwMAabiwqPvLen1eKcnSRgNZqnpwc29vDfIuDYYb
gdO1LQ049n9Klxjl0sRwWfCCVxiiUccuTfQsi0ewYDbZLdbSqwMhYwzY1OJmXxoaadqF07QjrL1e
K9JUnk3A1bypCws8jc30/O+lubbHgRpY9EKRBADZ5ueZ81mFkKJ1cXXVLHQGZEvYOWU0+vcoV5wi
IH7/Z5SLKybTtNJvlKM/cP2gUr4apozwuiey6jHoz1a/pWD/9bP+c7cBQUU3IPLLy4b5yzTIDhpt
bKIgJeshMtUZIXOsqDNvpRSvDgNVJiBpoZj4BUI/sdmcOYquDwgrOQmoOlLae1D26284rcv5/HyH
4nv+Z6AvpWqdzQ2aCOcHeJxwxgbSqL03vzns0eQs5K4Mhfn9XmS0nFjAZMOQL8xRy8f/NYc9yF/s
cjRnkEqCkSdue7BSEXWrSH5tCpc+isXAIqq4jOlT053QiTfh6LKOlDNqfd0xyN//vf++2gd8yl+D
XNgHp29F0/EZvG69vjWqajvw76fSMMRypSJ/s+grXFhYNqK93RXO/OAFK67utfm+v6WddOUrkP1H
WwvAHfBmL4uFqjBLQ+SiPt37nU0QenzbTMNFw7svTS1LPHExS8ANAQAd0PrkpBXxjYJ8v1cK5W9I
WSGviXQj5I8/7yizc3LOYXJOfRnNVUKfvr3Kfz/+MilbpC3sqYfHU/MpU4lLH/8fno9+a7BlL/fA
JX6aTR0zct/gJyVHYqIKXd/wlK8tMADT//WSIXvmXc5Pxstuzjg/FUSkr3V9w4h8fTxQKGAFDJBq
RH7usnyv9Krx/ElvT2DgCNGyDu3m6N8z9NXOYwTo0/rIECG6vryHK3sypFEb7cnpQ6qTOtjlBtH5
vso3I7uRi7r6NQAkLoRyhvfl5ppQWi0KXXanDJo/Trfv/Bur8dUyob0A3OsofS0K3pfun0nlLKhy
2lOqnfIeTNvQX6S3QOXLmfps2JdBgAsDnQgIXy/3VC+1SulctadIBHdBEPV96BJj+vbJxig41Iv8
FvIFl5gKrntMZIDVnEDNGqUqQHz0/znCsjP+uiwmv0RdZ8IIZV+FI9Oj8RYg9qtfhG8A/n4hooMb
+Z+w3F8jQFDWKWqw1JzaYstrQOfWot/KW9wrV3YVCglICiLDjDyavrzFX6Nks3AbhZN+ErJJDDC5
O7eiimsjoE/pP9a2/zS6P4/g0ZxOQea3J4s9VfVRbP59BK88HiSssNMQ3kSq/NKIa2mtjJIxfprT
45SH1fdtFBhdUHUE9RVaNzHI59dv0J/kITAqT5K2UepYRGo38k5XFhpyocimoEtlWYmLsMtwmHJn
6Zan3k4a7eB2W7Bhlu2NqOvKKAvgxsG5WyBtwcV3pK5Rlv44VCeNFN3HRxG8d98/Eqg2YwC0QaAJ
6jJ/1vC5z9Ny4idh6BFljwrR47/X+oq5XRIeC4jxP2bLZS/8tVkLZJ0nR+LC05xin49OpI121Mog
mXQIOpNWvP57vCt769N4F3NW0jYduhzjDXSOXVvG+q0ehSs2F9oCS2kYTcEIGS++aNBzNRWTV53S
NvFTSmyfgDT++19hofMNsRVcEEBzPs+a1fal7Td9fTLfxjH8flICtWegcTwDgMbFqn9+elYbtKoA
lzj185tpfqhbDe3XZghInwB2EJTIcDk/P98oPYA+fbM6eWcEhEG3Y+XDv+fn6giwscibwl3yL1Wb
ynxUk7BbuFHoc/IBKg+cmqj8Vln42gFcTPn/Gca6mKi2QOdY52CYmsd2ddTyM7qdbpH0XduxgAFg
oQEJQBr7YhDwrzc+Qvfq1AYf/NznNw7E1alCpQ3BH4wJLtjPi6HzisNb16uTlb6lgQ6ef/DqZjfw
GFeSN9hSProvrAUGDQfxYhSzBY9VblQnX9eI0a8dP41Am5vnecy1mVBUk8ZGJ83U3LCR1z5vaQiG
jblGDuVD3bwTyuGnRn1YwZPRPpvzn39vtmsL5C2uIjAIgHxe9unblIFfeYRPnVVA/bqNWEMezCD/
D4PgPC78gICEXFpiWyJoEiLlpwENuxYYAdlwCxBybaqWhrf/dPygOXyRR6lzZPDmFkO0w973kOCI
zPT7/ijaqYCINwH1w1a4GKKs8s7qOtxYjV6Ec9YS1nJiTfyGA3HFI0XiCSE/lMfgQNgXxYzRtCts
6ZmeJJ9eh8qIHNWS0ZmIK4d4Gr2Xf6/NteHQYrU0RCxJgEsFoqCV1iyKqjwFHJ1Oz2b+1JgWmfFL
Tx//PdSVvQbwtYMsK8LExR58PkeoxsLZHhw4Ft6LSwbzhjG4+nhk78Foh+o+YBCfH5/OKu0k1uRU
PrI+7G+1017ZYehyROiJGB2VjsuTUtlUS/W2rk/SRLNu5HjRTfz4NUuDAj/KZfgA3I+Xzh1zx3qQ
7eLFm8W9Dy6hYkikvirntes9B+JXXd3pIrthZa5cBJ8GXf7/X16Mp3dTnoq0OTl+ta1nFfnjvLeY
mQyZvHH1/18+EIjcpf0dXviFb4mwtdMzH0EE1VuQGN2BWw/ptB+8D2LX/zlP9ipFLq0tb2yNK5sc
JUgduw6XhA5D9/kTaTfpsp785pS3EIFhZ7S0xN68Stu1H9ywEv+lNi8iSngeSFEDpY+8/mX+uGuD
qcmmEWuojiiQhEEmiZKxQsdRVvCwdD7cbG2jZFxnIRsy0rRHg94qAP2XkLx4CyR8cXMsOX/razqs
ab3CNsfuNCjt3m1B7uPepb4X++25H/IVSmnRHLxW1cdgzoTz31KtOES++fQwCZ/ofReVvET/0jbn
WtxpJwuIHwNE15AwwYX3joNGPG4mWbrOOXh3AF/jlh4Pmkh82SY1s1Zm2oOdM0DT7huTA0nrmtjD
WVYLNewqy+qE5oz4zZvrHZyuC+uJbjWkIIfyVmbwy+IjdbB0pi+Lj+7xSwGbjPsDVTi653G6B0CI
zEbSoYeUrvTs2xk8DIDbNFiolBYw2YWFs6Zm7Luub84W5+GqyW41zVz7FAR+S1EPye4vtA7urM0m
9SWeb5AaUlZT1UXiXbQ/af3rm7Z6mSodQay7OCD4qM8npixyaU2V3Z3dUE0xp8m/H3/lQ+yFiwYJ
Ww+xwKVLNTGrLZuOijM3feK3iTa1oc6zsLDCIL3VQ754gZ/OAgJmyOJiD+CaW3LEn7/FqczZUJ07
nIOZgu56pXerUTsF5g9Zriv75d9f9uUWAhs8RJjRrAsKESQxli//y5qavTZ2llt356pba0h233BG
rz0eqQsb3Loe0DOXXcmCF+lgl7Q7d9afLLaq77qDeHtU8IBjQ7EwQDL989urETivwjW7c2BG7zK4
cdNce/m/n34xN03P3d5jVndu+c/QtW6kV79c0BfvfhEM2LnMBtvHu7/l80l7G/vn768sMngwp6Dx
AIBpGf+vldXEWEJr0G3PZfVDViLsDfvGqfj6BUuTO3wMZLeRqb+8OgK3Qk8cw+L682GaEF3Mr3l+
i2bo69HDICiqoyUSKST38grOKntOGbrKzxq1oV6YaLQlvEoc7wk87d+dMQwFoCKgJ5C9+iJNBHBR
UA9Z350NFtcsHm9ctV+30+fHL///rwWZdL0UVYnH92LPmqfyFhfbstk/2w083wWJAlhUoN1ymU0H
1DKFhN7QnXOXbqnnR4bBw7SridaKG3vrysqjuxMYr0UcHnfVhYnqkQ0rqD6NZ1DDKLGp7Tmk3/aP
QVmF1UCQFCAOA9r583SNKivggufTefTGyKm7yHz59nKD9A25F/g+VzpVslSU1GX9eKYBEfRAte8/
HzV5sJICZ7Tw/158AKaunX1IyZxlIhCsGurbgDUTHVbAL+GMu/8pw32eIcWLckbLiHMOijcnPzOo
1OhJfSO+u7LUOHo43gvzngdT+3kQNBXM8NmYfRYny5og7stj6n7b0C48zP8zxkXaZZCexG7DGKDl
jtj4DL2hGyH91zsVIwC9iYLokku/DIbtuu85MzBCQyNu3eE6SVzzg3obKHcV+vD9OUNkihY1ZAsX
usIL06v3Q11WumWefaWvCz1SjGgyW93Yvv+bZ//ixC9QvKVxBbyFX5hD265X6Zi61pkN3rPZWlLE
XmqenDlwDtJEzVpULE2QIfFEmOqcZmSwcy+kYz8emhxeM9GgtQQWA8niqfC0h3H5x7D8FvKQAgzE
bflb6OlwzAO3XU0OL/etlL+E7/3SiwVc2BZ+F4OBnG57Osj1WGfNva1MWxKtrPs2bDSDbxuOQMlt
A4gU8tbatEW1qIgHUx7l3aJ1QxkNEUWiW6xzpxOd+ulk4hXAE09DU8uSQZmJsGliQBhVehv8zvdj
DSDNxrNCafVJV5sx10PLOXYtTbwsoeKxBo1uEPCX0mp/KwhSl/HUlGksAnj72yyNnXlV5aUNOhva
hN1s/XaNbp95+sYPNDKAQ8AcvDfh5Fun7H9B1CY0fXSyAQTl6XnS2+PKheDjaIZpbYSB8Lcmffb0
HdXNcEAjeo/wAeC8D7NE3dTf9z4PJ+vONJLcVZEH7iybpSGtfxaAis1BRTpbrIemDgvn5+CnYYES
QEMZHkNPs56uA/xZf12q16JfGVqS6e+FfmeJrfCNxKyHlQpsUpjGStOQAJ+t3dzoYW2h4UHWMdAy
RPonzlZ9uTEam6TdQbFTZ4hDp/+sO9R2q0TiX85ch6Nphg4CpLSLVT3GBubBykqiiz9lYxyZNu6U
se/n9wA0iSRAkres2Rp6qonj7GXwMqi7ocL93Bak7neVSji71/RN129Ha+N2hzpHo5s3Jq1lH2pg
LvPqA0kcTx3yMSlyiG4PZEKx3K+ySHR8o7ohnhVF3JmuqAWxkbJfV0GfFJpLMKAl9B8iO2XTxjTY
Ayt38BOPyl2NLoO8nLXSmTho9Uba/capcY/Yia7LeKhfq9wAZYDO104pjyMbiGv3pNfQB/+kGWep
A/7bmSRVvxsInyGduzOU2jNWVGBZwjfzLDb7u1L+yrMiFoMVAuy3ttjwZ2iONIu17NW27lXOIpNq
hBoRFV7cVvXZ1pqONKCF43lK+lLs6mozI4otZy8ZxJZPa2paoV/9LovTXNZ3o3QSbkM92CNjXSXD
eC7G9eSgjpa/4M1IZRmR0f8wFQSCuyIaxM53foB97thPWh9xFnAyVBQM8K4mED6nH9ryo1rJidEJ
iE7vXbYyhi3amUlrof5jbHlfh7Nevtj2TyrMu7bSWag1OE5b071vjceg3Fo5C+tqx81jwHXiiiFG
QjgWKuaFQUo79vrjUD8OnheNrp9I8JhrmhHlQ40M2pYpQQy0NThmXA4vefCs9LdAK0JP/1Vp93l2
amsZds1MHP9no01Ec9eOik1tj4FL5PutPqZFInsn9Dn6o80ucvLnHHanH0Pf/DH3x4lt+jb2x7dR
bIR9mOyTl23mfGu5aDGSm1m9leOjaRzAFqD06TfzimgsOtJJK0q9Pzl1dg6LgpRueW6Ew/zapxu7
vbP0neNqSdlIIDqb/kdRanuTPzRef2D2RGj/SueGKD+atG3ZVkRYz6LPQ9UrguzKaupbIropHitt
K5EnJXba32uQVVXsrSnvcvx0U4Ra/Wi1+6p9bdvIGV+WRION6TKSst6ZNsfknrJ5r+S29COerzNn
M/ZPRupEChJ1ugc+Q4hIV6iCLTzyQUGjCqAZXbynVhdx7+S6O6PUiA1Vcw9mzB3eUvGoaT/nItuV
QcyQgg78yFN1gm5L4ueWS3D5nLs6Lv16y3oZOjJ7pR57teG/Au4DW1nV90FeEgNZFjE8NQ7450BF
1rVZ6NY8GrvY8u8pOwAjjlyM5e9SZyeqg+w2VgnN5e3EUH+sA1LwlZDnJovcbl3RLXN2UDcd0Opp
FntPrqRIeL7R06QrEjXfN/RYdI8DXQ/+qhVraLRN48a3IkhHEK9Y63wF0VKtfy9R1vT1pLGSNAhl
c3JVG9EBPFgbzdt7Yq+bT7n1MPQbqd+VToDE3k7rVwEriIno3t1yO/b7ZzYapLfgJ6z05ih1JMGC
NVa5ACqCmmsbmyKnT052gBbZc9Y8z+VLr+jKFbi62D2SUUw7GPY7AvofuZWv9dQhRlPtLA3X0NHX
htBoZsjkgXujtY/IQZPOOzrBis0nj54AkicTmplwQznyR2DfOzM4vNhaBZLYtI5SK2wHSqp6jR3e
l8gVOsncGFHv4iYHUe6q05bLOXHouvfPNd0GoEtxihVaE1kRuwYLZ22tREvc3g57iX0rf6r8Pujj
JrsL2LZpHq35t4dD3TxxSH63j8a8GfU3ruS7nO2DPXj7ggek1DcGwKdajkiAgtwYzhVaaP3iOYAx
t4IP5SLNtp+CDygREoasmWreqvYuGHZOsfF0FYn6CN1kswRQti+Pg8gfx0od/KwhprAIL4Kd1zrJ
VMrEMFbw25EC3LrVRmNvnbkTiA+CEe/1yP0mbM1zqouwxM1lq4bU8mmQP3yY0Hm6n52NKHeqfsdd
0XlPeb212kM9Hyv3ntsZvJEN1HVBlYKjJkgrd3ZXkoyvTedoFYmtq9DiBwPnmkk3KvjZDiJwDhHW
P2vabhh37bTR/UfHfuIl2IfmxzF/DYq1chjh6UNbj4lA9ijoNn5xh0ZsvVmX+RvzYN5emIwq735k
u1RIkNgEpANZSvqzbj1iwbeHfG2GzHMX+LFEmxP1grUEwiizfwzDA6Nrd4alN86NvMtSL9a8cZ3b
VIaVrm/BWbRxx72u9eGIlgrBQohhz+mA1o1655kDacv3KYtT9+AMd+mgCBQIjf5nMMNiYX8I+iH0
LlIK+0bh3kGklA7JUD/r02NuRa33kNUnu/kDH47U+iGwXkqqh+1IyayN+OxTKV5pF4t+Y1ZIn+o7
Mz0qOZHOBLdCE3ravSkHGaP/oArRdgO68rey3jhDGSNvSJq5DacitjRMiqn2DuMfch7C1JPRRAfi
ZCLU2rc+z0INTKhGZ+3s0Y9N2DsxZJElnTt0OVXNo8gTph2V0MkwQjpZJbJOmFqZY2kRdLFk/I/d
K1ip8d4eQPAv/aTv8o5M5qvT7yx3U/I7uz5bDY317rFypk3dqMM0mLFZNpvce6rt+2yKO/+5b8pw
KJ7mvjwpoF9deA4ui9D7AVoaJ/LNOxrgAhhJmXoro+5icGrHqsJB7ssQ/f8uPPSKvalg5UPxJgOE
dhzuU+DVuCajFtoGxpytO17ABgyJr8QJ3FqrUkPfPQxpNZeRx+PCi0z9lAfY23NP7OZt1DfoqZgm
O3SL9RgcBHViAWY5vcc0bDLkbVx7WusTAN1uUIW1ovfBwE9eJRIm7QKQ8pZF9shjQzpRLRmmC9ux
6VZiDuIhq+LcsMgCWSkGeEZAgapdQU8CL2+VKhp89QKbCKzXOhXOwSrkwRNlwpxHWgDff98HTw44
QkTnoEvmyWomomt3I24N3wCIQEVjPqydNp7YEzIekev/qrqfNr9n/KhS6Ee/d/CBXGdrp0WYqYEw
6a86wDSCptpzfOSgOcSr1pVxdKqJCK0NDZFtER/tNW07yJ/QE0DY8Ga4vzP9KFniAnRjoMrB6yEE
Y/6Gpk1k52vHevLcV3C/HFQACHpax9MESengKe9/M7qRE7wzK57m9eCsTW2l+pWmjyubfnRMrU3x
VkOTRMefYDi1KNVGTv/sFivGYmS+Qm/eOR6KEPZ8N+PGrKIRJY3OrMNUrTrbQ6nh0PS/8rkgtIym
YFewJqqy4zyeR/U6ujvHh5dIQ9W6CcVWsOIFeY17BT/fyFgzWah4MvYbBqffbRB9vHSesTLxda5O
z65XkLbQQ1O18OtCPkV1am/AThIO5e9mGjaAIUa681GYL0V9Loykmn3c09ssiKtKrQU8SUn9u7nZ
uiXuoexYODRRCvr0GpmR8pj0LNJSP6rLMmSNRhrBiCVqiDrNb5O/xutFY+3FJQo6ZRU1YIjLpz5J
RRC3KTxFF7Ehc80YeYfIxK8UccfsvU+wRE6/TdNDW+9d/J3eDaWJwKEnKKcROv0BeU5r3ge4GwMN
5qTy5THts5jixCB7v5LN7xF4N999ZUNL7O7NBBVL487RkKl7swkOVj0MYeA9Irw6uGkKh8bCy2hx
YDQPjFmniW1t4zzpivgBJVJ/EewuD+D55yAwPboFvELDjey227UVP1eti/3ss2PGtJXd7Qf9Vwn3
ueQOaU2dWGwOAwo14zyLzAb5qGym71WvVoV4rqdd74A9E9RZxjSGkqqQBoq4GSeoIkRBhS9QxCsL
EpjYYS1+W5GcjqtStkcgqF9mlXMiEXumCDBBL7SZy2ozyZLYhRny9t2bEOe2pHRzxLc8cqifwv8u
Hyb9nsNNoMFdyU7oAXvvIPXop5K0uTh6M36gaFbzbK2d5sfCxFN2IqrhyED65SSXht9ieBQSAoGT
EXU5HKJBjgdmaj/ctrZQ0qvNsHZSxBzTe0V/MWOOld/ETq3ixihxk5pE9PbO6mYwKLgIZbudBqYX
G78YJtMc/Kjq/dXSrCnZcI8cB0Tp0FbRu9N6mqs34WM6Ml/7oeCO6m2znwO+q9AoRxs4HGwM0QuL
U4JGW4SwPXU2RvVK+3bXatWeOWeLiQqOfXXXFNnH5NRr6Xg/ZLO4onaSer9cA0zlcg5NOu3M7COA
hhJqgY920SWu9EhvuiRLHSMB25Mf51paRZbda1GDgKk0aR8WGryTjMtHTtu4RvypaL6enXFFu5mU
xUMtsJGQw/AzibPZrzM2PRdBdef2tRk1htUQu5I/rZbFTCjtIEu+0eo2ZNwgHvrgNURjI//hiCe/
LWPXfclcSvq8SHJ1rrs+5B5u9KqCcpeeEb/WvP9u016borRJV3xEhGY6+ok39RvQPihz1UYkGzQY
+edUvKXlvTfWsZqe20K7w3fd5+0U1p3Mwqw10tBs9E4RWsnq98SrbCJ51pYv1mh5fDVXrXGEvgti
htnzDtk4oO2Z69mf0fIRRljyNRXTjDxLk4pXYUtt4/ronIJuEQoAWbdMS9oBzTAMA1agScsSt1P6
3sM7IFOtCn8vu96096AqyeqI1Zmww0JKe9uUuf/SV4UZO3xaeYA/2ZO7crt6b1XmxnVz7FLtoZ3t
Ta4ZEBxz+gGpczdYG9Tvo9EHdhVKCppAiIybVEGwt3D7sNUB3qjpS+GmMHaUAsI+oivFsNaNU4vI
EPYDD2akPAwwIeU+PXRsjrti2OpGnoAWBnyV7M2AIyX1/rUEvu7AmuHeE9jY2Ztw+ROUVqN2KcwP
P4d6XyP7lmoEMhWJL7yX0WjeFe1ea/25NLukA5Kkbe9bV5GxwhkpX9ADQrB+ZGoPUiCU8NdV+oeO
6MzRt2NgkR6fUY8/gtYnhVHEvjiVHSAjLaKUNoIUX+zWWE5kkbhPpJNHc3sYEZIE2r5E5AHehVDl
L3r1UwkTlVeLWGmJ/b1N7Tbq6V0gkTcTcldM5cdE2xBcxEkuPKIBCWoLL7RbYwXqiAentFlYzuW+
dKYpTCHvMucNYf5Zp/DtdNgj6pPUMbdj8zhDLLu0d/6odvhGi4hin6n3YNxNDBEkED0vvjWQIihi
MA/EMLyPI227UDTDIwKMMHU2vHzNtB67d2WhdW2eftI+Ddv0ybN/d8WvkTnhPGzM/N5ztmm3c8ed
BUpJ0AyQdNpqjhvzAOkpFA7JkCKWh5rfGElz7u5bzl+Cev5ddbMEPc7GavINUsFJpsZEU25clu9W
8x4USVW+9+MOdV3fRt5inndGpSP0SNnK0adnyA+t6WxbK1CRkXEct0OWr5BP3rhZ/dYVdO/pz9I7
Z3aDCxYRMd302ns+VpDeKe5SrSo3rlERNIDBLcQdASXjSeHgwCtX2wJMHO4Up5mdDIiEvM0UFDud
pUPsmEhZDsW6LaOOm2GuxemghW1h/5kz7W1Zh2FOE5Z/9EbU4il1dQ99IQQrsYe24Mp8rHIvyigi
0q6NKpDiluh4sZCHcmedVNluMg4O/isToLFFDDO2XcyFQSpRoDIZzSniExd3RgszA4tOwZSNP9ul
j0NQJwpJBdEYZKr+2JJuLbXt0o9ATqEKjEfXkHeKekSZLEG5hQQcKdwCG+Bl5q9Z+6vgr0GrYppC
3a/+zaUfd+Xazjep9TzylTLu23o7We8dErOiP1bpHWVIlLyV6aMevLjSTUYliayh3FuoZHR7rAkA
rh0SqZJ1iZWlJFNAnssftr5nPXLJzR+bl9BytyKKsmspEAcEORE2i3Cq22Ez8YSmYIkcM0gN78bs
oOwhyXCBDpqFAGWvuRuelrC2U6LNq9KK9XnjIPzTylUuzgZQfFPubM1CIEDeZ/2fXjqvjdu/Tv50
NwzSDNFStVWets6QFXCKFD/KN0XVxUadznA3vJXL2XmC7qCuzesexxAUFy9D1+d3RW8+iaKMQdoc
V1kXTXOx8oT70PnWDh7pol87a2gSMO6GWm3aydh3DU1Y5cQBIpkasKghpc7/4uhKliPFgegXKYId
cWWt3S67vF4IL20JgUBsQvD182oOPTExEd3jBpTKfFvqdNBTJ3e1211LUn6XgwgBzK3FxjGBlWEa
NfCjAQmZa/YWqQAqVdpje5vbngmyRJJpbRoEVKxyQoWBPjoJlqWKwaftXcIy4dUPHN9mPMvlilzQ
BwXTQuM1L2ZobwutDnKDYEiwW1dVwP3ZXTo0Ba/Ohl108+x6J0tW1VIYM2IjuuYaMY4R2mwXIKQb
pZUcdpSB/7X1P7Ksn7al4IAJihLJ/vG2he81x/GxomRg/TUU015SL5379nutwtctcAs9lC93iFuT
bYfQ+ZxEeF8k3Psjf+6Ehbxoxz1KpfJA9G0aqv5MuEP/AKsiT8Yt5qh/siHg/eyo38TORNCjuu6j
jWgYwHYMxIEWaa0IWF2bF0hs6l68rnqhApKtCBE7wXhciMCjbfpza+D+bFvfiaUfXZdxZD915ULO
aqbEDtpHa1H5wA8deOm4CWWN3Fxkwgt0ksIGKj3jXBiS+ZBSkeW01GeXPE9BG2+hf8L+53gc1aPq
LP+7NZ1JxlV6MRa52MlSgpuv+2xlAHpwIS2a4vS2iL93HyXShseGXfzQeKduqf0k4DyNMCRPpPkV
Fr7yVeecyY9l5YXX8r2Y5lsQACKWF7c2jwB/zoKL//10XA571o43j2zXyTPfG7IYsMgyBIlQOYkH
HoSiuA+iTPyaKYIPzE3rkcQCv7TnpBGMxjuhWydvBiRrRz7U0Yu0vxihuU/kkg4jEcUCFVxbWfjV
4QT90Q5NtjaZP7tZM1vfVTn/EOgeF9cThamWaOf2fUGa8QGxDY+dWUmG4No1cfstPN1T+uNS1V4e
6hqvl/OdCACURioHCn2OtOUn1ebOmFmj01CuAcqGilI6kK/QdWXWu0OyzvrWmunF7YaDj0MV+D89
MFglaN7jW3c8tW/CNzZ/Y6kGSbYNhN/c7JCUiNii0hmPQUeiTLphg8iZKvypwf60k5VYVe3FlW3+
iGPl9eqmntMfZ4m48/HTq75Gn2K2sJMZey36UeZdOCcEN3k38DSQ99kMtQs4B/cbmeKmeFmaaYwr
x7ysk37hGt9UzfZLN2sUdoMJWPQzeCxjzn04YpbbgsscRm/TvJsGnHWYU5ROKczRAt8WdV635W2B
oa6yHl0A9FhnmOteFzT6XuUMFmLdT+4QpKUFRdZiV+d2IoidBLc7LztAtY/aH1M2+DojPExAE+9U
jR/apq2IN/LVeB+hq3ZOrXRRr1WTNsgtwnro1LjDxWoPdnj0yjcB7/4CdsuaWWLP0WndvEwBJ7CQ
gjJCY91EboaZLbb0jNuXYsPIBHmoo1NPmz+oNl4glPZjK1JX3xdvZEDHRbd/Ng9uduM/mQ6AWWR1
Y9LhyUGGCX5yWbJVtRlzfqNxSBQ0qNz5lSFaaJa4wIBNSRPHh/sTR3aDdXLC6DvhfvA7DBprU/QV
HZJy0r9bDwi57smptj6h9Yubfi2c1Ssid4z90hTDcBGA3Bdym+0H2uJiLR+ctkaDfAwBX3aryWYX
15VzijC1WNj/E1ZLTMLvfr1ULWxjDcKXJIkZhv2RyzEWkfNjeutohod74cSqsAaXHShITX7ZvZV2
kKYF0nf4K0OW4VJOWq1jnIXYDFdDfkvnWrrWBeKQBzUNFz1vOM8vkZyzup0z6t+iXiUl3lYDiMbL
kNeFlht1w04dXCde+e1Geyrex7IY7fMgvkUFRASwzTTto/HSiGMzvPptAwxL5W6/xMzBaO2tWzKF
gPvtLuGTyVdPFZxuxbTNZ1xGbkwgJgGZvwAcRt/de+joZeRi4m3uBkYdL/zs3G+q5rCGH4AKDY6A
GC7TDNR7ONTsI5zex+WHLvisgWUviI7D7AW+BQ2NwTi7hfk4WTmSpoDCFV5pP9655ApNNKLscPxC
oJXhZ29VW84avBe6OXaiumOHvTwSXgWKqdtZMSCpKuVNkK2oKy0oz06SPptxRZTVdPKCGyi9btvi
LWrwWrHIvf1zXb5HN/1PLGHuLQbtI2IKSLrKFiICw01cE+YClSzZnrK1+8NXG4KeCRje4rihGmFi
rPFReDUo0nDAX2WtsU6dr0kdDdtX23eDm9WbNm7qIsIyACURAsToWrHutVcueHYzrpRFh+JshOeU
8PUHAEMni14GbKoY4hpJcjyhg7vebKsNMjcgQFUbbG5qWwjPeh8YG1DiMMwkpAZfRsslm8AEny0/
5Jmz3RXC8hwCIPAW8dvNuGl6E5c1O2Ga+yQKeJeLOHw1lNdy6h4Z9A6htHbhuOChXyq2pXbrprav
im2bU3yYb4v+7KrvqK1z0+OD0Y+8/JIzCLG3Cd+xuMO80F24A3geqNUcRQp7qX/Bbd9UiUHJOnje
szuELK6kdWEDgPtW/mgX6gL/ncBEAQvuQVoB8OiKFw7IFYuYF+wifpmmR4XYTTOCDdswuPgJNn7H
av5zNXZJ32cVi6djowGSi2wL5mKQ/Jli+WcscHMBRZIjLAEgTye82aRsw2sLxs/2EA8M/EcPUTIb
Bd7GR3f+bfyiBqZAoiUjwefYPAN2Fi5kB+D4G5dkNlQkkM+jWF38CsszuxMpgU45NNnAKk7MT6eV
Z8gNScJ634VHd6Qg8jHuibDd95y9a+UXIE9GjgGrM+EFbpMSQ52d+zXmycUu8SxLnDQz2XPmRO+V
rFOp6YNBAaVRmXZ+m27r4xg8VzOoyOoo0YisFTuV4BSqAACbH+3nZs4RmVlgKDlHzgiW1uZoeiYQ
vKjKWJb5O0wTEE/kVbgh7j2gbSnMZufSokeb2f2xmaYZJECJlgZ6iFZZT936Sbo1LQPvt5Hbt814
amFO8UasqpQGX1OQIIE0JRJRRoDvPDjjaqSnQoyhPOcMY94P9uSuMKpGuKNohSNmfgSov0U+cwAh
Aq3ktBOglZfxDMAy2iSEGnO+mtvsKczn+JzL52iS0MMv0xrPYBjqnR80bpRrAY5qWLdsVhYkQSMQ
j5bEQw3lgGwTNWx7w9udGNW+hhLeTPR79YPEx3QsUapIOeHV2iH09D4A3HDt01Fsl3msjXWJ3NLB
ERruWN/ajXsu+nu481gfJafuIZhJAUsV5rvFi2IP2aS08jM90ETiE5vsLYMcJWNsOE/03meq8N9S
mdOoRCsyYkAhlPd/6E4BcsUCGSDhlFkgD6258q8ActFjinJBdUC4NGmnN6tfDxBO/ZTrv4YtKORM
3MMoFudCKks/o9EmUdxDCItlLdgT7sS+63fvNo5PCVrPtFuJOmAVZBVXeyDPbFoOZDJXZ1NHI7fH
shx37rx+0Dl4b9c5UTOuZRbswg5uSs7mPUKu0RUgDzIS8tsCBF+XwdEtZ7APUxIB6ZWMJtrb8nkp
i2kNPoKqPVBMlQEjjyiXHezEOqlLK5mq6K+PnPOgzQ2c4dHGEFEz5xHu78MylxlX/CEIl+etdC8Y
4iCwoTm2SqFct18+L4NMYEZUngCl5WkLPQDPwWrlAURUSm/4Nue0pRSxguI4CzAXLUYpo8/WAnGC
v2iMswpmoRpfbKhAew4BvlfAIZaxjotwDsaSSQialUz1n+zYX18134uNdguXzJAEtlRoOYAvTl2H
8tjrQ8jKZO22PApGjFYhKgOmKmdIJiC/mVeW/Knu7sFSzagT5ZQ0doj6c5v2TeJiaIYFrfqSuVO/
96qDgw7WGq8lw0jSTXuKi59foVUEE7bOeT+Kg7X1byqgItVOgCNVGjRETt45AAY3eYxcOChgPlgC
wErNMH36OLkOeiqoMQZ8zT1LqUcufIiAj3ptuga8gCptyFDdlwSmfpmvlicTbsD+zvN2pFhXhrYI
/3J3ofQ6C/p/TbQlyh7TEn+hEW9/CDc8nH4Hd03MJVAJpvbTLFKkln+GE4gmsvEdqFIvVlF4HSyS
1aP4p4bGThwdJbodocOacpzGN2Z1BVZpgBxaE+mFkLlZPx1bD/3kO0Vtu1ASvIZgHobWgTjAXLUp
vyEE8ONlYjcExBd1CBVYv+AnwSb1k+/3SbiB3aUeZn+JuRYaNsHyIdS/UWPbsZyxBWgUFNv42hYa
MfHcK2jdXDTapyWsuuNSIhOEE5NM8D+FMnibyUpBuDsm9/QqMhPZLJ4xUZ9CCvOSO5UmpWTYBQ5W
3TbksASAaGZJACC5qOdLs7hFR1wnqzAMJ/0qwnwK/DZxHXZRfhl7KJ/fQznoBySs8ceGKy8jkQbP
bMJ1KkLdD7d1EiYOKylfsfW2ydVqQZekJCuwBW3dTWZq90Op+msNzeNRTLbZS9nJS0UwDoaBxknr
twYidsy8o8PkHgYt9NKo/g28Q9Yal9Naf3GhsX+YiOkDTVV9pVoEJ44wwUOpx7E5CMKtW+3XQO62
spQ6Y1vHvEThkB/lBCzQkVOFKuLbn7OHrmasSwgxKt+LrRozq+Wx922Kxow0wViU3crhOwCYiDC0
lzro2h2XRj4GnNRZp+16TSqDC8SFkTQeuDEHeMnnzJMyiNd63NJ60cHR8UE2hxXrszaasLCM2pPe
e8qqgM/4Y46VQP55pZxhBYHnZ364+JkEaFBUDQ32PWs+lz6yczm351HyBeI+rNm66qrlWcBc3CLG
898r5T6G6MoKs0FqhhS87t7a/YEUWIrSg+BsdBlUl2BWjyrsMXrXHv4XsfHttUqY7+pkoLhWkRUx
36Zt9TPjUFyITOl/lg8nmuOwCgBcYwFTm5DZ6LMF+vYmcCFgw1M1BzkNk53YPvoZDYgu9zpX7/tt
BStSNeBF4moxoH6CillpHQD+bjEdYzzl3b5kbM2cchiLOiAeujw7FnLc0foMnWaTzJC2WXb727sK
TVvzoCDCgGcq7Xv/0+ou0wDwaUDGo8LoWgvunsZleKg2C4rTCnrm7jfgSny4QfNQdcjwHeztHm4T
mNhd5YgbHbsFZl9eRoGHbOz2OQjQy22R9UhX54ik90JHf4M1Aqz4chSl6TavuyogVqbCbd9UzaM1
6QWMmJtWSqEjrocBwsfpwbQdHriD3tTGUq+63AttcoXcTpx6MEqOX0SietCLfKmxjA1xKQlkNoUn
aIqG8hdv1oonDbzbmGO5zB9+1/z1zgoUx4r2Ne1TYpZTKOSzDwwdYo+WAbOYIBGiRzmaL9NFyDbF
Q3AgVIgM/HwWfm8N5VqLFb+J1dH3LlBg4OeHkJSZtfFcLfwfBAcL6rK3s1aT+rZ6M6oeIRwc3xbk
k0DhAKdp8OHMWJg9wSaH3sAFM1EW9eQ/EB8HS43g06n6K2X4VlXBQfizfzJr50Fr5it01tBsDWAP
Udoyzhg252Jnj7d5F/By4mGjJf4sBtFn43SYKnsSXYTyIQYsrXXXrlu1I8bXI3RWaxNgoL7zVL2S
0ZlAGxdPgfrxrPJSWX7G8HP7/sNYj8lCRnjGMCVUKkG+R7FCfNoB3OaLHzNsEyyjCCQCSeyangcg
fAxKBa3+dbOfco6vnli57YC+HKwUZoCYLnvjW4ntTZDlPDKvgkLju/eeyDhljl2ejRXKGKx+RgNE
UI5TUlKMeWQsms6KQ4N8IrYQbK4S0A+Wq8L8XNaI8FogFin5EVL/JhnL3hTzSlxgirwq0LrdQnf8
R1pL5VArp1bLb7bLT1Vdpb6xE89fY3djMY/O8DP701sNXAUk+QGo29GdftGRp7YLQY/wg+eBY7rT
y4QvWLPfTVjQKGJBWDvUMlUOgHyrFIXtdA8bGcCsueARsQIiRUU+odoltQCpN6NtQsu0oPdCN5Yw
/Ew+WxO0GJi8sQ2kHFXqVNC0eq5+Dub5oRuxT9HtQCDi3u0HCSACU4oh1q2EvdStxzdm43HpZUAR
hiSw4d3Ni7z1ydN1UaPTompNR4K2sVqrBWfPDpPmfjOg7jyv+CKwAvCM9IoD2VwaSwcy4NW2Z9x5
kFr1WzDFIf42yBG42BQ3ixPsNR32i4uaWr/is0P6mP81wODrLcEnj4LXppfvUosPTpebGIcH3Kc0
hQv5GljTS8TFDRX4ZeCSJ74YgZ5CMxe3AflueA1zauN8DKo7WIOWMfDCf8ZtP8EiyZ3XdsnGvP0C
kwSoCXy+s5T+Rdoa+puAllfRwROrG5SIMGJjjOyej7b0AXGgw8uQvrfeF2xB6jqrXPphtgmIDml5
cSfhxIrAGOzRWqSVP/8DyPU0oibFGPJQHNwqiGftkdgXDgOjbcPpsdm7Bp2WGJxCuzwTm9ghKwU9
AMvlCrmdLZrXmtB96IzF0ra/Sut8XtvvaawOXRA+jmvwaihoc7DCaGwhUSW1ee5sjMqjeLNdzEaB
bT6GDXxo1GMes3sGxPKu+yBejm/tkflArsrKy2W4Fbxxc4M2p5Z+FmryiQgFrEthb0Dhk0UEb4Gq
9jCZXms+yERHVY+rBE6GzgtlYkkHu6TZj676B6fiyEolIgITOqE+h9816wNwZPSjHpv50WMADUPx
zmhwNduCwwqxeTlA9q/KZ+SpGnxVzllUYZcIaXOkdVCWK2jNnqTXhTDB1XrHuk0V7Uah20BmdR6G
Gnoc6Gkx5enb0HEsBp7OraZXxbc2g+gcvYbXjCmp+iVdK4xQc9gWoloObPUeJu0cAjX9tWjNx9bK
t0Z/sXp7Xy143rlKpYJoVoGqW5mzx1fTJ2UwwMRmYfYJSyTLcOAf1RF25RTf5KW1+cUwuxic+YmW
/bGmJLUGund90FomfAHE/Ff3SMZVrPwdx+VhUuqjcdoXQF3/yxrCioA0w0GuAvBkIo3qJuddnZNq
+QTSc/Xd7hYy73nm0GY3KLVDt+3Kbihmj7+OS3kFF/LQqQhfYj+hN4KiTm7yPMgJS830M/gKdJql
d3NVfZJGn1wPLt6lrV7Qtew6Z4GGSpbAJcPlvqxlgYIpWOeMIcgKIhtBExagYnTNHYJlNTSdY8SL
zqsZsOcm/PTIvSmoRgcjfIkl41nPXI9hBe7K6NEn2ix5NaJxh2zTShpdilxMIBfqCArcmpSfODUc
DxgukV64U+GiQUqqEHRqjXsOOntavyE+jZ425aDTFogt1bYFGQfSjafPaLXmg6zCIHEaBocFwk5j
XI1LUYHEWBMRdNG7uy3lMzJg6FQYZgVoVusWotrA7eG49/io39GajzFft0ak9gS9ym1bpfpnLIOh
HcjPo41rxwdthPbgzzIDS1Eiwyj3YXCAoa5bPv3msRXmcYCObMCWbR/QDC73YwPVkkRqZ1NtT7TS
qTsGeUXZTm/8UrpvM+pmG5rUjM8s1Hj0uEa2HscIAYokBEdUp+7AX6ZO7JuOpw3o87LDEEih3mbt
k0fbHIGICSPWjvoazhuo1DuehJruymDGnOUn6L+ebDxaWJ3ybgIxD02guJO41C68We8gonoPGFcA
deXVJre++9eo8BxJI9DTTl8tK69VT8qddKu9ZaOTpugRSXXDEYSwFLGeGK/GJBiAf0oBkdoaQtAg
AGauDb1rBpcDVJ85frz3qukwMIS4Nh9Kgzt/yCA7hZD+tcO34TwDEknQZEaLGzNzkoC4WUeAJZgE
MbIxNsMCf13x1dOiC3GZ9h9bpx8IefCoDYKIJ2aU+8Zd08mnXeKETnlVzRCc566nRWRrSDXWcr/x
/rWCpAUZz0ngzGnZwCkMhWjfRriuJCwq1cnWiGesR8jvt+EaguA8AR1qH/gw9LfVfLjkk1QE6tYV
YPf35ncg9D9Wt4KIeUazybIuhJiIygcoVqH5fqyhyzRgqvhSxsa2UzM9LxJwGqBj1Twzpy6WEk6o
mYnEatqfHhmd2PLmgllQWG3tCP/TuF51Kt1AQU0dqhRbJmlhOu+E0JinAImhEDoB76/Re1Zywuv4
lXeOb6aZxWEcUoca3obZOTbqdWFdQg34GgM0kNw71DKWdp2y4DgtEhtL0DbZQ+HO9EWO4gLhzGGt
Mdc3kMnLuS9cQA8jAcbZwZom58OKyr+alwmk/7JC6IjDZze3cdsDGs8iKO2H/oDeEjgNxOQ0AICr
oRQHoYFWbcBwCJYCjW9/daEsKltS6G3MfBjSgF/CjbFOYLjQOMp+X5vpY1UmEYt3gXn64uC8ekzt
ShvntuZvyzAC+WBFV2kPQeR/rcPyQEXvYNdui+nXmPV8gAgUKwiiPp/LEGxbHaicCnkqN3B4yxpB
lA61ZuK3weMS8RdZe3TPGkytyulW6DcnXLxQuYVhIZRzn/FPpeBAReyEz6hB4/BiDLgxNY/+Q8hL
kUgWIkgHDs0EjLuTWh54U5xX/0TvQppAhubJ67xHrMuKLW87riQ8Rk24r7xuQB0g7GBAOMTcmsec
UAif7hxEOHszRgUSu5CrbB5689I+2tDUTJw9MwsBlh1CMxN86/d1CG023P06xIZS1VzUuu69BZrD
uoRdzwbzTLsOHwBpYa3gBSDQZLUBnAi4DyGUt3ug9nqP0P+vBkaqpca5cGFLcmPMBDr2DH3Ewj04
ywZckJ1LMVm08w2g741WnY+hjsNi0D43vdnZgw31jTiSHon9ygOCj+cBNU+B1OuDJmvWLDwd3Pmp
Cqz3oGxOnQUvgs8gRVkjOiZDFR2MWC6exjnl8wRr0dJAWxGAmsL7nKamzcG5I4U0snYDNegA6GsL
zh9eIRwPawYLOlscGdQd39tOs2IHoT1kjRWCw7XrsYJGjsPlhaEMzQlS5qsapix3doan0rr/KBuM
GjHsoT/Ga0nizKtKWIm5AsO9Qp/qq5dNzc435ei5Rz2CbStRL/GuIDsNR4imN5SIMO+3AV6boSFp
h3kjtSQq90qq11kOj8tkf+oK8nHa4JA0jrMjnr8kYupacLCzyGyClwUt885jWMMbYB5h4DZbCatv
PAa4U/FAoju5R2b22oklirfeh/+mkwdOoQlGhWnTUfrV2XOgtNHbTOPZc68T7Kx00HvO+BW5GZBF
qO0Nc8d3JZpD29DE1XBczXb43IoNS4Dp+A/2rwgTffNyJ8+SnvXHiU4pWdc/DnII0BFcXpywHRj6
Nhld7WeK0PnCuf1sLe5L6dn0xQ/mfxBPn+uhXz9naHzfiVjSzefrH6azYCegJ5PJ6Nd1Fgl6z9lj
Q94gR+zkEb8HGdT3+qWjLYYhrBbiuK84NdASuNGYAumA8kR447cD5wjKkOpe+nAAPWS5337Z7Jlu
/xzA8xMYYZjhcgBCEAXCG4xtLh3T75bg0MD89CHsiGO81VA4AwIIEt1/Tf7RcvLIyZ32IuGHQU2G
ugeNE33otrNGgg5+MxAtoKH+Xo+nyJ6yEIwpVA3J5IwJRI5fa7g9a8YOpHQuwYjDFDlDdekr3fxw
NbdBirAMCXF718579Nt4xOigLhUejWf82Lcgjh841PNDA2uOo90UVwIGax3z6WOyrERwL/HgSG1/
fcAFSr6GDb4O50tFjzXWYS/dvmH1aRTLl1c9MSHyAcrZwZHRQxcGZTYN5IiGDAI5r/3dtsBJzKBh
4A3HT6XD+xRa91vhhfWydx0C3RsIgVX3KY5TbowDKWR0wioyCArCgeSWcb4EzBOAc/KwxkMeg8U7
AboDFOzaUf0xhXw6b93m7KOpCx/G3p4QEYcQr84CHu9/e757tMl0whx4WmRwnpSdGZjcyrVNPA1y
VVrfG4UUe6zc76hZc/C2RemA+rFx7WgK/6/XxbOP2rP1VndoWDM+rcqhxcoCfJqhefG24ahHD/3A
kIYByazWFCpqIHwg8TLMkEnM0MHAM1LN4W1SZL+i5LN2eoc+Xe551QN+Aagz+UDN7JVfW1+dVyDi
4M4gidnbqD1jQ3YNCxOQac6uBYkFom+Rp4BOOx/iNm2snT0z3Dio3g2IRj2f3AmjOzV2jyKLpwWm
pzGkoLS90dE1kMeQrYBH5t6bDp/bLFODhtTrOUBAwJJefeCoFM6EJlRhfoPIawRciIvBNAFsM2iu
ed/+iBAknRq8N87NfXU0lLylmwVrdPPFfHCWLp8tdPAOTKhcnB0vhLF6gE8JsFbj7D2YeoHH5lYU
FQxKIDbxvYtRitA2lSwnd6i2QbNnYM+wd1rug/q3ofw2SPqCxalPjkGds39syJQHOLp1h5FV285T
JNZbJ6v9Cl7H9A6s/U8GwssIO62DbcuacbxG9ngOBIStd3NlB3zieZP9KeBPYvlp4SlajuBvWJNa
0x96uNaHao+1GINx04TOi8IEj4sLj7R99EzKywsuJ2gZngeMGyCV8Z8ZBnmpHwP9toE7GfyC10U0
fjPrfZDNAZeqsN9I31xqG61gq/adjD6NgYV9ETdU3B1UzqPzxpXCE4me6dQWlHyrMYg7eCF62H5x
A8YEfMCMSrxGpwpaV9GDwqZvY6121PrVd2XrPAcJtKc+ukJICPw+XylMiKuDrsBsGRX1jtTzjWz6
2HbIxwYdIwi7rjWqD2SDQWTiKCBPbVcDNvYvtl6KUVvHuQFKoFiUWxVUZlA5kh4WxrTkr2CJoaiL
+I2FN6XgicOqvNcIjZHZYAX8qaAvCCP48E4OyWn948DE071PEirFhOH4ONBtlGOQRVqBrWhzg6Bi
D4tGbYKjtfQI7XDgz9XwUekDB7E3Q1ZaU3yPsLs1nixhmxlN7Ej/BSoE/BHgg4k1/ZgJzIG/Xeet
v6pa/Yvw0CPIbFR7cfFXc8fCCU4tzjmjuBgLKa+s/Ar9EnIUe7/az12rEy2w3xvDFWRfAl3ZyovF
vJeDmyB8EWoSKPGsKmcCPz+I1xV+CuMdMfomdmNnQ3jl6td27CyEZpttr0Cmc4r8BQKNYCVP6+IU
FOl/q0/yEEIum3jHu5aQ+90ZDp4ggO+ysp47FxlsawmrjACYpee/wT0svcnn8NWejxtFD9enrmvt
y6WQwT84C464q1CMxn+9OnsLw1I573mD47IM/nwKg5fnxxozLuAvoKUDVAJb9VdBKBPxMm0hRIs2
L1VNH7fwpBOoehqgFz5Efg70VQqlfWEskfKfFlPc4XULU35xLNocaX8orQFwloYrlexLA8A//Hba
k/HUQcHn30FCgKnxvRLA1TjQXxjGduCn0gayvQg/MnTDHVB+UywN3MtwxBj54Vivbo35WDxCsDXW
BCqGIJmdV2SlFWhiMMMeBOxwYr8GW1bjTgla8mbXLHbdDyfA5C4guwphoYT10Ic6BztZ7ukVs/tC
2fyMtNSd/x9pZ7bbOJZl0R9qAuTlcMlXzZJlW7LkKV4I2+HgPM/8+l7MAqrDCsNGZNdTAZkpmsOd
ztl77Q49BnW6onvrextFrbJohg4BWYirgzUivm0x0ytY95rhUdXue+0BhEEU8YQizs5+NDOn0BCF
LhmtX0R3VUuX9bkyyD+P2zdZ1pu6QwxfIn1E/uYom9R7cvDosxeZCfXRi8IViuOjO5nYTcvT+LKK
ddloV7FkH8VpeeFFxUpzHk0Pra9H+3Y4OMHUUNhVOq6xYjNU6U3ESZklZSdLlHty9O5GrXpTFWeu
8NeBhkNz99ZYOvKex4FTS2bc5+Wv1DFXleY8V6liL7qxoirCSY/64UI6SDnMbJ3F7XYI6J5Of8nk
0VqbmIUDRAiw1kKXivwjiBPbvMkFCim86uktcTSbnsOZg/QuT/xZJP114mSnvNVf+0h7igaGq2As
hT/01Fizp9GXwmjYnQz6NuyfXSd8KkLx1o0p5AVH3mpFuDXx7NmsJQN17FBnEW6No545a5PKlIUD
XlO8eZwGK6gos8L2920r5jJutrSCj6nbIn9/bKvXGl0S5/qbwvdflBIxaZW8DUP0Zo7ljT9kL1nf
4/fgtK5YkwOjhfJBAw5FR1WQzqgE66k3Go/Di+awt8YhdRfb7s5T7yO6Ve9CVgXGLeuMbCoAPHK2
KVF28kFaZDbgsgp1hCMA/b08nOddvNCScd1bNA7L9NruMaUX5jYuzKVCZagfafVhScCh7b8UDeKj
QKRLn1rbtC7k09rgFDMFt6DgC+8QrwXwZNiSM/e35Kl1lb9QUjxfISpv09XiuWV7z4PdU3oN3U09
Ri+KMiIpIzf0huavCRADgIeOhrWPdHqDmBZsfV/b7t4PDPixfSjpnwUdzjDPKJ/bXtsGGToov6eX
QMPVFQ9xVhY0wBoWG2QHmdmeqtj6aTpUNSNzphc8Zg4LrDtW5F7Rj11qzNNxYi3ZeryYFrZkj/6G
SDBXi7y/Km0E7rk7zl3lue9GzvIcloZRPbcSkbzVlXvk6rdShJso6G8d2W58aBCgT1dj4wy7tBg3
ainRJ3Q1iujQsourUsvCZhaCgWlDHXsNJSBqqNqidfQEzXFigqEx2b875k8zte8pGqX2U4On2oq8
ehn3er1oYgW9hHaMwn5AgD4qk6voKBINf1RXnZy+Bxifoj7M7Zy1qUJiSrtylWPtSrVik4YU45CS
4NSvFo1BxTlGkusCGKBt9+wD7tTRhbfDT0sRzzYHz0T6DyQ+L2kZ3kvp7eVIPBvG7FTV9jqPlc7I
HvHBrDSCo9kicnRMNopWPA8zqGOetYiHh5x/Zse0jY0jQMCrtKtuY1/C52CsjOoTDxab9rjTTAX7
lZjFTvrkmM6CVvG8Kse5Uot1YjarVngbTzNvY1kibrbnbofaQ81Z6oJlNXjnwW/Z/yF0s+O9rhg3
JOzg/LQ3fdduaZ6vLNu/Gi31YJXDSxE36J+D+t3PMPRVWboeWsfl9SLdp5zwEAUZKlitRKNWu/et
5WOjK+oZXw6qV+MuMqJ9hyUyFu4qwr89GtOqIN+rCMdyVrNHcn1lDRrvYLM9CQxlo+mqR25oek2f
+RWDVbpAIQIYN1gFVvYLy/+yTu25grOjIraNUjw25XgZ6MY8i9QlonDmecS1tL/KexNIzFw34k0S
i40o0DthrZKRucuqfDinOSrRQUejz2oq6+pa9WgmOWaBjAKBV9VvHIstaPlk65uaioQ2mO+i57A6
Nuq5se21ZnEzqn6FRuk5sPNrp6qvY6/dd3qXLunbrTM34kBWA2Iw+1t1csn2mrdNavu2MLIXupbW
rJaRzwnOQMQEHWOorxs7pqM3UMn1ri3UAwF1q3mH0ThTjL0WKDcq7vZcvVGik6a/x/0ve0SkDjjB
KHbOGNBRRH5i9Jy4Hc6LKGjlyMldrXRMvu6KcNNV7OydOn6wXMx6sG2q3EJMCcbPbL2XwLtKxVvd
ppvOYy/Rm2wwEeO4o77N+x8IwmYuTczRvS/Lh0ATm4aWKCpzzlO3DbbKoTCWI9aaAcVw0b24lOSF
2997LLdqO65Tx1/aSrwUqsfegXkFElYYVI9JlV913Y9eeg9Rh5QvxGRECSGbWYN3N3VIvTRZdr1y
63nKhinf35hxLqjAjMa9O5RYgUdPslbqWbcxROkh+vCcu9zw/Hs3qUaarLgPBOdVCiM+PJNg6nVT
XJUnpdVO1uhXD05k2rxUn6IuDoJ0WcSU9cdkoCNblx1vEbuq0MmBQGubUX7wLYfWoEDeGIkOroOt
yys0HdpNk1EpZ+9r7BtfpnexEpc7V4+Mp9zjO0UkrCJRpZIXlq26Tq3euukExBeX3LtZ0KS/bF95
L01m0DDX3vuWuk/uI6omN/YVQyGQEhfKujsGAMTUrigQ9bfWPX5zhBMgzsx5V6qArno7uW9Tld2L
NCr1tuki5zo1HAWci0uKVhwY9V3RpNrJ8eVj66Dux/fhPxhukL2wQNFvbeyxeKKNmTyroeYi/Iu8
6Bi4hb/RotZ+VjFWmssAzdkIS8Nh6U0BwQ8QX+ouWwOi6h5BlvE0JQrC7ahXj9T6MBLYHlC13lc4
G+Cfm+uaCCnf1vUtTNf8Tm0wms7U1rTkzGtM+8b1EKSwWXHlii4/klTmq3/a4c1jwxl/MxQ6esCq
BpzKWGekZJiSgUL5dqrOewOWL6I9jlh0ClFa0cF9iNOKwUPH8ecQ9Daq+SYlvYCVVSLDyMdlaDNc
kHr8bAe2VkkBT4DIXptCszUs/WDwn8Qokh+ENdd3uo9krgqTh7IcUC2ChquMXeoEGJLHIOJ0XjbU
VgMZ58G8SQEIReCWizbn0JXQRJ/3bRw++bWoF2Xm9cfSjRGm1FqFvVNzeprxNQ8QwJh9dvKcpmih
AXD5Gr/3CRdxyk7XJpogJzTtgjic5wZdpG7QT5LTsFy2+ibr/h4gSS47AGDL0oAOGxdYxEjamCOS
SIeAudAAPn1H3f4ESEp6PZnHhqrxv0t8u0mMsu5XqX4CU1TRGfuO1P7J70/EVrjMpiQSVVxkjySR
6jpR5din2nztAIp9lxP6ySv4/ff1i1dgAf7BK8Dvx7ADXRdxw9ajz/b1e/7mJvQL/qVWeojjUi6i
BXsWQuU7iiP4zAuE48QtdnQis2GcOhdQWEG+Lr0tS5Jmsnv37G9AlH/+8aaGJ2XCSdtEvVsXT8ge
HF3Rg0Y/TfCErZ1svn42fxJnP/78xbOh422Iyufn1XzvyG07brthLaPvol++u4uLcYC6vstjTuqn
dHwb+3Pw+vVdfPfzFzBbkVe5B5xVh5+0Sa5T/Zs3/OlDAgdK1iPoUcL6PgJUrZbZNchN/nqV6hCn
1Jnxjjru7++BvBpLgAPVyBG6II66ueZHeQhrFtTmzIEohk/tX1yBPG7VkLam/ZEmGYRVmgShY54M
jB80M5PsbwP6yOXDZvvfC8iL5xRmY5hXXKDBvt9RvVfrv8bMmhrBPpIMIeJJudbHKyjYANA5CuP0
wEIys9zvspY++5CIxJS6AfjVsS4hs51jY6/NG+vUZfG8RPJFP+zrlzA9g4+zBRheCM9khliQ7rWL
Z9REBvw9A/N/292MKHaTbbcu75z070fEh8tcoMnRLUSeY3MZdsHGAhHs13fx57xtCiIHOBHxIenG
ZbBklXYFJtRUntTYuY7odydr/pxvPqdPhh0YfWb/adiR3nLxsmtL09skd9RTYRfdJjN0Gn8Avpe9
7uOZQ4n2zU19ej1CuS0d/rbxB6e8MHKvozeonkrMZyKad73LNiXASt8u/vrx2YJrTPn1Jmz0i4+g
C+ye+7aGk2itzoMi24579qDuK0qe7Pz1tT75pAlltwXRIHxzhnrxFGUd5cR+1ZCZB0inS6v95oMW
n3zRDnVYlGFkpE4U649jstSl22cZexC7ojPWW47yjsaIKWboqp5YOtUFMmF0hpzVIzasUbOjLf0/
DrWYat6J0JE3jaY2VzXlx7Ws9RzAFYe95YCO+pbyS3Sj9z+GbB+0tbWJNLNeRREaYD0rjJ+cg8H1
Yp7V7sLQ6tdfP7pPvnLSMy3TMJCdkKJ+MSU7cvBVayy5M+7Gic8D1WgbY+DXV/nksyN0Xp/SpFnl
+S4+Pj9Yi6YAO6CfSCpaGLjdfB+uDrYpLf9ux/vPlvbj7EOE3PR1E1bkTCmnH6+lT63l1Fbdk3Zb
SXMm0Hy75ltu3DtBBiaWsywKq/3X9/fnB8jXB92aqCwuLC7z69zGymxQPe6JI8jaVZTV8a9/n0RY
NBomUbQWvYGP9yQHtYstNw/QeXXoFpOdrv11qgCb7N+uML3B37D/WYKfQ5hcoRkwOGCi/OtYAX4f
NvvET7cmKv/H349My08aPQrOIQrgAhzPN1/YJ28Ax57JHhTBs8UlPv6+0+SNGjcRb13g9GSqrv/N
K/jtAhdzTOXSPxkKLpCrq+rMiPzbN8wBhEMwKRVE56J8+Pj3q23t6lnuKSeCA6P8R199s9D8+Xz4
fd6ANDkP8p1ezGCR5imov1zllMirVFvTCfn67/9zHqGB9c+wY/9OO+3i/Qqlpi2gmdHZHrepcw4t
CHx/vXv8eImL9T7tC1OFIhOdTYVaDRTHvx7EDocQ+PSg8DnLXg4yIGxFRLk5OhvqNtll3l+PAIeK
oUEAkATv9Mcaggss7hL01uf0Depp8l0ezycvmHhcjW2jzVWIuPz4AUVFIpJicKIzLSLq0Nnj1+/3
u5+/OCWLtrRq1NvROUmv7Oa6lN98/9P38XHWntJ9//vn2xfnD0PUNHINfl/Dvoo1BEzi5DoNsCPY
8TcHwk++VSoh0iJtlMw807wYa31oWX7sJCmew3tQHzNanShOvn5ef654zodrTM/zt/m0SCoi4XOu
oSBqQ8Sz1KYq4PLri3zyUj5c5GJZsK2UzGLM0udML+gnXY3pN0Pi0yclWNqkIDtPXs6quMfcvgrT
9DxJhDw3nZdlsHHjZv0v7uO3y1y8kK5yrdSlOnZ+qMjoCf96aXMMXjabN7qOf+5Eo7gtey/15SmJ
XmtqkuLmr/96oumIOHF45ZRML151nFHm6zPXogK/gBj51+HdJJ/9/vMXLzlSTGH6Hj/fBv0Kt16G
ofJf3IBusjjY7F3YsX/8VmMRWGM7djwgNHEBnm30i19f4ZPviIBK1jbDNigRXp45SULUyIqz5akr
IeIsrWgFn/nrS3wy4EyVIxQBXs4/I/vjTWS4U0VWtfbJdCD2YQhRrnJwcnH3zUL3yZjjQEjapjBV
e0pb/HidPAniQLcBlXthfgUX9Nud0icz4YcLXEzkPkqncmh7+xT9wl6IywzHoASa/N3Of5qxf5tx
SS2ydRusJyWf6UhzmbzVagb+s14q52zQlwkWEqUh44KEiWY7OgNiZWR0wv9m6r08SXEpJnmNo4Am
SA83L6u5aR3omuf2OpL8IevpgsXECHCu2/jxSD5TU+SYugLPyW6jutGPqfR6oJQhlG7hol1NajQl
YCLMRdvwaqXft7/8cGiztcDkRRPrHgUbyIW8Wjq4wibjN7QUkrGxiRYuiD6z3SJZRHfWDTJS/u4b
/M/N6VQxJbhhbvFiHvMESGpftvqZbICndZbuo6evP/KLj+8/FzB0Gv0AWf/cQyCfqx1VbfSzCjlc
wvdrxeL/d4WLfXSV1JowfG7BaJ6VtfsvbkCAzqGGxiZ06kx8HD1+Sm0rqzR+3lDWQehvvtlk/VNN
//BV04TgDViOQUygqsuLfYTeBRS37EI/+4nm7OjWhdsqbbsHQs2GQ6zVCl6RHv2ZP+BFNqPcvA5q
hw5S28lqJfXG3Mkwj380gm93bpi1NU/xNS89kywdZ6w0Aj0be2dYdrxNKgX5ehXIeWs3GnJd11kQ
NEynyO+0ECJvo/6ENTGufMNNAZG6/Ter8ydfA6OYO9Uo5PE9XK4MIVGJvtUbZ138cl48/eHrT+Fi
0p4+Nt6SqhnEg0EeuZy089q1ncR2eZRYW+z62k4y6h1vX1/kn8Xl4oVN8VOGKYRt0qO6uIlklDX2
C884y0GC3yY34QmRT238EMRKmvPoHTqNhJnWrTJrV+IslT9aCtRK+83DvJh2/3O3pmYRDy3ZHF4e
kBADEVPU5zzMOkYJ4x8ASu0Lia7V0cDLddXd1zd+sV79cb2LgeYkoFVchFdnw0SNU+G2R+CbQnf4
5jqX9RCiJ9UpJVDA75O6ZhkXQ26sGscE8WyAuTUXkNuuysH9JS1MOoWxayPYKLaHms2kEtP5zTdP
VUzj7ffX61i07qbAbUpzFAMvB3zU6RycY9W7Fc1YY0DPlK2TYs9LCjW+xlsEvD6MDET6mtjm2G9m
dQruFyGjBg60M1UiQWIPmAk1PaXrnSUzb7+UBS5oq2y7jYiBFn79YrTpKHz5Jxu0NKdvQbeNy5os
duQICJzu36a0MGZmoD/1pbSh0meM9NBhB0PV7oYuCgYpxalX8CbsbZA20TdT8eUXCRCI4TA9NA4q
mnM5MvRQjUvygoNj54kUJgscQ/Jt1F1jhPHC0mPMf9pQrL+++8vP8p+L0t3gspQ6MeF9nKAdtcLU
4mXhEb01LNvSOuqAT/Tt11e5nLkur3Lx8Yep0RhGy1W07OygcYubvyt3MIZ5dr/dxsVKXLZxT6oc
Fyhdly3tfdWcvr6DP78SrsBmn9jHKRmdZsrHB8UiBocn7b2j7jSHuHYRH3dEnMC/7+xyD5YR5aGP
N9Q9TN7WChnb13/A5ew83SHNOimoV0xT1sUd1rUNxRPxwzH2m4WHGqmSoI6/2W989jX8fpHpPf52
ipWhEiER0bzjxNSo8Ln6WFgCBcTV+V/cDd13h00BY86ZxsJvF2rMzolH9ENHafXviVncAKva0cN7
+/oyn96PbQmLOipNtsuhDYjZNntX+MfWMeaanr6kdv6a6+NbKcpvToXTNv3DLML7MUyK3aYAh246
F++Ht4InxwnxZlmvbG/D4NwikmFpKxz8SoAvvr6zzz4Hdh1y0nrozPjTP//tAVYI1G2vK/xjh1Ou
PIflQ69/s7f6bNAS9UtHUrWQL16GMEdaV1CDs72jW65sDVfZ4etb+OT3JWdQHpeDhpkj1sdbwI4/
Ds7ouYciJBbdOJNe9/cXoMAqLLZLJg//4iOL8S4pYFucA9BFFZ3pN6/gs7+fCqXNZ6xxkDanL+K3
V6DZuRw0z3QOcXuzb81/8cfzeaKTEA6dqMvNXq/qqaZm0jkQOJaZj13yTX37k6FhqzQ8yVe3NTbn
F99rCKhSHxA2HysTEeAbXEBBwJP3TQ33k8/0w1WmZ/jbM8pq6cJTbr2jU8HtLK1zTiaPhCX312+a
y+AophJKl1u9WF9awkATnxi0ozUMa1t3rzArLr6+xOfP6/8ucfG8Eq8iaILYmKMndjq+cnPup+v6
u8bSZ8+LyhKCA0n5hMH98Xk5eDiLllz0Q0z00KDfucW2OH19I598tjQemHjZ7TMqrIthp0FvG0t0
xgd8IUa5QYr39e9/8qCcaSVm54k87A91T6IGdjTUKqMue1ehB6vOLscV0Kmzr6/z56PilQuV8hV1
SkbKxfDrY9v0EIc6h/Gtjm7jh6b96xHIBUybGp9B2ZgD4Md34Zl2WpqebR9Sbx9sC+vvypSs4VMp
ZlKW2FNW9eUA1JSK9lss7INUVsO1GX6z5WL5+fNNsGmgZqXRoeF1fGyTi/+xWheqVakMh0Rbgcxb
/U+bi0E3IwBNtntIsNBE2q4IiW46a9VjMI3M7NH3Xuh2S6+DneKAus3ngI42dFnXui+2MbQo338f
y6eohgXJ1t2yAU3iHuxIaUJr3bnU+kqx6FPcsL1253sBYP81PP5kwDRDSxbv0xYbz7L1VRxRxWOB
ubqs8qUb1xs3gMtgkZk7FOTqBcdMEoCDarsPHidmu6MdMT3j/78Nxzun9eZjoO3V7FCGxwFYNkbh
csisWUywb1jEuyKt0fE7KyXRFzkHimi4LUh5U6H/ZLgVkt2obIUbzwp9NxiPZvpsRFegexflJCQq
gB0RYGRfV7m54jQ4gU9gGl07eLH05Iif3CZLgXRUVUBBqOFX9tU1WPSl6OtZWTy6ZXnjSZw5MVwf
DE1QqVYlASNN/Cq1Kzd71ttdGm5zIMkqxiA9ImBW/9niiBKgXxUokyMQBZLcBP4PMz0E8UknNFE2
N8hVKw/JaeSusu4VKOKic25UUB2hFswQcfsw5/DC6lPgi/WzyFHg1l0z11q8ZzUqJhm4u1b/UeQw
zJyruIX09tOXDZj1s+ufIjJEoXXq1RYge0F0rPHD5R0XNXlUcGadflgFmINlWc68uF5U+kqRYC3L
ah6BoqwmY3sLUit/yOw9HJvefi5A9vphDooGWQiSWEfWM9MZZqgH5jLgybTXGgjIBCJhC2rC1Pc9
KZJRDS+PJUkF4cmWC0spctMxwiDGdsrM9+yMKFJceUmJjVrHBoB8op5k1vxYvQsrPGewPkAxDvVr
Ts6O4dQbK+23OorkPnBJmXgF9jNz2mc4XduSBqkV3FmxCb1eh61JU216M+Oxk1tDz5ZJ47z5ZvUr
yMSP2Eo2vT8sp0DFwHzFDTDTyo0M3nHc8hQbAvSqH4TAbKr6HdbnnU2PIIqilZW9IsZaiwpcfzKz
Od/1sP+12iCDRcMMB8KCnJVgPFi8VlVdGASUkeyy0zvSekmN6f2XwYCpXVZLtN9r8isWZXHrcKrX
x/loTqgND47oteY/SrJQlBy4XzwXBToc9tbDoqyPVmvPqvwwZNdVf93gf0x6oCbjBoL1WrG7uZbs
c4aI5P+OWO26BPudW27z8kqAbSjbhxaSC9y/zn80Qx+G2Dkji6p7jTJcfHd+9ZxjHhLxbrJfgwX0
2xtV2btCXWIhwKv0UzWOEuKhHj+RVFnCvvNKuAAWXNHAnmX8ccVwUIn31UnBkvgtjfzeSZ9L/JQ5
+htwOvYqJaHZI34rGUKmIoySavPQOPjnSlkeYRiEWMgp4PVUdYj2A0f8RnkOzTnw4jCfAwqeO/ov
U67AScAPy2fSsFeUqwDuPhfyTiOd19yMFinEP/PyaGBxGOJgVRkuXyXfbnfAPZ03/Sy2w+sOesho
v/vEB3RlsCoSZ2NWLQlk7bFu1I0CtlgL99r42jvbqk5WdnxQbEgz50z9gXiktxvCD/A+gu5WobDo
Al4A3i4I9nX5mOGb9AD8FR0hJEjsyN2KiPt+KjAxuHLvyxJbfgg6jtmn1OZRBvp0fMJgoyVXAziN
2Dx1ghDH9iii4xhB+vKfRXDSQRQX/lmS3EqCijg0+bPh/FKRnxkVSJ9sZxBc6Vj7HDoClvjcqXgJ
12lIwGUrcZBsLGKLSjyTVfjod2+ECKj1Pp4sSTq2RSJ1iJmcCSyiVvFDUx+lcgrbERb8CeurA76x
65cRDpUsG/m2sbrCbdD991o/KngDAeQ6mKlKg+wdO1+ZI1wVzG1jpt8VVaEuSqVrl0jvjWUZ3CfD
m4gPEzMgzsx56O67eKmV+X+cssDhVEW7Eoa3xJeXKtf+6KLlT66xuSz0MCR1NWA2cgCv1XCT8ZgM
bFWAjMOdRhD1C6yxFhwUEKgAwCI8GIZKC8KZJc2veDz5ig+jol85ibMalJceqnqJumnKqBvUauvk
2bKtt2RZDxYRRu8VY1Pn3/7H6vuCMGxl1OMGQeyCDK9ro7KuQqgjFcSKOrwKgbnHhB10wWOhNs+F
2EHIm/K5G2sHUfYqSBimZCJqUt3BzC5r78pz7hNBsBYUwZpVNSDOw7P2MU9fHDvzpIbH2NrBLV8y
adXZU+AQAASoKnHF9SCeWN41EH3WK5KRuUCl20fNIp84cpjvDHVYURPY5QmI4OYZCMsmHPFL95bY
9q5FemG0AZuxtBJ3hQwCJhSZoVrBXQ88zvKqUfN5okb39RTiyfphgLyoBdZfac6x23VeCW6TzJ82
XowpYS6+sh+9DCd69UPR3zStWZVVgUPJ34SxvmurDgB2tgchTTJw9GBE/qH4J0Y3gLkSSyz1/aJQ
Ncj6wZUJu7VS7HXVPoeFslGrHnBks8YisXKL4c6M5VHTkkf2I+UiD9XdkJoHjGErz/mpgXsa0/Km
FNBCLZFKjHduSbw3tWJVYGbOqmgJ2uOqqQXEqGFvwhiwovxZyTjiELbX4DvNrWiL5/rghuPSiXBm
gpsORQVOhqi1YACYlenvoSwPaRH8ajLtV+glq7AgxSLEwU86l2nKWSH6eV5NOydiPAq59aPgGJuQ
/6Ji25jqzWhMxGd7MQA5VC3mWLKemt7GhtltsdguKuRvTl3fxPjwvXTEhEKkN4AwQn8wx+nEwoc3
ttZcpwNDw+oA8Kjd3kvDV0PLt23vL8lQZDmPChUb/3AITP+Wn6I6SeCQTS7kZHcMfL09unnpzaIS
H58SkMGpbSR/JfX/TTKZyz29mxmhAr/AKJb1mCwiqoBdKpFJ5LeajPZCd19DW32ARpVgptIFTLJi
J0R/NiTTKA6quzgiW9nFsZmE97E/MBZN8ypIuyXGY7yt/TrM8keNvQvlAIg5xckqQZW16TNpfMTb
ZAtJw1EpVfjannbWMo8/yS8XXl/v/bJfDymO3rpSH1NH3VWNprPIDu+mXo6Lvig3I5+PXrq3sVtD
wrCXAEDWASjlRhkXYX8bwVfBebAtLSbaSl8OdC+tMLgp3Z9B8GBgxgVlMDMF3UtgvIMG+7pY90ZN
CzO6Lb0JDTu3tWxmOOfKudeME4ENrQfbwEp6rJa7EUpeG4BfIDt4TIN1J/NtwK2UKmgDQpADHaAS
IA+9BEcSIimLgUaWUIVQROpPsf+qVe91Nz6XwEI781FC+S0ZriQ5keDFcOySmZqxtxiqvTHxCLt+
gxUWNO1I+VtjKSWQXOI5VexlzaJbmM9Wdu8xEQSESVcTdcVIV6RxYC79VSHBHOW5Kd564bCdbad4
5vmIEKNM8vmQ3rRSwu96IrHruvTjncdRotnF1kHPq0Uh+FfYR6UexAVcrmKoriJq7WVV34qkv02J
T1TEC/yhZRNfIzZeELC0KJQ7N3sHIe3nO19/z3BMEBwXKuo19q6dwrSp8GIirKy+edXLaGGq4IlL
7NkeE3GvkeOXEVyHn5qDjyquem+rEvOs5lOC3A+kJvOGF+TqJEOZNhumH5UKf6QQV7lvHEYYuHFH
uo1sh6vc4v1KZdGrRbSUKGHnVeOe8A2urLZcZ1Fwi+r7keDVJytVN71IrskVJVSXIEzTdInDdu/y
opgNmbtoDXUNP4xciu6ZP4EMTH9vVtFBN+rbpiQmOOyTuTLkL00LIaUa6qsBAF4nphVDPSDUhwIF
3XkmjPggk/LQJ5hgXOE8VgN3blJvC9xqD31vom0u/EK9bkTmzY0kfIM3iAO3hNEDd16FhQDj5tXs
D2wZ55VkD5kY+6onpSHDYz0y3iHu4/71eFFQXbdJR5R3/WL4z576TJTq0kB3MObwEgmxUdnu6YrC
Tw6vzI0oo7VFqDf3qY85GHun0qyqoKdFZN/phr8yAaOOgA+EhrWwkmfH8VdacdMXL9w6Bwtv5pG9
VIYvTXWoiocmIFJLWLPEf54i2A1MhEbyI2YL2rRPtrqWSo9rVGGf/Ob2pCCJ7CiYlEc/5lDIeWaE
DUJkswQX70XufoAgQ16B3brQrPlleT0Um1Yr5kmJxw7KApa+qrzrVLnBpj5vRgRHOYlQ7pXwh0XS
wCpZs8Mw4ieHRF8ATNgnU+QNORtcxSXYCFcwMxmMeAAXLfnaePobHmwKOROkxdJhKPRDt5D+dRJd
D8QdERfJSew2gY7hNHszRo6uEBnXPQ3uQ+0Xa+CsQOCwIrfpPJYHXWDrJ6SPOEV6WxHgvyvpC3ws
bJjzH63TzZP0JjW22mDPfVIqCm3ZRGulzGcoxOZjeULFPSQxcHuSVe1tlfULkNzzMg/2dQHtDO2h
E92JZFMMT71ezmptLziGTAuxb96qyiGSj9K/K+pDL6+z7JeouAVeTCZvaud2JLMss05NODJrkiLe
b0bxnKWYUNma9cqjkhEUDLbE31f+wahfy/JNk+ehi9dmeyqxO5uURjNn4WXVLvbvWu1Ia+aosh80
sonP8KKN6l6Uv6qGy2+ilsMOYUm+y1cH7zPDKV5Ib8e8YcJbakkYEf0aKOSc2CZL7GrtEGUttem1
Oog5ARyhc8yLcNGQPsNhkXmnK1yY3yypJUxAWibes2OuyxJKd7s1eJp9dVDzEzIDZDaHMRX/UF+G
k8N7HKJgAz9o6aZ4r4BKJOAfw+5dV35p8C2I+a3jq37cUEJdF0WyDFQWePOgKdemvvGbXckRpT8m
CgtLhZS/kWM1DxSftDRfIZyvPQUkeCR1fZ8OwGM7xIghsGnDYveoQ9OJ5U0iHkkVXQ9iVWQ3Q3qb
goRk9kvNk4OeGiBBFN9g0ofdm+1K0i9CbT9O6UedyXExcG5EX67C4ckVpJ7e+3HlnBjJmNWKe8W9
x3SyjQaTXRozjVk81OR8+179nDb7WPS3gSNX2rCOjHZnEnutQ0AUFlmrN5IY8ZJ3r6a6SSEnvHO7
h8Tz17WRvkZmuGnTjH10RfQU5/9OPGY6u9+T8O6U6rGr7uioD+ZpwNRe1adRO3rpIVFucAqTSHbU
u87ObnQ1G8+ygpLUNC2bhVapqCD0ETzgjiwnozUsCkNs0DgoxxTHezgn4zxTPdjgpEO91KkMgEDi
J+8MvX7MNDAoSlcSiejyn55JuWFVJGlWkIMSsavEDw78KhP9oS5i/ZxWfedu2KOqG8CJpMPZIesr
7ZG2gJgqunkf+3Bim8ghY4MqU1CYJMWnFlgkMyJbMdbttdqn6lIPGz0GIB02Dy5BWT/6OCyJbOlB
ppOtMD70viQ8ziM4k8pGgtEeX8nSlkRK5VA4OO/QzVo0niIesiKbovqMhlNQrkAiR24zK0ATU/Up
+4VWSNI665pUdcAU3S3gH8JVQKv/UhO5NDWa+5H8X4rOa0lxbImiX6QI6ci/gkBCQEHhyrwoyrW8
9/r6XjxM3LgzPT3VIJ2TuXPnXvyXuLc7VvxYaocvz743VULxzue0SkkHlXj4FPtVGl2Vkl665/oe
VvNKtd80zR3na6c8RtKn5OkqZmlV1vGZiIxdgSPEau9zcahHhqpRSR4AhDe52PTRCGNK9QxSsiPt
1bCWFeA1yX4TqtcnFTTdv6InU1ptHQOgZMFLVvEGNea/DI3O6Dzb3umjn1rxSk4etuX0gRfIX2kE
OZ2CFyRAbX0AMlhPU7mJeDUtAAjQk15AlN1MiCwsUHjtlLmKnXgyiV9d1rpyFt4tCsGMexaQzkxw
cUttXlCXE+y7nvr3PNpG/YuiPuzxFuiPfP56ynvl4i+5ulZB+IEccp78qLB/D6bvsvlauo9o+gvG
8d8EiJXt8XUatfQS2jljMhTJNymTVhPqXNyT1ppChy/T89ylO6W/2TXFPy8NS/K0PIQA2PE+aWg8
L6rlDz0Z3+RA0CBEKd0XYBxBxr8qkc3U2+pbCFgsDgSZocniNpUFJlH+VcKmdIixHS+8St9ZwTMi
h/igWP8k+6FVWj5leGVsxgI0SE5tUbzpNQDF4LlynyUvichuI2rSMhFMboTffDfZRqN4VXMOGw26
7UyurJkXfthKeymK3zqQHhjJOfZLP02HXavynMEMUJPiZSZJJcqsVzgyOxO0t750G7kjKKyL03M7
1N4Ewssic3JtdTKpdsHvoLVE6hITPwXxAZD5piRPCbqaQyzVhoUZPzWFG8cghc34lZ7EEXhjm7r/
5c7eLkg+ZHI7jExROivx0c3MguQQqUZsZ5ybDJsJZOxA19QhuQoR4FdtY7YwQbJ2C9ZsNVsk1ZMa
b70kyzGHXZR18r0v6pMEsKbrbVKH0d1T2posXg+1dcxQeCbpy7L+1dyShH7GGpl3HfRs+rlgelfS
jxrGQ7RQFMPPG/mTKc/bmSuMxsFtRiojfS8yGqAMu1VVEdE+cVz163nGd0kYLPEvB7OST2Ol+0oi
P5EYKOSNG2RosNXWXCSsPM8BsL2xxS4kGqsdf1RBOePMMOfzuD/lEKTtk5p/m3G7riPav+QeVLeU
99skzg3pc5WFkMN/DOVsaFs1/pXTz1p8DNrVhFApT8MtnUMYHHtjKDdxSN4zmOzKuMRy+6KYpAdy
dMOOa9IzOZQIOzaxtvaF/qIxE2+MtwO8yyqV1317hcHLlanyLP4K2YCJTm1NHk6ljKcq+m3aX3zC
BIRQdGzkHJwAdIruLsrhr+AI7OHB9rnfRT9QocLcp4fYpXRHPcpWD/PZI3GDLBwX+vsA/K7/7ahA
TQIfqXnxmXv9cIgTMOrbdhjXTHXXWVygZ89ANHI3I1dEi+8QGRgmIw7AwIxeq5kUJBm43gBTk02v
m2l/1JG263vOKl27E+PhgWCxl2FDYieB12NHjGW+maeLPV2eSN0qjvZm9SzSlTVhzVl+nKxDU/wL
KfH5HbYRkdeJAWY5F9shuOtNRh7Ll243GzOP/gIMpTisyE+c1jr5TN2Ty03eRSxrqwXIBfuMtCIk
7oyxp7X2a5TrO6kgkVPKN1nabLgV/2LL2pcxugMDrQqe3kmjj0ot+YtPhvh3MqnsVPmtudq0RHMK
2g9OZsQHxk/zQYLLYHfWLmu1HwEzU9JueSWtUm1xh+xoUN6kFYuyxlEoN21x+onYupM6X7X2L4w/
lIHb6vkX2NvWIsYs86S23EhqCJqN0OXIcpr5X/60ayl75OaXmL+bjm9BRpGEpfcosucDx9WUNV9K
d63Fqx586/VfX36Uyd7QiUWM1ooiyE/JVtnwD1DCGir8yhK8B5Z2msQ/WE6rfPHn7iLH9z4FnJMD
7Bx3NhejXO7KELZN2rlye3gOc+PyQUrup72kvjK6RN8MxV62s1PD4d4Pr5bxDcBulxdvVeZXAO5W
cRif5ia8dHn0NoGFFOcImo2dMWCaiQTzABC6U/YIBUH0YbsKOJFtewbTaxL2O8LK/jaT70FEBCEX
XGB/TbQLEZPH9iAYOnRhs7KijuSamujgc05w1VxnoPqIxLxXAVqSaV/19MJ8a23BJm4B2BEsraMU
IOaNlLGacc6Tt7G6a9UmphkpCBivkntRHpJnku4kTgmQXim3f4F4rJqEaUAB//dYkck7xPdCJj4r
J4qW2ZA5/9TltAt7rsTBaBHlyKqNe4fKZhtVFOdJg0Y7PTpiU9p6ayaxl89OIrzKcMLhDWzeWiaD
ToBFXuz8pLasRS3k2qXrhYRvEouI5FU5DwFyyLEbPZ2J/kTrp/qtHvsh40YCjhpmomZ5a8KdSQkL
wesRNrgXBqLv1M2A7NeDAtMFMefdNlRO5N0mccRIcs1vBsl4l4j8NrAkIFnzaTQKfraCmyc/9zOf
V7fAfkGrpw9j2gl0Ai79VzakfvxEvmgvwqJl7//a8LcLP9Xqs5V+Ne5FFuCa6axNtqdN/WY2u2fu
nsszTJX2xDIdkvQSK92qbwnMJpYJIgbc5aYovF4z/SdAtNMeNW8+P6OyMK+hQG1PnfHeskU/p9l6
IFZsjn2Nc7lNgm0C4Kd4soI5uWFWkT86087/47mitDkbZP7llM+YYsiPBGCD3CzQ982bDnuhoTSs
7NHBHsBUjOUuSyMCpfXZFHXGlKymYhVpttejV1tAVMKmPahTfejLt5CDVLa2YczCblahehYrZaYn
fm/MS1xXp7x9coRJCJ7UnQSXRHm2CkbhSnqyZQKwycLtkL6zWebl6ZXqGAjJ0niFYd+L6qYXD0OJ
73Pde4OOA7doa1+f9AeBjDLJkUoJ7LQu/CU+tt18SegCZRMaHX3Ts0BSxCWf413aKa/1dJgnV0d+
JOJpLZM2lEq/WHU2uKVWmGrWHOdOb3vLvDc15HF/mpH1z8QE1/0hMG81n0ORHcmkv5vECySLzT1u
u0suXduwPltwNTDLVieT0lfkZCMO+l4bYnfJ/nDaP8nZuP/ILR17X03FmoTtLJ3PGT6MZ6tAj0nd
OH+AZduNtdmvk6z6KFmMKMKIeXziAJP4DCvhhPYRcymMED50Ba0/4UhOeyCfIbwQQQwiDnl9ZQ3G
plZRF4xlZ0/mNRXP9Qo72ou+IrlSAVOJB6CCi60nTAjRiHWxSmZ3pJzJTeScnmTIeUtsIzVdBlk6
WpOfflWL5KsJpDe1l94hPL9WkunCJUG13ykAbvtoj+yScwBnSHHYlN5jU38vDbrfWGzNZ3At4NuZ
x9eoHBUl0rT2kpZ/dOUT70rpkzfFc24T3uW6eiNF+GPqik9bCq4gQV2jzVBP8bSJIncVyTjrRLhS
INURfLjCiNYkDS5cCTqpv5hjFK3ZVHbwUQ2empyMrKLvzWkEv8nvLJTeG8lY4qWTMm/UfmzC9sNY
c8zsbUAC1yjBxrxgcHTizauLmiTwjChjXsTgHKbGgS07qO6Q5WpLbAu61q59SC0/S3mBMO/bcr4X
kNqzLazHHczLlVjSB0DkrBBOOZgXqyJa22LUO7Xrp5G6HtpVmW1jHABJCqG8Bi42wuge53NZ2+tO
13Z1VV+afPlsQgoeU+PuwurZlNg6DALD4UamtrGqzA8FikGEGE0ieWZ9lAayfRg8UpWI7IISUVgn
UMzAOJbvPh1dkuodSda2c0V8bRRLULlq7iFSNMZfwnjQqHjYlvk2Mwmbiz/gNSuzu7YdJ7SABVYc
8mRrRfLayHjSzVeLgREZZFn/HbWlNw/zmrBatyjIZt3JXCvC+gI4Pi7Rw0zQwHilFkjZRTbtBzBp
LSP+bnokPT0fnNNmHFdDcWoUvxDniXTU/CmwwyGcd+EcuiGxDZMt+DeXQ2AVgNo8qSRxMY6/asA/
Bmd5VZgvbTyeNOuXhC0vS18KC+2jypHDPnOLQD3gwAFMJFM2thG7IOPyMrJJICUvkvrIoiOpshaX
2pReqvwScZOFC5mp8MuB2axr+UR5gucFrdxKOOIaBpo/s94fBs0+mi3ntpLrfqFSDLNn3Rn9dW58
odzD5IxgDiZO6v0EblLV7REgtPGhLyMEtBzV9VAmp6fXYsJwEKULMNtghQga2I9CPRiJO1cJL9I/
oAHPWO3YclTtLZiAfWe+XN3II15LgFJJS3lHenWS/LWkkU4AGK4aRLOhvQnw3QbZqgNKtH2q5xZX
v/SiWV+JTGgneLzIBO5d3+WkdRIN64X2pc6vRdh55fCmd1fGWtBQJxBXASPP+hFlf7xK2nBNgd4Z
Bb1MHOqHIOfhFKWx4Fco1jjYGOHKV6XA0qFejeCL3YKuPaSlfiDZnXBgcH3NPoYeLD/nRTpuoIHI
TrM7RkrswHvcLbn9rcfdB7mvPwvE4xrWd5IhuWp+TtarQaaA+V5zCvRE+ZYalCOD6QjDwQyKuryb
IEvrjYONQW09BiCV+GqqDyYNAS+jKvkT/pznuC9SX6tSR06k3dDnYwqXAQEdRmE0XERxpUYnULz0
JVA4QFLpu47AoDYR+dRR+2Oz2Tb2F4wC6YJEaLyb5a+J7YbRt6Ltpvox5oxsz/JyLnO8UdGBYfI6
1ignOVv+BqAyMM7QwYGbcLnK0PWUS15TeRNNaEPyrowfDKyouO06wopD4ApVxl8+UrsBXiBnmbDg
cNK2RZTuZFA1o4pTFI673L03KN9t8GJN12n81bk+4FiQKn7skhNNfp09Ih0JuDsV+lHY+9Z8AwKh
YAyiTcmlRzyUu7gmfbqLEGAHOd88RzhDfJ3Jxs/gXNevEZ84IZA8kd7CnE7tbyLfGsnOWP4iktl7
1Z2aP9H/hYMvF8E+ML/65VIM7aaQU7+rPzS0ejuFdsf5113tQvL5mEXzKCUX6IVBs8njJgcEU+S2
T06nM+m7qXzAvmEFRRY54N2DnO172kAiK+WGyR00tediimuanJeTAx1Ua32tsQ9qUnEhJa42/8bt
jqJRLS4aLgajxifDorbeeaP0nmmHYBQHZuprI95Z4WlMoZClTrkANXEr3suFG3+BDmQSRcQB0XvA
/WosdXCx/CYpsmej7GoCewnu8g/RbmJYQLH44KTfMU9ZJSVZucMXlpkCP4ileKXsIo9WDV6xajkY
wW9ihtteZjail1uq7lWZREeTa440TDiQp9z8bCJkTalz9HaPl0Hnkl9i+PaMwkiHJiR73Q0B/C+0
+cwrqo2Vg7WKCIdvCNNFUnyS6Ih1NGxlnSsl40d+k674U+3YiRWOA/bwlH0pY1OLhYNh27Er4lm1
39QYcbty91Cm2Sn0R80Pgs8guBulFzS/WnSLs5vdMDLHGWIux9TWmTE9gLwJOnCrvzSj4hnw1IYU
iTBoCCf3I0Tn+ToyzxlD+RzDtx4DCDUXqLuscHBUa3S8HI77CAZfJpHLvW9ESsOBFvVVUsxZHX2o
SUcAP31sPrPnxHyiVPjOkBqw+686Q7xwzL1oWEaQPfazYr32dAbyNuDtzT40kzjh6Fj3htOnfJ7X
JvR4P7ueAcYG6X9XZjABn1hz+xjm8XEyaUSLi9K+LlqwMuvvYaAU4C/RG7STPzHMu6knsp858MQn
nzMnSYyf4GlyI2ZFGX4XgnubOlk/gTb6WKO+dzgICA2nRJdxWtljvTJIQCbW6MACrqeb43Hh9iQN
lMTaa1rw1EJqXCplHStI/WQa20RTS8pL0jLPifZQWddB3jyaYL7VxrIN4ZzMku0bGH0tcdGbi02q
UVZuo+ykadk2GM8qepjV566pvzRtz6CKQqeFW/QR03AMbqw813qxe5r5TirfBZZBLkNoKns5f+kL
fwSeo9ko6KHh83cm/kOGdiTBVBqWTaXml6XoGSXyFdqNE2FDbORgNzxJy/G8hhi6i2l/RP4TG4/Q
hByxGJ5eIGjqsB1yOkILLBPTQFG6PBF7VsB8s+aDsopjGnxpJdfZhfQIVvUucXhHnZl5dtLok7LV
GWk8NIkee7xx4UvhT1q+tn1yNkDNlkK7a5HPUvYqGf6RhLwGruAA5kFFn/w0v5XlAeie25cXmcbc
5u5hl4BRLz585W4yIcyiyY07yipLPsjUvQbHYdB8wdiV9GktxSE5tKWjpcbGGpb1QDY1KXP4Mf8i
ikBlAgvyXeFDEmO0DY3vpme8twDL7CYnNDt4VL5SfU/P3xPYcUVXVuQ/iy42mHTWVtJssQnz5uCY
s/DIlFSBuu3GtEHKhxihlt0r7UNp7G9z+ddUvadJ5hG47KazOcNwaCbyd1F+zeE3CwBOErijjJD9
N4Z7Y/HrIFopql9Aks/bnyGy/cYSpxIZlZE+Rp+y3Ov04CmfJZ9KkHhJhA3jK+VriptdB8mtCb80
Xl9NTxxZw1oV3yK92yzT2axJirbO7O5m5m8pbC+Am1zOL0T3m5TH2QI1CiUuJJh+wlRFdu3CRaNp
Xjl5ovdq802dVIcAjE1TDNuKtyMzAeGo9gYa0WoML4Vsw7i5h5G+alOBst8cpPK2pD9md6vw5/WD
uakU0OICWxzeEu4unWlaKu+G8PP5NIuLKS7aEyu4HzUsgxoLyUVFXrzhpKXi50m5b+wbLOu+l9FS
8STEl1ln4exQV19N/DkoX1n0GgDOHYvhRTOgRKIrN09LEiLgOFH4jwWi9DFsMD32j0XhoNzn5CMo
XlP+KgQ+SX5onnQ6PFtL3xoGrKprhL+j/pn2nhHEKymGYSLdZWy9phbTRLRurH1NMEMS3gw5vjWV
5jwtcTkVb9mVzkJPMHFiIWaCWPrX2l7Y/rYUWRKjp5LpyFvf9ZS5z7OHCDWNd53pMkivJPqME+Ki
0UCLdWr/aM3pOWHs4Hdn0XrBVaI9jQ2o1KaWckCh45a+pft5lLkplr/EUW2L0/Ffl0AfPiaEpo9T
t5uGc52ezOlUD+TUh1TMhQMoVe87jxUwwtmIIou2A3HlUEg0nAQkejPpqa0/KSA4YBQPG5mvgUeQ
EiTQq1uS2p0ElF2WKPCKKVnApdL4OgPspVG7SZOP+wOKMba4xoN82GHK6pl8y9kuFq9Bf2MLfvXs
SgpSySbOk/IeReIcxNNOI727uah1joPHPvR6wsWA6sXW/zrJmUxL0XsP17VrT6ayKwafqU6CkJyY
m1kcqmJx8vFb79MV7TNhs9/L5JbTiO3svbe8PpXx4ecrMeAR1YqDPevrdlD9qdpqKcygbG7YdieB
vHzOb3gzPBp1pxAk1F1hubwOZcNT7OYkNMztv67DtjHb53J5CSWFKQgS+2hVG401X7U9Dq3DTGXF
QHfsd5gD836TA+8Iu2Peqp9ZaLkSnfRzFKbBHzF4XJok3SjoUCMhLT2gAQVAd3VdEDeDahMVQDTl
PQOwcuQ7Kd4AKK0roPP4sfwBQMPYv4447lWBD3RaQYA96OMBm9pLPV+NOXGK9C4jJAf4KHqDjOre
9HrcnFEEvF4/P4HL0Aog38RUK/K6Mv0iAIptEd4fSNs63DUFF2Cm4FYI5vpo2Om1J4gFI9ic/TAQ
S5VubSGaJo21Fp3Nk8KiAF9cxfN1SNqI9w2AEU/FnO/N+jAtFBeEPzd+DoRtQIBGua/zQ99+JlAZ
RXloYq9BHpShITd+X3sRVid61ZYTTTyL7gh6B/eVUeVubLyn7XtaWadJlw8z7+mIib83901+J/pm
pUT/jLjbNpPYM+VsQ3mLezQR3U7ILwEfuGqi/XiEsuvZoRgOmvl41gxBSoi88qVknr3Y7DchNuiv
pX3pDAK1VfNpPJnM1RgJwBD6aWKKW7WXpipOJrJTisskB76GZlmwXL4Iz4DsULm2sUVy1UlgD8Oe
SSIwJUTpUDyYyeZAqNt0n0uMGTl1IBAA5Ig7vJHYuX4KIpqUkacRWvuXOv6BHoIoL/cd0wQkYeSq
kTIMzNycenJ4aYxLlDo1PRbdTzE7IagBQgMCL5wYtASTF7TptkaakbIWB8V8w4XrWOayVZNbVYjL
Ar8OO2EhNhgKFemsxh8YRp6WOptvOoX+mhQSfFZI1fyapGpBM/yEhrXOxW3pAzwOMSyee22c7VxQ
zsfnpmOUbkSFZzOYXsYQ+76y0qMfNjx0pmjR8Ijt9xzHDAsHq6xqkLm7VVoB5Bk7Z8SPH4a5o+Iu
tGfNrTAe6XX9XduFS8aFExWdk+mGawQCMmF4VZZLGPCNdJxN4Ub0LvOaieimKNhrACKXonKjIVpX
9StE843yLCA5XS2xT9UGjy9JK0XuGDX+lPoyc6xXMv6rtR1Kn910bEAuWjhYkms74l8AOAPjQZdP
Ep94GTCLDbvYX5TqNBjpixite2Br28RKmEc9BoxEiVKtdDwqcYfwNT3mZgvudj2zkCmnD7MLPg2L
EfYIKtKYbDyj96gHKGwlDqiDa2b1mwpTbEAHSgTLxqqmc1Yq54kzlZkGhEXrkWpZuzEhbRhMSIm3
wP8ECjuuGBZEjhpY/8zI4tEdYvacDhQCjoUZO8WkoyZ/BJdiBGLSanlJOZ2yPFipGrsmQ8R+gD3S
K+Mc9Cr6lG6Qf1QAfo16U7X03CCYKEBaB1J7irTDZsCMpbNXlEeJ/h63vs3amOSTeWLj2LcyfKDW
toQDL5MsYvJrrfxF1ArOVK5wADyC/Yx6k+NpsIOXZQaBGrZu8vxTTOJutu3G0g8z65os0pkJDc9h
mI4hrGciwR4Z/jir5/6fhdcVujMZ2vPVoV8p+P+vk+xiCUZkDat6U+buXB/GNPnO2fYJa77o4Ske
sosDAlEAB2AGwubXuDX0fUubo1nDqlTuo04J9kG0Cb5ATjLesV458aXxPzbd35eeKjh3bjwb+vIX
mPmLJcsoG5yZNBi2emQ2Ii2fvXoXVc5JTsmIFVq9dhisRGjZyPJaQd6C8tB146z0eDSVmJSMwcm6
13ka/Aq9zW0xDUIKyugEY/0x4x3J6K7y8FubbwkxIYuOMPhaDGczrFwzYkLWfhGGQU5L7cf9o4Oh
XhcjJXsWqQhD+NUHc9XOtscO8ktR/ajppRCfY6HfaiVgzpiv2J9d22POn/SDEV/A6D1kRjVa7a4s
uU/TvnTyEuUyiPjuRzh2REawWcD616rIimtgxQA3XyymZZN1N+TvfvxYrHs3dNtluEd03Mq7MtzT
8Thayh+xBcKeN7LoXpL5UxHLPshYdIh8DXdsi6G6MI6x+UO12mXJoZxuk6A2kjSvL/mu4vCVe/Us
lV7ZGhf8Dw2j1XjkQG3W2mweMlt5LOA+BZDh5xaX3wdvKl1hVB+D0rM7BlvNQskdwlzFcBKgaG/y
CYtUQX+Ln7xltCfzw8qGkjsttgo6MaqwmCeVvY1ScwyWVrsApO9o+oZsry2K6DhRX9n9VXRXoXhs
kseogizMbK8MmL5iw/4V9K5l5peSX8s/C2BtTGmp+qdkqGTxNqdL6CSnW3A9qlQ9DJ0kdHg+u4Tt
mqKD9t0q8JOjBDdqCmSPtaBBSfyGS3NRTxhhsjDZlsRb8E+RhbnKyU046CWZDX49bBfxmgy3UQEW
zr9RLJ0785VGtglADVczoEi+6r6MsHOz7aPJDC/7U5A0vwPrVEOp7Ek4d6YSXG/Xr+owHiH/jE6X
yoexBD9c1hCvZ0eb8DnMX6UZ4Gw8i4X9EJYk2C1nh6f8DiLzPMv2I6tGrsvxG4g0dldKIcy0L6H6
0so2RozEJQCI6TxhOKaHhtk+Gdi7uD2Wo031+DfjWa7Zsp4Y7WKzq6Xh3gr7VlCCxs2FkPSvSW2J
kZLg1krxP4HmEo3iVDOrwc63GhK2Fc3qbrIgE/CJ8iDSOvkLHTSHWcAW1jC5Kqzionux69MwTq5U
j8paYWxmBEHl5AmNVndumKeGec4yX0HV2fXfJhtHCWBXBNQgueb5peNGFR1jwsEtSnuzdAWt1h8k
Gg+G9AvjOHfEkBSOJj3wLi1diJykreCpO/f6p9QejMoXcYtO7da6m3PUE+r4UbX9VpXGTWz+k7V6
b5bqBlOcZZy6ZisZuy73MvlbUXxN2tjdXUJJyV9y/oiqMjvmxB5bezdH+XdpmQp7krzrlPE4J/q2
lq4NmBi96h4JukExq5u0Y+Ar7oF1i9lzalMEY9x8YF/389LvQvb4bCEw1nDquA2JNjhIGsx96U5Y
OzNKsPNPOzPA03LNEdLL+qWKfjJVZi6L/GKW3hjoh6JiE7ax3Erv2A9pSqx4Y/C+2GZyT1XqzYbR
5KmHqBhIyVVG4sPVyIH3N/FIgUNap7ySRUNYzfw2pdlezzcG+4Zhe83YqTKURxC/hRP4KuVWQ6pY
um2hJ66hfEvY4GVKkwwwuGXjxmfllM5B3aGVKcx21ILG062N2BFSjR2pSVn46rd4GPGOAPFsL32x
VSxPlx+DAVGVZ9+uEZg6pK/Ei9rqAHLJHYiFpgaTwIdMB53M+GGIHPygi5U5Ykzcnr2IRPPG1N5p
JjPS8Bw+wXLa+5ye9Rjtrzko4xVDbkEYikUyRT21W7Be24QcqflbI2646eutpnw/D8GoqyFndy9t
wy5Zp1qfgUWft2T6q97gDk51bHVITmilAqZUjT4Ub8zYzXiraA3p+Xq2lzmKAch0uOhm+MeNHfzO
07JtLdO1+Um5RtZKuaDhoBh8pyGrhC3GwnpjG/CJOtVNOmav/It2N2PdtTZGrhx1GlC5tjYt+acp
PxyCxKsqZqfpEXPJu8MFgzZIGo3TGm5Xv/c6+ilHrNV9KhPYnOKfWXxbVJf16MbsJCfGe2l9liP1
zQB6e98Gvtm7VD1xAV07LrfJ0wwvwHkNxp6v4mL37QY8w8Yyq+9CXbYjhMje/DEFO46CaWhAr9uV
3wMZv5OxT3HTL29x/KLGm55GMSqlgxIUx6UHdZ4xYha3VvkNtT+4Zk/iSYVf2NoEKfvJ3Rpg2zD7
QlOdMXQlFSOpIvx+6Y9i+lb02gMPniLo2cNBAajcOUP6C4S0Gv1sKsEfrtvkZ9FeI7zflsJkgUWo
MNpMOYNsGYAqW2AUrMIN25M2Ias/3/+Ooem8DSQsAAzBirral+ZG5RYMP6RgdkS/zQfCjn5lxoPz
/CbZe9t6hBErmeIypQHDT9wtell7klm/M8jIIYzG+lc87aUc6jyrEOmKt5SNuyvbX9sYW9hIY8Bz
GrAnGNG+VEDSinZtxa5UHpSy/xZztxsaiHlkeGHDYS8WKCE8UalnOzYrA3XbKH3smg0u1LmzFq+G
b7nFnYk6W3QqYE5W0qPaFuckapvXgHW0u14o0i7Oa/HX2POALcfI6WHjYH6fB9qTSmTI9LEwiAKD
wWo93y6gSzWPCKsni2qEoGgr0yGuLtiH08xcOaRcsHM5dNJCxlWrLdpuFCwQ1XGKTQAUuGBLbp3p
jFeXGR1fCzDaFrXxYy0DjrzJ/ABf2FEXGBK/XrD/QPITq+hP3SWugCCiH+1ZjAuPtskfmfLsd+qZ
0GSZGW0FKo1bp3V25C5F3iNfkZFMyfA3mLMD61k22b0Fe3Ix6kGl1oQYgFKM11kN+LdpwxSzpQRS
K89tzdEtLdyCkp5IhA/FWc4xtZtqGA1rxV5QZIen6iNoKxN5DNv1FAuFLZBFt7HrZvJBbdpi2yu9
dR6sqDnKcQltvFIDf2bl26mWoXK1RjVg9Kb9Dv+2fRBCqRCWBJ73bmYA3y3FcJ1F+JehWqoNY5ZG
mcQFd1uhrcNSEx9FlxMplectWE28JEMyLg/SLMtN89z2GuXoZ+xGeNBgl2DYaeoBvqO9bW0z3TPs
Nx1WZKdN18cTz+bMOVvRRhNX+oQLo3os2KbxD/bdBjYrsv8U5JxAy0Qee0zmUsdiOZsT6ByxJPb4
K+ES84Vac+/NOLWsqT7OWuPmBBRselNf9vVoiV1ctepu7Fp6+okFw25ywyBxhtkEXW+xQdVwPdqK
Wh3iODdueUTIXbF4z50bYYr3fDRcszU+DWkRDJZCpn6NxLIDvnncaCTWzdVGBa2mjxdN/mjqX0u7
1PE1DFh/AOTZNQb84iY65E3vR711N6XxrBPRmLKDm7P2nJAxtybI6qVIcYHGDXYSY9VqEJg5jmq/
Aj+cm38CyVINsDGSAKB92undmukHuOdZbNw8t5iCSL4OfXNtxMja8rnAjCQ3ucd0ZBvb54oTjt86
CPpXaJ54LRo3NSYW2Z4UbGZfxqlsn+jeaNPL8WY0P6Qod0psE1I0EC3RPAy+sDCR3pL/pJ3Hju1Y
ckV/Reg5oUNPCpIG13ub1+WESEvvPb9eizVRd6nRglpAFVBvUDdfXpKHETv2XlEY+0bkq9xCp/L0
YsvAkM6QsVQ5b4RrEJNDPaZDtYJjW5azVAueeikttTCYhiq+UA2vBjc1IegCbl1bHjTXPHlyhcu2
Xysux21BIJjlh4Yq7ZEybjnTh0BdJUW76ArMGKApWIpKycwu4/hNH6O70vh8nAcLAyUpXTt4GOX7
kO/L8lmZ1IysgjXS8ojRfeZp2EYLddczpPGHaGn+8WfGAMmYfYH7ENvBvKMUyTw2IVM7l6118TIM
QiwP6zhF+gaBgfsmmyoeSai1HT1Fi3k4mfmUUHnSz1sn+vRjuuaCrE699S35UERMJ3WaykJ+70tl
mbjHqMpXRYaJVlTzmjG4kowhgpXGS0yKqWUH++Z18Qa29aEV/lnNxHXQPASO75Blz53C0jo6eekV
jkKCRph9zFFXSsb6xWDBzmO1XTe2+AjsdCkl0EyJiv5BCkmfRSmeZtXMfIKVKk0zGBrGjvnobIkI
6rBDV7aUqdEf/OwSN/lXDGZSl9GhStbneSyV6wXTRXVa8G0Y+q8aOJOgm49uDDIp06ZQMOjZa6vt
n2GhLRhFjyEcTFkJYSHKAP+k8z/mTYPMKd+DYQfQC6iABujAmCUay1kLXm2H0LBnUfkRWjYrS2QM
1k5RT1omZIhMVKofmn5JmaE5vscc5Kx7T7IwqHh7oStTSbGPDutSpQz3lvc7FO0qQb7UMobr3fC0
JfRF/Ur0IjOvlYGba/jtGwYS4NymFlVYIP1mHAkWayB0uaL/MN/ZwfaWJzjZEI98XV6YeHd98czr
5/jSSLzuaebRyav9bauTywjKC4FcXFHG3BEPx3vmeADajBQQtr9BlZZGOkZ+GbLGA8U3m75bqidD
/XaycDXKWVURM8Gs/EnveN9u8Fua9UlmC63I6i29MnFGdaalzjSEiaKyVT7oj6r03ZoShmudCOqW
KM8kU7J9qtuTQHm5Jo6kUkbhCnG59QFhf3it9RUdpponqjvcKpnQeAWvb2EkSnI2KynaoE43l74x
O41ybyjTLcHurp/4tqtOA0OLADhEOaGJblzUrXBK14ZJ7CwzKD9tXspppIc4Cr3kKIV9Nh0cQr4e
iKdd0jXWzYfoOWdVFfbua2fjj5Mwr6vJLC9+NJQnK0M7C9zFAEZZSA/TasgUkkgm4oZJ3WqOA0Eh
LbDBWhUznoRIYe5rrEPpnNT5DPi1OzX1fJZDzlHTS9+ny94k544xqfLutfoU9rBTzfgesU83D8Np
yeoVBY+3rO8FgdEc8VRrPzIg/17wzNL3fpTMWJYDJvfqaC9R8LS2dNrj3UTUWoGnUffarGgOzIGW
qtHtNC/G4pp92HVKnocAVN4uYHNMk06HFnGWtXRK7unQa/GazSdYDJIb+65xoyX48VhxE9FrElXn
Iz9L99xZ3szAbpWPvAdSiFmp7G3LeMGJmA6WmAlPWTXp54DJtImclRppqGv2RNIhaBDwkFm5bocH
07Lmctac7MxmlJgvbPp/dpYwNGLncPZFz4Zcy6SMKRfCvJ+AfLHjh1L6z4Rts1HhLAO3XneE1gum
Bwg1i7ZzgYCnszy32Y9a8T1Gc4LsdzbbLuysm4nQXrFBCgRIDyHlldf9KnCseVckc5UNQxTi6Jcs
ydYYWfX9xHBrfOt0MdVFMd5N3LSqzzCMeUCTHT0mV0q67qOLWb4UNVpVaT0NRf6ThpfOkjHT4CJV
1rrg+Me7rReHPiK2FltbrVf3AUpkx0rlBG1FrQiblnjJKH/JrfCboktB7WEjMg8qO3ypBopfoB/T
LCUfhbIi7GxTFbzvO3AMHQtiuVXtAkaKw8zE/lQUxtBGu7Okp0TM2kx07H1E/VDpu71UX63gnBgc
Qvg1lfLo+8cyxJaNT6C1vgu/xUDarQcqzqqUFgmcoo6VuwpsmATfTu7TqJribkn6VkVzzRx5JmN6
aaNiHhW0jaBHmg6N0wt2VP3AXzBLVWd3lMYqbdmU/YJFTSiQ+US0qFaqAsOD7hrjvhaUzO8/kwTp
AYeAnulbSXLWVfty0XTq0t9W8sqywpnR3YfYXWgArDIy0Wr+LWHgBsM0l9pL1X17lEtm+puChdH1
chMDXHHM97LQdxpjdt6iqvFSk5vtMSheqz3qCJJepEeXsiu2ckkD5UQzqel5wB3IIRguRhYV2dfK
zBaCP6uVM4kz7WLk3aSs1IPqSls1aPB+41n3PgyKZsvSF3HA0KKuV2baMy5J7x2eOFbuTV14WrFV
rgYs/3ZwUusDDSfB6Znqtwn9VLCgRovibSORI+Lfg1x9tY48L+UQ74y2LJOSG0meNKhnA3aqMKVa
dVGhKDWx+b8D5Lg61E8QqpJc33SMx2yCTpKsHoSPPUobPmS7OOEk3sjaV2wcPMZ1DugJw3DmSZzt
4Zwt/DZHpQWOEChLB10CKt284mrYv5GHPJvtK3U7YJZkTGOliyzL7oyOyF530TMtzLVU6ycVmcvV
ZRx/zi5ktyxDb5s4upMvCyM/sxD+Xpb4M+jVYpZ8RSGkeTtrb0GgLIY+3Ctp9Fa7+cuI8mujM/Wg
3caOp+yDwMZGlhk9r3Etw6adA8TS65kCt8zORks+0Hxead0Wo9aldcQ8cYdXoNGTWnKzxIeNU8Pk
JRfzd0rd7KFGyq9iSZ+C45G6zVubpfoKHIYqstGtggImk6F92Fb58DL3WUnxWWNSAR+CJ85gvgze
iYYCq5BGoaXY+jsQLsphUZx9lztIKbd5FbyiMj85me9PQaFNe7ddjc5Vs6ac6ZK17OuErFKP/ef9
nNYrnZsGk1S7yH/oNilYqsAnKeH/EPN6MMycZ8LTp3Har8xAOSdpSzI+mCuEzQvD+1alfuv3XDQ5
2g+OQPKVbo3UPvpaJrnJ1ptgGELsgv7SHQ2TQ8sCiCr4jIp+7UUJA2SkmjCvPiqWjYNP6bdGJEEL
UhRSHN7S0DEwoNQeesV/t6x6qbj6nJciV6dXIp5zBOom/6iG6iGb3bLT1KOVZsjbbGEGqKCvlIHb
ka3KP6rCWEspB9yyzlyIfi21OKodyZ5VHkAnJxYmttKcOgTVz+cLcMj0lZrJ7R9wrqCstTCQGkfH
w2nSlgAFfI9SbG2sLwaeEp97WhJDZGt8/p9Gl71h2WeHn7LzVWkb0SOTOVp4XnwZN8a5OTaIul32
KUajJt8LueOQcmKSgZg3i24eF8GpNnMeCeazeC0Z4r67CKxFV2LT8sO9OT4AFfQ3vb7aUUMBoD20
mE3bvnzhvcj9oU0jcqPCdRdeWl5d6MeZTI3VhwF7jaWFn6LhVfYT/trGwkfcKciRrVaTVyFaGaZv
mRmd7bDj7cL01MHjyZxTs9XFQE3ret1e87tVjGxj2/a16Jj+BxbD5tCZwqq5Bm2Z8xBRo7lGEE4j
xFcwMGQDPeyV0ppE/y1NGmI5pHcdcwbr8r0SJAYMI+dlPWwsRGel0t/8uN+bPsDmaPgsTH+f4bDo
k/rZD/E6VuodSahdLgPjolFmCGI8Cuz6bs12zl4qL7Gc30MvecRtsfVicEUD4SEXtc7TG5kfmvyE
VkX4vTfuUtq/jFBaqsRTEh1ndZevYymYp2pwGoD5sDTxjS0X57xSj5I68HgHw8YwzG3YRBzO9S9L
xWc54z+DHSRpaKyMwJrb4hRBYbMSdZ2n/lKHyAOu7ifw+p0aSl+pOhxVJTrktrsdqBsipoWDj8yP
nm4pxVpIw6ph17WaRbPeldZJ1nwlYXYiRLFOHWAfKuZSM9nnHbVJTaFouOScy9WoE3sOFYUCboCF
rtlFxOVd+GLlhupGNpq97Q2bsJWfpRLdpJJ9LJ1JNe7kJSwCKaL/1ZgV1vE8931ey/Z7LKnnHNu+
6A3wJO09HMTSkyXu/XJVSASam5Ad4P0+l/uHDA1kTFoCnMyNWVrIV1aCAD8DsuH6eOjU0SjUUh6E
DT4i5OzKTQ5uYtLv196EOAr7v5XOW2DyP9YyzbisBUuQBemkyd2jbtSfuUZ43LIucDgK0ubDIazp
J9y4fGaSCn0y3ui1h7M7Q+hLmfJ74c6W81/4fhb2WmVl8004GFOSUDnXLuDJTsxli88qWtKPVek+
S8iNDJRTUA8mAYFQ1w5NY60UfZg7DTNmqYYZlpcS1ktjy0aQ97ZOnjRhZCmcdZD1G8pSQIx2S9YY
1kyMFTjuVyWm49rj2SWwKAoMvfloDHJ7EsMBG+zBdARt+rBiR5rVmHESTHhWXNyGCjkxxDDlug5O
g+CTjQLTgSB0T4Q0Bp7XFJR9TuYc3AKpwBtq6o1uA22GVJRHKCOJYfI5NSuv0AEBBeqAZ/R1MJiY
ls180RDdt2qxlTtcE6BtMV3WC9+nkSPoo7Z8ZKvXdw20PfW0Cdahtpaa3W2ilpeVsPh9hwPFlksG
o9wXGmRLJARkBHvBQYWTlLFUPjBhr7RjYWK8twMyVL518l3vzCP7ZicVa4eV/q6axaF1u3dSm2Rx
JRWPCdUub32uroohP3JDXvIc7PpA4nMsCHLFPfgwLjAVcP9Ja2HGZ1jiz95QBM53eFOpe9MUYkyM
LbU4pppIsodnJJSkublivTVJPyX8iA3MIp61tBpt68RA6QZHncLTBEZDfDAW26rNz2MQ13ApnNM6
n5aeuvSCaLRt3AOavflQAtYiBXIoM+IuAOYJKuD4LVsJ+kf+oZVY79OM2XdQdL+5mfGYO0CDisF5
iZFQ08ONE3VxzIAp+Zb24zjSrdfYSZ+2q6JtP4ukeniBf2NVM9ADzdgz52TsjVNa1v2H0xpvro3l
fahSRHT3VCc9Cs44tEdfyUR91WoiZGWIwa2DohAMb/EAEikIz2EVz93E3rAE72yE2sLIUf7y5LOT
R1unpP84hHYAJBKyEQJ/QFCTH7EOdllYM6NvN42dzEijYwxoDwiUyxxSi5OWB9eTlmlqgoQwJ5lV
79VMvwda8HBy5zF+EQt8jdUE9bibtbH7wZvuSDIgmCiqRJbJhKdlxv6MPNpJFMqP5QO1yZqQ6BW9
uMkVEHlwju32HETFYtRaugRcfId1kEx9UMx7155bUrDuiWJiizq2OnLeoGJ/bXi63K1qtCuFNy5T
lKVeU0topLzk1Hmw0pWY47MnzQ62XYLZRiTIGCjurLdwODjkk8Ivx4FWhWqH48W2o3lE2y9w2ToL
S7+46ocaYOfEpK7slQLQ2OCA61SIyKwzA+EsJs4gT0X8GMRnpGLg8Ltj7DcbU6vOherOiOZcqshB
jjM1bEXtitUcawTUguBRP5Od7Ks3B95OBEIce5+64Twd6V1Fm72MKn3Pmn5dQPOe1XH1hsD9XtaJ
Ow3jauZ64TxK2jc3d7ElwebVw08rkFZ+Fs/ZZvZRDvY57cXOzvC8uAP0zFZ+bxL7CK2JE0QL3sMS
/oLqk9tEVlagkxkxDopOVg4uSnVYQKhrlXofSTR8RorEUGr31GICJnomb4EzK32M8oEpzpGcHKSc
KbkLDhOA+q7mIolGuUppszJZZp/azY9akIGMTOsDVOOyqaqXrFIpVzSeUEioTNSPwKf1Io3567Xx
NUjkV6C722ywLq1R0ON36LW2O3IH9GGjkjlMXEiBcN6mfuHe21BvZuwEhI5i7HO4EqhlBgbhl5B5
gohh6kWq38oONECSeSBWqvBq+aPNr8HUlwULTEtokDr5EXG1rNEtgAdUxACaMTEYkXFumLL3Tn+v
5PSjsqR9Tu862AF9a3B2rXaf6YQJgrTYBx4iinf1wZRUkEIsZJcO7c9wi7nkKPOciby7U/Wv1tjL
jBKYuk+VPqW/A7TAs4mlYavT/hlPObkxfiIXcB4CmfbTmSjQ85QA5w5+adt+WISsi1KZdiF2r/YR
4qHt/vBjI5fgFWkYQmYtbA7VpM99+rjAk4zxLmk3wkIePva4e4bM34h9M+6Tp7qDJMuGZ6nyp2wK
2KqFRbL3qXhnv/qwwMiklb9M42zN4idUk0lOXkqH+lamyjSpnlX6wck7QcAKTB5xqLbAPyaETqaJ
2IWBPvf0hDSkuqjJzQxMPMUwnsYkAnjlG29acsqdVxlsggitkb+z5jdLW9+R3Hsf6DXd6LOR8KLU
Jye+RrzeZZdulo6skxZuscr5k5Iv5CCalqCS4BpTqVIqTvphQG2LN061De058MmpmS5IA4LwmSa2
SpobZAQ1XQOsMBodpSkaUCQvSgK8ff9pDVcJJUGradaRYb/q9oGqP2mUDfu3p7n01jIgDolPt547
IkHQmQdmQc20DsxJ6HhrpYlXpWuT40/H+o+mDHnKXvh0Ygq0PtA2mLlCrudoE/Ax5ZbTdMDIUgMf
25UyBJ+XSwHsfQZQEUJEhs7+GVi/5pDXrLN86mWfCsbMtIJIw9gh5Tsymnsf/ygMqJuPonsaDPNa
qHSiwL7YzjX5lrtw0sjEx1azqYxZpn+HYGKHblUzpWhhUkX2d52D3qCO4OmYatVHkl5M9265yOTW
ztX8Y8OZoabvov1tPOlRtuOvUZEpPQLljap4zERCCH2XgR46inJ3LHcpmh/aDqg/TZUv6qR8unEE
dtUg61iexnANfJuJzH+3Qn1C3lmkNSipW9zlG1k/Jv5HiIZih6e4b/emDXUL7lmtP6UhfHPVb5s3
fa+NUwREpkdTPiUmXDphlFRfqbUgZwvJiKFVSlVrE4YrQd8l9j6wN65EPs08BGSOfAQzXewTD//I
GLEsEwQ0kIKAPxzlFA4XDWt3P5bYyqWnpBEdJENILchxafpo4P90ejbzYNPW4LzbGkAED5xLzJem
cF7L56z7jjWeOeSHun7F0SOKsIsWb0qQTB1dnyTcC4xgZr434mOSRUFNLwPj1CuG6alLFulqEfTK
RPxseKIjoj+J/ui7LSN6WLEupq82PmPknIblK0mSWQahPPflaQ3F2gyzlcp8B8BtMnizsEuXucZA
kPiYKdR12OFhMLyHBgup/ZFZlMxmVcm+ptqBQTLHD5QBde+1Ms7Sn9Hd1WOvUga0EwpUNcI5KFOw
fWv1Jcnfe+ppHeZogPccZzCoDB7mGIaGBWOgsVli7HM07TyHSpGUpgKtwTQxc1KhKA9d25jWAfC9
jUm86D9rBjZp86uaTwOd0EVt1iuH2zIAkEP1bQFJDB4Zub4gwJEdL7LUWfQWxGP5JsptUgdUvsa0
hpFfyHtSHjMLojjGNymduaQGB65TFV29An8iQgczoEqs9QRNR5V/ClblQh0PZG2bMm0pCnPuUp8J
gL4Jjp0kW3kUgykFH1a5zluXyq/PJMYw9DHCz/3ccsgjCls0v65CnuGVUYkrCe1gvpMgEznUBoT+
esN/qrw87Dbg+914zb4Knw2nmKyU5ImXudPiOwgXA2muSIkvKvF23zWhrJZnD8eGA3itZ4WWIRGL
kcPjUPwU5cUZrrKk7CuGEenGzHgA94SjgU7NJOzgEf1vEFnQQ88yuXClx9sF6y9lL8kwlPNQa7cR
/2pZyWSOrDYuCrwNoOPzeacqs7AuGFo/ouDkSPsqPUAlcUhnCzroqgYxE3Op2NsBn1GOHon3W4gj
FkE/blk3p+NC/zFs8GLAlJYhp2XivgnrQ1HXlaFhAmzXik8zMCRrU+No8A5Fo8/9Hrr4zrR+y4Ix
cYU6/6UA+iDZMZEA8KB2TqCoEKlJCNEJqL4eswgY5ljRMCYZVM02I6ccsrjQisngfWnWvEjfJPJY
BmE5L75bFPTtEMz1ZFYF3zF2kObV4Xoain7mM7+ow2qeZiutWg74T6BA4H10xRez5YE5HaGJAgsJ
oZ1c1tDI/Ck2XgU7kTA4B5n5YnUldvcQRHWq9GEOzbpwCa2/8pwcTZIiUgFqg+cTKNes2BGnwtbH
cGbXhOuWTQhRvZMqCP/LJMeQiQ5Gvh+TmYQvZqCyM3HMSfWuVFPMtt407cOpJr1pKvaqeUhWkanY
rMO0juEII8Z9sB70xzMgzQkygPE96Gyt86kv+GDUPMU/2A4uT+7erjlCoIS3GHNvjdHwbFIwbrYl
Uidlhm0a+BEjSBrHJUlqOg68AYyEQG0a3hLVRKpfiSvPQ/PT0Y4ykMOo0acqGC8le/ZFu07ldNHB
N4zI5w1WfgtwfQD+NbD52fJK5ggOq40GFrvH+i/2LePXhl7L4AUvsyjCt44N8TZ8C0DbZyIJ8fQh
BWbZcrSxV6W/F17MomiaGmg0evzV1qMUKF0KJ9oXAwnVwV223rtmfgoL1igu3wEfVKGfMjyFcYah
pf0N8l+3ihYV0D0XZntZehihEOlAnNjQ/iugG07wDlVlKhs1ae63uGbc7L5FdrDWKIlNqkEabWZu
CHQqJUKDiVPh1pL5vgn14TtPWCmg7SX6lDyms20YwkX2XB3Cg9xenGA3JICQk24VliTk2ptk2jAH
gnke9gusUdOm3jreoxrXAFdUA6gG4cFXugnwaO575kBFwxaNBMUj2RZV/N7EX3VATlje11a6NS3z
M23vfgJpAWgxVKv0p+Aditl+KuCthuncCn+tZl+XFzk/Srx+TOcFYLeMCGPeM9ufBOq1U36q6grX
HoW/IdVOlNxi7pBVYhpH68q5qOWyboGplZ8OhVSIo99jJGim5xF3U3irLGJkKRNzda8lZnGlebXx
GpqfBLrBdLK1CpqADmIeC/vcNCyp6KW5A/zFhzMmkSDY4PuZgTOaNK40d6lpk/43ke8+Lw6d8aTL
RFIvF9Yf45id1JKn124Rp76rEg6w0pXZN4tSXGKVUgIXhZHc8/DNU3/zbFfZ91o8mx4kieDvwiuc
nJ0lgmVLWp0X68J1w3WFDyYr7lL04XYP1UAn6MEg3IWgbjk2GVW0xZ3MrFE7jXAezKLCW0aZQZwM
v4sNjB6HIT957mT3XMD4ZQA5aO/IBtsCfBBwTtSJuRSeoEQ6DK76byP55eXBlO4to7YJs2ufciqM
oV/xnmjdrCZaIhKSF2+mfpQtXsrG1aBCMCrmrMzonIQLTNrTQB+Xqk2urxwdLW1TiUeRXPLyuxeX
Ph4Dk6cqZ9IeYBLnGiTgbKCgp+opRiZKuFa23JLI5BjqVtzbc1xaMdVwPoCyxubHVlgreDPlO0lB
Jflq2ZURdftu2JsFGZV77q8T10ArdSaNd9M0cAWc5GDDZ5QZ+HqSrZwGc4vFEw5mA42mhRsA1Qma
dZhwDPTk08YVIbM2IbKAH8QEaVVmhypliGTtAIiInDseZ2/MpPLu54gTjOAdvZu3GCAFoK40vOnZ
m+dy/SGs0LjgXZI+k+Eg8l2VEQypxbKOEiJe+XeWbTMcSHq7khB/nVWtO5SBO3SXTtkY1qGi3pcH
AAIqqLholXdfqCAoeBJj+VM96DAdrnF3H1PuDkKQMsDQsARnwrZKeSmLT127KzIbgt+cnFh+uaV7
XedM0zzfXrtSdxoNDXX+yeSvJzLZK7ecaj31Tqr+kfFKrKOPoSMMotya5LcBzTfWwGrJdfDZzIH2
ZsIey4AuaRioBstciHTegWOQH7J/9RjoqrsgUvgmaHbST26RGYV/mX1bxdKj1e0tdY6l1gerVxvn
3gMd/aixVAuWXAXbhr7O5IHr6meACESa33EExkxjlgebJltLHLLsAJ2ExAlUYzFy63ykcxpwN9y7
nGLxFUc/AQSSFvLZQZiyzVsZkGPuWGlQ+7u8/1Dlvd2RQLFXFIydRx4+RF20taXO5DXOCqrSVSlW
oYMvRMif4+IPqTSmLbKFxKaDjuRI8ezie6B/6xASKmbkHiTSyoKOTW6wMvJFThKnhNYGIUDullrH
a0yDe4cCrSobF4kqg58xPNKyBXi51aQT3pC4fHMSQBRZtujjh+3vGocoETef0TEUWfjGOvX2vvdZ
ZckJdFDVcDw3CO8SXbsJBgzID/ozCFYMVtyeffQuYDC32iJFZ7ZzlJSnnzJBIGfNMVBoHyyum5W0
BJjTIWSsqnIltKMeZ9uaNQaBuuiSo0+gXmk+0uhVEscsklspfeEi57vbWNW5xbPJZp2YGHnJ5iqn
aEGaQP5fj/4wh9oJOjQLnqgu5U+frc4GJq80WUfquU62DRymasxFlNlRZBtf/zLJVgzHGh4a8msT
PQzznnvONGf8kp1S99VQlOgso8EXJ3YGN0KKKamJXjrxCZ3cysK1z3J29YszxDjN/qqkXWNnkzb+
cetNY67oL2umybF78OzP3tniK1Had6u4clRMmuEg43kEszQu7YmBA20D96GWuybaOnDP/fbX9snY
wxkQp4DZgOd9Dg3cmEkrIZh+DTnZq9Fn4KxRP6B4MJPGvLXvQ2+ihbvA/IydpZKwsIbZOJcsL7/Y
eMNf4JV6EIryDbwQSWOiPOOw4qZlX0TG6gIXb/qPx9COgVGcLj1lk3pvZUXbEgGn21P4KCEZtBy0
QbB1pK/IHSgPuSaxmMUJ8NDy4JUfVaFNYn/DYMvPQNLwSHP8DvU2ABojIvZ/4XRhTlQbA+tGBI4T
b9fAq6vSdU7xmxkH+H99dxiChaR9KuUjIqnoE5gZ6icW44leLDM0uNqiPaI+TKGZjS8RjN2CWPoA
77IRjN4qrOznRj+18SMvf+X44MEk6gB9WeVH7f60dE858JWkruca4wxzdHJVlzL/yqNwjYt41YTX
3CQTj0QFO9SCnM50sQ1GGvc5TjX4UXPDOuU4++NzDmCOAEUiF5CH3zS41PKduF6MIC+McUsvzr8v
B+1HYzmXd3K1ZaU8RXZulG/bll4KAEwZmoxcDCvJ+UjoYlNtXxc3Xf9W9E0BP7fi3iwtAghEayzC
Y5V/ZsfV0W3BCDJJUmQAGQjfFaeVq7CYwfkU+kah3tarlxCPtvlsyiM7ZMk0qrOkWqf+KYs32WhH
Z3tVRnAaty0TgtVIZnbdr4x1Pm50CyocxDJ0ukvJ7isf73E8OgO5pUS5btJjqnw2Dl7DVRm8ah7a
Tvo2THYGIdJK4YNXua282uGnbG+WvdS42CanLZ7KUD/XinKzBPM+513VDx3amceAiAHvEGPAUEE5
UQ2KgOzRXmuPSrYMG+Rs7m/t6ZHv4ZXAsGoK6oxok08l926XJ61aaGZEUYAM0D/K4Jx3e4UtDjki
ht8328I6BiIAFDFsxp1sgfTNr8wM9sYMPXS+U+lWtgaGNrGm1SVjoBCBIgZQudM8I9DN5WycA5yQ
SVQdiuRLY01GPGou1qr3jo3gn1tR/DCf4tuh/BzEEetYzVFtGe9d/ZbSaGMRCd2nxf3shu5CpQuu
sLmKnPxGtogzmIzGSYTb2t0zYiXf/RFZn0QDhH7TK8YT9d4nOqu0P6i2By/ieLuY+Vcqq0uFF6SZ
vNr8w8qYvrwwQhsigXi18aJdgeFWixqaFr6uuJ2UDdsSoCtVGM6LdBQhFq11dRJppbmMXMbfFbv9
uTTkWS5uWNUnPfn14ezQWUXKQ6jfEsI4YxkvuwzBrcl+hUJ3lE992Adl/1EY18C+hcO28y9St677
S4zwEjDKrEkLdp01tex0ahWXhJUFIesyvgSdnM93AyoxMUymwGLukZzR0e+06lqEtzC6Gfkj1ICF
SWKqdV+hBvkDX0ME/ZQEsX/VqgtBz7D5drqZTRWjFseg3hrFQyZyrdIfW4RvuEL1b5ZupWQPxgKu
8Xskz1TxkDucjNKPn2GU517UiL+ZNnqu/iNB5yUIVtcM7vcSbWXSbJnm4ac75MZFi39kOK5+akwl
NFP6iEB/xWwycIZDoaP2oLlS8ZDYmLTyybN/K1oJpf8S41otep84BhwJdENeJcpvQ9UckAmvIJr2
REf+8i//+p///tX9m/uT8hbu3TT5l6SOT6mPFeM//vI/V3zapgmvS7chY9uW+addpUXXGvpgW8MJ
q4yh7Ib0f1nx+fc+3zLxNqI3CUVV/7Rink0NpcEu7OFU1YcuWHvK/3lFKcsx//vztXHJ/F9tjW0d
U7Jkn8+3WbcDLm36j7+e/7k51DZtWVE0iD6WIeQ/7QXuTCvT1c4ZTpT82H2hpSx6GF7/+If8ve/o
r3/In9aTlggnLRs4h1PoQQidBP/Pj//TJbAH3yi7io834eCk59x9/RN/fVWxDMWyZUP58/rh3sx7
I8yk4RSX76dS/fjHny6Pe2z/dls2O2JtwfJqw7JkWR+/vb+6wpbsAHasDXHq78Jq74O5iEeD2RRc
OIbALJz5JeCc9n/ZEv93Lvwf69vROrnB+MF/+1NdyRB122Q6nON8p+ujehY0t1HT/Me/3t//Obou
FN0kfaT96eKYLDxX/aTWT7J9lMsT/ITef/snfoSqqKamj/vgrXH36199gbVGEsRgz8mp/i/SzmtH
bmTp1k9EgEnP2+5q31JRbmRuCFl67/n056MuflVl8ZDo3piBZgABjMrMyMiwaxkOCBKWl7rpNzvH
Pm7LuaQ1d138e/7QLc1A1LmcODABYephRnOYWdbpVnVqjKIrPkLH9rUGgTkcip2lLWcv6QYiLUOz
dGSaliQS1JbRiQ1ARYogvkofw+DX9pKW3Ze/L3SNe29bKgTFkhakWjKbfu7bnpb/GoDeg8wRv5uU
NuUTkIiycGcLxdqCNGHAs41Ym80530OzpJKfh+oClA1SyIhfW9vvXRU081L/2lr1o+lbd0MR3tSw
qbpB9GbKP466wghn6e+YvtWfguFz2GFDM93l70/UZvLbVgGdz4IhQr2mxyKmP2V7d/ckLHfjREJf
p0k4xJrlBWDl0zcIY9O2gBVWY9cyoE+2MU664UiXq3Dc3CmpjXsFYA6WezvwuDODD+GI8tLNAqFC
1XknNHbLVW3pjk2CRr7B7nSvyRmLoHmN6Gh7LdqFHVxEODauKbP+mivrYtKlFRD80HCmJYjP10K9
7bs7u3x0uk/DXBOXNp+VNmMaJ7hecOxsQtWCgHx4CLsU1+i3VbXMtFwH3d0oPmz/tgsjtvw0V7VM
w7AWxZX2eYQOAPCJSvO64sn4rQ1PkN5tS7hQFSQIy7UcOqdc3ZaVsSnLvg7nxvASZh6MhgJatWPw
1yQwc8m/hmW5utDPlVGxlsFNKmUe4NM9jZ3OjiP09wNntsRRNQsXyBS6bjq6LrkSZh/0Te6Xsxem
C2fm1460Z/XBcd8szBuJ8zaaPgzqV1qLa8aYqh0G8ctXdJGuuY6Oo2GB7icZFkq4rdNRI/aa7jth
vEF7degDwDc+zVTL3Tv3aH2isvbiU9O5C6Ywbc3UxV+VPrngA5DZtuZro2cBBaGACPlyveOrjmqa
+uJ/GNr5mXVpTBtqV06emh78hR31UQm9ly9BmJpQbWG4XD751GK/rgC4Ygk+XaURGdpq52KvKYYu
TNMEzh/tMB3JDGqge49BNYxeSYRcMTIJXTRJC3Ld7RGvSv9pfTVjQIGhepsgPtte38rV1fGshOm4
uDq2/GhbJTgfelqOnhiCD/1oPJtO8NF30h0xK7dL10xTOJZuGQ6+zvlJZUzWJaawJ6914EYYtRpo
xSRNdu7Y8hXpiulot0GXFIJ0S9rJyKUfrY+VCWj8Aviz8cEBiU9dULTgz4HHdXvrVtd0Ik2y+VZQ
pAalq9lzguJeC+G6U3fWc+F+OLwptsnV1Rh8M+T1iJpnzVVM9Nv94DC+NnfWg6nfloL+FGg6gEGe
tc/bi1rdQkezbGNRSTyf84Pqh3JINEYTmKgkEM2b8POgG28SgAImi8lVhi+25V04jcsSHV4NVWiu
bsrxJxNk5lACr+fZoHUPZnarxgzHqrSGqTdGTQOtne34WKvH5mIK2VNb1VXp2JIgy/Wk0CePCVPi
9ql/LISxo+5rt0o7kSGp+9yrrt3VGjKyrwJc0QzoOxJZ21u3t5Bla0+sqxoltPv5CMkzaLhLBm2M
HQlry9Bd3g2Mt6PhRp1LoJSpxWMYIaHVAe+JIQufnkdWtiNHLFG6dHEpiOCpUYwVhHrS46tOlVFV
mTZ4dWMHwCnHg3WLSQSzwIkbYO8UC3ibTNOgGwv7T1puJKCYcHrbG7qi+4aOKbRc11C5d9KvyAaI
BAbmbL2WRnIbvB6SQQCMPOuigdhn2JG26NnFmhEidEc3L8NmGNA08AZ0IAlACdSLLyOdPCmD9OHk
7EhaMSOG7uA4mgxHX3qOds2YqQDr0xtH9T/NDG5rC9R6E86fq6SwGVQKxndmNl4JWnG2d3T9YF3C
Wn1JoOAhnmsQGFluofRi8Nz+Q0fb3tBRFlfEdWUCe3AvejDqaO2gkrItd0Vx0SZ98TpcFX9ZsmJh
b1pqL5zBg7N1PhRZHjG04Aw3rUZxYVvU2uaatmHh/sNyiu6cr5BpTtrlanf0TIKLzLoLlGeXFur+
T0V5Omm/1HT6bUtcufe42biQ2GHCbDmeT92xACBFHz2dtHtG/XjP2V7bPdL+PAKkPlRdvgc6DDl5
10PhnU9koF2ab4FdhSz1FYdkuQYOPbfNYHjpfOcCEhN2UTSjV8051BQ2g640KkO+/Yrtwtq7pm6T
opI9uHBSSjupezy4gg6BoAPGJkrC7NO2lLXbbJOcsk0m+nipJVOZuX5tmkoB9ZIDfZhxT1HjViif
AxoDtwWtGalTQZLV17XO7CrAyr3W/+4Wn8T429E+ToCnEni8RpRG4GyTzBG67Bt2KvQ9gZmPnj+U
76Mm+wCWAFMz00+3hxI26IMdhVi7StwknQySysSefJWKtE/T0Imhjqd+KBjuZoDvxjSbG9Vi9u1P
0VPqZi52ez/XlN22bWJ3mwTZRWAUB+ACWD4Oftcw5kVSzKz/xOPHbSFr4Zep2nyd2AtNlyNkS42U
phyAHQ/Uo0nzPmP910p67JinjYD/Cmg31dU3ofanoPVgW/aKuaAXcTG+DKyywOXvT9wEYyjqVI9U
zQMihZFkBuZA7vjfRCx7fCLCaSvhtuaseU5Gv2d2p+x5iStKf7YGyWcb2sno9JA1qKYDIPxt2D0M
NI3FMd7Vj1esRRcQQfFk4f9KVkmdDU2P01ynIeIndDF7Icrqafz7vCbVK8bEnZ0pT/k8ICHATqZ7
2f4VfYY6iEzUYu5Iy0hPHyyMZaFEYvZEN8TPWjYxgzX1sGUpZv784q2yVWfx3jVBsvzv439y7HWS
0UBYDIgSf1oGk+Ei2Raw5j6cSZAWQzNYPotCnb0IokTf9AC1mpWIYeL/jPCXM1NaTKv7mBGubbkr
6nYmVjvX59hMdNgqutmr4+ADOQxYfZlu81rI3ydjL23+/1mka+uoBaknQ7o9Psx6NKY1szct/JSO
NnwotfImd0GHA/AzinMI2e2fdTO+nUJ32jF/K/rI3KpNgOkSfDlyirRzS9PJOuI9jZI1ndJft3dy
5/OupO662flNtISTNQ1tTYHd03bOak3fGec1yI0S+pMYPT+roKFZ1Bk6YuSqhVywG35oRvBtLsud
/OCaCbdPBOnSUqycsZXCJdkUJ/kdWL4/9Y62i5HWv8T85CrurzHMr7mRX/PM/YK7s3NQq+u0BKUo
i+Oy5EC5rseoEX7MZWu+AMdqtXe6c9g+rBUfxhYnIpbDPLnPRmNZY99k3Db7YHyvBQgA94z2bgtZ
1QjL1DFQVJxxYM+FNCLT9GZGiD4fTGbaxrvt768v4t/3pbvrT4pamuAheMDG9+5dIG6H9l4bd0zf
+mn8k6JLq2gBvst7pOjVjapfMf6wt47VffrrGxMZi4vCYGFNLeCxRPdJq/aHsAOgJ6/t1yzjnxBT
0unAdhSV8i2kkHX93wiUdFBm1ZVorY/bh7K6XQ5BoGWoNqWLxeCeaBZdhVVkdKT/zOINddux8YBT
3Baxvl//REh+sRvUdlCliAhosRXje1Jl2wJW14BX6hjE0Aap4PM1KGAUF01scSB4p0yY0iFqHWZw
W7fFrK0DY+y6OGsqYYvk6iQtw52TYtAMQGBOB9vONq2t4vTz0kmkTmu5Wc/nw84+aL/7d/1gHLZX
sHYD8aaxUgL/iazy+UZNDSPtU1yosA8faFiE3GW8hhNyW8jqOihpUxcycNbkWMHvGf22R/o+FPjo
wqn6nM/NvZ30b18hBu/ZJENDqlAO65zU96NAQArm2MONG9cAaC38pNOO0Vo7dF5/QgRyYC4R1/mW
GcmSymBKwAMpPXuKBaRrRI7qzm1fk2LgIRvkttBj2TVUbcW0lAhvamhulZtxfsWRcBbCVCnT4RBK
525lgan6YCR5k87IP9QeqW3f5NorriG5HUt3CEsd2iPOt0qZBgHqpE+8xsBkn3zPF1CG5tP2sa/u
1D8hsl0UNsORdoaQFrDpsvqs1nux7pr+GkRkS9XHYK+ke0gYkPeBY46cRU0j2J+cDuBqrz62ugzc
OzK45HAvijsaeb+YkuDoFWZZPVemMt8CyfJne6/WrjtH8X9CJN2tGjNhBE6MmHQfzJUfTP3TjXc/
im+vkEMXkEGgQfpO1l7awjMQNAayAz3jOowEP8VZ8ssG2U/ou7n11UW5VKQc3isUQdIyvTGNSamN
yfOZH4cXy2cQehk337kyO2Js6f1NSCo2rkCMa9OlfpjTN4HDBMuOy7U8fVKmmVYS/EYuP/UkXXoa
/T4vy9Zg50J7AgssB1lhBNbjHoyhgVwV/bCJA1dgp1rq0/aZrUk2aR+hdY6UjiE7rX2RikTpKCBw
dj8yEb3h1WDc0wbYb0oU+KFVHQalPPuxLXZN70/FSio5BeWgk7ck6jABPKnCm93an1i7v+ZSr0U9
qMLJsa/tRp0bZsyylJk/MI2p+wdXTeZDFYFPqjeMhXWVLZ7GupjfRAv0VgrnF4wMSnaD2lYPauiE
d26Qd08DIFQ7hn79xy0XHi/CMOW6jTn7RZgbbHs8PIVfwOQEHW97h1claBqPu2Or4qJbgqmM3oki
VEoAQJoAgwBSzDJLsi1l7XpYqmOSNBOWSuPEua0fwjiLM5AnPRCfr/MKcrphYOjXhtf2Fe/8qSRJ
Y8LQqkQC3Ik3+PNvpc6OYzYyGBZFO5q5diGA9sAHJmGiunIQOUTBjEmm+JgrypsRXK149pnLCj4G
SrJAncSfVTV6heFcDol6uEo7lPxiBlUfwjU8z17qHwvjnQMM4xCDkLZzWGKJrGQzcyJHfjRVd4q1
GqYDenSgc4/AoaiYnB+Vq4W6KX3SGcGDUMBliipVH8pWO2wry9rWnoqX/PNsqoAr0vBuckgQJuhp
GG4CfOGQQZZs379ClhBsJs83hXJJMaNkrCKr04iUqc7DxptRKjxa2deha+5Uxkw6UDW2JS4PzsXm
UsETlk47Kp2251fBiSO7cAMOkQiL6QRFAUK3CoBm0tvyJnX1hTiVaZHJLkCRBun9FYacl9fEs3P5
Q/bp9TQPHMNkc2vA1hi3r8G8nrWPkTBuXSiY9uLSxfuRVotjT7qFfi88C/mtr50IjDqflmVTeUcQ
n023UO5qTGSrV9vbumLH8INxv2h3MMiASQ8wHK4pBjxSab99EzGp61u/CnPn/q28RnRwoCg0KtFv
YCxW7iT4bVQxJZPdqdAhfoSM1hwettew+n1aaxbPnsBR7h8qiyAT/VgJr3GvwaUCUvd/+770+0GJ
45nSU+FpLkjyYryCzOUVEiw6oEiCWjoP1vkOqeQ5snTSVU+Fo0E7zMxYvFyA0FW67jSexAsTWALJ
kGVQwnkORD0642/jjoA1hQUSgE/jDzAssOjZyRm3Tujood1TZPGb6YHsoHsFsAG0IdXPsck/KN20
Y+1WnkaHNhhLX0pzlLgle9DliZorS1M/PPEDNNr/gdnS5++3t21dCJ3PtqtStJLTNnoC/qg9hqqX
JwNUpoD2YWXBMwBMytKzu1cI08gLUo0zlit5voVWHmaCzmZC7dwFqTj+EASqAJI/Pqqd83Fb1spb
Qfn8n6zl70+OC1S8LDWMBGjM9BvPxdQdtehT5/5nAb1gO3vKsWZkKKLSGU9rsEtj2rk03c4du7Zp
5QM88hqPjYFdQlcm47YXtWYHKPExhKEKij+yb6ElvmH7M3WEXIeGMoWCZicFvi7ApYrOIrBjkpLX
gWHmamktrx7YV8xudju3aE+AZGl0a6YjodVnz6gghntsf29v0No5EMthYdgiW1OlcxjrwW4nn9JY
DPH6o6N7IPRsS1hdgMmrhRJTxZaT2649hHPsUjhysl8AJJhMz24LuLQzdIjq6BEZdP4r23qh+WlM
m7JN5TgGt+sYuF8igFuUwgUd7uWdcgijtdZQDdp4L8wyvI2lKaIJhhLxGD1F/k5YerlZ55+XLmE0
JBb8PHw+f3YA/Yx2zmKlrkZfFeZ+6f+nsCYblEJxYt0cWvOoVhBmzscxAtIcArEBrAiRN1eG8qTU
4aEw91o01hZ2Klha2KAEeu5bg3kMgIYwnWtozA7banCpySxt6bVfRoYYqpM0uXdpQ54Tliai9xVY
mDQCJfa7HRmXRnLpx6Snn9YtHAt54KCYadOI8YGPJPa5j/HCe5KoCWRAueJAqBPB9pIKHVTu7P08
1srnSMtimNa64pdaj/kjgAog4HMf3tkRqLNJOszvc0uHa0Yxpq+d8hfCVckfYT5Xnzu/gBeh1OmF
M43SuMlFyZT1GGntPd4H1HAw0JieOdjp20iE1g3NILg6mmV8BdYv99I+Lm/i2BGfk3lUPo/aLJ6t
CKjPK60sgTAiRXXTdb4LVpWmwmKXALrKnE0PdoNonxvKH9AXjfOHMXahGW3/DGmk3wy8dj1ovXXg
1dMUfM0tiCbVrOz9QyA6gNEGq+m/pdqkvOJ4lyeXAJsE4cXjbuUZzZBgVR8j6GrCWzu6b8TN9umu
6eiJCDlY0xu/zsMSEe5tl9xm4e3259fsFOkHh25219UvPIeiGBRt7ALrqKrDbaTcz9XvEkoOwwdw
atqxiWuX4VSWdN0K00gSABQwU7DZ+8FNoP4u/b2OwpX9oqmCyQ0yaPh5cvWH7+d6xSMPs+EtBJ57
bfiXnhaOLwZ9EYGnoGrnLgIUtOQBA+EcxfihI8qpAMcS872xl7dZW4ZuLTlNzcEwyqnAJo6CShEg
h0bqt/4pd75sH/vaMlgHUx04w/RfSj4cOXuYfwLXYqJecY5pUgXfYhOkyRmI2bdmr6Y7Yenfbpzz
QNEw6ExjrIX2Ulo9JTfY77qgn9M6PyauxsSEbUJXeihIroD1BSWtA27upyBkcjpTeB5bIlw6DIGq
z4vIAmLenRwwPfPfTp5U14LW33f1BFZdV8bW9cKqd10oRffxpXu0GG5662lZWEol0k8OUtGClTBn
RygyVbO/shv96vHl1WPDItNLwy/hrXlRcA1dbGwo4P20VUAyaKWL6Q/fXsfltVtEkHHB11lxRfzE
iG3aeeNjAvVMqny06BHXXl5/QwgeJ7U35t4uZkrDIJhGiHSTo56pIGICSgb8zzD+2V7K5a2g69Bk
OouuV4aNHek5HWFnpgRXpMcJxPZ3U3TY/vxyopKSnn1+EX8abYh2gBuKz/vm1zkCpPYZLI53VQvT
5x04JtvC1tayjDXYWCoyVHLMFo+TPakj6qXl6RvYlNJi2MmVXkowVfpcidJoDl5G8s6Xw3SeHTst
tG7gIsMvB33E9gou3w6+T4TBQKFhAU0gXZDIUMGJ0uPmKIy8uYOXUFyXonQA787jh8S06udUL6bP
20JXF8Xhk9LGAbgYUAqNUmtghmuO7a8FHPrT9tcv78qypH9fl54oddDN3A7r5phod13fX1ntQzvt
2N61FZBfWlwGlxFGeQzfTdKqAkKwOYInCUhdrO+1A68LoEONhDw+iex06gHnAXMW5BeQO0Vv7d22
u7+vz/lF4RKS42SEFhpkXc6iiE4Lk8AJtGOLrJsEJpxDPJe9e+XM5BueagDk3hDDAf/mLhglfh7D
hga3FIRdTqLl13HoVt9CmqOvzToCJHaiU8NRJ3z9qqvLezhyyzcinVo6s6vgPleM8VbQKfY+wcJd
O76p3If54D/F0AL2IHjF2SG0RsZMhNIgyCzMAt6pNLtPMtp4S3eGW2qa9KukEyAV1sw3AV07m+P9
3CXz3bYGrVwKWio4Wh7VxemXLkWYgGFTBqY4TgXocgC9uh30qzeNewBBZ1vUyjkjCh0CkWDBC1iU
+cRcNbVBgxY9SUfdegA+fHfw5W+Pq3TMdPM6RJZLu6MtC4gz8KHKvBbHWk2yx5ChxoekLcTRt8B6
bau2Hq+yIgLVJiPjZI6FCj/NYD3G8PneNkUAlzsMTnDdjvC9zm57y9iu/nbMpvomKebw49i2+XMW
Dvmv7X25NOOEQ8YyWsg1A85EeiXyeKqCvnVBKNP7CT5LuzxOWeRfZ26uHYTp99f2HCaHfgyy+6BJ
tO/b4leOhezoMp1MM4hLhuf8WGY3UuaKRPZRAzxKhUs3UV5+8LTf05RHrGcw8CUdfEIuPgjmyoCZ
SX9nxvmzGc47TsNKUM5PXMoYgoS4yuDH+Sr6GeTGqjV1COUAsQYXA/w8IwSNXvSt+WQC23wfhpX2
lbsKJ5o/EGo55p4zvyxEUkAgAWjnIWsuaCCSLhMp2kavfV0/GubtXD5O8+0U7QRAa6fFyCazbBQW
8FyW+3xyieaIC5Y2ln6M+zvglqmSbmvDijI6FGQgxnN46C8c3yodproUdn8s/Azjw0PNdFUK8qtX
wEtrXylqqH+hGOfc5WNH4F64fv+w/RPWznLJcWEnKDWjNpK+qC18EE2lDMfYSBhp79T0RmkaBlPn
OinAvlahznbJsDih233osoCmJt9u852dWDnMs1+xxCQnO20y0KkBNjqCGv2guLeB/qy/fCBqsbsO
g3o40zhVkr7EsRlGfYOISX3QwapqFIDX99ZxGTudCZFLUWWcBJOWI0R95/qEKvf2fJ2VO77Vilqe
rsSWfDfN7JQB+PPxqLiQwFwxa7utE3vfl643XCxtoyX5eHTUb1nk6emegJV3kKE0phltd1F92QkJ
YelyxaC2R4G/Dv/EnAAqCSvaz8go9e+l78xgg0XTnu9zqWSAPy11T2ZDl4FsSQP0eQhB2NS74wi1
CFzAwVHU9lufRoudDdwRJPeVQPkwm4mvdUcok0V5mNLb0dqxwZdbyPNg09tEkL50VkimyTSy0Rgg
9zjiJcKZBVcNrdKt8a7bG6O4tFHngiSvt+5TxS3sqD1GiQZq/K0JJ/rYXs8l4P8ZcObaf068Y3bX
tu90bdI5KZPVwUaFyCyGnXMezeTG0KGtmrKue3ipqlsU3ogZKU8ziSlXQ1QRRkYvyL76MGrPsLbu
QUNdGoRzAZJhy4J6nOGv7o6gAmeHjJEAol81fDf13fSc+Hq/s3crx0VCWQXAhf4C0DQk2+DA0p0k
ScuCPvmfIJFxpjtgWfNrPb+rhxfn/skdLHguLnOmKnnCc6MdQdKpzHaiHYv2Oa7uQvewfTgre0du
AkANPA1alGRnCRCDrLCJ6WBCf47jW5hcRHM7/dgWcmnslgQINoEtc3HOpQ3TlB4WryzUjqF2qGDg
3Hvj974vGVNAHeFxh+3rCEt4LX6U8curSecLkFzKthdxnhmKOJLuVj2Q15s3wq7hxtHyBay6afr5
TS7UaieBsHJJyU9oS18gqCMXvdtKIYI5x6PgOb0HVCDTDnbsbR/Njgj5MW0CtWhMyxdHcIhVBn6J
GV4OjkBW6t8q5Kd0arI2dzNE6ONT8q2PH+rk5Ur8F3MG/xFUItJ555fEhVYQ4ux8PvYJeJRB5CxG
ANjXkipLste1v7Jj9IjSLUh5lEhVTt0yMd/FVQj8MczRT3ld3LcmdIfYvZe/4DTAkR0mAU2Gh6tz
vqrObILcr5v5mETjjTN/alT/OpoqkHqbq6ncc/UvHzuCWJMKJg30uPyyq0/b2xglgBBA8yFAiYdO
Vf9VTDaQ7l/NQn/x430mTC6q9F00w/2DsG7+ZqXwCfdMovyPMiSjM09QDpuaUtBB+CbN743hA8OJ
L70858uQ7E6WKjltJyyjVm4V82ECkr2N/tuWcWnbzmVIWqDoQz4AClR6laoegvIPGrDzPl8+Adh/
onVKHbQ9Xyj0rPVWbJBH8OxxUK8mM7xPIutzEoUfoD7Yc3VWlnMmTHJ1LKFnU1FVkVeHoBnrjvVs
Tvrd9pYt3ziPWlmQSfi/xKxLBu784vRdH0VBZIce3kDheH1DjH7dUStq3k3Bp21Za5unLelj3Vpw
cmSwMhiuGli07MiD/PxKgzuZnluAo+09E7e2b4sZoOFnAQKSG/2MHpgho+4jr9UfPpj+TrRzadOY
6z/5uqTIfewaUSv4eg7FwuRMby0KeNY89Tt3cnW3QLGgGmLSSCi/NpWu4JdBLuNlGRXkpyB9iPMY
oPkdp2nFli2jZ/8nRrr6QePYjduoaHT1le4CdVauNFCh0j66tcTeyazv3T9h0t6VhTsUCrRuXtJb
wMiDSg8e+6C939az9fMnGKGXjY4ZWc+yxo4DfJTIMzKz+VFTanpQhzZ7hRR9GUCgY0EQxC9rPUkR
RCWJZcP0I8+kujrCnf3l5as4/f6iHyffL+s8qYMwir0ihYDdiu/tUts5+7XjOBWx6MaJCLXQR/oX
WUKQPajxfamCLr0jYk29aOuiSEuIC220ZJKJO50syznxUrOuIvWxzZ98mNIyQ7uCffr6NVv2T9ii
GCfrcUw4rvIIXVat4TAVzvX0c1vA+ob9EyCdOU1a9hBEGncSFlLXzeHViA+FtpfQXFNgpgMpeeM7
MQkiidH8STAY3oWe/zh9hQ9vexF7X5cUS1PbIkrSHmYUxbh6W1Z7PuzakZ/+ekmr2hk+QuHy6yN4
5mBz1opvCRyHwXHP6Vs7jVNB0vs4G3nmlIug46D8dG5hGPrfNkp6G2Mlt+n24fu5flX119bN9ufX
9okcJ7U1eu8vfdZw6HWnUdIQUA370FfNdd7YV4NIrmeYue29zMLaZhH6k53hPcKFkXTKyUN3LKcw
9AzoSdT3uhjueKF3WidW3ixKLyDJorqMnsreRN628KMbU+ApfvlBHZtPoszvrcx8jnx9L7W5siAQ
wHRwoUn+k/aXFiT8XK0q10UWRKM/nOZut39m5aLQasRCaKJZnAnpaUwyp1UisiWeMINPmf4gGFXY
VoEVCcs8FS8VFW9KlNJV1HVlUCKjCDw/egwe3XHH+F4ex4K0xWz5omRU7aWbqI2Ro1gGFLGlsK70
Ga40PS+vHKf/CMXxi48eWTSQMlkBJv8F2p6RZdag2XW/TFJqN/VY9s++6g/XZhj4t7odtjvyVqAz
FoHUK5jYBcvAkXwJc1Z7OgKD3nMhbGQYEZK0G6f9GdlQUx3rYLzpjB+K+zZJPr70zIj4wGVTKTdS
MpU7GBnBahUGuXqPOPoBssjbMXHebYu4TJotIkABJdCgs/sCfiQEfQRXqfcymD0zxtyLAoZAWMk6
gNmmBGr37s6Y67ttqZc44fT1ENWaxpLcuuzBcB2jrQwy0h7z/G/GpdYNE7qw8tuojx8bt06uyJ3D
26Ic+oLrbBjto2nnb00rh1QuGZSdd+rygvNzLBA9SOZwvHKrrdJMWTGbVQu8la5cZ2ZsPoWhA6K3
D0fw9tJXRWEVSR4S1V90IeRNtKB52Q3xz5eCcZFuvg26nbu+LmMZy17KlBRdz52TIXdwtVOt8azO
utPC4GMpsoeueHkoTw0SINJlWn5BSJaGj5gXqVUrzFpPMW8E3a6UmGjXudner0u7dS5EWosT2jV5
qrTl7j332ptu5zgug9KljspB0HPEBZdPvhwswSSr1nnqWNx04e8ROq45+l4Y9l2lvhuDvWbP1eWc
yJMciYwJgalURUdUX3yryuJ9F7q3r9ixExGSLxHVcVgFKUvS3TeCfsF+Z8t2lmBJx176neHTTd15
Qf67Gb/k+mt+P2lV7iKNnnTPnWsvAB9aY6hJ7/UOg0Et6LPdjkFfXcGJBOkQQKtp9K6Oey9J7+f3
Yg+HaPXz6BLpYRxrVZ6XSVPVrCwm5ry4fude+8XOGMvaU2svPaNMbwPdLbtXJs5cEil65/WufxRh
/5yl/ifSoj9K09/ZqLXXAY+HpqZl8uyiTz8KDCtsMrfzrOTOHb/ABAyMwlUSGFdMAt9E7dfS9x9f
rr1YQDxVUjP8o5+f/mDZoVAhSfTM9Bh+H6ed927tbE4/v/z9SdwWTqaIOzqfPIi+4/Z70uzUBta+
j38FyB4BFVj1krlqgeZ19Jn7rcFz2eVXYbf3Vq20LdDieSJC8kYcB+CuSbBDvjOl31PFMB5yp+s+
6nWvvS1mAYqXNfpXEDB/HfD63haRY7/ikBht5Q0m0qYfRjIxRm6VcztbnZcY/VV6ayrDKx7kEwEy
7prT24UdpEbnFdYh1g6ac2fs+SDrJ/V/a5CpShQ7iNRx5BoZbXSjNcqh/P1yTT5dg3ROZAWjMKlY
Q2v/MH/4+ms+r2ngwjIqZxJrnWsyhDStQrMeZhgWTvwIZ298as2LWHwh8PUZoAER6VyAbSaRUNyJ
mxh+DabgJnOSu8rdU+fVY6Cln07cpTtQdkAtHmCz6jCWqv82elT3YO92Pi8PFfZO5rh+vpyy5ePM
Cvt7OGp7+dN1IbQCmkyLkESVXkQob+gGzDGT7j0ws7h0Ly90Lv2kzCQAg0CrtxyAqnPh1ykExV5i
q9dD/y6uH7oKEI7Ov5ph7nux3tLZttTRCK5YjnTujAN1ZSeayksd/XEo6f9StJ0nbGXDiKLp88Vx
FDyTkpVUKzyuqZ0qCk0PdvzRqV5un86+L109K9EYRun5fl6/KcvPbbMzEr9mg4nKoImCco5Nkuv/
TRiMw9iXlSfi9ylwUXR5HuLwrWb6V6nyRnTOYWl1zfcISbTlh5/XUHC2EUtrK9EDMdv5nfQTZ9JT
twZ/rleuCkjLLWA+Kj++CcfPtf8Elbrwv/TWNx+WIDW4d8EygtRZxB+M4dPsNN5g/IF05C4K4uuy
emP0Lw88Tn+ebLYbp+hbq2sbr2xuSuVQ2Pdt8vJ44EyEpDp2ltZJ2faN50CbHRc/nfJhW/1XzN6Z
AEl3nFENi04sa6jfwd9KSnEu9ozeqv4snR0Mv5Mg43/Oz1GZprhnAq/xVBp93+pK5N4oE7WwSfGt
w1Q6/5khICTxXOiH2XJ/GHEd7HjZK4EPy/z3CyRN0kqIOaw2arygj27cvL3JaTOv8+92e5uU3hx+
2d7VtRu/tGvR6UmoeJFnDtOqzoWJOCOn+ftJlL+2v7/iFC+MY7Q4gqlmUjE/39Chx6/TOq304mVw
vPrW6BYoXrd99D/KWbTnxH/0e7XvI6GXnjLeqhYZk+fIvWMqa3s1azpIvhGwEiYQ8b8lJS9108+q
aii9urtuy4d0vvH3AAgXKy5bEpJowl6GsQErkdRcAFcx9QpPipIUV6Z4H3TV1VDBT/oQpv9tr2bt
7E9FSS69H6upOjuIMkDMEteJthOQ7i1FOvvUCkSUTny/hfNiqmhe/7V08Rrmc7fn3q+pGd1Y4OaQ
vVnCr/Pjd2t6snxXbTw9/G5H5NEpYcfmQa9/vnzLcK3Jki2t7BfqrJXQyQ5j04Dfplxddcke2NHK
kVCxRL/AcKIe/zc/d6LGSaYac+ECVd9/0cQTrOYv/vlky3molhB+IUw636YEvRtyCwaG9Dm0vtnG
51d8/m/NikkSgNIkDyVMrSr3MzgrYhPC3vlzVn14hQD8UeYb6TIlb37++0ceXkfMEH/1RnqtgDXZ
7FWu/napSvdPh3OOrBMTgrDLSvbXEak1Zo3Ve0XnitvIqD8AvfI50YxHqzE/luF81evt+1gb/0vK
/DZXxjvgdG+01HqMsvpXaVgefYl05+/9sFXN+Pe7ZELaENAS+gL13jPgoFLJde+1Nq7YNjLa6uLH
YtrIp5/vrXD6LsurqfcALP0LvdYmn7O98YUVk0Cvyd8IlQ7NiwxoXBXZ0NVK71nzLK4ns/oQx/b9
WNKj5TIrMTXjYVtjVgwDAhmuFkBbkMCVQoBGY1zR7aMB2FsG17QFuK+bAJTUa8Q2w59taWuH9Lf2
YcPYQZeLpDyBVoZJZ1Ftoa1lenaLF+PvkVwSfJiOA9IV8mOq+2YZG43TeTM47vHtoByM7nZ7BWv7
pWkqqHgGbelcsnMtmMO6aCY3RQtqAV2g9SkJbG8sshs9UV9xNGSwbGZZoC+8oIiOG8VprDlDFxZq
k9R+Gqf5eyHim7bT77dXtXouPNn0hcJxgo9+vqqAOoI/qXPvNWV6dVPyx/b3V5w2nVYwHP9lYoWM
3Pn3XcgwZr8bBs+p3eyqaKr3HWWSpKFmUtTWvYj1uyZ0X85AQ/qP1hXecBq3eC/OpSZFOgD+38EN
o72zzPcvZzBxmMaj+kI2CRlyvnfI83ECeG/hWHpqlPqqCL9b4dftjVs7GPxsBrGx3MtM+fkS+rrJ
p2qxB0FrHX4oFJu2v7+mzqfflx483chUp6Gh2ivq6D61uls7pLYDDO9TqQ47slbXwiQPYSfjU4xB
nK+lKMFbnOcY4i3le5/A3He3vZY1A71UjZZyLiNm8ssU+WJkMW7vTd2zVj/9P9K+rFduHGn2FwnQ
Ri2vkmo5q+p4t18Id9umSO378utv0B8wXcUSSqhzMdODAU5DWSSTZDIzMsLicd++3TaxPoT/mVAv
GS1pGn9OYaLwBdrnQP4X3jawth6AzoNOTjaJXPHflrNmaFMHsnNC917+OpuvY3/UN3b72kSB/1hS
iMow6mq3p04/TR2kG3rzzazfWn6A9OntcaxNFI53sMpiRSSt2OVaG81cl5y080njn8EJMW3EOWuV
bTyZcBDLIt61iNtktTr4J2r9ZI3D/CWxZu/gAKG7Y7y2Ar1bih0QafOjsQB5zJZMe8iLpn5rJt+4
36ltiG7jeYj+bOAolZCuqKwZjFFgpDRm6Ciav4ixEZLKK1GJty4MKIcY1OlGzwGvzqlu9qCsZtpH
ajynCG/6IE+fx61LZy2+u7CnXNHQoagSoyTLqfGTB9PqQ5e82jUkjIG40ZfvrJv3Oeh9ir4LiiwN
rQSPyeXZSdx9kZ00sLVT7dttX1qJifBuQcTsAcKAzk5lil2vKG2uV8NJmOVzq4k9a48FjSjIjNvp
HW8+G6E5YL64dE3bUYzBr3SS2xTJ72aAtvPO5ltkayu7D6OB6iZKKmi7VwtFiQ/ZVwhAIP+teWFt
vmTaq9684+qD+q/cGXjGSAW2y/03Wi2ipBa1yEn8zIJy2FiSle198XnFKcVUuMLN+AB0PwvbQ5lt
3a1rBhBlgY9AxttXUKxmGibCS787gVEWPcrzxjG79Xl5DJ89I10xW7yu8HkGzXA9HgjZCHi2DCjz
n1UOd6uMdie+eMH8fRHNxghWvAg4FNQdgN/GZaousG4jLTVOyXhyknDyAlE8ddP9yRygqtHV58hm
KzxXLydpnqxynFO89JqKHwqcq8u4K99RDQKYBpGh1BaQKu6KEc5dTjiDGCEJIe9RbEzT2jqcf16J
n1hnZ/Pia+PJYKAnCt+zzYAkAXuURFddcQplg9vro5kiwuyqyMA/G/HG2ipLAU8DQSaOCjVt4ybl
Avgm1Aog3tKxoM3DZat3Zm2GpLqKC1pOmbZRVnlIJpq6fxXyoGO4Q+Xj/p3g4NXsohInMyoq+ePg
MbsfnG46mVOImrJINrxUHjXK/YgWYdRyoTAJ7gRXju9sK+Mt6IgpwwpT9rJYXVBZTWjxF6+ETAGL
0mmjTr4SoF2YU6YLOeJlailEyfgS/qP/bIegct4zYyApR1iBatZVP2g2NIMOKvnx1GX7JT8kn29f
pysBBdqDsdvQcerjYaRc8N1QoGm/gJClQfzuZbAK/9BYevU9MzUkBPtxygIHwdLR0XJvV1lU20Bc
Xjsccmt40MA6eLKuUoSpr1l0komakf8G0exE7gdvXxpQlijvu46AkRyZoLfZfEqmh9vzt/r7PRQ1
kbHH5aTW3wvDQPSZ4hnjjqhi2l/fkUTH7z8zoLyT+iEnIwUT98lu9tOwa0Q8mYf3jMFBhC7Bu1eJ
yJEntdc1HoBE9SvTYhLd/ryc4cs9CUo4bHowpuDYAk3G5Z7UbNKN+VACnGnzZz3DyQXghdQruF8O
DNkE6co2+sxwzCjHe9MANk6atj/lerlzc37Q8c8057vb41lZcvBBQvkXD0scNa4SLvhzywvQunWn
LnYmf2fqW1mlLQNKuNAJUy/szIIBaG+PHg0Sa+OYXEGugrgB9LtgHgDN01XAMLAuaXofJkSZ7Gby
VpFPWfuHjN/y+ajbfcC6OoD0WVi1GaREcRl7ZpSZ+9sTueIYFvCWpoEUsoQZWZeOMQyiszz4Xlx1
jx7Upx0SD9bpfhtIaQJ2/PeEU8MW0+3bqe87N9ZbL4Lad1SU5geSFff7OFJa6ElA5II2YXUoZYHj
geW1G8/JGBojeminr4Au3X0XSDpHULIBOIWbQEXE2tRrE+oLL86dKihzK8y2pGJWXA/xNXJLMING
XaJsIYv7o64Z3JesFLJTa7j/uL/4vnKauVpJiY+OwNiewy6L2q+3V3vr5ysexXV3GOcOnx+rcMqL
kHv3w0p8JBFBQCrJBgAolL/gLMCoWTdWGfiu4ibPwzyHwMxWm8bqGM4sKBdW08zlWJuwkBRvyxe8
t29P0XXIgosWlKMAx6BwhreCMgCzaguPJvh8I8C2q6VBzf0hAMR7CJah+nPb2tpgzq0p01UCnVO2
TerHUy3CEhRJtf3ztoW1Q+TcgjJdXYqkq09gYcn2wIPw9oHfH7Si9oKcMXrLwLluq5tiSkTatija
x6g2B0QvA//L7TGszZIkgQEbqQH1OVVLHox1iI166sbQSZo+dezj7c+vLfn555X7pCLjQswBny/A
miSmY0L2Vf2QevefTmhUBWuJZAXyEVVeehZnlpWNdk5jvQxN/kqKjZVemaWL7yueWy4FEOfgeogX
K/TrvXX/6xDvGTQCINGDtM4V6NUuFq0el4bG7vRBBLl4u70KK4568XllegRDDqMY8HnwSvU9yBQj
6/5Y9MKCMkHZQDJ76WGhDr1+lxn72wNYm3+8qmTHC7wJrZuX6zsgTyYKt6NxTvTgAboNG/6zNkEo
bCEiQUEVnGrK3eNxTacFGMzj1ui+5FO6n9rmo4NE7e1hrOwG9HdBaBk3KKqPKvgM9I1mXdejFjf2
L1r97NmOWB9F++9tK2uTdWZFzWSYAsnPNoeVxcsjB+SZ+hbCa92C3G84z/FCkH8/u4kmO9c4Hmg0
jpy8D71uS6N06/vKwTpXCYE82kBjYSUBe7KWd1x0kEfHywmiWNh5rvL0BKZSS9H65sWF9tNLfm7x
/a6509nnPeXZYbd2S8cUp7YxPWXkH0b+MbWNMHrNBMoZSEiivQAACGWKUJy3MmescCKl+g5lsqPM
sSa5E932JXk+Kw8oye6MhA+ubA+JscuVNjO3NtGN6sd1il69xWVh7hg7UvoH12R74Cjz8LbBtaXH
LYSEIuBB+EdZGYiuEzYYGFc6mmGWgrK76o63TVwnaiTn6P9MqCWhJZ+yfphgQuMfzPEtKdvI6qpA
L/QdtABC3dhqEV/b9i5ge39ZddDZqYzJdLRytg24s9XtnN1wzJan2f11e1Dr8/Y/G6rLNXbCCHPl
lqHfab9jy/19VxLJgHQJCqc4udSndA3dUNBmIjZcMoFsUFABKnt7CCu+BuYMBDsyBXvdttRTC6Tx
WenElvdZ1Mc614Ik+SY0HpByw9TKbMEUZGAkMafUBrl067JPPdYUgxP3L575kfTfb49kZcElCT6e
ZYC5gS1Q2Zy+BfUyr4BIC0v6Pc//zYvy0RtP7bhx0v91VWV7giZb3rwGgKgweDkOE1o5mYcWvHga
yjlw6fCVCWNPqy4EOe4/0zjqD5jWzyYZo9EpdvePEs3cSA96UH+9ogFnRTabvEvceIDWR2Ifk1cf
BJ+5v3HSrawVZPaQ2Zax3XXqGc0NdtOXMNMbBwYNjw1XkJtPncLzzyuukEPDmjoUa6WjQ2Oufg7W
oz4/lnUFTc83M41B7XB/sHExILkPzm7PpXVKQUETFGux43/xAm/8cnthVjbShQElWkKabdIGqJHF
Uz+HegoE7MCDpOIBoJL4/59uW1u5iUDTDgiejSMVzfdK7CTyloL2CnvJzv5oPHa0H7az4QIrJza2
EXQGZHoNskrKfgK+xSsn7moxHCSo6Oes+FXPj4SAvTsr9mla7+8f0rk9xSdSQb0OT1UtZqbRBxkD
nwRLn8C4/Y6pQ7gppQ1w6F1lDfMioXoG1vHYTKunzskfeDJHadZsbNQ1fwDpDVp0cYOjr04JR2rf
GhfWYDgmzwKKjvEYyZURYixgNr89cSt7FeBx4LYQkuCVr55HmjNCdszWwFBl10jkham/cbKuOBsY
I8FKBSIGQK9txRN6P3N5aed+zLKI+EEx74z7pdhBTndmQll8t6hNwqsCeaK3xDmM9xOUwoH/Mm6g
BHVNeGSPtWb3pYfMY7M8NGW1G0eUTNutrODKsYZqIOpoCN6Af1dXYkGAOw0JXky+rYW+/bly3kpn
b/lo2/xB29d2s8NqZekvDMq/n51qvFwm6GjDYPetZVmIe2DDt1aW3keXnux2ApvbVRWYIZMAQaki
AQFS4FrozAk06+Pd7gswP5Yf1TsPODo5qWdjGEYBUjrLAsXH4+Lu+2Ij8FzZh2C7/D82cCB4VcBF
wUi+sM5gKPZDTgCpyKBOpmM1/NKgbBH0ZNk4XtaWRBYJZGcg2DfUokRtTO00+nlyGr2nKRTmw/2z
hVNSCo2gixXP88vZQs2ZT3bfJCfX/T11IvA3fv7agp9/37z8fsvRxjPTKjk5eT6HzlxFnA672Ri2
RPu2DClRVFmAO6bOMZAK12MW5lnYbrX8r21H5GwBiMdVKdFul2MxF8fjbgtGH6uvHchKJ5+LwXaD
VDP3xOZVAMXGU2L4yOvOzRaj9IouM7oQ/zOuPngEY721DJSdbFdrY9eZyFPGaisH62a1N1i3gOXA
rp4avfrQ9bm1r+ngPiB/3UQk97Ovt71m5S6/+DGK19QpW1K3lDOh2/uhJNAqiRk7mUwPbfQKjMtG
B/6KQpTswUT53YCIHQBIcleebeoS4WPhOtgFPpY5GBYtdI364+T1IIYtwMyvAe+7N7ya7b3M+IOG
7zJcesh/1E0+weMAFegrrY5YxrwAcCYauDwxntAN2+59e6vLa9UV8dqWIGHvupjDm0yjVPqJMPLP
JBs/ZAtHZUp8v70IqyfDmRn597M5MQbmpFonklPtWohtfvr1HN1vQSb5UdiXstGWHOiZBXdedDa2
C43bwgxJdiyLrftgbQznFpR7WqMToRXgCfEAIod5J7wv/38jUPyma1KBPhl8X/+di4gMG5fB1s+X
++RsgmbdAX1wg88XFGn30K42YmY5fOVdgxab/xZAOXGcVuh67hk0Hp2nNpsPnU3DVLxldrbR67B2
qwHejqQskKeoVSi+VFBR5aZHaUzoi+Y/jIaIvN4I6hS86FtkM6u24FHoS0G6FqzIl5PGrUlHHtvW
MKjkxU+GoK3eqm4O/NLYme5GwXB1BiWdp8R7guRdmUHodaXJPCI6Lwz2DxmrX4UYHhrS7Iym3d32
tbVtjwQRaGGRkriWbuJD3ReQvUJ+u+WhxZ7Ndt551bKxJ1cHdGZF/v3M5UYC+lhrgRUze+Rofc66
h5J04bTFLLc2GlBrmYC/AzN59SKs7G60/QHp4UVLHqpcvLCZHNuZbazPWvYDsfR/dhRvGHs8RShk
4uPRmx68fDkkKf9pL+SlncVRTOXHlNTfJ6391Fn5t/sXDDPpQiwOq3bVf28N01RAFYXGdMxBaDZC
7DsNQP8S3jbztxVB3cXndpQhllCfKs3ZoTEr0BMByWoWNWVmPyLBtDzmveeGVs31ULMMNJoVYFI7
+o08reBAQaNZIGxw02nXpFp9yPxqPOSVXgWakT951Nnr9dI+N+WQR8NYTFFb+dDGrd1slwx+Gvqd
45xyzrsg5UOBd4PmPqFdADQWc+GExCE92IDRo1Hj668DoMqv+HdR/hmZ9pu1Th4WY9pEGpnYYZxs
L9SgVnOkvHee6QyAFy06M/Ryh740afZn6vneZmPzb201P8mYN0hgVelJq5s6crwuCXu8co5mj2IG
Sfb2DIGo7Eks/hAm/myFlNfZ3kEZFS3FYw5lqKEOh7y1nsyadNFiVhVULgj/4RecZoHXGG2IJ74e
Ee5tNZesbTLofIP5AWiJ6yxm3euFEJqHawkKYsvbPhzMHxtOoZ7saC4EpAkkgbhYr8voFsX8992s
xZ520uxn3z4Ksqc93OHe55BiSDnZNUiqNa2xaHGWheUSVOm9V6DyfSVGsGdUjzjB97WP01O5gb65
ul/lx5GelO1eqFuo9JZOm9hpRqkWTwKeKnTrUCf+h9srYchL+mJ7/jUiRWGAzMA1ocQIC23NDGz8
iKynfAysPO8eq35xH73eRpKcjcnPxkwAY0rtMpzn1t3n+ciOFSdp6DHefDTGqg6GEU7ozfBgXLHJ
gVdt/UWr/a2GivUJ+e+3KgFHsbi6GNqMnQzD+80Hg+3qujc3rpiro1+ZEOXORJCMpEPC2Slhr7nn
haMHme12S+j+ao9JK7KJHIlvwP9VcY+mHzKea1jbof86+3rY5U8EuGpzGDfO39U5g86lZJlAT43K
rcNGm+cLTrQTFfPnLLc/Quxqf9uHNkyodRWBShjpHSQFSPLsF1+gkxvcNnAVM8nJ+m8MlvLg4rRu
xFjqDGxw4HJuf0kF9JqxIOPfOJ6gt42trj8iM9SIEBJepZ1ckJdQvWvZCe2hoVE8mvOfjv65bWN1
9c9syBk9C2OqmhbEKnt26iYtysHlzss8HLQ6mKyt7onV4cg+UTzZcYqoGZTCp5wSMJSf8tmJmPlj
zM09YHDvmDQI1YBGQvInXrGjQlDMAzUUolrP0A5seiDpAYDWw+1ZW/OzcyNKkgOKwwkkW2FE1Nbv
lk8/edp8um1ibbbOTSgLo/FhqfQaAXPlfZ7TU7m85ncjD+DM2IZQCpDqEVekxQMerqB2QCWgmCcQ
C7Dye2vOGw+a1ZmSknqACKATRC2t2xbgMq4NMIhzmMiXwti4vldnyUE6Bh2JBigalTvDJ+PsWK0G
EMhUnPqkOPZpFjPIlt9ejNVRAEmJUAFi31epeBydzjRQR4t147uT/Jr1jeBgdRjogoNYMtJZV41d
CWraXWI2uPrSA+WRbe5YtTGEVRNIGsvuMXTAqUQHdW3YU9JYgIWb+vQAv20OzjDRQ9HW6cZBv3KR
oytEogIQV6FXTdkdmQdZt66cjdjo54963aBWVvRlMJjeG63RZUhzFDQmz9iiiFu1ixwtwMgSXKu+
MQs0loJ2vzPiqk+gW38QxRSQ+ougu3p5gpjoxkmzchdAsMpDsRa0B3AOxfeIR5k2lL4e0/KPLThe
LWM4ooET5OI1GA9ve+DKOY2SLXpvZT0fu0mJBag+Q4xNFJjTtMj22FD1c2PUaFfWxI6zxf5+29yK
t8CczApgIq+L7hO4YLQB5W/AOqrQcQ3QHD/2dKsnZs0K3nwIo5ChuyYWYqJKfN4aRtyPWWiNvyhU
h+dt2n9ZklMCS8CT0E4kCxEOWqQv77iO4k2ZZTWJu0EkUW91OYbkTajm0u6pKvo+Spe8GQIdj8EX
Xi3Zz3Y22BPw5uWDXyVN4FduH6S60x3MJmm+D1bbfZxY4QWEGgU8S3j7lmn6CzWhkOeOwETrc57s
HF9oe6vBKvlZOuPNBoXkIuvacMxa8dB5qQjdah6yKNfnZMcnTvbaghdmW6ORMQCBBwsnHBYxXTTn
Y0PnaW8T3h9vr/SKY11Mjvz7WQDAOktPWrsjMWR/o9bYJ9CDzhFu3M00DVlRHG/4D1g2JI3NpZ2s
t/1yagwvJt6xNJ7KYu8l+7uHcmFCCcorxLd5VsIExKkslJknqCE/aL/eYQR7QjL6ycKpcriJpUoh
qzt4sZd+tI2jqMMyhYNs4RpWzjLgtf4zo1z/XZ0sUICFGWfsIRjy3PmRYf1OxmiqY5G4G05wnf2R
q3NmTtki6BLTyrbsPDTNmjifj0vnha4AOI3yHfS+gsFwAtP4x16+3p7NlRNA6gtAnQFPPmARFK9I
K7dtBpZ7scXTp27sD7mwvlV8q9VHno7KCWBDjRHUwSjfXTdcJM1sp65WeXELXvmy/NC4v7QEl4Mm
b6VPpvYtFdXGgb06sjOT5qW/5ym6g9Ox8WK3/DQ0B5GEfrKRs1uJSi5GpbgiX7jG+wV9NxAD/tea
03+q1D7cXp+V0+HChOKGkP8sXYNh4qzpa5kda5kz0g+jtbttZm2ygJrHqxDVdXACKLcbKp+54c0m
QDbtGFTmh4F/Kvp5Y0XWxmJB/U8HUTB0pNWdq+PodpMJSB57sHbF7IfWYoZV/rPlG6Ox1xZGEnGA
0RCRIRiYLtceUnh9IXTmxi2h7o6NPd/1+VJ+snIft0JRDvteuEUwCNP8x/FpGpa+Jw6+oPp+NvLp
wRcd+RcAFH1ftDmLG1IVj9Ao6B+50Rd702now5gZ1pEknf5jKJJlVyPM2vEUF5GoPQLye32EFHhJ
RPOBdF73Gy3nxtNsdOaejp22q7VUvNq4j6K2p94zJHqHaBly5yBKd0LqUR+OLh4FoS98/6mbgU4F
Zr/EytjkSVh2sXFwy/lQt+f5fCkHt7002qJpWBl/eRXpk41EqgMF0PaReb9vO9qqJTCowc3A2Ab4
++XKlOk04r3QOfEgyoDnRzc79NUHqfAwGh9um1p1AkCRkDfD8/3quYsqfyNEazvxQsowMX74EOm9
34IE9krcJToZ1QJOTnoh5p55cRI2ANb5mxHu2ra0IdECUVkIpaFX8nK2ctqj0FUmXlxngZ1GIj3q
3sbSr23KcxPy72fhh+WnlWZLE63xlkL9Rw+peGbf3jFR6FIHBZuF3h/1EUoyMduL0F3spA8aPYnd
/Z9HH5ks2+G/V6FNThekqcfWjVOUwZ30lVdblM5rC4E3OlJnkrPhSoQgaUxUtXwUm8qBRma3DGBo
QYiICH4jEFjbH+eGlJ1YWK4AGSOqTZmfv1qNfQDE4NGY6v1I/cd01jayA6txx7k95eBvqM8srZlp
nFAOdh/RIcZZPAiw5NSFrPWgh445tKhvkCZI536Mgb1rvtxevtXJRWSAcxrXD/bTpQsKXbQEzEmo
uaLfUPs99M/TVrvklgnlGp2NKbcKAyZG8WAZH7Lug6+/w8dl/UxmVwHOUDMheIAChFVzGvOp/jEx
ygNa2Q+3Z+q63Rhhoidp15ADxVypTNkgFWmXAjdWPHiLEfjWPoSeYQKeEnHUmvKRJtrbPufag6N1
O7f3vto9Odz+CWvnBSBr6ANGeu9aaMsFy/UI1mWUOZzpN8eruxDZ14UOAb0bMSXHCi5A6BHh7DP+
kl+fnUxd4gC6w0w0TwBJVJWEB2VV71Fp22LFWXMOiL0gKQ6qPoBXFUSpKHD7pWJCCwUb9nwmT0aa
Af0tNmYOaR44snrNnhtSkteurRv/ByPxB4s/eQUhsmrpRlZCvpPBzQPEMzYanIxQaI31MlkaRN9n
iz5MVWsffIhY71ukXqK0Xiii6BTwWn3KDn5hp+FQlNOzV/Q8tCF7HJIiozsIRtkRbVtmBaLi+gH8
Of53MpbuKYPWc5SAJfBpQcR2yFyd76q5b4LJdOiu1XgWTXZdPorRmF9aLTf2pOR5oIve+dV4yB65
FFIMwMU0YUW9fM8aRA5TMmf7IZ3aqGALDce07AMTZdNdi6byQ1pqc8BEOx71RLgBio7LZ292WTBA
nHVXGhpKoIZBQ0eXesZmSY7LJNxoEfMelEsB05LhFQaWh1QHHZYoqmzPtbkBUXbTHdvc/u462T8G
jmXckQN5ZJl4tvX8gOvTPfTToj82k5Udh0qbdthgzalPDfoyc6k6ykwR2nOSfbNdTkPdGuqd3Zn/
okLm7MYW/e5ET39UXae/GVVeRL1RSpHfYoiGBT0JgCzOUdtWy6uOFOUBqmfOrvdAt86mqdyLtpDo
qzEP3WwAsVdqcxZorpntu96urLAyKIvA1ZQHtUbsxyUxnKObVjyq+bQEE2DkQWYtv+vZxaLqkGZ3
8iZ7880GRGFpUT+gyta/YvH1XTdUZigYge5hbg9IgTVG6E6OHZDGqsPeoT/MsrOOleZi5rwxiWpc
ywfDqcwx1BlZhCQoGL9aud21QaFZwCRDSaYaRmDMhsR9sNk8/e7K5ZtZAl6GQrkeLlnCAoOl+U9A
ZtxQ5123azvfRKTiaqDBLx3rBRpHTcS6zooYqwGlhdpKF5X9Qp7NPC2O7oh805wCwFFaAAu6fvGn
anMvZJTakVnU7BGE0fQLxIjn3+iBKQMhvH4/a429r3wzf0nAjF0H3pT2ULHD/1BRGwdQClV/UquZ
XyrOtRDJa/OPXTNvb+eMHdA9PD77wvKiHgTO+7KgY5SmZA4y222RHrG8wKFwZYgNJY8cdGxlAGxB
sXPaXovcagAvJRmdxynzxWEZdCO0R6zG2ND+kPhe/5b3jP3U0yrBEi0FMcKKVCmIuzUnyhMISnV+
P76US5W9GELzj6bekdArobDt9K31MDS1FtbaTAL095cvSzEmD9xqq8Ow/Bl6M0zY8Nyi+hJZ9iah
6NrhjkIEsB6y7fiKeEkfB3d0ypLGs2sCjjTisY5/8c9EgTqpu0+3b5K1Y1dCrCRjDXIQ6iOt1qsi
Y10LUJ1PGvRrt8eyoYeyGbZoUtceAjhhJMoKW/aKvrmcLa9EnzViHBahvlpVG0HU6veRfyYE5Bsg
n1NiKJMjMckSgNNSgUdNISrQwzn7uydLUiUgOkLqDkUKOZlnl6FbpOB4bbkTp9lBB2+Y2GnjRnCx
sh4XJqRznJkAaivVyAwTfbn3ChPHohYUdwMFkeNycb6a0rvwQlcCsQz3Bs5oaAv7YHh6bMQGPnZl
KbDAEuEmuwTgwsoYzGoGkygRJ5wgTuS8o7aJRz9k+mSfC4C/8oI/m6IaiXQx+Is4DRaDjniG/PMr
GT/dXuq1MSAMAdDUgDq6qfYj54aWOMkM4eKWhU2CDvQNV9r6vuJKk1F1rSulsN2vwt5P2oYbySlW
ghx05hC0T4ARH+hGJZqvWIMOO15Cd5n4j9z/gtY9sUyhN5i7d8zTmSE5zrPFwCVHCn9p+Wnaz/ZH
Xd9IH6y8xCAoC9EbkIVhMOqbdfI0z3PmUoCGWn9qlyXI3DeblygBmAhZPt8ey5YxxW95YTnViJDl
NFrMDyHo9YKLBQCHzslCMy1IAAbur7dNrmx3FxE2srEytr4qqYJmq/UaXYhT5no7nT7PvHyc6Za0
yZqzyWcz2LZxcMEnLheJutasD5MvTrb/SnLM4caGX/E2MDUCsYtLS4qyKiF1gh3koK9NnIrEDqbR
CDr9X2LPUeZv8Z+tzNeFJWXvpwPzRry+xEk46HmAgDVtPvlA1t9ela3xKLtnQTtalha6OJH0Rwng
YAVl5iGdg00SkK3hKLtH88AZnxqmOPXVyaKHoTrxcePBs2oCsJm/8GYJbL1ceztJOtussPYp/9bZ
OzHvHP1+Jwa5InQloIIFKne1XZPMuVMkboUDOc1mK0hykXxKLJF8KPXF+Of20qy4Mmw5uIT/asKq
2CZ3cWljLq04NfZuCUZ7d/vzq7N19nnFk/UeOgs6bXAEmBS9GOJVeDqYgvV7kfSSQ+7MjOLGNBna
bmSdOLVL4NEfFd8n1Z7SjWTIqhufWVHcmM9la/i0FqdFeyTVg2Z/Klusfnh7yrZWRPFhw8bSdz5W
hKc0qGpUeJoN3OV1t9Hf6UJMjG4nHJWqllvZArOs2zhf5srIUO3P8EwQjmYewF01v/Qlypx4R6Rg
j8jtPExGyw8rxu0oZ2n5rtH+91MUB/GbEgihBD/FpZE17zR9/57Z/O/7imd0SQKkL2CVJxMbNZqb
6PbnV6449G8Cu6ojI49CtLJY44j2MCRpcZ+2b3n6YvYfaHqy+EPHjPdM1JkludPOAgPwDxntUg+4
c7TfANQtW/xJq8599n3597Pvo1Dr4OmNLaQVLgkMOoRSn6VN8jLUK3a8PW3y8aCEU5g2IEGkijrq
AMqqQ5QJTBUDVj3PdvY0hYn2z9LTnWxKadkQ9Pmvdqupd3Vb4UoFqw8aIXGvXo6vMhPCUCxJT9kQ
WOStsDc21dr3gUFAUQs9z8jzKOsDbe2kWFI/PSG73YPy5V5iNmxZ4FnQlgztlWusdNUmtT8xMzs1
5CeQyuPeN/cO/XR7Wa6p8qUVycKPnCHEPdRiZpaO1KxnWJHN4c3HSUSOQCNipLeRBvjD2C1Qbwu7
TQDs6uSBnR820W99VdUC47BB0nGB3faZfhqbjeh97fOg/ASDqeyyvOItplkBCcFmzE6AiU5iz/n9
lyiaXEDpj4XHb1V9a2akWzyL8xPtP9jf6/peJUnwUZ1/XtktaToXo/Dx+aQKhM2jZOqj2wu/MkHn
FtSAs8yLzhgzDX281H5sG/1jLsot8uiVUACgUA9xOQBgaA1TDhgTVPZtYef8pLdN1HpoQHkj5Yfb
49iyIY/rs0MsF4NbLBmead3UBPZQBA35pltNcNvK6myh2o+BmJCoVJW/qsbho2EIfqprhEzaJ73c
OB5Xh4EMq8QUgIBV5TpjbmKzjFpg2CRLxOiftKuh8NHtbg9j5cQHYgHN7iCFx4tCpYUXpKshAkn4
CWCAxPqzTCj9jV5kz1sQibXhnBtSQmbdH5qe9RgOn+Mk3btLFhrD3axU2CQSxojnGN59Vy/0WRsW
O12QAJiR2qZ+EszsbjWGvyaAXkTTJmjW1cr4YmSN7qRzcup1NDX04rMnis8QnHi7vS6r02X+Z0YJ
M825Bu47h5l5nEsQbJE2KrV+iSC8umy4wFokCGZdSRiLhCXqMPK3nG0YLROsI8kAWwj4/CLZgyTi
d6t3HwBO/VHUyWHCaR1Q199RigT7lH5MbboBOFod79lvUA6GAhLP2uxhvJ43zCEAfY+gUH5DKnsr
Zbp2vV2MVjkeFjx0PVrqOOY853lheszN9HO7/Bzq7GRndsDTMa5KMAyQbx7bsr52akDnENtZMqfh
d1xOddFmebd0dnKC3mUbAgl322u2Pi//fraSrjNPjFEnOXEvMpBge8cVBwIrFGjBVAGGDOXXW8xy
aqbVyQnp9AXM/HjJ+ePdpHxyg50ZUcbQg0reGMceRuqTZf1MHOswlOOGz6+6G2oBErZh4IBVjJTJ
nJNWGvHdh7k7oPoQ+Cjd3b8awKhjmQF1RhFWMeJyD3KzdYqLyPoDeCXTN8LBtUHgmSxZUPB0vxKf
HHsf3NvCw2oXuzKL/HIH/dR3DOHMhLLiSZEvWZfBhF/vGIvc6D2fR/Qv4z1cccpeRKHKrNiMnHkF
QdMcehL58ue2hZVHhg/c3/8sKNdOqWe9GB3kAvE2I+1J54+a9mxOR2P52df/dMM7orRzc/LnnG3A
Lq1bJhjMlfonmqCuT7YU0qXTKK+m8wGpaUfUwvNUB/zrlDkPqXvQNlZk5S178XklzGy8mYxNjRXR
i/Ewa9Nx5tOx1vtdamhvlTP9ur08cvpvjca8nC/khbtcH1Jxos4c2aiT05NvngRsT20dUPHztrn1
HfM/bzAVdx5wsiRobUAiQPt/pH3Zctw4sOwXMYI7yFeyN+0tyZYtvzBmbA13EiS4gPz6k3DcY3dD
uI2Qzjx4HhTBagCFAlCVlQlpGgPs60LmNvJC/u3/Zkis4okfzGPCcZDCkN/+SrLHMv9azt8vm1Dd
3E5cTc7iE+SG+97KkLRLt3l+6OgdEsOdDkSndDfcpwQAzX3frVGkee4TjlqBAaGEpCw2wycagIVy
yR8L0slvGU5TU4Baj6Sl0fza15/aMScGpCDjL32JlhP42FA+NIdJR52tniHwR0KjACeJrCHakwY5
R9/Ij7OLywN/dGddd6NypQVD5f+zILz6xJl82jAvJ+DaB7A8bqa31fvCxp3R6yoays14YkdaCQAs
SFO5GEmLln8j+ZXP22HtI2p4AOhPkHntNpddWDd10soAi+w7KSA5kIE7+FB2yTXXIeV2PxmQFPzR
OuFVlhHkR7fOosTvohaM5lP58/IofqfH3wUxvAdM0ROKxIkUxPKgWBZ06iAkl3yM8nBYtlkwsrh3
SiuiNC82bdU0go/BjdgEPMsMJbF48k3nRziVUEObAOO1u8J7rJt6ugLlzJtV5u0dQ0vrloQD2a+d
X2xymycx+IpXxMXC3XtuVt3bKBLsLeo6P8o1BLgDeJ+DkdTNvgWXqOa6oXRDyGQgVye4ZX0peHbj
GHQEyKUjSCMeXNLethQ05QM/FLkuj6Y8hcB2L1I+oPiTq9Fpl3YemUIsXN4g1eEP/c7I2mxHOt+6
bTq6HAIQZ3/GW06MSuOrvBwdbxWMeuMcoVyILo5sHDR3QqVL/hbPAibvPaKC+o3bLwNcsk+MOqoX
Y0YWl13xtNxe9kqlIaQmkDwAvQVkes+DBloePD6CS+MIUugiaYB3+DdnmhKlzoa0v2avgVwaAMTH
hc/3mbFel6H/DAb4j2fucMdF3ghUlaIeJi1MXlU9WGkQwIt5Z4bR8n/9vghTJ/G1z1e3XbCnjuUL
ROWILueljHIIDOCTE+J7cp6bZWTIQcCNQkv5zR32iy6Fo/u+FH44ynflYKBSWK5xOj1iHJc9Sfd9
afptzqgPDZ7iGMybsN7q3qzKvQ6iasFLhVYtOQO1BkETmiVunNDE9kgfL0kW8SaPev8b7gaby2NR
xjA4Ex5lLjT4TOmIS6g5G0Xq4AIICzVvozb5b6rSaKHr7rIl1d6AoDialKHdCWiT9BKgI5+Tsp6B
dSFB1FU/s9XbLoGtiVkqlDuQ+2hBBZoGhQdfMuMUlNopR9Dqs2m/tuujw2dw6hhFHUHeeI1aiKqU
2bTBMeE1c66JZirXcKHPjPwkQD2INuc7J00B7WgC1KOW+fA6zIfLU6j7uuTYTtP105TgwBm+A4fq
6K47qhU6/fGSX7uLQfu0XIqjk6EZarM04H1/vTwClbsJNkMA2wASAcvQ+fyswVLPc4ebW1i6Ef1C
bsY65r0utaq6twkqdg8PG0C95VBftiYfBoIdlKRlNHr3Azlk5WFun2gYRmv1id4gQVTwx5wU9Xu/
5ws494qjlX/Fs90ani5PmpgU+ToF8A4a7QEOhtiNWLeTcBwC+VLmSQDGgmz9xqq52WQJ0tEFMfDI
qQ8hYB1pMr6Ok87fVJEIvG4IRdivyAxJhmfDNIrQAtsijtRdPfON09o7bpODbQ/P/RxuL49TZ06K
Ratd84A2MJfZaURnvit9A3hp0DDWy0OQZ5rQp9pNoLtCyxVIn4FfE38/mVYQiQaLb+bZcbKab55r
3HhVoDkpVDsK+D6oNoRoFnknCpEb/ewNE8uOpb+Zuv1a7AErvjxpGhO/4+HJKEwauv5ABAds82q1
Lyz9ycNfl02oJkpUPoXoALpR5JA6lF7thSnqR0t306ZP0HbSRE3VGICmRcZLsIKh8HK+EjzP6jTw
8vLYdHhZufzGtZ5ooNMqUrkX8Gmmi+wmONllrSW4F5JqQVke/SVm9XVW7EDP1lW3/MNE3OKGeWJI
iqMNNQp4LIrqkJ8E9KbsNaUBVRA9/b7kuBX4uRPHw/dZ+FwkGzP7zzR/+uXHoc5noxCLduJYYBAI
oHjYlMeZPSy33qAZhG41pM2ejmVRg3cMgxhuZ0hldMVbBSmIdLwJDZ3IsG7CJP8yFjoRe4AtPqJV
BVecJ2/ZazNDai/+61/SMYAOp8VKBviX57KoYK+ZG0S1/5mCyeniSyeoT8aszxnGEtD/eugLzTqm
ekszDjmiNGZHexccoseShIdhuinDGyO5MpKvbf4rRc84eFOjob13wqvR2i3sENbotdHtIc2S/S5a
nXifRfJ1qAr8iITGC9+k2SFdd1Z69fHIBt5SEddwurqeBH/JKoK8p91iqNkhvKt1PXxKHz/5vHQb
rFnYdzbB5+v2H1Adlm99uU2sfZ69fnQYQKuBrhjNHIJgUW7pz5YQ7ZsrgENlC3GEKDQ/DlUFbQSa
HSG3B25UPDzPYwHCDSdZMFTH3EZKMv/Ohm1voivm48kAC/yTghpPSF2/ux62S4GiJyrhR0pfp+Wp
d65tTxN33h9mQt/BR1rShqX3c9XMlJe+WxzRJ5W8NYaOTOT97sH3XQIyJmRqkCCWgrMLmOJs9lN+
bIwBXYzQHP1wReXcgBSXwXjTOG0DA209RMCMD/TDep2ADAi6d9GV4AEZJK12YQXTsGZ1fbxZ6Nde
1/Pwfmfj6z4KWWgawKNTJsfKnAXKX3laH1n1PBhgZoBcruffVx+H7sFjwbfmI9sDmiq5lOannb+W
XlYdHeZ+qfJHjkdAza7dQXPHUzjUmR0p7BuN33t9ADvlwbvPde6k+jpENwR0H51rQHCc7zxuhzXv
0pwejSKI+FMwzJq7l86A9PPbaUYf2AADQbEBBImP28uxSbHczukApPOqMTgxV4rvN/Q7967RHDnw
68J7/rgVaDlBZQfdXWCdkjZFXvChQxtvd8SNiB4m56pPDyU9XDaimio86RFn8Q/ukNJa0N5KrDAn
9Oj97MIX1/56+fPiN54/80Ra5O/npZUY59xsOXo0j7Sa4pbF9bgJEp2km3IMPm7yECNBz5F8uBNi
rDl10bdGxus+CyN0usafGAYo6WxAWfFydIVDnJzcLUEbZoam3iPpF34o82p6dfNi/OrOXbi5bEo1
GKGdCvVyEz1/MsNITTvPK/KSHtvyBhXMDydzgQE6+bo0kNpfK98r8fXBu+4hdeGAgbqfNRh91aID
9weAJFr8QZgkbY/SqrK2pliPNuVok7saw6e1/0QQAdoCM4SYi+YcWWPPM5aEENALHV3zkTbH8uPL
cPZ56Zpj4Dg3WIXPJ9ga9PiJCAU4BxKUoFyw8QiV9rbfo82w4057bILQiHlr+THK/fbHF0LEWLBI
CcFD9Kmeu61nFrXnFGt7hLeBONyJrCmPZ5BWXXZZsZ7SJj8zI1z6ZHckuNdOiQMzJX3peh7bSO42
E4TuHjgAEt2WF+XuskWFhyGpJ6oeeLu7oGQ5t9ixphlAWohl53XEnc3SPhi1JvzqbEiTV5t4YnkM
NibrJe9/gax/M3f7y+NQHCQixwakFVQc0U8quUFgAIlfQQ/saNPbdX0ymnGfj+3BhHD8ZUOKqHJm
SNr3pC4CA1VNpNvivERfN9fdphWzBfUhwfjogygHt5TzFZlIRUGFIXjQ7VeT7AbnytUB05QmLCDS
kIhGbJEj4wK6Ubx4Jyinhc9usUS2/29W9ppIr5goD2HljxFpoqoOuj8jgxHXn6Oyuu1TXeBS7BZ0
QgNADpIVQcwsHYlhYtjO2EJlxze/hHYX8zSInfGXW9wyZsV2036m4wP39hOTUkBuwcJUNhQU3WX5
rffuQlBkZPvG1YRMBehSPA9Q/RJID/BJST7Q8yIbrTUDqXl/yPNfWbhPm3ZrQXhkoF/94XsNZoCy
+dItPz/s3LCLmyQOHVzCZbxlCSwWc2aaHkc/rl+5LpOndImTz4u/n4S31R7rsAtLcHaXLM7tLKLV
1eUBiCWXAujZAKQwwMDPEYY96HvRZFZt/HZv5N/MDFJH2+Qz7u2hHwdNgChWyPB/3GLKokIJ/AFP
eP8ORLvsymo+UWuFI5xYkcKzQ1qDV0IZJuh3ThlXVHOLUa4I4szv9y5YZ6RLqwPu39Gb0eLR/zQ5
OPo1jqwKNHgmIrsNiUYwdEqfX+a+hV4BUP/WWD9WdXtgpv+ICq8m+KtGcWpGCgQpYWw2TZhpGvt5
yt3n0Gg+Y0LQToPuCHloVzKREI/1YzPkx7S9WfoD13xeTITst3aIWzcuxkigyBc9NjpF2zpedmyI
YBK2N30RbhrC4hSSetaHBQGBGD6xJvfeTB0Sj2lHgBl26509Vg9Aleo4mVVrgmQ9xKEtXJOJHJxB
b2S1FYGNabh+K0zNPld/HbOFkQDoJRe9gpQ6zOIAhoPAnk13hq65R+W44Nb4833p8LL50OC5BdS7
OzyZa7ef2yDK1g8r9OHXn1oRXnESD6GcGHSuiVF47Rcgdr75RHNZUbmVA9VPG1RhYMKQebhzM58m
1mJjEBu0MT30JJL6aRCs46GxzQDf0dhTLQt49zzkbpA+w33sfEBzE1KHJNgluEJF9yNekJfDu2o8
EF3Dl8G2CIVr6fg1a7Ny804wPQzX/nQXWOC+Ad/YJv912Y5yHC6CuuWI40QuEXvjWrmj3aGmlSdp
xKsZbRzuyydseEibIgGFtIQsMGaAoKrnHeaK3pZTEEFBSDNZykGAwwc0hQDTQCzwfDHacKrRq8wB
0OqzbQCF9sLVnIFiF8hRCzkJ0dsjHhAy0mgFlI8sAUfU6o1NMQPe5j6O4JNaM91VT20J1zy0cuJW
LIOCUmYFLBiW9BhasQN+tCkSPMHc/9SA/pqxz6fMXagLxTK8IipSb4p+3XRI04aJGTNPp/kmXPXd
3EEpAa8VtGC9w/FQcEzafB0wIjsCGZc371zrFrwf/oiHfpz0moNegXzBPeLEnnSAtQmEDaoO9pbU
jhrAXJx+BxKhJhrihT4kuRm164drhOcm5d3qdxkIsqGa4lQxrTbGx4mdxfdBVozOWx9ZVinaWOAr
dawWMjZheGcUu4k2cWB+XCvn3Ih0Ekzm4hcViBKOa/dlAt7K+EQ7PyxA0w0PGJOgIVaaJie0+VwS
vCj79kdLnhb3cDnQKPdOSNDeh9wCVKMkp05sg62LP0AvN0kfC4h8gu/lcWrY3TDr4O9KLxMC0EJj
BM8kX5otY7G7YKDAG0BclEEqO7lOu2TnGOVx9TgSJvmuooK+bsD1/OPkr8jQnNiW4p1v517Remi3
MsJdYN4skw4Zrzp9Tg1IWygD53/YOxjcNN8U7asB9mWy+pvSxJXN/ETwBkQaTws4Ni6F0gtw5JTQ
OSFwiuGwllfk6uM+gXZMKJiC8u49Ds7K0LtcZwh0TdYfUc/dLXy9M+z5MXXIxytSgikP9xxUCV1L
bpfs1mXkIMsW/cUL241pPvzXOuWqw9ap4il4VYU4uC8gHNLqQyiLg2ION+je9ePRKXfcuw3BsZeC
FTXz5o3XPo+e7n4lVlwO4qdGJY+wrZUalWllxwGPWYh4Azf42mUJOK72Tf5WZ7pkp2orI8klholg
AZjy+fk0h/3K7RyIIZalt5lRsWhhPtggzE22LB8vhYqGv/+1FUrVb9C3raMzoefPmB1In3bARWrO
B2WaQwjeI40OdTZUE8+H41kGT2y2Zkdu+jd0pc8J9AdyD+oXSXo/k/5LwoTyovXQdGFsFN328iZQ
XfIBohUd6dhi72TQwA66JFAeQRMtye6XNvze036TBM5nzimQjBMBbURlRQ6KeRDwFEharNrabHz2
gw9vhOrykorBwL/BEgdAmWDUkFyjhf5JXbcVsJOr/Qx516uVzSC41BXIFR4IMz7UvnHpA9u5tGRY
MJDDzpgzy3zJOfhZKY9z7LjW0qSilOMBOwSa4FEof1eJn2g25+0A6gO7L67SydkPlhfbzNck9hWX
ZFy9gSsAaSMkhDxp2mrLBQkeeAiPRnBIs72uHK+crr+flxmFeVXXXjPhAeaBQoWyfdlBkSbZLZPm
waKcrRM70nGRJLg4V1A1RU8NLnKQcjOQ/goLXT5HtWNB2AKGdfSyA4Ah02z1idND5SAFIUX7Uozf
QqPaJYUTsQYirnRTeGs0GX1klc82XgOXd6tyKk9MS9eYoTA8M+VYKVag04TbQJocc8fZ1Fz3rFEc
JcCNCvQH2mzfIxqXia9GB7bbB9f5ztClVvXGwWyfPPpcGSyGaNHVMGuCrWpwwNGiIw7/os9d2lbj
4M+270IzlDruNlt/mexhWvK4g5bEh2eRoHlQvKGRlyPy/l0mMEGbeYfrbAmFwQACk8l2HfNDu+jq
fgqXFEHVB8IUdGzohjwP7m7qomO8RXKjXtgWLBOHEYCdsPM0A1K55Jkd6QzmtFgcL7GzYwXuJWtt
7kCee8tNts+7JyO3H6gV7FA7P7Cy3zddvb88nwpfObMuxY+hgGzjODrZEfJNkTu0cV1maGu8Kddv
YYK6hwl2pvXpsk3FrePUpoxLK5hVA86Fqw7xGfIG92lQ4A3n/SDrsF/r9t4fni8bVARJghsHyFoR
JN8TKc1N0Q0NRVs7PGtTUrZh/OWyBaWz/LUgDynBMZDlTYhpdL/P+Z3n3FXmj8smlLMGZANAcCCT
f092Ujp0RsYHNZXmoeo20PlKrU1Yfunm/aw7JZXDObElJvQksUfnEHyaDsRJ3e6mugGTgcs1dyex
e6SbJ4oOyKyCmgm3CrlCxG3UH7LQwz6eb6xiV5V3Jj24D+QzpagzQ1LYndw+TQAYwUuhgC7bOEaL
eSzCx7y6TSAgOLn5tiZjDKWbuEg0TqF0u5MxOuezaIxW6iai1OqEjyuFQNC/lz1CN4fSKlW504Kc
Sjy88y2xD70fsyae3kIdEa5yHIL2VGDaUFWTDucOrccoU9bwhqQwDjyY8kNtdjy6PBqVf+OR5eL1
g54WePL5bM1mE1DCJ1TAw4nfOk5SxNTPhn3gZ2hPDspqW0xruAvBxv/fZcsqb8fRFYIsDEy/765q
PXNtBpU05GGMh5XP/yYZ+RcX+E8YQaIElQQ8GPDP+fCYBVE0lyMDaLJ/h9CICv6Vp58oUBIwyIre
OqTfcEaeG/EaPvhswfsqKVjEPRrpnvUql8MBLzgkfdzR5ftTExBmANKYHUFwz2/y8MbtNkX77eOX
WiR7AG6ELAewKnIf1Zh3bWcXDeoK9kvRQwxEx+qk9LW/BmQGVMQ3d17NGpkQ/1cOXa0acgagQors
Kube5vLCq3YPCm+iBREjAnnL+ZpARpaFI2jVj71xbWyD4Ory51XOi553tN+g+Pa+8la1ptk0Y2A8
dJb130LRNheu9XVdO7ZmfyqueHgB/jEkF93AdegMaQvoAGN5vLLHqR5iF0oYlfdxyCm0iSDdhj5m
IEVkvPewmIk/LTh8ghSCiCl4om6y1WoeL8+bygVOrMgndu1V4VgX2PQkqF5tZ7ov3WrXdtNDU9V7
j00bVIc0dy3VUvmoZYl8WID3mrQ7O3vo+sXHUUSGPWSfo9SOHVczeapVQl8gkpcOCjPvaA9nY8g9
pIzS49wskWXe1xYucYRFvqtJi6kMoZCB0sxvHWCZHd0PGrzjKQwRq7vqcv+qXZY3f/K3vMp0jNWK
LYSbgkizwCmgmyzFzjT0p7Sq0fXaWnacYjwfJ1oVRd6/BsRgT+47IdoxvMlEm/7smXHKN6Bo+HgU
gAWQrrmAz0NcScpGrTRNjDZ10bhbNJFhNtGvy+6sWA5AFIAjFGKBaEOWRgDVk2EIJuDmjaV+w7Mp
JkhqmCNkd4ZBs3NUSXKAOcUrDN6M+rX0ZqjXooSCL6qYyZTcBn375nVjnHnulnfNdVeMd1NfXIfU
3Q7tZGmikM64HIaCJpvaOunzow/yDWd+9Nx6w5p/iDFGs3kzgOin8V6z9OMnEoaMhLZo4xO54HMH
qZCDCdMKSeAOojftsufmx7WbkPgy4R8oAmBe5f3EmjnkoRjXQry4ZzdkTXZVqBPUVoQgtAOBaUPk
P5DOlsaBwiTPTSSvoWngPCzMvbYgMsOrT8AbsPtxp0J1GOS78oYFPsRvDaHM4JADSyGSo/ECxTUE
px3g17/zXu/eQnU3UQbHRFWmrGOv2yfTwa6hO9/va4/El3eW0haS1YJkEsnJ3w55EhucumMma5wS
L+Q2XooSdKwNbK5xCFb7nmwvW1P6N3pTRIs9KoPv1AzaIYHMc9iVyFBBXonSOKvCKJsshKU5svM2
CseHIXyrPd2L7Hf3vvQkE5BNkVgJUdSVtzWyoSRjNloigXEjN65tV1HGvOFgehTy0Qn4h0DqCS0S
hwbXyWJb9xMIODcVrftD4NfQlhoXe7+sPvk6ZKR4cjLDiXvedLuuDd4g9FVcE3scthTXV83uVHm1
gJgL5j1EWfnGkE7Z2ictRaNbme/Kmf9bW+OuTMx/NGsjDuh3M/TXjnxnWIqxH8cCaxM41RzNpXXD
uvyW4O3aPjA6HZCMve3RwM4hKdYtyY6l/W3g0d3ln6E6DQHgQj5esAxiO5/HIh9SUhD/8mqwMAz7
OTMO2ScqkVBt+WvBPrdAOB3XkcBC1UbMvBl1WsCq9cL9B7fJAP/hTXT+fafvnArbrT5Cy/a6r74E
ILNI7Z+fmCY8HlxA2sH8IROmUcsuaydI6qM32ZAk21Q6kI3iBhlAg+mPAenIzTvXyWgJA4DB7MZq
3M7LPEMcLQgjjxtvvptdN6HPNeHoN4ZVdkJchISkDrAxABKdTx4H+rkLirA6Jj3UYL0gGoufSUBB
ZPrm5U1UMTD634TTg+9XIFD6lQNqdHliVat3+gMk/xurCXp/CUG7JL1N+nBbO+ku0HENKfp0LaRO
0J+HawZeTvKJC9RlAJ0CNNK1rr1xs3FPUnoFZrdrEv6sJ2OfVPbVHKabEppniGrXqz19m1m49crh
tR3Tt8tjVl2vgkAAtUXDK0Lk+aQPjpGNEHmr0ViEnnS7gp4fIrW1BVveGGWp02r2uGKOQcsuhEAA
4MIhJyLRyaFjNLUzsLBtUHTGYeOTOCdP1vTlw4NCmEfiA3wy+L9MGWAWU9pbM07RKqPxCLRgVGdt
zAIXF6vm+bItRdA6syUNaC25VydJUB6teueGUaljxlEsEIYB+hCR34VUsnQnRfdc54ez6FMc/b0z
Pg/Vf8b8ms660KgQLsWV5q8h+TqQjD3g2QkMBfajZdyUIBZKUQzNqjvPHCM3c66W5XlIn3oCCuf+
B5//cc2P07Se/wbJG53RWSf0K1dHPu3WR2vSpBQUge1siFL4d501QMmorECMYsTh+jgET2b3OLVP
afKiTWsr6KjPByN5BmksNvlhDms5muHX7316Q5cfpvFGgxuWDJGR3FQt6gRzce2XT5e9UrXNThdT
eO3JNuss3FRaE7YN9jzSCMxQa/jyGRMi+eOLyjYRk31iYvZ9uq4Ma2XhktBX3bEM7Qck8A7/NzOS
/2e8BWkkqNOOWXFrVjdNksZT13z82o2cAgCZqImhqC3nMIFWo3njISbToN6M5Q1oe7bLbRWz9PXy
aFTRAhdufNAV7NAy0VTJCY6tAGdcVexoZAXby59XBYvTz0sOnrnD0NsOxtEVBwjEmsEdAwG4DhOv
ci4AlHBOm6KxS66JwiPCwRns8kizjVldzf2hGzWoSJ0JyblCd5k6UsJEm9y2NZTd0rulnzSzpVwM
9EAApo52KFNusTM7f3Fni+BdEOXkNq00pWPl57EzcLDizYMMz/kGMYJiRJfrUh47Okb8HnQ8Gq9V
ThKeBkBZ4qX4rsPSHVnhdeZcHu20hsCRGVfTres/Xnap3zcA6VqGuyBaLPG0RpFR7kljCbg50xKz
1OZXLv0vyb8lvR+FHaQJ18inTz3/5lVPnvXgjzs+fsuLYRN4awx24rhkI/hAjT3h2TWv2+dmeMJ5
uR2gBdX7wISuT232YxgehoXESXNNCz8qPFtz41DtCTAWQBfJQfYIW+98GTp3buk81wggzWjuuBl0
sYFu1Aeydnw3+JPuQqC0h5s5EKN4woCd5Nze5ELsuadVfcyxGguSNvsp+44S1uVlsYT3vFuWEzPi
Z5yEX9Gy4oQcbA/g+rmu5yYK0vq+Nbo498pd69V7wWNjZuWmQfYoI+u1Q+2rqQm3gVU8tgVkwQe7
uh9zuqWOf+d3wZfLP1B11grcLJ5yNthP5ZywyKTZ5pLgBLIHvg1n56VpFvt6KWv3Pl06SFhVt+hu
mTTuqpz9E7NiU55Mi2Umq00LmK2WNCIvq4leQwBemfv18vBU6AY0T2E/iPZcLLW0uzOc4NTpPPBU
LMWdgbYmswJFTAmplpIEyCqAr4q7uCwtD9inX+yl1kRI9UD/2JdRgFW2dDZJYT/kzw5/Sp3I7CFE
qXEzVYhBvQ2nIhEbSA71eQvt5sEtG4yyA8DmnibfAnp1eSp1NqRYDykoawKNZXM08dirjZ+U3Ni5
JqmvyHUBegrtX8H2974G27ElJGnq1yC3ZjEnP60M52KXHErWR5mWskx59Ts1J53DENUGGKkjiAFW
upnmLEbqHDkuEhXrnYU7H9YNVfNr171Dw2+81JoZVe29U/NSyKOdS83ahvli9KLafZ7CLC69HLWS
MmLFV5TtNCeRKhidGpR2nVvPoKfA3elYh/PGFJLz5rPFm63RVHE5zZGFo6Kxi/1lx1FtAc+3Q8Gh
ZKJlWsq2gHcgqYx1ACWNMcWBc71U/1gjiUpdeUttB306NtI6gkLkPKbMeQpaVR8R3W/nH6sX3tSN
dZ0WJgThefPj8piUcQWVhz/GpOODgei7nUElfxz7Xd5F4MJdAbsNEFoiWkaT/Vj5B6i/X7aq2oJI
O6N6h8IHLkOSvy4ggrCWAOhBUtUxBYMTaaNSR6slpkk+scQFAs9YBzwAcvHb8ddxBoUC8ObokQax
9/byGJSfB85BHHyW/a4TKazclNk+uqpa0KvV9K5jh8sGVJMkIKm/E2MoM0huUPlDOKw5oJyT9zS1
VwZ7SgpNmFKN4XeoBczRQlZGeOLJ6TW0Ay8CB0ordnNTT99Irjk0VIEBVyBxYKHr950Wb8Jzu80m
DKEBMxscYhtk/Iis0Mav1iMQpNt6rZ8uz9rvZZWX/dSm5FtFBRK/LgdeGDnfa2Mkm7Q1N05HNmEO
UA8U+Jwl3YbURrZ33SZNebVycovuvqtgaG/rIbsFz8pV49EN8FYbiH4jB2EdlopfVcGyMepuk/p+
XJYc3DvhjZOQq871t2a9bi6PQ7n6DqKMj1c92oGkpQEkfQU/seignK7Gdkvaff1x/m6wZCCfi/cT
wgx6D89Xf4KAlRfkFK3M4wapJMPX7BBVCebUgFyrDQ2SVDSHezUhxEKQ0AGFL7ee5rLb+sbXwfjZ
gxqu8mzN1Kni58m45ByjAxEwtEwAa71SFpPlyZmfKDtWs67zX7lEf+dP7qfqQYRXQe8RWOs+eKqg
8mBXA8RFU13hTHm8nw5IOl99DuBlWKNomvjloV6sJ9L0t70LPl+jeWN5sJ/D4DpF7hHX4jjj1s6Z
/ZfL7qiMFCdjFX8/iRRTmfdFIOq2JAfJ5xAnuY5OTjeb4u8nFlqeTOg0wb61QB65JId1eHJ0+Adl
PDoZhbSp/AE4YDJixYp2ihP3ywLivSrf93jCZP33gmvuRbpJky4MleG1LQng/+b01JKvVvHz8qLY
Ipa9i3XA+YGJAL1bKKifz1lagAZ5DbEqqY1W2P57UnxBDsNM7rn12Ez3gfdkrCzqyq8T/VZXXVS1
W5clcRPGDth5q2nfVt8Hcs/cu6bT4FJVdQds/r+/TYou+ULqtFvw20r/fmqLTWB3UdofzeXKZsuG
OmvE2+No/7vSX5x+M70H4v3bTK+XZ+j/s3X+91e8U2suggZ50Q4xzh/db6EN8d/RHa4ZmIdSt9+g
2grolbN18fvAzX3gmfuwduGvyz9C6dnQS/MA9wNaQH7UTAuk8+iC7mi2oCAwXPEmPWRjqbkuKKPe
iRXJFxynXdEVhuaiZEq3Tk22gVtdDUu5y7NEcxFWbSPAL9ETD0I1AH6krZolNg+qEse6H1Ybq35k
/hxTKHZBLwzNGOl+BSbr8hQqqwWnJqWduy5Z2q89YnrFpjgfd2HwgyPNPYTQiDJjbqLfpMw2td3v
bINv/fmetX6MEr3mdyhHDtwH+KdF87mMx7BCA0qsPQIInRDu+etIH7wpjyb6jzt856UGg6aKH9Co
+2NNGrRvZ5U1JYgfXpgfKHgnMo3PiD0ox49TA1KA4s0MmcoGw5maYoOOtbihr0b3POc/vP6Fd4AL
f4LITpCmuELuB7QN8p3DcdgCTLy41A7FNnfGJvLR4jIXg+bmqZ66P3bkq4djT8Xo2vAXY4gpAPGT
Zguo9jQB1z22M7BG4Dc5j7wBKxg1bMQVavzwpr03AQ8/aZbfUnrbiRHp3Ef+wJopBfsEoy/T+lYt
T65/w1q2Ldzd0G55/9xMT27xkNi3nvkCZkNCv1Bw+ybsyeIaV9H9FjHhJ8cz6DxsIxnwW6b1tn7J
2xiqY6az7YNbn+w0m12M651bnoxbii9sNO25KGAry/6p2VcWPMNlIsN+CIuXzjuOaHlNjkG3R6W6
Yc3msnX1QAErRdkERZp3XBZDsxotGJ2OTvNoDl/9il2DUDkOEyj8EjcaLW1sE1XGd8OFqCYoQCCr
iVr1+dQGK11zUO+hQaqau23Y83QLsKET5ZAkjUu04kT+2oyR73cVsqkkv/LbpAfCsis1Tq0cOjwa
xQk0FgMacf5DnAV3SatHZ91EvAMbp30GPVSDlVviZfvVcg5tooUnCJTF+8H/tSltJBwZljMRpAJY
Y94DEbX1qvWqmN04MJedMUwbty4eWM3+CXuzij+x1CfjlSbeD5AHnMUF3l1I5LlD1Bv3JekjP6+2
c3Aw6bfL9pRB48SetIfmhpumiyf90XbbnzX026jpb4JO1wMqovalKZW2TzBls1mMODZmWm7m2QV3
8i0dUBOiGY5p3RmisyYdUpkzBqAnRaT1Q/ORjiao6Qrz3grHLzPP7qcy1Dip8lUpih2mg/Zj3D9k
L11ZSqAbCAgpnpRWxW4bk76G5XhYCvalKgfQMYJXEtWHodS9xMRY3s1s4NsO8j4QPJHxVnY7WKZR
oem5zdhVn2c7c272A8AzA/kMcAWv/j+mxF49ibdtZrWJKxpsnWrZTpbxZK3jZirqj2OQQlDPCHZG
NJu+qx7VfMjdzoSZshmiur0N65deh/lRuv2JDdlDmmWiuPPi7ma6dzRPXwktbuvR1xz5yuh1YkY4
6umMOWmCvDCiF+gf7zInuyVG8jbPQjDdYF+nILw28kSTPlVdM2AS/U42eLUAxTu3mYJsdJoZtJC8
vowhUBIlOj5TlYXQFdkZIGahiizFqJmOhTW5QACT5gr1EF1OW/d5KSSFvVHkufi8Uf9Y8n/QK3Y5
5Cm/L+g/AdjAY0Guhg6QDbOmFRB3sJPf52n/2CSZ5rqgci/gAv6YkIaAfrfKGS0Avt1gk3txPcWZ
bpZUMe7UxLtlbod89EYE7CG5YQ37MfVsY7nlWwcddKClNZOmNueKaisoH0E1eO5VpA5LSrMViwL6
UjQkbANE76Jxb90qvc8N6/DRNUL6Gtg4dFMAWvY/pH1Xb+Q61u0vEqBEiXpVquBylXO3+4XoKImi
MhWoX3+X+gNmbLlgoefiYA7m5RTNoM3NvVfAP++HK+FGAgFrGO1RgI8hjz4HVUWd8PNBrjQaliI5
smXLMlAwX/f1tayYPb64REHwGyae30GwC2bFfa3adeMX3YAFAnH8kb16pNu4Mj6GbQwN6piDnM5b
7IneT9Dt5WzarIZjlDOCPppXU6CPtbXjoGPOPmF0097h4w5iRFxSUBUBINBct4oUZBha5uAxPtnO
HWSpfWFUvjk2h3K46OY/V/Ex2KLTjvYwGAFrsqImJan5pKV3DfSVg7yxLmM/fPl8+z4G1/djrD4y
x9Fmj7S4+XKXHzVc7HA33Ld9HiVC7nTZ3LfF8M9ETwyJW3Y5K7DLWR+YwrIap52gO9OAVe+Nyei7
6XwzJcYWYfZjAEEPahkFMGDUwtf1mZlNNalKiPeY9S9PQb9H9QFM0z5fwOuDQDN8UWDUP9BSzJYZ
TdqhCDS2Y4z3/Jc5twM1uD8/H+ZjvMVFtAD4F+8MHL7lYL65BI2ZtboulxTTfALXwi/VVgnk2kTe
jrCclDcjjCPJmbsIpczQ5IFmWVBObZAxK/p8IteHWVC7DpSPP5jKJSYjo+rRvZvZsdEOpeNPW4pu
VzLJZbH+O8YqMYFOWKK3EqmrYT2Y3teiVaHDdww2tqN5z+R5gq533j19PrFrX9LbQVc7BEVJQ8wW
Hh3caqO6sP1Uf03BNq3nHG3EwXfkllzZ1lKudsytzKGXLkaEnu0BemznZhBhyYHh+XxmxrU4+3Zq
q3srsQpj4jMGSrPCp/TJrH561d4w/6Tpj8mYAmo/jvYL2INABrzqee7b/QCh7gNTWyJg1+Lvm79k
jVaxZ7OaKliv3wEn96yP5MEs+2OtTXvQnfZc26L0buypt7pgIKNCgTha6vDe2VAnFOBhzeozFCid
+dXNf22s8/Jz758h786tt3ozZ92Q2BXBA2/2Lnn2WzdRybZwaOufvZb4rITwSLmA+n8a4/3nQ2/s
8PqqsS3lVbWJdSWTAWdJ5ksifZ54d633/3lq1ygImreAFHuYZNOfiuG+Ng6jvYGY3JrN8uG8CWWS
caC2RpxXHNzExzUTO3p/hDKiP5MtUMf1wPyfWOOtYs3sTRazKVZu0Cd/mn+o4evnW7N15FdxhaYa
4V67BExhO/6QybvSSW9cs7oXvEZGsAXU/Fg7Xg4hHo8uEKew0lk9TOqaV3bHkXUI3sS5kfqzUey6
AcgY4kUDGrsSktLjv+u/YlTw/03oS6D+/gHQnKOjUS4Va8LuHQYhdGr7KjH8LRj41dWEbCWU7xZy
5BpuVya8HoYaGf8IQTozkFVYJbvUCcnWdXo1dPx3oA+Rys30iS9NeGbduMZLXaGDDBBhkZxM+49b
PXx+SLZGWwWqhhQ8J+Xi0ek9ilIBt4C01PqSpCfd+iXzLW3bqzfPm8mtAlVSgcRf6Xj9Qfp419DT
lKNJlG9ZCV39tN6MsjqJykr1FKbHuMYJynYvzbQRb7cWbRn/TZiwOd62jYlZtFMb9bXpA00SuYMX
Crc+MNMM0xZ95M83amvlVqEpUR4tSxig3xFnn8K+XQTFlqf31rRWEYk4qrCrEctm23nn15kRsawI
C7wD0TXdSZo9Tvaw0RW+GjQgvIR29YJpWb+L5qJPKBP4rGZq+m55StyYwnImfWR8iCn70Yivn6/j
1bOBFheEldF7BQXu/d5lbsKsrkQ+DKY4ytis8PPS+ne1GAQlF3EQiTc8mtbNoIlLe6BLUEKkDUbv
OxCln8/i6ml4M8BqFp2bSMfguAvNyduzzojMjrwu/MjPh7l6It4MszrozcQSTa+WYcwypDPdJUPj
V/Le4C/21PjDFj9qa1qrQ85zd066RaqyMVEXekpHqPkUSfj5pK6eAFTQIAztoEGzfvynbJBZPUHQ
gfcBfJoY3X3++1cn8eb3VzFO0yVXsNLM7noaJOMDrK22MqFrM0DdZMkdFlmDtaBTl0KDxlMuZpA5
UcXCWu821uhaIvR2hNUcKldUEOygqALbA3jxAEVY9Q69RXcLnXftWgUFVQcFhnoLzvv95zj3tctl
ic4Hqnb+2I+RbXzVks6fbQvsjcPnO3N93f472CojqvAI52aHwaam2+n9QaNbroVXR4A0A2i1KLx8
kNqaBNcEsi0AfObDwD08G7eag1sjrHamzgSA3RPJ7p68+Zm7L5+v0NV9B9kGjB5AiCBZ8H47mAt1
1QQg07vOr7S9AumaBNPWV351z1HARoEFTZMPFeysJkNp6BChSjw34kbuU2gkq/lXWiZ+8T+QlNCz
pegMoWgAytj6c8/HYajMFqPV5NdM3ROnX3vt391ylkFAqYO039I5WaVRFYDFZCpRzOH8lR569et/
2BZwpFEvhwkMvCfeb0vDLByrHD/vjCTS5BTOtgsbWsiAjhsjXYv4wMEigzcXHd91Et/IPKHljByg
YXA7H6Hdp92W1U3djsHYyEja/8szCMZP4GKD/waA++rE9YoODZQygZouw8EXW6ng1RIEmAELbB7i
H6j5vl86rxKMFRXP7yw9y08t4Dqh3sLcZsykB5qlXr7aEipoCvITP1hTiEPmNO0NFoiGrJI0RjfY
+Q6JDD0UWk9fh5rNG6iOa180vOWdxe9hgfauLr2ay544CVzstTTdmzrMybDLW/WPa5fS20FWcbaa
hNbMAsuAz7rJuU9R1hyt/yG+vh1kFV+V22ZQbcAgml/SeNqifV5dKLzAgDDDK+xD1d4qPYjfpy22
clR64A4DQBh2SjdSq2sh0KbQe1q8u9wPEHVbtXaC5iRYkzo/6kLzi6GM8nLwJ7cMPv+sr04IqlJg
BKFZCKGj92fTpV0ykpTwu2kkc6hZsx3nSlMbZXO6XAnr6hCgckvHw8MHto4elnCdXGg2CIgSPo5k
RppYTK51qVmGxgvUeKlPrXLyudcPYZqBJYRSdH7IRJlHVoLnzOQqLYLZhXFb63YW1vjafK9k2a3K
oO43DayNxqGkD7ldZ+dUtu2ulWZ/w0rPi2qvh6bqREnrE2OG18esPEjv2xZimF0EqVF8zcy+DHS7
p7cU9YGgr9Pf3mRnR+gO6LgUFpiJ6r560vmudJU/GEmeRhxYnRtFnTySzA6hTZQdYU/3i8NSMFaS
441k5nkwpC3fl3AXMHytJWUgx0rg6CelT3qqh1lSznGavxTTE53vK6DqfOnuoPWl4greSEHK+BgC
LrE4e3YDtIJUUCUkYBVKDPBd3Y3cZmHTdc3Oqiw7bIxWD7SBa7sBtNggA7M3nj1J/GHq5PO/Hx2o
0aHqAbY4njKro1MLmoNr7YD8rr6AzcI2fv7aNfDm59doOQF6GplT/LzCNkxHRmKXxEMdWdnPMttA
HFz7CihgsATcOCSA65yjmyodyifgxwqH3SVuciu6LS3ma9EP/TCgNAAwRLq5Ckw9rxKj9+BDby2g
1PJHKe0wbdqN8HcFkwoC05thllV9Uxdw4AWLJkWPYZzkwvtR93vNPLCxDQgkuy2qLii3RCqfbmmL
RqdelScpilAbTaBy+EYcuz7nv0QbKBbihn3/x6Sm3rGRjeKudX/a9jev/03q358fwq0hVpdKaRmq
gci2gJD3d9dqA5Y/JNDU+nyQa9kimN8LYejvPFZ7l1hsrsYWg6T1rRCXoY9d1Et5WBobxd+t2ax2
T0BDMDUbLBixle9Byn1aiIobIf/a7UIJJrPcLYDprzK5bs6qWZQdWMmuc5SG67t4HWbuoYKB0Ofr
tkSAddR/O9Ly2b05jJqjtxmrMNLY23pQjkQGgPklcW3ldtiSogzdqveipBZVoCv0XT4f/tpXDRDM
8rVZ0B9YI6P6Ssx9PqB2NEOW0WwLGGVtzfDayXg7xGrDKscrusRLOOyL9BCe5S+m8KK5UGGTFnG9
aQpyNZVEBFm8VxcNvr/o3DcrKiRmKoUEtqcbjdCdJsuf7N49DrhcD52YjBMVnhsYqZoiVzO9G6PX
08cOZuM2+KjTeMuQS8ZWw8VxyopmJxNhbcTSa2cYkA0HZQ2UxD9kFIzY0IZLWn7nQZNb6FXoAQTc
uP9D0+fv1QNZzMWOePkr3i5EyWput6gOzBKMMd+Z8GAEnkGPDOSxJ8cpycZhunIdAQqLHBmaJSjc
rb+auYF9GXMKqBKWZeEzXh4NmZ1ZSfaTpz0xLaxmFn1+fs2POFToRKEwCc0jaBlAx+n9JJkF7VJv
SCaAlGCLlk83Aq/UTubxkN8O6S1guL7Jb7r0a+O1vtv8Ge0xyPRj3f6k1iPyfLxqHTBms4tBt/AJ
H4MIkjj4rOCBtrzRPvQ8GoZ+seep8yhz0MsS3P/zgbm/k8neyB0/fmJYcHvJHHGeFuXg94swNU6u
abauznX2MBY/muJVQMy5MPJQN75/vuAfj+67ocjqoWbr0Dt11KzO0pRBXhe+VS3kwK06+se4hO8D
9F/UNyAMAfzc+xkZQjNTOCTM58KKOdLdjQ/w6s9DXAxKo+gTfaht1EJZSgGxfG4TtNQhezSqx8/X
6WNcxwRALV/4XQZezastETAyQ1EQr4R+utjYf9c8aOpLS8/jcCnQ6KtqI/x8xKtz+u+Ia2GuekZv
uc75fAZMyvEe0k1w1JXzDBUcyHSA8QsO0RpvM2REpDUHrDuXbQBjhFJpviEvWvvy+UTwlWF331+K
EHB+M9LqyjCg/lFXWs4vjizMiIz6DyCjpmdHVzOcY6Tx08oNupMtdeDNMGRhD3m6b0kOX1zfSTjf
8zbrL4aWq70+VN1jMxgynrMc2swFGe9cjseSNeajCtxatb9JO8kwM3JnT7zCfoDncR64VOZBikwx
REdWpnhHmbDNaPGAwKvLMY5tZZp/7N5Ji/3c2urCIPr8oA1tE9S9A/u6kdFTNZvlwwTxOt913OGW
iD4JQYaqjgkU0XaeqPSdGKfumEhhFP6YOO0uNwC89N3OddAqcDQnsHO7OA4dENGuk2p+OyZ4odHK
KmffbpizKw23uO2mUY+5LvFU4u64H6ZEBZ4LplMGAaaDhpMBti7Yzh1Y63E5GrrfqTYLE2kyVL/h
zMBFWe3cvHEfEtlB+CLj9UODE9D5pDANvK28BLaGQ3Ey7AyiJfMI0b+RjuKozzFt+z8kS75MMtmP
mbafuRWKRLjouk3NsdOH+1ST9i43y+bWrKokTCuAZ2Sa6XiTwU1pqG0ZAHVHLlSrxINWm+mFGC0L
0TlMfrW0anbZxIdH29O0G6eiVgSjaLT9FautxxTGqTEd5jLm+ZBGXdagoV15teNnPEdXYvkXTWzj
T4Wn7MmQVXHjdsJGc4T2u25GHStFYI14UdqR6aUuTgmpsHZsPKL/ANM5q2D7MfXqvVvSJJhJPQJp
aU5Bgar7gQvNDbMeWCplDM6uzfU87jxJ9/CSIIfaapIY7c0y4GNRPCLJ6B90OfTfLNJox6Kdu9u+
MpuD0mu0qL26CAajb6NMs4ZAwXn56M65sZ8AwAwnIdLdRKA4pvVjFWRLKQyl2clXZgflQn1GQx1d
R78ChPooIA7wZLQNDSyzK/7A2IFcGkbHqLLbaT8B+hxpZIS9Tq9jC8YCy0QhE4iXNqoHNtrlqM56
cKfHfE3S9Ye0hSs6cWWKIoSbI0Uyx7gmIolb4XXRLOYc/1lTBFlBScxKcMUhJLlRfLty67wLCKto
ajOtdtsWAUGKPjSBujLKOweG558Hnr+g7HXcWSRlAcPDTQot8fe3DgpjyZSXU3aZrNT5XhA4JPhM
JONtb+ZVlEiUmHobmm/Clvx3n1r0ZFh1euyGbygIBmJGFqfNIonM/rWGoyTPBkBT7AwgMRg6hJlq
rKgTSfJTzQO0hozXJE/KIOdNG+ZaJU8uvhFUK9An5COombwvurBpRXXbT9rT4A7miToZ6FNeI3eN
x4sd+lfzTdZrWlgOZg2aLvQQqyYzAqOceST4bIfQOGphfmX3LyzvuxiYn+7ArIweWDHpUV3CNkUl
ufKzWlc/G1eqSJat5yPn6u8Y85x9lXpZzBut9FmSS0iMTCS2WxDW4ejBwswttQKfk9kErpRG4Dn9
COqPN/7wlDaGJqnbHxK+lK9aoVX473LjoqFF/WNj467cF0uqD3zjoryxRkLXpMwgpZNml6HMdkPt
HJEidRBONF+spj5myVYSdIWejDI1hI7w1AVW+IOISD41RVnqbnrB4k1HmzbTIR+ccpfYYxkVelte
2jqlOYzUlH6bNNp06edUO4peS++tXrF/v/rf/TmrblPpFmlqKCe9dK1zsqT9qBDKP1/ia18g6AwI
XDp6Qh/sjo2ecHfISXqB0mjgFK3fOc/CohsT2RpldfHnVUedybDTSz48K9H6Xgc8UrWRml1JlByy
eNvCfAnthnVfVjW4HyraI+UHJBmmdH5q/3MxxANmHfxSOGsT9LJW2as3e1XHwZa9zLCfNujsF3YJ
kprmo/wbGuWWD+bHdxdmoaM4DRAD0s0PiGuFV2DW1dgbQd2bAmZpJ26mSaxGmM96JQDLae3gNFqd
YK+fH4tra0nN5UiA9oA+1GqmDlzQWz4a6UVx80GfjX1RjFumqctvrKMyGMEg4QOsAUV9631UNlkC
6L+a04s5htZwl5No5iFRPu83Tt+1BPftQMtk3zyYnV630D3CQF37I3fuCuNOGUCRbVT8/v69H+YD
ZaMF5g11gfW7vMu6uUtbLb2MtLopbO8rtccsgHq84Qve3eiNiTRkvB9MJ+wMsQdX5WTU3XOZNVt6
TtaVVwqq0lhYG6f0I7kjsWgLSnTGzqRT+W9EVvfYQQ7hWdY8OcNSQsWpMpIACGEZNKRRN0lPulNb
iC4a67FDeczm30zO2UnLqNT83GrRHZZ2yqAC7PRPSV0Vlx7ygzWSjMR8MnU+xeVkuDdIXpt4tEUZ
mDUyjQnp3K3riDy0GdLGeVYagAyms3cydwrRFSkySNPm06tWj/0juNTp2cz7ifvcrJq7ytSG/ecH
+8rKQAVOx2MaQk5LNeP9WRBqyHWKB/w51Xtjb+tF/2DYQ3/Pyro66qMobzN8DTEox2aU1gRY+s/H
v/JhoXkGqAPK4X/F6N6Pb1BljUmvrHMtxDErqmO/McFrA4AzAa6GC31WlJ7fD2A2ZZ4nKnHP5ckg
MP3ZKEls/fwqlSpGbco6S3POcjgKge7OxvpcuSkWK5z//PnLt/zmW60GWxiAIblns47L4Zfm/em2
wqq57PHqQwW0HhEclwU6EmvVCC8zwPwtMsyhz9CRame2CJXOrcsDXOy0QY8AVZ2+dtwdHo0w4GSD
o0ddXeK9rzFgsLo2eYBjoQ9ilRUbmtmdCyncw6j3nu9VyfilTxO2w8UKLYoqybVDM1YsEsimNi6k
q7vxZiar1YKfFBc5Hq5n133ID237b5uNyhOcuXGQAA6wAXhaX0CKw8tDI72BWl8eVbw7CV7++vx7
WO33MgQIOHDDWshFsJ5afY/KqgzlqQL7DV0WcC+K/qUuF4MNs9mqP6wWaxkKuDBAAxdDpMUs9/3R
AoVYG0sxwxGLJF7hi9Tuf2QaHtH/PCNEGNATCcTG8dZYXZ0W3kuUFt1wLhZATZUFIH+Rasv/cXWn
/Z0MAhE0Cv7KMK9hC1mjqCClGs9ssiJhPdc6gUPVjeyrjelcHQiWFng7LXzBNUTMaCUb9VmO56JF
7zGR5RBRkoq9VeavBgwCwn9fPVTk/zPcavWaygU50MFwTYOCCfrU05xENtk4davM6v9Wz6Ho3+LI
IZlbjYKOt9ujmTieh7Hxy9YKTXgxZqjWdEXve3YL0E0efz6xa+u4UA9xMCxgldbaUAVlAxAH03iu
mp+Teee0jZ9ZMMP5twro35m5iwM40irA4P6+cN7ET3xm0uqcejzbC5DghXVb3JorHyxi538HWH1F
jmp6G4/S8ay/pLin7dg2xMaRWyWGH+awfMhv5gALDiXEjCGSvc4hCfsrmBncqX78+4YA8QT9UBQq
EchWtYdSl5RVPUaZB1/zdpMvndjZWq1ru+4uZQfgEYFNs5aD+GYqmS5AXUEN66y5A17/6VK18m3v
h+AboXpNnvu7aAhsKHIgLEA7cnWkHUnbJjfA+iy7fQdnZRCQBpS4Ut8VN5BEnbwXlew+X8FrAfXt
kOvJaXVRW0k1nNWtVUVj+W+ZzIcZrTZotGFJZFKsXZfcy/kC/+bP/3zI/64ygf8bgtoW4g2lqCmu
DrOuJQmRmibPnPR3+YCuXa3cC2eS+XpBjqLVj1SRJOjS/GDrdlCU+1LuC1mEuvPE4GRWdxcz3/Xs
RnO5D+5i5AD3gtfTnhaA5pBd3xfoD/yS8EOXeuuDWVf56WjGdWUF6OPtcp74RNF9a9URkeRsmBDF
THR/Qnm2mE+meWzZTW/dW1DVcpOjWx3cBv4ERf/UAkeUoHtt8qMJEOdIICiCIhox5KEfaKiKNOxn
tVPJEEv9J8d4ThbPZmRNX/hwg5R8z2nA5iIwq7uplU9yAjZnkL4+vKA7uvfMKuxNa6/lpa/ycWfK
DArTEpCKJwdZjulpQdcMgVPFvXuBwDBKQqVvOCrI5uJU0JvSemhLLeTlHbFCrvYD+zK5MnStezoT
H6ZCmRVW9JLwP1My3GXO/GWps+BhG9G8AR382VCoOqnxizvzc8/3uNePi5EGa+xAa6FIWEecPDX1
T+lA+rorDgYLaZdBpjBgyaWSXypxW7gGau7En2s9LFNzp3VpNOQvc1cFI4ll+UAMqOv+tpLUL+3k
WObuDyvL7gsV22MSgVoHjaPvWb5HM4TNNOw9HeJt9w7aI17BdtJO/CR/6tWTMg8JO4z9iVYnZdy6
qfYIVFec2CqWYHgWxwxCcxoTERjnPnOOc3qTYbtMDGIaya6uVNA29d4AKKWt9xrdee0jV5BPdn+6
elQa35r5K0nTqKl+KXHfi32qwFWWEbN31HpBPR4wXgjlmBEtJf7vpe3+6EWcDHs1HRrnUNfVfpHg
H8z+mA3AicAsWjZdbFaOzzQt87teRytDBbUmglnsMvhHtz3Ir6+k+566O0s7m8oKpHit+z5klO0S
FqZCBIKI0NGOtXdXd82+tPqAoHSIUtkh6Yq9W4Nm7wz7HP9rhj/Ku6V0DAz6pOw2AK4sUMwJGUi3
8DQj094kd7CoTXIK4a72nmNHG0h4GiNejzwuZxKm3k5NCuaiVZik+V4gGTcyGY2OGXNQn0u+84xL
Lh6b/ghjL4gpsswJ8UD2a3QzNf3QQaoJq1/ApIRfFDymxvFQkYcJuRM4Zd59wbSdZlRxUpym/hUg
0GCs7zT9qWhOREMH5tGSf8q53zmpc5rKOmid+4rcFllUZxeY9PX6cZT72rD8IQXbdnrN+RcCt2Ku
stu6ISEwCw6BBcJXLYVmrXxW6K+ykoZ4qMfgLw3Wq6W3u77Fe7iH1pSj7SXVAqN/ha4NmLqoDut+
w59UqfsDD6u8BcEv5sUXCZWQPI8LBpMZh8AmaLxJaeNzuRvyJtQSc9do4uIZ0p9YbBpNlMrSl/Wd
0wloPaCJUXYhm345FvzedL/KnXgyfmuFHhUNbABtERBg7lxIf/LOC+DuCmsu5Zd9TlDongKLsJ1V
IxC4+e8Uugpm4QSzdj/pz3aZBa2Xd4GwgG2cDoa7l82FQXIhFacSYCyTsiAh1smiT4XbxlYKc5eb
tBC7pq8PlfWa52i9uMaJS8RfCE9ZQFEZEB84ULyn8r2d/JH8u4S0YUr60PBE0AsnaBi7sSmAf8OL
mGKnhWQ2+qWNt5+KbwO/H2kd2OS26y+taYXjlDy76BYmxDlY9bSriXOsFD/ARfDoMXIQeOqlHdyP
ZD6f4dtypgx1vzlNf3cA8QBsG5lSIkKKV1p5gc5xyXbBqLX3NUXATOaAuGU0eUbcGmBXwXOiYwT4
SWPnzDs40R0sLH2Xp/f6FHVGbLDp6Mx2MHjdLm+6s4c96NIMsobCF8YT0sfApGAVzzxo5m/F0Byt
0n3lgoogAxZmhl8oQd/OrbqTNKtIgteaUDDwDAIT6POU/Ui0S+42geMMQaHmsDW+2Gl3P9jTy5D9
sgr6YA32UWvLWAm0O6wdKUt/xo0D2UPAVpsjo86JVPuuhCxRXnxv++ZYps1OEwqi9vwuVek+n83b
TBOhLdqw8MqwyJ2DYrdjNpyBCPWTIQlFOkQGeqU6BRK89q0pxwy/u/Yty2+T7mkceGCi8qPVuwx8
UisXJ8PAtyrdZycZcmxFGY09P+jCwb3I4w4oT0OzAPHh4E5aRvfIZveJTS6B+uSsQ0WZHVs3OalG
oF936LWj5eL7AxCxrI/dgs7RA1tCf9Rtzj0R37uk8u2uvUzCCasUIHxH+LnjfNW0R7Nm92bR3EGP
DmqlkPUjReB62Y7T4pIk4yMbodFu0wCycb5tIIL2OcMeoGlLiyLgw2tFziXU8EkPpRXj6+ggzJox
g5ExGAYRymrPbtUePbc6Ek592d/p2uC7eftKAAxGA+/Ie1yzsxWTKg+1FtulBcm8H9XT5OFM5G2Q
qEs23Ol1PE95IOF5xt12N1sUbeJDNzxaQ/NsjejwgHeVeWasZi0acH0WRZQWTz190rtvtZffGJDv
1Cbq11MX0AF2j1oWWeNjMpk+0e/G3LwfuYjafNoVmhdKIz96ot5pqTyYmvCzIt87KTk5/LvZ1kEp
KiAxhgfSob3aFnQv6PzMakIjfbJ/lfP4C4Bl0twn82kSz/WEGxe+VZDb+eqO3hCCDfHU5eVp7n6p
rkLr7T4bewTNbwY+J+NPJ+8L+IlOlRuQ8mZ0znPyZeCnYdp3BbQsBXIaXflaibZcZpzQtA1L3Aa1
9ILJFCdXH8Opto+95QWa+achyaGpgCFwd/D5TMszvtOR7/WpAh3zhHAX6fDhtJovaMUiSqW+nRhx
pdm+y2ZfNQy7j/DoQuXDan2FVpxeR4716CbfVWZDz/NRDF+ZE/U4A4rmYL9pyGcA5gpKmu201omV
q/alAnQ762+KZAg1Sk9ZgbZh01eByxAIuQuT8hbGfNCWngYI5dnzLc3cOWYCXToOfsSR2P3DVDTI
/yczy/Zqzh/IHA90DNE8akGTlc6dnj5U8sG0D+P0mDZPHHtuPtHh2fb2vbFrpt8zvp2dB+E29Moi
4aoveC3DWsZ6bBvzUKXZoaRz1I99YE3aEdiRoBPeC7qf0Tzvm+aEHfO1BAuSuq+DOwUc8sZ5s4Da
GbxQ5i91YpxMj7wWuv6DESFDAYdgf26GG5tVoTHdseqb5LeDNb0IGhvuQylF4CUM4cMzjhBtDNx+
PkJG5gUR8zdt8tvZ/jPY3ysQBZThxoU8FZMXeFYbGs3PAc4lZlmVvt0ufJOTmnFvpxkgTpdxUhEh
z61pxHX/RbPOuTHsyrI9D7aMZucP8CJ+53mhJ6jP0zh3FbKuo55OMbw9IbiJ/sjZcAXiZLuDwwHw
Rs85ywa/6vK4rNBcnWR/NLzhiEodbswkiwlQLoBSDFbiC/oAEasQNlRHaf3m4y21bpS8uLhxgOuF
7a/tJ57w+9Q5zPg6M/DRU2QUc+v8sjU9oPSWZK/LlaRDGIXMwq8q42joOSQubi2O10paPesN7A+n
Uj5zbsJKU/qu8QRz0qYDbA0QgVGvLxNN/XxC2AUIxh7uQRGPe8RwBxrWHH+lN8jIw2GfXO92ruB+
Yb7oGQeO4nER52EJagBK+FYBOTyN7VDNiy2ys2vuK8v003YCg+OHYg8e0oAhgQEJco6ExK1VxLNO
Ia9pBA2AsCYg2nikPGrj78HsQt09ZGAgl7tc/TKnsLcvJcN3hU5JavSPjTB9uzwYzYvLn8ca6bv2
CGYNmnYRQ03Cm3dM37edbKIKdP5Y8dLE22R8VJq4YbOKy1LbG7AOQP/r/3F2nrtxY023viICzOEv
yc5BUivY1h9CkmXmzM109d9DAwfHbgsS5sWMgRnb6t2b3KFq1VqrHrroZ4pPckaDDaxCEKduatQz
afci8q3cXoz0XY1qLxoIW48apobmCLEi+lUrN04dZxwlsltE8m2WwYBRzmOu+l3XuL3cXJJ5vnHk
ZxQerhp9G+KG4z5xi6F3Y6R97RT6dKPylLz7ZlWHuLrv462pWMcZD6w+OGX4ndJDhXDA9LBz9FhI
Pn3WjDDmBv9ZJSsteg3rcYWYehtV0cpQd/a4nYLnXOkJzTZT/mOo13JcE7i/Zo6BBwmv2dnG8Ume
fjphvpEt1Nd2E3lSGu/GFpmZfJboPdC3mT/ijWVj1TdYEECk/pzM8Jfw7fKp8ruZRJGujvxBbMkc
+fxya0JOKw2dK16L10p+aaJXpTim2cM4C89msZrBkxA95FEqzKnjFhaKthgdi6wd7G6tV3RUKdO7
AUMCaXztjPeIPZLzyCb7YRihfw1vEzZQbbmHvoO86WLa0Rbi60aPl1D2XpEcz0YY0qWXTiGtsX4F
4VvFz2tq7g+a6mlVtrPip1aHwB7INzM3U5bejnPp13nrjrW+Mh3C5ioSXjY8LjmeOeFYyB3zGETB
KgzKQxqEm2FCAShOEK+9UjyV4S8taT0zI6JOb42IDsmzs6mrxf36cRpLUlQSYhXBw49koDSQF4c+
kb0Kb/u+9SGq9uVjbCHxNU7ZaO/0QdtCT2LlHuPsHDR4vi7ZkFil9eBmRbWqw5+ZSZ0BEVaAeidv
mmdD1GtTiz0lLPwgf9fp4R0bPcmo4hUNgbvautSOJwocVvYYtsK18FefdYNLrj4rHHLVyAacwRHS
wc2HaIMB9aps43OmzutqkjfdXB/KriNgFXsORTcMiCfrheeWrEYa4UQTOjDtrHRnp009JbZdqpJe
P2iuxLUwpOlKtsQuDYLOV4wCj7e7IE7vDP1pttZECTMvl60IwtfuuMgwISDg4gTXQmObpKWPIJZ7
qz92guZNlCz70V6lk7alaOhOQ4U2ZvIJEv0m/6HP0s4o2lujOPYDCRcCOynWsMT5kYb6NgklN0qb
2yoWXqS95V3s9zVnVc6+r+/k6FBWd0F73zrIqo6JfGzavSPvA8JBmgLz1BJgH8utyPfo/+5JtroW
OPGqZriSlfAllZxbWFncWDPnYVj7fXiHhz446dbsrV0Wql4wkZ2+BZV9pxIC10l1SPATpmH0IVSc
zVwnADzafqibZ+YD0pPtA03eRWbzQi76XaZnG+f392rke+B7kh5qkg21DndJXd00xt08ntta3c95
+BqV3aGPILNVsT+D/VnlSeYcJkj3q8rYqqG1sat4aYq7UjobkdkA6sPSs4rep7jtCvu72cvEqelG
TV9D+pNKb7CFuBymlxaROG2XHuj86TVdts7b4B1C4caSpnt7hA/LRtSHwB2x4BiUR8Mu3Y5bgf1V
kMfMdbqq+VVN0bos8Ckb6m2/UHV787lRvvfQ6eD+e+V0o8dbqT4EaNHr7mcx3lfBg26UHC876m1b
qY98vZ1Xjd6d7bLyezP2BrkjpFLIRBPcQID15XF2k3485DKGMXPjShYlbGGwFcPz3I7egBhVXRC0
fBsC/NIdyx/i1iUL8KOgOIU4ISr5WzCdmmknmTcZgFSeXewAE7JwdK1+r2EFKSvVQYqNVVgXNy1V
Q1luMUeLY6qK+nMjhQeYQn5UqH5l7YzeIGlIjnPlPI6NvMasdD1ylpoTnaBt3R9Ftqq4Q0V1W/Y3
gXOo5m9MAoxq9hVFOgUFLRvoCEXFz8XO47at9xFUx1gGvqnoNEGObupeUd4IYwYrGDZ6/mShCIKI
6KrVvaGaK80kRxdcIdqwrk3tLLWdR/2PbmTpUS3vRdZsJPmXImqf+zVaMnfASKUJT7o4ZDQxwJfP
lfWHvrq0UeQFJAqtAYql15uaDaXxbUZJWYmWZmMdLXxiZZ3K0wYIfFXYptu2w9makrWRiwOh636i
NYJZXWqReSSZUGHB+Zzx2GHb0c8m4pgW3m+8ziNglExdS5nYyXPoL4HKOJt7yZl9o5Ig377Xo/2a
U7m1nPqt0RzeDhlXDk9hL7VAdLuqlN3KyS85eYfO64qtb8EA+CKACIN+nu6EoLdxNTYN+Yum3TkJ
XjKtNWuklBIh3lxmOxZGvqqGVN4kqTnILAZZvmgLmaKbKprv2fVEy9jeCPT1aATq9ymHCtoFErnl
nNMPhp9rz3Frs+KdTSaHiDODyywmxxfsynEQ77Gp7kx1wGN0WqvxfNvanadJrdckN9X00LRvkQUI
JG0BSJI2O08jGM+mieCzmJ0niua2TdbOLGoPojVtRnCld4aLNmOjF8N6nr4H8s8s2dpTByrSrIWh
bmzQhCZptpUTneCLuPF4zktzXZmaJ7X9xk7lbSaEJ/K7pCo9Pcj2TXGYlZQXgFTLTNW1PDvrJILk
GHGYze256m6lUPJUVQI8qYd1XINClcmPuKDnZJ4XG6VLH1U5v9NzMwXYGdexIu3SusHO6S222ZZS
4U3JYxME/mQ7N+YSSdbBOsM0IrYfdfEmTzdhcJKSHxrHgrrVs9SN67Ocnmr1IOxNJMIDLPJQ2hrt
3WQRkxukQnbihtRGs+qQNQcowQdzOiOPqm3WmJE89hzOE5SxdD5lSO8LIO44Pobi2ZhSLxUHbT4R
rObJWlYerGhfW9tC5Y8PU8ZSkjAFqEDbv2XzqSCs7OzHwjk05PeyQYvNy1g4rk0sEgHI6dlASzwW
o7YZggOvNESPNLQkJGFtHIRSuGkDmCOMJwE+psecDupMerHt83qXtQ+UhLkeL42R8Jvcsd1roBw0
gBQSnIYoxHE1Y1vpm1E5Sc6dk09uWT/2urGGdu5H00Mv8+ClbTtN9IrFd6oo/bRpthM0YFQA/jwR
7w08kjndSvBK8/R7Y/uFswm0Y2asumkfj4/l4hhIet3JB7raDGJ2hZlzXZj+qJ6tGSy2JdeC8nCY
xmrblb+MZFzhyeTTKH1rtqiNARYC69JnsWuLfdnSJDG+WAMiHhOmaULF/F6VQ68iieL+W2dAlUWi
+Hr1IPRjYD3M/eRP4QTq13rO6KxqnGptp/TMMVsBkJ6QGbgTkSmNx7YV105j0hUOhh6oj9AsNypL
Wna+tzXljGb2gZR8tpcTXTJMsPVkn9L+Tmg3RXOTkU+Ws7RRY8XXol99plx0AJO+rsAP4p2RWiud
I2Nsaw6qg40znrbr43Zfp0en3pnJTZ0cgTAjZ5VV+SbtLnFY7rLgNhaJry04LO0TZKuhGQ+hhABp
as9cIG46EF8ltSvVHe0j/UwcVPtNwZUxzH4UnRkRMWWr1gxWvUQDlk2iPFRKwPrWQCB0V4KRayeP
jkFCGF+qlP6Bgxb7kbjXrfrNgriujlud+D7tvmWl4vZDsJHV53Gcn8LEPMa1vTStnLnBqp+doGxZ
/GibdpWbP2Lpu2X0QLUvWjo8NA6r0iBkozuzJBAqbzTZ8hXKSslU+h2XXTPN28aqNtUgg1KYxLLb
UtuDkR/MwV5X0o8eSXoVhhtlbn340IgHttk8uhS2fcT5qAkML2oHZpWt8mB8LdVjGzunchJ+Nt+b
6XHszlG0yZF4JWzw1sSWo9/0zi7k8rLAWaV+FQe1l7f62opkEh8ALefFyuZNk+gPqXaotHWkZm7X
KjQcOkaW5NakvKmZHjTptknKTTlYvqZtKkkQ7lC+1arbxubZDfdq1mjH2YqIdDGRqF6aJEz5zTw+
0nydqoCSD3uhiAjksw12sdyooUuGiirDiEbZbUrLPAxWQSYdje0pcPr+e0FRsOVauMukZ2uSt1H+
aohj0JNCJf1rGKordSyOcmcSGh/xBalzy1WJimoD+Og+rYgAuWxM2zUIckE3NLaCfTTqyrUrxauo
Ny0mF5MO5R/OX1qtGN41pLc4geKnPE3y41gQwvUXqTk3ncweNX449OdzlbYuvdDWnk21Buwd1ibg
9BgCBmfJXTyVhOfAKYQ/odi3+nmSX5OZw1a8YygW85TEe1eEGys6m0O2Cyi4dymBYdvjdqdHfptH
75qo4H6+OHnnh010JHVbWTG7MUIxTnvoGiq7zfndG8eyvJEzbRMM4xr3YBdJu69KJAPyKTdodiA1
7BJ8A7JoazWHuMnu46hepc5zPL8a8zaQL1M63Ve1tp4cqh/aXqJcMydwNAnqzGLycumkJNpKCa1d
McXrTheLrOYY6oR+MJftbNMYA+ZolFKnb2EKVLabFNC8Ll1NEC4Ib7TK8TJW1kg9Mk/Kter8dGa6
EqnlyaRMHMQHp77EAgtdK/QLWEKjpO1QD64KLb63iohKKQBRnv7s1c6PoucivzEzIoLiURsBcKwH
mp1iCeZp7W0bSn43vypl7YWB7JFNweR/wbQL2wVXZPpa7S5NecGtypWlOyfYBGzHAtwx6k1/topt
x8m2wBKNg4tZwIvpCNMm7ip5n7Jgq3Gfq7dBnq1lqaFit8fDAVslthTwl9P9jI3tYobjsIDs5Edq
655R7oaShKJ8LJv3ziwJCNmainjkDtcHE02STzcgalgDl23px8sxgapU0kuUOplbNyF1t2+ULbuO
fRnkXilL1KF4P+U3URAUNjQ7R9aDJMYf5AH6KvWPKLmkQp0QL8HLBtawdbC6oP+hxPcokNbdgHRH
9ancCDcSqqcKck+dxLLvNddqRr+WlW+O8WZM3x2ZI4B12bBOp1WUxh6uRatyVt4k2BtD/qNmB0zj
e85VQ0tbzwReM7K9o/20BVLy/lLYL9kw+V2AkQxIbkAAhELEC/XvQd+4qkb2dEi4MkvYRjEhwgw+
jdxjm43Cn4eKh1DsGmWVdxo5/daeI7/qKGVjA9Fp0aYrlzxOW4v8OWvPhfRC1irPh8ouXGskYBr7
42yE63gEK4lA7SfpIjvFHTDNqlHPUrJr7LuMus40cGpGngPqRFGieqIG25mXNiuJ7h9L4iFI+jX/
Z3XPvQohMquopJ8lEW6tYNqX4jZqqAg3L1KzDcd3i1eVmKc2vQml3jfUgk9p19rwStMpy7Ubrqha
2ao4lGvFNkrPAfWQxam2cQKvHiNXEq9O9m5QN8FDAv/Q+8QGD7KzVT2eCMDcvjw5gKtNYb6KeH6f
5nKXD3AnpoOUPSqUHXv9WDn3gnWkpMrGysQPo5AITfV1LgCo5nPWrePigIVSkZOOJY2vJ7uYVB1g
VE3XWciy0Qk4JmUbs+qVrEFkVfkN1cWaX7k+qYCrN60cHkT/NGGT0mKpHGaJF0Y/qhptGrc1lrhS
vDEakGqEW3OxfGlalk76ZnaCx0jhg8OwBa2o/Ni+SYy7DrBkWYE2CoKgPtnm1hbPAuAe8c2mJcsH
FAJY3UKUB0F8dZSfffiLr2DrJyu713XAwAk7oQb7rmK2yEeaB8EKz5JbKAhboGMvGRt/QAZBYIMl
i6gI0iK/UHu/pKAIOh3VhAvavsh3ZuUjarWWovpwoHMHM6IGJf1UzO+K2IYtZV152vfgKcOcs3G+
C+bYKZWv19+UpnX1ql6HXbSN0/oOYc5rIEYYFMpy/X7Ph4NBvVjI9aoVEVXhszntze6A2ZIX1utY
Ij/vUf4pHK/G3oGGVa0V7a6s1sJZm8WPoC5/z4Ka1KZyOKPQREXRvdI8NNHPfkkOi9sxSdlZ4odk
r5T4m6aZvjl8D7VtXOjPhcGBK7gl16J03ETHJb9/gJzrLiR3A3AXJXI3xWcutx3qVDdykJRHfP+2
uARhABvFcGsZCVZJpB++6NObM79r5u1Qn7X2pq/fw36liZM+YYwjU/e6SNZDNN2b8SHU9+DW60oF
iRvGFTziNevAtYvBbWo6nb/G4m6oHe5sZd1J8vNiEY/Bjh9qxMogJ+DdhXMflNsijVI3SoY3iUq8
Ut2SIC6PsrfDuwo+gRMTMty1zpvdhIe4pDmVsrXEQIlArDUQhiJ/tQbVy4EHagFMYCurNCUuVg5s
p4SYxKpqD8+IVYMft1kVXh2+iPKogCLKXbW2rAqUoXftoDjYsE6aJgArDDZQJnwjUFYwoFdG8wuv
IdcS2oM9cBspOjf//Vwl/HhjU5EUT2oh52gt+1Ng3kjG1ojC06DEPjmnNE33ad1Vrtnc1t2MyjOB
OjS6jXWTVZYL6XyFXQMvJOL73EmCjeu8CXtLEwsCqbugjr3eULaFfLDsgzLlm0q7zYPlOKFk6PxM
5Yd5eq24pKQgWE2EkTK1Wrsu3dKSD0nfn9Lk2BHj9orNzfcrtlGO0xGz0+MVOphNE7ReXDwqorsY
mfUypi2xgATNhDQmHvdaf5/k3U7hKuCzB6KIh+W/c+sFkYMbNOeWknz6XWEmWGXYWBdF/Y/JpoUa
ww7qvWa1XlrtSFwsikQEkC0xqJ0INwAI1OK7kfAmK/eRVUE+gBAJlKy071H4lDbdrnXqczQo7qDf
OPpN0jxUzpNVfxtzvrJN5j7dGz09FEKY6AWVRm3bNvcdJVOZOsRIfZUUtMh+WpHuWUX2mPb9xkKZ
NZffklbaoz0mpV44hJS3SizUG/ligr11FGyAzVUoPmpLLq06v3TAWWVY5CSTm6nqnTINd3jLemFn
T6e5sLaBnhwarKbyFPR+Hi8dfzGeddeoQ69rtQJFTu3VSXMfthCQ1BmTA6zaMWK4jyUOJ7llD4UU
K2RnQ9Dotougekgvpa2eJLDP8Xa0bnQ98Yyk+tb15l7pMY3rAw+C+TmNznSNRkwSdxdiLweSieW1
mo9jGgEkIa9zNyiXke2RBGTMPURg+1m3XxYuBQqBVH0PJ84dgP3ARHIemRG6HsntNQrpMPpGSknm
OW4OuH94gflilG9jjmw384PqErdHNEAwjI81laA+eaqsCSiV3Ue5RFKOWWus5Fo3OJu1zZRE27ZF
eVxGQ0NgrK7tMlnH5M59TU8PdJ8zChwUpccqu63h9QyPVXt2+Ek7ITyhq0nTXvrwUku+Vb0Z5qsJ
JhZ/0+NvgGNp+RDUFIp+Zck7eLUobnv7vgRQLtaDlK9MSueK/BCCvDVFh3LJNkm9Q1+3Hs34Wzlv
iLrKcBXAquAiDrkS63ZFxRHxj1c3r6XC7KpTEDfw9m6l7C1vXtL0fpzu8D4bw4sg1ZQ7B1MJknVi
NQNVtZHe0HBnBWGa9dvehdmNrpZuQXPvajeQMKI5ODScfHKzMrO7XryR8xal4A08yM200TvFVcdj
aS8Zy8tCdBgjbkwl20zdZjJebNq5DXdBste7g54ewjIB+GLz2N9EBu6nQXmJd3paucsHmcXPND+Z
kcpehYT3IzLOWR5eGjPcaWVyFFMJOabxJMHZGaB+hRaam691+ZTO93a9Ls2doZ9IIvXqokT3mnZr
443Saxz8uF0F8Q7/5Us9B9tJ5u4hb0sflCje52XnhQRJkpWtelK6MOWx5unezOvHwLnhSvU+Z71+
RNrF6tWwFpsaA0euvxnJlV2qSiRyca6IlUF8BG4An4/wEefZwd5Zx8VShYd+JRFq6OMXYpEqzlHy
WLSbBvpO1j/n/9FK+jd311msRBbPQ1n5x5WGWrxuGKk4txTSLU+vpC+e1EdMd1om2zJuIhh+XEss
uiFg/1kyQg6VavcudaCM/g8M6j+HWB7lH/Rw0ZiWkgilP3ftvp+23X+eweJQgmEP/6iL7uDvj696
ObWTxhRnpyv3VdeezPZSzP95DorMa2ApaXjW/aN3GbEPVopuHEF+90m8tuf158tpIa7/odbiPfP5
Jm47FlIt3TCvJqEMUyqEXoxnvQ8o9PwS8c85mveB3qPXz76QT3w4mIWE08GeHA348ud/vBA70qVY
DvPx7CjFLp9ODk7vE81OZXwE5a/6YP27FRVU7YiJsd5zNM243or4aTrIHKZz+FLBGLe/eHAfSAKw
M6UnA2Y1C73dvvp8qGJFljZcjgLa1jhma/qoPlNAvcV1kgBjkr8nIbr9PiS1HB4/f2v/bh5FNg1e
Hkp6BBDy1cquB43KRy6GsyA2o5Vooz/rIMOfD/LhDOlFRWMvFYdZOhlfvS5CV5El5XROGqnC80Qe
vamRG27stNOPvTWb33srq45mWTenrpm7B3VoxRcb4IOpIvSzFJTSNNVj0fz9JVoBnlgYQpytZniw
nfQshjyBe1bvPp/tB8vlz3G0K4smxOApRJBBnLXefpen5ludSP7nQ3w4FVXGIQ+FrKpfL/9UqekD
bdTiHM7PnWav0dT7Q9J80SBtefdXO3pRvyIs5wLSadf49wMLW7uVFLsS51SbDlbKlY2dTO7rlGyy
sf2ixcG1b9xyfiBdJINiNTrcesuc/9jSgRMA9lljezZTvV3ViwuqDLeZgC+0Ds6gjithwgFNb+y2
czbWrBfnImiz53iMMZ2Io5mwE4vVtoMCVrWx9MVbXVbH9cP48+tdbZSy1eA7jX17ngAinKl4IV+H
glLsZxrk6RVqksk4J3L4hfPKR+8A/30WDf3/VMwQ/34qltIr2dRM7VmkCegCj16t+9U4mKeKQ/zz
VfXbf/t6jrQz1HGRU5FaXSsvi0FLc7MiUK3qh3l4X8oIGiW325A6kYw81miIW+ufWvDz84E/OM2V
P8e9Oh4aVZKcSMCljqdQpWSg3FvhdCvSrPeDOT6XUv/t8wF/y+v+nSmHLS2bDSKHq6U9prNNWaBt
z2HdWu4o9/UxS+GlZyqYaj6K5JANkr7HjyUg6LQirxwSE8RG0r22EP/LyYQ6GLmejMbpH5ljV2d5
1kdzd24GqHo9NCEoG7dhBUX183l/tJr+HOhKCTbGXANsxO6MGZRCbUvKJIDeyOuK4osTanll/zxg
BHvEY4vLgn21m7E8tZQobLtz3xrKExgBVb5+1N8+n89H5yDaQGyh8YNxuFz+3h1BMJpjP8Fpmuf6
HDvZbjbztZi/8jz98LFhWKKjR8bi8Prm4ABu7WAIu7PVz7uIwgklNS+px5uWs/fzGX04lKEZWB5g
XWdfn4JCiQeFlsU8N62D41KWBynI14VaTzhO6V8c8B+dacT9GJrSWhHJ61XI5iSpk8+0YTlbuYEK
Tjo1Q3E7aKh0TLOFa5mPj1Nd3KnlVyH7R7Ok64uhE/QQ9F4/0FQJjG5SnfacpIEHSQOuS7Ju0p+x
PXzxPJcVfb0OidssbD7VRYR9dX6KtM6s0Jbbcw4GCu+7R4wH8ltI1Jgzw9mUePdsxiC6//w1frT8
FzcYAnpLJjW+Wv6pk8yDVDNsysdPRn8mLnr9fAjlo8VvY360hNvYb14HVW1DoSFTtfasz/28coZi
XgXKb7R+KVkRj/s1mkkvskcTsNLSn0KaMa0m3Zp9URcaQJpFhUuHrZ5WQv3v+9/UbNvkPONG/ydA
xxl7BKqlTl5YQPJB5IawDj9/AB88Y0zJ0NEqmq3JGB/8vflbA7pJ3DNELwOjvSvNl40Zl0jtavH8
NcJVYD4lQ5sMWQ5wM66rCrwfxLanoOC09w2iqn54SuondehXn0/sgxf717BX2zLPezPPTYZtq6ea
cgddO9wkePp8kI+ens6eQOzMOfNPYGEEReG0y507TlivF++K85Ul9RcjWFdxsFADnSbsoj036jGI
j19FKx89pT8mYF29/qaRnCDWmEBNcXxMILYgHVKV/67XVsw/h7laA3Fb5bkmMUxbnacYxloZoEpF
yNc9QcgE5rS8UV4o4vMXd/WH81PZQA4X6L8t5lUjkIRhR+1Zq/JpJUo4wEs3tSNW39X/sJPoRGgs
94DBVXr1KOnzlDmlwmnlOCkEMR0F4P8ymz+HuHqMUWjXhZoNPEYwtRbEnSJSVT1/vqY/uFboRfz/
53G1cYLWCURuEqM747dwokZqbnX1MU5fPh/mg3D1r2GWhf9HplJznnfVMheKvrGFHNcD8w7bU9J9
cT9/tIP+nM+yRP4YCJIyNrwyZL08mA5yW1JH+6pnzker7M8hlkf6xxBjZuS0zeGRmUguw+I11hSv
j/9jp7cltzMxNwdnxEOG4ZYn+scoaldbUQ0z8Ewt2Ngbg00WKcVfnZsfvX78ISx85bSl9fXVMqZg
EeRmTK4UZrlzqQwr8oPWdqDDJ/XWihzt8fN18NGz+3O8qzUtbKu2jZRtY5eRmwy/Iu0hg9by+SAf
LDZLNy3CJJVLnlDm70cHqm6HdggOXCRm+9DVpklXw9Le2bQt9Xs4onc0JPnKSfyjTNAiojZ1AEO8
gI2rnZQrXZsoy07qevvSxMNK5ByuXb+pTRS+ivBSQ6wTQioRH8vh7fMpf7DskYYpdE7jTXI/Xa0W
/PaLYE466nEa3c5QVyVUXT4f4oOlwhD8yw2o0xzkan5toMh1XufNOVKcfVVBKZiro4DuVVVfWYv8
xnuuogh6Xv02osYhHKupv9+gHg9dnoZJc5bbatcgaYrT7LYMzZU008nafsY8HLG3eOzK7kefFei6
HWq71t6BEgSbIpRQOqAbs6m6hiEaxvQ2h6HSUNuaIJ0XkfBFihFm6g3jvKopdQnz1A/T++dP7KOX
Amima1wR5IjX6zAbzBQQnCKmXSAP7yEz0J9h9/kYHwTrCzD3/8YwriIGqgi0Pm0RvGC8S9njlEwE
PvV91OBm7+SnOPvifP2dH/7zarA0NAhRbWZ1tblSgQs5vs/1ObeF+jPLB+PcxU4B97jDeJcQDA6/
Pq/Clvpj7UB5n0L4qVXRU3OuO+O+Loz8QdKsxbE173XMliS6jfWOctHV7h0zcDN0CdNhY1hTNnx1
NHy0iHU891nCNNFU9OV8+uNUbewwmiND59vryDeNhQpkRusiEKtMNf/7WcfZwxjkGou55tUiFqOh
AsuaaJESaCrt6ALXuWb84/MF8NEiA9Aknsfzj5LU1W3UOzTjsELeR3DXGSc7+6J3yUcPDHRliXbN
371N/35gUyEGdU5qoAIE1RGqlRfAH2NYfT6JD0bBz4+2fWwHMIPrFL4wEZRyXALZ1TbSdUTkAr9g
/dcYfWUr98F+WdoPMhgxPMfY1QLAczot6ixcUPviV65khqtozb4T9jHPpcCVFmOEMMDK+PMJ/nsl
LSZwWDKRwVskoFf3bGx1DoTxST6jf0h8+BjCnxyaPWHkDoMFY3hsWb44r/9dGMuQlPcAQhX9n/50
GZ7ntVRk8hnbfv2xVzZfzOjfd/b3519NieSZwKXi83Msrdwm7F7kKTrD0vGzONn2irrqw2SFxxCy
JRx+isc0RtMi5TAqv4f96OkzR5Ru+7NqbLvoSUvshyi13NQwkAaXP4KONrCd4lfSdAu8U3hGboLu
yMrjrBjrqX1xyCymChIjbIUIQgwi52wMVq2m3yaBtoUr6ZXSfFv1+J/kKVdwje9KWa+1eLrUWuDW
4ah5siYeo6K6h0Xqj5B8aeblSpGOfw9WDmp9P+CxE8XzpsfJPeplhNpQnerB6xbFf6O7jZ0doTvv
G2lheE39Y9GY2xSDFYySvBYiK21/XCDi/cI+IVj5oqanLvHS36cxSnADtIQqABfMP3BUYdqJmQ6o
W7tsQjOGMsCqsT0CjKofOwnjjDBSlUs85svTDmztexXDgZEV0T5Okub4NMlCiSQ2gXman4dIVDRS
i+305ARmwc/CSxZCyGujwjzg8wX07/r8/Y2J02hqTRX0av1IuigtTFLN02QjxPj+ZTNe+989Z1Lf
xuyaSoxMAH0VE+EmNUVTif7ESYxNF5lbNbP3XfAKMWXC+LW0fqjpIbfvFEi8VndK21vZRnQBQw6j
eyzToH0rw2o0M/iVqavKOK2Y9+HwaJtPC/lqGm5N7c0stHUl164DRURq36xWQxhaYY6/cG3ek6z3
9PGnXD21zrBucL63q7NGSwNVf5jo2ZDpEixRC6IxFgHTr6R+UI1j0m8d59HJLr0JU2Tx2oo3Auyk
1JCF1MOqHQY/7RIvCh+l+Xs8suG071GYIUzEeSmJGPESwg3N87dmYIJ7ddzRRWB08GLP/VKe1jiR
ulnwSnNMyIcRatrnXovcDFOiAWuGXIi1Wk14SUT3XYgUDwpHMB0VM3+cIhgrM/q+RjG9kYZIg4bn
G8wZFOnr/v9IO6/dyJFkDT8RAZJJe1tWrkSZlusbQq3upveeT38+9sE5I7GIKvTMYhezwC4UlYaZ
kRG/KapN63rgPeO1pufXCC3sNLneIIK/LnWbW6NYBw3CDJ20d21wkKA+PYB5BRJDbaDdq4N1Ldnp
bZarqOyEmw62Q5N7N1IobUfRb0zPRhp6fOwmIwavGy57BI/gRIQu4LP6IfZQ9c+q7YCUVmJJTBW+
E8hifFRttPNiZaQO4V8OY/Uh2WLrIbO+ltL2h6YN72o8IP5kbcMq3OfQdFep2+373HpRgbqufBR6
uok2KP+Gmr2te/3RQPsyk+8qgIbQyfG1gACiwavioGvzx1rF8AKti3R0Hcot4Ep98FBZD98nqbXr
Ccyjj7YTpO3as6UfSAhftALUcqC9B3Xx2Jj9VhPKmyyZUH0ifBzCDU8mqAbvudxuLJjKY/K7V10+
zb1pfO89ZJL4ERZGiPqrh29lLo3XZiuDwvaT/VB1O5PdMQacpnFZ7VxfDdiwJXz0UEWKwVg3/c+y
8rjfH5OJfNXrEN/ffeMbvwzKNX3S1LrMcjBt7U/kVqL2rjPeqv4HhOQqePZA5IUHY3gt1Hc4VgCB
D/r4JCaJqHDTmOgoRFA2O2tr5S2HeLmVg8dIeVRasdVwSnUDfR2E1ZUfTMTTDympIUoiUAT3Q27f
0BkwxwdkZ2PzyQxNgNtAyatxk2r5SvZzsrcKqLW8S/rqwhbdVs8/ouoRysY6NBTYUNdR1u+Ajd/4
ubqOgQBneb8d6zfkJPBPAQqsv4KnUuHZFRgnWMpvr78wpe9e+lbq8GyaG9t3f2oYj7o0uSLzUJpP
EmxlPIZhZj2kw03cPwn9UQMl7gl682S18eAUablqEuVeMdwHzwqRMS+DeiNk2fFMOP7RaNx4pTzh
FCLWQb7XUvml88q1JeP1CHtASRGy01epBKs3filGJ1OfSu81bxCIQ1fBRzdOGb8FabEGmX8doiWh
+ZjbtDLER059A6JHi+7IT6liXIjUxClCGtldWD74CMhATwFoBjnmEVLTlcpZp/q8VqWXMgK1l13L
6jsUb8N6juy3KKg2arO1cUsqzTcz/YG+dSG7gD3vOxctDz9gVtlfcV6g5FRvospddeZFAvOVk7UA
gTfIL0p/I8zXbLgKS6auf4MLXRk3idqgGvHDqNHpS9ydVGBN20oGCkopAlH6heY+jwpyPPl33IK5
wVAVAMqG6cO2h1ADDuHC5eUwJvjQ6E9GlJorLRpyGuD2tah3unvIAMGb0Xc1foXIu8L8c2XIaPOD
CxGeWV4VQbg3GndT0tsYgzcDEiiEIHh+P4LuCU9HdPa9d0tOkeiy+l07fGf9xnWQKTe9od4OZfoa
mfWNWhtiVeTpLleu5eQ2Qo4HOOcuDPzyqh9NMkuYErJ5MQAzNwtsbKbKa2dB+gvhdrw1w3U7hfKv
Iu01rp4aaPE6vDUdOSj4u575iu7UKimltWvfac2jy8Vj4AJXlB9SaF4V0Cmq/Efk3bu+I3Xld4qG
G4+dlSjjOgsfDQMpuyLeG/2djLJjR8pUyDfVOML26s68FOiuHyUjhiLTt5SpWpkmLb6vbwUEp3MX
0X/9YJQmfG6/7ZFO7NYa4hjx+GHqD5akYoUTb+3sl9FfutVWhRGQ++8p8oAZKV6LTnluHwSiAb46
Xg8ABjUv2MrxZTfJrGEJG8HIUYC5pLa7sWHDBPXPHt2LkXwa4fk7Si37MtY3KRpNmryt2/jXOLgX
fB1revEBAHjTD/aB/atJ71GbCJTrhKZdGrzkAvk/Ac8uHn2w42+hGq+zPtkNzX3TXgXBk5VC1ibL
tCecduau0FgDLbp2q3cDsUX7kQrMvtBv83Sjy2jcuWJliBdRICNntnuFTyVuso2eoTwJb0ENXMDl
xXto+fvM17dVilBKV9wNEuTAnl8AA/M2qxwXGeR9BcUdbaRHxBMVE/5LVu7SMkKAKEeLxboaNQX5
bchcaNrgKreqRL5vgeCaEehQ63LQVFT7ruTgh5/cWfWdrH6Ikl2eklcgHze6WMlLBZDTB9t1n9uE
qzSsrw2J9MJyCoD9FszgCuZQ1V/50C7AjUPwvdPH7ir02UbQt1Gua39JOKx2z215pcHgt6sHCHRB
+SwwXU9tVtpYCfFmgakujPLGLCUAx8qK4V4Onnbjpbm81+X6vY3CPRKi3/qqviFxQyElXrnK9xa4
vMbTYMyl1Sihk1P+KvznKtsO7h4afmO82Nq1SLnZovi7jDSISO4Lu4BiIbam/GpA2+juQkFAxNKg
JKMqGaPJVCQIkXYsqXpbVs9F9qKGD8ZAqQkZtoECNVG93nV0GxKJtpElaxPCisp4IIr6MPkDQHWp
dCQ6EZGToh9DeZ+BWkqkm0p7LnwuAlKrTn4xIGH6HMRe4DTZwUXkqo1/NM1Lwo3ST3o0/ktd3Xny
ToMeTMJ4IeJ+1eUpU/XhdePaQuDMhpSAyjoXzcQXzgIoSYCX7vP8OoNkiaCDfJ9zeLvhgxXe2/7V
WHnkA5gO96gKwLMWCe3ivYyUBKquSonbmvSkuw+D8Wza29C/ykfHgismmw+1hoWsuU9knnTRd8zV
txb2OxaXUhllSIaVF4Hb0M0htWo79FxhKabpIS3Jh8YaHP9OGM06VJpVOjx2bbsZDR2LhedOes1Q
PREO73ujeAztOzl4iJWXqHjSABJroGW88hlAG8rRtyHKUeyztQLNQynIbMJnO3MMCQ0WC06u6W48
nmrIBCCZgmWQutayDDlysbb4XBJK2DriCz2PNhbAFAgucvq7cNO5YHSchoB2G5m+oXADifjHxIjR
/d+n3zZTFeHrs4yTEDynzCEJxmIONvNjC1hA0BoHfWL/uJNAl5zqT5rVnKkxLTyiFNmiVW8CZQCl
NztykzRTuipq9YMm2d+VLHtBf+X0UP5gmo/G8k+IP0DFTyUzsoy4rvpGP8h2Jd+6murtsqRTXwYk
NtH/q4GuSoX00KQhwovJbyFb+zTeNBA73P4XCgk1Gd4ha9A3wl7MuMVqqN8gjzqIqt3a1Hx2HSDP
996IoMC6BXoJQxKdqVVMs/B1CJTGDfBZOhAtbC2nV/SnIURDlCVtBMbF7SclQ8sfy5uyVK07Af1g
1UU2NZ8ggCJa5VF9lZX1cHF6Eo+XyVJwuQE1jmEtnfdZ1UkuizzS7Uw9RFSf7rJM1rasZ3qml6eo
x9UtC8wN/m80cxYE+ltdz/Cyd3H/agf7JinqXZKHN6UGGB7o+gEpb25YVRaXCPlDoR/lR8/3vwlf
0FzSg/EyMPDSA1kn3dFG7W4EB98OXzd03uCW3nupXq1yiRJvUqpco4WZbUK5iu/xBdShgKBXkvZI
VZYoRu8RsuXJUvm/Bo+XVqgnKGIFkP+lvs22TVnf6wlCnHmXevw0/Verh/WmL3t1I/sqgvWBm2L3
Btg0oAW7Hftev5KSIUC/Cdp4WWjvcm8q2yLWjBV9BB0dwfYxHevI0WqqlFF9qJPsw+pLdKypkWzV
XMgfqT4ipGBG1San9VSYlnuR+wrPgdjx++iOj/k+1EHWVH0hkdbKH3KM/qpX29JVVdWoCLpqf0gG
RDxEJDOcDFosomkQg+vmnh/cXehp1Fz5wv6hxvbO9SBpDJgyI1sAU9YNbI83u6tABB4QqcrRODEK
JYBIW2MLzeZ1qtYdvvmSbqz8WATXHMk8K7LuPTW139kAPa7QlPfEtLutwDdv5UG2X3eu/5LaQDnr
gUPRD4rJtgkHQpnnPOtEJSz30YHUUEk8BMJ41HvlKjUzbO/U57CLcHoNEB/OP7KSfAOHQNWrfnSV
CJH0JWu2dJhr0sSI9Tt0eU9/FccVRMCEgMNtGo+Uf+eAt0CtrNain3BIEFxsnDa5DMU1skenoyx8
e9T60bvDI4/cdM7ZQGGryD1uhkNY3A+pc65XdXzUAz/XAfBrijyZI8+q/F2L8mAhK2wMu/ujTIPT
X+O9yEbxl+a8dISJBBCbd4bFpz+vIYtQTczeE/1B6R/R6OKN2ZvX3Tmc2eJ4PkWZnZV0VJW8mza6
mpE42NkuFm9BITanF+VclNmsSYUfDZlMFDn7HQZ72EGy/PLfQkz74tOh36vY/kUqISJ77fWHirfz
uSfPcYVxWhEqr/To/5gTfA1RR5qr1AkhzIrOTrRp/PeiXlfAYYMzN9jCwa4LTZ8QebaqwuH4GilX
+masM6VF+cYv7wH/dnDnfRcWoDIpGdrNTZYa0qXbCO/j9DQufKREBh5AjXZKaqY5+DSNcZaVGn5B
7cFDBpJS2gUSwshCorWOCunpUAvTCZ1Dnf4tW7piTT/lUyhZH7UhAfZ6CFwYBlVQuvs0z4ufiW/3
j6jEDVul7cu300EXdiKgw6nBBZge37vZ+ITbR01B2+egdhLaBigcb/MGKYvWxM/rdKiFk0g3KHRb
f/CbdE+/jk8XZWPZdt4eRn7OY2LLXE6aMp75tIylMEDDyXRocGEFNtsrXE2eRWWJFRsAxeqISHE3
UJ5W6Jo7FKapddSBd8ebJD8EQV7cNaqZfrOMPr+pEa1/7tGbvqxHK7hywexsc5fLJa2hSyBSFj7Y
rY1W8pg1axihPMFyRO3sHFAz75XcPQwSkgSJIEdv5Fje1U30W7Zr9EnTuFnnNpKimeF1F53s8yRs
kfTRvSTcIii5T1qpu4jVEPS4ceNqGOYJhdJzjlqwk4coP2g9PgyQGsQuihJ6xqOvbtRC0i+blNa6
EWrxSx8IXs96DwG4CD1vW2tKczXgqb1Fq83ah2kROXLaoAHQAKT41eDAe5elKKlQ6g9za22UVXdf
h26XntnaS7uMZbfpz8K+Omp2MAh1lPE0Omi17B5kV5Neqt5N0ZakLHZ6ly0whwCgTL0gwTaiwznb
0WPp5sJvo+5QSU26EwjdXukqjPq6s7xro8dlEakNgY7SMB4kM6JC1vG2Pf0jlsZr2woQJm54HUDK
160eq63S1kHVHYQXP/Ja89gj+a9UhwB/OtDCmUGLU8gKtyLIv/lLq1FiX+gF169PUTLEg2ZjtfdD
iK3q7nSghRF9CTSd0J8OJ3S2G9sFwnro0XctbczR/ARVnP8YZfbtZihHm0i2k02MF5n0C2ECuLr/
ZSA4X30dSKN3LdqhDATpljH8hrhFcS7lOj1X0Bm+hsjTmIyyIkSUbMd2n0nf5XO4hGkiZk86iozA
rFh4FdzabJMjfFS70FTaQ6+NThejcT2Oe4s8JfXFOtGL3di5D1E0nPmOF+5hg246VANZmSwop5F/
2gVWZUpWoAbdIYNymg+//fapgCCtYrGET2qmv//9WkE2VviabbBX81EiPVzYUizaQzfeS6WK2vvW
5i13OsjSVJKDCwFUDtLvvIYwhFJs9abbHoxJal437xCmf+uH6DqS0ddohP09V+q9FXfWmclcSC0M
C+SShf4w3rNz0JrtK4PWB+14oEVN59EZ9e8eclN1Ks4cEkeBFFZqqpHwZuGMmN+Ihprk8NyK0BnD
G82+0dInt35ttORfhDHwc4Z8ptjM5GxzKC5mf5Gh4+ncvirum+eHa5eCVaEGZybu6NBjPDBrbNi8
GsTM+YqFpgUuOHYDp0PBI9TFFafgXkPaSWhijxDp6f1xlE8QzdLBrciUmOC+zD61pqXYaxQo/g1Y
0fOdnekbHB0W/HnbIgXjQ14oYSHw3QR2QP/CGtNNYUbfhgR/0kC8nB7FH7jVlxNjimPjhzVRW6Am
z1YHorWaaUMZOBH68VZ1XQ+PnngMooPbPATGHj0+pcMrIUXvqX9IEXo6HX9xmJges1ogwo6Igq4c
t2qo1IGT+cYvus+PHRUocih8XP5boGk5Px1Roag7lCCrgIquQFqboqn+OlLk/G9RZrOp5lCXx7Yl
Ck68EaTHK1O7++sQbDlhgjO0hcGyfR2I2Q7yEI8MxASUYydIFGvPYXmmZrawuQliKhhXIhpxdMJK
kek3gjPdUeI313g+t+oLJw8MAQ14C7U1CLqzb6e3ZbngTRE6qmv3Wz3DRiKS3DFFrZU6qjK6iAD+
i1lTORQg+U/+o7OF6RLLGzuFs2Gw5TXCvevBvvRRID4dZXFc8JQm0jGTNqc/GHoh5b03Bk4KcKTR
7tP+ucG+SYrP7IGju4mrjygTI4r/HBVOtQQJSyqAkVNHSrgzqjLc5bbRbeVOe7Jso0AXxtbWfdtW
6LN74/b0KI9T6Sk8bDRLpco+/Y6vW1AqCnhFGNE6ovC3iqTtgRbuol5Ga97N21Wp64fIGBEKS2/U
5vfp4McHBkUrmjTQWUydk362/eVBxFYjB0hC3qPoHSNPH+5ORzje+18izNlGKVLFWm4QAYwczdk4
HZ8LUyTZmb2yOJA/VWnOd/sIMYx4qCt8xcucHiPtn33zy7Du/34gzPyfsgGCCXOkbdvYcTGWae70
4NrWWZOAFbCxXj8d5RjhD76eFgJl/Alse/R+F70aRqVS5oh04mEgq2AF/G1mA118SkPtxhqVjR8o
lxGKgh3d9tPRj2YReC8oX/4F+ZP8c7YVh86wENJXRqeqwEVVoVRhLVfG21GH/3w61FF6MQs17ZtP
N4gUZp6SWEBvqNVvMeXaJIO1BT2ZqIcM0NrpYEcZNcEoZwIvpkPDqsy2Of4MlZ4gn+akRt3e2NbY
ry3R5hdJ74abif60scqyv/QjzMBORz46w6bIKu9GshpMoOeVW3Sz66yq3cnJBE3sLtfRjE1u7Dz8
yIp8fzrW0up9jjWb0qLIhWt2vowmlL0WofJT77I9z+K302GmP/Mlx/kzJO5KGRaKesTvlHKvFAEn
kiObvbZKKgomvl6feZQszBse05CfUckCST1nkGs9QhODO0iOUNH7f4nKW1G/V6H/9xvegqZJFxX5
KKGp08/4tAtFUUdF09USH7Xf7JOOxllhdgKmki/OrM7ChgeXQnJMEsqkzW+zWpWGVAH/7cTNhEd5
GyZIjvuIicEqb88QKBZ2ArHIB5BvMEmrZ/s90g0JujzDCuKrEGym+9TUZ77fMyGO1FSKQNI1t5Gc
yfUmem2Vyyb62xMX9atPoxDK18WJUdnStbJjxuJdl1KQO/NtnhuC+vXvD6aWpaJmlvT0DbIWerzx
Kon/mgzAKEheIOdQL1NAUn+NovW0BmnLuQ6i+j7ni2LfdfXlIB4tHJkaapinv86lQVH8FdwftmGi
KfU1HPqKVB1dFUgJQpU1GNwogqjVn1ma44fONKpPYWaVqkFq4aaHhJHbsrhL5XAbobnSoc3tGGB2
9qVoAVLVWQnwQYx3qo11Vd8M7wKT0oI66JksY3nUhqWqlimTws2+4x6R3mo0XdeR4u8ZHlB9siqH
19Mzu3QkcYJP9wdUGJKmrzMblbE2VINsOQNVhMtvLrYBZx7B9Fn4G7OzFU7a/8ewZ3Wz1s8CrQLd
4Ki9pThDDHusts1LNQNMS8P03lZj6KBdhBinae+itsSkLacnHEYJVSkL/KlXAwUKfeMl6/Vs7fvi
EI2utObN+DaI1F0j0ZmsYtt8L3x8Cuwua8G6KXAnZChKMfqdemGHYCe8B99HZtXsJeygfLSO5bb3
17mn3kgD7Vrbdu/d2HswjKn8VqFTUI3Kt6gYAJj67Ufa+zgFdRg+KdBJm0RH/Dqka4wMZbaPUTh4
QABbu21MnDAgaHVrQ8bzRIs9/9IfhAPODG+GVLPXSknGr0sFeqYyegm6xW6OAwWH56H9braGQll/
8qGx8Lb0GhRC7SjWNlGoSttKTrKtSAGMJqqMFaccgHOyvBQvxuDGTUFguV734Zn8LM9U78egf6Bs
qa9ErB0yrXox/RZkL6aJIgAAEKl0N5Dez1fNWFrwA31gRljL5hqWxrrxvYxAcKud2V3IyLnsQ9vI
bvzIeGfWnpUkvyoyvpE4Gy4SYAerVHd/KH50wIoK8LLfqojtx1g0+jVup2iagX1j3hOpyveGhnYa
zjDoGnhD8OQz+tXYgcOufGAQtCHkfTHm9bYVob4VpMbrKsfPIlUhyaBPRmvekuqLrNRbpDWREga6
gnCnEcpQSZqDpET3JdsMb7341pZzzopkQCxcVx8iI/nAz/kpTBSBq486XkiynGNTNpEBKnDNo2yN
6Dn2Dmv0q1KqgJ8exNumi7AbARMNRzC6T+I+3ASS+RwHIK7sMf2dBeI3/+fXImy8dTzKPwdaQ0D6
qvCiSWxpHyECsrF9WMmGzaPcrRhNFin9rnNrNIeDut1D+HfXAc6H66IAoKyr7itSLClgZrgpdu/2
+DDrd3nfGDjRmdrWN/iQek1SVllTf9htxrrJAeLZk/llNHbZZhRDyg0WPybomYLj1Mx9j6P2ykqw
TWvG6ntQW+gw6hM1wWRBAHjgIOhrTmyRGkuNOASIvIKN74OVP2CRquGYturLBmpPbw43IrGTreIX
37WAOq7VJvfI0Kr84PFOzyBPVRxft5kSoXopMVw1AZSYV/KFESFw3YATmTxntZWvmfhMYrZBcW5l
eu1LZSJNrwddsIrpYjI7mrJxZXw6Y4S4sWakrVa5gCoShPzrltPYq8ydnGf1Tg3Tc0XepRSHKjlZ
rsKNd6RXEGt+0NauYTkC5kYojd+gqr3TTn2uC2xdC/Fw+kBeyOrJqadHMxW3Y/Z6H/A2oaFnO75w
X3S1KgDMate1odwFbo9SvSee6rS9OB10Ifv9g8WgVgnl8igxzdnGURvXrqN+h/mbbv/bX5+lJKWw
x0zK+OtGBq8bboPenKmELv5+GHv0mRRGMC/deLFVDQbvHscNhsmHXtwlIVjQvx8Gb1gqN/Tl4KnP
3pGW2YVjSwvUscfkF6D4bRkGZ8axdOMDVUARbeopHJEda8GJFovOdarJAjQQj8ALViVErNMjWQzD
Jpt4qbwe55172qcuxsiK7Sgq5o1IgUV6uIvH4V+su/4pzCydCsOujYcWvs5oOoFawAIpz+SFS9/m
5wiz7KVORAcMighK4mTdJchi0d/k3Uatrk/P2FKa9CmQNUth9Eq3pVEiUFPcGIm3ynz8mPLf2t9D
lUhBPweaJdajgVdJUA22g0kp5Bh7Sw4IZNppMY08PaTFTQAMGR1bGyzZvPTD1VirZtzbzjARHu5I
taRzMoaLs8ZoTJU6MdWf2WBUIJJ5gaSU40ba2lNfo8l6OQvXCkSg04NZSjFp6aBdCGjY4HX4NY01
2sFvlc6zHZF9w4UmAjssqTd19zuWXr3eXhnnNsS5gLPcfOCR4hUBAQMR7aIuW+fZmx+Oa9+4VTO4
kNlz4J8RrVzc7J/GOHsE4Y4kunIgZIHNZ4SthZw8GzbPrTyBtBOd2fGL24OaGehCSndirrA7gAqR
WT/XGVoy3PCbp/u4xZy7XBd3CJ35qVnBLrFnR0RkjUIkAZrWct2s+xEoTP7ds6uddfbFunRFTBcE
+xBwB3CwrztEkdpIEjKR8lJeqdY2wBHv9B48rnLy7UKRp7kOrJxGwmwTyl7kdsg0GQ5c7YPUhi+l
hmFYoeGqYnwDebseR/tF55++P/6MeuncBbWwZHRFwGJZBv06fV5ekqLO05UgMZzShHZRKAq2bUOs
bA2zVbanx7qwboRCDUI2SIqOOpsRiWKTUS+DW/Ay9hdeZ5LNGhcKmIV/EYghTfJ2tCHnN3ts2EUV
WKXhZH38aqT1pRxzygOivu/G4uF0rMX5Y/ZA0dH0puP5dYu4uhR28lAbDnnlOibTw1D7kBkYIZ2O
s7AVoZ3TuQWeAKptfizK+RBSk8fvArMp/CmSINrqpC9ncrrFJeJgB+KBioo6F5Lu5CKqskE1nCrE
H8oVOwkaiC19YCZ7ZjxL84a0+4QnQdMZOMLXeWsGG+0brB4dL1SpVYwtlCUPn0kuhTO7QflT5JvV
EvjCoKSTHMNZmX9jwm4iOdA73SktN7vPAkRi0c3Lca8DHh7ABC2tW+HDJYRbrd5Xpv1hDnWxDrvR
fA6iqC9Wsqv4m96o0JSxK5yA40SRMGyIo02mZc0lLSp5K1dJsYuSUF9LemqmGHxZ7gqZUWWjaxBg
VEOaEOXQHlqlFLe4mMNfQz0A95BQ2xjoH16Uvhxe2h30L7sW0l43JX2nSvySpAL9qem03UzMaD/8
HsNJD171nepiM516ybCuczwJZPQfdq5a+46bTS5iXe1tB1vy925CcC8ZoUCD33+waSde1qoHxEWS
FO5XM4/fpsQLLlejHlS3kHE7MYCJaH10pTcjIH8j015rVeHZ65nWOg/TYNVnJACeHlrXXeBioFLI
dnadZnpyI+xWf+IiCCCl5ulHHFXNjgMGh5OhTy/NZLDx2/YDttdkH6m2wWVs1PU67XGK6ASCDo2F
T6+kleM1xIZ4M7IWV5Yiq1tdFCalCgoy6jCMtz4YQwhIfbR3ow5aY9u197bZYMQ94GcYp26+c5XU
3fRsjk0nCfyRAux5o34iBk/uKHkhxC6si2HdajXSvuYw/T0fZV3V6L93fR7A3vCsNflvcJVlXn4w
3dR8HOQQPkEf+euC4ullCx4KogFHAFZtzV7PRfgNcWqsPtxQh/s3tsqT1snu39+3NvqVANSRbRLW
vEgmNbEUelWrO7nxq4nhTmzs4tffnzufQ8zSsTyPa9Gzmo5+U0FiCfpzAIqFDAWIBiOAZ0rvfo7x
6kK3iQMj1p3Q9H616Iit3QzLOT1qsYQphlcRemceAFN+cHQcIFPBu0/ArpkDh3KzTeO2NnTHb+wN
VjV6N6AvCaARTl/e/WgwOj49hwt5H231fwLO8j6BBJIkWbrutKVTJm+9+JG6t4F/oYt7K8gwiTx3
0y4drp8DzrI+vkXPaiQCgmtEYoLakW7sTo9p6aZABx3tNXpToJ5nIYICSGCjuabT/e5tWLvQyQq8
H9szYZZGAggOZT40GKb1+npNRJ4KPNPAkKcVPxUXginCKoPRnFkgZel21Q00xeni6eLIoaNXgSsB
7jUdD1j1Vi27eJ80WQmTQf3owTJd264QL9CfwnVbI6rjFrmFukOY7sbIxG8yTnDn7Ab92+lJXhw9
Ak30/bA+OML16l2kIrLDJOvWKpNbzhp8Kb0zKehiEDS3IaJBdTgiNUKVi9MeprdTKWUFhVaNL1Rh
hFsRIbtxejza4jxbdCawWUGPZg4y8qjVR/44Wo5VZ8F9U1Q8SpQqQTE/CdejjV1T3TDAOsWzCjff
EsWIsF0B5MGwqreyQ6wGDdIaWbDzhko+6OgBrLIyVLboNTc7hIegOPtgl3KtFxexP+obk6LLBktM
6SLL+fNNZhvXnlEZez0e4r2SZ/5DMPr51ui587wRtpyc1Lieg97st4bW+TuvT7k6Qs2+rcM+uRSB
0SNOgsmmqFN5hzfGsO5iKcAJT1fOgMuXzkZ8af5vuuZyc0aviiF2FcsxMw8etE6p18D8D2zVPhQZ
Iv/5uaNqcTMgUy4MlKiPIbAV+qpIrgvLkUw8iPLsuQrqb51IzoFRz8WZveHolUUJTzfLyfWfAyb3
YfI4BueQFeeCzCo9uIBaQUrW7FT5sxpfV5jH53555oRa3NL/zJg6q/IgwO+lWslIvOK5QQVFwUbw
9FdzjIuauLSfQszuYGiIQ0xqy2Rl1EGD9FtsSCtVQ9YTygF+tcE9I8WMr9CwvUAY53T4xZPe5hAG
7SCA7k2z/AkZULlqOOBdaTmNcS3h/puE1QZlvG1DU+B0pKXHMAOdHomUzeGRzh4Feu+nUSx1liNH
7sZNiyudxNnG+M/w7UeKnBuYkt8BFt7WWKmaY3B5Ov7SfuEy41KbgKv/+474NNJaToHCxPG0lCi/
4Jm+0h7+TQRA0ai/ghiZ35pjkSomprmWUyu3w+TAFz54KAacDrK0I7kukfri3oQiObszZbeWW9Ol
foq5ot/uau/MNB17U7AfPweYfby6ZOelVQ+mUzewhtMV2pQIMr011Dc7+6JDgKRBlaTb1/1WNv5F
+fZL8NlHDbit7TyZ0VXqq9yHqFaIdZS9G421brxic3oqF3fEP1OpzT7usZYDVRlkglUJfrj00+t8
YwZnZ3T6O/OUdAKyk2TwUj2C1KGGpLWqH5pO2EdOgaW2hcAEMl4l9shySzdHvKZD/FyX7keoWj9P
D1JdumamugLOQ1OPYv6F+6bsVrqSmQ7du4L+WsJrs+iGSQemLWFNI/vngwp+rOpa3FY+L0u/jFBV
cz2qfLn0UbU8kIDvtJvAc3HLjm0ERkoZ9Rtkerd6k9c7U3TFNo14uxay/OybZn2JD/skmUWlsLLw
vYZrBhL99MiONXKmnUpXDGgnoCY0ir+eXalVAd0imqNG9WZofrt1QHMXZ2R0KNFHjBpVvphQ5JOH
lbHLEzVbw4rEGH6UuntFIhXKzKB5Ui28POPRlN4GGMi7CHUfVMF4/b56ZDkcFIZ85ffZ4DSV120C
zfQmP3IkjgKcvg+aheCOhZfDtgmyh1wqxA1iaTjPG0PxbP81xPrPkC3gVZzWk/Dm1yFjllGNZWjT
PRlp+uvN1hBnikSL5wtF3v+LMP3vn47JoNbSQVfISssoxpCw2dAGPpcoLn0PyMpjA4fVzxHCpNHC
No5d1XRcr3pUpOGKkHen98birWr8E2P+eM47RS3TRjedrJGuYhsTQ7LBH1XBf8nb1NGUcNv30lXa
ptvRP6cju3iwfAo+u9K1WrOTsGWAPQZqcUDKS3fdomV+epBLd/fnMapfl2osQA6iumqC0Fhj3mrW
t1kBRORMCrR4fkykEoUmJ8ijabCfNoRZ+eSMRUqG8JyNaF9M2ltkq+kmPHN9Lu68T4Gm4X4KFOa6
0eKJZjmjhmf9qrfOnBfn/v7s5vRLo2qDmr//2gxITvIVn16Opb8/WRjwkuOtdWRn41ojpKkosxAF
QqMqsevbWvoXPRgcXXSwK4C/jj3RFK33BU0F00kr1NkevNc6/RerwHtxUvWd+s3zio2U+55vtIJL
MVRXRobHrdSq53bu4lTREMHvCTT+kfxCVTS0T4FYoNKRXoxIzNnG5l8sBvYskzUL3Y+5GL8a+YGa
RDZZtZftRPWOgMiZ5V76+qYEjMIWj/cjqp9cAD8pMh/zVfkCeNK6cNN1GF3lenymy7c4Wf8E+nPU
ffouAIpJUVvT5Ru8AwkmYqm//sVc0dADOI7VyFG1vvgf0s5rN25t6dZPRIA53LKjsijLsuwbwpE5
Zz79+egD/KubTTQhb6y918USwOqZatasGjWGJWZmmkXWkyEOz4rnPg+14fyDCYMuT4pgChmlmUe0
Kn3wJK01n3wUr6vWFoc//5sB+dx5wHUOLsnjcZEnGyB2xYoTXPLoU55q6gIHeTkHRfojaK/EJbVB
DsIVfpn6QS4O10ew5GcRhkSxzKDf6AKx4uZSBy2si4kCpWQfdtiNOVrwA/UjtBSNkR8NGWL660YX
N7Fp4HWnEjkl6vNpaxCc8wefx2epvGUe4m/aXdbeZWvL/xdgPg+Bue5NYO507V8gtb26RoI3rqwn
KysdNwh/GJrwVsS/Rk19KwPjEa4C7q/oSZYAnU5Cqmb9lBcJINvAloSSli/lPcirZzket4Qu750Z
7gpN2NQKGaRCLe5zQf4i5OEnshv/EK0wQZDSwDUumvNXna7XTQjezXoShr2oPg9rDTeL6UmaAMAR
kYMESjRbAzGX8lr2mZs02ZQS6SZbVW8oWUTqJ1XZFl/FbJ9TlQo2FEjGD2u8EFCeGp+cz4lz4aE3
lLlSW09hNhY/rKKO90VoyiuPyqW9fWplFkMkEGJVksIQNQiFm9GA1ueZVCEC32/S8PX6lpamN+J8
r5mawu0Cdlu9KAh28K4URYkraKIKyuig8SkD1neVF0B5KI/Po5W8DjrZ0DyWOrsT60+VEgeHsPHT
TWQBMYQrM0VrHjeS+eFz5MbqDgr2H3nrSSt3yJJbOf2p0/E8mX1KI5UZtI1JlzMNOmr6W7HqA7Rf
X65PydINghwcjgvuEDLtsx3WZmjECTmpDxW+vjQs7KboVopViwG3SZ2N/URxlwzj+VBqqNXl1sUG
VbUvvjI0oPKTu8iA/BBC7GcIyr9LaXWMw/olCNesL87jifGZ929SMzMjCw5JcdDuFFjEam2AHU1d
G+Q0iPnWIrvDnkIDQL0QE48KVUij0gDPIT5bKXBaFwZMR4k+V5BITrVWVwbLrXuHWlpL5C95ap7v
8tRuzeUwn18h9tS6AmjyJMNU2bvas2GVezWztjC5/L6+XRbX8tTWbDqBsAtS3Vj6E9zGW3LgX3x5
IpcGyJSOr3nqfTbF8lFoyk1I08c/BG54JFqH/o503kdCWdmt5VDQoZG7qz4r9T8EU6efnw1NdONy
DH0+rxaRvdf41/W5uzxqKDngdyx9woxc1EAKvt65fce7M/+V1h0Xt//h+wgLvP0NWjQnDPLka098
Bnx3JOdoCXiK7FC7kdWViODyKJ1/fpb+0wc58yKLzyu+8DWV60dFAR5C4WzlSlicKNIMLDVEjiRk
z4cRKqMsF96gP400iCECa0e/rq/E5Z3DQCw058GGwFc5h7QKVRdpqdoASEogUPTtYvzWc4+2+Z1i
rmUSFwdzYms2aRGM2nknVPqTKQ0welZbCIL/t9FMl97JqvtVWfe+zmjU+r5GitkMkUF4aADll1C5
X7e1NBpS9HToEJPQyzVbmjE2at/oQ/2pDaX7wrUOY/d63QKvvAtPCtMM0seT4sYkWzG7kjxhMPta
HbznoTWyx04ILTo79AJOZEt8S7KuvIsl6RWVAZ9cg1ZthNhPHkEMhCiBG+I2qRPtZtQCcSfolbil
eljYuquFGz0Zv0Bk72/DvvBuKtFDkUP0JVKcBFBqkn/uIUe/8eHI2PSS1B3pitc3ZW4BLFGl2rZ6
67dY13eeVlk3pKnSjTCljIQGbmc+X5EX7Iy3kvvzNu3GpyFPfmdZqEPnbI17j5Y0viBLyEvkNeAh
Q6CTaNT3puz/8Pvgs2C4P11L8bd1naO/FaXtfoCBeBfksXfXeemr2IY/QH2IdgpnmG3oZHUAtX0e
zeK3VkPEVUZFurHcqjqaZqbdyuZobkgDmZtqrL/3insHQiayE9/82vNKQY2wt6tOCTdNob7VnvIy
lCC+6MQ391Y2eAdQRgI8JwaJ6K40j7AUthujb6LbIsydqOrfaTf/nKThu6CMObioSjpCgxbfRpbV
bIuCKkoiR9auzqB/UTL3tSnqAjgM4CGYGlC64Hjfex6KLWMbVHek4yDocAs6PeqWdKqm1AnkZKGH
kgHqrGVAHRwO6Z9uPap7zQ9/9ANUz2wBaIat1LPTTv8TxNJzWHvjplG7zLZGhBfC0vhjSOk9skfl
sR5S2TaUwWmq+g6ngAZFB0O2Vwk/ur77IQaw5pM/hd67Qx9gDGiJUdwUYtLWf1fF9F3g0rfVgd0h
V/Rm6S10Zk0DuYgc+P4ubYeW2nTzOBhy/gKR721iQJWctam61UZosGFYd0AuPktFXtz6lS7fjVGA
Gm4MHBgBPRBjefutS/rvWhF8yosQ4Y8ufkBGpt+QnjYnuNF7TqFso9FmbQ/Z6Dmk71s49V1r7yld
fAfzSwL6LP+HI08GfQqYYVSBU+/cvYQuSKNB4zga9PG47LyP1xk57/j5iX4Eas/5KwoIiSv6CGOg
J1SDdkBAxET1zgAfox1WfMtluQVTIIgnJUYqHvMIwqiSiqZd1FYU2HXpjjtYoLl6373z43JX1em+
Sjqn1NXvkCmt3DlLnvPU9Cy6aLymCXpUZJ71wfw6avIbrZwrPc9L1xoUVlM7CKRdhBnnK2WgpaOq
neQ9uy34wcHdk5Ck+RV4eyVbdiq1Hw6YQPROrELQwpEBme8Meg0F4KKa99wY9SER0r3V6yv9oEt3
wSQsRLM4WGz+OR+SN/boKCu696z6cmZnqX8veqETSv5KaLO0OsDoKP9OjK+U3M/ttKEPmWJG92yl
jz9MBMvsWnJXQB1LNiZSIoDrPLYu6KTi3EuV3K2EpyiSqeyhYi68Xd/fl89bUPH/WZinA6UmUYkB
6UivoIwZxvpzTtupnSXRMfXFTzwAX/TS2Eqh9X7d7tIqWcDBiKRIql5UMcmwmVpg5O5Tb8T7MP6e
UykMkdC4buXymcPoSKBbtJKTIJ7HBXhCpRETxH6KdADD+blLv0O1b8f6l+t2FtcJ6gBeqjLbbk5j
ng9xXulVRH9YDBbqIVprY1j4vgQbBs9htjXcC9NsnsRruMCg5S5xn5rkBYWS5OX6z18AU4CshogZ
lgWQ4xdUyQGdR2bqBsIT/kB+asnYb/yh+l3lkryHvsV7aBR02kAtmzZTqhxCSWsegWkG2+s/ZHGc
Mgg2srqwMs3D+G6kKTqVIUNtq63xoPUrj52//ArnL27GqZKUNkBs0Mkwu5gyiBEUfj9NJzU4LjnQ
x00J57vtxi7inLEUvw9dmm7ltDAP5DjzTdm6XPqBiOIFuu+/ajHy933k5RuVgHPjTQJHPdJ1m0wS
mk3h63DcGDUSCw0t3UkmeLs4b/4ElnY3xsiZADIzqYIAiFElP9hFitlvDG3oVnb94iyS+iU5A/sx
TCrnu6Up6GclC+tCKYvcZ2w4gS6sONllEyaC9XBNTFXzcxOE+TIdvWwYBeB6FoebYsW7/iVQvFyq
/7Mwx7N1HqLUseDjmBRj4zf5rpdkRKIU4zkZ0REp4hdkAw6q0Ty3mnk3ACaJ8uCtrwaoZbtdEeg7
OgORa2lWtuiC46IJgXvFnKDIF7l7SSvgr5VMtmj+QLoikzy7GFZuyYVbWcJvIUs5iUdAn3o+u3EJ
zDgXJeFpaF5c8XMa06svFvZoaftkWDn7S+OhSQ+cDHxhZAKm33LiWvRI7bQ0iL3nIGcli58C1Phq
nu8+frAlmo451CRMLziSwiYtKhimoYwZHsPwWPy6/nlpwdFzqMGk0iUCadE8SiPvmVUtbLlPOr3d
e3QDvF0IleofqU+EW69RhYNKSWdrJs0PsQrLzdgo7k5oItlB/tX8ncSIYka5W+77OsteknJsVpZ0
cZqpHBIrQIl7wRkWwqXXIT0wbedXT/c2Cq3oQ9scrs/D4jT8Z2XOG6YNQsQp0IQnER4M1F6+Nd1d
GH48eSCRkYI9eKLcuqBeE6U4U8c0FWghdWNC4ra0eX8n2zro0H8Z0DWoVW8NOrk0f1MubOLvpKg1
vxnG2Ot4xGTCk6CHdg6VdGf9kbph5XBPmZW506GXlJuWsjuhyewwqEmUJ0HO0PTYhRSjsA04NAK1
PBp0lHbS7Zjvry/YmsHp7yenL1YzmRIvw4qK+6h5gPky13LbsN5q2UnUZuX+W7QmsXAS1bPLxjAF
Sr6wygkn5fRQ+A/wlkSWfQD1ZIvZx2eS5DJ9ilP6cspfzgY2Uux2RSKvLO0Ocl0chCC9b110RVxu
0Ly85e79eLB8anK++csuSDLfpEl/GG16zpvk/fpaqZeb4+z7s4A/5iloDDrfH1Ge9MFjrlzbS1ce
fZ3Q8E0UdoAApjNwshlELVLbNGthIZLoZzG2YEqGbJeT0WEGfwmdDt7c+tREw11lKVsNfQECure+
6+6LTPoqdNbv6wNe2C5Tn+mkJi5S/zKmCTn5PajZybAcEi2N7r4VajsuboW2sSPfP/ZesqFrcmUG
Fmf4xOBsApQ2M8WK1qenQsm/a5F127vG2/Ux/Q3xZkdchtGCWxUOTuXiSdUMEiTY8QBZhPCY6NYx
k4zbKHzP7GKjDN1BcdtjNsY3oZz9gjZnHyb9GgnYgpPmF/DsQZ2CWHTuZIZWFxCOZZR6jBaY8Mgs
wwb7qW6d60NdiCLYTRNJJqS2SKzMgt0yh4mDjhMeDWK6VWNtZ0r3Xv8rH9RtO66djcVB4Zh5pfIi
xk+f7xWpNcWBLhhiTn3Se+VG6A9lCvhKohLvGP17b9IzKUo7KCHtFlGxfAg2lZRB64su/V/GA15o
48OUjrW8jvSo+iTmr2kSAWs9SOJ3BCvrkqB6RL1Zk+3ePQqdvAnVO6O4C8SB+wBGmfopi+lbR3yu
+hbDNOJ1j0HwvTSHTZn6QPUcv+9WHJ20dErYTzhVSkwMf7ZpPb1vDaBgbFpa+lKRHCOlaGn8qQ+p
3UjH1iuPQElY4dui+ZpF/jYxfiVyCYsIlDZyvBHkd0mNV3zhAk6XPcZPkmGNIeyaZydcNR50KYGC
Q/cekLa1swyWJ2L1SCqh/1HgxxfsMHyCFDPLvykyHbzUWNXiq4CSpqaNOzX84VUFueyfdMHwB80O
W9GW5Ac9fHfDeytTty4Nqdd3rDLN1fxwKhqRKLt1al2e3Rq1WxhNGGrWU8SvScN856uUWrw/ZMe3
snQrdG+pWkOm9KXOH7LE4AW1a2sU9PyDIu4FNd3qqb+tkm8a/QauexdGN7rm2nHfbCQ121SZU1lv
nXoc+29tHd+owi4t3U0SvSYIH8vSj+ujWcC+07Ssg4gg1yXDgTobjQltdu1XrvqkIY/a+o9CdZtE
d6gRAqDehDkEP7/V4Cb19tEqzceCJ1Vx3eguTBCjC8HPqhy6EqS1+qS7z03+kK+4loV1okmaWJuM
I9mV+Z5XEbbjSVZoTw0qWUmU7Wof8Dd6lNdncNnMNIAp/arM0zdkxajp8Rp6SvMHUw4RrLv/B75E
nPBfdoj/b2N2yfVeM7ZV1WhPoupQp7HDNXrzpaWA9Q+YElYA5cz8Q6Xqad/XNFjKoB9tA5nI65O0
+H3oZ1kKhHkuclxKCgFKRTb+KUEa/Zj8/N++PpuesiTUaGq+nhevqfxoVmtIhIVbikw+WTOyMuAF
54BgqxmU1ksL/anLjD9IRNKb1OevkCRuB8M79hptf9dHtGSQrAXSJ7qlARmfXYtGJ3dSG7J3y4SK
nUkVd6fk8OXR/es+B5HR0aYOa9l1oxeLhAeA73rKPXHvX0BUgwAeMjNrEOSTnsv0TYlXfM3FSZl9
Xz6/fmU9E9o2L2LHT4f2ppGVaFeIlXfUvGjtyXIxf5giDzllC2DCuUCqJqZrpF6DKcPzj2JIvRjW
Pp96Xv29EZBTTvvt9bm7CC0mg1O/NwkXUvrzsLjsRqTzAljxUv1B8r+XnKCgOIbyp+tmlqZQIRGC
3AZdtPRDnU+hmOtlkbRW5GgkCbdF6r/maBGI49iseLWl8UBnQfcsUdkloqwYlc5zLR2WPwrNti+q
R9Iym9Cqf+ayulLfWdp3gIpJiXAHgZmav1kQppOscYwcGWXkNv9Z1F+uz9p0h53d2CzOqYHZxgu9
wFdDV4wcnoG/VNX7QmfcTanHR8hOtpTJf8pe9gjhmbbi9Zbtwg0L8RP3wDxScHM4hYpBjRxRz23Z
fdO7fFsr3yhkqO0dHBt2vJb2WFw25f8szntAGjNN3FJQIqeXfic8AcW22HjGH9gwr8/o0j6clFBY
mIllfh5Jt0LkAW4tcRVyBMuF4WiD5YzdWn/1khkQRRIo0UkOd65U0pmDKylhPlXmDf9F9Ubti4mk
fAAL7sr5XXIYOs0K4MwmnY/5LT5oqRejp5A5Q1kCY4iOXhZAXYLSV3lrSCuguqVh0f9Och81ICoJ
M+8eq7mCOGmVU7LHJ3VvAwLErrY2eRcxP7seVBY0Gjh06yJPlGhZEymKkDlF7El7IRK9jTBqCHdJ
v6Dz+RRK7mMudmtE80uHeZIp04m74FKQprGfvMd9IaxEI8RqLd9Lwr21ktdb+/x0AE4+n0f0ZwaF
lzuw5oY0aq1sg6WVOf31M/+qh1klyPA0Oua3rODl1qJ1/Q/e7tTEtGwnIwi1Mm70aQRjsIOFX/kf
J2gWz9PXXyZlwucb8Sg8SvLh+sFfcmmWMYmJTmo7F1A8sZP8Fm6L3KmF8ZAlt31Hl+F7mL2k/VGT
D8WwZnDBo3Hh8UZBkJAY3po2xMl0NWWvpE1Ypk4qFtUd+ufmXTymI0QKjQcwJZRXdsCiPdRWYPXG
2oXL6csxc4umx561Dz9Rx/ydrnVl6Qsnk+uO2ESflGkuyhnaIFHsav3USXiOwFbUh8Km40yBc9pA
XfRc+sLOj7WXOhF2hRIdVAAQ7bbli8aDWGv579bw5ddC8P3fua/WL34a06CG3L2CBDOManpuNSQS
EvEeTJBr6wXlwhydQlv3I+/GTdXODlVl/FkVukdfJ5QCtua2uWyLXgHgCz1EFjXb9Km20cdxl2Y9
VPZypKf7Vm+Ggyq6iDQGhnJHXOpuEaYOn9w2Hvv9EHb8BwpGvXcQMmM8doIBv0M1qHq5kZTWfTNr
rj5aQXR1k7qm9ymGxMIRJd+Kt2pmwpWTN/rRBQhCIalW7lj77mdvJcM3UrjWY2s06ufMSKpD5FrG
RhhU0+kTS/pkKvhpJJTXmrMX/AHdTvBs8SYi8J+/jqskSkmuFakzQDcY18cyPnr+WrC/tOVIsVm0
6pNQJed9vsUzI20QUEtTp64PUfkbVilRP4rjGu3C0q47NTPzDGYkxfyGLHXy4LuuwFBlHUzX2vTW
LkFMqPHXHk2L9mSoXijVT+yXs6jLT0YzlcmoO60A7IQOR7Wisy6BvgdFTv+nEN5cd00LV4NClEf0
wyuWEt5sfIM6CArwwdwZNCiTqc2Tl/4HC5aO2+NVoV3ArATX7HTFLzJHc/ee8LszVhJiiyM4+f5s
xsJcjeq0zzJHhTxd7n9Ha+KuSwZUkj0o2dHcQ2nsfKc1NRnjRhRCh1geEqV4DQq+dFwmtwnIhMsB
vujz7weIx5IqHUMH0WS3vREm93W8vgZrJmaPBaVJ1Upzu9AB0rY3G7ram+IpStOVzbRkRgPDQq2W
XDEwsNlIEDYSDQIoB8Y5C5EKgGDqynN7zcTs2EPWJfcWuuhO3I75ofBUdUdpCIhApYgrl9qaqdnR
kAS/l4V8iBxLKxyEZB7VjsLaSuSx5Mag0qUdeAprISg4n7KiNQGntryyqnQXKsdRt0Vknn9cX/6l
HXxqZLYueU/rq2fJkTPo1q9RqAbblbqVGGfJBnrOKHbJ9FQRyJ4PRO5HKdWkMHZkDUXYTbJG57n8
farsU+EKCMVs4UOj7WMk9mIeTc3976SSVsr4CwuhgpWgzjHRUQJnP//9Ws0rMNLUxPHUzA7Gb1L0
EHS3rbpGb7Owq7gUORzAoHgFzrNiUBg2JQQUqYNeK4Xoe0hUts0ax/DCZPEAJB3FQ4nEmzLzib6k
uJ2Yl7Dq+zfuJ2NN7njp8xqrMIEySE/OdbGyQRsrCQFvEkWfUTewFTJtH96xwJzA2yG+vpDlRrhY
DASf2z1AzqB509ewMYsj+O/7cwwSWIAhcVu+r8KTvaNN93/6+dpsM3lW5GriwOeNO4Xcbbi9/vnp
vM5SM/SqwwYHSwtlgDmypxpir/SjPHZGvdlUeXOjKJAlOaUW3IjCGrRuaapOjc0OntnFGg3yWewM
0p2Z2spadm7p4E1IclLF8DDC93p+8FQowHQTTNh0aWRRZTdhZifSNttfn7OFcwe5He2zJGBEFEFn
S6LSQJBaQ5I4Eu3Aop8dgs64q8T+z7+YAWwJ5wpkjvOlycesCjU3SBxTEe4iObELBaF0hd7c63am
y2e2BUitT5ladsEl3NqzRvoORK90BgESVAuClw5J9+ChdB91WHvdlkLrmv7zwk6Y1ohcD/W7ST7u
fKVCNWXTSTRm+89Cku7AV3781GsUXIENs0o8HGZbITHC0jSyrHAU9P54XqWfrk/awrmB15H+dchS
OTVzBa0gs5QoquXc0eRt8vLSv5X9NlwJUJYWBqywyJ1O5YME5vkkFSry6GHs5k6c7LMqf27znQqX
r952e9loTfv7GP3LrIH5MdneE+367OY1Ukktwp5R9QlN0/zfuT5rS8s+0WJyOUImdNGBN1QsFYpW
bDUkTYdtP6xN2aKBSUUKAJ0JSGQ2ZaKAq6eZpXTACBSQ73646+5veQ4dLKpo0Hr+xUifZENiKbOM
LimZIEM+NrW/V6Sb61O04MMoAP5nYXbf1kYhlabXkp7y4kk9aYv25k5of2RrZCJLU8VLzZpkqEn8
z7ss/GAcyqFXC8dDsOporVWAFj9PHof34NRmIU4H6GSmDKH1xEHXC6fK3oZiIxtrb501A7OlDrso
hyAOA2oC9OPgfhS8TAsnzCQGjyhgOBcVU7Up0CtCJtepgvKPUjWvmZx+/LlJwQ8txqk4PpEun0+R
GecjaNQud5SGviQbyccPb6Wz78+2kpKbcFGnfH8wxRsl978MXXCotG47eM3xuqmFxTgzNXMcCpBq
GM0nU6Utdrb0+frnF27cs89P5k82U9aMclYijOcY5VEw0W96yLuPuz4qiKqCqiMI54vu0KxECyHx
rMyRugDob+zuarD5/7Iik4QT5B4mD5DZtTf2QpWpbpY7bqhPvZsgnYMjhOx7KgQfT3NTfpjYF8AK
UiCanT+phws/kM3cCaP78dhEK2+cxRU5+fzs9Oli4cuNrvP5KroxxF0l7VBcW/GFi7vqxMhsuuCm
aXtqo7mTJohx7Lt/2bT/fd6cZUt4FnRFHBq5o8PCkdmCvrKlluaI3LlCP7hBJntepJPdOo/8jC3F
O016kQSpeq0jT7xRlW5cuVin6Z7FcMQgPP3Zw6Ct5+WzDGb4HrmDzOniVHoYa4Nu0qi1bFquAWSF
ur6H2tj6FisBOMLrZ3Npkcj60RD0NyaeV49LwGBIFga5I1TvQl9vNXdNSnbNwsyP9aVv0k1Bf7BV
7wqIEIWVOGtxnU5GMHNeaZlCCC0xAlNyzLTfaO1L0f26PkuLNqCGh7OZci1x47kHC5KkTRLPzBxk
DYaveWVHP/7FgDFlsC3i0vl1HkyaFL40ZAAg6ge4Zh5Kq3jPLXHlzCzEvfRd/WdmWqsTTxy11IpQ
sMicBuoe6/NI0UQdlG2s/Ar8r9dHtLjsUxg35VD4Z7bsKTnmTJRG9nRQb+gQtOXq03ULi4M5sTBb
eDfTqGlVIj4/NY/WOPGoPFX0bQGJtIM1ZPjiDqAPlKIWOFBS2OczN5KyDZCdz5y2IZaTTU+x6T29
KVb745ZH9Z+hWVgR0GuWa0WTObkkDps40OpNV8BrDncoRMuCm7wkY5d8vKROGmpCS+HnqDzP9rfW
RkULypXFomZfHBqXhpqVcGl5Av8zMbtyAvDruVBjwoJVSb/1XsN8DVu+aGLS7oKymZhvDlnUepoa
65Lyc6i9pO1vq3gM1pqcFuJ7nvT/mZj+fnKA8mRMBCjkcyfLxk2kOUEt2rr+S8nHFb+8ZGgCDoGm
oFJ8wUnVZH4cGaqbOgKSJpAPtPCI6Y6S9BL43rWU7dLETb32U7aeNNv8ElBSQUTD10iBEEk7hFh2
IWivKlojRlszM3MJ/VhS/6ZU5wjyrzDrbKX4qcnfrjuFxXk7GcrMKYDaGYpSNVOnt+Sj1f8O2gLR
Vm9bofj8v1ma+VKkResQkoLUaaJPavmmDdSY5WwHK8iKoSVPqvKex0nSlHiBgxLlBL0U0cscOdXu
BMW7V3x/5XAumaDRi7o9/yxkDjx9AObFBnCFT/nwqxjWjuaagdlklVInuEqrUbPvtzliq2tztLS1
Tgcw/f3kXKJ9RU5K4vtUTG1R3hdNutGDtVBm0QokSiTSeXvDb3tupQWOVOh6T+qwlw+C+lRC/+2Z
yj+sN3E/sHI8MYmc2VgqNwgkHtwJi/ESaDfuv7iWiWkKwinrr6c8H4WSdJUVVHriiOOhjtFt9jO7
jA+/rh+PpbnSgbhN0TNF5fkLJqMsUCQx1diRbhBTdNGeTh+86PW6lcuuUHKe7FtdhgFz6vmeLQnN
wnEJFjFz+lAb75DIGhHYLZWt2EvCQbDk7B69d38HQ5gLVswqdrRCdTYZy8aWCn3YmEMOUU2k17YW
hshfQ3O7vf4TFydiKl2IUzn0kkQilwoobCxAENV9JKNcor8X/e//zcbMs+pNLgqSKKSOKDtC8VRq
vIfWUkLTc23+SEHo9f/GMZvp0RpQFrNwQ5WVI4fVvRjK+DmTlYn7Z2vF1R281fcq79X/bWgzz5FI
cht3JtNXvifGY5ls2+JfLCBuwhuIGgpQ1/PzgPIDPMwFD70mQpq7++O3P0BYrxzqxV1wYmQ2jE6o
07zrQEhGebRVBQhnm9tyEDf/MFkEceSdoeMj7D4fiiFILa9unTXK7vxuPIyysZF4s1y3svRcJcYi
QT8BYki3nFuhezcTgCkSoip/UJ0bg1c3OyRWade6aierrOXT1Mw33qm5WcwVgm6T9Iawru/fuvZR
+XV9NEsrg0eH9wdpT+pOs7MTN3EviK5C1KgrcGoF+85yn6NRXclILppBbXBqS0Bhdg5xN9wiyPV2
TJ3Mr50iF+4KS7g38n7l2bX0fKCmRcmUgO4SeZFL8LEIY5Q5+LEEmmx/L9I5lW+6D4uKUXXUIQIm
i84uYAnON0GZeakrKEbkRPXPGG5daR8ZKyuzsM+mTBsOHnom/jd7lVhZKGjQ/kaOnv/p3GOtW4hP
eps2CvZ0va1SMiyEjmfmZi+Uri9NCUar2Cnaz6OW0Yeob3TaDmPr5cM7DsZTrmAwmei8zh2OUDSN
Nya0IbTB5z7cl0EBDeiHW1BZn0kAfupAmPrdZ4dUSRJ/NEofGIb3riX5AWnVsKq3UraWel3Y2CTA
gSwrJiQ86l+Rr5PQqymLtM0aNoIqfDF0+iLN97pYieoXbdCIAn8NdZuLPldP1qHF81kayNpGYav4
T+Iap/nS6k9ve8jGJmHQeQZmlBA7LWs1doQu3SiJo8jdXoxyOl/WtE7/pj5mDo0WFNJIFG5B5ysz
Ly2EdTuWDfB/t8n7R0OsQwoIOQj2GozjHxGNBtvr9ftglMVtbYT5DWoh2ZtfmRbcCxMiVda/m6g3
fys0qdiHYomSmS670AZ6gfeAjop6EyZCfDfoorcNq0be1qMcHpsKHIhAWtkOYArduiUFyC5I/d8k
M4T7ihzOxlIr5TZxlcKzSbKXt5aYWo9aVCatnSSCKG2AJCYPHXGY7Sn5sEGPw4IKAraNENVbW65N
/3NhyfWbl2jhTy/LrGMYjebN1AG2M5u4PchZ8t1nCXYEY8E+gEFwX5hyekTHlmq84VZ2TuPMPlI6
+Rb+umGXjZK+z4JauKPfRjhcP4mLiw4rGm6MbPsFx00sJ2llRRMeangNW8T07DQKV27LRRucdLQw
ACuBWT53lFWoRnGASo4DQwL138desPNwZRwLVyTwbnCDwK54OvxtFT45g3SzG9DlYCPJq92jmJa7
6/N0+X2IN5lfgAZ0TV1wu1AIFAAOcsYLudJtPdS/hq3x5eM2yERPkFeuYrodz+dJy/o2aNE5ctyD
2wB+vLn++UuOYpgAyOZP1CmUly8OeJZJYxFLYBITdHfsyoetO566OrIyvxu7+tbL+jvfBQmOnpW1
ydxk5Qdc+rDJPnSLpNiATcxJ68QoLcUERn6Hio/TB+FRbKXKToq1tOjlrXluZxbPcK7MCIE41qqd
uIvqrT7eRGO9z8sXszQflPb1+sQujovUESU+WSVfNbulu6Y0VN4fzGvr7kuSRpUfwL66Rv2xaIYU
FRuRvroL2I4UlVZtkqh0IhHuS+9elu75bytndWmf87Sn4WziJacH8nwPtr6QBnWnhM64t3Ti85U0
y9IY6ESG8ByqOh4c099PjqmiNVUkKj3o26r8JoUA5gIjfEUE+vv1Jbl0OZAkU7gCVghrAYf23A6i
nVZkFW7ouNrY3Y0t8p2e4vUbMQ2CvW8VH+4V52hxc07iw/QAAvA+txe1g2tZXcjWlg+RCd5hp4/7
60NanDpw8CRdeNdcIN30pqC7yMgiqjwRqgZlBRmRJwpHrUn7lU2wdIBoDoWrCvSqxJv9fDRe4cIz
26Ugi+URzZw3rfhhjnup1G2PNIG15pgWzRnUeAHm4prmEMGqLvVaq33uh9RyX3W5GTdKGFhwgSWV
upXA09oIXiQvilGsYY4XJ/XE9MxVWImbSm7CutV+f0xc6Dp0pZE2kE2ssTQuHSweJOiUMMBLzXUv
HqKoCr3I0bKvaQ8rMt2VH94g7DxaD+l+YSLne7DrTWUofStwAnkvje3WSmVIznbXjSwM48zI9PeT
A+xNHQxhiJHkuwoneEjm47qBhRXBLVCi46nBaOZRuzhkInSCReiYanjwyugZ3skH2VujKlsaB73C
Eozz5MqBEZ2PAzxsUwWo5zrJm1x9FoJP10ex+PlJ14HUHDnReUuOKaOnTQNgQAYz2uhHKJ9XFlv6
yz54HkNzYqalpjlGR7Rj5nLKEf422IsCpxdyg96iJ7faQwILUZ/Sbdye/sNPRv089ne9OYkgfTb0
h2L4LHjvyXAolddR+hwo2a5Vbkb9JUh2lfcoN91GartNYAz7XkR//NbNKPS2+8g/GNZBKQ6umuzg
vLKV5lM8/PKi6jbP3sme7j3/m6AcXVQk1L2Popq8KepDHn0V4z+jeIsYGoLiWz37NnTxzvetraD+
nuQ+R+tnFaMcWNUkSKURJvBnX4Q6u7IFIbI9dHCD7A40pw8fWty+0L1p9+Mfw+g2oftN635KqbJH
+2avFEJi60p7tCpzg1A1HzaR0AVvnOg7NtRBkr6olbpprOdMv9H9m7T9EhfqNquUmwZeni4wEYXY
NdU7FO5G85CEw3Eck21Rt/ao9LetYRthfasMR2l49Vzob1rBLstdB/u3nr2MnfbUDe9udJ9AKizT
eaWqT3LV7wLlexoHO1Szd6OQbU3JtcVsPBSlsBcbT6Rf7kfQ6napQi8XqO7ONAO4R78aKK3iD3cR
Gp5KCoQ1fLVcW8te4rC0/x9pX7YjN840+0QCtIu6lWrr1apud3u5EWyPTS2k9v3pT9A4/0wViyih
+gNm5qYxyuKWTGZGRtik2bTLriNG0FvLdqje0G0U6Fq1yYqKrGQGlfsY6h1oYbGRTJGTy5Cw7FEy
t9PjWM/7vLYemhr9eNfPigiPLjYyXrVoN7b1y0IfSFyMetbgUpj17rrJhun2fkwfkyzeDDE/XDem
ci9Ip6AlD/QOQDNIp8aadI7rlWfHDiKAYAF+9uv04Ofl7w+YQUgg6A+Q6JDDKCuewPqOLm3gWbSX
zgXBUEF+pL397QNmUE9z8OxB9CG/rEibAvqRkvQIoCg4pYQsQBv+bybEDjlx+LV4V+kVVmcYjXLj
+MuzmZdfnTq5HfoKf3YyFrFyJ4aaqaFoH/VwfeUH03p2bkdLnX9fhIwn3wdPlGlNJr6fpfq+dvgz
Asen63OlOi1YdHTIAV0PwLN0qbQOOlRrHuNSKba82WTH659XHRToTiNLjysLz3Xp89SCmA2YcLVI
6w6mC+GCV9N41ycQ3N8eauLqQrIJ7JfmZRI9m0H7UDR5cpzcbDcn012d6Bu7n7bXx6OaLuT/AFTA
cC4TdFCS6XyRGTgmn0sAVn7+b1+X1pv5c+riBkmAugrL4hEAv+vfVz2nMUv//Xzp2ddUaD5xWhio
8/HALG2rZUjWsOkT0xdIZaTzW66nkTsOr1VFVgZ3SbtlCYw7KO/QKKkgTbdaZrZ5V9NjUmZHZ4iq
7meh9e9GxV46K91llrMvOmNrGdluof6T0a71uSsW7/QH/J2dk+M0GotVpwV+gB/3R72M3/TBXrl8
xImXLgY0D6BqKCCgglfj/MRS167HsTHpUfcfJ+2JA3bvrxwptQkPhCfI3cJZS94tIW7tMfDoH1Nn
10J0w7rX4g/sE7QF4HWI3AuIpOUGKzeFjh9A5hQ18756rHunuptmYzj0S5O/QEzb2I2EAqPR+fNu
GP3x0R2d24tv2C4WQBICXynqFedTOVal2eiTkxw7I2L8q6398Mn77ecBKhIoUoCvBpBzGSJYcn3A
E6dIUdvpHlmNDn5QOutx/JbH8V1flM990bxZudkHSRcnK0GEcjuKMEW04+A+lA4j0q5ZbuUkOZIh
DacvS7qmIaXcKScGxCP2ZL9rDcit5thLjtWCtMtjWqHGvFIgU44BXR8gxAEA8uLp0+tjbOhthUfD
Um9H0Onx+vP1NVIOAnqSIKkGQAwwyPNBuP2S1Xk8pEcndabNNKWgeWjB5DhDz+Z/syQdrN5sDZ+D
MfJo1RAFMgMbKCRD+3XdiCJxAKkOweqNVp9LJn2/ImhnaXh61K26nYJ0xjtucF33CQkFkElUxvzJ
16m5sbxpTfBJ+J4L3yT4afCUR0JGBnfg6arNiTunR4jqfBnr+Bud7WfUte6n9matD+HqT0xJOy+e
gE8uWjz0tHSpNz6EpQ91u4wh0bO1Ta7cgajNCr4k8CfLHhc1P0vLCoT7Xr8vXvPu9uAbWw8cfgAo
Cs5+yQvFKUQF/H5Jj7O1Z+X03NQsqLt8JceoWppTK+b5JkeDRJbOtrBSz4E2/l5ItdPal9FYK2ir
ZgvEXIKsSOgDyI49hrR8Bgml5BizfWMe5hVIqvLzSIchYYQGiEtKKcpyvlT4fOs/j29x/YGrDyVy
YHJQaUBlRtpWKABWRjZXybF3DLqpetq9FYOzPLoNqDaun1NVqASnjFos8v/A18mpKRxC25s0E9eP
2y5N4MXdVAVWZgRJmuwnN92AlmnYJEyfn5JUMx/R0clX+klUrg8ZRkQReGUIHNL5rgAPy+AYYIw5
uhN5MBhKH0MMi/vrI1XuPQ+TKe4g5DKlEB1CU62OFHpydPj8SLJyPy/+71gf7yCN+vW6KeX2gDow
cHLosAQbx/mAhECpA03f5GhAe3A7I90dzTrRVnaJ2AWynxPZesGeJJjUpHt11vqhnlOsHJT0pk8t
qzamU0eZDWGQtLKd+4YijWI19byyXGKiZLvoggTbMGrqoux2Prqlgo4zZRMm0hh/dmwOHKHD5rW+
H5oEN/ySP+pmgpLVR4JOQOmghAvCOIWGQVKSaqkYx5O6CnIrCei3+gNvarRq/WtDpjmBBIMXmwQ2
KvZopr8csPt1Rru5fX8Ay4PWW5AfOBfsuCa4TYy8MNlRzw+eHXr89fr3VVsd3ZfAHoHzFU0bUj9A
hnp3M7sZP7Jk2Lf1VxR4A6N7h/zldTuqgyv4cjyU1+BD5JZYCqWceYhn4BEQqLTmP3P+WNtr4Ypq
MIj/4aIMPHkvVGodixZgKhj4sZl3ixmm5K5DEo+vBKnqofxnRRzpkxgym8qmsKyRH8dmDjLqbLC3
q3RNAEE5FqQggJdGK5Unv2mQrisKTnV2zKwN4roOMozlj7lbKxIpzRCgrMQN4l5kI+LGZo1bg4Wk
N/o+8KpkU5fzprS6773zkSsddtDpi4S3e4GDytLJ8icPzLK2X74bXrkZbbCRWH65R4no7fp+U15W
p8aki7FbjKHxjQkHJ3H3rGKvOXPu0tTduFTfLQt5zZp5o/H2k10aK2dK5dNFzhCnCkVeIpct9bkt
0Ci/sOMwNe9ovI3myV+JKi5lsBBOojgE+j2g1oBglC5CLTF4W2cFPyYGJHeBi6J6Bhfn7OAOKzC1
GndT0ezzyb/nZXbnx/r2+vyqDgEew4If2EdxUb4iSbaY3E8BxCliUNB2C1Q/URACi327cheLq0m+
QpC0Jn9hjQg7JAeV8zxN+x4Oapzy7HPhpHRXg//21QM4MOjiZd7EPcjir49OuYLACANMKe5/+b7M
Ia/ZuR1m12j3/nPHVlZv7fPS3uSxFzv9hJtjMNxgpCTov1z//cpJQ7e7aIYEikKG3vuFM5PGpvxo
Zs4Pr7oHJAoEF/etUz8kxhp5i3I0BE0+YkteAkIMn3YTmHvRqtJ+9aouZN4ag+5futCLTQA+CEH/
CKILuc7X9qnPat6CG8+GrLpfLp+cmOxJmu1sOuwqu981qCsFc+C2e3PRniCd+qnWyaF0xjWaPtXU
OvDKAveISFRmd4EWcTX2HQefXe6OgLXFRdi7qfGAnYTykjeAILAka8oNSqPAcYCaFpDYi5wCj2OI
5BogICRgH/Rn41tW+hk8pwWtsdr70ydMWznfqkVFYQWKHID5AohlnV9yNae9pQ9gdWryYuunX7NV
9LXq5gF5jYE2RKi7YzLPLVTuQrthwkRaZG/mWyPZmahODnfXT4LKT4FUxvcRXJswI37FyWU9jnOi
mRVYsJKCH+qO70fdeG61ZH/djHKBkLNCvkfEup70Wk1jA/G774Ofyvjmu0lIy2KzzEDIsZ8FX6P0
Va7NiTFpbWwLgp5Q5YF3YiFz/pjmWlCgMiAy4joCApS95cUvBxz22slFUHCX0gcnuj5Zys8DZOOB
ygubS747ctxnCVhtAEyBC3c1vCS720nskZ74z4Sc10bCfMkpAeQaIUJ3V+jNdJdOnrO5PhDVqiMy
Q2sjcvhAwom/n2yufuzmRm8AhVvw+E9R/B6yTcP1KqR+p9+Pjj21YdG71Amv21VtamS7UWxFLhje
ULJLh7pnnTsARqwtIdWqr1UxHgp2O1GWIK9xwbcGJ4AykrTPvCVJjYU77JjGcThXNBzXUgqqnXBq
Qfz9ZAJn2hYJy2AB4S0BPaizuz5R6u+DSxMxEhBQuvR9J25J4pXgdVvIE9v008qjRvWsRhVatIWj
rO7IKBdmlUPWVgieUTQhIKkCJUI4AHOE2yfRHovsdjopLMiJPcmZUYTxoHwC4LqjHP1XzaZZ1m6a
v+8K+ao9tSHtrcXuKmrwDnFz6h1QPjwUtrvtoZfSp879COLYIIuLA0XOD9Tij71XPw3puGu6ZtPH
2Ur6QLl88AaIkXH14eI/3x5aZTTe6Ivf4nY7HKa3pLNW7geVCfSyoKCD2FLokJ6bcGrNLSsONO3s
++2L09jmPQEz4/v1fajKg4BvQQRkYEZA99m5Fa1iep7F0DbI21/+8JrQNzt7NNhT6Tx2qBJl2p/r
9sT35EVEMIZ0EqRv0OgtjSpxwP89cKAMTb/mQTX4B878uyRnT+mS3PXdqoiPcoAnBqWDpg1gjJ4p
sIY06aKimcDOb7cbrcl+WlnxwKGDGhDPrgOLTR9ZwBPLwleeuBCTz8uSLhx8o00wWZuEr+ShlRtE
sPiB+wzVMBnuXPWQjfUNSHo06YvJfmVQfbm+Vipnju6gfw1IoYPT5Z2WNVirYRjmgOfkodfZL8te
44pT2oEXRFMDtgYoQc8nik0g+wYvP5YIPZbBVJIHUHceWIck6gcGBLSMA4kx9LPKtxMpEg/swtgL
yAM9ebP9ObX5xrOKf66bEc7uYo+fmJEeUflEZu62mDfHjYOEmiHVeVhTbetp1cqI1kyJ3X+yxwy9
gAyejRFVrrEZnagoI9P909T9ih31Ev3fzDm6tEQ98yhajbGXteGB0J3efCq9FXDLmgkp6kYD1P83
AQ4rc9y3/4DR8fq6KH3Pv+viyITfzBlZm/fC9+StFXDASxvuoI0v/uTR8bX0UK28blC9OugaQfkf
z1053eImrCKZP+GE+kGV7PNyl7hBezsD6l+yLEBNEXLhKSG5VFRERo3UaA/wta95RMovHxgEel6Q
8YNGxwWpeJvYbGpjzFrlopXdAG22ZccvdgEezKFbST8oJ+zElnm+naeiI9yd2/wI/m9zOkAHYHS2
9bKC+1izIk2Y63N/AYEj7rylcIK29J8G0UHV2i/MiddILJSbDulxYDMAMUEl93xInHTVrDdorEuG
eybah+awhlimmYZs+siF4PzV00be/KIhkVol2ttACXAk052RHlh4fSMoDyi6ekSfKLi0ZCVTL3fR
3pPgcdT4P3Ttxap+Ddn7dRPKlYE8B2q3UN676EKMq6rtWYoRdDxcnDtoTwz8sBQrA1FenFC2cG20
oYhK9PmSlNRiEJTEknSc/nYY33uF/v0DA4H6EDqe0SSM/Mi5CS1OfaiggaI7n6G0GNIlcFGMXHsN
K6J85HHBMgHqZtRT5WQaK8xY1xDcCo75u6S2cTyrJA9qMv2EIPeTV2jvc7Z8AE97ZlUs4smdU5aM
uR5Fp4GmzXdoLAYvcrH8MSfth1b1uzIZV5yCYt9B0xRYQVC9EuRkpOWqkgkUuzra1njxDyEPTZUH
pLj98gE2WCCQ/xZXZS4tOtmpwwney7W1X5ZnzYfk6f76llDsOjzGRc8Bdh3eZJLXqbqeFVUDxTIG
ve9wmG/f1GefF+ZPVoUURZWjQxUv/jSY6T18zO0/3wBkFaqiggBS5ivthmRmhS2AzZBmmMO1BVDN
zunnpZiph6B2O0Ft5kj5lmVvk/eBSMlGtv6v9gNQXDIZPNFwT1YM0JMWzQKkhOiLmRzmlAeeNaws
hcKLQTEY5Q+B2xAE9OdLkfKpqk0PABEPwqsgjg7Nsgr0iQaTuRaiqzwAcC5/tQCw/DIdBQgCysWh
fQrNFOtoMciydEvIi7ENyqHYm1m6R0pwxbepziPCAYwNJSRFESnpC5pqgJExjX4CCdTD2DZvXvyR
8wI5JfhoGIJIgDSLBiaN2GmWHhdQ8C7P1soiKTYcGtHRGo6sKGRFZazQsKRmVfTmdDSbHfmWdtvr
x0UFoD37vnQDcDLWXq0t09E2+mDRu7CyIVIdtg0JDH4/+J/L9k7vnyzNDzJvxbhiA6L3CLlxgDGR
XpazE7zwK/QKWiMaRlmANhZmPdjFp9i9HbuBQhRSOyLFKNiUzve5xZfZIwkdj5Z/r/UPc5YH1fLd
bKJ6/jJmt1NDgToGdxz4gYDuuuiosjhL50GzhiP3kyctc6O2cN7SbliZO8W+wKYGJhjPUcG8Ia1b
1nd5XwzdcFxsM5iTd6+5Pcd8ZkDa177fmXM99MOxKYO+3NlrGjqK43n2fekiaNGl7tji+4T/pNpm
0rce/Wdlc4vnnvTCPbMhfsPJZbNkhpOX5jiAO0/bjpUd6H64+NFcPbo625LioQXOC9SX180qtvWZ
VSnwSDrAnxDbDGDFaYPZLAK2ALcDLGuPprLrplS7QNCXg77eQFeSnJIAW+jIQKc4HLPm1dkbax3d
CrcNON9/n5dOTt/rdsw9fH5GsjLfZ93G759bB43d+3qNV1M9FLSNCAIeSLpJa1V6Nm2tshwgc/Vm
dHxT6Xx3fbJU6yJQbwhswG14AX0zOdjJ7Mbsj6z7ajcUzWlOICrfM1mjUVSNBQ8QwDtxvV5WWzWS
Z6Ze0f6YJAUa2n4t79dHsvJ9edmrQhvsibL+2EWtscnLzfXPq47myc+XRRFGq+I57fDzLQA+sodl
um/rlTBNsRZorAGezTQgF4pJOj+ZbTvpnUdZd0yNe5T3mHUooYW3BjBTlb1hBuUFAnyOaN87NzPn
jBsGNzt00SJJPE5BXH8t4p+x+T6yN5AGFNvBDbwoZWHi7lojdOjh+lRejhMPODByoPEBIDTQU53/
gGG0ipmbIHpKm1/oeFy6H2X5tHqRXu4HKH7oCHVQEgS7iAzxwE8oEeT4Lc6pF9RlHaRrJEJrFiRP
AC2J0q+FhaQKUKcBddn1eVJ+X+ij2KCOwGNUShBqhVeXema2x/S91H5P5Y/rn7/c0ZggzM3ffXAZ
Apg1a4ZKzzrAOQ52GpbsA2pUeGwCxwOsiyiCXHReDFk3A5NSa5G794c04MPNrR3CgI/3JeiPBCOB
5CCrmOogZ83jiD2WNMS1cuMUSZ+XdmpdF3weHHyesg2awlFS+Yc6t5YaJBvyqUcFLO/iLI7i3gKS
NQ/Gtbv3Yh/BAlD7OPAA1gMrLlnwrZaCGFX0N88/YrLlyVqe7GInSQakB6CLTgtu+p0fZVnfbK1h
sDZNz8b7vF7cWxMKMCUw9aI3X+CQpDNXWNqU1WbpR7bxZOhlWAOtMN6MrocRTwC10JwPOjoiLTtY
zhKbgoUugnSzvpsSi96ZZpHfmlQQVgS5ErJMOCGyHx6XpmjNBl1yQ5F/RY7kgZbmrfEqTEDMBW9+
8MQJ9ahzTzvWhTejvhtHWUc/+cP4PJX5ijNXrT0+LlpCRB1SPoF2TG27jLU4siv74HTpMzPpNjGq
D5gBaSPasg0heiSTJkAOHEQwuU+PHonj1yEHIhDqcF3I52KNZUJ1XE5NSW7XWoyZj0OSHDd2+8tq
f113Kcqv/3W76AAH8kr6uo1meRcyOKJxkWjbJXaXbY8Gh+11K6pVAcEdrj9wywPhJS28b6Rz3nkO
OjDNPw37UcddoLU3l0hEak8HrxGOIuQA5Vc+m50+6whDX51XorgQdh16uZxy02U3c2pKlsSknrxZ
htkzhnpBP0MRm0dO2je9X35O0/IjqZctYudvfjf+uT6D4oyfPZOESdTV0UMLpiPgi89NjmnmmiDu
ocfZpGGKbHbu7NGCknpruKtL0K1kSfKeFVnQgdt48ANWZu2dxvydId21JVR399bk03BKwAOXGsUS
olbUBBx0nccETmUtIaUcMhiJQQKGVsnLTpwMrHmJ3tJj6TthXbxoC3DU9jfLX5laxeZEDxYg9YD6
gvNGvo+MbjaNyenQ9OrGNLRSbuwhzUbDokq73fVVFKfpYhVPTElz2zFQzg3VTI/LPETaPBch2OCy
IEEmp3SMEDyTINsZN2xobgXxiEUliOLxuIJ4gHw2eFbN5mhrWpQ74BBZ0uoPsuRHJ0/B7L/8gwbO
dwKU/Eq4ovAtottHRzkeHIWo9Zzv2YHPdUb6ih6hzntI7OIgpA6vT6hy7UBkKdquCZ6L0rGoSovb
tZvQYzHm42b0m+lL4TTOJucpWbkfxafktRN1S5QO0J8MzMn5aPx60hHewYd5Xtbel4yWUAfn1gZS
zNNWJ8MXYyrXiCBURwA3zF9BeCHaKc2glWeay1qDHq0JZCO2+clx9J1n8J2ZNiswJNVMCow7XkKw
BDnY8+HFJB8RHMPBmM7OGZ6b/mc33H5pYiz/mRCjPXGbgD+hjpZTsBA0EK6gv1rvyR1uRrVjv50a
kXbEknCbIsSnxx4N+cHE8h/JcHP5UtgQcByxJMBUSVEfI/poDQQNeh3ptov31CzOlvc3d7hKVqT0
YV2zvp8BPD9aZTOD5LhhdwVZVUZQrvvJWKRt3cbGUoESDlaglW7WxsNQ4h3eIf9/+0mFri36rxAB
AjssbeVuqMxqWLD48ICHtIp3OZjeGSEf2MZg0AWaDuQBkP+WhlOjUrq02RhHBPYCoy34NhnnT95k
rtF3q7wbkL2AZIjxII0s7WavIglUGPDWo8krBOyimZorLke1NiaIAgSJIlD48mCSHgUZrSvjiDez
v2nt+Z/cWYyHpE7XSnIqR4OoH1KuEMgD7kM6NXlc24VZJXHUtqwOLbNx9qVBQ0SeVehilVbuQdXc
gawFIHKgo3G9S6tUNd5gxQ3cdhbvh2oKhmmNokc1dacWpBBtsbXOmmtYYH6Qu8958wRysNt3NHqS
wJFni7KPfPdYeLy4s5HCY8Zb90ec75zf/5sBKVqY8YZCayaFK0NzZMjjtsaBacegtKi5MhbVgpyO
RTqd3qzlTlxiLHo+hnX61iRfPjAWnEjg7E1BeiudFlA0OmZZIwBJjOecPZjtsf1A5kLEN/+aEHv8
5HqpBstBE7qrRbGvh1mPFBK9Fe0Dj3xqQTolLm0Mk04YxJLvptEI06XaeqQIeXe8PltiuuVY49SQ
tPILWRbTrLHyHOS2+X01PPvsHkAzmwQpwz/hdXPK1QdBhIDZIwnnSzNXWATlZA3j4kFZF5tsYpvb
DYAMFA9l4c0uGsCzzKmXdm61yLd/GdWvP9e/Ln6ePFtw95BSEBmliyCwpG3dIyUQR5r7M17MZ9a9
lakTWFq7EtCqlsUBMQB8vo5XrAyS6bHmXZoWiKKLCizbMcOTCIg2Flb9YGNHJPN+tif+kldVuQeD
nrcSxavWCcAS+EyEoegwltymk+usM1ymRXa+hItRQgblA7c0Yml0lYDqHvKckh/IM9x0EJfUosqD
5sxU6vE9y0rrwNuY7a6vmjgsF6uG1UINBtSTeCSeH1e3S6tiqBYtosgwFvVBQ0a2sKswzb/hJK+s
nHLmCFI1AFGAzl9uYmi7ciFAb2uRlWw90DesNcmsfV86Qe2wJA2nHTY4ffTawKvfrk/W2vclz2NV
DuIAD7+fjxt/yIA4/XbdgCFcysVynMyQ5HKauPW7VlhICVRIAiMNsnftl3XUfhl//x00MGEG0OdF
B2IaxGDQfL3+C1Q3NnLmgJ+J9ynyN+f7QUvJbKXxAPfdbyFZPUEisFjZcopZRGaTAGgg3sLQSj43
UYw65SVJSFQ67h3G+2TF3ub6KBS+6MyEFLSPYL/RZ1vzojKx3rmPl1qSfuqnrAgNb1qr+CiNidZo
5C/EQ1s6QjUo+LvGLTGeergDYfl9uSx9MDXWndmhcHp9ZIr1wcsXul1QaQYhxAWNkKdZRYJMRUTG
bleU3l2bDCGL/RUfpzIDFAjQeQirgdOTfBw4x4aOLKUXefGTmbxa86eh/nF9JArPg3GA4AxwStH8
LJlo2dSXS535EVQvfxfMeNYSUDJlRmIEJNVezaa4u27wb3pFOlxnFsXGPAlNWtOCrFSa+tHYj+Aa
a/fUKbcJJ8+2C3IS0D7Vjn3vFu6rDSBKRZt3SAO8QIZhZeBiP1z8DAuldUhvgYlK3i/tlCwWRKGQ
HMf7NSjH7tAs+h3n6bZKzT+5NSdBU6Rg4VuTC1A4F/TXIU5GwyWCZflamUaexwBI+JGFnr69RTP+
qVk6C/yzsxbW7jQ9GNRNgoz5a2xyyrXGl9GECeuufMtkLCfEjTU/MoreflwACT64lcdRIbUhuuE7
DQi/MmolP1dWXGkXXCbYZcD+4H47X/HJ9dIubVCq0xa3/zO5ZnJntFP9jdcsD0BglD7FPWUhNfv6
UNcT3xZQQvwct2a5wf+Vh4ZWe8EgnpTQk6cTWlkgpGMtw6q2u8qHgJnn3x8qHYbeqEDzkcZ+BDxG
EuaexjZeUuTfmmwA1As7aXt9ZlTn+9SedBSMehxo3adx1EHLliT3cWIHRft+3cjaoMSPODlvUzLG
LptghLPAM7cJ2ZVDuHgrzwHVdYJSPljaPBsvAzmlMQwuaU2QsUR5N9+jU2czL97t8Zh5YkJGkYwA
qBRWpZGIdclvK+8jzdTebL+bP+DcIUOGdAZk2VGdlSasGInmul3iRwN9oS2YuScboum/r6+Kar7g
1MHPDCSraGQ5X5XM7G22GPCCRYZMfu7jjn+5bkG17qcWpM3lLq1uxjkslMuhIofa/cl/WWuSj6qj
DRVDnGsksyD8LkURPPE0jWU+iapyDhvgcTP/u9H/A66QLTdvBl2APRfNBaiYCgIjvDzO5yw2CqaX
qeFHtXU/FjtAZK/PmOo4AqyOiAh1M8FHef79zLfjOBt1P2IQq9m2sVfgULJ4D32tbHfd1N9+dPn6
ObUl+UT0R9KqMUY/qlr9LWniz3XrPk3+eF8U7DVLnGOuJXrYOv6GNEA0XreuHCg4eQDGhHYQsk7n
Ax2SVpvbecbm660C1OTMcn71s+t/c5euXolhlNvwxJbYQSfuJ8sae/EdoBjLt8ViQWn/SPWgXnEN
5gVyUmwNaNShHOEKWivx9xMrQE53eZbmwB54lfmYj129TZGBfZqKiW70Np83Te06b8vim3c879Ge
uLAqbDVePzmDze9cZxg20+h5W8bs5VBPy/IAJajiIXag2pFAcmDDa5uuxEKquRHgPojjCso0OYzM
Om3umsWDap+V7S334DgHR4fSZ2V+YMFPDUkPGmNMa7QCQB7QsYFh85zEveODXn2pIam+srNVjs1D
vhkt3KhFXShTaZC0z1KTx9E07ozvVb5yRpWfFwwIaAEAXYkcPTnorAbXEiA5JH9wIyNfQWUoo1PA
0kwioPgo0Us+gLSTMVTcRqyS0vnVLbv8EWjsLBgdkLHNFIp3o5f3DwkvvWNd8enNHDP70wSc/o7r
xnD0eLbGWaocMqS0BRWjDrCZtLc7GheI0JHGt5KN7oS5trnuDVQBKcJ/tKCBwBZ4U+kqWkiZdSCG
RzpSK79rS/046+njmEWdQfqg4dWfNLY/YhIFZheteyIAkh5reQ8Ni2HCfkzZL8eZgq53A+7/MGYS
6I0R9u0HnBAIX3UUX5HIgejjuXuoUPagHkiYImuJeiMLZ+17oW8dPK2vT6VyqU7sSF5dL10tbR0S
RzpY9cqEB/nKQVYZIEAlQV8ZOT6AO84HUmRjZ/Upgrl5a1h3pFyBua59Xvz9xI06mtmYJYgLIn/J
psBvp5e4iVd89ZoNKbwCN3gWcwobA43S6T5FY9Xti3A6R9Lt5vl5slQG5qh91ofXJllxEarL8/Tz
0oVmJAUaXR0qnDZ/pG38fbHcF0rqL9dHsWZGctlJXLTQ9ISZtNjHFjjPwmlN4E9pAk5FMJFCxEMu
2vhtYRV08NBgQDZEO0B1rbVXbjjlYp+YkEZRdF3TtS1MJMl+tMJ0TT5ddYOi4ISLxrfAXySHbDx3
s2kahjga9X1MURbYNcv3mq20MSqtgEsKjZJChU/msrQy7heeXuNS6MPkE7eD9pV3K65DhTVCSfg/
I5JP7KsOOFy/wrnoaIEq4PSKoBsUMzndzE36lppuNObkq93l+9JhO7RsHK/vuJVRyvcMSFM9vgz4
AbSo7qfCeRwL65XRacN8dw2fptx6gBjBhbmI3OQSWJa3Uw7eWj/q0qCf92A1srQVN6A24SPdAbEF
8IFJviwHjzn6EfGYT8w/0JMAcdYQzO5aGUR1eRIbTyAwZAk4kXSzLGaqTRUeeFGTuuy7mVTjO/PM
aad7nXFPe3BxI4uYbYYajbbXl0tpGbwBQJGCLRSJ1nNfbTEv4wmBmyuG7CuqcUcbxKHTYr9nle4F
QEdsinaNn0e5RVwLLgO8jJAblEKRtrMWy+sX1PnzeTgYOZ+DcapHcEFreoi0ebO7PkblGqLVTtBe
gk3yL3fRyX1kdAjHshRJutT6TNM/TTWD52GNv0Llo3xL1N4RHaDrWzp4HgJWxkaTRAC+IfU0bZ1+
jb9L9Uw+MSGnLgak3zMtswjy+T8ZfRtNiMWGVZIEY/3t+oytDEbejybVRxddHCQazI1BwjXC3bXP
SwFOPjau1iEPEGXkx1h/vbl7FM84sJzh/YYrCWGhdF1oOUPyMnYJPF1A82BYk3xW//z/vi8t9dBp
1mJq+L5RfI0LHqTZWvFLtWP/GwHyR+enkhqEjmNFSOSWz5a7d+KtHt9dX2Jl7uDUhnTym8mDikGH
pIuu07syNzYlEEChXwx74o8Phs1fNFrPm9GyP7dWs7luXeUCTo1LO6BpLdRdcU9Gjetu3dYPhuG5
qpMAIvFrN6JYDTlHAhJxwWiKlCzyZOdzGePgp13BUGUpzYXvG6e3tpPV2C9a088/+WTN70Y2IIds
kXF5SHote2ibOHtK/XIMcqMCmHQmaNUGHPeT20wVRNey5VORD+1RK93mqeTjtBIpKDfYyU8Wfz9x
WE1btu20ZCRy+vuxCvp4xSEqZx9t1aIrEBB1GZs01D66Ejwqvl/vQFJ1z0Db4DALfenDykIrh3Ji
SjqLePTFWjPkJMr5fZbf5WsNPOrvu+CMQjc6sJriJJ1MVVJatTGwgkS1b93FTfs2WOTX9b2qPIyg
hvg/E2I2T0y05tw0kCYjkR2DKYD9QhomRDD5gUADjIMozyH9LYqP51Zon5WJU2MgPZDbkC6Ml23J
GzMkZbcGulHeI8C9QwkBa4+Wi3NTHV0GXxPpVvQQPlY93+Htfk9AidCOxX1ndvvr86dcItAJI8CA
VCW06s7NUU2zWAJK6Gjy7prssBryKr+PlyzoO5DSha78+fcdrdGdtGtQb6nY8mOwGVyZx33UKRLu
7w2/9A6ewZJDjMR/hA7QZldR6m6nVC9Qsov5uE3aSoOiO9M/kGYS4F90QDr4eY745Sc7h2ll60J9
2I8W095B9mLHjY885XGKRfeXUPWWny6aR7M2a5kfeUizPHfVWoitmFxcPwLhgUQLujmlbcntbqj1
BpGA/j0DaGWtH171XrGEHAy8EMgKLvixtKqaOQNaO+IZe85j/3HuzBeXZRvUjT8nDOBcj7db0xte
6sJ6pLq5Ev/+Df6k6wH4I+h1oIhieuiSPl8jc8inuipdwAtcglzFY2/uLLsNWLPP/KDtXsEkHmTl
PbReUFLuwqTwQt1b+REKf3z2G6TbcDEnWmmMeJGTEegolA4yZsWyB088DTorW+upVJoDH7RgixFM
CpJP5qS33Tm2PeAOUG3hz9sS/4Gs6s3HHkAk0conSC4uijr6nFnGkBheNIY6/UrYCtGJchB4KQmV
YLRCyGkHJLBKVArhlYe83Ttp+mN2dEi+puMBtcXN9aEobgBobMIIuqEEbYwUjqH1YSpnDxCUzu7c
uySbUe1AjX07TOBxuW7qb9XkYj+i4dUgQl3jQkiN1mbv9R7HbeMvyecsLpPXFGnjlwkIth+gycQF
AeW9Z3+GKPdSmmYTQH8vfYJII7kjIGPa/j/Svqy5Tp2J9hdRhYQQ8MqwJ084jh07L5SdgRmJefj1
d5F778k2pjYVf4/HqYO2pFar1b16Lb0bIesrQuFxrTIcM9Z6l7boOBfoHPkeGdXgxry0dsPMBhAw
VXGsoEpvsmyc3IEEgG2o9VZv/cqN84eUDCzsgCsipf/+kPV4NilNzPDbe8OJuis29fbA7lX2W0Yb
t/Waw8I+IQ1tINn9gVGBMiVogbdDuDftqzLFEf59eYfWjAHMZIDtIQP8UWlbINYMShMXtdkaThnh
gdTl6LDPP2Fz4KBAb8eM8oBewvslq1RMo0S3j09iI8NDPP8CEt0EmCflcHk+aw8BkKChNIDAA0ji
ZTQ4mTGrobGNk5QxBLsseol14xvjGbyQqd/IFrrFleLFCSj4rH+mlkJAfj74whdp1tj2YMTHm9ZS
j0bXnMZui255zVOge3FWS9KA7FrGB33YTBWJUTsM6oKeUl5WD3g2sm8ty02nLcotjYv18fDuRE+/
jqTiIh4B0V+aZkOJyv94W2s3SX2bsHuh/HtsgZ7Mv6PMv+IstkAZOxAgMcIoKsg8rB9qtNH3sXqQ
IBqgocsUJPhLBxvTrmMkQnKNqLd1Cqlr8ok0wBxU/zfCYu8z2TGlxFPe14Yd5d4noi8Ngdec+GFQ
PFxGX9EwDFYRoZO8A7JYGVt7wxGsVflgUCDxBn0DdKqW6cdRUSrRmwMwaMWeh6f2dzhcBYEXm3Y1
ev2bVXtxClkLV3m5fGLndVleEZDMmLkd4OA+gKapOdFGlHg8Z+ptHjxR/SvrBBgwhD2K5wRSEp8Y
DlqHM6PIimq2kM2go2/O8k0u9ii5XFMFuMjcHOyRAIBZ6Eyxtbzd4oRbsz9A/P4bdv73MwO3qiLK
a/B7+ENOvo4meeEE76/PTA0EoCjTrih163FtFiXBS6gFSiMNejvOE1uZXtB+AO5wJF22wum1ywPk
+Cb0ONBO/aFnqzfizigjHZdHccXSPa+OWeZdntOa+zkb4kOWsDZ4GQliovZsHnNGHmEcql0UINWt
yK/PjIVkJ0ons+b14l7X85jJFKh3v4/lDw3atkWXRo6h8V8mDtyGQ1qdGJjsZzV6a676vjcIifQO
TL8zgaeW0U0tU9WdVCKcvjXlbV0OW+iataAFdWVkjSHbAgtZ3MBBVgYjHRgUHqcjHuLoF230fZUe
jX/W9ZlpCOdIHLEl5NyXOYx4Ql09BpT0vkq+t+T3+InUNJrcZw0ArNrHVrSpa9Sgk1V0T02nBwRR
/3fUHqKtmWoOvS7WB0a7wtTrKhuhhc3EFcCOSF9ctrKVjQDPIPQkQF81p/AWG5GgNxTaFaHhd4XY
dfVeG990ngPpiQTsFhHBipEBKg0BXtDogt3/D7fSmddBbrciZddzP5ChLUhyVIfpCJwr1IwvT2rF
vaEhBBEkWgOBHV4SOMR6yVShNrrfJtyWjW2Nn5kKutnwtoZ+DcZYXK9jRTPIZFDdh17iXamlX/tS
oBupvOH1P0uXgekCvnquPAJc8sGCB5a2zYSGIT/Ir7hypFtX0Npi4YSAfQSykHMv9fujH5cE2ppD
rPsgnknHvWgeLm/Gyo06B4b/fV97//0kTCXVJ3xf7T3xPa9Tr64SzzTBxWC1tln/e+wGdQUgcYCc
w/W9xMo0lKcTuMeZz1BuPmzyzqzlNNCvi5cWsm7GxyeKMkHZTYY986HDot4akdW+dk0gXSDTLC8U
8GRGz6trs8AzScsLFRV1Yu31PCC7ITR1j1aC3Vl9oW7Y/NrhQtYRfVDouJoZWBbLnMWmocQt86EN
d43Q76CHQrhKoXIbKPaNJPqa1/i/LctwTLOmxfvB8kxNZMALLEJ+V/CfZfWooxG3ioHQK7Y4Pedv
LSIy+GjkcNCKh0rsEsA6ZdYo8zFnPlV8NDu4qH/bedJ/wg/iQaECDodKLVLM72dkmkXNwqjUfWo9
oMpuU/VmUh9Tdp1s9i+uTghOaS57Izm2vPtAVC2QI8h0Xw/7ziFNMx1qVe2daGj+mRsZvgPZ0f+G
WpxtywJ+vSxS3QfrNyBcb5vkyKuGAErCP8X1j0EK0tKd2Vc4bTLNCajv0IvZFUZ0SgySQDq3JHt1
aOrjZY+yZuooSeDhDi0LXFoL6+N51prQrdR91CrdIAs9BmqSoOhwf22VhecU7NL4OAwCtzuyHmin
fW8WBManV62p+3D4PxqjdtBEvZPq9L3rrRMJAjfVq299EW2httdsBAkDkFdCQxqp/YU5WmpgSKuA
OZZW4tTpz07+jOqtXOWa50djDdQUKd5aH5ihrawNOq3WmR/Fe1rd5eMn4EsAgYK6FrgcxHhLX9yi
MUsbQgPWQV1V7Epqx9busi2sbtDZEEu3R+LKmICG8FtIjIy5Yiux4Xb178647YrXotedLNqihCOr
g+JUzWVPRAFLGiooy9ZtbuEOAOapuWvLMfGtFoSwRU4odE/G0s7qUpzKYSSnygRWshIjdURFOmTc
w+AGgKGaRzt1iCnEqZraE/GAejpykaoLpo6m+oRzw1FEHh7CWEjrLqyJ6R2ylf38ewdPAV2GdrCQ
KkTHzlYyd9WiQJj2p/j5MdpmXQJmG3Ca+FrTfWVq4zHOt6oyay5nxsTPJUPQPyyDO6oKqhglLrpJ
/TbS0kPkbHflG63Q2kC6/WXzWp/QHKxa8wlZhsc0Q75Y7Sfmq9OdaRyHLSGDte8DjIFHEDr7wP+2
2Jk6i/JQoQiOQCv+SNPpSMatTNCaKzkfYhGqxrmZhPUUMMABGIiXK+3J6kTukrrdcMtrgR6MDGR2
FAh/wIHe+0pNU7IAEY7hh3XInbpuvpSCP2TAXrKq9Ug4nYwmfrm8P6uTg5fE8xR54w/lFjnlCukr
1fCtCknIIbAgQ6rT2uNCTX9eHmptq5AqhtIMOo7glhdbNYXT1LXRZPiEJbsw0XejWvw7uBdJaQMR
GmohM2fP+xWMRaGRmteGz0s/UG6y+0/MAA3Fc/kDwtLLppKh1IwISrCGz8Z96RZbvRJ/ml2XlyUk
1f77/mKFyFQbKUvw/QwKhbrNqiT3+zwpX8q+7l7GuKUeRIiy16GqmF8HaoLnbB4Arh+hrVLNs31G
82hnpCiXpQTCYUztO6if8/BaTnXsjO3QOF3Vaq6Kpki3yFoR2XBC4dfLy7Rmx+j6RHyLJiLQQMze
/+yZSsOaWnFUmn7de3nhouX0GcoJfe1AcvHySGuBzNlIy3RSGwSgEU9qJOgr9kDFeFeZ0ymctLte
K9/+t6EWh9PQAiVKc2n6Ri6QiWNuWc73ZWGP9VYry+pB+bt+2iLoJAUUUUSC1utRd2NpK1ux0eqq
IXCeC14UMeAi/BuLrkSD8ozmSPRTCfZE1fDaRr8ZQmXjPM4G+8Ggz0ZaRH8DjzV1oBipbl6Lgtid
9cNkA2rVk21VWzjV1WU7G2xxeswgEnHBgKXKOLURGdhK8u+4eChC/124xU2gq0E+WiPepeAxHfmO
9t+yLR+wNYnF2QmTMan6GkPk/RejeWNsf9mM1/z92RSW8FZgKDojirBI0noc9O/CHO1kM/j+KGGB
Z9P5KIvDkpeVWdUjmAq0etiJSj7GQfJtsoabDsL0ANbeTVpb2DrLr5GfdVtV3gj6CRJS/IY5Owqe
uY+kU8HYK6EejoZfK9k+KY19aIUvdWh8akH/DjNv6Jmzq0XRhmaKWy1K5SG16A9GrF2b5humt2oX
DO/rueKKytHCLog1SGoqLYjRw28ixutpi5h91TAg0zcXWgkknxenJ4mMgkcdYHeRcqODr3xQ781y
E+84b/wHh3A2yuIEpbJteiYBVgjGyi3rwTHNwKm7u1KJbTp+g7p70xp2HM0Qmy2ujvUZAk4OLLs+
p+rf7xSPSNrKGKCMIriZ8mPMnOQTFJhImf0dYmEMNCU8Fg2GqCtb7/bRVqfpqhUgbJ9b5IDH+xAh
ZlNShKEBKwiMF5l036gWeJcdxPrZBXblT4UYqJLFMlUZ1eoSWUBfWOKehOa9IsvG0RMkWZLiVa/D
Q6pq9gTbIFN3MnOL2Q2UKi//itUrCqAWzHEOI5b0+RmNQfqrJ4bflnapu/w5E9Cg3xhkNU45G2Th
pQKpFobCMEgPaYjIDWSt/6oiM/yuWGr72ggQi1oJ5hlD5najXPRRBmH2kHCR6MMGb/yHAnbCRZpn
JnhPtLL4Gol0D4y+26AFitDqK1pD91zGd5ABcoB1f7JGIm2zUm/U2PJi2Tznaff1MwsOvq65oD43
LL4/HH0fTm0nAu6jVbi5B3Yn+6Im9filjiy2DylI+y6PN7uTD44A1fVZHwEecVn/VsY4VQc1Bcwr
O8XaFRQ1UZtj7DBlh8sDkTWXA3c2s9ABRveh9xO0wkWGX8HnZjZqNx2kKANT2yuGcUjrbt9K5RiX
woAsjNiFpD1EA/ly+SesGTMK/XCq2GeoayzsDCVqUDggjTPXqO2G/ZD1DQe2eZPoZs07nI+ziBuT
KSh5OSqYab7XAhBguJfnsZq6t6C1ht5njAN4x3sjUYNsmrKWcN/IJDhVgiaq9qUKEMEkOLmmQAru
KqX5abV82pvQsT0QI+pve72W923fdccmicbDEKWfyXCf/a7lM4BH4M2lLbZ41JJTI4SjF7Ut+UaH
7fry/jf7Zd9JlJIURgPHGOQo8rjaVl5m7X6ycLXDt6NhDEC096ub1UwNIg1XfBKY32sWnAIungPo
7lzexVVrhHwZsyzIYnzQ3MmADOMKH+B5iHUlG/NQ8eAHKfpnrZKfCclxj/w31sIircTEm3kEzLJt
pRvk4hao7434a82JYyLI/EAH4CPXIPKyDUWekQO04CSBW5e7nnupsGl1pW09nFZ36GysxXMG2MUY
mgxwkjI1bS5eEUk7erNxNazuD1LXaA2aU6PLcg0RrO/RloAkQ/elo5Uz1oZXJgrgM9OGa1w1aGCQ
sHbgtf1I2K1qrUrACOGH8BZxl3yLhmILxLK6ZH/HWF7kaRuYaBjBGFD9uStZfCCavFZauvHQXJ0K
aJf+oI5AlTj/+1kUHhfpUMUgafZ7qf8s1OyLMPONuujajTUzF/7/IRY3ZNkU6K0rMQSS0FR3zNRT
lOtqcCR9uHxAV5ds1jQA7gf0yUtUe4gEQ8grPP9bC+LfXDsgE7U3smTj4KzaGTKmKPOi8fBjxy9N
1KoOx5nX5sCsp/Eqzu6ptmFiK3NBgAWwAiBFSPYvMTgWCGCInBMAefaQFb1NO6S1tlo2twaZXcTZ
5qth2nZZgjczjfI9m/bh5DOxBZxcHWQu8aNshlfy8u4LUpBxCUjN+E2mP41W7Q5589Kolnd581cM
GZ33/w2zvMqCcCJDNQFt30XdUy/iE96Wj5eHWNl4DIHnw0yyAJTXYrl4DNlPNoOQs+iRFk+N8dAU
T/GGEa/OA/0qFqBrKF0tc0wKr9oE3LOGP3R2NDnk35/D4K02EETjpYLW4EVIFYalOpldhRt/sIvR
FXzDn6wc9nffX1xcJRG9BKwD4XDdMnsocreuWrdtm85WRfQYDNoGIGBtUwBPAR8X1Ld1Zi1Q/NDI
HXpUurjPE6jwArNY71AALtnG3q/OCyEMgKGIhD8A+JlRIfbPIYHZT+MVEoTMBlveDRnbXcitU9Zt
mcFa9D1fYxAVBRUUtGDmY3V2NssoVVvFFNwnsuTfAzWMTk2GhFMoWOqMw/ic5+ku4ImAGE3Pn618
and6wD+R3UB5FhcDPB0WeNkpT6u2lJAN5z7lV0rwMihQ/kD97vLBWl1cdJHNcN6Zv2QRwEWJllCj
ATU8QcvH3LK1n9TscSqMJxCun3RUDS+PN39v8YYyEYr/v/E+MELJ0hRTIhH6hCne4a7ZzipwTmI4
I9h84s6ppuPlAdcO9SzQAjwxiAD0JWgrh4ePG2PAA8Nwtdouvvxvn1+s39CkkFNX8Xm9fR5OqvGZ
z+M6heYL8Byo2783RbMQXaUq+HxuXFniln0CyYib4e/3Z/M4M/U+ruVYB/h+dqRkV8a7y6uzZl2g
JQBcY67dgvbu/efHUleSblJ1f8pkbLNR37VBzW2wFAxOYxWprXRbL56tIRdRldVDvG2go+4XMnFU
qF133B07y2b0R28G7uX5rRkXMCcAgQLqRj9Eo2nRz10dQIqYxVOi3lv7/+nzy0C0L6FtTUt8PlFT
AK24rf470BRyPqhxg68bz6rl/vCaNh36RTTws1WmU4J0djfA3W6MsnZPwJnODeMzid8yidlEYTWh
H0/zab7Ppl1fHmh9GLfkFFZHAYYfUO1ZRHs5l6pUak7Qw+ZPQ+oMmnE0cxoiQRsdx7Z9ubwxq2OB
zRi2Df4IRNfv7VrwvLJC0lC/qIyfCL4mu2zFSxQZ0Frh/daLdA5ulj4TJVYQQqPnaxbofT9anrIQ
gNBB88cmuJ5KakCZTPESi9TOaBXfNAvVtjaztoA8a8YNZNzcpGcAsrG8BqdoSkHMEmq+2rZfRyU/
hI2x8T5ZHQLdAmCPnDnpllihIh7KLDIjWIa84umbjsDr3zdqxoOi+m0BULWMgMHcg6q+JZiPO2cC
kL6U5ivaDfVD1kehGwjtMyE3QmH0D4MJAG0+C8sACZ6uSRW2Tuqh+95YWv7EK967kvaTc3lucxjy
wSz+QK3wIgIP9eLqySY+UkMpmR+k4oYBU8+N6SoQyWf26O8wy+qbGMVQyQjFe6SQysJJt17bqzYw
A93RgGMBLrZYMZIYtRg4vj8Nfhu8mmQjfFxdJmjXIteCpgOgeN+fnk7LKivKLM1PA/lVZ/3BioOf
U209f2I3/g7zpynw7CadUJwO+opruKm10jUL2tksVqCmPUZ8I+7emNGf+PVsqIhDyy8qTM2XaJ/W
wfHBY9vYKnvNy/7Bus7mQ98vW43CU6yOIdC+aG6lNrJIyiE3BPPkpBeuUQ4hWh82oVFrU0OGHakd
NPhDtmbh6iZoOMy4cearuaewQxTeJOm/p0TxFAaDAEoYQE7r8084Wz3ZjjEEMFRAi6fsuQ/K22gI
N6K21VmcDTFfH2dDcBLmkS405sNrll/TmMWunufKSz+R1rtsdmztckBjM7Kv8J9oGli8KgcCgTct
CnXfCjLFrmVEPYVE1q9RKMMxDhNxnU/juBNFKVyzDrgjpTI4qhwjxW4VBW8Yk4nWRkSm7Op2EA4V
an0yR1Kib7kKbLyPAk9KojoWra0DLQrqdQIEWiHainYqKFLdEf9/nqK9Y+TERhqQ/1ChnHqTWwrx
jD5U7MjoRxe8AMDvDAgRnMY0Y6/toNcwhu10U48DAlsQAiBlFGWJhwIXsfs8Th8rXnZOEkexWxTW
6NY9i+/ULvhEehmgTYDAgSlTUWZdmIQo46FmDQDNlmq5mgZpCaVCgyMoLFJr40JaNY2zoRamEYUR
K60+AjjbcjJ+U4Fjf0soadUiUIIkgBEAnb2888D7PCWZAYcquuZ6zv1LEYSerKYrMKEEtm71BD2G
W6pma24cxxZlXhXUBPC0722+ZU1YtwrTfCTWXoHMQVKr2Ti5q2t3NsRi7aw4DLou0zS/IMQdif7F
GsihKobj5SO1un6gGTdBcQSijA8+SKSDUrQGLoymeaqL9jRVKA31MrLHMPdgEr8An96Y2urqIb+B
rDazZoa996s3KSFNuxghHs+/QLtEb+8vz2ll6aBgD/wf+NMRRS5LpU1WWxLqaRpQQKeRo2vNjO1O
PF4eZCUqRrQILlxIY8AZLV2RGIJWEQPuJaPKIxtEJOSh1XLp5VJhHusJ33hXrCwaypMokaInHJ0i
y+ixb+puaLuG+YaWeAHV3bLbSNmtzuhshPkXnDnyXskmq88wQhsFXwrdOrRKdGVp5T5Q07fLi7c6
GQhPgHoG7xd0Br8fipMumPB3zS/xmDAUz5rU3eURVm3g7wjLQA5NDHgSU4SmQxz/njgrAa6sTjIu
PyFuDrgsjo+OZjmwOiwucShT9VUWBJrfN/KXEpDINictggpvtYVxnxdlEaS8G2mxPxL9gBMdYXHK
c5N47GmWBTCcNnFl4U3jRn51df34LAoAuAGq4otAFY+k/xcRBZr8Oo7NzsyLvei3NOL+7MNyUrP0
C+Ay0FP/QFTB6FQ1Me+pH6fd6BTEqI5aysO9GFrQbxAztpAFTZs9bRF+ZS3Q8ESJOPpgavN+ZIV6
QNmeOJGm5hNSsrHyjUN9zAnjOIV2jIivYhAR3vKMFO6o1fKJmFV+h5p35aDmD70LEHPtOt4M4CaC
m2UgTganw5R5NCiTXYt2M9UOahY/EKtTctuQ4O8ZO308dnERn0gr8+ter25VPSp3Y3owzXZnhq6Z
uWrxdYAeneKMU3udhCW7wU2OVGMuKzc1o29aH+bXEQQTQQMtkqMBDeKHPCitfS3SorVbYxo9Wsfc
NcemfEyByXL1kBkeD5hy3w8T5IsG1XCEURgvWtayx6jNxI5T0nhNp27VIdeMASU7tBjjbYzmivkS
OfMMeci0WCKx4kNl2q7IlyGrbSXc0rxYcwrnoyycQjCWE+j0MEpZNW4Plhxr3OoEXZ0I0Eqod6DV
CY/w9xOxpIYMsCqpr6fJtxCiQ+DAhG63yfeXvc/qVODAkMWEKhz9015ztmBpKHJiyYH6A3UgFW6z
dEv9aWOEP2IEZyPklWK046hiJt3D0DzqW/mQlRcR+kGQzURnuYVW03klz75fKpYVEaFRn2mhG4tx
36F3qjbfhPlL8H7D2ZC1q2cWg0PmFC3zH7gwQG5WN21ZE3+Muf41StRuVxPduMuGqneF5OkT/ou7
qmTyaz2GvtYp07GQdHQgYhK4UEwinihY9cTMtrouU+jlXN7QteVAOwGKZbitDFz775ejmjot7JOJ
+NwcT5HJW1el7Q0NKhAeyfyqqcxwI3Ze22CKNgwwbYEs/kO2VYF0yQi0EEwIEPBd0x4uT2j18zN7
O3iOoP+yLP+ZOTralCrS5r5J+L0vUfoJhCDKi2i7t+B2PnIDx4oZN6UZIEVZnxLxvQkjr+eRU2aa
++9TOR+Ivt+bMTdqyVWk7vB1MJYfsjzdWKy13T8fYXHHV30xjEAi4rBNFf1a8Lpzgb+TnlLr5KYp
gnAXTeYnePyxfuASwAqi7XkZwShQs+m6OkEilJ5o9QuE2BsptTUTOB9g8ZjO+lxrUokB1N4NTuj6
vLwta74WYKmZmg4Ahg8UBYAOttWcGPC5MdxFovD6qbxVe2VjmJUHDFrVoWYPlCKE7ZdPsT6oIzRL
EOrzqrERN9tp/gDy6YMoHsfqXi2iDWtbi8JmEjJEp9gXiFW8tzYBP9irWa75eqwcYlo98yLcAft2
IG13l7DQIxxvaVVvny4v5xrsF0MCcAvBXmQPl2KjaDJOgV3Gg1Ar08qpK3alUUB9xeBOuJxtApFT
oDfqnzQfHzSr/I50yGDnYaduOKbVBQfROPAicE4I4d8vAI3auUesxL6mp6HqPCsrbDSJukEwuZSk
LhQDNgx1zZLAbAJqNDwZ57zm+xEVkeukJCP1c/OKTsewOdXdxg20dhbOh5gvqLPrTnYEmb4eF7Yq
HpubLN54Wm19frFmU1vIUrMQ5Ubts2Y8/3vSGvXev+sz79jZj9dLSTq0IVOfPulD4/LwMx72fIBF
2KSxNsMTAAPkw4GrJWK/z1wWDOV9ELFC0NdcdoNPqFqRKufUT0tozfZo39o3I+kco7Fqm+t1sGHE
834unx3I3oBiEhkIgltqsWQoJjQ1sn0+RFydaBrtuLhT9R/U/ATDMCgrkLIEXB9osSXuTUlpmIYG
2l8l8UY3lN5lr7A2D5xBaLihrI2iwmJnql5mUVIM6KKvr9XoXgiwTx/QELuxXGv2izgWfeBQjERC
ZWG/qSzB9B9qup9pDh9sqW5csGsnHDwRcz4SWbwPfZtdWSdp2de6n8tbo4FEFqg495dXanUKM8cv
CDZ0kA4sdrxs0I1R1+CkyNGIeN1tdZ6tfh6RIWwYJvyBBnEMZU6HINf9Jnor0ZPP0nJ3eQKrW20Y
wB+h/A67XZxyVk5odQix1SKzhy9l6BaJ535iCPTm4hqdyYX+hOlnjqQOqggvvUD3eeAZeWnHyM7l
yY9Ovv5v4yzMyZBVGEnwVvk9G3fxgHsLjT4FPZrtVhS9alhnM1osGhDvmhCIfn2r38XAUk27sNvY
l/UhTBUMLngYfHhTtrFIhBV0IEpK6l9KNd1NffKCuHujDrZqYNZ/wyzhEehHSEYlAtQjVckhmmKv
L75e3pW1ieAFBroWZGIAkVrsCiVxiXBtwlpNoc3El7lPAbLTlwdBtWbF9c79XSi2g/AJqef3rrce
jDLLTRAOQLPInpj+0iKbMKIm0lTPY3ubIVk71YkXyn4PXVKbVI8sLAs7jsGnP0auHNq3uAPFchE4
VPY7xGpO0/de0oGXSBkOQQBcVXSyev1ARXTUhquMPdZSsw2tumZGABWjzOHdj7qcnLzwkz5x0OAD
JpZjbEhbZDeB+JW3TxGwWaz6OZQmcGL82BlPooUybV+jUxskSMKZP6WgwmCC+H4QvzJdxc8ABU1p
oa3VBfJjUJ3JujO020y5l9rvFiKHer8LzSMoq20tAm1Xf8tapKnq/LqGwjeTj6p1TJO9oWdQ3t0F
8xpkh5y8hNVzwL4VQreN6iEnd1x7GNPY7TPVhfoJ5IHBSXQz6LGTTrpDuHAHTb0Oo10bAhuSDQ6S
UzB/oycQJjpG8UvEhaPmnQu9ooztKvKja9kxU310N9mVUYM9+mcijyLrbEt9S0bQ/+ngZcvbfWel
IAs1HOAI7dxAY+rInKkHOQUeP7poPQvtUFnzS+/9Sfeq9Iop6CbBGnXlPklaG3NLtMZJxC7nt+g1
qMt0J5Rd1BOnRnVtOmVI/llXpNWx5nJHQ+PZsJJbFmBplZ9m8CvK1AOD5hjKL3YGOQD9phxTT0wZ
EoXgng1OIKFy+JyjI8grh9ouyXTAv9/6wEOyT9NDe1KugiK8HsAkzyHkorXDIRa3uoqmLW6DxXE0
8+uh0VxkV5BVsPZDe5vE5CZO+J6k3BmK3u2rylUjafdd5SbTr5iK/SSVU6KnLq+IrSXS5kNhR+ZN
iKYw1Mgb3TOLHTqSIclT6rusv+7zw2js6u5mjO7M6RlknIicb0qyaxpPJns67CV+K8XGoqHUCQuU
OuMj7YAk2pnBFXi2MiWw46pwOJVAa0d7rqZuW37NotcyhAhgdB8GgwPFc3vo9hlglErqSF7YYnzs
lGNmQBt1bzSRHeiubGD06MMoCjdAHl40Th0+45N2n2ZOQK4T5JdVMT9w8acmuUay1K6L4W5oQeBZ
PY1hd9Ompst7fivNyG7bU6qJnVmFO6pDjVVTbTOMbOwqM+KjMk1e3V2H9JdGgmOhMieLc5uPR97o
Tk9uhHil+UMyPsXaNW9eSglSguS7ZFcGZJY7sJTmoYprL7UhzrwbptuE3xpg/ADrnk1UyDFD2zOA
jJM0doaa2rTFUYR6Nhj6s9+DyG2lgjV/UelNHII5bZbxkU4e5+jgq91YN20iX9PiDdl8u9MeOZYs
S0/gKUAnvHQV5crQA/Cxmm6hlJDMzp6a7GHoG9xduUO7+BiVhyi9YVr7oMrQTUmyq9PXrtXsIK1d
Znp/VBIkeHOO6oTcJmIcAOocUHJ5IQ3ArNfdA9djjwaMtJhudejYxlSzS3BnjZGwp/BLVdeHJIw9
9DCjyExsYwq9SP5MIc0KAAO4G44qe2xa5iYjhNqmNwDU3IrCH4kkum5jitCkPULb28uC6i4wWi+R
hT2hAIyQwysi6Wq95SZh6Ee65uqSfOsySI2Ba6i758mLSG9qrbEDuEz9lozfZXPi0ehwwLFoxHat
eWRydNVQd6socxn7laAOZkm/g25XOIx4ET+XyJbhjzS7J+KJoJRZKs/EfKPRndRvI/U44PjDWDh/
Y9UbeCPsXuY3avDWDN1tjjq+WXp19qsc0CRYX9PoUMsDK25HNYHHGu3MUg9NAk2G6mQozx2MP1EP
QfZ1LHYE3YMREAFSczurecwbeqyIfkWte1oHVx3+1eCgFQ++K30HD0wcaGmF8W2JE0HGwMtM7pYC
xEU5fR76B1BVUnkPllSn6Og9rYLbsY7tWqCCzpNdosVXZt4cB/pq6AAZs9BW6GMbv4L4Q4BsWe2v
uH41mqe8S7yCiXsegiAk2E/VNXq7jQxKAocIN4CVJHamvXT1FdV3pn49hbcZPyQ4qtYAU7a428Fd
d2TYsda0WzEB//lLWruYQCHOp7N0IiASjfUS4MEWVZ4VvjWpik7gq4Gr2PZrVrpSf+3Ea5ffZ9o3
iHsirk/srultMQXAr3Zo7NVs2aCIgYmo+m2aQzW3O+ZVvysQHUKFB9Ysd6X2IIp9wXaafqxVsMyn
jlloTlUUR7XZGzEZbSvsj7EeH2M4ltYcHWhv7sbetBWz/RGL3uNjfDTGa0ZdTq5y/HY+fgvGU005
wBvX1NoRpbdZoMHZgWWK3I7JjeCe1ezK4SD1r1JV3bJ50pqbwNQdkUJhJfVpsBfWdd8cQa6smw8a
6jnqb56jRvec8B0x781QOuiPZN1JJ+GOq3d58lybvzV5FU/FI1KXx2kovWkCi1T7CkzItUkrl5pv
ErmO6aESqW0ojqm6tNhp9NHMd0P6jCykVZUOSSY7gYPtqruRQYXFGHYzhD+ITVf0moeOTLRz5Ye+
IS7aolytSmyLtZ4qQCcDCElpGHalfeua5wnAPYtcteHV1J6s/0PatTXHqSvdX0QVCITgFebq60zs
xEleKNtJAHEHcf313yJV38mMhhqVvevs8+S96ZHUklrdq9cS3dYcfkTTLum+QUEYfYjWIwknb4jG
FzZSP2Zv5ZBu4+CrlTynQee1TY06vnsX0ofWvRfNipMbob02RrGKEsD7y+9NUvrDaKE+PviV2AXk
kRjlfa/fRU2y42Nzl2rxti0eE4r7CgX1u9p81cSIksDb2L0CMAm3+6YnL1qbVtsiYHdR/B7m1Cv5
qtBG3+x+udadi0hFmNiJf/L8xoCyYAsAbse2EyRUhK7vWBE8uCiR6OM9zd7CcKuJrRGbe5JPfhvE
a5pVP906ftRibuBev6tYc58UNVL+1Gv7u4EPd7Qublz7a2DcgxAzgoixGR/S5puT9L4VPFrxAdRQ
7y3/OoXf9GFtx2sjfUQHt5dYqxIRJ9MAzWevqfkzopZPjWg1Jc9A7vuZRj103eEsftSDJ5LHO17N
/SarsNgSGz2TiJeq7KlwjkWzbZOf4fA74G9Z+INNPwN0oKbkxS03TvRgkcfSXWcx97uourXwf3DI
+Ly1buwiBvftcCey4tZlq6G7TVzTc1gO/ajqBmyffmYRD+m9FWCWXj0Nvh0+JeGtRZ6m7rlJN2H+
hU2bJL3LnWcRMWTkkm/NsG7pbW2Dog2lSe2PgWgIGflbY2BrMlWboMR/AbrVqvZnnmozxoG7rcon
mjy29UYzQz8PnloX4vPNqi82ExSFtfxPk7zx+r0usHPxU3gK4llWbxCcjfwHb9vH0rL3aQziCMPy
wq5HJHws3OSOZtHKDcd1ZoSggNvlEDXuXiZQijqB4w+htZpAxBwgS2zfWM2mcX50zo9IQ6xJHusa
Otkt8HGu5U2JtWPdm9XlkN+hXtGPvjXYvtMdDPu2xQVOdY6SKIcsj/DT9MEqj7X41jdf2oHfQpbM
D7EgATX3enMw7WSLIjForcMebwZyMxj1E2UVXiG3g6N7Y+7cW2WO+xyxY8sPQ33bknqdBEcjD71a
/DLC2hvG16q5AfuyZ/fuhqsoqxdfSsgcIfcPxDDwOecvJaJDzWYqmQXf3WTBF66q8S9lFJCZ/9/3
yfn3WdEPCZ4xYEcc7/CPBjJZsnHj1fUXn2oUUvFEt4LMqudRgAMr/yI+IbEJDBHUaJCJRuMLkwYx
oB8FPRcYxCS8wX4W+deoUrxZFx/GFDMFHU+QC8rFv4y3bl+RAQjHKaTY0UPqdSTeoEtbkQZbXBDw
mwMijj6LC9JZrURJmgL+fqgrJ9ubQZ/uuj7gr2kYRwivpugTmCK0/yFBiSYCHVimcweAvtQgsrGm
Bxo803uzVxRNF1f+5POS/5pU6J0z4POG4RmIthTLsvh5JBGQXMXaoA/3/Ndb0+gW1CqQRdLxVN/h
WfAJx4UwAxJ6aMRDHf/8+8TOS+B9kHAbbwoNez78/d++P4/vNNtGxlzXBL6Pd3167xaKxV302pOf
P//95PNCF6SvLXy+ewGHFMVbf1CkVJcsMPS5oA6E/DP6AM4txGPTBNPMu1g6+9LYmmUCso5SYWRp
lU+NSKvMg5GG1IQRO7+t/GRQ1E4WxzALRVhA1YHgXvo8AD0ByvklPZjOIynuGuKP1vrj6zxnzinR
AUmErfNp0psS7OO9Qw+1swciufjMCGa1ImuGIwLyeP75AKSEaF0p7YOO9AU0mosHRAifGAFKjjhl
Z14mGevIWEZHw0rQN8m7bgOFVNMvOgCir1tZOv0cVFSBCrWhXSRDUY0wYE43kx43vL8B6/w7Sje3
QxdtQar/9ROmgIcH3AglVdSbzufMRMTLTSDmQQMVVSu7cTrwqCM5gWQxKGg4tEOerxtc8mLskFk/
AX22FzzBgGgxUZSYQS5uHPcGjaCf+D7SqXNTiQv+O+ms4p3RD/m82WmvfzFte89NVYfu4hBOTMx/
PzlPUqCBREyRHtYrH0mGrlQs/9JOBOHS/4Yw//3k+xOpkzAn+D5FeaZ7oOTYWor7dcnEjAnGqjvw
NDmgGjXm5ghFzEOd8J94THyvUNr0kO9TnFnzoXFeXTR0XQdXE5BMbIaanQ/F0AbRp+lMEozui3U9
TcY6wvOPl+noJfFgQKZwICvGkLy87gaXA4RhcPiCKBakXEAJnBtO6eBAEDtGCypwizRaM5uvm4/7
2rkRyRGmNAPRbwojvN5mENJwFI5w6Wjn35ccwYnLzAzm7+t/uvopaZ6uz9FCx/v8fSCPcV7qmCXp
wKR2WmECOcKSuNvyGumKqhF3WW8i8WrpnjkwLxRh6rtOujbjcN9pKvDV4jKBesGxgaO95BYDA6/W
8t5G08JEbye9fB/jbDOWQ/HhUwEtlFBIQ+2eQCvdki7oHu+blE8CKehmHzs7VWS/NAxgd3Gp4SC9
5EGBvFdkZVFhHQazR8rHQfLQ2LiTCqe0IDE3d4L+z45MvRBnetI4Uzk3MWXsjw00L0w5yCmYvZF/
S4NRfNGNwPpllEXyPa5rbVeC8O77dbdZ8kpIQSBpilhhbis431pNpkVg+wWgPHCA7h38vBlX/80C
ObfQaWAUMUOcTtHzGO9Ssv9vn5fOhkD8/wD4xL2h9FOl+s3sTvKxdzpF0sFQlGhv1CcbmHsS+Sm0
oZv1AOqaV9ap4CKLi4HnmDMzVc/v1/OpKsciifIOByx135x9ZPy8PlULPGrwONTZAUiBusQFdq0x
oDTSOwALgLHIh0aBxVM/dL/0RbeBcqYX44jgKFt3xqa1I++BIw2lIJlaHOHfPlFQAM98nOcjzEY6
VnWEqvL0ngPdXX25PsKlzwMJASQByETByiVNYOhWcQZFYxSt9YPGX1Co+sT3EfECMw7CQpBMn//8
pG8YbxCyIp25z5EbV/jyfERLngbWWLROUmd+mclM5WYM3eQk1YODBk4U823aaT/RjO9xhiIjiiTB
x7EXGAYBDhyHNcI3OQAOqjEPuhxyidFk+GWwzZ1yo0PPt+pUgIWFhcGEAZs+x/J4VkkTp4+lpTkT
JN5MVE0BT+8/DkgCvSpANji1UYXH/XO+MlVkmGVbaNkxq769j9Xz9XVfuBLmzkJcqy6BpKzcKSDQ
tWYm+ZgfTTRTdqvc/Ol2ChMLM3RmQrq+iyzjIe1hgm607GDWio13+QrBCgPoDQ4e9NJjvc/nxxE5
1I+cNjs6cbePAuZbBniYRhQYVYfYwnF5Zkk679MhDuJCR/VFi9YxwWB8DYR198JUBDwLm+XMjnTw
G5DF0KDBkx3b4h27yuPur3gMb2wn2xm1jdrT0HpN534i+ABvHXbL/OgBoYJ8gg0jGoLDJjsy+lh6
THVALnja2eelh/tg8QzaknV2nPqnbLK8WbI9oa5/3Z8XnA3ceID7ziBB3P2SsyH54Qw22pmPUX9T
rlmlyNEsOtvcdUnQAYUk1jzIkzePiyJHS3ieHbl239kT4OvPvI13xOw/HlPbNjJ8aEcD+A2qTOeG
6sKoyjAFe3OGduhW92jUfmKmIG49w1Ah53jRiFvX6JKMByc9drqxchKUKK0f19diacWRcJtRQ7Ne
qiWNAcQadj/EZnrEAxQ1WiBgmo8zBEFS7cTE7A4n6yGGLEB0RMGz1+k+77+iBXt1fRBLK35qQVrx
pNJROs0wiCBdoWIBdAVtNgif/5uV+VecjAPZ4yEJRis99oACFMmvZgBIp+UQolD41dLZcjocaZMb
uOVDEcFQboh90rj3FtW+FhZfmU783qGPD3RCd5UTT4r4QjWN0u5nZRa5FrfTI0rvvut6UWb4YbWD
bsn1iVza/xB6cZgzK7MBrXY+kXY1GEU4YrmsPPLC9jkaPgzrg8f9M3AZiPVAIWuzU/eQXOAVABbH
60NYnCqKaBaUgn8bcs6HYGlsmIB1To945AoUwEYgLlDe5ev/Zmb+GScuZ2auSERgwBOiVczAY7CB
6xmqU39hPZgOpUg8wYC1vODQGSL0gY48BYKE90igcJ8B+3N9IAvHzJkJ6QzAdaDrYkhSgKkfkvjX
QG6KTtEOsPSiPbMhnQI5qiKlVYLPsxRbm93prod4qTE2Uewz99ZhPxoVBefCRoVF9I7omDuUmKSw
ZqpTR+hVmR4zAKb07mfcGV4S7bruq83AkrlzWsUYVQal6IanGmcBAIxwu9SbiAfoYD/4ZPT6di3I
JrBUWm8Lfo4XAULP+ZGOS0K6HnD3JwYSOMmRpCscCkG/5ZNvGwo3XwjazqxI3jE6RRI7vZ0cdUiC
M2vf9K+1W65i8P9OKrq9RU9EwljXQeXnEjld2TG7rgquJcec/DH0r0bx0BeKvheVCWmV8r4wUlrA
RFFv2vidZ2t9eL++nxYd4WQU0rqgQbPJUob9hBfDzsh/WvybCyW7svtF8xfd/FWpsrzLjvBv2qQl
spFCKTPO02Nofx9ckIGUr02zH6un6+NanDqo4yLsmOvCcuO/ZnTdGDgDriB6mwfbDqnDnCniQ5UN
aShZ2jSJaCccqqkP5mdRrCC3+vFh4K2JFwIo/TAQ6YbLDfhzBKL/4xB9QSdXmTz1KoT80oKAXR8d
/gYEXy46xkQPETsja5OjqwH5tSfVrugeg+ETT2eGRlPkNJDunBmPzm8gLQk7wNu75Eg7PMx3mf7l
EzN18n3phkvcklIQGeP7w0sX/dCK345QHJpL6306BCmciknW056PydFmK94+ZPFKSfi8uBgno5Ai
J7sRIi2yPjlODej79mX6bCZ7EatO44WRzAouqOYhz30JLTDt0chQq6qOuQOi3FEHyuq2IqpSxJIV
VG0dA6x96IiUb7XMboGepE11NMRNZeysaj+qMBJLJv7qIkLVx0aySTq+Oi0owZDd1Edqv2nYIIlI
AZP+OIoFKUUXMAy0eM4dGNLCR1OZuV06N6w2uSdGF+QV7aqP8vV1F15YfHQyoJUZxJFoKyfScQ9E
RsaDVq+PkMxdAbQZaduY2p7IVQppSxHOmSVp2qohJ04k+vpoGeUq4ty3Ia0xaB0wWOtkbHdZ5Hh9
ZXpj9XJ9iEvrdTpE6cjMg6keGm2qjwWbkd0PM3ZO2B8/+xFGAXpCQPGAp7t0aLKKhnYxYbnqbrix
aLttg69B/eHC/ixjiMI+8iegDJSNWEKUjmULjOSbriODcgwAur0+WfNkSHlU8IwjPTunBRBgSG5H
IjIOlQvnHu1qZ4Plru4sxfNDZUI6b+ImMNt4NmFk5N2s6atrF5vro1hYckAGXOB0cIWBa0DytTgK
kA8uoupY63RXN9lD7QDjx5WU4/NPlWbrzI7kWmlKQJGUwU4KhbQbsIz8omHg+mPcB7czidYuQZPm
Xcc0QM2DwdkKp0tXiLy1Q52N5hb8tmhtDCF9wbUZQ1i0b7wp23XD018sDyGIQmm3om1d3FlTlu6D
mBK/7vEmiAFS9NAwBwIjZj1NOkep0gq/8LAGMnowxXNHpuQBjRbpN8vIY99u0CLQ0xE0KgAFAEI7
BL5R6zHSJq3r5+5U7CI7rzdVlPf+VKSlX6csW9fD5N5Yelfve7R7+GjJzVdV07Wgq8PZuNIdq98K
lujbumiKjdsG7iNwDQ1eMHr7AhXu1g9su12XotfWdGT5A57VxR6pnHLVOEb4wmgnNmysyJ8sttI9
DQbCvTZh2gNtwMXnZsK+K2ib304x6bZQ30Dfku3Gm6jMzZUdBfnKaNFIcd15Zhe/tqizc528Wx2R
gpQVYpjHYLyv+O88XHOSerpR+ZOmuhQXbYFd9G/3/PyGPbcVssbQKx6UaDsgvj0eK+3FRDEOLG+Y
DNU7dmHjoYAAQgQTdNqXtL0GTTQ0Z6DBgFt8l4T8ZmTB7vrcLZsAZAf0rwi9LoCRU2oj2k7KY19N
HforubYROXdWn7Ayy2AgOT1LYUiHFK/B40S6oDjWex7ecVcRYy8O4uTz0gE1NlFYDrGGz9PXOzd/
u/7jF25cdFKipdIAKGeOS8+XPIoNrdVb6CuFjaArPQH/GDfGH0IUvyDbrZipJf+CyjK4tECHiLtB
8mWrRPJY6yMYKzje3LukRkOifsS/iZZKlZTesjFwGaMABxUc+b1tlGaThW1aHjv2ThHZhS5yvhU6
m+KbLn6/PosLb0gc7/9szWt4skmjUZhD48JWZqMtajoyPfWcCg+8pyr7EeqNBxYwxdW4ODxQXCC2
nNdNfny7eZGScoDCHmnT+xpnIJi3QBq2i4ctrhrFwi3dYJAjmJVeUF28iCfyKm1GvCbzYw1NCW28
G4JDJmrFSacwIhfNO0ZBrq3PRqz+2ezz72Bc+sIqW3EoqMxIHm9UYihKdEcdWfEjK18ZaNzqXkVC
srStTibsAvVdxnaZZGExv2KyzEPjHXrR0Fh63e3++rB8OSDdgzclkFxwBOnoGaMw1HCrFsiaTWwX
WOgmqczI9PMq5x41B22rVX25pkWCVlG9zneQGkX/XFrVW7vItdvRIMm6QRx5M6SROGrUKPej0Nzb
eNTblRno2SqeLN0fxKTvgTl5JVaS3ThFaNwCo+je66xvVwk1Na+2imIjIJ70BY23aDtyonaXhhXy
DrTWFDnpv/Rkl8O2bcDxALGg8rleJmEWGinLj6AzBJ1dFkfbKM3ZToco6MFtonuSg2B1yLXk0UgK
Z10NA2gPmcjQyQP2F7SPFjd6CxaEsELTctaEmR/wwF13dOCPLC0MxV5dgnThCvr3g2d3OT0fmgyq
FCXNj2FpoaWIDTctdb+xKVhDKt1veupBfmoL0qs7HhR+FxsKn1+6Q07tS34Su1ybYohj4K4lXp00
Xhf9RwvSLUU75GiiDCNsv1HmVYl/3dMXB4AgAfEzxB4vsLdAL2eiROx4TABCc5vfYSEUp4/Kwvz3
kyWqAdgSsQ4LQYRubj9SoaeWjh28av83gvnvJ9+Pi7Jo0nkEluPzaQXqQPJx0QVMzYkJycvqBnW1
dtBzpLSN3Ziiz8h21qYGhoD4x/XlWCB7OjclOZTjZjpxaxOjGX822q2ZdOgRuHPF5GXia+GCq6bY
NNafTmcbnqg4GpYO19NxSr42kMICtgbGsW+YuUv5TZqsJhXp36IVMH9aoBelqKNL90SfFkGV9k5+
nFKw+PlGuU1aj35ceRITOcubISMIfhw5eIR4UkiGFvumydYQfXGrTdEo3umLnn1iQpquTPAiSFwb
a2V/t5vH3FJ8f2miHES+YNyCsPSFsjRkqxugdpriSONHa9ia/jRsa67gZF4Kd4ClAsYf4F1ktKXV
gGhACGVrDKJ0HjsoK5AQ1ynUHO7bRlOcNUumkAy2UMADUQ5ywuc71WqJmVsJIquO3FnteyPQT6k/
97HjZ1QB5Pt7Qcs3GSJH3GGQrUEuUrJV4VSewF6KgznOKscHJR1Kk3mTgnRaED8yhsynldA3vNHK
VVK22sqoO7EmSTxuXc0xPCiXopJZBfa9HRPjK9WsIvY0e2Jf67hvjoaNJnzOXfYQ6GQ6IlX/vc6I
hgKUiU7Vxh6fikKwN3T4o/9Gc1wcF2SWtQYRg9WA46EqnGLVhm7/Xsdc+KTW8p3uttNLVJaIca+f
KpdHJMJYcFEBHI4XIUikzyce/RC2IFpbHe2gATUDXrloDAoslWrz5X7AYwekhbN2qT6rX52b0YmI
Og3DORZYURDcdgr/WRjG2felYxgdkQIdufg+od7kbNxh7eYffhNiCMAuYdchG2tS6bIaKM8TkLvE
x0iwVSOAL/h41w4OJKCKINMC3wSt3fkk4R2jgxw/j4+VcxvzLeg3kkwRxi3N06kJ6VxKrCEEaV4W
I7MBnQM/oWtNxRK7tNSnJqSEBnI8ujAjjMJuNiID9/nquscqvu9IMNWob+zAdtP4yNubEHE+SVUZ
UMUkybfQwEa7dkOMYIxf7PJPZX2Ztdmuj0Jlg5yvtVOVaMBMYaOtfH3cpuaNpYp+Fhh0Z3/CngP3
Doj05E038jEqtUqL8OrqPID+PZ2vC/uR53ukpjOT+ALt9O7PNvrd2r809zca2aN2k9TN5jNj/fc7
pM3pml0T5EYQHSeyagka31e2qpy4NJ0M4Q94ifFivlCI0oKuH0vB46PTr0x72wVPtUp6VWVC2v+s
7jqWJFF8LLBi4b4VO1Ssr0/U5a2Om+9kFPNPOIlXodJd1G4NE1rxw0B/e75jlV9+/NlwbkVaDtwG
RggUJuYqWDf9rvo4zT6+jwQjEH9oW77A46AfbORhYoJ5UN9XfF3m20aFuFg6A05NSGthckd0TUrg
2cKDJJOT764vxOL3GWIrRD0g8JdhhY1mJBUo6MGZZHua7jeqp9XiQp98X/r9rgm4dRfh+637EM7K
Lw/gmxhV4oOLHntiRXKnHFj+uEbL15GmG8Jvk9YnzvH6RKkGIvlSPwqIHmcMC/EdLCuO47v8Ju8V
Ri4zfXCok3FI9yKaLvJJ5JgtFD83iMzAe6F5Dn0d+N5oHm39kBZfrg9Ltf7SNUmHyAARP2ZuGDcB
W3PV0az6vnRHdiY4qe1h/r7pOyZYcxXXvOL7chO/FueuEzN8f+aB+p2qkJaqz0sPA1NwVtccCwIM
V/XdfvtPk0+lq5EkwnRw1kZHIW5otelU1MGLPovODWD60e6AhoTzU1b0jcNGc4yOyYRAf5vFD3Hr
5ebLJ0ZxYkVyoaGH5hOpcQomjk+zXeCurn9/cXOffF9yoca2zCJk4Hdtpn134Nl+6Nf/yYIcaEFJ
MrCaHiPo9ZvEXXX97zL4/mET6AhBrQCJsjm4lhypEgmUOYcwPIrCq6DKXm4HoejdWPBVgkLELJLj
4iCXGSHGTsRWGbXaIQoCMNP8qvRhc30Qs7+cvycJ2kJAx4/Pg4ha7rMOjLqMR9MMoAL9RGgB2uCv
rN+Z+a+mUFxLKkvzWE/iAwN5pS7PLLQ44QmSx2/ELVYohnpD9ZMUinmb/fPaqKTLw3KryikdjCqw
bofwASSNXhBtx+xHYt2lWK7rc3jpzSD5BbBh1pxakHwJqgoibUmgH6i9s0MfdWLRKjbMpSPMJpD0
sYCmuUyZ2GFkgmcrNw458VlorUWkihAVFuRiyuSkvMn+Woh/QMWlVyWVliYJsA+wBUB14lJ/o3VD
KmzaG4ehYccUtEPFSNY0ahT4z8vz0QFttAWnxvMB2DxpU6aBk1WD1hiHpOB3QSbAtVD+MoJqDaCB
qvq9NGXYkygozKITF9XiqRzGbGwG45Bp3Q3rinXcDwrXutw0M48HKoUQyYJuifwKombFbBIhSqij
4ZZX/ZeG1akPPsX3vht+jqOtahhZmj8wxPxdolknRUqpRFHn1hxErJBwhGTalGSv9mB+T8dhX5vK
vOyST1g41hhyKnMvkmTMaLiY8rzVD7Z+Y6DCpP92nB8f35unJuY1PDl1QFsw2vA8NIWGjmd2ENDT
KvQ9fByqiXUCDB3ZXxOQN1u+9h2eTbZw9QMknFbVJHw3UiWxl7zt1IQ0WYkJrBEvIgP1qr2YHhFF
Xp8pxfeZtHN4bmvtFOAUa+zOg0Yo2GQ/YcAGKBDgjQX9D2p31ADyAVvTeorj9xR1jesGFt0J0EYc
kMCAXQCYKSOV2YAr/eBYQbiCUFu1LXvHAuam+XjxB+s9p5dBxc3cizCs6vvS6DQshgWqVYF8FDU/
M1snFqQQDCRRIEKsHOx8vXyKePFEjVTltQtVGQwDzFyAugAvfYEFNV1WumJg+iGq6zeL4yaO9Dth
pdo6rJvfkJMqvSiKd51d7IAa9Ro0BSAPvL++bEtHDhhk5nw2xDsB9TjfoiRuO70dOnKgpl9904wD
Tu9qUsQ5S96N9nfEag5inQu+Gn0cWdcG1DhERUB2LUMetyqZSut70QrYaCywcSB7ZUrpvcTtIU/S
6MYhBnlX+Ix45xNeAVjw/wxIc+WU0NDEhWEcGL+Lh9vPbNHTz5PzpagtGib1CFUo8KX20ar48LMC
clgnv146woCpol2h4/Ma23Ug5NYV31/0JAvdJUACI3EoQ1zacsiTrEV/c2n5oto27qNr3BG6ve6v
i4t8YkWapKDKoGuZmziIKw4AX7z6c/37i7sSA4DKlAnszGV9TKMc8V6sH+LshRpPOZgdI3qIyAOJ
i7satIBUBKsY/MFp8Ail3uvWl0bHTMgRm+CJM0FHce4ChZhKUEg508Fx8lUc5qsPPwPQroWzBmIl
DL0mcn4aaNGiTI1pOqAwH8Re2rfkDUirdB3EuVilUKFdU3PsFA+CJc/AKW3MAbqOSF16cObAiTat
gUijz90Q5MLpdN+lYDu1SZDtMicZFX0PS7OIEjAQpDNr0QXTZZHgFOrdWofCj70v3HSj2f0njoJT
E5IbVqwXTtlV+sHKrLcpqXdTnimqjUvRJ1jScHFiyS7pG6sksCfXGKdDMBbbrIruLSvKPasb7gsR
fRtBV6gY09INfmpwXsaTaC2NDB45OgzmzXfa3RR2taJRvP64hwNmSzEkiitPl08hogVVD/bIA6Gl
D/iwPhWrT1gALBaN43OTvTl7x8kwzGksY8MZkduLS4+W2wjCP9ctLEwUUEwoeeLKBH2d3OQUl3Ec
0mn25770odVaQrubJ2//yYh8mwVZMo0CXZbQkKLCw+tkPTAwt7uN8/ETFaPBcwNHAqIqGebJ7SFI
shqjccWu0X6hCUbhVwvbEfcxqiuAJLoQWpeCqQQUYjHTEhNaOd9D93f68azczIXn/H3eQuJQvnjq
tKk19D1Mh5LteXFfN98zE5mNXHG/Law6giQ0BEC1dL7kJM8Ff4pRjJo2HUDQm4hH+3tJFefWogVI
nBAKepg5XDr3XBbmjjk41nQYNfGe5M2aRdVd76qgMktmwH+Fqw0ZNEBEpTipNGrLGR3ccJN2r0+N
zybu16UCZrKw6CC3BX4KRSHgxmXFz2LIJ1NMuMmC4kEfH9LfH94dAOBA0XZmbZoZtM6nCkQ+kesG
HO8lq3ylUCDJSvdr22qKyv3iVOHSsuFhSJ7IEPsmE2ZI+3460Hbmve42hARPzkCfro9mAXEIbXZs
QmPmDnWBLjofDqudpIbyH45ejMqbQLK2ThrkzQSPdn0kNjUwaF02bEBeG3s1gYpZy0PFj7hM282/
Ae6H6cQbUb6lI0bqPNL4dADjz9plwWNrsueW2y9mEK0LzbirU1fx+Fge919yQbDuQhZWWsYODHlB
2gnMb8/JZgLl16+Sp/2uNoM3g1X5zWBrwMCEjbHqWJ/tQ11MD2jFUh0hS+uMtBXar3Cm60j1nc9/
WDu1rs2/I4zAiT6O3ohOHGec1tfXeR7OeWYUUwx1NR1Nc3OD0fwzTq6mEczlFUTDpkMztJHrs6Qu
t3qc5vdFN/CHMYWKDjEHFX3H0lZE5O/OmC9whsoHVwukO8taYzqkWFjNCe7FpKoaLUR4OEj+mZDu
3KFqkwQIIZiA9JY93FuutqqhF5TXH69/OSBnZgQ9xiCHA0z3fAqjyR2C1king2v6ITS8VQ3MS5M1
y2H+3QiX3FxJDyExyGWPh97vwgemK0LhJQ/A/oK8F9B3YISSLhGX4xkMtu/xYKTljpo/41RfVwYI
/38C1eNf97alRZl5lDFJc7+/LW0uMrHIzYN6PNwS9rLxtfDl49+fm3FxWqDebRiSN7eVhdpqIsaD
2IXQiYweJvIQR5vrRhbWA3tmJkq3QC6HzOj5euORNrCqG+nBhbj2M6+/fubz2IrzpY4wSJ4jK2xt
LRH0gPA9p/sYJZHrBhZOVfz+fwak4McteI+HMQzUeEjWpMYoupXrPBParUmte+CRXl23uDhjFOXJ
OYpAqZKcz1iUOP2IQwUWQQQWbjPFxT6vqnSGITEGGkMD4wLrqTRjAkJVeVMLdihm9QW/O+ZcMQCV
BWnKIHso0shs2KE3tlBvStrKK0IVYEZlRHqTtnFIGoyDHdpgbRhrvV41iu2xbAHQVLAU4H8yNZ4Z
mLRA3YIdUGZB0hViJyT4+A7HWvwzMf+Ek/tEyyt9bJBcO+RgZMq0+TS0kp/514871KkV6V1IU4dM
9YSBxNBWSbfQKrj+/dljLjyKEfAUorUQ4B/p++jgzQfRpexAo1e7uHGgVxa/Wj/qSYX/W1wRlGyQ
i5hrOnJnr6iLktR1wQ5Cu9FNKKk85Cpp3vm3Xo7ln4l5c56sSJaIzrATmKDGXa+vSfDHakY/A5/U
Z+bsnx1p5UUzkBgSZn/3SGftgmhlJZvgzW3X1+0sj2du4YBSK1rUpeOXuFQbkdaxDxp9SzW/cR4T
AI4/42C4pv7fiHRiubHOksoNYMSpn+kUoL/UUiRTlpf+nwnp3h0tXctRMwCt/US+dZa9sXLReb09
KSqgS4cv7kTQkqDJC0Vjyc5QhKmD5jvnoBUgI1iFwcfPRqh/I7OFrj6EkfKDpJrc2BjGDtz57pZm
+/YXC3fXV3xhBKg8AoyAMjECIfkpQqymE71p00Ob3jTvsSr/s7AQCLJ1dJQCPA7YhnR92JXu5k1H
kVEtO5/zCppZd2b3/NExuLCA+w/HiYvYR/JayOegtX/gBHG2P0LirFO8Wy7nCElmyDzbaI7Fo0V+
Lgxjm7VliiS0mWurgiTbIhOKTPDloQgTiHTRpAz6cNzl5wdJaHaWwyeNHFz+hQ/vNjtmxp1ItlVy
vD5Xlwtybmge68mJFQmoPRY1DIElwMsAgjeAU1UCo1XDmX/FiZXS5lpWpC45GDYktMzHFp3LQYlu
vviV8t8fHxFyA3N8DfqTi754x62tME0YOTCoH7pd5NHwvo3T9XUrlycjelv+WZGzKIUTgG4Xj+YD
lKgC62mW1Rzan9D/UASQSzOHGjqO3jmFfrEfe1ArQB0ArNFlVq0mK+GQiOzfSGjegobjC5n679fH
teDbcwf232Z/HGOyb2tVGHStMQwH1rNfqY0zhnGFby+awBsOLKgAyV48gw2zsMBSYQ3QfvwSbazo
y/URLHg0eEMhmIB3z/zelnxNlE1JohCfZy9Je1dH9+nHtXxwOp5YkCIWCgkxcHuawyFIEq8VT6Mq
sFuaIXsWFIAoiQ4ciBQC65HDYpPk44HHo18K2+tCU3GGLc3SqQkpAM5Cxx6KCiZMRI1iWvVIBKaq
1MNCggdpB7Qa20gE6lhxaS3CYjRJ18KbugYKVH4OadhqCyLPUPOhOUrHdWuvIEl33QEWZg/lMx0p
WgSTNoKk88Mm7OosqQVS5y6BkkAD6iPV5C1bQL4cVW0kdORNElhjY7RmoR/y8M0yflvdn+sj+BuK
nseR4E5DhtZBCIEkpyOFRGkKzYq2Qy2mLO+ndltTYwU15MFEAchB3DL+CNv7sLjJ8k1XRNuyUPTv
LRxuwNQxgmQ9moqQmDufQaR1weJGkFJvKN2Qqd3H0fQkmEg8iO0ost5Lc+nO+B2QbuFEJZKtsY+7
sKqL6aAFr3n3u4xVQAuVAWm38qQMNTwikVwV2irqYxQ6UsWjeNEEyllIVIAuEom28/lqYhtlJxpP
h8nNIMzdTjdgrFesycJFgKjS+j/Srmw5UhzY/tAlAsT+KqCoKpdtvNv9QrTd3eySWAV8/T30w20b
V5jw3HmYiemZqERbKpV58hywoAMrAjL81YFNO93KSilQGy7Ky1FJfQUqgQTODpCnPJKV9fr1Hjw7
JlQJkBVBJ9Cno1soOV75DOuiQx/b9Lr419e/f8YBYR8hbwSgy1IaXvk4dDsPoF2Ip4hnlypoHUaw
jAzZ968aHXkdyGWhvQdo3pURsJE7RZsgnVfOip83EGnfeiGdmaYPFlbLMrWzAr0kWEBDqPPSVxu+
bPnAlSMAjhLaP3/VCJEC+7izBHp+SGMqHWSUa/RHxNCSlIKybrqqc3LFAXcBEep/iJ/Bir3kQNEA
ZuFR/tFoPaYNT3vWI4JCtDYVXmJu3D5nHAwsQAABiDAwGK2zSHpsTUY/pT3wyJKa7WlSwlFC2Dv4
eo+d86OwA7ozAMaQdF/nvrmqAO+gwE7bWYiefvV8N8VXmT4eVGWfkSMIK3eWvde61C8YQ5OutuEZ
zg4UkRuuWszmp8qO0gyzAqHQPmLZgzIXXtkfpx6ItfL76CeARt4ZWt0Yk94t6fKyjyCZknsLLVhZ
b5VJzu110NfgLwDiP2NjUAzKbMhOyagqnyCoamsbp/WMi0NITcBPh6AHCOKVGy1Bx5yIohmiunJ2
HdQwCJk8Bpo/PXH8udyIE89agx91DQeVNyCJP+7yJFFNWVVsiOxCCSS5LMTPRLGoFSe7TLx8vRHP
bQO8RoC0xeP3s+adaletbfXYh6la40KdgnwWqVfl4G2SWxRU51zGe1urnTC3kG/rjbyPsj9W0l42
b/qPTvLL+m3DNZ3bDUjXgW/cBoc2aqQf56/jeVXqYuyiYvA7atQbZ/fc/YCmadCw4M6DIuSq0iOL
rBpY2/aQV0uu1Gx8mKF2p+fJxvv33CgA48B2W8iekbr5OAoL2ASCyxPnpkj934lW+F+v/LnVQGqT
4BIFI+InyFU19hJ4nXgRUX9CbOPN7h1i+cQ6OPkPbcvbnJszbGYUxpHiBEPYajCKSsa2yOFtUDan
rjbQam5pN2xM2XIw1nfSeyvLlL57zLsSlWzSwoo1OxcayY5gUpypI8YDsZt75hAGVEwC3vYtaM8Z
HlAXTzrk0vFAXZgHVhdTQdQWCKWqj3g73A1DHGpzc80Hy3enxhu6/rKrgNprip+FVLYwweeOMFhV
VdQ+ELJ8eogLqbkgWcSxIj30Qcq9M9zY9jOHgNfXG+bvID5Nr7sADiCtgZzoygsOFoT3lBi+onKN
OzTF3yR55yMrN3nZaF4mrD9aVhywfNo5EwGbo+srU+6zBpIlhI9XvZNcgQMiBLBuw4md3V24S5eO
Abyu1xGoywrbtTLMQJUdeH0q0EI/G99H1oHCEXpFS3EJ0cEaBANYjGsCdDlFhnrJtFD7+fXsnjnu
SNqgJgNwGARI1wEhT0nSG4KMUaM1NHkwpy2Q8JlJQsoBaAYTZxDPgeW/vzscVqUR5hb4fks/5jKl
NYn6LSKSMwfQ0Jeq7sK6+5kTox+UmpejHCNFe7SdCpnmm2560817cH7xPoDk4caePDtr7wwuZ+Pd
oIrK1uM+ncZoZM9ZdjHF3+9/wDsaBM9I2KFx+hMWHlVMSP4k6hiZRtC4Pvg7v172c6uCfDwiF4QX
IEdeDaA2GnMaXWuIEtulVw55SLdc75loAo9Y7F1wHeHVrC5r9m6KZKokzdirA3LC1p0yu7tu7jLq
AuJY8BbNPEqyESyd8UfvDf71le8M6mNS9kmjDWgZgQLP/GbrAxXZnW1svM/PT93/DexviuedHdVQ
eodx2NFb8yqes32TQrnEqMP/skL/zKyilkaThDE5Y4UkcmrkykIpqPp++zG6uECJjgsESER42I+L
RCxQH/UtAswho7N5itv77w8CvEYouy9ARBCZrn7fmHOtibsxmqbAmAbakpEO8X9IaADZjIc52jZM
hC2rqWpJlTfCQVJNiOspfkyM169Hce60I2eHhDPCFtDLrkbhpqJRS9nIqE8RNbbpxkpv/fwqbgSd
cp/zuZVRPfqz7RVbgePyeav7E81g/z5/dRLVDMi5WeL30X0k0XvKQk07ChHIrXryhqG12o5suKXl
aHTGyfCbkpbOjTt5pYkU57erl5DBQgQM4BAG9in0YE5nKk7KZWSZA3WNDJ3/oHoUW+TFZxfGANBm
4bdyPz2IJFfw59mIdZ9fXJ3TfrMMdO7isv9ZWM+Y6jTt6DqDjFCg8cviltunsUNbpdfwi1KctGKL
tvic83pvcBVLNXrfWHyCwX7UqcxOvH6Z5+evj8t5GwBNQtQN5JtrDJEy2QbArqqEfCSuYnQdGalC
W3SKfG3m/Or8M7M6NvVQxCXAvNht3Af/LnIV8vC1hbP7Ge0ZwGKgo/4TB28F3PzYJDj3daPKi2IY
6ku0v4o7ovVD6HSFdZMWk7n/2ui52UNIj0QjQNVgVlu5ZHMqkK0f0fnI4ztNPeqjP2wFF1smVpd/
yxcZERcmNP6SZDpFYpO66G74eiDn1ucvMBHYRPIZH26NNbOqlqAmAMElv1c3Atdzi7MQ+CPBjJbn
T0gMJ5ZTLOYeNee2CVh/mkxUT90Hbv10yiL8eijnbKEqDLVaVB0/g7drwxh7QNG1qNdeBqcJ4nn2
XeNHM0x+N3y/7cRFFySqQ8vVDJDo8jHv4ouZSzODKDMarsY8DWpFkMvRMoZrML9t8S1oyxlZXw3I
oYNjGqwOoOdZbTaw86BwNKJu4wzTrm2vM/UGtYGdU4hTCQ+uyxYtlgmNncdZBqyKqaG9Cnnq2Jva
W7vJOtTTvBGZnuHaWsaPVw1elfikdYrSEe7EGr0FHN8I4872eKxd673ltVBpcGTYg2IEgS2NlZ+m
cSjqG7gBTzNaz1CaUJRb6ey/2IhPU2TBjSGdCC7N9furtVlcQA0bzS3NgEC/9Cv+qrD8BlT8NSgq
Knjs+jLjr3NaAek7wNn13tj/inX32PeCKk0SlBkETq350mkho9fKjYzq+UXEjC3QCDSsrtEdbbGo
52pYxDp/dJ2UTvNV3qFE9qscNU+bmSd5chAsqgbpt8AYpBL3SwlWhSmheqnt4n70dS3bcJ5nnMzS
5wDfifIMwGWLe3i3jePGkWNcoeFhaNvp1k0MeSHYMIYWm7boVc7sYuRATFCzLUIen7IgeTIoZtNi
iYTSipPTNPUO8zQcajXp/R6knNc5BFGuu9bd6oc48+YA0cbyiELfEwKRVWhlksLUctRbIukQf5Zj
mOftQaoeFFK+602RK0fmD1gn4PLhh1YnFXn5HAT0VRdlzgWZLv587eA+jWPhRVcXoVRUWfHmWP36
NCuGVAsNVRUOkVfWFyk1smz0dMaNMEPp67t9JCt76xtI1kqLRp4ukpniaTFAHKDBfiJtuXUJfc6Q
LZaWghGSVAAPrFk529osDGDkkZvrGhfqjGwKM0LQtZontVfz5LYFSUIozOLSBqWjp7K5Cv7D3C68
gWhoQWln7c/Rb9lXYHfrIm08tYZGlfxi5g/tltbcp+t2Geg7M6twyB7tbiAjzOjM9G1R0ix/+Xog
n0700p+IJBSyBgtwcL3ZW0svIdY0N5E9p48s1Vyq2YjxQXNqPP0HS3g14sJd6lRrpL5TWWrnZKyJ
9Ll+bMrhXlOnWxL3G++6MwP6K9W9xHboFFqnKBqUltFlZNbRBOw27yE8c/g+fTFaAdBrAGjfXxvr
rASaSG1IKcOGphzbJKGFuoWoPzsKArokCMH8VTj46GirQjPSrI5F1Ga2pINZDYHQyvKqimd7wwmd
cRPwDdBXQfkQbcTrHUCSenI7LhrUdoPZOZjzvh32Y/lflgU9AoBbIjGF9pbVgGKQ89ZW3kRaMzFG
Zy3rGzo2mrNjxM02UARnhoTLaaHs1ZHAtdcA1RjJc0Q4GFI5HNG6YRYiYGjUgXrOd58ryy0ILm6U
PoDu+JQKmftSTgrhTQTqmfFQuJMbzlXmbFgxP92FIK/AGUUleWk0RLzycfJquxpHwHh5VCMwnZvC
wz8YCJk7Qo3Crxt4Wv0Ql7uuF146g2OdapA/AI7FCTUndKdjrUQOY14KXJ2TezUJrDQAHRRgkAYt
hzAv7w2OH3JQ86RJinuCD+BjPpL0jxkTj2DfDbeOfpFlv9vc7/iFad+kth8baG6mhRGHkgmvxdiN
XWUeJiWmVlH7dWHQ1A2w0t6A3nRd/zYRLdqTUaJdiqno0YBn+TgtWgzG0VGVVZTkAzhTX2p5HNN4
Y/I/76UPRtZn3XREWYKnuoom1mFaQYbuFrt2Si+Eq+6/9pDL936ISj+OZ52EjGdX5eAQqCK3AAKC
3/aon4/KM+QAPVVBS+T00hJ7Y3ifb5iPwyMf5zAVOlGsklQRJDpczaaKtrVKZy3g5GProutXNVfZ
idkVdet0sMD/NBflxknf+vHV5+edw0CtgB8vCJRD/CG+/XpJzq7+u49f1RrB6T8WbYYlUZxjfT9Z
+yrfG2Jj3T87e6wBZOZRN3Xx979vgXdRdWK5SmK2ehXl9jFpTthblrmRRz8zT0tCGB0h6gK0dpZx
vjPRMtS1rDytIhV0nXTYUrI+//OoLwOEBBTSGsjd5NywdKXAzs13Q41n01ZeaPFwq6OB7/9nYPmA
d99fkWEAFLGqopJYu7HUvKFK9yK3Q82KT9NUbSz7mQgT1CjoQEDlHw8eVLg+2kuz3uIt6maRngbN
YYTwIjlm2bGwbuv5Yrovvt3qAq+ObO7yNAZ53aeIVo25I/NxxPiK+GJ0s+dZsictK2paVINKM6u7
+XpjfwatriyuZlS3WevyQsWOcHmN+LX08Ta4BpY1aHkXZoMa1qNJO1fsZsv8nTXzRuD5GbX09wPQ
hIoQBzwma0YDnhqto7RDFZmDHSEVExjgnBnqYmeP7q7l/JEjXPAyJ79OwTGsNkUgEu2a83r39Uyc
OX0atJYhpWwCTf/pFul7t7VmopaRNjUAeETKMKKlt6dfWzm3gXX0aeCRpy0s+asNNSZK7grHLqMu
LmhMrtP8NmWWh3y4Z3TpRrrlrDE8jMDitLQrryFGaqYrczXkVdSwa3toaSWuCk0NVaRsh3TamL8z
LhLaAjrywgaODNL3H49KU1iy4i3Ovlb+IO5tnIRzsRPj933keyvrToSE48HVWRhSaiLaSRPQQf/I
5q0+hDN7YaHZxBsBzQhLdujjWJwZaWOrslmUsKexfiqqh4I8fL0RzrjKDyZW5w7aVXahSZNFvbr/
Tdzw//frywDf+clumqtYbTAApj9WWHKj3kqbnlnuD9+//Pd3FhCJQv+cL1Mkf87DVadWoV4VKACm
wddD2TK0OjF10zQj7jMGWgqa6n6i7JviUOlb+2prPZyP4zEWVHPBYMaae68ofikx4i7XQ8o+sMtX
u86Q3DI8R9Yhs0pqVSHwqRAAvXZ7xSvJ06CeVFRwLeWktaEoTJrzFzypPDnY1HWLPXrHEa1fQJiT
jqCaZgdS7UjW3c/atHMV5rnkN2hKKCuecheaGcqeERZYYHi0NT+BBnQOITHH/KUOjwUEUIv8dlJf
x5RQKw2NYQiM5tLkW77qzJTgPCO1stT5Ab9YbaKiH0lcVkxEWQkEkEi83vj+w+kvYQoYVMnStL9O
b3JzYsLCuywi2uhJaKqMW6jY5SNXEcOSqvw/C6vIMBnxruV2JiKu3QNDlY1PprKxQ8/P0z8TK2/R
dwMUo5tSRJrzSsipYf63T8CHISz23x21oWtUoRb4faleljJMnMM075Ju47JYNvhXE7VabXQu9aNB
sBS2bl0AeUZLEiRxiOgH9aNjY7sbJ+7M5YTUqqk6yDg4yHCszrVWqCUgfIRHZl55IimpzSPiBjmL
6aB/uwPexD7D7YQOI1DoANT2cQpN5GmMTsY8yjXQgriA88bPZfXtYv9iBSAFsILqkExa83VMRMcL
NBEi6rtTbtNuCy13di+/+/3VKJo+r8vJ5CIqyrvcvWlQRPx2WXQZwsKPuXDD4DW9cuu9LAbbqQn2
WjV7vL/NyGNZA01wKaafX+/qs4N5Z2m1/oZEpJvFGvYbPF1m92HdX+jur6+NnN3UFgg1sOgL/e/q
aCp5u+h2Wpgxiy5lpnnPNErkk1F487ebif9O3T9bq2MaK6WiFFA+BfweJCGtukNDyUa0fn7O/plY
nVGnYY02txiOnQ9UiUMHFZ9xi8HwnBHM1fLiQRSH3fzxrBQ8yadcd0VUzeAuNMHN2LvBVLsb3eNn
zUAxcUEoAWq61mgfchE7RpHVEZaHxgmiU1kGQvn99QZYJn3t1ZYKNTCWqCB9Yri0eaaDDbxEGrhE
sBjrGTQgx/uvbZzbZHDQyDKb2GYQjf44YfjzVGQ1w0jQUCx8WQUQK9EhyTBfO9kGp87Z8ehQ1sV+
xp253tAOhmFUeVFHgEPpyrNIN+brTLSFEfz7/dUmntOcKHOc1yBPV3xnuNDyF0OFuMd/eJp8sLPs
jnd3Wh3HXI1VzJl5V0gf7fEJR63yMG+tzblbBmpqgO7rABR8QqTX8TBVyZRiPDn7ibfmKStj30oY
CtDkwp3Tja1wdvps9F8hlY63w6d4RqSp7AcMS21emfqmqRw51OsZZeNvbjlw5oG/EAETKqKgF1hP
X4dmTbMWZTRrzsmGT1ORro/LOxn30JtVLnJ9i/IanfhLE8KHswSjeBEhz402V9TwV860dPppFlZa
RlBxhsZ9kf0yrOqkzs7dmLk/6yHezWT+I9QYVM5IG2TTRdzXe7DPBMPY0El/k5VOe8a9qXWpZTW7
VG13xJa7fMEhmH0ZNlN+0FFIEXYcCpYHE6hqamU+mW7vLcp7pbDQogUB+PxRCmfnjPph5PPJHdVQ
q35oowVtDPPEASyoNT3I2sxvTUln9gK0CljkLIBIyoMaF94oDV8tzQAZfZDrcmDJjbdWPppgRBtB
wVMBDJa7KljReNg6LmJHfjO1IFqeCyrMdjdruT86g9+AimaCUJcZ34yaDo3yX3yBklnEc0i/45BF
cu2o6aHk5TZA4gjKbQEt5Nof0BmTtQbl4lGovzStO5bWfjbxsNCVP7bGAhPQqlwtaBvfKfj/uvat
S3tU9I0b9LF6WZo+yTgPIPB2SLT+IiFQZMxZIB2EUn3qGbEetu4UzLP6xJUc+i0TtY3GcwYw+Qva
6JpPZn4JScPASC67BCjnsnhLy/g4IekzNmowtcy35sGzFHI5g1wCrXMPzACPwVA8Es6unamnXYdK
pF73O1KQF8YrVAH6kxj/6M4VHy2aTr3H9Sc1eUmzkdbV5MfJnW4BJT4xCspPWqsg/RtHsLnMkLJs
bwx38EiHctA0U12z72q0kJHiD+NgAGy5h7RJpILF0RYgkyspqmJUt9g1QykiBowqbTSPiHtCwByu
/NFyO6hbchnbfTA5k6e05KA6Ctq4QMfNzZ2qgAppqEADbB/M7AWK0Turr/YFnmmudpeJHn3Hht8l
rS97bVdZV518IulDxR4b5N4NQBPbBl/aP41p5TEDLt+6QWgYJIWgrarTzOSoN19n1WsnHBDdiV2u
tI+TAOEhdIacjodEZoHbGYHRxjt8XSgttq8WQVeH0LwDagNlkyxVLpdEkZFynxh6mFTiaBcVppUE
XQecjPgJ9Zn7STo0JxWQ5GI/d9Vu0XDRG4DLhBW0LAlGCXUKFImGSV649Wssb2tb9XTIV5Ix8ZXZ
ulHsdteM/DhKsU/LntZQ1oYQiKfrqTdXVpChEbuWRlDPiUcy5aIXV2XXUcjGoPoUe728L4qRMmXc
2eVjDuEIlDO9XPxUyGPuzLSbJs/tmkPMfmud6uVuF6gKYDZlEaQZ+ZVAJ9eentKyoorTeYWdY4Rz
IJzCnxrQDVtIyNmmB6IDOuevrp3/YKCSW0baD44PBpQwkxU08zKf9Xmgj/e224RkWBSGoSc9Dot0
GGKMsgyqDornudhbBOUxjXtGm8WUtMlBb2UwGZZfyN6zR24+NKZUvEzMI526Re8Ud6FAPotnwVMa
6CLzylvloEkGimdz5yS3wiKUqXwPin7fnF7ryaYOjlptoSJWvFpae5pNh7Zw1RWO1ZTbqJ/9tpE8
YOjKYKZOWyMDkBLiO2YSIHlzNbiJV9czBW8iTWs7HJEpaLXWL5tpV+VxNKdtg9+zX4dS9VWU+/Q0
8TqRUZl3NJ1/jOqvkhCfTSWyqUCtWCXOfE5FE3smT6l0a6+QoZHpvgn+nord203ltZJQCIJTrdT8
yvkFjnZPG+BJXRI4yuzF/DlD4qFjgOPAw1KFv02qurPGq6Ebj7ma0ynX/AKVsQG3wNy/9ryC/vov
ZEQ9Vh0reEFdsY4VmkLLtkWtDpVB/drqdE8tE2RUHKqgUzCuzcOCTuPoMs7H/DKBm2HVz4xYPphV
dnr/ZyR2mBjpdcZsqvdAsUypp8MjsVqg6RToZHAVc8yfmONdkl4Ja9xPKbTiJ5Q0C1Q9zV9d8qfT
HvKSYA9Lr6sx5BFXQtcFIG25nAacy3Lwe7sIctDkxViyYnQRpCRUTa5zuBslR4+eSY38yexNz8Zo
GrU+ziBpt7BNTRHvLWhAQxkIyoRzYEFJB+gbigsN1e4XhqYVbXSRyIEbNBLc1z1OBNeOXZnRNEto
LorLpE7CtPnR1XOQExGkw70+4N+SsCu0oB6esyLxc/47AT37sBR5i9ErFrjshKoIjnfZIDskCg+Y
+me3rEJoyOy4Y3kqAfjPJYlflTeyM/1Mqw9zNVJZzH4+Z3fmwGiZwalq0r5tkZKB8jgu53gP1AYd
4LJnwMt1nB27TK4YZjQxkKJqHjQcxdQVoc6f6/HK6PnRRnMDulxpm2h+1+hBlVlBBRBf32q3KpoF
pjY91GMcDAwd69UOfZzHSRg7uzYpz0z0w3aBkxq71sKiDHxv6+kRiS+GG0LRzMARvRcnw04VWpCl
euD2Zsh77YdUwCWsd0HHFK9r3pbVmLMcyaVn6IKcWKd5KHAcKsFwSB6sMfFYOUTMbDywtFBlqi9G
8pMT2xPEvS+wwvXYU3d+TKFVMg0vucwDqc/7fFQ8xbCDOY1EXnh2hWK8bDzQPwcTDovK5KNR255U
5v1UIfXXvFXZyzQpONpvuVVeKCW7qdAbqQwW3CE78u5VGOrViL2S2JrXuBV6xJ/GeT5Y87zTauD6
UxsirvZJsVyv638CtxqA5C2ctCqnjYP4SBBBCURC1KQN5JD7vJG0z7qdhjZP1r2quL1tKwmaqfAz
80YQghK/vOwYXt9GeSSac0wAjKitWzE4FNg33+7NIJZzwEtEFuSRNQqMMC+zG2oj2OhQlimca6cv
7mvjMXPSEHSvO56boTJk8GVCj1ynfWjQQWi0b1V+0/dD4I71BS81Oo8/mQFnh/Rq0xM4uIQmiR5M
cHZdqv5o8YKqzMw3qztbAJ/QVHRpPpyE+XPWUo8kYISwEZOlAwK/Avzq9Ukow6Ojv7pgDAC5rFcX
9m+uur/tqYBcq9yZ5R8HGpjuiECwbmgDIiszSz0zZfs0xfWJdAdb3rkAUjT1jyXYI4hoKiPzDftV
K5HJVfA50r1APvHEE7KD3jQ4q3NcPcfW1WlSvGUVbuyB7ZrK/SlY/4b2uwtkTvQhPSSDuEYt69Dn
4rIoXm1W+01h7yQoY5XaDcrODGciISIz7crMOtZx39OxhBh2qoRTk556FzFk1hzdqgZuD/3o7S5W
EIFZWWA6KajMEdWY+R4YQjp2Lsg2gU9ILF9pzJ2iWpe98ZxOextQ8LpULlFj9MqxCbMy8zTS+MKV
T7WSAxtDfEQjcG03s8xCt66CUhWAj+bUTTtfMGfXuyPcOpow1cLvC3CDF1nAY0TwqgjRthF0ku36
rqfCJYeKiFu1jHfSsiiq3bSRt8QY/a7OPadfALbPLjirrJxTOau34N27aBOEqPV12V3pao5ywqti
xfBfs0cws+nEdipiIsC4qQt6vqrrPCdrIZKt7qq5oeqAG7wxvJG5npzhp9XWh34w/rzz0EkbSA7A
debukKOJqr48ZAU8j1A91xCHNuUH9GHu05p4ui2Oba8eUKr3a8v0cEl5df8jtfTAAkoZRF6RQoqj
YjiBqfPr0uwDmd5V+jUIA7zYJhjnH647F2r+q68mqueIoHT7WnVipGpaGtvjYcwyj1sJlXUacrQE
GX0B+E0ZjINxIAm7Vqr5Vmadp7DRZ4NxytuEQu8WEY+2x2JRtR3gIRIvaYSn1swfpIWWWPlbjqbf
lmzvQDtBuqWnSx2hQo74L9mlILakZYPlzNy9gmtHxOXzyNQDepAvtYQHSidOAhEDDu70R5TqyXDv
DKWgyqyGQBT7aDC18Oi71juNcmmf2vK+7dkFCrepaFGjwC3aNr5E3S/vkoPhvCVgPFJaCG8Qtudx
d9el5QMYbpkfT+113wB/NGT3MqnDORU+miU9W/aBM8WBUWBFmR0YTuVPoH/pdY+rIN21QFWtQIRe
M2iOu9TFjW7gnkhGdmBDvG8wsGpyKcuv3WEYkU/qGqh3c4nnpHXLpKGEOu5IXgJIl44hzkiU9/YV
oPp3JCGvrGuDVLxYWEXX4ME4mh7PAX26LdOCai2CXXas6msN7C3VdFO5OVXAmQznq2LYpcb2Si+v
JrsJ89S4mvK7Wn2yk9t+/F2BZtyVQ5gwsa/4lcMRak+Or3M8A9NnHIcLU31uk55qanqV5+JVDsO1
g38fBH/URLevSzskigLt6eLBwkXYiuoNrNAeGViYSCdotUclrjxHeQNJnJ9b/cWgN3gcZNa12U/P
rI69PDsKowhRog2T+M+kISRHj5Bmv2hAauS56qNXKWja+9T80ett0Ff3nfnW6w0lM14pZVRkl9x1
/NG4gAgviU+p/qxj6HXbP8qe7wGPC83pxsYEWPhpVwmKhIcmq4MqNUFD012oBCBPvKYcE0UyXfnB
x+sc+2PIHdqMiEoNfLjT+oNj+5WGwJc9QV4BvRiSdsXPSh47580sXxrxmnUTXKXm9XEXEXyxnWi7
ctACCSyGMryQQaN6Jk42GsQNZXiVkHD2ERZBiGmr0+Yv5/M6H4JMmQ1cNZI9n1B/KfggMkVaRZS7
M9zxyekuOisogY/jmQeVcJWzXds8m82DzE/Cvstmcy+b76ZRF5INHU1saF+0UUtZJR9BMoV2I7Eg
n6ogtqMeahBu9m0OuJWRJQP6LlvXF8DTzQPAb6Xug1eo+zY2bPX7K+zALHhsMNSsIxUIvnlWqMbD
rxNmS0JstVbvp4msCDZGh3dlpwPmYuDZaraWl4GLmuud//8zs8qdz+gZcGwFOLG4eeunCXyZVpDX
+sZgPmUZ/07XQhWC/m4baKGPy5GrTm0OFoBifburh5vE3OcxRdPH12NZfuXTlIHo3gDe7wyxaDch
+ElTQFWgMYNg6KeNvqhxhlqAQjfKGp+S2st4LCBawbSzUIyuarSgfZBdgdRcND8jWQXX/fVAzv68
C8ixAzqxhX3t43QNQKI3zBRVxOIbuC9hahsGzm0uMAUB9QJSNNQYVuuhGlJr3LhjUeqG8MdTC4rt
jSX/C2xZr8Z7G6sjOMclyNQ1PJXw7D+ZY418gUpFi5e7qiJ//tKa1gmMAChA3MTxfBKWfgFWNmGH
eFqFbWWe0uF2qkNVnX2CQkuF1sBG5FSayVUFEoK8lYggU8pS5Eux3pCZ9WWOByr67Z0RVF+/pKZS
iS6KGWltdhRDEvROiZfYZVJcaW3m9dOTnbnUiO+Tegji+rpP2EEY5q02tvuvFxSQ0eUgfZ4O5PVR
DFvIbD4kwMn/dLxzIBXksiiPrsvb/2FTO/TTULAIJ2PEsyKjGlDOXXXKE/fKdX80nJ8qEykHB4/q
JPEtRfOcSvgQokXUjCybzH6TzPRSA21VTX6lFX+zK9ajMpu7jgNnbY1+qz8Q97lVQESiGX6lIAmk
FKGCpvG+E36LILUZ9b2WVg8N4LOp3e1TMFSkpbpXsuyKcWQNkOwZyC9ALhBlx0jIvLZNSgVyiHj1
I6ZjXiKhkIz0c2M5HWLYZ+jkIPEF396WXhLntExy9BnEPnNrqpaF11pHPDp3O6QVr5rB/cHN4jTM
EqJjYxhnNy6J9xWST66iHDsLu2VEb1iiHTP1mDaOVys8MPRmZyV2iFYGKtXs0GAC09bwJ0v1R6IF
aaLSChUn3KAXDbJbWZf5Kjd2BTDWNWl2czp7s9KHaJwMk/8l7cu6I8XRtP9Kn7oeeoTY50z3BRDE
6t3pXG44TtsJEiCBBAj49d8TNT2Tzqg4jq+qb+qcLNuh0P7qfZaXeDl45QQpaO4jEevhEcIDW8fQ
HNhx2zSI8nqVETGkOToRWfWV9v2sa5C3zu2UTNWq91AsQoYoBVl9qfHqmv1HuZTuVpuygVhR+Vi3
daIYCIpFv2dcvnj54u9BRkprq4kp6XQylC4Ml6PB3bp4OmyiKiivnaX8FtaTTnSp33hBYYj9NLvR
rgYjuRh3A160tRdmkIqmLkMC35pTnEr7Y5q3G3Qi7HqNCGW7eN4XPUikPYuVLnOcvOE3GCmtGgQ2
lUIpJhyPndWtaPUmCFk3U5+FRMQUuIDfYsqY82hrs2mKz3Dj2veeWSPzKUqVueAazqxL2hnUeU2Q
IsQ01NiSGKisw5pp1MbWyD0iWs7nCClZC+8/Ly1clYYV2Q71d9U+jlVxv4yWs7bnRNA2GwFyCJEj
pUOKFVfuzoHYEzUaDgKuEJinlQyWDGvqKuLmxuZjBeE4z2TToj07aZE48SsLCEC49ZXcjsxK+1KD
roGqjYVJcku/stBe2Xiud6HIItCbDCJXObyOtk7yiR/KSq6aF+Y8DebJqdcB3WLQk8jJeNnBHwrv
ZjqtKPS38BApSepBFJLnq6LYSjEgpwej4dxNhaDbuvtuZB63XZ2x3l/bCkcOZ189umRm9HaWR7eG
yRgCiVTCPtSnLzxK+IgUr0szg5yGH0/B4MSo0qu+DGVDMa2L3oPa3aAC0Ogk4F/JXbkgAwe+EN6X
0IwhOY88tl32MvMGaCm4xvNYFzmy7woTOrsLWI6qHeOJ5XgtcpMfOJmGrAqHYg9ce0onv8NJwHC6
Uqt6IYKwqwZ2DXiNonxvZCua5KPuHtupZCnYzV3amhJwR6iD9TLhtVxZYwmrgNrbDmZiq4rXMPVb
Zgnic91kSz7WX1DJyV5J1iikLe3hfnJDK7P4lK/FPAUrUU3jRtTICRVFKBNDq3nFGBykHNXmABFy
G9kVPW97d+TJgjNrheW6rDQL2arglZP2IYq08qga1wifyHrMB2Q9m14mOac2ChwLNw2N0TukDPJb
SE3tNcmjlGgPolo6xr5tkbh02yjxgx4PN9BmYhhWHVgY3QcC6fW6qlI+Ys3j8uiRbimnY8IbkuUe
3DZa6+elym/CPt93UfNoAi2S0favW2J9U6bHirP9GABBAdSobuDJNf3IixkPWnJYjAuE18cKZCsI
WV+KvrtrdPnWdd5TnjfXSvqbWdc38+zZiVNj3ucReSYrUD6knsMKTpSZWw2bwA5QoEqunc7eHa2I
YpRhT0go79TIDxOycsqF+1EUZRGyxSGe9FNwTJIUKXTHK+5xJOfr7Yj7pmnbDfj/V6CkHCwXtgmF
h1yVz0Y8/oMGgNL8tR+7a1AJEmVH23HAMum7rPOD+6HTe470uJiBaHShk/m4jtTCvpdIGpdVeaMt
tvVc9eh3yHaMzVvuDG8QtQJI6cKNS7q1Mzb3YqkcVNezV7Wgn3xv+uzy8KkLKITgVbAvFnsFDe6m
9vsMWTNkvafoEemH7TyNSHWYdTlYcRF2j5HlJNAJrfsA7/aIARRk0S5kQWYxe0+K8A4Oc6n0WqSS
DXANlKoFTXFMCAkTNcw7FDPDDS2+tb5/X6kAx6NaA1BbWbNBaOJs/CjqYykIYOApz/pW2aldLdfd
ILZMiKuBK3iDOuvQFVeub17yPLSSpW+3EGhA6edjGSN79MMIZBPH+gkHCuDp5g1eVXeovnEwdp7C
RKiM+6B4Y02Y2gG9NkX9WHbTo1+ydcnrH5wVO99tDzyaM0StB+MCjcinTdXieWIGRMMGz6xqvu+6
ct9jG5BAbyek0qyojWurTUs6PszFcBDAfOyOpjavDhWu3rZ4K61oM3SAR7lCOt1/hDVJEiFnPS5Y
KdxJmAMcmiIzjjdQk0cxSomvkA1ByZMpRc3Ug8fbTIgqXvAe52GB/x8ldmXHHTK2jsyzY9gxUjeG
zSqG3UG2Va8Vb9LKR768CdJiNGBOuz78Tp2Vkm/lZFKQP7e6haIBcaXbBjsD1NzrrE+wsED607qO
3D4Tin+yw2ElK7ZxgBHAqj0rBx4XuVxVuUksy9vm6O4Yop6z16+0C/hX0TU/5p0LkfSF2szeiHuq
ymqiY5SN2vlqAWa93AHLOURmSC0+xz7o93rqdnZf3bVRsLLqFma2EsmufBdWw5Xj89QEmHI1rEgF
UnDtq9sG68gd9bUVIEnrvEaAUzQwnVr6h0UEhwGl5SigCtGTGE7yqSEy0XmT+vVXXNAxLNrvOwHU
oaQAHBEGMUxp4/k7v7fTwUdtCKIBoCFG0XNauVg70noNbXZNK3agXQmozF71k1q57jOOIoW/D1es
1xu1dKnkQwLCf9o6A+BHoOpANYHrreb8tY2QXKcLglGkK7nIGO4tx8KssHFdu/0T3KLj2Qak1coX
5CCQG0Tqq3Dbq8nl69Fuv0xA63tSPnSAaP12SUDbAt4ZrVpRp5ibDPDm9QTfh4Ug34UiwolpH7oO
vwMGJLTAuNnQ4Qa4onyVwQxo+gZJ/U8dR9AxLAgCP/HhoTeIy2ye0TbfIlu0VSBoOqVAdc7KfZ5h
1AfR+Uoq7F+mUngcb3hHbpaiPxgHd6r3OAJozOFEQI+aucnfeC0OvaFas4AcNOzQZ9GhBN6wr4JX
HgzIj35rrDKmuEwQPMa2LfdR1UL6gjQdB+zOSxLTSSRev2SlB6p2Dyi6bndhgViiESv4JaTIKqVe
IZCgq0GVhpJkYbFTVbd1U+/gG5sMYwQOEJAsIr6RHMk2UydiAczfzgcwoLDkiiSMOHjcHBnverXw
6LZwyNqTYzyUbRzUmE7bTSwHCS0AWwK6eqtCdIzEiDOXmbPIPS7zeFqcNDfkodEi1rS8Yqp7KKmb
RMrP6hyQBhtSxUnSutE6DDRctOobqOQ2xDFAkOw0Kq1V3s6ANcPrAJbBEVTuUtIvQcEf3BKIfNhu
++XBzgUASC/G6zRzTL2eHe9mpmYLtigOVQCPyxiHQGsn2u3Bu7itYKHeA/Pw5hDh0pC6cAdUrf/o
js2ht8j1sOTpwsBKIAinbeuTBrgeTRbo6P6nUYjrivAVb9irACDQjwMuydcF1bEcmu8M6ByjQfw2
WllDaTZh8ReewSzJVFQAKPxu1bd94tIuqYm3ZqTO8LqLlaSbiOiVVal0lArcnCc2fJHYRnbBMB/l
98KrUlr1uFSXVUnqvVdVmYhgBXmUBcggCUESoKV9QNyOo4UmAUgkXVmveIgW5/BQzdGdGYBWwKaQ
RTiNm3ZVgQyiOpL2tkrzZkgLAZb/nCMgwkqW1VXp5ZkzepmpukRjf7BuSG1vTorAbFCd8aUE3Ayf
93XL260H1INCnFRObhB3Ed3MqnjoWrpqc2vNIpJNuGKHiGU+k8gnu/itMkAe1hEcYXS7menXHqgZ
qkQjUGp/OLj+uh6nViUSUqFmKZ6GjlTZOLVxFL64kYjDsY5Lj9xX0AfERLibYnLuPbCSWFOmAtma
CQphqDrjqoNodGrW4xTgpJ9XlV8hVmmzyqvT3Kq+DEubIPRHkW/n2dNdXDiQC7ViG6lwFeKtYjNn
Z6P92q0Rrc6x50OPJY93eBRDE7laJsARQR8riFMRB82xizxbC7vhxB3fGJl20quTKgI5RulM1xVS
vsd3QrBg74MABia7tkBD8bp7U7uHZpnBceivUNHvITBY9Mf7j3xlYoqZa3Bl8END6rTiuFLqYmco
SW1QgQT/5pOXudJXFVFxPeSJlOG6DPt7FyETKYOdvVCAH3hSBgBBB2A1o58NtXgQuk9NOKx5/tWK
NEhKxc6t830fUmzUAZAW7BaAEmrwqgIEbEPOVqgBmYVhmzWVPIwFSxQXqL8gV7QZ911Nt2M0p0hS
g5XH0WHrWwPuAF0QJeIhOUJMYSGyp0eoE+887YO7oKzUbnUcDEAoa1QesCxAxCVIW9OwG+oQsGW4
aZo7bVhiTLT1m3adA62r+FfpDWukpEAU65OGVglAx9jp51jq6ypH8oHXuzaEe5KhqDRGAWlgH1N7
7wBbmQBsFOP3EJmOGfSa2YF/H9W7QJm0bt8aQHaA3ZPCN/dIcyddb5AZeTJhmSnJV1qTHQzUMLdg
TLmgXlT0KvJBZ7ExF42FIYIG3Xe2pXY2coxizvm68NtvQhUpvNbAwHOApU0JmPlpbXzwyNo3Os+Z
kXVW1z5QKDw/cdVwn24gpFnD2AZXqQV2bY4sgJ0aOqc+Xsc2b3fAeAAHBcWhw11TFyUSJfOhbxFA
1jytEcPk7oBVz2J/gZtt34MJ1q0njUekMyWRbK4MXhU+cNMZHjZALOKJI3aKvvmyj0fQzfJwxFtW
7L0RcCAbcV2+dIY9D8frKKdrWB1VgOCfqrpeH7FkY3GgI+N2bLyd8mg2e0CdchmPQPPHsN5q94to
NXImwLLglwh69bqusK0MMg1NiBcBAoXO2lo90EH2tanpfhxNVjEHF4VazabMzByBJUNWBvioKeus
rMakkUscLOGV6LoV53hxQJ+U2xxoHD1EDFwQ7NC21pnj6127kHhY7MSzwfBtQBBT3jZALNlGbD+G
NPOEhXVPLiTHzyWUUWIBEgz47EPnfJLmxcy7ZQO0DjxpLwEJIoHnNSCe72DoOM39xynCcznf922d
5HyDvujgUG0gTxsOdMAL1PP+StL3XW9+yUDa/4HE6MiGCi1M0+fcuQ5qeDRv/71OnIgxSG8zNIIm
UEoXVI7n6BI7+tIonSSu/bLROTWYkWNQs8TtcGHGzwEV72fhJGntuZVbBONxjJCjGu+ll8LpVF9y
1bvUygl6RDiUy2ZGatx23zp13/Y4gY5J8en7x9NxNs3/c8Z/50e/Q8FasRi/sdCbYzjQ3Y/dU+5e
oPdf6Ip9gh85yAf6ATTft90PGyQcebCGlIbZx/241MjJPgyDChfyjFmvczjAZTa7qRVoFv/maJ2w
xZdG6BJvOnFrDQnyEK6McYl83JHfh+MPKMC7GTmZeWSEBq/kBCiAIi40KhLHtpAz6HOhswp9PcZQ
NoLSbTFw97ieryAFtGL4wvxpfRkQLNyyKPGCgg6gx598EQd6gByuSeLWlAmybNYUy0un59nVF4D1
D6O6owT6ZK82bhu2QYRVXuTXS3PXOl8VveA2d/Y4eNfEyXadejJbcMLEccBS5H+Kv4STAUuE4h9F
Nf4gXtHFGHZhVIjbwAXyhKDNRaZnbH98vCrO9gJVDgCGQ4Xnuyd7yB90zkYXEZlyXlhYrggcwT5u
4Tz69K6Jkx2khwICnYGJW+pUfgr7gh9+rcss1MB1FO2HlJX9Me/fmCe4KASb3HF11tQh2JbLUK4D
hFyIzrs5WRie97C+b1cMbJgMDJgomUKALKQyERihIB1+/NUvDc7JrqRltxBa1JgC54fRNzL8swYj
x42AQtwwAfjd0OFkIwRjVeOhE8LDxHvu5yrmVnThTjnfg/9r4fQUBpd50fmCFqoc9BoGEpNBePZX
RgnGCchJIg916tIg1NDTSZbHSGWMbwjK9nz8+WcjofDn559sNJ7nPW/h7XgLpLUQ6ynMcugMdvbX
j5s5P1Q/mzmZDOLkRg4FujE033MOFc2FnXb+/P3Zj9OyJYNUrtUMVnPbV9aWNTmSY8tqcfh9XrqQ
QgDYK6kAyjmtSpB4c3Upvjh7Jr5r/2SrBw64hnmbg5fS3Rw1G1RfGa+5MFlnRzFCgSgUTYdvv3sS
6KE8YY1ywULcajwQOiRLkVH6eJ7OduNdC8cL+11g0biKLaRT4lZOz4p8p94LAYr477Vxcn3QwZr0
bNALqoFYiCYZWbQuvYePW7k0VicLmxYzjMJK+JF6yGoepQgXNuZxJP5w4b8bqZMVrZ026IpAituQ
f66QmRvdXSQfy/HCxrkwIb+TMd5PiGFtoT10owyQQJU0XoC6q2660Juzx8DP3ngnyxc6TAuiGvQG
6j3P73E5NGAzsgOkcIly3C//1tx49NdVBoTS9XSLTplluOEKeCMP/6z15/H0j3zo+gmFH8JpSR4Z
hn1UThpXr9kv4ODW9LEhrx934/wS+NnGcQm+m5spGnzBnE7cuvKV91cWXtFFDambdamy5vnZ+dnQ
yb4vWtIqUaAzRQfKhQw2ZeuucIcnbNHrsfNWH/fr/Nb52dzJIYCDh9jqOHbRMmhYC7f3nS3WH7dx
3B5/3D4/2zjZnqJsifEdtLEo6y6oW5CdwQZwv5biMDIXZQ8fAnph1V2arpMdO3DU9uQBzjbk1DZS
u9eRBTcdCJzipbzk0nZ+28ImGDZSFFSyk/00I5EJLReuVZQMGmh2RFHePh7ASy2c7KGCLEzPNk5R
oVfTK5my/tKZcG4ZUGTqCcpanSnonIupkBUUlrd5W8bVgmwvZBZ/vhNwWwlRUgfFgf5gIwkGeRH5
IsSFBlbzgCqO/VHbwv9KtP++mZPFZnQgy5z7mA3+4JGDCoChDRcO6vOj9bMrJ6trmv0JJcfQRuTt
phlQ4F840N714ZQ2miuCSi0Un98HLwF/9KxbaX58PBvnNsj7Jk4WbQQ6CjcswLHcuAntIoBiLB6s
r6ZsL+z+s4Nl490FkzM4ZZ6a/4F9RQvUEUPUaR68AXWWxwulO852heKcilBiEMXDjifqu6M5GnsL
FboaeTu0+6gZk3KESiT6DmnwhWDmuHROzzG44jqwAoRntu07vzZkjB1CmoXnNg32XKcei63nYu08
U3qhHtDZIXvX0PHn73rkMN4a0FwQbygA9gD0Lhz65+4YFLUKj8zOo+L+eN68+3yhF6eC/xseMwQU
P6cA1HsrxPf5WIoUObmPV9rZzvgwBrBBF0eRlZPGqBdWthTR0eMzbotPQf368eef78zPzz8uj3ed
qRrfYbk4RuPgjwIJaBI4+FXdTVtdGLXjF/3D9L/ryMk6cwfj1MxDRyTM92VxTywB7P5CKu7SaJ0c
XxQEJQvFO9EbLj5NgbxWfL6Qbzl3HSNPgYrDLi4slIT4dcByKondOQ1uk4anjfdo5CuBELILJAxz
Icb1xGquLpVbPztL7xo9maVhobghJ1yStd6WMxQ2BagJAqwJnbqXSoefnagQynQb4QuMLU/2qYoA
3o0Sy7u3rz2wM+SaDRd26NkzJ0IuCTXEYcF+qn+AKbrsWwLGvUCiL48Oqutj1tyE4ePHi/vscnjX
zslyiHyOKFPCCbS1ks/VpepK5z/dt1HoAAz1IDxZCaSYc5QyHGCc6uc3SArBZ3a+YJF7di6in02c
zDuumMXuyr4ByZ6WDx4cqvwLU3GphZNtSca585YWLVTFXePdjsMhzC/smPPjhF7AbcdBdaiTBTUE
nLnSguZsjL4T/qQp/ytnJCLI/23g+AXenWE1PCxzy4aXtLHBq35uxwv5sXNbHm7kLvHh5A2f55MA
0gJ1ARR0ROBzT7a+NijoEYEH+jR7P6T5VHbX3vBX3szvmzwZs6WxchitIQIfebC3OwXh95RGJMya
eXz9eJOcWwEIXeERg90Iu4uTcMzqUbZ2zBfcy/bj3D07GhivudDGuSUA+1RCKVz1cHCetBE6eva1
xAiGuYSrv97YRyeKj/txtg2IuuCyhFo9f/Cm84thqOq8g+4NAri152R//uNdj0BZiKrj8Fc82e19
M8L6EeDbrRc9esMNvbDTz337Y67KRr0P91jE9dc1PDYhXJIFNomuwfePwfn881///eefnCTWBFi9
LnAUenUWHomAf/LzUWAZFUWRP4gC30FZvpM9ImwFnrtv+qvSAnUw/C7HP+spetrCyZZwOHLGdjv1
V5XZkPbajz6pQ+WtPx6m36+e92EKWsHrCkEdJgEVWE6BiMlCHQAHOt6rztg3tC1Qjb14dBENeeNV
DVVj8RCW/LaOIJfOK5Ak7izryXO+glW2K4jaDPAUuPCNjiN3+o1g5gn8BQQjF07Hv64M2DpIewrC
4SrvoruGRM957X9SHeoXDxVfE+pvPT2uahNch9Pwg4n61Vv84e7Ctzi+aP7wLfA6d1B3DwW1T8u2
hDrqgMzjW9iwb0DZhrVroBUZh+4Kzt+HqS3hKkR7OCz54YP09Y2zhEX68Xf4Pdn163eIUHs1Qk1c
241QAO7k1VU4OcQezqCu4C7Et+UyzGlA/Ic+4vdqgV9QwPK15VtPuaqWQ70s160dfBPu8tAxP3UL
9Wq5zie3OHLPQAUGtvhIQgZ9Cm3IdW5D4qIgOFzls7lHXRWQLB0Gigs4eMvg7nvX2fN6zpxoucYV
B+4e5Dyu9WUOwtVk+ZDyLxAcsTZ4qztwsycNpx83gpK6b+hGOnPGApC5IL0HXyhKnWY4QHdxXaLm
duQumbY88J0k/w5jqEv1vU9PFpwoKHJzjIJQM/GPVWKiIV+ccKnVlX5qip1T/I+W9T9fpv8q3uTt
/4y//ud/498vsp0VK8r+5J//vGIvSmr5o//v45/936/9+kf//PYmFBOnv/LLX+CD/9Vw+tw///KP
leghE74b3tR8/6aHuv/90/EVj7/5//vDv739/imPc/v2j99e5ADfEXxawaT47V8/2r7+4zcEvu9W
5vHz//XD6+cGf7d/Xp6rUvfPf/yjt2fd/+O3MPg7XBhtHIQweYOP99GQ07wdf+L6f8fKRfbGRQEz
hHU2LkIhVV/+4zfP+zt2N1BovMIh4IQy+Le/aTkcf+SSv3sou4J95wA3cUOIIf+387/Mz8/5+ptA
2CkZ5O//+A15g1/28rFwJs42IPAOEr+os+6cnNUw37HhnEzddeMpUAVRHGMEx9odqBUcFhla7KYi
iz/v68U9ujsB6pwTsPxacN0n6BTvTMt5tbLrcdYUJl05kZmBg0t3GPzRV59Q1AESkdIuVANSu7Xo
t1Y4DvQZrNLRm+R8DrcdTIFCWJG4xcxvlbYiG/YAeR1FcA/RR/IXzOunV+hOFLsPSVfYK5BaKYVs
RNQVKqfA4viR9S54wLbDFWz3R1N4d2UOAuNudqFn2FJ3FsOTnJeebAjrFfisVuTBRaRHMOK8FLW2
gnSs857BiS3MQS5dvMK5wwawUCkCdUCDMgYY7MhPcCMWywwqHxXzdyBWPQwZZAW9XzoGrip+NHTp
6k98NKhJaRdhhOJZhI2V/uHYFcws0qLvlzkjJsc3mZchGJPBXsCflUEzhc95UNkQASzlNH4vSdjj
12GnpJvWATkWZq8R/a7dsZu2deGrAORssHnLzBoG0miQp43oYHvWOuborjZWJaFJNXZqfBHQRoTz
fg5qR6yNR/vuiucWFfs8mlTeJYGYeOut2olP1EmgWWnkE94C3IMpjqO6dt2pwofeX72xCH/4LeLd
ZN+L0Qmf3SZvnF3ZwG2Jx77LGgjzaE1K/dxOTgXi4tjVE0QOEhR8Gde6J+6ehDWrYYrRI3SLqSct
a70Uvp0/elz26EmYe2CzkmEM5MFuCzHBDQO28bAa6GyIhKEv8xko0V0E+4snHyKuIBH5xMS+Cp1O
bUYzEG+Lg1rbdazdZcx38HY1PV0tbNQYG1M1lMAgvIC0sNRVVDyIASse1lx2MXVJU6Ja9cMC0eID
Qks5QS1BbAnLMauDOD8oRse7newmzNfQEvrD9dCFHuR/S+mrz8bh7rxXwFWXB4ZrZvkxNr0NJUMx
S0vCW6orRwgUF1KM8JyhzPb9q5BGo9mYDt5MKIteW85h8qu2uys1U/lnNB4JeDc1i0OSoo+0kzLl
RN0YN/YQRdeF0Hl+A+WkQBHXuZ5tUiX9suQR39TW7DVeNpEJJZQklUUAQ7UxGh4dv2hQIYxQERor
bsba7v3Y6tTkXrXS9iyRVcQMAXzMXW8Bata4fIH0elo6aFopmwhtY9uAJF2CQ0yFiwqlpLU8yLRa
aYHqJqGhP3qnz2A2hyuUi/I4qm64Xbctg042ZewXGnoryvyaQyw3DYxlbo6PWuftAJ6/PYARmjqB
7rk52vgIJeJAM9N/tYBAhGmjTANGaqErM8ejcQUSVhRddm7UMPVhhkgAByKMucaGH3qdR+2VBRwd
6sUF1S2/LB2godVgXK5DeGPjLblfCF4sn+oGI37VTm01P1K41qOK5hKOeJ1EvPS6tSnyEvZJIVze
UggnJjzBRTW3d0FFZizOASpHCYOZRTIXqs7GLdJOihZFMqEOm7+14bi0qbJbW6RWSIUNG87FBKuo
A6CbR/Msb2B4UpeH0gK/8vNMJ3h2Kay6ahPWzcwzJ1B0eQTV0/NEAv6KAv1kYWBQrFzLVNXVImA/
eK+dacF5YqK5hngiIhXGTleIa+a4UAQ6KRlxx9zJtutgT9mjKbDW+QRAB5rfBf6Ubq2mcb0spnwr
ijIoNwuUlGSElrmMJiDOlVk2qhiqcQN5mH8UQAbDAju0TuMxF1vM78ChaW3PTccBWqYb5UlQvadp
gK1SPMMDML+OJkbLLyOBO9HLDKpslVgBD2FJZsNWK0rnkDJ+1ZQOiOBHcwM4mOSzE0CiIHJrHo5e
wHmpuz1iTFvoq0Lgnn1Uuui88LrtXKbHtVEl3Gk3cPuq4E4MV4difmRt5S8A/5zOeekob/wnQZx2
SVtFnDHrClPKZ+YuPtb74votSiN3tbQ3ygOC8yZbbdUSgn1WspvAl8XUPlLa8mUHRjD95vm1Rft1
rnS1aMgguYk2DrNttp4jDvEr+iLLr/AkLJd97QoK1K5RKL3dz2qA0D+gzFwt4LiqzNEFxE1TS7Sz
rnwdwt1LVU7xOcwhoLquVVANT8IhnZV6sOCz4haPeeiz6VDhDRKoUBzP8caJvjpWCLvAwjY9SWfP
FWUK9ICOexC5cduOozs7e/wnDEQ8NjniUzzVxnG+mUEehh1RDSfsDOVuLScd2TxYh7zOp8+ihpXZ
XqIqCeSznlCKxJbnQKbKxhGXWbVAdadSzPhc3ucz5HmfI6+dUNDJbo35kguLFAdoBd0B6K+B9l4X
clDXjbCJPrgFD35w2HUCRUfmAZKLUYo82kVha+cLzoGBNXd49rHmMBcOg54hL6Zm0/Y4gLKi7qR5
skcoAAmspShI4swQmOvmPry4PnUoRFsnpAmc+pUWeT1/88bcq26tkRsINAz4+uvQhjAXMgajFLwz
O1gzww8eSiE3qgnE+qhUVE9ZC8J4AEZMExzp+pRHPyLSt8Gd8Ow6uvHK0IEta8uFtdG6JbAbtAtu
7E9TLYLprYTfXfUZ/nKdv4uY1cGptrCgHXy0eneCEy9iKUjjHTZz8Ncn3mtrK3hTNa8lW8Lq0JuO
q8+1MwuTiVyX7Zd5CglrEm9yXT1BEdmFWzj78WLPGg44DdVWS7zQBqUgPokEgYxAFLghldUoBdNc
n4jyfiQWWWA/Wkv+6mKCAPu7fm6JfcmbsbRjZGe5fCzaRTjZjEqg/Q/fXwxpX8twnssNEkbBhPtn
Ls11pJAMZ8k8Q72aWFBTl2voVtwlhEAWLB8UAGoXDxKWWk7rHsIdyO0F1xbEBsIqzfd+wjl55wwl
Dq04FBVgqrSwNAzgmOmIu+6OgU0Fg4WDNcogfJIIrRoLIvc8Dw6KcMUfjJhQOw8Js0Cu3aZU9pDC
M0k3O00cYeKCuFawNtJ03kaWdUd2EXdDs4PcU0IaOOXeXKxpNXnOChRHNXw17IiDAYqBHN8IBbkp
p1H92c8R861NC6bvzrhFXUD8jlIb30yDaref686DviSfcLIeuroXchVUi1rSOSrgjyCtruVwqLV9
+4oYyYJb6uM1DVFaxGHJxCLpgFXfIYxD2cMWQtFGE/wltOvzMF/5ZIrGQyc4VIju0MFKkFdNf+95
owUbp7ZYWmSk6kbeTxN02OnA4JzzzVpoIz4bHNDsU+/D+PgTxI+l3ghTwSzKgxi8OKh20rmV+jib
WMp8b1EZCiRoekChm16jT7x/q0viL9el0AHddEVkBVlPGuZe8U4S87UzJBozBchv2EeeBZkNE/+P
ujPbklM5t/UT4UPf3CYk2VWv6lQ3DKkk0QQ9BAQ8/f5yLe+zpVwaquOxr45vPOxlFwkE0fz/nPOb
hLnzV4TXB1wxEitc6RWjERtECI6nNrdJO4H9UQU76azWcsBQNbe3PVFFC/RK3ZQnYhuHjlS0SnnO
1pPJ0L21naDSERaZKvppk47a8ObXVlLc5clM/G23FkXDykhrmfJZF+T2j4GTOw7gPhjzZjdmdeUH
8YTZpeCVsCl+oH7hTCQBdKJ1jmua2fpbYmSDcc5qVMSne6vpzOuV1/jjtG5pv6uRjFLdbvCFWFY7
PKc4tUnjTHN3/azEtFIahmc3kag8NnOC76Q0isM8WcTccaRIgyvTzZfpyTH6kty+fMhm7S6vi9kF
vuQa2b6fu7nbz6Rl9FtlKpyoHbP/8s5xKWtv+lWq8tqQTuPgYJ1IXiVizSPXcmYGZT80NurTTNC3
/h2zFXluNittc+0zQ8p311qaedd1FXjkjVcbebDVsmES3xdSNQnomFfObes5PJmNL/7HQsMuJujO
a6IwlqeZybiLk8XArQSOO0tfO8PUMVx5S1LHVd9W062qlR1EI7tEUgJblphgz/669R66wquwD/SF
6580rdbPe4fZ6ZY9GNbOu2HmojDMFsFkh1ja3oxvZq0LkiOGivzNwRqAp1ipNJModTVpv5V50FZ7
bbBSKiYah4eabGoJ2v4wcQxL96t0dbM5ZxeSoDa7pUW0ZNKKrAwXNSCfbytjKW+8RSmadWPdBmSL
CAqBjykhfq7YWJ3MCxnXClt21LZkv+7ICMSHv0xrgNrG17OJ7IREcmCFR8b80Tpuu2u7KbOvSVeU
mMMsXsdJc9hKYHdca1KFnYqjwF3NgWu+N3EoYeUtVNC115PA1XYCoS66Nz2rxuLWqX21ftKKvuu+
TI5LrG7V4KeiLeNjDyTiRpuiVtQ9uWsgBYi1yapkbGPcO752aJ1G+PdFPxKl0lbYua7XCuXtRhtz
n4rlsAaIIQpvghDamtZtXmTefJo9p5A7pyxkd6w0w3bZy8xEiI7OSqh5v1bmvOw438/pj0EVCf7H
qsoIGWYbPGCPJEtOHYRYdRkvuVVWxwwOhfFdJ3FVfNIBYGZJqNZzyF4uRJkRZykSzisLvGIRr/S9
yx+KNZxQQJUqncSfAIjcFpNL6x5NFrCKuEMzr/LXyRZ9Ebfsd6rvGo7E6dClFgfOjXL72Wm2ZdbK
4SpdutF987AU4PvT1WprMRvvtjqaE0ktL1lvJkSIzsvosWjQruqIRSlTq0veiOxb1702U4on0iex
9DUuusWo3lXeljkBtqWaMzL1qHMvFj3Lxl8ja+yy+eBrme1fVR2r8L6f5qa+0lKfctbGGRaGUVl3
vNuIUHHMoa3L2hvxTVGk2Fiz5kl8r1md8h0KhxCgPE7Bb9vhNM5L7uA41+qmJQiAQ/J7ZjMjH5Om
y+1PZBwV7k3m1aX6nma97nxRFm6Xg4P8jYwn4JeI1lEluRxENQRW8zVTusxMbIrMpZG9pOyhsBgO
zU1BnCkjX0zZY+ZVhGmzegcGyeRrVr76Jq+LUgf4ae0TJhShbR1OTxgBxGQ6KfHS80BJtHADgo5L
ciJwvDOdxitxs2nMVrKzz7L5YHpQHc2sY+0TkIOStem6Jm6MSre/BJ43PyjXPIf4E7aiPy7pqluf
2nqpjXQz5EXOwdA2M+u5sOfMYHviuFAh5lwNuJ1JPTGMr07eI4bq3dKdwyWnGPHg2hxnydgwZVJc
ozxYiCTQl3aNddUkXhiInGycIQ2865q+izgy46T84LWoyv1UW321M4pcI9NoDky5bEaWKeTx1bSa
t1UqpuJ2dAqyoMAvFeqJoBk7CeummLJTmslhvqWaK/y4n/Jzhg/3U+/TmqMTNFh2zbcVh1pBnrZv
ERxOlbI4+pKvM4uXJm/0G4ugzyABvStbZBJToBjmYUKKxqiidZyM8Wm1Un35IZ1aItrlL1BASHtq
MRtRkxXx5npNhdG+pq8335e93gfPut1l/sxYn6V2Q164I2LfTdyOVCB/1vtjZdtLF9VED1TGdmlW
x7sWC9Ep22UdRP9Z5EUSEHtV6GRmxoU9FNZX4gXkuq0Kjw+fDCGvJaOv4VTdko7Vaw6lH2E474FG
gxkcJXwqMFttIwUxxe5qoZXLSrO38NxLyxmnTW1OZzrB1GTp8lAvUzB/W90ZN9W4erI/FKKlgM35
lABdBi/WyYynqAYscLpB20zptltmyLA0gen5fJzznnpL68djQdB+9TwZuUMsrI9hmGAdsw6GMipF
sY7LidzdVIjTWqV1NnwaSAhtvrq9PZdRWlZjJiLREyhEdpLUxrHBF0u1JS4X2673xDSs9Rbsp3Rf
DLNwsrjL67XFQyvc7iT1YvU0b+8pRcUIRyNZysFeR4Q/JK9m2aWF++x6BuyOIztrFEDPhbukbfoe
dLVL4AYMwBXf8epMvbx3K6KvZ/gXFV7iF91dHJk/JD3JzW3c+W5juN9sNWWdH89qzFz6EqVDQcLS
hxwmBnEuANuObZsEXRpmnTNgAE6SRYkwWCuDzoTJCNK2JajZZYgaRYDXssvGKQ3y7axbg/uQJMk5
AYWyNx3dQzB4jiJd0tSHduOOTcW/1YPfkhO0+uv44HmrmGLXrlst6pKOii0nAXvZY8JxLGKCgCLo
7z8V4v9d6/65tn2un//UpvKQr+kePSoq747lOsZfJqCfpACtJpt0VjMO7m2yg7TtxMbeqDbqwbgn
bmjclBsjJG9iRwTXC9Ui49ufr3/uov5Ph+rfl7dJ9nSo0tOIvlBTkH5djpzUiliZRJnO4A/m3YSJ
WqqHP1/o16bO+ULnTg4D2nQ9CC+XDXV3Nm2vDowq5kTjvHiWRSIFYYrLR0318w/+9YbYJeuApVAH
2uT5XjRdKe5nrjsnVZyaBfl0iQP+nV32nd8tXRgUmjqkBCt80PL8VSn4982dO+H0KVCJ6t7FRVvy
3zqKvVXszw4riGLNArPKTzlyHmdBEOTZZcsHHc7f3akfAGu3uSAS24tXN4F9HbKx5YmaWr5PJtXs
dGniS2RuSo58QtlTI5Pu+c/v0Th3b39+wK5uYDUPeJ06LxVkI//8pwHb+1NSQQku4uzg75YcBseN
Fak96IAbEuWzV2J2wzr8SF5yOXwurmpdJqumSaolJlflvrZtPkZmEP/5xi4fJ1dAKIHjCy42DK9L
56M2FJyR576MRZkazbbIF1JsJmVfBXpAKBKZUslEy0m2H8hZf3NnZ24uPXxCQ/k2LrrlxHoG9KNk
GVNfT0/nt3qcaE59MFguv/Pz3TkIZnRUAr8ZLAQyarj+dBFbBKb/SBxv+bZIxzkaTdX0QEuM5INx
8rvH6Zu+HugEPQRoAX4dJqsp22Ckn0QSSSAIYWcD7m1UQ2R07Nl8LWGSiS4mrGxpPxCIGb/qDyib
67CjOAGdBe4OfLmLD8PuAva9lSpgPEQ2qKeYvJQoALPyqO2G2zRqvv555Fx+/efr8eFzoy5VzH90
+SnBw21HRxFT6Se6ttNmb7pvklrMd9R2oO4aWZ/MR4uoS+9B48y9vPxHP8A4R9pyjnXP+l77nxHR
WlkJbYXiEOesg5ghm701kHQzdT/kuZc4dfctG/M/X/Ni2P59TRq79HjR0LB8/fp+uy4h/mEFq9U5
5CGxW5kPY0+C6J+vcjFs/7qKGUDus5Eve/zr16tYXuWaU26wBQZ9ulnaEXqBmPN97XTWwUt1c/Pn
6128yr+uh6IMaRAd73PQ7sX1ZqYXorZUPFHFzVISTtrBfHODb5Rg3lAs3KW0dj+YeH53j5AJ+VKI
6sPNdDGhmiZZ8a6Q8DeMcaQy4tWCpHt+xL1WNdTmg4GN+Qf3+Zd/9adZ/HyjZ2kjm49Ax0p7uRx3
9ErHZCC8qziMB3k97u0NkSKHfvdRiu7F/ubyQpdGWjWxrfapL7KteqVH/QyP77aGNC9Jgijz9C0n
paURH1lfL+eAvy8Lu+48aEwLDc6vLxKA+0glkvubQ/af8RAifQ7TKz2ut/QkPphxfvMGEfkQKq0T
fc8G4PJbqExN+dZEPDuQFY3mdlcERILN/iO9d/9LNaTr+sELvFiFEeyg5bZYp3Rk3b5+eclFJbWb
+QhxamKW3YxkKkKgXPa9f/4ePrrM+Z//vNhTl7SrxVaxZfyYjUNjvTcfETovFop/3Mn54f50iUHh
SQentsZB6xavHFaTjU7DbjOuOjSDdgz2jWl9ZOn96KIXOmtdbzyzMBqgUgQSRtiX9gIdhincm2Kk
q1/73ac/P8h/TJfn3RLjwzzr9AgNuBiPBPZMeZ2RImuO7nWR11e+qD94V7+/hOcCoGRMEHT+64PM
Obf5/jCquOiDN7ec1TEZrPkDafTvBsS5WmKS3Yj69pJZvwqO503HhNyUL4IOrBzv22b44E4+usjF
LFxY7rjM2vkinbHL1is38beJ/x8hDby/xt3Pd3LxuFBGt1pq8Eamc5hYvpovHd/xRrbJf2Tx+PeF
PMO2XLqBzLQXaxiNdkcMRa3i1DW7g5mV4hYSn9r/eYD9Y579azv+P1e5GNF24Qk/7We+VHfS9zaL
5mERq39nCIfUL8zxLxx7s1udkNMoFcNw+PPlfzv4frrJi/HdWkVdIxhUsRZQwkoNKnnEVHxwj3++
iKFf7Cmbau3WPmV1rkwn2JFVaB8Hlxbvn2/ld6PPAxjOzhF9m3/p9SiV46ZtYK0xAZn3SJe20hCH
srI+0E9/dJmLF9agAsrm8wxObPEMhVO/yfUB3IuPGPN/d0MX72bBjZ0WpbvGZ3afZd7mMJ06//Of
L3L+ub9sKBh/Pz21Sw+j0xjZXNEgjuvOClf1nBAa7jQ3Lbm4xd3qdeGfL/ePJffichdDwVdqKTj8
KxQ5I6ftaTzV+UjCdi0JPP7IcP671eLne7uYj6wx6T2tgRcksnP82QCbM8nMmFC454n4iWaZd/+7
u7uYmzS3nRRaCT02dLnDGH7MvPSxphM4Qq7586V+8025uOlZmFyU8P84vFBfblakA6Sz9klzU8u+
3A962X9wld88QZfdCmU2EltsCia/rk2eJ3qTxH9EhdYg42kxmmhAtnvTacEcFrIkGtv3Xv58Z//c
454rMWdlP7t5y0cH/utFh5HAYUmUZEwtb2eVbym9BOAMhANFs9URFaaO5OaNfv3B2PzNI+W6wMDR
0nISvbxZJbqqaI1qjIX1OmW3XfvR4P/N0/zlAhdbplZL7EFaUNxATQOCIAm/DuK+tBEZ7Ef/+c+P
8TfzFGJs3zOQBZ9lvheb29GUqV/o3E2u3Y0AjoXzQJPr7ynq39Lou78nigsR9sV//H/UZN+23+tP
Y//9+3j9pf3/QJptno8m/+e/1c//kGZ/Kpvpe51/+VnN/df/5W9htuH+y7U9l0KoxemCvQOv+m9h
tmH9izGNwSsI+HSJjPm/umzb/RennoBkJApalJY9fsB/67KRbHNY93mROkUnXud/oss2HO/8Cf00
63MEwVxGnZUf53BMv9wOBsoxiqF2cmi68B8Tg+h93UjiYknRmpZ1mJULGNoJGJpWTETfD2dCXzH2
t70GyTcZAalVhB/l59jJvB4+oYxO9mUgTmK88easuLLRYXBsBKdpOhn5r3JH6/FLD6k0L43yEDCJ
hLUWrDsgWU0kJ7nNaafsS0B2m5J+MuzaRqMKFNVo4Ta0orNIZs7CaiGu6ADcVQnMXk8aAIEsOQOm
UQT3Fsh/5zXPyN3kv3Mr+osD9DnleN2BDcFeYCtB+uODAKnRvOiaunVhodJTOoNOJwDcC8UuI7Fo
V+T2kY1GsSmkiV4G1Wcr2q1NtjPG+HoN6fdz1Km/wEE3KKUaLxn9oYg0c8KNx32eOd/ndqi27EkK
Mu5pWOt2FmJNLCKrJI51VhbEZGtf5WYONhkLvEn7cmu5MDZ74XRxTet3M+I9Mc9wwrShg0ClFv3A
xj8TQGXdvQ4TUW8tqfujrsqQXDOH/lR3HQT9g9a0DqjDpSJX9rZvG2tTWYhwXYt3AZ18H3gJQmcQ
HeNoIF4Q/bAps9XZUI6aYrN1m7Bx6beNGaxPWtFmiBplQ5+LqH6nQm9dg39o0gLltAvRZQa0HZG7
tbVIVN+6ynklI3wXGGT/d6oiJrb/POo5CqW2e1R+DndU+MBkZu27qaUv2lh/r2d0vXUyEsztdJFZ
sxsgtwH+phge+yaIZzDRoedxm8ZIWjZOVaKHWyPylUYuZTPdTLihd1YOEV0jMd1rIJGlaUJSba15
m7oE3d3TgxNdb8ElBwHcjlMTt9YzcuR2MxWAEpeUn7z0L65CVeLR1natDjUuwiwCjjcN2v9D1o/k
KkPmsGXQAqFDBFY6BObOw+egxabpmBsizDNK0K6+NUb/2oN6CyAab04ikb7nyevYzoBUC+Wd1tJD
M1SA5u1sqEt5+VJXQ8ihGmgCXXXpaE+6SK5LYwpCYa7X5TgEjApFnm7r3yTmCrA783Y0J52HWi5z
XMkGnoPrAWtaJqAXbazxZpplpwr3gWyHnO/AFtuJsPSWsVhG9Jm9qLMCwVNa3qQB4Dtb2h3D/xkC
5K3U54pvyAaQq1xA2YYgFFb08aLM5zEF86jqmtGuVUeSCf4S+RZhrm05v72pumNo+dVTDlneX3m3
I0HEG6Q/UZuOzZ7uYIa0jHhj1ZU7s2YmMcY62A00kjuNAW/69Wd/wj8FYRuOAJLbyT6zxtvKQtSj
QgwZbD8q5H6aqcyocJs2BA4bU6x/75czAhbJeDjoKsQddlWWzu7cR4wMbyFcfDIjIk7uff5sKAxC
e1UlHoVpdkeqwQtiFzwlw6ShKV97mKBEYRiBYW4JetqmjoHIx79JJ8DgA+IkEEiMR7uHldV6xbQn
XXhJRBs7Hf2cM7TaMN4RPsjd6Pb7sjJlaDp8g3KRI2ke+XYp+GoxWnDbPTCVhdxvfybnfnH9+/Yc
d26UGbOboZ/0zH21M1EDmpyWcPDDfJ7FTiLRQIe96FvJ8B5ae9OsB2QZHt8zD0Z41HinpTxkCVzg
tifjWh8r6vmeiW0FVEKNpMuhDE23XRWkops1TpmE7RYSuo1ffVN4P2A8LP2uq3mVVetCjm6tDT6v
liTweQyXYSGomNE9gFfbkGdIXHtCfFCav4zNNT7Oeif84X1ctdcmL54nb2TmqbRTif35Ia0NH47p
igpcB8izPjZpcPhrqoQt5HDf3Js9kD60tWYagihxPq1Vkm5zA7oUfYpTgQadqs9XOaGYtEGTzO6S
79Pkxe2XMS4zVDDZ1G+TCg2lxc9z3pxi64HICxNqMSxu+VdrGr6lPunWVkIbfNSIMu8JdD52pI6b
RnkvV0tS9bQAbKE+gLdUWhtbASPK1/yuN/SdP5wwNKBYm4JHz58hppdhF5wSMXwak4xUZmeOYeV8
C5inqY41adT3DjEEEyuQPe/c+r1eUck75nSlaQmzWCB2pTa8VAyhsxluI0y7Psxt+1mW6bRXLv5D
cjg3Y8maN0vXDvOMD7DXkxa58s62ZjtMWvju/A1zeUgH+xAYDfHQ+gjqaNTam0orgMDnYtdZZGhn
bnvvVLJ4QAyRnxyJIaYNjDvP6HeeBXt2NVKiZ3oIknJJHyupI0tQNrdiDH6E/UEgqmseRWUB1YaQ
u65w31CW7kSl7TqgCxsWtTHsCBiJBB2ZsBX2dTf6X/Vc2HdZVGBEPJayAdc6lbd+jpuzyaruqkue
2STsRg8GaTMTeH8GyBNUnu/WHJJCsWr3fKVINPsbaQz3a0/6uTbz7SfjFbv4PERN+ebmcxt1qvis
te6pqUykB8C00ro5dWKCNqEMxIDr5EAetT7ZzAbYSrUHP8iggfT+TQVQdSsjsWu0ZAlNu/lSFlB0
OyxEzLCuDjKFkPI6T2/TDK9J3aY3SznvOdYAchfLp6wsXquz4y0DywVc+sawShydrlWEEqckmg8I
szr54K2E6+ScAz0blE/woxaT8VgjIhByJO7zNC46YRykfg5G6sJmZmpeEq5PLLe0ET90y3JdtzjF
RpjIZTudkply6GRKJMUpqLjFOw0rpFVZQHtQBKDLijgZT27tAvJrQbLBmRfByIIAFiGUJNUeAgMf
e5dtKnf+PFqZinQXRtxceriD0mVruzX2U6ZjCudeRWR3Vd3lnoPXB/wT69KWnN1i70q5NwM+5iG3
3rMJyKvCqQSrxN9N5ni/4g9vvOHRqBDpOMSEgPXZIF5kDI3+HPXOALz1nBWHMnkTKGzSLYlX0mr9
yDvnt6M6Y6UJ6li5axn6FL2RlzXaw1jgksk1+gdzGXxOmnMpDYFKB41oI8rOjXAOTuFEq/O4YLoK
VxhcKBJLcEY9pjc1dJFaW3xxAGK2ydWU5HDkvWEJk7V4meVoPNUl2faLH7w5opxChThrY1hqjm27
v5vWxolX5EWblljzWA3I15Axh73KBqZD0DpKQHY2R2M5BK743lok0YqqZvCaHRI8KyA2tsZBiFF1
01pWurfX5BigJIq9xL63avTGZAfICAWDE9opRrd+P9q+3OuzTbJ+ufGzEd/a6D0sSfDgUIVYslXd
9A7MGA37ZSREO0Ji0G1IiAdrKdimrRrDyCGeOCmARPl7bxDavlicZTfQgt44OdwMpxVsVf11z/9T
AvqC1Ne6irAguR5QA7MUKpSdA4SwPmNrjimGLSYeLy0zolWw+y3ywg31tH5vRjAsU5YolljNYIp3
zzBf4UQ4k6rNmkOBckftB4caEvaD9w79JmE0y9WMaCzqvfle69mL6ytIUBvZHk4Vf4fbIr2SZqrD
k0DCWsxAQcjh3Vf8L60R/hPa2ebQ8Ff61Bgib16TjTu7QZRR+A+VrPttmzYNwjd2lQN55+tCvcGY
TD/UDZLiXcgwCJm+lmkXYYqqd6O+opRtPuWBIUMMNjHb8SrUPabzEnNJ1JsqnAGCoct7dQr2gc6a
vZo27vFgEs9M28jjFhwd60Pujd21022TjN1Sh21sY2A5iPvlNi0hgGlz/kAFJH3Ctm3heGUs4Epr
PGSemM7OwmO8bG1JlSsQbrBppH/wydNnWAT6Tc9n4AQgDu3hMKAYjrop+CHOVHQk4C8dBUYA7T3U
vUfcEvZuzAFHShwcVtE4/AUFI2TsnLudGKsCGFUL5XUSb9Zcu8zH4FrWdP5S5vIq9ZUf4nJJOQeJ
e8dK76VkAdS0ApbNSFOAFxsEq75tTYU8ERe7XItHW+rPUuZ+NM/2Q1r4t72wDxlmuY3hsE2sZSPD
AJKUXfr1seHvrZzLsHQObzKwono23PP02pEd5OwxV04hTCBNAQkakmU5GEoPPUwT0PFmO5hPi4YF
tIFhOVRZFbOXYN4TQxdOOhDo1mYrg9ELjM4ywXoKsitLkdbNJFeFHhgerGEn3CdLZPoPK4SIJM+L
bYNidNPn1XXJFvzO9Sg8dx7fk8Xpt2v521nPRkEFT1Ku10GnX5sT01tVAkmafGCjaV1O13PSO3t9
7G78wUUZ1LEmoEnFu4IUI2xWolKzjg1MY6lvKOOy64zPyFqSdzhO/t7kDV+VjkDyW8UT08heDIgH
mXXMo6kVsRuk3QkVrLbVkMNs8T6ETaDAHkx+sNFUAw7jzHaUBX7NWRX1vs9WxqxqbYw9Z34X1FCh
zQdNuGFtZVpkFc790B9kUpuPlvG573IcTFZQ7mUw3U2CxLVAduZeYZHFqFA/ZFNtHBGuMmS1b0td
B8eK7oZclLEHFSOjDAXgpld+cKKp+Dnpxmoz+pqIgtU38UbX87YcU3oGoj/mZhOX+BcgXDTGVtP1
qwIz964qwdeCyNkTYQPnTYfjQ1QE51hVPMC3aDd9Cs8o64bjFOQH1bZXWRl88oht2iy6+SXD4nhQ
Y12xXJ7Xv/qaLkYZKi/MMvK2aQ/rIZM62mVzzHe6oU6OV4Md8UsKGKq8stBJp8A+Y78CJGYNeIsm
j0OuGaxL2Gj6oxjZUMt+PKSmkHdiWlAM6lkWpwGnUW+HwHK+dhboh2Vn2KcWDk8j1QTqcwld1QC1
Os/Aw/Q9WQ1jh98Yk1q+622+9dLM9JMn4BL5nGNBPDpSG/YQD560eRUHpMDZZnGCk6P2PALvSMiQ
Sec0hbFliygdCvg2E0RVbWkgv1k6B7tKd7bTsHxbJXY7sKVbXI1maLdgXyuVfEmqJQ01HR9Rr33p
BiL2zqpq2h/93HgnFrfA65KDq4NLdEsfyKjh8Vf42rMmB4A+u2Gl9QuhFv77rL/L3O53ppXdG9OA
Kd960C1hHlDBrzMSHPx97oYIEtBfskm20EDHGWTxggh7gy5qoSziyXhNRUbdJOHssUhor8m8rQSb
P0pLxYC7sC7Sp2JkhSE3qNmpJQhOIH1zuEYFxyffZNGjTLbF3Sqv06R/cOqz+k+yrFDpYIFBtrLB
PiXCvpcd7FWO7g57jF5XJzNNmRT5NWo2OV35U3uyyvkHENVy2yvhAOrhjDXkJUbZGWKhKF8rG695
I+qbru+OLS43pOBRmS3bdvG/l14Fpa/QkQAvZXMwJS/V0ZMm1vpbn/i8I7856hb2J5o5V5E59u9V
oO775HsyTu9+xZm6LyhwGUECbSrsVM1Mbb/i0nuae5BrUzLfJdByWHC2vmiYXCqRbGmpT1HdGfsg
KSFYGe/oWtSmGLV6a2EijMigfnKCaT8T+tJzAmRpL877kWbbWeNxnqdhu+jyxtSox6xkLbDeaGiJ
6bWIYDzTs/KdFgjohVI/NLqw9pT/42HUXodqFFvvwAAKJlb62cn6k+QITt3wC333z4YOrkpNntgZ
wmMkwASMlsS5T9vW2QGk+VJp5R1moHOTrJzB++TpfmZHduVb1S7DRwTNId/aZluzh1cLJ29mhgD/
8qfMViO4S22zaGu+lQ4RBWUPhMJoZo8o2n7rSLYz5C6rlKCCpbxL3aCLsVWiuXUA/Rk6NKZmsW9f
hJ+8rKksIpoWXbzqo9o19fkDZ87SUB/uK8SeAS/6qh/dW9Fk+dGZ8xshjAeOqw5/86vpSx9WY3Io
VHpQZnsUhnrpm8ghoWHGGcxG/gv7qCCsUpujvt2c8mC+ZoNzZysQsokcImnqJy3Xn1vX2oNdbUPc
P9iIXCCZ51pnXr8hSmFuGs/KfcJoMv8VlzY4YnthPuiTvUoZgtmEllnOHm5KgiOcmgqsQ5lpbVOX
7XdxrJV61lVxjVvtBhu0Hhrts+2td53GApIU4zmmQ0UlffIzaLQGiqbwGHqz4NNTD2sGOND3ITrO
t4tX7Rf/KYPQ5ayHlZLRgacB86DfE61wVRW0zbQ+fSVNjxPS0ZNUOgz//Nf6VWzsZoRWVYKmk+YM
gYt7p5yKi4PAYnb+1vzg9tarvxQ3ZmX9QMDFzKJta4vP2slv7C79ZPp8syK775GNbjDAvnq5RgbC
BPa7KfM70Dr+bXeix7aVnlrvXCxXoZPURqiW5q1mwrpyKvsHh34nLkEAUO7HmRC4/bFr5RcdVK0n
RkYtHxxrPXMkz/krIsST6xKcETjfpJd+ydTKCujKh4BPCPL4BAxSLyBrWcPOcIQd2qZK8C0ycaVu
t+Pb5Izrjde6DaDYqb17aa244DLy4KvGepzr8Qlr0hxlQm59XN7bajFBivdjCu9Mmpt2bn70ynv1
tfZ2Yna/Brdx6Jf8EWzn+5xbPpEe7ffVHHoG2qLtCfgADapjUFmr/LHUHHbeDtjozr93RAuCRlFt
rQ1r3NaM74098lFmgP3aDMl7PxZfXDIYomR9WjTsaouXf5q6wQ7PlFdCJRM0ZqyVVAdJfwbtmMqj
6nQvsn0Kb5gD90XwRFU1jbyakgqJazH0X46XMCJDLV12gPE+L7I68U800qnnGZi4pAKG1TCmLjTz
TFJ2L4Qp4JorHloN3OC8rubWqmAIz/wnAgrSSFk+pnZMzJ2hGbu2KR6NiQdmyysiOfB6liWk6OSW
rnUQ4RQakWzd1b7+uSnlVzlSEbNaE9H4+TCsG+t2GnFcDysGbsyd4V9lriDP9hP7dGCHlCSDoO2o
nq/bvDHup6H/BqCyiIIStnXg8jSUNX8ToChxSIfl2mY7Uco49Yp1i7P6zjWr5gZMCmOIL2fI3TEs
BvGC4fdp4LVuyLZJySCZXToKTxQG8acAtt14zbQvijx0htraEZEaLsYYGVJ7xLC4nVRwZUlvfAwK
rBwY0yamhdGjXkOZkzPeuEm0YEIwNB1TQK/UAT3KMXACNVu2kdfBrNTmOSZvouEMtyU65HOWpu/O
kEWdO31KPEcDtmq8VIpykofrkuA5eAzOQOEic0uGl8l3nWkWcVjOvuVgjVMIBvXE1jD3FPfMN5Hr
y7JhO/BI9ALVARcOXts4b8tqU9xFF1P7Zb81ugolkP5qm9iJWJk5ecjqOHVEeZWZRc2X77Onc8U4
7ml3sAJAxVtRiphQ7jgfRPSuGBvNgFNf5psKowI5CTwIKu+RYS3Wtvgv5s5rx3UsO8NPRIObmbdM
yqUqlVTphqjInDOf3p9mLmwPYMD2lYHGYBrd5/Qpidx7rT+22ps8aGNAlIrmZ9wmxRx9AmHD/lTd
1lgozxYJGEIj427lpQctlDjFjeoBlf95khXa8ZQudRliI/L8+cn0qKKzdeXLSXrZ5bEdAPAjvTV2
UnLI00X2bKsYvUgonDvdjz1WGcEDtgkA27xaTC//B1L3WhX89a887X/J3PqfZXFtfqt7mFX3r7/V
/8c0rnsO3H9P+Z6q/Kca/wvjC6UDAfyPKC5V/jfU1IiP0ZTLaAh0+Ph/Mr4KXDAiaAK1TIXESFTK
/0H5WqR0yYK0TxTEJM5ZSBL+E+V7j+5C9Y8hRoNG/F9RvvxZ/pXz1WneQS6iEPB1V57+q5Rxneao
Jj4l8VSs3IcsVSWmR1bBUuoLT+bN8ko1bYJOtLj272uJDEeN6zjOgr6ZOhyotuIWA0iO2TZMxvOo
BsqdBVaStd8biwi6MAVQsdUiEPeBTpaFH5Pl4KjScDKIZnFNi3tw1hUvhBUDMzNpYZK2vZksG7ls
vRRI/9S+3eUu+4ipxLDwtIZaYboMLZh4SmBaVtRunHcSXv09PpdAIWlp00ZyDhpivUrPKziXo2c0
VmI3KvxmvLdJ3mlXIhYhRfLY5Xva2b2EAT1rdr0gWIqr8CG0+l+NcJJAQvIfivIHBmQGKq23pZ2f
mD3pZZ6n97pZt1HOH23tr0ZvPxmif0moWhUiXrcVnuVADh/qdXnj8xzdXiJIy2ySW1p29zrRZ6mn
IXXO7ciXNGsbEYIy0rMJOB7FXt6GZPoLTjlZIpVTa7XHfIjOikUok4reFbZi8Mtq3JB489bF1Tv7
Hj5WiSR1k9QfZe0YVeTxbaxb+rjZkNsoX/eqbQSk1ay+PtMoJUYKfwdlX5q/muVHaxz75BiVpCRt
ifx5IQWL4lk6QlcExC5hDXSWj/J1qJt8W5uMXiNt5SwoMuRf+yPC8HmWyj9VJQUIyOSLAKdPNtaf
Jc4Hf4h3ZiiLoCWqgh3bgqEgCcCLG5NVf9xX5bS4+koPc1st3HxJYNvIy0MZaCjq2WtTCQ8ns4xs
sW2oUL8sqZ2zQtZ5cnHAVagGcgtnn4mE6K8iWjddsltlAnKr0jhBzzNQdx1GPObQTabMuyFdKRxd
AKdToXHRAUduq+jOnISd7qP0zGidrUuYX4V+XlUi9iZdowezxhpsW9uefEVvqmqbAdZ8NBownH7N
3oldWPe5aXEXVu1GVwgllfixSMmisVuyXpdl/Sp1BqpeEMOBnFT16Hhnm1ZqzGWpXvvEumR+y3UT
9Lo2u9RhAFjKPaGjkZYcaqK3dpkB3zOk/eu0zt/shtK5KFZuHm0OgamV9CCveXvRwuFDSx+adU4/
Mxieih33XgDfeX0Jn0DZkhkks7FpyWyBlijeiHx2G6QoWKvJr9Hn4rUtWGXa1vbkhSjgUo73xVMT
jZS5xqFwSE5ZL/VSbSOLUVmblnJ3d5Q9qKPyBOTim2FxEdP0omSMB2Oi+quSN07em1WAtTt1QOci
qpNVctfGu639T5mGZ13vMwqljQj1A1t8ZkxHM5Y7mDxrr7IZB0lCPoRulTt5ICFtNXfSpCUPFlEE
8axfsYkWfh5u4iob3DtBDaJLZW/JPuHQzTTuayJU//k/fc+Mai5w+qHWkqhl2ls22Ftfxi9D5d7d
XK5Y1L+hqG/0Sv/mYVZs0pHVP1MXr05t+o4ngPxM1pmKWpvPNsw/SDfZswgxbnW66Wf2dhCmGphZ
RoTcdI9sGgG2YPnZNr3cUM9rbTzbFlzVMkSll5aFb7AnM2URixQXxgfRES7Rw+fKjj7J6vQgsY8r
qTs4mOXPoYGpkOiDa37STlEQSeTEVdxTNGJleki6yO1q/SUc2i/TWF6GhCCTBXbNtNhESZvbaX3M
kla+qb34UlYqo3G190qMVzfOzyyoQR3ptVvpjH5CCrcAFcK1wBT4RZlwCQVy81yVAZrDif53frS1
zo4EO+145BLOhAFQr6J0yR7OU6d/wpK7GhyKoLKmTmIgqBGGVS+usZJ8qLXq9lX/R3pDxQmW7ajV
FhP0UZloIIIqUVZ1fwJeeUpy64ULCabLqB1iwBiw+PMPuEeAqL+pXx88MM+erjRyM9BW/Skk2LCM
jEdFyyB5vTknz1pNpEO09OGmGOx3+N47i9qjeyqoVl8mCTZkjB6VNYNcV+Fm6hSyXgMMcqJkXPel
Vk1+i9GhM/g0sG87aqHRvV5lvTMn373dx1eputn2XO3I0uKXWuk5n+AnsX1zdo2tl6gobELJQN7Q
F39zolxDdUsETHRBfLkJ1fALf2zntaNypAcXG3uRH/DEJZ5G7Ni2M/PtUgxPkhKlV2lgQZ6KHHK5
K7zJDNc9MRCvRCFLflYq+GZq86UeEZR0PSuj1lRPouKQNkzJZhwlFbOihuM3muqIvG9i4qQBGZM+
mpJrJAqgiUIYHjHU7thkV6iXb7NuG6+qug/Y58ZB6eAYCWbOupmvNZEtVTG1bLlmvYlV9W0R+tNA
+LoH+frUD+3NsDmU79NC2J9RBO2lBLGBRcQEWirENXUs73qVf65NvILEHXp9bL/mYosF/nHiB+bd
HI/aIn83WbslnCXf4rVKGNGrYLDbr2iID1l8wBnSuZr6Sfxf6+D4fu0a7b3uZSIg7ItR9KNf2Hbv
/wDTUkc36l9Wq22IoAld1gLkJFpY+1y+Whs/6r2SnAv7maO/OM8NVeUyMqKJtaAg7sNr6tLe1iq7
aJkPdJVbkmMq8fMyq6UTx+YTfpGzroavNllGW6LcFtyEVFHzXxpoCnCWbMo2qAFKR51B4WXTrL3S
UklhkEgNaLXiqMKX8IBN1yKd9H3TJ0HSPKpDF+8MAoazSB39eF3uci0yxuqHVBufk/VBbxOBrCq8
TzTLP3JRAUw5e++CgATtmBtVU+rXxEcYyAp2+Ky2Vtw+9f39ho3iV9I+vgiM0R0xa8SS2B5hptJO
4+opYns7Aapsxxx9nqGsT5Gxjn5GqYOfKjqMrVrY3Orkpertg1iEcG3IzKljnUWpf5VacdW6sfBh
JflR64Ay0S+RSD/t2hxRdTwSVfOjtsk+0koZdJNvPGnPpDlcKnKYvbJfB3eVN1lT6l6WG6DoGTs4
X0ca9lvRr1sljxtXGQdlq5vSIR1RLPDRkkEVzu5YkhKppbkTR/LgUtTKeNtqoN4mpzDSNS50cNQu
Pa7mTYomnHxW/Ge31RqsRjUEwoje63D0Cjn9XU2GS8uC0Gqm4UKiLHNPUtHmXq2o9DShoeOqmkcr
kTS4tSncQk0GVXSPNkMdRyTRbgIuMsKGp1VnEpSm9HrWO+QRs9COSdESkRGdufRarjTQZzNatM1Q
QlJkSgooEA/3NRj4sEXf2PeGQ/gFcoMSRaBSobVqpveSEFWnqasb7kGWbeM+Wyn1hkyz2ltS6acq
Z+Sc5m1YLAxHkHxF82X3L5FiFa6aQiOonYnnTvOGhsCjVKtu2QxI2k7mn1HKl3WBtJiJy3R6M7CI
gHHXOKvcsOQpqdUODcR5uA1Ydju9egeXmHMGHn2uyU5LzmGjvFe8JC56g9+13McGvsl8QKqV2smP
bs7xtsrtnkGXF6RJMwro0+WtzlQiOarvedbyQyvsHB1C1d1Tlo55IRBdMMR0A1Fp1XJQMtP2M1Wg
kiMZRht12elkZESS+RQqJJalMrTpLFbKzsPXQaH7tU7g9sa1Ad1SCweqadzYbm7d7ySjWtyR/WDN
BoF6A0jFLodNGhl7RNyOQrQdFBxYX5rC811lDWldaA3l1phbhwADCBttQR1JuKoTDfrBWpMAhVlK
FKBNWqAMsQCPLYMB9ESWTuhAh/BbKGpxII6SLPCsar1pjt+0JH1eBs1LGw6FZVCloFVSvsSs4naP
mjdyj3Frm+kt7IyjTnsEOJT8vWiPU1uS9XjPLYm66TVlS+O81QxAi2ZXECcbRRYCKyk7Yz3f6Smh
r7Exv0j9TehhRiPyeCJwUoOJu/P2aRpIxmjtqAy99DNjC1ljjJdJAjARJjaa4NorlOU70Uqs1IYc
TI3IKC3i855CvrOmQLJX2uZORnfMKbVcYzVfIUam44QG8Sy1BlzCWD4Ceb/00jDvYfx3Wl0ivTVJ
FkpLQpqkWjhxyS+z4llzSnRzjM1zYIzZ32A/avbytfC8V2t+HdoUAtQ0YjQ21YushJZrSinxIIPe
+wzCbtulA/RUfU1rpfDsmnQn3WpvcTdAnjQjdLh2VglDJLprPkaR+lx2XA7ZGqlkJ9a7eYEqjYaT
FA29v07dLmpJiyZdkHRb0tmTnI7nlmmHLK/PUX5Ls4U41FaFOi+SLEhqJBY9ChxJZ9NT9PFlbOLH
ySD9x8rvjwOqu35Ck0Mu70FPe/RxHXStYP6tjv/4N0Q7/WIx9etpo2vNhVD6F7hsV7aVt+X+26xE
NPF3maurKoJYdYg8i3DrzdDMbVBIPpGckAKpmbiEC4SevvwONl+nXZOYBDTgFDU6NSmKDLeLswOx
bsOmiMQpUirJ5W5VPYOnjRzP7GxLZe1Zxtg69WLo7l3d7qn6uZqE7qgVizvKzu/REhfEt7E38YWi
F2Jel9pdnUY6SwVa0tpE79Gt+javLNKK+pJfVo23BcWqo1ntqTdVJuZyINjGIGI5XvZz3+81ax4c
ogTJ6dA8hYnNseN1n46jjgIcHkstok95wdZkS7lbVJVwVP4vAjSGoFCTQe40SPn0bbEJqJJVaR/3
Uc5VyY8iouZopH9RNvxaevO89BPwboEsLIuvvWE+zTpx5tOwM9tpa+fhz6xczaV7IA/3s5zUI+Cs
zZkL6ZfpOmufhcqoqjcMaWRwZZzQsBtn2jfkBuARev011ySXgDY9aARcumEu0a7p018ACQ6X6iUE
3HHVhm1HYP3uZOiM9p1lNPTkKb9UY/aZaRLRqMZGWVteu3jUgg5gFeHjbbbE7xLPhgvkDZxd9b5s
V9+ZqXiDOFlhkXidZiTYato3o4tKt0uLqyRLhZdTvoDciQklk651v94MgyaGuH4X6ECKRA63NcLH
nTUam8oiFzVrkMq1uQmJBHIqTV4x9I9NWk57sPafokjg2hiTY54A21Cdzmp44DS+jKnKbFeEkdvq
skDSIbPUcEY1Hb2qPaFXDtmBFnIgjX81zPdzeG04yF0tzOJdZIWBlYXfZMrAzK5RD/lxHFczCtJr
MVVFwOUo+ZxKnpG2b33EIEkmJPepeALAfa/MqGGLQcmD/rtKEZmGRSw7QyIS2AQEXKZO3s0cvqh9
rzo66UueOTePhVR37jTWKVlwB6lQTLoy2wJKNvN0xU9NOT5GqvpMWQda5DqPffXAwl47zZL+hUR/
p9XoJxlaUQVHs1NnKBHvWLUoLya7Ivl7u4H3UwqHs7TEJ7ZjOmYpPHkNJ8kb5W5f6vYJmBhybjkB
hR3tiTjKsFM4xOSexlt6w9fkFLcxEel2c9ZaMIw0R8I2oBm10NhIeXGn8EF6OrN3RFkUviWSfZ66
qwIxB4H/RFbwshmRYwdRsqBhOyBiNIJy5JVm5v8dEFOWgjmjElGQo+x0U0tl/r/2d+UTUWYM9rV6
y6a9lhFM2BGY77XdM0gNUUk5n+MUzqijALKcBEjKDbPlm+4xQvUfBl1w8rUU7BTaW2pPxDZOrean
fJjFrP8QXa7ubfpJQc+fjTWTfRlrCFm4clDr7NLLUiueXhaBLMuzX8k1OoQsd7u1fOlTVd5oGhqN
giXeXtBik8E1MNHb/phr4cbKxwaLBX4LCjgfGfQNKEEiD1IyZ1GMKru+M07FUv7N9Fn5Sruc1Hb+
i3OkY0TnH7PFgCBs7b9SfId19Um972dtrN+iTiWCg7Mr8rxttLa9b8p5GVQyb8xAIJa9RMe6R48R
G4TDVvp32ZipKyXLbZErj5SJ/azIj30hIWpDbFqPZGkWts5nGO9jdN+bLjS+k5DpdGGDHgjrBpCb
FA9NhMcb5KRmdCGS/KqbxVsKxbgRnA1JeECzcugb8yXWk8lvGmRGlaVtiMCHlbDYfQud8OGMSb+A
3rX69kmL5m0FB7a0S+j3y8pkqIjVZUn7w4U9oaOMd1m6dNB1xUrJd/SE2c7eGZW0kVp732fiR03m
K5UOuRPl01syN2edmFNnzMSLwU3vGEMI0JiNf+TAoSE2bpM8PLekJgQLyGYAivcG8ISaYlnHnVlo
rnxHFewCFVykmOcSHnSYYh/cxHLTGe1hSO2Aw/7Oj5SXb4mGYBlAOnOqJgxIeyPCs0UXOtsKj1Av
nQlvo/eU87dAJ4IAr6zdLIk3WJAEUhaSdKu7aKIl2Wxt4RE10R+RCSobPPuoupTqU5uJjYPPGdzO
npDKI7qfMmPmbm17j8g6RuySwP9QvuBZZ7ziZUXEM+wSPlYbJWGg3yfimQpmK0fO05jc/nOKsyo9
WZAH+0xXnmSq2hiOySLQAXEQ4VcHYy50J1GjxzEE7KSBGejXNO8yu8hbzbrZpat+HiNglbQRjlKw
blpsYnhe1Ps8To5sFp4NqkWLGpRoqapkk4v1Quai08+D/NTyw/tLIdOdYBLMGpK9n4JC+jsV3S+B
7+tOVOE2kvFpmN2MiLLSVG8dcj5MQy0P2EvAnkrb2Kxo6XeAb5mDIkwF371HpfAyoDB7NwycJ0Zs
HK3UtI5au6xu3USLm2sLM/VMdGc/axsyn2bCd2PF1zQ2gUEGPS4JJPHCmkNGlyjUMKO63URixJVG
EP39PY3GfECMcy7M1Lx/MxZVFOLYSku6k9L4UbH7aZ/wAjX1ItGA1O/SAtm9ZWlotddS8aT6tetZ
Doqmeajs8qEiN59jjotF2NJ5EPG1XnLiTvX2EBf5hcjvguaRu/sJEC9a/xQqM4JW5/PIa1jKrsgG
J7Jza9N2SdBIy7RLtN5PaqSMYlboN6DHEgNC8YQ7TRD0PjH+Vm+tcScWr3bZk5SJZwf2RmLzySYX
lKoFzcovWcMFsUzNAajChOvtvjl70dDGtq/kIM0T5dGJqC6jrhzkcX3jOIKLp+ziaDWZwmWqJ1tN
MEzFcQHNI1tloNyhB+RvElJEbkdZ+x41udwNLQIILEaIvFFKiDSHPYbS7wYEyZk5L8elHw5Uyj6P
sKpcDxaJxgXRjujPkx0E1l4U8UWAjvsWGboMUY0GP1RJC8M38QBLbO8In1QQ5VJ0nEk1LgSe87Kc
t929gSEaGTUlafwcYjwlcvTeLEA4NblJgDiwrAYS5VA1N4NRnY3ajg5FUjN7SsD5KpqPXFOJljGM
x7YKj+ZQakwwuJpzUxxm5cku7dlFfUn51RyDFQKHZ0mf7DOybxVzPhjp6pDSpATNav/SBLu6wyCl
m1QxuyAEt5UGnOZtX+helWwLpEecKfp9CNEQISQ2qwQ2QJ0ex0kdGNpoqiE69sjyPW/WWXskaTLd
qPayV5N+CNgafQVNkkvtEpLKnjmUwhiiRePgHwp9g3BtVxEtrgVcPzqxK+HQPKbrJjMX0+soXj3o
fUV6rFFs5BTpZaKhSFk19sP+njMtmxgKxDCrW7JiA1JYsc/leR4QHFsqZ7EofzopyH5lliwFs6mR
vV0S+Yy+py2H33szOWGOiRYwG3hNFptI/bw8CVD588KKEHJKqVWPT+OUYczQE9vwNXTvrlLkDDbI
5/GoeviVcU3cv++pmEI23e5lIUOeWUx+lCsj3fYpYTOI0EV4nx4pT2N5f1P1Jse0Uf/2q/o983yH
WQNFEn4WinYjNviypH4ooNoJTAOdU5KMzBBjvwpcivhhiGl9lEyWSfL53/pCfelKC4tKnxqeWsWI
cNf6OSYNzLOAeNy8+Jzj76p9blZP78+W/IW9LB3PWXbWSAJtanAY691WniPEA3L4GClXI6MJa5ON
x6l4IDgNgeQgbyUSLpuHbLuO+8l4LsUlZ2OtUL89q+JixkcTasCIniaFROoNb8EIqyT0i2U9Lxgc
7OE1rm6Cj7mGqUDbTqMEFvLEhSlhkyX5dIb7akBKv+zmUhknNEJq9VSaiwO7ACDybsUKPTqdk73I
k3EKww7/Ix6r8LaGO3JvceKANIQPJaJzQNDpeSkf8uZjZBwvlu9SQyK6vqnTtdSeLZwk2i1c/0Lt
RTffkhYpUby1cd5MkHnGRTIP2Yqiz83mYLWx7tIKNKCW7tHOEiS7b8LDmrCmHOz2rdUuMuIVg47W
taYbuCCTeETdspN7drHXeGoCW/2ts1uKdMuksQC8p36UjYPSfMvViyl+S8Cjqsl8o3hYOkLUbpX8
tKIqr/9S7aXUDQ6QGD/TQ19+xNFXH0K1MkBIJEySj4NqhnsPP8rEIx2968WXHF4V5SsEAgq1myIu
KjJMBbAybTx+6BGVfwarJTKFhddNOKSSYt1mlB7GuoX9Fhhe8MHCEiCG5DhxJDRJzYQxsP4QnY27
41ZgHCQA5m5RdWfjp5RuVb7TkX0izBZs/MMhK7bpuNH6S9MfF/sxrHjAKfW5JTxu2pHgY4su5X02
BXyYo/raTyeDUzujjsAm6JEsvWQ7J1s12pXaA78y0/emeV6t8whCBBAwut2EzLrdJk2zjcbaq2ms
kABWpuljYBMVaM86UrFWzLxhA5ktfeic7vRc0bQg3IgLWgO+Zvcj1NU49FYc0HHlCQCkNecqAHMy
2T0U+oJQhTMBO73xiVqCiZRHunmfR9tB0u3g/3FiM/d7CZc1YDvx/7gUmTk78BECihtePl4Cckc3
DUaeErPH+hhrVJAMzPLQ9qt465U3QnmNs5yd8+wxbz8iOd7M5rGpdv3dZoJ0GLU3Ep7hnKaHMXlo
lt0krnl0KXRe0sRNpW97FOjVSAY+kuOmz1e+Z72B1H7e6siZU+VNRpVZgUogwncU5RLZTtN2bhvy
D/Zhdi6fIh2AQuNcK754RUR6KJpnUX9Y6fMs/xX5n1B+Mug8M/1oF1A2wIZc/ZNhJvvCXdSnZfqc
G/LEMVwLLnTCp5yCu1gkNy5OYe+b5cvSEjwFQAtr6FNy4xjGxzI9WgDqWLNrmlh4WJe/mVlazmNP
Y19RLtxvDmLrEg67QrPEaebZJUZa4nFRrrD/3OWUoIHiZnqFdUV9OzW9z8cIT+zxUcgy+op9Bpa4
pi/qUDB3xE6/8MhPv+hJ/GT+IWAUY2C412pCIpG1Yny6P+U1X9L9vew4c3r+vkG7FmPaUMKjjOpL
6WkEGX/C/GS2N7P50603S36tulPevNTLuRbXtHyI5lct/Gz5LGIQ6tl+rYnvr8DthpDf2EuQh0eV
TNfoE487YB3y5y/pvWtbp9R1pizsPDfzbnBN7xAoanrZ3Crs66Udeytm87bAcM5ea1AzNo88xZ9T
/wkH74NtOYwE2mUxiZoG7a5jDa5npo4JrTVUQbuRJYPv37aujXrokFLE66uFV/YeKN7mbgYTybDl
mBj11OKTfpMcTiTHdqg0XyOmLVBgHen8/eyx8EjLFOYss00aMhrxBRubn7G9hLjTVP6sJYf7kk5w
m4y5ONxEjGM+4fMNadNKfkkscaCXK9W/O+J53XC1VqhA7Qpyg6s56out3qk+9hKO+AYRXe3mJF+m
uEAZL3jwaWuDDBoG/BJsjRSAM/CFToN3Iefjazq3YhYyyu0SI1JY0EaHc8Bjh0pE8oeO9Pi02CXZ
6vbm6JEgwGfX6J1r67Evy7dFWfbWRNkWo1MF36/1Czeb6g141Xv1NUPSS7q9m4M2QBb5hta6Brdq
WLU+JgzWFRDdAqubiSa1ekdXctPG0rdGgggjX5dwrPAb0hACsMEFIZn1E1U93I4JBiIM6dR4QG1j
e4gnlE7vkc5LbC5+ny3UwyMhyV50ognWC40fmYUFLeIqEiFCPKQvzxNzF701RB8ugdLx9M44MNi/
4QCL4cdOaFk6yul50j9U3uNq/FlgENjUXAmpycrEtFAjtKzvCwV1yRqQgimt1NuI1OPhj7J7Ec7g
2ysRFHQraTiQWHpGLlqZA7TGAzxH4E3dF0JTY+EpAWgtWuHbETIn0aIXZvbieKR5FyFpx79jeElN
fYsBVjPEwWSlLs4OdwQFbBNeFPOh4xOZ7cv9v2PlbyoiDt6U+8fbL5Fv013XDyZ6H6BZBuNq5DrB
oCkpp2h+1NrnjOmVlkXH/mmHdwt1N85Lwgd4s0YTPhR9UMajlRUEfjcu4ZkoeH5q3OmLiXzziyT+
rjjGNc+PEfFIhH/3RO+7uhJJsDNwOwDPMYZmnsoDnrDF5CvunlKh+5TXOSmCpgUHR8ydCS2owuFJ
RpwdJeuTxFUBRQKog+4VFl8L1fs4e0RQ9UyxykNG+IZVvCmTwl1dOywjgMQvekLssnQiU9vtkEVQ
jONO9DcaOWBkpFHoapPZUG+wYZ0GQ38cqPUBx7duaZVxB93fOeKITH3T1wBgCuo33fBmiRdYDPsK
AQR9fJzuqpMhFtYqdGJjcpLM8lgN8UNby3u5CMmBhl0Vb53yhbWNg9IKFK3e0GV2CAX2oaTaVxNP
0TJv0BLws06+Ed19lThIFBlf5oWGMUglYjIE0b31Zi6qXayvBCdkmwWENiJmSFK0k1UQfVBn2Jun
n2lYDlKN5JQbe+gNOjLMQO4tty+e2dQfiOo4W2i8KNzbEBFzjOZ1Y47ZBY34SYmlYxUlj02IuQJf
CBqhndaFF1pHN6bePfRK90BhnzhN4HSFlgbEegYYO7wB+k+nUzEJEVnhIaJH0dHK5ShSKyC6HkgN
ewvXjFGgM0iqWx1Ol17OmdpLnIaFuMXy8NYoJmxpcSq77hg10cFsTF/V+o2Fpw8m/bUR8ruc2Q9t
pz3LunjAwLOpcjJLiy99Jf2ke2jqXYeCVsTSQaTVQUGvKxhMc7mYvKhYX8hqfMxL+W8mtfa+BJw0
STxK0KK56Lb5vm+bj1ZK/xpK4copuuaGZ9TtpTHM387iyo8mULAULxEORIFEpDGaT3oWXlSOD7qK
rqjUDCSL97N9st5JrGd7+xRAvgXySqHyPe+arNpWzRclWgCPmpunD3PIFjP+tukh7A7h6hV2gOl+
tQEsrX1JoEf8tNi7Lt4k1EMOsCObvL+kyhWjpeiObUZn5HdicpzTI1iSqqC/tbwu94SPOAI60A9r
lbvAPlb9QV8HdMFHpD10yUtJ01sCKZxLgLZ3M68LCweqMjMs8Detcjask9g7Ah33O/iMR9gMMdGX
sfytHQRtEO5FOLkKoUE3ppUZb8W+lM+p+gS36hrxpijOSQDfYGC+uYzxXz0/1RO3lKdmvqze0u6D
t5qD+KQ6tmfKgXJKubRFD8itPtjJo+GDTG2i7oFXiW5Bev0miHIEpWg+/TJC0aRoMLLYfdAtUYjr
qNGNoGXNvNKc5NFI4AzqTWn3AoA02wlaTIcN0jj+StSjgddfnz9qIe/ojHPT6k/NXlviBSQf1xyy
g5WUnuaFu9Ipm8wxzlZzah08GK1buy0pIXvcG9ztJ04Xy95wpmEYCFqUdeI7BzpBDDtumvwI4kQ1
F3ZSb552aYRSzUvwTH9xeXlS/NAD4OFdz+uTirRTjM+1vTdgrBU0H8lyxKRDdjtwjYkBwZN+sH3g
ay47bEALERdPhV1iw/nIOC6Sp7upnxJMR7a283yb1oMREhFxjn1UisYjE79lXNt5X8Tvs/KsjS/N
yh54LaT3hA4Jdn6SgSiYtW8143wpTi3JAI7FOrOF2Scr/MKfPIj1xyI7KUhS0/0cDG5iHKzqodcu
dU1w072JejnLLtkGpscisszErW1G+TCNL/yyTN0t+rm0Hi3MQV2gL2cMzXTZeDIvAnN6sU993V2V
IN/w4JS7JD7OsJRUeqjld7H+SvpzMwW5e1sQYVGM99KJS5z8MaxP9garYdZvF/0yMEvdIu3nHshm
35jDnaZ5N8SDYWyk+cphLFtPpifx3P/UXujL5gOhy4FUns3mFPFncQHd8md+T7e3N1H1m3D/ierd
ABifg96DKE4sWGCQZq7sof7Ghrf0v620MbFeaA/6vJfSw0rWkxu5POZDcRqGgxw+le6twPBCrpXf
dx81ITfjrk72/fA9MqiZ/SUJc6dEC0ccSqqdlGab2Z98/r4pUEI/zWJ3/yo2WTAhXE6v8bLJqbbj
zLD8fEP9KnUpbgYvH2YZ19HrGBB/UT4S8+GYDucR7WMNJYT3n64Kndb4d5LOa7lVLVvDT0QVOdwK
EMrRkizfULK9DIicw9P3x+6qc9Fnd5e3LcGcY/zxX9Z5yG0ChsXWekgYILvuTHUkMxByTCRJAjuk
p4vRoit3mgWhvILHWRjFvfHdlDmRsqsZpLA8AuylaFFCHIXgI1H38GsvBZVAubwwznEFDi4epWSl
xfoCOk5Pcb7zHweZRBLQv6m6+/V+CB9Z/ZqftGzoXTMKHdAEJncIrrm/gKGkKL/kahspa7Cxhbb4
RVXOYvKZqadp/sb2vXokPHGRjWerJ/P0FMrtwhBcV/ZfQbVnJWJvyvmvnbpcF/UhbA4tCst+l4vb
0bo0BFQ0rLsVosYhX5GfPgp/BlqMSgBtj36JtYo8ElyM58iE2SqnJv+Z/8DnSZTvVYnOFonlUF+K
7ERlrQHb7kmaZ1qQltuq+qjLU8XYROb2vbM4Xta1cA8dDlxH7vbsi/zFh45TN27PJPM4k/TM/b1c
fSK5Qe+3mMOtmFw4ig4hduzW682bvwDeUu5BvX+DHvB52XR2sulfxmoNzrZMWIsx7IbCgU8hHF//
8dNwerJX+i9T3imw8e/kGih//rjsLm3loQhNPnOwVjCrBisi7Q7DwnejpYHtHPOcr22imZRhp2ZK
XmSzKHu8+BHOqnPI+aJz77UI2Bi4GfZyfROVLmFOJEegONqCTyvsgihKc33dtN9yapftxgqI4tmO
i5dYukgbWE42JO/Q3gsp8dnFnu9ytCI3X9YQVE6eujGbJd3YtUsvbljYKooNQYN2rSE95cOEbHfc
CdpB19Y6VXrtpmSL7NVfdiU6najq4rO8mIFXiOhgIQ+3RoKxeJdrdyUG4FoNmTdYBy18kMYgovno
XBxQ+fade2j+pe6Y8ISG2iOuZvoa3+SeOAis4Fux3grsze/3TzD9ZKQLCOpjVo6zoNgkDrGLPzid
47Pir1rLmeWo/AGDo3qMd7a2m9MgyJPTkKNOpurSz2ynONWxE9jzp6ncGNADwg6KowK72w23MXQj
y3uRklAxtXnWuvD00Rk5z3Xv98Z3VwTrDvlzcbFymzgzo7/huV8EPZJqrytOdeUYEmVI3uHEXx3Y
XOjNUkyWGSrMAu57gxuPyCRUDF5UeaYrUOizm4RVF6wonoqme6mtLVpYgZStBXPOIjwD8JWsvQTe
fEHQwBZjInOk7KPPN7y4DVSQtmnj/RB5imx3PwipFlggljR9Dotv01EhXY+M0TUdTJpxHNpVpwCj
rwXrHlvLJDm9uXLoC0uX9c5cyAuR/lbbhw5yAOvYrd7zMNGeJGOHN1lCgcUnkefrOAGsPQ4GKAhW
U0V7NMmp7Q4KA4/x0BUmJMvpmqVaPpuGcRas3UNw8n80pGZKNLt7S6JixEY15S2mxhmyytjTqKM7
4jHkWEw+DCaqVbBUcHOQhIOCgvgWyFJEVEt6Ybl8OQ3ird6QP+mysLPEIOc+JMPZKG5z9B2CKlaJ
bxrAkCmTsP4iCetggsK12kaMPszxwgHfj47IS66sK/OOgnHgxMh2TXTizURdnyo9O/tdvmjh1hdt
uuV8l9cjLe151GiNpzBtczdP15Ox094HauWX45vTeTtwUdBnxiMZJ/uI15dE/VnwSd89Rl/tOA0f
RrgRSBtLHs2dOcatLJdHGhP9LgvXAsywuFSbK8Q0KKBipyPzDOiFiKBOx/EMfr6Zsys4nTAppAeB
F0bjBYGIVxh9BXEbyteUeUfOVph98ZEw9Fqyx8MYp0v0Jl2+NYdDb20mm9Jn0UMUwMMZ8ckauJo7
s3SC4dcYNpaxC7ISiatDdcwSTgUjKP8vzZQBKvOkZFRCiDxxUJUq62yyzx9I0C19V5deDCWqrBR+
iL+ijlEcfrJEdGT4HdHfpt3SRC7hGHhLy2arNMe2o48cFUbNikW6i12Z/xT/Z5AfjcziHZkbtIDQ
UZd0ODZLzKgpdRkiyio53SIfqfgbkicVbgs935SQXG7oCsEvV7mueTU9veVSjdya5veMgJDuZfYP
kXFVmYEymBNVvfDK2H3gmdUaYzVb+coQ98PfwGkevuqBbr+98X6MTuto6XUe4qavoMYmCQWzJBd0
8XbHciOne1kaccwe9eyT41JTN/MLr/tPsQX+0L/mF6pt8B/YFJUu5t7z+ebViWNTfcCu7kGQSiKs
xfGial9dPM+QpXgYxVMmb7Rgr5tHzFPKuEqy7WTDL9OSzhVWF5D5DRKGR2B3XHuETnkgnia3WTYd
6eOFzdkjNmRMT1yZuBaPadBJgLk5RpT1W3nkrIwaJE4bHefdygB+Z0l4z3lY5qMf92Zxpc8TxG9v
DjuzPSnvbauScbBo0Z+ky4Y3C2f32OBQJrdM5G+zWKD9v7E7k5zKCruSy7V2roRTLB6KZDV/gKq/
xGgRlGQGdE9Ms9qat1HONkbHa94m67r9N0OnQvuMp59WhQ0enhBMtt4eWHtU+VYIF+QKeJR4Kp3E
ZoLGjjRfDopyGdSLrm1jkgDlD5k5rcueTfVZ9l9vYT21HJgYZ9/Heu5KPjDj4njPZcJV1vQLt+PJ
Dy6hdbVw0402XX9sRKeOLV7asQzW/mZAnWiEDxHC1AHBBWjPjtOGWKWu2eX1GgyaPlrcFKnDpTEf
QGN07JP/JmS5XfKABglqfz6B9u/NvLeCS5XhsjWmirsUrJtkK+ruJBwKu1hgPA6WocvxojOTtsIn
Cy+78mjDsqKnEDamdSA+sSrPhfKrwgEk8ASjBMSH8Fm2rmp+kInHe/dbv/gu1BPh+BLXKDr63pUS
V8uA9daR+V2JPLp3cgvKH8pGce2sRYMFb1trjEq4EkTlH1BiLw6Me+3ijUTByv+l2r88OFBVRyMW
yxpOIK5yK/hnhL+6uhrwnXWbpADIP0fVuYx3t5kl3QfNqlLOGo6aODmOzEPtuIu6gxX+ogQQv1Vu
iElaklRmzBQkl4Ras0k4rfmcFBpJ8x1UYp0gszjqtUeK+GJKHmqwlYXvuubq4sjML4wPpVWAoyBw
yHdydVXET66oTGccHVZq7SX64w05LAiX+ZZBM1Cna42NHvLg1hEaVqAJF4GyheEgiLu+/J69d0T/
2gOkTqFe1EFZq8m/0jrF/U+VXnSTMWHvW8tIx0PPXZq9FDJyRHeyexYfp7NhejEiJS9CWVSFXzKm
vcIhPc7Gz8ShQTCHEe4xeNFMTdzXlXgLWfME/eQzwsmgsyYPkgiKircLRuJWGFgWlvobzdsWtKpp
9xQQ6tZ/YVQLnehBVJ2LWO2ATp70UXqTEkObniMXbaf14SffcXlrmy+zWbb6kqpyRfnrsz+0Sh3k
InOspvzOC1uabIQFiSe+l9T7Pt2o/qEar3H9rZWfdXvvpRtfiBJsptgLq52kbCJt1pSENss93IEq
niK0CeWd3HX+ylvUnFmBgnyuORVdLb2nxXoqdr2x8eWXsogw9aAa3VUOQ5ry07o8x++bbA/cFpwZ
ylkOwzl9YAFpbPfkF/X1P9Ig8XpC+P/16ZbFuNWZTkcikSqEWv1vVJmu0pINSVYA6xxVnYt48Svo
d0rkyTC6D6AgwUr35pbU6KyiOsmDK0ZTO2A9sUNiQCnDtMg2WYTqseON5T6BFotfA0js/GvwdUih
m0ygdcb3lD8D4dRLZ03alSNnFmM+dtxFB2YsTV6KQ8afRTfJKVSWUo8C/1s3CWR2KoRZ37HO+/CY
BhCqOHfD/BKj4ZmXNUXmZA1bm6ASL138Sf0m5lwhiUQ5tN3d5OnICS73+7tJslyQ3QRoi2THUoAM
jmv5POpH1nyGZCJhWIz4iSVsYBl9pOreWr2LvQG4yBiM4EJHZAopQ6RCWNI2auf+Nh5+eS+z4UMA
oGO/1ozTqDjCnzkt42caeWOxqrW5HpoEKkdrd6V8IKB4+kvNFUxEpex5EyR5U4lr0z9yBnAqjBg0
JDZWti8KkhdK+SP3W8O8tuHFLPa9vqoKj7QK8I/PCqiVrON5lRMoZs+0TxMmq8+P/rDlh3UBtSOr
kV2uZAQN/lpw6agzqQpCVmbsAWxImjG2I0t/cWiBJKV1EZwRPCOTlQBPn0V9ImaSa9SwA0Khz4Lh
oOEWRrB9KC+3qnb//XAMX8M9SD/e4z5Mf8r+MA/JWhDNnWjoMmN7yG9a78VQwGF2sbhgNFIk5ikf
lrxlWKfwflwRKedWHDILUA+DwGve0tDnnOVjEjZq6kXmIZKYcldN9SVHyFkequyWnVdbt9dkp+WR
EyV0SdYwz2yRhASv+vhzgpQj7pun6rtf6doRFpN4aXTJSryOP/RkOX/mEBaRecHMYodix9BeLsZV
Flz17l/D78q9Ycuo2QABQp1LtMD7/rD4x3Qz4BMlYXndQsuMC/2rNWyzQTLzKYvfjOwdOSLtiju0
iNcwc3i21/PTLMjbatPdhS9Ocy1ZNdJRqRkyFQ/1NEey1+ToAHczrGnIiBeXZr2ekmsoPZkVpHEl
R9sx32XtCd0S1O2ts1kVq+9W+zEVgBK4kpnAQL04CG6jnOd/sQh/8J6efDNCfjWsHXzxCAWqnAfx
iMacTwTIZT5lCfrnq4uNLwNBT9N8cQ0SM51a64CqEvifV4IVa52jM2BUdTroOuc92hEXSypeVPX4
Lm4AyrmBsnQ4YTaMhOM4gsd5Y7orPORUvpOb5xlCKuNPwDpd2RfWPpeeUvb092TLYSVLQmMpoYys
p683fKxUfZjxQ7CORuPJ477qtiJODibkHo1PNNipFsyvShLu38XvqEZ8gnd62Gnz/S6xclqgtVa1
0xedTerL8MUthVLxwdeuB9t5x0sO/SpajuVj3pxJVB+YDUKwRrRkmAnlNboyjtVNxaWXDl/1e5UC
JQjJ6529fBn1DMaclj3Y2BC4zBu36oYz1zU/bL45q6XudsaNZQf/r7poOzafnMQO8Tgfj1qzCvNz
YU5uHCwN6xZPR/Q+jeTE8krHZt0tx2hZIJGM/40xETztbkZdtHDTzmSAv0+jZz0HaNLSvDGFV8U/
jsunmX4hToaO3OblMQ2/dRRWhC3RFcbl81GjcFeNH4EILeGoQ+2F8ChMKmK9F+VL5LwGKEv8dXZd
Pmp/29qG4wfHLl7Od4I+rVOwoanVYEa/J+Wfr31G5CS3N0tfk9XXJN9NwHS0GYrvqf0SBMS/XOTh
f1j2wLAmfmn+NcRwPqMDsfSYV3lFvQblpgquQM129t6yH7rmLFN9IQEj+q9moGSuoISdfEAn7ckg
H67g8nm6JUSRxD4/ICarhJ7nuYk4+g+llK3xodrpHH5T5RSW8/Uz6frgHkY6Sy7+Zk6hHRgHrZs4
PoiZW5jvHfWUNcdc+d2HRCsXt7XVnppiI4eobZIPgdcV0a6N/bEVvIaA/ORfTMq6PkddZ7w3pEr4
/kT4I48nP14I9j2N6OlSTpZ66UQYne8dGvxyiTmKlWN+3kb1Sy6uaX3Is1/Lz0nMBOOMr6L41PDz
+dqZB21A9CMH/MLZpYlP8fU9nY2BKxycc0WMFO4dJ5x3HiQMaNwC0Hz+9QVNP0tgEmTrnHvDD2pm
aFXgTYSLxdtTpVs7A0UimunugbKLseBohJdIxEm4xgPhJtk5dL4TH4OIADGLBYAjnjQ68WCgeBqG
xFUVQpZzy9ZUUuRJsTFtHAxDeAIYYsvVLSKVUC+QxlX1GAoJ5hj3ksJZw981bIP8Ob+JlIeLFhAe
u2YNZBqPDyL77Do4qP56XrnnJYFrggeROx8gp+Y6iVaYjRa+9LTK9SQs6fm25z9ABhXVoZv7WRQ+
3t7WqhuvSJUXSnGcRg4NJL5r9oI09bK3KxluYe4ogFgEaBOK9qhzVeXytxL/ANsb8rbM9qm2CjE6
inLnzHdDJ0+AcOtRugzgDaabeWyHmbRM9J34VbukstcXpLsuwXB8/Dz5vOhMaIZOns+60G9dBX/E
xx+nZ6W5KzomyWVSHEz5b/4kDOVD6W9Z8Fm9Ip0mBXrtYZNZCTmpBGkN7yM/YmELOHn/GyJsXufR
zxekLNmSweIR/AbKqsLzSjTglO343N4wR60MA7DoEVjujP6zVJfhuGSyIMZd0D2pP5jVAd8jKj5j
ge8Ndh+tYnyoMPk2y0HYjJtRQM1ArKuJGT3GKKRGZ75eCQ1fzfoAFz8hvszET6Lw/eoKyeDoKJe7
VUdqwd7cW7Vbt7vG+E2jz+GjLE8Y8c1xRSAspFOBMqE2z+p2uNEVMv+UjhmKPYVJyZKZyERsWV9p
cx3GD58R7j2gOWB4zdidvXLVc7DP3zviwhnbyw0Rtee3YWDNbM6GdhfNrRr95fZ31rP4jsALAy7l
fSmutdmvtw9Z5CvqfyQWaTLeORuPvu6Z2zlVMxjv1fQSlGer/6HK97uN7H+T0MUJD/qnPeTponf3
mc/x/U/gYUWHeUOS4pLi223eg9OUvwUeIyTu3KCVikjA3DcW0nqOKnUm826tWTnczT7RsdGyZYAn
FPZ9RnE3cz5GvKTFeXR1D72bSKSK+jGktzL6U6CG0f4T8UXDCAcxLAjlSkxV9a4KZSI6tAsSM7uS
di22bek80lJBXOZS5c77yAmtIJrbpY/cFqeK0eorK57z4ao3L4kLpj/LDW8WmdHEBnO3y8yNAX7V
i6mBRIuL5o1ulnC0CAl0LHAs2IJj+L/Nkjsi/jOwsE6N5Zik/DX6yhyOofxbGqSOQvvsrQ7i4DWF
TFMcXWOaOx0JXIH/lMhP0AoBpWFiWwCWyojT+xb4Z0YGKuwqJA8adtxmLcFM5yRPF39V+GH1e35v
KD6AZfDE67CsnCGONrPjpcMkmvJytCS1BJu42cao6WJzz5ko4msfew3C4GeO7st1jq7iUBs1wJs3
xGsBSlJx6LJdYLmG+aQmBB+joTxamIho1quAuiO64P8gxegAcGRgU1FBbDJdyMfwYbM6Au6GdULa
R0Zg0EaSzio2UtX/EsrvauKa3JEQtny3O5Hdl/s7WnKhaP/tMuBfGuEx2fsQd6dZoO03jS0W61K/
d9IEbhva6vBI/MfYscP/WcKnkHxmpatFyC5WtFzEk8fIvML4WiNeGtea1y4F5OeIMbBv8Ao8Xhy6
2j9UgHDmlL5j9mpnG9WI+6vjqkCSpFYPVWwc1Hva+DnvhTgTreo4751l9V3/xZwgGpDWhFaoyo9K
xQ7Jw7IV8otUbpPqn+YfwKJyUoGyozpf3fNda/ZcbrVTGhfoN6m8mIh4XUyswA8AVYaZgEn+0GZh
S0G3lAbq2tHj97OdD9FSoyD563588UW6b6hImNy+M/3AJ8MOE3HW4gB2ZvkPqB8Rd7J1G1CkhdwG
c6IB+cV80jhY5EcaLVXlWLR7P+AnIk3180eEhz7rCHmFGafE05Ypy6CzASAH6+y4U/WNIm/NCkjd
QxSnopfF6Q6SqKRXPbopPaud/gNDRWzEvxt6VOPT6l6R9tuXyP6IaGTGIg2GSg/uL5h7zRbYkb1x
ZWL5F2h/gW51QSgZrogN6pCwa+Jif2/a0inA2Aw4Hb+j5au8YmdqjN1I3B0DP1Y99GftdNDDC98p
BSkO5QVzyLBTN/uExLjymXFiDe85sbxbluM/HUVMAspatqeKrb9FeieZELHJq0qPfnoCzOwY8kLS
KBqkUP2Afi3r7Go6zVzY+4MkdaV8TcH6zYUoLXCOCSA0MePGmLhvUFZKVakXCu2Mhy8oeVW1wQ4k
QNJtLR7yD+agGFGJeK07iJVi1QtPKYRBZn/ISPCYL6p3zsH41ClzKjAOkJNpdKP75qROSiaQpEX9
5JJcEwYrcHWyuEJpxTw1fxuFcu7CmrM9YP1gd5q1sHQ0VRDO72bHD/IITM8ICE++Eg6ShY83TSHG
yx61Vf0xsNKqdE2tLW3bMHxHJwO/3qTtLQa+Eq+43m9IpWU4s41yC7ii87vgirHRnzLYqXOWCRuG
Px6k/DQ/7wk5HWn5UfLl5z05N7wEhc+z5PHlB9f5Xp71JnBX8riev/zWf9SkoEU5m2zYg1AQggCy
Y21lkZU95Gs0AHWYdriqdespTjuluJQCXScnud342ZNDQVE8ObpPcBs1k9c7d0QLCJPYwBw7bVMw
4lJhkLZPshFY9hCAAmbOrhcctEpxwo5H6ch2nrrCVrNbfmeDGxpxhj2RKTaLsPtqtibxh+cE3fSQ
9OgucftpWbxSA90VIwt4XFgV6uRRY+2pdFdN2kzqIWiFA8rI8qEFaSJQvyHsnKtg3rL01rKzHcYk
gLFC0Lc+GKrFzDS4luhwwAN/w4LAmUFDChLK6Iu8NDw52Bbah/hG9/AqK89n2GlAQPFjUeOFkjBu
7CYkHW5+bEAUBWP9ZeIGkvNfXTqX057IJlVjpugSZxalJjLfESro0mxt0rjzXff2kIapBNeUkMZr
/hU4oqv0VKmbCUzXErn99B9WB9RKhFHCC12b+C/gWoA60E5BcmpUMFc0qniZQuOrxKKvYEixxu9Z
FtW3Lqcz+/MyFzY+Iy/PZBEcp3QVjdfBuo7IEkOCXC32gVPMEYBdFWHe32RbnAjbUbpXVWVX1U/+
VMqbViANAUnTB4Z85IHalKzpUXIyYDGRlq0y5i1/Z85wqkLYIX/bgZl1IMSZYSBMacHKTon/pQE7
9hr4PaipsUk0RKmbjG8ZY3H2z09E7FMryb/Oh+n8izovsa4gdER7TiytLGuOPecttpwUjpuzlDdb
zUk1eskg8kJ+/MYEPYEeynZGepNT2+b7NMZ3VTqOsMyznSQ0/xqyEYTwxIUzhYSNK1+SgLO1+qr9
JWmv7+xao/CICMAR+2s0+wmg+000EiBbtoYkfgbAqqhaUI20LBKPId0dtX0Is1/JD17iVWkdWv2z
QpwxJoxzAepxXpHR5Jd8j7xxkYvWAEXCn6Azw39TOAcBUasrpgfBh1LicEnEdT1sa34JStSYiV/l
DNkZWyVg6aqoQuvZQmrk2J+qfi77H95kkWalhSYLZLnO1NqtNc7kAHsi0SwFxrpKZRily0UaqSvB
utYJGLvg6owU3mFfG8S5oFZBo0tQgBO6Xeei0aocgM7G661H9WZJqLWFxW1XrwyNTzL+YoiMKEUK
T7m2D1LIKJ4OhYnGmlrHKOqfYG5n4huM3wURhb++GyyjbO2/tFlLuW3Alvk438j8kL2IhgBeQgFO
6xoBf6HvrLAn2K2QrguU/yZ+FCWH2Va4YWAIepc1KM0XgJRIEz85AxfCdCeKRQYwP5FNNzkDHQMM
My71CwHxvzPmto0pTEhZkSXxbb+ZDgdGQ6Hdm+2d+G+ye+iQWCQSQcul5WojNWEAgDWxvRZv8bvY
ZRNakx85dNGTC9XhjSNE4OZMhouG2aHIq8XPv6o+Qczys54JDpAuv4/WPsaZFl9DhFcm6g293cyn
tUx7PMO+KtkCphIc6tafQtQQUZcM68GYLS3/NxdvMzokVSOTVbW0KPdqVW4CfjsxJBee3C4sSvnO
6AABz30mQmsuRxkkmnDIf5nxTDu3Xgaekp3moyAM9+Q5VjZSG2vZjRuZEIvwLEeOGB5miA2PxayP
QRm5kpQF85gbEWIPp8o/onJs3JbGZw0ErJMlHyQbC422md2tDEUCXz6SJv8SokSeXR/ZXjbPOjUm
yUWuMruVLrFBFGyL/gTRfK8UWwI9bRah8Kh6FZrzldzs+JPYVNxW3qccgTXzpJz8KcnLJ1bjt+RK
m78HhnAbM9tYfEoSH2ZK8IojMaLnx/ncaPKrVe7mD7aIPePJ8zZfAUl7TsVzIx+KqncMc1qHRb42
6PiIJ4vokIp3L1/23F2LvymmSYeGhYqiw8ZBETiLTtXf0aX5HA0oDtLpX4WKzNDWdfAZKB8Vgue4
IaU5fYrKF6Kz/z46cCUUrxZ1SOK4Zm9T8leJOYUEC9q84GSh8cCWBuMxNucIkxFBtwa1FR6vXnFr
u38CAqFRYVyikaS4927rUrG0wEtCdhZ06bEoxMWgX1RwjcI69gAZ5eMd/GUt5z46Es7odLhnvOwJ
WZhDhUl0QuourarMLc1bXhPQfw67PwVXfB40ZEqQ3EPWcrN6s2p0NlomJfJAaBfyqJO+OLBUIc5v
dmWPdmXC05HBluVe1u66c857P9+PgkmKngNdAyReu4R/0CXxV9ZLXVyRaGayzFE/876V2a8efgTJ
54hTgbK8Rdd/vAdifcYz44P1TxK/xPFQoVMobuQDoRZcmYS7/qmBF3225vkXS49yDYwzST2YPQ71
eMnjM8GUajs4lPHZEfryrhaXpQ6msPjVmO6ofhyzOxeAJGyA+zgslpBx2HK3plMSNMZLzLoZTxsC
NXLxyzKP/vua1EcF4h3bMmYXtjMRIdbV93HGy572XsvVWoHyRyWPUJU2GIM/vcUGaw2fmowjAQps
frxGU9uoZJvpZsD/FsXFvPHSf4VSHCmkhmaCBkmq8caRPKsjGFzvf1Sw0MVTFfYzZmVRA4X84p2f
cLHRNXj0axcp5iwXEuRlEJIJQ2roeT7BDP9L1B1U7Yt4tnsg0mDNMBiudDzpFUdg8v6thvM8EA8p
AGLVAT3EuICfcLHWv8K+TfQe6W7BxDShZDhYSB/0bQC/Vqq/5XQysnuG+bGk6Iyek0XHCZgx9WDx
BiBlJrdNQlRJ0dpTKbIw0V3wtcx57DgdfU9OgZK2KCcreWPgjoJZaH/N+gnpb2F8XzDlAf/XRWe/
KEGJ9gRVLZpyN36D2Roqw2/1qLAmqMpiRK6mh/CDBL+PkGnzEqnXfyF/8VTDAQmEmE9rMqiwwKGN
4XJthxO20OSitDg6UHeiDSTtloGTPAYDQlh7VtC38yHYlZjLEGPrG+6Z4L225PvkTEu5PPmYjuZI
s7H8KYsfOV2FytXkNymAb/E3+tW+U/ZYA7ndeFeQgiL8kYs1i+A7XTX1z4SNsoO8JQtQ+bFwI+vV
V59fgmil5SvTCVyaS7gRM0S7SypRBoRFI0DPf6fZACoy5LUrYNaLNlBx8YDasmUYkj5K8xipp4Da
EaCRpVi9JAJekvo/IlXLN7oj2C1Mgas6BUlEFTg1P9Ylhwz8gG4Vm8Q8zDoLQs2Q3jDk4E4GVx2Y
SdYasqo034hYguN9XZ9iiRqNHWHA5CXdSMbZ+9F54FgtC5t2rYXJgG7hImSUzyXkri2GMEh0Cbx7
N9XLob9h418ksPlhgxcXGmIZIc5XbSNdJsuUf+8/yw2XYfCcFyG2IFp+FE9zVWHpv3e1sKQuIzbZ
pokrWYYAeEBGEKJiC/PIsQVblptuHj7vMvAz+wnbXhPdy+KRJp/ghpmwmpddyeXi0/H7gspIFX9K
CdekM7uQtNdBiM765Z7hIql+bjq+z8wFO+3Zw15d/6KnwSLSbXTlIxVSZbsS2n81JN5b++IvcQmX
cnbQ4lczuAC+OKHxKZsrGm/IJHXFByiGJlBc9EfWjd3L1KpeQ76PMvLEkBzlv3f3KyKmBwNKlWup
n1oGbz4RJ1HWwyVVXQ41QKPlIK7yZiVWZ2LjSNf8GAE/5lnRkvfk89p0OiIa4W4k9X/OzRVvmnIC
/KNGZkSTSy4v4cliiIIofL0ydnBX1X/YXkGmwsFNgMuiQ/DXQNFOwsCXgpEMTUMyfqa0q1v38H0P
w79Gvwr9JfN3o8hoeBw9YVlq20Kmsw/7JeMXGUgV0LvOxtnC6QjwO6pbSLsIayr3Wk+Xj1fEJ109
yuKlr0kNOhXhn2LtALfycjMHHX+XpUdsF8a6FWOsA0crv9dmysldrA3z0kw1rnLN9pPD2F1IFzHN
R2HsFFL+IDyhlbBYTvdC/7CGFeo2TfvQALm0Yqv1rxHgvpRPRrqZ/3DmsT47z1I+EnwL9VApgAoX
ieN5CH9lqFQqchPL9WndoKeFklxcPKhc27uZfQjNq3MrNwUyjbsRJSUmMTZtlec0IrA1noiFU/fT
QOi4QzxMw7MdLNres+I9HLWDFxEdEh04sjNPjDGLGXBLXwBSHIdkhUaKp1yLTjMaPxEOwPCnhAe5
HbFdVW6ETV7dyvLRinAEbBQiYkA4mwvxsYC81zfoxCR/8Dk4Anw0E/6/qTkm0a9MzFMn/FGWg1B6
1kTTYEap66+fgjBrXwNwP1pAdSBthovC176s7intNXVhoZqxiBfci6S1ImkRvuJsfkvsibeaaZNa
TG4nGKPcnan7Fk8XEqq38JcwHYDN2ob1m7t1Tj2iSjrzvhCFeXZBUSpzYMyxeMsxfOXQrCjbnYCQ
tD6+KeYnEEkkPaLnOC57YRnktzdp6O8fGskQJq5wJ7qY5Egg/YdKo14WqxypmPYJdoUurLaYTcM9
TXAT4w65ZnW1R4jKCzMQvqEiieIG18UD/4lMjb5kIlu/6WMsXu/p9z394/1zrHobAH3K7Qqo15a4
k5cFNjBGAHykc2h7spoxT16h5EvU9h3WcrZi+LqYkF4qTBM7ZLoOZjEpZdbkryBJXMvJR1lxZObo
npNj1K5zbVcSwGLRma2c+fWkvYFEHs1BZJ1FGHWpt3Yz81tA0IBE6OVWhpngQgtnHKi8qzBV2vtl
md99x9iMeSZ3ycRNTTIJFlO3R4rZac+s4aoW76RFLd7SSokodKz2kuz11Z4QAaSK28xDPq+uy9Xb
g2Zv9oZSnWrpxuMCs/9WNrOIn7K+k1ScCvEoJl+QSIjPacLhqdv2wPeV8DeKTD8C1kguFgmdcWl+
GMKabE8c0ZiNt71iooymzJRcNG3Tx+eB7snYURWEzxitBnpM9wlzs283xDokl/kIGN+Pzt/X+qdV
rTULM6SjSi4BNmDi/G1ZdSo/TPUXgIO64UXLU4S6BUWprSUbVoXZgeZBcVtP/udeREpgh443T/al
rJCBs6bFB7OAQmSCRU63kIBVTqT1aqlnrFn0qbeatumfmp/kP5+j1toilRyjMwjeQpHYk6z/MXYe
u7Fr2Rl+lcadE2YOhrsHFVg5q0olTQhF5pz59P726YYB24DhwR2cK6kCubn3Wv/6wyUOf+pkp4VL
P18xYfHzRwrBfxrY0EuqYxBfqKnkC/gg2taXx7ghq5A1o+zVjRNOPsEqWk1o6Buob5DTIZksGDFE
KkNutXP9CtBSvmYUfdoA3bZ3MYRUwOC4oj69/VXqHhArOAlf4EYuNO3dIZNQUTkmZ7Xx2YfcYCIL
W8kVFcYY7xk4LdpvGWqggDHGL4vb1HrItZleUs7GXHKw/QWa9NilBlo1+k8DDCAwT44PFOg1A3HM
RJliwkAP1LXt3avuw8m+Y3B5A3x0mYwT+wBc52ZDRubMLzZj/9vq+KPDAsDjJb5gzxVQUVBYdLAZ
JtjBqHp0TPHlBizSr1a9ugmxt7Qvsfqp2GczRVeMnb5dgQB7JMWGoNfK0Zdfneq3tWftelz3wx5z
nVhe9dOhW3RML66yuLXUdB2GBnK2lhEgZ2QwoCdfAOwHysog4O03/GaoJkY3uneaKBaT24gswwdW
sF27WybNq9C5+CkMfx984DDwqUGGJuLb8mO/YGRUbzprlxBlGF0J1Ox6ZgQm+WQXxoccSfuGmEDa
PPBvZC7kkS2pPiJsGNmp+l1l/pGFeGxMDMCA728Z02ZoUxwDXHO4Iwdn068h6iXRUuLqeeeYtS4f
ov6VJtDOl5KJAQeoIJhLPtJpJBvLdGFTQaoGtdAUbMk5CqX2AbI+N8t1syyRNO6Y83UIk2PaIayG
G8gOfsUOliuL4AIxnkzehOmo8RZzIhBjNYxnQXGMOOOChpzW9JcxfNBs8b3H8QJcNc82KgTnFgcX
et3QQWKDJWYGFR02TWXtZGtdDy4pjoKfjKlaM21qe2X6HyOUilA6cKQk6asaXgHgocXTXaJWTKl3
ZmF5sxsIhHgs1xr3fk2DnQzPNDwV0rUN3rrkGPFs1NMehKNe9+taX4n+IE8WIsuyPKhzOO3ZKtN+
bFqZvPloeuaR1S7Bj4gqvl6bnbo064PV8uVK1yMFnOmxhGCZG+fI7hPT45kEKM+aBGefBf4mwHSf
BOD+0QN39R10Df8kvCw08+iY2MJtY/zyMNIcvXRhqW8JM0SDHXDAeyDnoC5mr834rtZP3SVLkN5r
DhYDmCWQuAGIPFJ2o7HtKviLZro0eHvktMyVwUYvFV32VPqIL9d+vwX+sKQjWmNALpYcThVRjZU4
dKpmXz3QYGF0WDWwid1YO9YtllhsXKvpwVkkih8TdDqHpChXAUOBHwovVMr5a7Thr6pF8F1kBuli
TFwhkCGpcaD+NIvUECLHbyFiwvI/PYzdOWxfk+4Lz0DEAz4QIs8ZvMpa9shLfo+a+zBpXPGD12yp
46sLftk9h13PNIWyoWD4H89+Aw02HtviSl35oLcDPZifvvrsNxRuUNxxqbhHC2YPUCO7c2aiW5XW
IbGpIGD0RNGNohGf0wj9ov1o6NP7F9EB991Zs84IAkXIS7DSjZ8mIdgbd0k6CtFXp0igGKZhNeKN
DHChtWTeI1DYIaYtUYUB2qLmvUSGqxGqeZA4e/kaAfAkQXHdclD5cjRcORb156BYTgQ8iSn3jCdw
OQzMYpl+6DfiPQTHo0u+ypKiPDiyzHuFarYbZkNN+lbz7sOPkTGQ/ZaNNb3TWNGp9YvWWVMmDPUd
5STbMw8AJDL86xahNA8K5uTcRmSURVuuEnvPK8IdIm08BciyP+zm4OiCxuQtRu1MhyMzQURzRa0h
QEE/2DssAlEa4upI/juHBPYjITBul1/xEcSB5Ji2t+G9SVZ8fT26UjSo9YbnuczfJJrLrvoso72Y
T9kQC3DQn1EYpMGO9SV6a7U9xqYFWMTl8n7CT7JNBAVLGjk+isugR6ScBOSjb+v2bPe/SBQkSBrR
uAri1d23VkJPOdXvKj5CGJG21Pc2fG+Kptr87bRsllhYHtALCRUAxW4UQ0y5klqIMDyc1+GbIHB9
mGE6x1c7dU5BvLXTt4GquybbrAEPcJJXgTpkDIu5EkaEGFXkcWOJ17fMEL9klgMHV3kDPEbJn4Sv
xOvMeifmHEOqwFkTorYia5bTq85oQ/yLbmDmhFOVj7hclJxiBAYFUi+2EbJgtQNWuUblXVXvUrlX
7N0E51JTF5RVafKeUXFPrP7UuBYMgfLsjXmzaa5lh8JZXiScThSikAyKdyb8xqZdK+06d3bAYhkU
KbDU7lsrgQ4MgoSYjU0KSIoos4PiGBa0AArR2tTiNVsg3Yy5aOt0brNmSrL5CAEhP/4ttT+K4T1j
cDZjFlGDH49k3VlwQpgSa9wTds/0YJpokfqD2OXZ8oRYOOcYGsc98y1qGGySyPVR3WhgT9my59T6
D6JNoZkZVH1RXcLhp4UmyeOK5VFY3Nij51ptoWVzqKuIHiTGcp5Ov+IpgUUa2z+G3XP8c1ixuEmM
jeFLV1TsPSrzedzvgmpHnTA20JQ6wDvwLGH2OgpfvaW3kKjdAMYT5SK69Fhnv8PcKgSN9yERFGO8
9IUtMmwO9B9z/rdASMRN7R58RCpG8rWVDXOasdl+EC2rrAZIJ8AqXguAso7MncyCGDnSoFRoqJw0
h+FfdeFJDs8GJHBlQ73cIxyEHYW9vLnPQ2Y+V1HnRCA6L4Loqb8OeOfV2drWtzr9Kyx+SJ0Y7JE5
yXR8BXhUQvKkWBn8FanOmMk3ijuFX6GDso+NhqBm60tGegRRO8tXk00QLGTZbYDITZCLJFJ+1qIp
o/YCQUCMSGu8yyIcYk9A/0y5shWjglZekOL+Vj9zDEk06OTqPHCepOPOVGwZZFiOxgAZcghYF8QF
yCz/c2S9tDjMhd+B8unZuKe7kVtjVM+0fyEQDTU8tsNT8kFpqUGgNffMxd/YSgUtmZWKNFJscZK1
fJhkDDT8L2FaFz4iIiJMULfAuJnmSX+VUQco2i7FRCrCDagorgFrMzqg5C4lZCybpto5pYmZVEvQ
5MrWF2V0NsMdeCLeybPetebAS3wupq+3IbtFfGs1kEm+m/dWutAjYVy6Cf2jCWA2/6B4NKBvWG5r
vUSY6AATmCCQ+DtQfuCK07iqeZXS38mg806XuLxgSjHT2LqHfMXIU9gXhH+0yRPa1X0/bpxJg/SE
zcilZeJGcwGKvezabSTiF0z26LMtnWXz6TH4d04MBQhMcYZtz3Y2ynNG9E16NGVm8tOO/c03ILvJ
QswY0Xn/mUVYC8v6cMjV8ntwbmxoipVXH3VOVpo24Wq4UIqjFAFTKOky1TEqAspDwgwzhKVxrxxp
nfQEBU37CBJ3yAGHtVswo0/2g2tTI40myUBV93p+otXC1o6DVIXDe5JhB2UbjAnEEtOZ7TOqLDo2
WKOdV9YyAqfxApcEVXwgOhyYV+YSwNX4Gg3PLXDniMBCIuzVEgYT6VUWQC/7b1/dZCC+AGLlFZsv
X6KGib9Z7nJx8p1T7N3r4DMn6dC03aPeoRUAoDLOGShLXBCGwGdpJ/4bvmrEburOgI1akwFAMrRU
wgCnu0feV2p7g5uGmrZYoSUaV9C22+FTbKwNsQ5BecokVB9kVmSUiCRK4n0b7NHcmrgKFOV3rD1K
5McPs38tLXjbmG5o05vHyMzIvjWL2TShpEe1UWbW+C4a1cIy3Eq9OPIWfMNaxRvmHc1cdwvHnlOX
GsNmGN6EbVsS0yNCKbddegBITzxwjz57eGgsU0IgDYW31RI3wClBotZV10G/zDDzNv15Se2WNe+q
ZWEsxlf02HzdXl6gChyogujtBzOFVoKxd7PNaEyI/OBFObvvLDfmS8LOS+vfDOWJOQ9PnUeTCRcF
Klp7Bbme0eSxQRi4ePFVaiqMBnzV4lGwMakZ3v8gouktkgjj+kyxAB8PprXVxjdYpqW9QelvWDc/
TWejD+wnesL0ww+/NIHs+o8ACmRbO2jyGX+np7S9tMWsJk8gx8FCvDQ6FyQHev0Sj7DHqAXHBrOW
EPbK09FvFo2Tab0Inq+TnnT5rcf/yFqVJc6l2AwrrtYdiKEjXZW5UWh+JexpY6gzX75jpAuXJd1o
HaV3+Wp+I6jXceuvQxKC6K17n4hh+NEEmM0FlgSCIlGuKfKT51DUZAAY8D44nzAGI3asQISqWoxh
4HZN0Xuh/uIu4lX7uq450tZT9pEycDK0jr8BxgA6hNJOWM0VjIxisRU60k1HbmBO9s67CtUgNL7M
6N0rL+MIi5fyqqVOlledA5xCJhv6m9eQfrHscRqeMfhsF1iHMr2Z2BL04Fia3Pridcw/ClLfIniI
alOclO7Ri/nIWuyOCvOdoIcOa/0Co5DKCBsknNWfMbp+D7tYL2mWo0owAWqkjp111/Xw+am1jq+W
lyw0iB78FicKZNiLUuwqeV6AxVj+Wvr2SioYcsk8YnwX5FJXm0wyZqX/lUUONTEkKQj97bpeOACj
BzEGc/BJaIpzrv8oA4lqZIrpRBPToxM9P2vLl9heqWe9uzT6Kc+k2VeOGVW7ETomFW9v5xXQblbn
J55yS72YVYdlHhjKzSy2gwTva9HU27T9KLFrS9Oc+4R5OLxJQuVyISZfyoISuzPaO4IPoWHevjJb
Fxp+HU3zMIMCyCjZ19+ZTGC36wjx1Zahq879L4avEkawJ30p2VoAwID/QXwbXW3lU2G9EOMlxtdR
8BP258TZdas+Qt9pku0+0QnNOmsJPlTH64FdNjIp9VehclGds54daXk06C0QmLFYgPWhs3xD2+PQ
BumC6ghhnlEQHtU2HoFsut4k7MCouMOTirEX6ZkxPA90UdBo4vduhv3IJ5CeVy7K0UXPgyfQWSOn
d6h+Mu2ZN+C7cuuOUrgMUfhBaMMiguKMgoP73qI8q4R1eHGT6DpkeaepCor9CWnsQ25w999Jn6Dw
mMiE9dXPv0in5K24hHMSeln7Nahac2RKxGs+ivQbAhwUA1KXJLykTj5MBhYTtW99owUXA2ivOYv5
qQ9wMoR7J/kqppd/4X0BsusgIh9vhVmhFH+a2sYnP6rgUFDeKJWjzbiyxiOIqcPwZ1oF5qpOzpnu
zDVjj7dcO4FxUVoRfw2gVjeu0/ULM8HLQj0jbwP0TgHEBDdITI66lGt+hmufSx51I/yrcGsL6JeT
ue1r7t6LZO+l5IjbBVNPIXZGe63vSuWmQj6dgAqrollGEIJUVoi/jHAPYu3SgrU8A38mhL0r4qPs
RYFxlQQZtUCd2ZSiQZrTRFMDMTaIBPVc+sIsF0I8HRDT4BSanmVT7cfH5IIBf4JHSMygs78JHh94
jhrjWkLLwX4sBFg1MywqYNgUGgdgdElnF0oIjfSb8AuXGI7wLragc8JOxwmK6yvqSrAWYtcWUrmg
XF3m+U7g0qRUAi8l3qda8sD/DNMr7rhMhXDSSPggZfpUyrtCX1cTIDAJSRgHd4LVFhPXDPXgXuWF
7WODY7WWv+eIM4s9E90h/zFqhJwrpia1N7le+h7LaBlp+pjSWTzRpI/TuRIWZiItxgyqGzA8hE2q
YIbV5Jy8Jg0r9BWVg+cPARM0M3ilCWcvZ5fAkWuw5LmqU4uRtBMz0/GdjyL/Ciki611jHtIVBl7Z
hng8tyMY3F+JWRxQjAL4Knq9lKZgxLwnY4VCFVRcocwxpFWqbabmgOodnTDzteKAfRYaEDNfZsLq
GUuEvWRCtXHbEhODbYLeQzauAQog3E4hlDpzMrFpdK8lrhkMTIHSamuDDxWi/GU97tobulGbNiyx
zti2z7x2B7pkIEKy2WvWEbQt6afu63VQxHNyxsB1YJSj0UDqkF/ZWFr1JTSfWWJvVG5gxKCcxQlc
uGqLvS4DExgrnRVgwX5S7UeIVMVh8Hxl747DdKZZ7Cfr+zQfumsQYMX8aeOmndXqgkivZamy2xF3
IJtsMM+xXoM7EWavcbjFeBlU+Zdsn+R+JSnQvBex/awohtuWNabtcZ9zS7A7ykM3I6x1yXPpOu0j
Km5EUuCE18wLHD2niDkMXjfrIjv0jgR/FJQTc66SrRE7540j36c/LC5xoujOiVHR6EEjYlMVk3GI
pZZwTlV3PorYaQQGzi8hFql2hRoX6TRKEPlQRWtNtlhg3zEtoITrTHUyh2ed4Sz3ZK4tRRCy9d9M
I9oGABJ4KvSffXFUP4Jijd0G9u0cA/QiOdZ4bi0FAGF7hDwzr9u9QRP4DKczI8ORwXnN1uiETOvq
y1ic7Pje299R99XL05pwAIq1IoHmZV0Nn31AwZaJMO8VXXbqUZgTH6KjCICy8s8DpuP+eZyO0oIF
gcNAVGvCVXPRRMrSswOURZfWpdrzzjDBEw3ImpqewYPa/aTYuwTZZx6+SZjAVR9ApDjHGcQXF6AJ
F2v2PdpHHNUC5dcgw9W5RfK0CId3A+/z5iA5v0Z7UM2tiibAezjaTZN+WahTdo1iSD8bG9XtSVWX
CAk19OHqwur9jUa+vQcLkTDdBYYjYXbSrDdf4QmHRSSPW2kZuWW0opEUB6ro6vjk8MGWknebIG7U
HZos+PqGGLc3T1lyhUhClbbM9lWQGiXGvPckXRD7FsrACP2ZqnvZguiDpcauGHq2X8ZCEJRImmDK
u4FOF87zN5WRZBsQDTqzmZhUGDK8y+Fe71ca1pBp+K1oCNGVq1mRJO+gghpfBqZE02pYlyvIGcWa
hWhueub6YXQXwNlIMRoy9rRor+UJGq2OS1njFlCDsfJtEsCOkOLSbEDe73g8z0Pl2MuAUICMzoDD
wc3iJMhZKgnaOU5JyDSU5ZRbYD3OZlyzR4seSMtclNHCWLMGKaF6LbacCV24BqSPp9e6xkzykGmX
JL21eAmEe9Q3UukaLHfGOUtnRVcuWiPM7Kkk6uKW0jET7oNw7kPPYrh664J2W2FRMgNaYEIBXX3A
f5Omro7umLsM+e8AKmLRZwilSqOC9qULm/wchefPgOunbepdOq4r8tiw/Wls9m7mJl7zmdZfnXkN
5v56mL6DgAwV1Afx0jE+Uli01csfn7sd/MBWHECUnfbKS6g9dpAYCH4AiPwJ6NVssi7bY01TZevr
uHgGw1WZcp68bcnii7q94j+n4GA/dWcjT8HeVKulMxKJ9VrjcSsG1EyS2WiFXaJcw6Y0j5IDsVY4
uXGRe2H8JAiczLRIkKKMxJnT/0hJL6tS6pvWpDrn7hChFzGgCFymtQZxmmDZMaUFVnu4CqD+RwvT
jecOFn/ORKyo1iBGhurqzHfStiIzOydYEeSzXt/xBW2X3LKiPBsItHBLt/Yt/HOVK5rSxMvdi4wt
QgjDb2wO8F3nHe2odxbdC+7Igt5sdysxbakIhawM1iHnf6UUwET9LIaEX8PUdZjJxhIPJnZPwIGT
y6XCi0CvNzoRhfl3pWObIUG84viaWBKaxXMZ6KSkS+svEG5g5iUWkP+0ydGtT8GjawjggE8CDh03
t5hiyTe0GV0+FqvzWkMg7CMiwhekHSBg0IYQltB0bxqMoeGiYRjuE+zRD48K+/4CRfBGe+QYj0U3
QwWHG89qcVHowQtKhfh9wjIQji91Jxzu6jGRs0OdA06tsac70VqvlkNz1sUgQhSI9tuZN9NwVNx1
DHHVN4eHDMWcshaDg5gDDPtH23gQCMm8ecc8j77qUNrEzS9K/EIFcuHpdLU0ddr4kug7hg8yyRYv
fvH2Z/ORR9iee5+V5AiHB9pn7hT2gonuqhEgKAaL/ca7Vijy3Uzewbpt5UvWbkbL9Rq8Jdelx8st
8AMAZdKSrWfFK6M4FvQigybDfnaBXyf8srJ9x/UM0AIiD6HpVhbyV4KrIB5eOHwfBGVDEQb1gQGX
z3txkqM1HLZy72K8K+xeIGfC0AgKciJffSoY71KNxKyuU6go5Xq6g8+QnzQsQN/Zj2jkouDU8ujV
8afVf4XRokO4VQM7vFTBQTavdfGWlfClVsLksHep1lpmT2XdY8WHJVm5ym0Xv6qygHTuet4BMKSP
3zWhtQ6ZNCO+1WQ2uV9juE49dhsSQ71PjeGHgjB0E1sbMdN2sUBNhkWtVpQMgNfBYaxfbMQaeKmT
eOqxTDBmSHCR2PosRP1Qcwwu8ekMPgCHEgYBRHAgGYKmz6anM84VFjfFFpFM2LzUynHUHxZuFWj7
YIfG3srnge2A8jZ5sZ2GbRY+9DFZm/p7rt5ZnaqCvAomp+hgJ6hCJWe7hSoFl5phWmN7i13JidkT
p6louSa0MP2c1JDZqH5WCrouty0uDqnNoXoblA8VrknNsx22i8kM5479NlIIxoQmrT1v2wQHTX9T
/Av2r7K3LfRDYm6j5GCGD8d6gcDW4lHxNikbyMhBcIvB8RXr7PMEaFuWdeHcAmAVH1DU+GJWNFYH
qdkblM74ScjeBjFzOZGhNSpu5kM90kcgUViX0tMmOnVAnegCdOl4HlWE3S50GqIEuoyuPQbpPE0b
SX+qkGESkCtZAqVN3ob8UdBt5TtM0+JW1Bdd4C8ZP8+r+wBdWO6/uaBSS4rELoOOJGNeX5EFYYc4
geUvgfxLXjcWjrW57YK1Vy5zfY5T9RZbyAR2Xw6D05TPHia3zUYQvzzzFPbHCaKJscryj1FZjvZL
rlOJLzhkmXDZzdZW9vINI0y1ftPCFzW/T1hxMWCRVqG+TPAehi+75A0odlsfk/I3cKgpIcCv9VY5
9zoFSR6h5zvdpxfwJCynhICONxtbAnMhp25vIkrgc5Yd2j6sHEC4ov4aVOcB7RRMzQ4mDW0kZsPm
uB8Ira6wHAFYlVqE9AiuojP2Bn47oKVdOtZTSSi5DkGMYguNRI6Hho100f/Q1d+Iz9ojwJOtT6AW
InJc8cwXFh5+5wSGEmDj0tY2qXwnKHJszhg/18YBGGsyz2QogsCipcLr/g9xO/hNeh7mCTPYj3z8
Tmj4zJSoDPkKfRYuTXvIvGa+qKUnRkmoRLL8KuNzkj5a63tiFUhU8KmgMPZ3+AlhSKWjbAlKjtWH
oNTZWKveeUtyOPFYZijHTIAhPSYsRbfEYn3h9Scxtki1dB6pPyInJFIeY/ACl1rzoefiAnDolFOV
AIsc9GYrNVTaAqvLv1PELRT6prVmcxAjrTbEsPPu4InKpVamZ9rMnLonKIgBDft3EHAYOEC79t5r
duTQcLf0diWaevXlGKR4BOD2zyvG2p4nB0sUD6/Gk/C5whKrEZOGpJzVAGRJbcwbjpXIOILwDJge
Kf1bGhmzRBhj+L8cf/j8DBHZJOkD609/CsloOJrJJZGf+oTJ1/ASbSW+XL/NSbBliF0R0r6nvArK
8wiW1dDk5ua3Q3HV+8c/Cwfor9kpPkA+jzxxly8JVPTB+8n4Wj0W9mLA3UgPBvclnGm7hNpCRw7O
2qmzQekAGjCvuKVuNRzKjDQply6O7aqltPoD87WLFtwjxQwPI1zMdnYx0w1m9V6xYehBNupUnKse
Pj8nIdzrOHlH+5UmkLFXZO54urhZpb/X8YAI0X6L/c5nlMTVU82ToqxVOjZ00ohOKjwN2DgOqvwj
gGCM4aroqdlH9rYaE1E8fp13FSllnT8DCfgdk/bhK9ERGmL8Fqwr4Gpnp3dPm0+mPMVo0hJ7p3EK
rLlBX23uUqo15M/1tlfZ74Ti8sgymeIN0yU2NkxEqGhIywXMGbHSJM8GkiIeww8EbZh9Kjg62Ww5
Dmh1tlXkHRc8Hx7kp0EFCrjqzwguPNX9Qe8/pmGnVMQ1LikAbRkgjrgHRn1Vz2v3v2WPm+kKkMcr
YS8yINvGFAzDzsBUez8N8BQon4E2AUocSIZraxPwyHW3PPkxlNvQLfE9cX5AXq38p8xPcXgdzN3Y
rppmD9O+hzNYwwGTDoP+4gCDEhBXv+g8Fmhyo19FBgDMgZ3qx5TdvC+jX9ghk/a9HZxBTLpsnVDT
tIAmIUlB+RcxtoypE/oo5kC6DiURX2kGGx0+VjAbsR1INxGhg0ngqimczG1EeolyaUbgInfKVogO
WgkKDs6BUKa0ewY5vL518TmM3kaoI3UM4DB1s8o4NhKkoJcM2gOGfjkDypvIegHmkZprOe6EWTtF
z0BA0Zapn2Ut7Iqp+Cn0r578aMrPWruG6rcU4pUO0b7YxXRfLm8ZRGcJvV7VLadu7evr0uKxjXGL
P3gZti33pIQxiUwTzLrb8EDiGcYEHMti7GvH+jlQ0FeYsrQr1BnI4/15Iz6I2QXbChsLW7522OSw
GY2gM0evwBF5Y5LVzf0ZZg2aCVck+zbesM4IdgQiYgQJCIN4V917pDzIhzCEO0pMibW21JdIenXY
/rGaFXTDjQKqVw88NP1qJEyj/tWjwq2Yl5jjmjlHiuqwxxxorXovQ75sZTJ3VnEvYdZzsMKfCT5c
V7jDyDKYF8Wc+g8tUZFs2H1N59NjMhnd7cQlqMUst8TWuw1ncYiLAD6M0G0hgxG9EYYfJW43CPf7
8hC2K92kW9wjRjXT61CnqLQEVc/NAregO7eok8d7k371KgexZdA1CWsoZv1UWxER5KCv+cHqbiYK
9rr6lLSlPQieJmSXCs8LszubKkya6FjqLC0bvSfCqL2COUCM4zLaR6TVWE/x0Hlw4Tso9foGH03a
B51chw6CJFIQbF3E1DE9SVJEBuN+YELSohUOu3vDx58MdJwLfKu6exQThAoUWGPRN1mrDgftctUN
W8y4/MiNrWvrUPlQXygoS1ABdniIBZAxEbUYB+x7U2ul4fzQdXtJeynaz9TAMPTe11tpTOjOnwwM
I9QxnE/JESJsox0M+DXWlRgCBiQ9eyfO42nIUqMm2RHkoo9fVbG3QZgrLtaqH3badCiG0yh9SSLV
+zOxXfB7Mugnea1HH3B1LBljE2TceLienHGVsz9miAw0BNzOo6xv4y7Mnj2gBRi1DPrOgjKbXzwh
TYw1qyUHKPwNEKMEJ/nxlTcF+cAIN5RpHftfO38iJ21BwIJPz2GhbxMMMnSYXm5h8kr4aFBYRkfy
My2mHVF/sobLUN7z/pHxxNQFzkbjp2Thwoj+Pgm/0mKJY63FPQu2XrOWVKAZ68s2rwawIjxyWgbo
M8TLFjSyCzW4Tu2HgXGLoryQeNBYu3zaOdpWz+o5PFm5XswhDxElI0O+F5AvBvOGfcK4htWQQbkg
6KWBJHEsMOr1gesKGjxTf/Tybcq+iNsTVU6vrSUOJ2ErGCHLYX5dMRblKzF+z/yXMb6b1qd4ZMFi
o1ehoyb+cV7SrzAsAms3qmtl7BT1QvDXJPYINDJW7obhWwvVKuWEb+n+kwBcNHwTVSiqA5pfPM78
FsbFr0ebjcuFcuz813T8Scxo0YeALINN6N7J4CHOlwOGWkmKCfi5MLAotqvbOF5Jdk0J8Ig/uQP4
aRPk0DOnGWisUMXBCsEzFOamuUow2uaveLCh6zOuxaehsAnT3fTEGlOQxv6nAxWPahS6O8uVhoib
Uqn4w1gesOeNi06oG9UzU46U79QazJ0NESnxUXsXnHnTmt1uEzv3EqctXGTU7yp7FIwpLOi08gt9
Y4EJJJP1fMMCL/RXPn0S7khB5zkthxM+0g3CQ/8tJQLMw0WZKfaL46N8RyVw0VCbY34rpijRV93/
cBnb/mzZuzC9y84KUJRq0w6vqXrmUtnSAYA08DH2OGQOrtYH5JiSm5eXEqzX63etdALVG0Gf7GqZ
dZ4r1Vcsflt6q/zIVkwwNjgwZOGqFuMWxM5i4fjIAtkDtG+2QTpsn5jUcFEbmKaWs1Ytdl36MQFJ
Ikny11OPvcI+NB4KcErLgKHHnAdNnMUJhmvaMYixFHhK5jb1c8AQGhhMfTUmDQyGlnwjPFql5t53
u2k1RVveOhnuovriC+JBIbxOGOmVGO1vVP1cEZbc/Sjj3pMehXUanX1d7M3uwhABU9R4PIfqjxE3
PIGXqr5G9VWVH0V2TvpFDE6VQWlc8Iz4AxkRv4r3MNOXnuMuWEnTGpP5qnjN4462i7GWj3kvIpKG
GaB2t/PraJ8LEP8ovahgkPB49c8A76cJDTWwPD777920iSdIS2u6H3Q7uXyLyqPI5DVImpvA1aiq
YDPjsqzAXu7wG1231t2Ax8tVZjtN0q08nFXlSMCPH911b1o5ReGqcUSY7qmHuq6BoEVUCrwHvxPg
KNaXoI8qR1G4zY2PJLXmXm8f1XqgM9wqmGNrG6N817Cwd3RpY7Ug89alZPZdIJbj9KPzgutCVC87
CVPe/reTrhh36cFphGaCzHdZVreiTxZSYzP4bjfArGb3jXkf5Ku4c1uw8Qbzr1WM4ZJUNVCYvofi
u9DwhXAbbZegoBtHpFi/OkSAzP+BlS95SO/fu+KtbcCB+epAsicKd4OpFky5eOUETxl/PhV0mGJy
OWVuFe0bHLdsHm1sRi2Txvri05WOcwYUAz7J+kZWaC5i0FjvgqemFh+RAdTVPrE+dYOoFHiMyX4q
Nr15LIGiZfUZYx+C9x6OndoyMT6zmikW6CJkKAePW8r5+G1IHoqFizpaN50qfyT7jrGJEgHJQqNX
rkH/1qtrZ6AXuscfuQ1Jq2HXCTCLqr+MlqJF+pgQHetwSixhCNTvyCWGzGRXkHfckI9sVJzzFcSf
rxrf1Qjx0J4NqChg/cG5ZJOpp6NfXnJMkiSDlkh6T+N3mGY0KgWIBZQ9UBiH5AFmcwjsYCWU0VJm
fiSXCVvXtifVq183mju226L/KAV208DFa6+YHGpOB8i85+zzAK4T6rdW+/CAwSZwm3nTM4CnjQri
x4gmw9vZ6bpq16SrcChyqHJ+BRkEDQ2Gh8oyVF6NkUIxvrY4znBuMVr25aMQKWZQRZjV8pCpQOxE
orvCoJtzU+yvPpx9wbNPjU1AMgUFhLalR7725kOoIuQ1XmH43DAP5Zv5w8UctkX5mlOYSB0kn+FT
UGui2iVMEfSfo8GD194D4psQxLtACH1fJWGTIX1F3q8FnJXDPzrk3XNCJCWBprZsR95w09WHZd1y
GTSDa6eAyLABkjxaQpRjpKQfySoWNgEeb2s5DeQcSMjCJYlQgORZS+TCbaL0NZ1eGVYfp3TtGwWt
6FujX6ipYE3XnL3T5Ors9gHuFcA/gUNQ6MdUnUJzy2ISZHPFR8VtcuySemZLZI5DP63IF2fRao0w
0iiB3H57/70KgW4h6Kfgyo7rEABAptMdzlo0PodhS+Nm6yepv/Tjd1V+OOGPRw9SmmQXWNusQN5x
y/k5+SGdg8GzzJ2DuCpOMZOAilUT7vzmKCsfwGACEyN6eqZscvFzT1s4uk/MWQzJ7VWqFGg/9JoB
Jh0SYBEzESZW0fOvv/3bP/7j376Gf/d/8nOejH6e1f/4D/79lRcjHz5o/sc///GCkUCe/vmb//qd
//4X/ziEX1Ve57/N//lbq5/8+JH+1P/zl8Sn+a9X5t3/9ekWH83Hf/vHMmvCZry0P9V4/anbpPnz
Kfge4jf/vz/828+fV3kZi5+///WVt1kjXs0P8+yvf/1o8/33v8gV/HOh/nmdxOv/64fiC/z9r1ve
NsHfdnn18/G//urnPyk7rx65jbVb/5WNff1xo4qsIlkX50bTYXpCT1L0DTFKzGQxh19/Hrb2wbFk
w8JnGII8I4/YZLHC+671rNeu336A+I9xReBLKULPhIqfN327fMdV//GFVqESIgSPIfx//6uq2z75
P//2wv/40qV/4wpphHJN8O9/ddtfxbe8/7hCeMIE2lMyML759//79D89xf//VP9VDcTTgwToth/8
73/ZHw97+3RB6HFphqtTgWd8VwvB97+8PqdVzJ+W/6Nz6cer48SPs/JnZsMs2yP0W/f4xVFveeY6
rtluVa6gd7MJDTGj0XSHrbGVnkZ29FOGhnbW/TmfZiTpIWirtH9YpnCbhJYHPlWKa8RJjlPB9/s5
/u7YfrhPSDXyWnzJkcW2ZNIc1YmFR8KkYr1daMf8RowUWoPk2OdyvnaA1d9j6/jTw/rv7fjzx5d/
8/FD4SoVCC38QEj354/f2sRnKmnjR+Hm4D4klRUvFj3cp8g/LExSQMjl6lCQyFN500maANXcsfD1
7SdvCG+8zL2dXfEQT3S2hCV83N2MC7+5SgbCLw9JmsDlCfEvw8X95SH1TZ30KiD2Ja8RDQalhv1r
UM60csqQWqbvdG1dSoALJRBMysKUnCjH5fsqEqDF0/rqG1KqQKtshAI/u/nny1P6L5fHwHGN5B5u
v9lG+J/HUJLOXRO7HeJjaZZzocd6H8zTZyl8Sfm2ju9CJ8Kc3BItxM158Pvx1pC2eIMrgXm5BSM3
NPG9Ln33vLik85GrPmY1505r47d2Br09Vd9Ut4xXSTl/94sSwKzg/M/QK49mDG/azCCajADb9J8V
5fp7EQl9W9W55bC00TdSetSA6PEcaM6M7RDPV/4SNEehRqL+TExxddX6dspjSuBrbEE7hd//+S5J
89e7ZIQM3UD4ymhlfhlqJSLhZbAVwrB2lHBqk9egG0nb9pDjjd4W0O3CcU/bggRbm3lbKGhNIkvd
49MsqsNs4v00sED5QR6dp7Rx2B6683XoO88xjpbrf75cd7ucnycG14RB4PqKeStQxvv5oXaiheZi
uuqxLr2a3Z27m7AH9kOCH3JZUrp3Dve7sOjiO+8WreBgordlHn2Xhayvh/DdZJ3ww0wmxhowu2Tg
eX1/gguz3WN/NB+UJ7P9P1+0Ylr8+aJRyyjh6yAICNgSl5H6p9lszQJjNbKsx8CrPjgliL50zMKn
zlPfWr+J35YOBpnVCW/pCEhE4T7cQNu+9dqiOo8ezl6n7PeX/yXkS3sd15buqOQMbRr3SlXt+2Qt
V6KTQYkR9FpYi1xkUXcOsBwZkzZUbs/Ww70Xr3WNXzbeR2sXAJllxLXrspJpHO2qjbXW2qx826XV
3kGdJhp/eWoQDA1ziISI7MWyW71TOGfQaPy8/c19ukxrPz1cTyrfM55w/TAM/PCXN1ajK0rnoad4
YUV9muVMYDwal86g7p2WGKeTpEBVVlN9IpobGbz1P9Ri0eTQcx/++aHJbST9fDFchxt6UpvQp+X6
y+wGsdzpUO13D7EdEdpNFE8sKNJBdOJECGyqaUTa7TqXzJWnyYnfp74DL1COwyFwgi//+8vZ7goL
ossKy7r888DvAwlF3NHTw+JWvITGuY+cpGUio7TXypTDsEUDmMoO/03EIKliHpdTgkE0/O7YO8Pv
7pC7PY5f7pDnMq+GWgbbjmAb9n8a1lEzh7FjYda6OEbsIGqOJOsNVspi5OiskuYYdtTsQnTbXjsS
+lX39lO2jfyMigJRfqyzKz76Rce3wZQD4eSI5uhDP5ImZANFLgDV096h0CcTar2/uaN/mUo8diq+
Nixcgufrbovwny6/ZERZ1jDxEGwTgAod3MfkEeYTOYhdVNK+aCCrRnNxb/PZOxAk5gq6GlE6vv3n
K3H/slJxJb72QlapMJTur+Ne6iEOa2oKD3nrZ3dajSBAfVdR8huh2to8wASK3My6MV59hX8pGUsY
WpFztL6+qks1PVCVReZGisRCmd/J6OSFc0iCQlnvUyQTJydbz46T0KhPtQcfIVOPReL97pb+daJj
aHq+Jz3fF66Uv4yIRnQmmRpXkTvgoxFPTbFf+/zr6szMX2YuDzF1lGWp2xfPe9ug0D/HUXkKdGt3
sDbKd5VHfWmKqUJqG0kqRSSG/+Ze/2XT4nnbbfYCqbhQ9rg/P3XhE2y5yFQ9cBVouUG/lxRgrsdG
n6u8VDdt9DmQG+Wt7dPjim+0rJFaxkvx0Nr1U9uq5WmeqVfXk7dvu6ncj7rClrXW9i7ZmKplE+4v
L5tKqb2rYkt4z+HrxVP3m4/yN6/fT59E/vxJhrApx3wiRaYs/Y9xkpJolv1md+D97d0iTY6dqGTV
/XVkMpllbRiHLokXU/FYJ4il1CTZ1GWKLHgZtYdRRRg+kubzhDY8D7Nvl6+iZwcHWNEBjJNsc0IN
LLEOslwRt+c0gkSBusMcZEnARTzvYoKL34wm0vSNdX2ygX3dXtzrMRX0QbLyVmVti3QLx2dsPvYU
Q6WonbsmiCp+RgUZju7DPw8U+Xe3l3dRsCSxbAv/l+mhy7zVjH7mPSjXw5YtzItMpcAODJphXNNN
/d9jog0Q63Qx/CsbBefen+CZmwVLTAAif61a9fDPl+X9zVwBZNe4HMR8tm2/7iUc3ZPKGo7qoQpC
0HXWe9fX2G/8zIVUFCKi9d1bb2P0pyiTH5u8RSgnAkpPFe5mx3pv7KCcmxhSzTOqxcvex8vpqvhD
Rq20TXe5hbIeSqQJ4bgh33gNJkRlAEsjjVasmX5sSrNgon/WYhEPw4V9h19BZwhi8x5dxnXTl4+/
+dx/8zg4qyrpGen/zd6AapaetNvJB7cAG5kuNjzUYrrrG5Ee8TDRmC5xOXUrXWuVhAciowTK1NHs
ZY0owQG0OfgGi8tEAdBzuwcTWSDkKV26aUzgM0r3VirYdm4aVdcDAnl0Dbg2t/U0w2pp4ym/k5X9
crljWevelojfz36TPfnasTg8/PA326G/WxY4+5ITIYRvDJ/95xd8DVcZRDkfubTvs5H6oDECU2VA
Xmy01oRWObo6jFHtHZx6/iMdwi+rI4Y7DrTkBCTefZoFX1IovoEh1yQupndFq8L9uDY1D5ON1Cio
zXS1pKvYvKYSTb614e1vnts2n/6ySfCVVuyfdBDyBLcZ5k+rbGHNqpxGug+XowxPC1Fn45S3czbF
+zhexJvLfk62ATrJKGtR9T5H0Vyf9LOjqNz3bYHwpI1gZqQ+yJquLHfOiORcevJ5HKimlkOXkTqX
ZndMia9+P+ECTBymKJew6Rig6DJyDikS9CoVp/p//nx/PT9521pHucRTbsDH/GWa0LPw3KYq5IMJ
8DJl63TrF2RUO6X7RY4AIkMfE4mFy38ZqboMdqIv/lhW3pl5HLubmvZvHY1AM0NKeoNO7gt2Wk9O
7enfPIq/2V57Pqsz52HUpK7761Fv9O2aZGbiUu1Es65XCLa2OOpZwfcZotzs6ghjWYG6fXE8FC0i
TskIum4aMsR/c9u22/LrsEAyIjXnIt+oXw/nZpBD0TqVy+bLObQY3k6zwDUlc32KSnMfzOSDJtvL
F6t8E0+1cDFSX9EnBqMqICJetxsucF5Jkstqqoulmo9yEMXvLvTv5p3Q077h3ill/G0+/tP4NdSP
YmfO5EPsf0ws7EfhpvawwJvv1zYkVJlr3Daat2KYPqxV/r7NBvM0dC46HuycSfP7jetflwAqbJIS
4DbsjNS/vFLB0A6BN7vrg+d04HILL4fha82xFejsKHA1B5n4htXHkMWM///cixJB/XbClQ7SpRRx
JjDJlEb85I2Hf36y4V+3DFydcjmhsw1UikLgTzcsmKTtg0ptrIeIzsfUUAGvhP00jjFQgKHwdiyq
iO7N4F9FDaxrqmk0FTiTliGJUAW5NXPsRod+6O2hxmO5LyE1TV6l4Z3MOHFHpyPABn4BEVeeI+2n
eRGSDFQofEi5hDdjgXTQgLR0d7xumii4j/6hXjCH1F1oP11+F8+SbYnnpicva9p9nBMLF+dfEkov
h6REqcnZ8jooIaioHJCYXwHYuBz2EvfRmXCYOPwDCdt33kwtJUqVD/cNdc1Dr2+WNXqbdm+jQY7X
Yh3EweEEFEs97y5TXSMnBEBJ9oTfTh4CW9pP4Vokd2Plva3lhHDc9gSgVCBfpcopBMWA7R07ZddO
g//XSdcTDDlnt9Q0vtM02EH6Oi4oTQ+XR4woHUa746q9JOA5S0EOg2aLf/OYXX0ZZj+/woqHzHsh
eYc9/9fyX1FhAI+H6b8z+2pnPLdIMgKKDzQXO43paggsVMMKJajtt766U1I4wJQQzuXezwr7PDf+
Psri4Bx7+qOKWNSH7aAqBEtTEdZ4e7w4xI89d3tZBt5+qbCszpPyr5rFR6B0kyqRvIQGLd1ok4c1
Nd9cL2j27D8RgGCcuoKtCXpwkPWps82ro/qaZE9Ggntv2cs8Do5+GFpkzWVUlqfFnUcaHMV1nDfn
HmXWk5PG9D1oXUiDUkgZSLdFNmKLc8rp4JiOQ1oeAzWKsoF0w8aeVFZkb5ptqBSBg+0wjXCAzHWw
d1ofvuWaZ3dza/d5W0c7MdqFTVvzOaUAdzV1Mz6goPiaFNCTg5jEmbUiC37KR6JCg7y86tvo22UZ
dcUyfVFJHPPntUBm0Sy7ynzWhp42/oS0gJs652ZftaV/rqgBtFqk90xJcrgq47I5e/S2dKzzo9PB
V62G6jHWaNjr0Ev2Py6+HHnBMA63evluJ3p0oUq/9NU43c86/OaEzmGJqupd0Yub3ucnd9lScxSl
KFcURExaOrLGD/SVO2d4WoB8+YHDq+oWX/uo0Y+qiT8EAgQlPgqJ9o7ahWtQFg3CjI+uGsjcTMTb
ciT5cV4+0gh8P205X/k4fAsNW9JKrVT+li9IS+KTT3r8sDXOaorJ+4V7e+obDLe+ipZjnDp2n3VO
tl9FOx9CsZ7s3NFUXNu7Ml+xqrCvDfNMniXY7B3LZnblg+Ak0drZDWPJNa2tfURHWTUzigSRcy7c
ptZx7eUZebEbL+WXoI4PYw34T1W4m7ep9vKuiyJdj53Boq2xm04KPaTn82AKyWFhG+lObfHYN0UL
4xrpPgeoc1O47mmu5lc/HKvbKrYz21Dmz55Ydr8g46ed5+NYtCDPWnKX6rxDLmlcvW/GQ9FO6OiG
gPsax+FR5XeA4kNpu6eBqqMokJT3UtyX2xZjbpBg9wXKyHBC8p1ABalmqW+9B+qLDrlzjMKkjJCC
OZhMego4g8Cd0MryfaOhTiYKKYu3jntlDMlHxYSCmkLUORCgWvwZLocOtsilBHR8n6udm5EM3ptm
QuhGhuoaRYCDRtr8vZw/eI+hKRMKuuh8+zz57KEefp4Jez85NZjZstOHclD6VltxT92BIpdgh1AX
eX5IckWMm7TxHtyTB7RlK38aQY0yICywZR0B5trr23SLIMgWkLJNth4cNeR7qcWHKlMkrPeA8C6j
0KplOkQi+eJGXEpe5fjoDcwcKkLiee2zZy+ZUcN30XH1pdlF27YyjkbAXGHfXCdZv5wRRtzRUUDM
ZB74q8a3roTf2CG2mfz1bWMCuzencS0wORvG+Paxkq7H/B9Di5qbmXbAWUdm+JBTALnyttqmSbMt
lenag/R8iGf/Y9CSITmt1sPCUjxEsXN/2TGqTU3qrx7a79XcVrkQ1zE+iMtQy6RCud+J2zRa+2Om
lcKfJ5CPyCY4xeUf9fDRQJmLwxhfx1YSc8WGy+qTU70NfF3kaBUudfJAeghmivF72DT7XvrpXVNn
pCc13m7dWhyX/eWYIKwpyzY6drgP2Vq67xOmphBOH1CDN44SlIRMf5q1W+8K5j1KBUN0yFR+FD2z
7lQjAtraH5eNcynioxVpeeN05bktMb+2wbu8aSy0QjgC0Qx6IolJf3S9p1zgLNkoKJY0sG1mubyK
62rPpZc6xybwELsIpZ66ofpw+d4U6pH5dyzvsiVB3Vqm3xo3X++zIb6drfg8awtipk5fRsM9qPK8
falKsrfGyVMPXtaL3eVKqwHRSBVyUFtHhKFjt95fJlPR0U7vEfJc/lSUV3dNFU73QYTiL18Gfatc
+0F4mX7Kc/O1IaXtIc/qb5TiD9QoIRZUqUBN06bPa6L3l0dQiPhz6WOnsaa0ZzNHnHa3ouWllsmh
HadBjKs6iO7bECtp3qM3ZyQdytz/ZhtdwbpFt6/JBRJB+9/NYZLI+7jO88eKbNYqVOX+cr0mWS3R
jYpWQSnfX4brVHePlngMWffNR70G3X3aBdQWV5eFdFneicq3e5j5967mIsJU+S+DRno0epS4OVd8
KBLxviQX7HYd0X4I5fTHaHY5o7uOPlG1RfwkHuugM1eJI+Vt2BAuOTcF3qGycpcbxYy0rjjMsn7+
Um/2Fy8r8XCl5Wdqn7z92wFHNT0S3IJc+MtQXPNX2YTtXYWcZBn75yBel5sWaXg6koEWxDColjWk
fbw6FZHMnv+GNxV951C1h7kStANz56U1aJhjhbPOLaf7VZHF5zjzLduK9ppbxOKJSvFGj+Aiapl8
AITPeEm4lY86q++rQH/vSi1vLpukaMJZ7yzlfIR2Uj3MzvstWewyNfNy11eV7tqngB/BtBGgQ4yf
8gIp/1IrxKcRe6pyyoobN225ryhhYqUbwuBX2t6OU2OWQqFnNcyzocPiu/3orNYJ1DcnP1iAofue
ZLMq8uLnvC1Psguvcuqlp7JqnnFtYOBuGJZNeFWyelAVb9FLt+ZeVQGiPl1djXplx55Czw63BVF0
pAd8Z0wFJLUCdqlTezMi+J2Rfh+7PAQ8xHHourb6ZPGj7jxd2R/PJchqsGX1i2fKbt9Ta2NFOzVy
ic+tsdFV1qEW9bBY2QZrSZq105d+CY4tnv670pue1rpMriibI8uteZ0GCQhNhNdquJdmTm+TcnLf
xDkALOqEj22NaLVAk/ZjcnKHp8q2+d2MQPRyYkPxMBDIZ4bySZXp62WZF409L2ZW57D/wlzgXkW0
QJ8u7zWnn1Psi2h3KdlfXj2fVtmjgzhLLYQvwYeJiFwwP6YhFr3tvwa+bKNG3GtNiDAFGHbqIp0e
nCrBtzTN3y4HjcurtwYwH5LO4kTsivSa6NFhN01/+AmnnfDyi86g/BLuVUnSpVORXl9myyQd0Vm2
4glKGJG8jX+WxCnnYizuw5jcvgl7cTzUy83Elpu1GmmEauSe6gamkDDH/dfIr4UBlepMKjlUPMx0
8BeGUstM7rXR3je9PrBl2Y32dXFYXcMEKTV7/3dRRWd9MNXhsnA1I+yIGTHSYAmMBxycYR9lV8gJ
EHUFunE6RpfOs+j7m1SGSN/FLBF7TNntorzjkG4dpO11LrJNsoGtcOa6Ts4Y44OnBhZadX25V1JN
LCGjJU7PKCCwqnzX0/jHSB+TmRyDlqltXN6W3ejtxpI8n6KV+R2xa/tYTvN9Gn/SnkOXczEkjHAO
fCP08In95Bc1s9pFWxMtgkYB71Rf9w6JFcnbPOxG0Hhyfsxt8ShT7EKRtc49QTK2RBPn5vG3Vc/2
1Kmy3M/ahwPh81LYMIFoX2LJjAy+rtpgqrkMqDVhFirWMUe+3/ToOa77aQID3MN3z0DWUKW9XooE
FVyMSHedsKs3df9swmsyKFVr8w9pJsdd2NgofKNA8Slln0kHKu8rFQFEj2APRGv+uXE+rBInWkQv
+jxdlNzImscqvE4GB+SViZObeFJPwsPcYjuUbSJmA31ZTKn/k+RC1PK69WfZi7j7OiXU7PJNEQ89
UzaHeS+UX3XleNfx0EAIcmdYy+uNL7zqaexfmlEQZF6iY2YMHRMMCyAvWd1NCUqddmqCAuAkpoFE
ve3oRpfQz+mA9XS99wpFyW7U7gs7Kjz5tfGv2ZljzNjq9BPox30nV3PoCnJ6aaDsbYVjkS0HkkEB
+MipkbVOvcZytDnj+qneZxlF4TQX/fMaDDAf1QrnYEC4j5QjOeYtydjWc81DFpp3l76Q9OC3hVk5
3VxqD/6aApVp1aMo8O5dKAkLFu2uwb3IjPGyFiuZrASxC00ySo3faLq/nDjW9DkdMlLeQfBwdWBh
4zw+jTj/nSX5ViwQY/K5ZBslYTXGIY1fJ6qPo7PulkC4P3pUYWagH3Eo3YoYDQnP402c33YdJVTu
8qc4c1+yWH1ouKLzoOZvgQrepvQOb3q2MZAYzVmZAhuSB80IS8mHZi7DI/U5RDkeHlfSI7x94y2P
NkyJFRwSUJZ1Dngl+iaUHQ6esJsZu34v9cfWHNZc+9cw0yFLeO5zEBFMmUerfeek75KRLMEy/ZAQ
qLWboqp46WmvrUY3SM/ZNXa0zt5MytzJbTsQ5yUheq5T7i53XNO0O+cby7mp8x8n9sTLHnVfqbNI
nlIzZrcOtc29VTkw725dyAEf9K4vks8mDDPC9VD0tJOhmxtL94qOlUUXOyV7fHTT6TJ2YHr5UAcI
8tOtS+6vIhVhjJr42AjvS+QUwMo1qKc6hu9d1N4prXkT+gpv+YBQ9aLPmMPgq8Y55RczJD96XYGS
9WPK+GjVSILERWWi89d03gJ2nTw/XYoPwTQAF0pRqC81I6EsYbsuqqruvCQsztw0vNzh2bFz/kQL
KgkdAaYeeoBHuiH7LfiJsiNJw9fsGpKcSLRQUedKYCdNDfesTy1pvKX97OrWPNQ6+porTW1wO/lO
pXips7SjZqPiM0fzDYE9ULi0eN7nAI6R7K7LKAyOUZa+WCd+1Vov54Fz1Zt86SpuAIXrywMcJv2H
ZOP6FD9PS4inwOlh51EzOF8eYbyZRJdqIdrrkW5/hFwUA7wc8k9jqLs9FbH+alKKVsWQuns32Apx
ENQKtRZwBsf6ul/rOzVUdAObGW1sfm6c8GuRhfmLO1SftDBk5y19d6Q5ed8sMEQIV3xFzfdmCGX9
R6KL6xUaNz2H/G04oXGWhMD6ac9ZQLwR3MCz02NI3BpKCYaVbJAJuV+LfMnaGblCYW7A6boUSiQY
hu5zna/xk0spA+FYdB7LctkrPTEXFYim41ymr7nCv1m6y9Wcj/api3MERsL/PCk4D7HLyhH14ztK
8jyvcVqfQoinSy/andEkBTV+EZyaAn10HjfLiY/9Ert9Q1pO1L+Ykm4JNtk5emgIt9T5qG/9tfua
hvugc/2vOihefdYLpXClCvGxWwFg1J7/tV/91zYy4VPtO/swiJprkTnpoeSlwv5MCHVMFjalT3Oq
UccxoxQfUVzm18z1w2EYGWSpe6jVTCBCWZSHPsMsUDqlt8+lKg7GL6dbD9X95XXqOmc8zF18S9i5
IUU7XUmybcubvErMmxpVcq6TrzjJvTdJdOhkkp96xCYPGWpCHNSTdxK64VTD+eatENXXNQMazYx4
1xvSyEvuqEoGcIYNdq41TFsqHf23JY35XNEiqE71r81WjurDjvVjbO6iFDlUM/UoOxIDXBd8zTTO
xXkFkR8ts70uetQAYWGKXVLED8EENSgl5uUuSMnXKBZQW92wzF+FJddvDkiQGVtzPU1b1jWRkKgd
6OiULqPk+4qfd8n0u7TRO5UgOo9K4rFWJFoN6QYOCMF94zqfuTGsEpQ0gDOxW14+BwQ3O+wSnLgG
nhF6ez+NbpwoGjk3V4Am0NV3k3ru0Tc89Bm4nmL6ONSQjGgWw2do+i0Ho8LMUYp7lqf1yl0OusYv
4ZcSInLeU6kk65dFOMbrA4wuzDg8l/jbFtk+qy6e92NjOPnUBN1o932GBzxVkb+LyulhjXFD1W36
rnHLd8DHqD8MOa706LHpKUYNHqeVgmKfSM+jgBiKzoI4njZID14b3nShGvYIQlFNQCminkxaIV26
1SNxPcGdVecGkkiALUoXJZ4u2LctfW2NBIvUirDeLQXnJgVLKivc8KqY/+hWXu2pJ1trXaGWJ6QY
1fQKgQ/MgLRURB7gGAFh5OU7VgvYvNngSXO+tV2TgEzE2NHE5aFsyS4ZWcB2zkovrEUSfSoFXX9G
mhn1y0y1+MqZXXJQnJSxizK+pNqaQoe4GV3zoXDNMSwhFKJ7gOS/HV2XrjmEGfjaMcHHKBdxNgvH
V8//piZSKBd8r7OXEBpe0NUKzXzwE9Ys65IEnLIpy0J5s3XTCw5d6AhaDja5B8wRPmePgKKlb+Iw
9ZihxdK64c1EAEjF0eaEBPV7k+DQsWM07pw+uLLLEtyujXrJLSAXG1TVVRHQkRQOIJ6aihSivvI4
QmJN5hL+4KlNElSKAXFuOKN62HRTGq/7ajIKj+OV8QjSCGt4PqH5TpWQklX30Q8hmBR5DScg1ACf
XRqwk0dCYZnd1g1JbUYC84/C6AOPpz6s4/JWp/nrGgBZLg3PeHDGhy1Ei9PqoWLoQEOMiJEyM6EW
Auatzl+6Tn3Pg/Y1ieVLPHbkMvjNLhHpx2yhoJCZR5c/+aYOY3efevLtiKL1TecD4S9bKGoTqTm9
bveLcIH02za8BsSKK91JuXDFHXyOgyRgyakemwgvTwbNaMpFcexdB678R3YShDzLoDh2uIr8KH+J
V0GaT7J8HBQ7QVuxK/PWwNlv8FuCJ9mY7nFOTbtUq3f1DA4iX7KUTlH3rci6Uz9DfxVd/90fsZzP
WEEdE8FTzuqb2a/fidInnq3kQwWEME7uFhW4yCecFQ+Bl1qguZhGKkJJc/bz82a7D1V+ilKHJMa1
WfasXsdIcYGSAvFN7fhfZJKNNwyFVzU09xuaxBJORIh9eRym6qgNCZ31SCZa7x5yquCEWhIIq3nd
kY0PxytU3WKXGcznHGCB//vAiwkYvFp93V6ZMA5uMz6Vtec+d9UpYnWEk4WjSaiD7wjYsMJSZpkV
3HydfJp5tcAm+bcOuGFC58laycyLM08cfbpiC0zH3I76r4dR7bjpwyg4sHMzr3p4fndjoh/8GO1J
UeGKL4fbxZzWIPvcJO4XU0gac5E4dp3/JZbJN5iPhe9QlS9j87Yp6hDiC9A148f4XLMU/AREo0WO
n3LPzc9TTegyImd5U9cTLWXCVaQaoKoDNcuoUJjBhd/j99Gjm/bTo0PPpaay19Wpe913w3xeHaLU
nRwwZ1EzYVlGMfdiOoz4v8CAyhjChgemNC4ki7f3NZnH6NSYhB2CJWKgQw7Quc6Lnnr8oi6zZ527
7v2Kg9f3mvDaUSk6soUQhKiaPs9OXZ6l+NRE/pfeaciyWw6Szs9NIMcCZKRt4LqF/XXBXb61nPzz
AGxcLYj3GVRy7LROrie1QQRqkJ8ezQVCSWqEM1sieqmDxyTE1mNnQaG7/SS9dc2ueJ2LzTFBylUV
hk+XX+yMk3dIFBFPQWV+fE1W6pu/Cn1z+VIbVf0uHddlF7tW311+CTiz3/U2ghYbRsFhMjD1C2X+
yLoagniolytLUWTnz3T2KqUmCka9wykOq24awDoclyWj5I3h2rZkpCuAflNQI5PfSgXpGlHg5pxM
Z2P8nKhhfEu3zUz5c1yAObroY3Nig/ezY57jfnlBXXnavAJvxhjCQ0U7cIJ3HvsdBaSYOc0sj3rt
XQyf82vbokmzsaUryYFs8abp3nFfAL1WR8wSBFhulf+L4LoTPX5xjiwOhdkcQDfnqPRDy6bag7fR
eOF1lWpLptYW4tz1n2UKo6St7TFsQZvBV5nvFas5NWZJ+bQDGA2S1VTj+3BB1q3WfT0t7dMWCnj5
Gyg1vhiLxDPUDqpDn1Rq3TGMu3w51FlHmG+I7LtnZ+tO3YPbdp8H3Y43W+5V0QN5XrV3HqrpVFpK
K0rXby/aL4vn3S9cuszbp5ihUQWhA4hghNibR8weSRS+vcik0Id590KkCICpUYA6wiPT+q8gbIhg
V8tNJMAXR/Ny208kF1x6ZNWQ1Pchms8fOjRaKX2i8ZuhQn/DT0p/1PvilG7wkhPYQMdqByQqvqmK
ngS2rm7glsIDiopwvPMNPzanrAvDuiZJZFnna+24BDY7hAfma33iN8WxkYRocuCiLU+DbFgDmMc0
qyj6ERfX9jXoXidDN6+85mYyE538ej0Jenbe1tn2LYEwVfvBNIRtZDJ/HIJhvfIbdGR+2DNuLq2/
XpOROUj/TofmPBkUg2nVtpxNa/bp/gAHYfvQ3ij0VcOYQJ0rPNK+1RO76uJw6dbYMP/YIf8jeM/T
L07tsIZ3tyrEU+f2StxUFTt434b6OCz0yacEz025HKaIjD2KRjd+H4e3xQb3TredDG7KS80znv8v
e+ex3DiWheknQgf8BbYkaEV5KVWZG0RaeO/x9PMBqumSII4Y3b2diI5cdGXVJa495jdW67gxfipe
YkU3ZYEjkBqY7rZrcpwVm/YAb4J+jNk9JlZLxFW1Eji6qVA5tSw8Uni1unLDvL0S2rU1ZlsN7uFR
ydTOIQ3GrQGx4GtfFE8WR8TUGv9R6dOt1An9JLThlhlFTEnY+Kb6o4pQaPRb9+sSlRCIvfPkeUKt
V2OTQCv3de/+dfb8yLpNk+pOnmzH8iDUng347t3UYoJvcYPiPr0HHhqjOAWpyLEjkvwrCWmMzmjy
qz6imlHrXYcBHMap7mxoqo1bkSbIRbkm+XP8WtHNC3BZsvtcxN2XTmpsennkw9PeScvsVsv730Mr
9ye1AJceut/m22YcU2j4QwEsCSXnwsVTrchRaSgbBcKJ21KprRIsdLHYlKjEyWVOdOXV90buAYet
/Vurjzd2WFDf6JFbt1e2n4zfrGxAnINlSyUPausAHmsuFajE4/e1gsz964XnjWhyZZSyUGwjoeXo
UQQPsi5cNzFW4WBwQGnK4t6dOFetSWEFSmosnwbKOdu5FTaITLuCyPnSTywnrgFKMUwRAk3VJHKP
V+IMyg1wv/E7uXXms6qEOGOORrn1XcAqBaKDnRVYB58c3BVAFVFGSR79GnR62kXXoGHxZPUFC2uY
IAgS3FhjUHybqhb418Wjtpt3J6WEZE/FazU3pYpCfqFlUW1n7F5HbDC5RSrOvE0o9qAhROEFkn6t
0n/r8Z6R+5+hlMHf1/4ylTLYFLVJ/iTyo0qZt1es/rUTKrKM5oNbwOtuAgVbFD6eJBuFeX9DDDF+
1+J80qvEPMcszJ0q0O2bvzpMKtCw0xGP07Tbo/fxTZIAoE0bpFGg5uKOnJ9IHJMNLYP8q4hBf3ij
vWsIWR4HA2Tm0DxoZJv7KOzSde/jGQFt6UfNLGI0it4f9e/KpEDdtk8KudkMBhSBgmAOIrxZ6qIH
NfVA2KcoVAQa+X9Ij0aHTibl2RTqIrzRlr/mDFwfExwyXNzzPD1DozyX3bVsydi5TFiMAvLDQdYS
jWzrTlDHQkdsRMio9ugLTN84hNpURn1Kq9Jw1NIOfFS06AuPRbkVE+jX14ZkaySJt2UqaWqzPSba
GvKgbd9fZSbeJW6rImJOYQ1TQ5q9CrVoqoV9htpQRyfV9a+MStlT/uvoJCRUiwzZ4UpFstNVbAq5
Dt/jIj5xZXud+iQl+ck12sP801G/x3Cu9YcdLKhs0yYIhszvrmoEiiOKZ94v5dHw6Jgj/XjAU8Ym
hBrSTSt1m3xC6HiTOWmrKvtQRSJdmvxGpn6z0v/EjYVrlMLq3NQJFPWbRHnBSU2kmIkz4kOgSD2U
/ZQwL7Ben3vbCl9GLN2B+kNbGaS0PUI2O6kgFVBL8VucMkd3S1Ebs1/a4oeUQiMsHRS18sfIs2I6
tTDJdbuon90quq2oGl3ZlYWflJTdNT4iELGu36HxGIVW9tLk4x9Fq6hvJGb3s037n3VjRCdaRKv5
CI9lAmYnKn72JuIKNm2IuxCg7snIadEqOJ4qLgpVUERsM/juF+A+pDyFcNjp9DmiRF2/drhyZFAt
DwEuhOvzEvMkPXTXhWiGY9FZqAxWAYHXtFlaVZfvK44HnM7iqWzuQN4pN3F6RZmsugXNhvTqxiU/
guovMhmj2XHt2m6BaGnS7EqjMbdNVKMMmNOFMCV8TBq1Zfl5FXcNYOGfrBGZmTW6+xj9ACkqvplR
VdL1rnYwGPdZrwVokJa0Fkdxo7qiRn22aXcBNhTCNeNdFnfWFsTkuAVmjolYR+ezUJWfIlEnMcHR
O8T0/dZBVIl94lOOs4Y/oWcnd3JJ/dVQTdpYwXDX5eqPzoqDk1oBLEkLVz6ZUUOkMUNZMtTbAapl
wHJCA5BJp4370e7QO5j+0OraXPkPnkwp3or8qy7kwfA8G4XrCWHfu0X+dRgRWVbL0XoayWwVqwlf
aGJom2ayElM4shvgSFgslz3eiDZpX8XpDf2/1A6zv8pMyJdnPmNRIvrnBjEKE0xQjcFO2hfDDgY0
ylbIQmp5gx8hIS7a1PoGZDNdFg1VrZqxEnA7My4irH4mXZPti4YuSUzL4oBcXQFmDIWX0HB6q1I2
QgMn42W1jjhznjgeD4uTuMgKWqi+7dSRjouRTVYcArXrnlgUJOCVpbaPig9zT1NxgpBzi9LniHKB
pJc3Ult9mZ8i1W3j9ejF5kEJh3069tZ1lG+E3dMvkb8Eek6bA+GgLq/pyU8xrVIb11mISUzWtsif
Zm2OHLv6PTUJb7VezhBiHW76sb3Ss1h/veMAhtHk1AKU01rr3kyxL4x9qboxXeu70aW3rWdYNHGD
l8HX+jtQqFeDpqO/7t7xoRGIKEwaGnQdKC7qK0HIR6edNhTJ7iYkDc8FveKa70eLEjcWsLzYgIBz
iBJU8+eouWIP3thFblyVBXLLlkdBxIPfio48xVYjg9iXRgfafcCmJPHMZo12NCTRocnyKZIjhISn
Rpc4qXpH9gsELgrtsdbQ8VAbDc0IlKlSSdqZNQWSNlKKHYCbn2PhAvfPjoie5PQxii9zD9bXkNjO
hR6iRwNZFDd56dAHPIUFoM2jSbi7pmpKXjnDK5ACuEJ+OCl6/1H3URvxxh1yKTY57Ii6qP2iya18
NT9gbYrZdokEkjlYr0PNwbSdhSdAQxhiJyhDlRNKeVpZevYga6R6r4wog0vqIXVN/SqWAYMAEboR
3+YELsOMIU4wwpTxQ5uvPOoJ4RT2Y206usfWLEmbueX1FunNDGIyLBGSMRdvYF8MyT7O4n4l0mxK
Tu6LDFl905O+KTb2q5qSts+G6imrotHdfdEpZBu5bK6bhMMSGObkBEA2kGRhfyIBesUGu5Yp73qh
oq8LemsvZULbdYYu4MBhp5tJ8dZM4tKBWV1zIslIY6Nq1qaCjB+r5wxwBK/mpnlooeNnQiaYUFI4
Q8vtSzVlX3OQXIhR3mvGtQZRBbBWrQLk0BBssfUQyiIVOYIuW4gA9ZqiWoeY02ZaoRGetA9loaID
0mA1mLb0GzMqZt2XWvHMfWVhviC4/roMIcWuIZOLi3py4HBRci1i75otpGP7C2rMOLm9e6BD1qHX
CFSptbicuKArD9VatTZspxLIxkg2sk02lvJTVKkr/WR0AlC6kzGCGAM9vA9kbc0FWO9Y3h2SB0cj
wOXTD8NfUYhSUaXX/S0QFQ8nO2IJ/6eXW7GTkTajwYvCZaTJx7CoKPLm5bXXqyd0X6ZpcL+6ikJl
pEdK3GzT76bf/xrVNuFl7Y7xgGq3h8oV4JobV8jIC8pFtRsK76spxggpyMjxbJHsk5Gd3ZjZXueo
vdKnPWDW5GfUqwugg4XUgZ3yLJAeAEnxH0sgV91Q2AQVod+lSWY9zHmcjbZhY9LD1Y0JYuPnX7zY
F1d9P2QH08LetFceXIjaa63tDJBvPqKIJlxUlQBiH6j0V0CnnGYEhNtLyWZ+bBXAZHsbo3DHK4yB
X4WMGy01Za2hRFinGrWcKLCRi2geeXOAKEOUpzAR6/s4PIQBkW7vfks1nCcClXRFzT3caapxPZab
zss4N2OP65cah9tSzW/JXW2qHUq0LTN/14NXgwSNMZPvOp9zB84wnmDQCMsyLEUzEP5YkDOLmshm
yGrldkYcRqHn3iLgBI3y2MaATesW5LYlU5AoFDJg1fP2M+oAMSGxs2IKz52bKGCiMSSrjCsWdKUL
L38xB/WlaX3poZYx9AgIAQuNjllIkB5pFwgj574BSrQsNEM3FU0sCSNNX1LpyaPxVlZHAbhdpFsz
yPJrDz2icaxX1JvRofRBy7p5m11XYYg13mQSW9S9vtdcD2HuWuu/TppoB4SxaT0Jyf3TiPDWRYfj
uyShVGpIvf8ytBkeLmF4AdqvTLyy98B+tFdQhFGFLRSY5guNhaC0u7ZxJeuVspVqbua4pUtuqghA
ZKltkyHTr4ezMIIRQILBLdFDi/T8IsP8Iwdf2JZiqraswW3Dw+09l6StsLjIE0+6nbNDKdXLLymN
oUFLMd5L0wIIB/Y1cl/nKykiCkiUnooK6eqVJXq6Fj2AU2V6Qj2g2mX5LQ6ojkVmPyGD0CebSDpo
DlirQuh7Qzaqx8/3s3b29xu6PBHfFFVTJ3LRG/IQuTp1nnqUbnMt3wzcn7duXmBwq/bGfg44qO04
PvBhqhBcnrYvSZs5y1cggK4ohB8lw/jlIVDap5X+IpeEMKrj22n+kjYNelkCf/C23A6di/iU7wYb
uxqx/865pdIwQ6tPQSKyA7l78LIQZ1K66ig71mQtqXVBtOajNIdmyRRbIEKYFlx2beLbv/lYNzZS
sxOFfksHiJwPlPFNF47HcUqE51hvXkQXVR0KB8ohKqxqYwd5vwUtNCPtUvrHm6YbD1rmh+igQ7qI
QI52qf/bNH7N+YhcW9nhwiJ91AGw+NWyUDSLAq2tLy4dKplqXFuqdluiErApAkTZMmjz4EwfNXo3
eCGDpjY0e+ep+OqFSVhtOomOWRwAHRvMLzPwY+CvHlKVPqWhR/5Kh2h18HZzMlcaIHyqCVtiuMgh
2xNnZE4rKyVh1QKV7o/ingh4EIcpEeowRCltyDkvct/PfilyDbINq9S2lxoSmU7r3U9ooFRc8msj
AEw15OMvNURW0mpHjcwIWmjYIZdul0dZ0jHkUiaXayNLEK3GW1ruO8osXHrgYgVeNlMQNINZqfLq
jh0B2orpUzb0QC6s0sdLiVUykEeA0GLyBYvdhc9abqYSfGo42yc5Cygylmh5xgMyKE08lWqaLjlF
GqloHdTZxgsF4oa4nM4kQi9rnFAugy3QGeMUVihTJ8S1Ln03kIkxuUusPYyJ/jXPiz9Aq1C/LmEV
pnCwt5D8tdW8+wodvlgG86bq7OMchH7+kWfIpJZsqDAiDVkzDHQG3h+hSeEDq7dABf5dU20Zi+ar
Ekc4cZlmTdNXd1H5dlTv6FeqdYeF+F8RCt8Z7btdNuJ3lTRReSxrA+9xOXj2wiFy0gSEc9pY/YWn
+swjYbEO06XG4dGEvDg1ktwqdEJgfwUxRzhqmDLIcC3YCsz5uLXzIw559UotBoQpVZrhtpHGjtfJ
2frCpH2kQ/JLLMOwUShAispa0KQ7tVBHqY3hoSmA5/w++FPblXatbfMKnxAjVix4aGN10NB0LWkt
XUU8yEVymK9/s7KkFdOWXeAFqx+vfkuGnMluVWXb1s3F/MDIguGRcqu0goIvFnXAlXEB6oNxD/Qe
McHpqCmpcMDs60SeXYGkh87pMuj5Dn75K2ugOMLvi5xMQm3dL8QOJbcegW0Qk5ls/YGyDl2EOORC
BKOcmVAFujarOsmSmPLi1SLIywy5q8zbCe8PbPfYysDv7Rye23yarJbMoIBxTd/Z/p3RDVbyQH8t
rcZV85hNXPkYHf8LC33mCuCaFjCwpsBEWz4wcLklPekj43Y+jKrIobMI5U8/TpaGNbwNfZI1yaWC
1vgE151rfEpK8v/5Dzn30vGeGzKBqmxrPHvvj6lUKrI9tV5u4zEcdprEixtqh5CgjJY7chhkaMM2
p33djxFR/kRByYjmbDrna5ByAhcInOIEdOJr35PaXegaKiT8HEF8fqxRdDwimbjWK+Fd+unn1hZF
I2GYCnIHirlYWw05QGIRXKZNvVCvRNG9xGlmWytXxpHKI8ZAoIlWlJ/8THvUVl0Lck7VqdQQEF2S
wDTcp52v/M2oGZA/ley42wGaxGyq+StRM5xpYrfbVIXymNokr1LYyMeJ2/afrwETb+jsT5W7chla
5bqWSJ4mrFtftnFvGqT2qanMhzl6Sv3kpbP8W79DikYf1B3tB7GNZLpF2XXWQSiZM+lXnaSs3afI
ajbQTM2ov+muBOSWro/ch89/8Xx5vw+rLbJjgVoSekkT5u39rqn7TKeE3hi3M1iyNcBG6hH1omoI
tmBKaGyPJjKW1CGMPEH0ndKF7OnXiUFdzNJw3bblIbzRg+hAjzPafP7rtI/SPciqKdyiuqrbFkj/
97+uafLMHEM9uJuxmplLQxL0gLaRYoa3B/ItHCMpLomswKmleyxSfz/fBq4YvtBB7K4bZBcec1N5
UcH6YAJzD7y0A+TZSKgxG/1apgIuu0TcNWp7DPXa7qtQYKsiY7hHIR3KvLGbCTCRXf8klE1XYzR5
o7vRpgvELlAa6yAmUN3nH39GGWFSupzozBbpzgc1gtjodKnPsZyppvdBtrynFKYlFQNVd3wwLztf
bp6t0vPxiFLdw9z8iCPdvvPCC/ouXLRM9GKbWLZpogQl+D0EGO8XAhRsp494sd3NcZVHdfyQJ2h5
ZNm6iVJ0qCg2lxo1rGgUt1WqECckyIxvhuC6zzHhUqHCtKaCPp888SJD+DT1V5ezCHb2Pm9wEqxg
ojeF/CXOzW5jAizczn+MGkA5pU78DeEF7bI6eEh1irmibceTIrXIpQcCc7Wp6ZoNFt5OGbDhKNee
tAmcXWW4EI7mgCgalJ0mwFaMbv/Kl0UNq46Kg0xTpufKkyLEKaHMqcb4JfG1b/PVkprR9zhIKUiU
ynVcZcqNj5KzVjQSHtGVBlslrtZRcyWU7HvTks01dABWcxVF1qFYhcVftjnAwQ1A0Y4ISqwiPzHv
+058oZwCfDK89eo++ZXqMeq20YZkqaLGmp6gSGr3XmphE4GKQFjDtA31wjEgfV6NtHApkY3eKRHW
g9e2hPCsHG0MIMkJJOVDDp8UkjDmNoDs/hhyiUajSyJq+7+CtDNO//k+RUJy4k0jSSfry5cZJkcE
D499OldglcS+SXST4NVXf1lyD7opGijSKMNwmPvJ8x1iNVV5aAELXPgtZy4MmxhVRdJQNbmBF7Gq
Z9O1paUe3PUeytZKOpibmbufd/IRHlG7n3/CLOXyW4WfuCNhLdZlpBzsZHzCkQLHPEyH3QjOKUyc
8ULC8FFDVQN3qIJ0Nychsg9VjNaotLQrDTSQqL5SAVp7SaV+LRNoi01elF8U9O79Hjh9giIknhig
w33e21wP0AWiTbnOLe2HX0Ph8LNcWTehfxBteDGomVV83p93e9L3UVEjQ21KsxYX79C6dpt1Xnzn
m9IJWEl2kqY/hDLcVbIJ3o3jVhgZP1bHXtoHvgGVo1ireputS3sQ1xD94L9iGyrHdb22G8Qb5wBp
3tBzoikhF7TCfNJYySA6jaFCdiJu1Bcxdvq1BkXv3kBMMbJxSlBzc+OZg7YyBzSsbVzJEjuxrkRV
/rJT7bfCu76TtTLa5Hdm+6gBRdnk7og6v6k+9Rrpb5eTa+hSBWi7jQiFKjbHQDETmfNAgtZZ6tZB
A1GNIUjtHTjwuDblWMbUmNiAvM91GKtS4QHOaQEPFOGzktGMjGBYA38u8+vSyHZCs7sDIR72HWHc
UgOsoWTlOVLkpvwb1Qd/V4Z9tqXnTVfFN8trv+huYNozCT3OVZkKsFS1QxQvc/jHBVQIw+q1666i
viUh1HrX0PXB4WDItyNXtDORGTG12qf5XSkjNG6Bc3fCYnINAw4chxAWRxsv+aYbxhs9ia7Kum72
rd+GW50hVmEvlJe5iJy3kX6dG3dtkErbQFTVQTGGb3EFyrKfVB+SvKrx3Y0oJweQLJUeZxKrtO8H
OT0OIWXnIS7u52ZH32lfZbWhERp7T8P4MsouSj6o19duC/mUkLin936gqrWbycYZ4BynoNXYqVm3
8YxxgGauy6CWvJyui3u0As/8pQbg4cZLSsHqx8idgqKCyKyFbOFUFn3/pnldptO7jrM7z5eohGuR
fiWrA3mifurpc2DoV+CoNej03j31NvMKGbSaDXFDN71tkGHqlJWRusPEmtBOerRHd01HbNwFdJ4d
pMrw2KC7eOGC+xgqIzUmk1iqqL+hn7CoOJh1XIyxFBZ3VHRrCu35qUDK6GpQBtCMCprLBtC7dZEG
4BFAL+u5DHOFVwpMKkp25bNqYBExBP7z579Lm+LEdxcGLRZEpyxiSFslUlhcGD6Y0DihL3yPzCEw
NatCJx8LMbPC+BdPAmizzZ0UZav5PLVRScdThSg51UFmtSIR5/g25i8x98hWnpRWSFOxVJC96mr+
W2C5kj0qaj4AgUlCyBU4g0S0n+MEMqCnbwFWBPRrMRZKgvLBbHU0EkxgSG5cbGvUegClDDN0Xbkx
R4N40aU8qSDwdCEJUMT0yLydC532mUB7mkoE4dKHYEnQ58+NZmhu58LZHPzng7Enn8cDpms3VjHY
W6nO/mpqMCOYXZfWycvpc81k+TQBeVGJ4L4pVwW2Xdy6dmB+8f34tRA3UkI9+rZ3O4disv5Xptf1
fr5cfZc+rYKdHKlfpTtdaoKaFkZ/rImCHTg4yXWGjYuEDbEt7lvDpzknSrDWlkTYkvo9RFxA4Abg
q2PtJthzorJLywzLesAZWYgC5TA56kGfErcxSZie1nvQrOZN25mek47ez04d+sdBFV9m1ZVB/tZN
Zt8ZbdLEaOhxxzg5a/pPzYDrh3Rh5sjRuFEzr9nOxK9Q1BRCtB7CRkusljRGSuETM2hB4uFr1lPp
AVnUgA+uB2sAq2Bpuwq7LTs/KpK6Jh/EanzaH4mNfR6p93NImz9qbeUQBHoB/o1NMjcKTDxGVBoy
13OkN2CX1EpNeRJU6aJ8oN3oi3uahPGeDwi2RRPQrCmuZQFyvCoHDS+14LcknjxNO1YASdBZ0sT9
3C3OqsmiF0/cGqlWMxWRYxSRvxUw4sikK1Q9bWD9Wt+tVNyUOq/TbqvKQ6bNBCQX4SdkTfou83+l
UPOaNnJZ3M4fNbhEjV7a4U0LTC1J2f1trRaPAWplU4qmgEsjHh0x9rP673Cb8o2HmfNBLTGLRAx6
Dew+OMywCt3yJuRUbMk3WVXw1hC8gdEFzNIP8UlHznovB/5jL3zlgLo1Qjfqnao0+k6U9UPTlPs5
T/UN80lFWfypDX6D2JC3VmLqByiisGlSzrPXnCQ9QzOvT29TZJ4ROIlPKVy3q1S9VCBapijUYXWh
oBaumeiQfaiYG3aXDqFSyrdu0/n7SiB7OkagGSvDjzh3cIo1v7opFTQKeaK6vRVX+mt49/+NHy4Y
PwieVgwy/h++D5syqBeeD9O/8Gr5oGv/mgq1QmjgTCg/TMpsr5YPmvkvFAF5UkxLpVVFHPpvywfF
+hcFTNJiYipZYb15Bf+2fFDUf9HjBMiBKgINQ0MV/4nlw+K1VSmK8HpaVM4oPU7/W4QIZVLE0Tjq
YC+Ce4neftI3V5XS/XwzH3evT8Nba4WpvvXmwWAY1E4FmGRcC6jG2FNW86ZJZaTIqEiRAILQYR9d
COQPItFZF3pKyxLq38MgDEnp12ZOp699M0wUu2i0Kgyj7+oDMM6uWGXr4Fk/RCd5a26NNW6n7UFc
qGMsXsMPoy4+ztLSUBlQfqNxQAwnCEp6N2NsNOWg3718PpMfF0wlOCIdpRDLxrAXYUgoGt/qNFNf
YfaZxMCm8B3Kv30+xrnV+meMD02GQYfHXWaavgoLD2/5vVJd2A7KNCWL/UAJhn2PfjlZ7By5vlmo
EUUYK4z4Cv3e+Fl9KW7wqjlOhASgq08Iyv4kcTEh3uHMaz99/nFnJpAiMgVMziTV7KWS75jLqVx4
DB3UpxHp/aLed82f/22MRZIeCbNqqpwxqviXKUEUCR4k/IY+H+Tcbn/3JYt913ahYXv4S6z8E8yw
A+wjxz3ZN8YmOUHc2aQ7F3LxhdhvmVNMm/3doIv9B/JNHz2fQYcdPqxbfVNcIzSBbk6yKxxSeAee
zG2/0dblmm70g/TLLC9lCFMGsNw81OiIPQmkaPAvSnVtZYydohr6qlvj2O6toiPGH2vvSdmk99iq
XTjdywLy/MUqW4WLmDaoZSymOUQvEjBej6vcqsO0by1/b8lHHXhM3iZaGzuQ7OZBi3fRNtx9vsLn
turbkRdzPQ5ZaxJL4EWYbEgO1mZ58LGJ/HyQM7eXQm+H0yirAGiWd6Y1NkMcToNw5FFzBOYY/xmt
0OmpIn4+0tnPeTPS4lSAWylCkXNPFlQVMqTUUK6iN2hI+qUlOzcS1gIoodIC1Gi5vH8HXKlpUSuc
NulRIOfoaE6xLnbSg+7QuKhW+gnq97Vx6fU5c23i7/TvUcXiLQWDSTM8Y1QAURt9TfEcP8YfNuCQ
Ff+fozo5dgdfP5/TZe963p0EEchrCqxZ0EN+/6n5qICt9nnyrGd5oBu/Dr8C7HcqR/kT4XC8N7HA
/SrWjQPQO6WmBt31wnk8+9lvfsH0z9/c5WltZ5hLTJ9tYqzdadIeklp+YUnPPRgo704dPsOCArvY
O96g+dk4ragXIeSTAMGMfiL/vNMiML7Shefp7BfpRFkGxUGNou/7L2pjDz0qm8Ea9T5TucpQjfh8
2S6NsLhTCtkKKSewapJ0TCN9G8rFhbvj7OugvfmIxeWhkiCV9TTEdG2NDr5wYANGB9r5elwbf+J9
fW1LD5fU08+ePNSHgY/JCDEai+1oBqmroKOir2hHbjEQW5XlU2lm2/9m+v4ZZbHlshhoTEWNEBdj
cxv4v0EIXar5n1+hf4aYPvTNrs4g8vbEXxiOOr0znq6rdbEGAncrdplT/r500y9tD16P8Zt5W2w5
BJwsnjxbX+Et80XeaA6v+UF7gAS2Vq7DTX59acRLC7XYgYMeFX42R+Q4rMnSLizvSs/b/BfrZIBU
oXNCQ2f5UidV6CkoYjKJmIe7Cvbt1oWdcP7+m0xc6IVoZFKLq95ogLaIehriZ/fH/2X99p1kbT8D
kvWOsBZ4netr7Vm9kvfiq3Lh8p0WZRmIwAP9v2Pbyws/ygyByCIPWmWbxRr9d9Tg9JQjJpA9UNOs
uxR+nV21NyMuQh/wCRLSsYQ+ZvUDCTcf+1n0HT9ftPNTSqlhStgsrFoWgzTCi2V/mLf+JGq2rugf
lY6xLXbBTnqezNXj1fhQE+PxuT5tfPfC7Xg25NJskB6GCgJVmbwQ3x6+cnQVN0f8gtOAXfga0/Qf
dnqw15XTb2QncoJtzINHm+Oilc7ZJX0z8uJY+OpoWzQhSUzw0EFPdxfsg43rDNLOc/coWjtgOPcY
qGpfg5fPp/3shfNm5MV9HWQwRNOYpS2xR/QGsR0k86/Ph5i9lT5s2DdjLA6LO/b0lyq+Tj5CCNO/
tGgEw6haiauqX7d7bSeOiePfR05zAALu4On749k4opajHTXA0yvJuRQ8zD2IT36SsjhDXR7/fUXo
O0R1MTG9bfct8ZK9wyKOMO252n8+CRfmeUbYvbnY8awDASST3MKuuiEexS/w+n8bYcpf3oxQuJHp
atPuzXUwWt7T2MoXIuklcuL1ufhnIZednTQx4FmUDFGhAL1SN8o+Wucb66e2jhx4xhfO47T1Pluj
xXPrBrmV+wOjSe2jH4d79F6CFbEFuiLeBokqx3L1/3GVFs9v5YPGIIjnA3tEpYJTetlC5NxdihMG
FkuypdrkCu+XKVHzgABFp2wj2cW16XoWioqasqEr7g6ODHH1Fql3zfFzOvmQZfxt49EX6wM0t1ZR
PQmd1w0KSBDh+DtJdGEXnbuJwKHIU2UOaMxcQnmzi5RepEqWEUmZSgd7Zgggp6SAY6MxJ+U1kbL8
fNdON9tykSlPMpQtppbhYsa9Ckoy/kQTnQ6IgNnZOylUH0YtYx+P8Mjc4u9i8muR9O71v/22KHj+
C/8ZcXHLa2ONmQM+NSu9sLbAOjYJ0kQaKjvy+PPzb7s00uJWb+WaZwYOGZoUKRz4qLSSjW95wyFB
jMfRkXwSF2bz0ojTkXqzeoGHRltJKXRVan88lMua0VqPXbYa7EuZ0dlt/GbdFne6DmkWqBojYWW0
loqt7J8i3N0/n8BzlyZthymVVrF8WgZyFo3PCIYwRbMulqHNhuCJfC/zLgxzti6oTzVi1bLZhsto
LnCLTopxvlgN9+kh2Df3U9AdrUEaPQzb4CBvM5Jod11dCnnOTuI/4y4jOeSw2gZDgSl1t3ajgyGo
ijbEul5Bs3Zq4Efr7oe4U+7+m1n999fai0ALvXUNRX9mNRbXCbSRwPedz0c4e6h1wFE0awWQnMWh
NmAKwrHvqCAVzZPs4zmeKnG2gt0b7M0KpTo31refD3l2578Zcvrnb3Z+GWt2YzV8FCLWGPuiqjO5
mPsOQhUXPu5s7ECObmugoSw8kRdbP+/qCTM97Zaju0v2IZE/nhM3WP+t8rXnWBfO9Axu/XBF/jOe
tohVaCIDK5l2Z7XRtmz+iMjQ/OXfBtfexrjyNoA/1mjk3qAj73jb8VezR6/y8VLmtoRYzY//m8/W
FttmSNKgC1xehqnO1BzNnXlMvyJb4kg3JmQQgjUMZY/j7/r3pdjpbFHh7dCL0AZpfYXIg8Wdhh7H
bXPfXyGyv0kfaJ+bW2tbrlFLu7DOZ3cURsnCNHE3omXwfkex9nVkmRxOvdN/AO1GUk8Z1XEVJrV5
b3tGfmEHnz00IFMNzEG1KXt9P95gQH1NoJKv8rpCmVKUB/RS0lUZogQiNZKTGcaF+2faqMuNBT4Z
CCxkNZhci40cgdEgteXtDXIIiaBNEeGTDlmb/AZ78II50q6vDWxkRqm7sKfPXHwzUQK3XUFJfdkN
keq6bpOBb0W4CHXx7AiMZRMl0oUpXfJWpj37bpzFrSBUZg6oJHPqoAvnmGvviNz5Vtvku+I/Dx3f
DbV47FGLbkqEgNkusI8TRR5XPQ6Gl16qaacvlkwlMaWpS9sf8tNik6S1hOxixrMbfQHWtx1JWvKN
/pdH38O7nCWdOQKGDex5anlM3d/FBtGNEkU80P4rdVeeiu/5U4mR6to6tGsS4mRd/cq2SCrvLmVn
Z3bH22GXz2KsJVEsbJ6PMERioe+VfiMAkqy7zo8urNqloRbzWaoR6qQEwnBsr/GjXpvmL6VuL6za
hWlcstkkww3doGYa2/4Kx8J4pSt/YiN8SbyL2PbpLVjsj8mhSwEiRRnjQ3YxylY81iP7oyoxpy+t
jg1pBHDA7cALnlA7kFa9AiJSg2p6lQ+d+hAPQfBftFx49CeiBpplWKoujl1WgeuuOlT1pcpYYZHU
qk9p9ufzB//MdcmXYnA45VGgGZYrp6BjGlUtFTiEKqQyxbQb2pkCunRw90gCXrixzoSi74ZbPEGx
6aUVonF8EuTCOFPwhpW74MIgZ3YjgwgZ4Ab2AB9gEQpOJaVs8E2+Db302ZNvxuDL59N2dgheF6FB
351KpO9fGaMPE630p1dNy58MNHPQaIiRrfKLC8/nTN//sBUBzM7BO/DsRdjip4gWiYyPQej+wb2W
j9oWSft7oAqY95Q7Rayqbb/JnMQ79cUqeETV5wJ0ac4PPvyEqUE1IVrkD3EoFB+ReTiorNRv7rV1
Pzr+Orm3vrqn+ip7Np3GEcf6j7bGk+YquEVt4NIPmNKtz8ZfnANyeRklOc4BTAwnByCd1bsYM62a
DoUHWQkN189X9+wuBZ8DkhXki7akk9iJZiNHQG7bpshlKS4Fkw5Bmc8HmffI8rNUgELoTGvCsGd2
0ZtYm7q3ZUkjeW3Jm4rN7nBNH35drzCBG1bFSVtDX3Xcdbc2L7DOz1VoORcsJ6A0kLpCe797bRxT
O6T22L07bz9cQ9Mhc8Kqwpki4Hpt/kA8GLcCSkQ/Pv/mM6ESzIKJ/wppSvkQnElujPA+sA5A1zGa
u4EKctKGghjc2tr/4ey8luNGlnX9RIiAN7cAGm3YTSdKpHSDkBt47/H054PW2bFIsDexNRejG00o
uwplsjJ/E3yfAwlBX6P9VtXdZtFtOcjezTYFoyUv5MEtri5hucGmkE/BlU9HzT91e/zLT/TSHPmg
P348ymvLh5zpf0Ktq6L4pgxoUbFlBa0BSlnkyo3aFdnW+rm2LV6HWR3dciMSZvz/6wcvE8ktHqLA
QW/TRtTEiW90L7zVPfjMl2hrOq+df/RxwaeQdnI5rVaQKsa+XImsIEMQDBtJyxTovHzbqFulmGvv
JcgyVEtFVQZpt76g4jmd+mZZq63X7dInJFme+/mmeOgPbM+dFDkKlp8X9IcKT7zZYtBfHSbLhVah
yLpVV4vGJzMQ0HVhvSrDLw1/sjSbAlsMrY0D59rTjGc+7wf+o1Kz7rxWhlmOUcaJI9yMHqJXbuz5
T8h8AspJ7gsvcsPPysb6uTq2VyGXVfzq+ClhlkhZyxWmYV3gDTLiVm1gVefa8tWNA2cr1PL3r0IJ
qEKVYSrx8PTTI65LN0GU3zaWJm1kiNdqCm+mcXVTVHFhRGPONDY72BC909VO9g0V7Gjf0nqiuBaf
kKH6eLcva+DdwUJyZkJ/MVRjXV1jFxZavMQUT9VtcqoPg6d6/WXz9S5fi6OJuIEvqCJ48m8n0ZTx
80YDgbXo+XsRDTzwS5gnSRxh7W+8J54/HtbVb/Yq+VwtjyQrrUCQKipBI2I1I7joabYnfeu5vhVm
tTQ6WIu1nDUsjdKykNAQlKeh9ksX/V/l08cjuvaMfZNPr5K2WTGRv5AZUnpsUVx3CoBnnSs5TWnX
n7cARdcGxvPSVDS4Fjx9Vp9rmnBbwihigX99QgHEbVWvU/zdx0O6lr3jSs6CYN0tOh9v18RgBOQv
2nJsdPV9KDOQpm/OgongJQxcF+2fjb7Gtd4VsJr/RlwupVdbOUVNoSdJBHJs9+60axxePYmD0gHI
ihgn7Y0BXp3FV+FWs9il48jDZCntWhA7ICI+9NGAMmeQbOziqznRq4GtZbS0QM6sKa7Bvuy6HVap
R+kpOVW/kSe7+MY+O+ZAMlvBzseN6tE18AgzSifL0C3kS9atG9T2pFyHTP2nXT6fF/+Os3Io9oKD
WfJejXbhbmvZXEtQXodcHZM076HRYQCMyAnc8lqKPlnG1vnxv6yU/45rtTYzvHfDcCIIbla3OGEc
UHPyJIfnNDWWbuPzbY1otSzDnCvcn9htmGhg+5glv5oQlcaPd9tWkNVibKqmTedqGZE5e/V8VKvG
/TjC9UlbXuNoTcDNWh/ykxQZCNYRIj6qmG7TGsYOEf2wXfRrOtf7zWr0tUsFwZIFKIeSk7KWLWuy
ENsBkVRVwxb7mHvZpaUknJ2LY3G/He7qBNKhpAkFxNdYv6vIsoy4zP88zAvNUUc02C3f2DgyriYB
yqsoy5hfHVHkAIgZLs9/uKvBY3CQDtFn6tu2+SJ6dBcOm5N4rVpE0xX1PfiF6Ncsw34VMERAMI5V
TuEkkURP1NP5IbWy/mDokXEoo0G5WBSLbrIazmuWh7+sIE+2TpFrH9ISIW+TQ6L0si4FK1nUAH7m
XK7dYadRIhgP/rl3FiCGcL91t137jq+Drc6P3DdmeVhSkcp/KZt7XjgbFZwrAQxZQ6AINgiMzT+f
+NWMCkMfa37PJ8S9fa/n2Cpb3sc7bfmJb7M26jYLypGFyPJftyWGUrQg0NaaTRfP04PneSLrxp2k
Fr58HOj9UN4GWq1GwW8tf1Io4JnlL0NZVNr/PgElgiFa0iLmhArJcoe+mqzKwqg7sHikGKb4uTRx
YBPEeT5BW/dtxKYSVC/kr2ZDb6mwqsePR/f+flZgONHBg5BBF2/dxFONtsp1DJapRs0u1tD2rCNU
F+z/OgqMT8ANi0oeZfTVaxM0Tqaje8Di1iWn1i8hNi8mEqofR3mfTC3rwCLBBnkL1Wv1pZqRdkHj
a5QNkxa7qFz9muBMiALW53qobpLE38IDXrn630ZcjWuqhkIYBPZRS1+l/oUpB1ZMp6BwrD/MhF7x
Im+rH3elmkdQKk4LOBBO1/qkaFECN9SJ02pwkPVesPWFk0C0eqi+gT0/WruOemJGp55yot7ag+T4
t/LWmkV16N0GlA20GxbRTBkmyLp9jkNnxrs+UUABd4Grc2Ugxu5Pnw29rfcggynvZ8NBr3MNmWZD
RHlv7I464L1ADfTTjJLVPwHg0aewLdUfyiBV37VUF2Mc0pg2SaAmmLd96Koq4GypDyMEHg2dgVYd
/tEwzueoM27j+KuvVuXFCJT+3tTS+JMvN/klVAHPyAEO44tJems8jVY978VpRHfMyNNjXGQTyJOg
Gr4n+OmcoI7C5PSHYcQbTAtZphq2ZqWY3kShH74oalHchvkU3Iejmo9QZLPKE7pE3zeYxdpxL2PE
4uPhYxVtvp+AiLohWgdUH82GZzKCH4JWycauT832UkgT/7iCW4udR1l10qwYw/uJBuwx9OP2s942
E25g05Rf0M5H3ddqUhQ6ZMz/0GzrUMwsLaX+amTD+NhgCOyEU4CAdymbcbPPTB29FnQu9wM2My4u
UqEXy1X0zbQC62YWu/w7bt6IXIgIu+Cy48/ifSPojpoZ3yfJKvFe0CHT/jSUGOUiLe8C5DFasf9Z
obWHzoYZoXY+1iJbWZARkLFDZEXcojFZh1OpfyoajBb8NuzvIvgQjc917X7yRf8YyoFLUVG30YH+
Gqf8tladssDB8wqzNEWpaST4PaYZfW7YaqvPmdtOmeKJODDsOyu2ql1Y+PFFcdTDMJm72frUGVpn
IaIpWhi5wpq7EcZxOHSJMgX840PgSrDvf1i9nCvOWJu4TzVB8F2qu+yT4I/WL2rEvldYdXyjkhjs
xGrSndCyQq/K5fgcdrru5jxn6RnB8P1exGV3CFNmz1YwGvmiTKm4r/xiftJLUXdjCs3ekJnyjTA1
ybepjfzGk1H/+6dGbNjRI95WeiindgONeV9ZmY9i95w2wSWoY2v2Zi0NUPSOlKFxA0zPsCaKBlyk
O1Gp8PbRsWG3Sq2ZbXxjkBRQ/axPkSdWJaLMmohGRGn2T8ooi9OXqTDDzunHmlGYufa1T1nXdRcg
ShhH2IvaHQ0vN0ZF+ZhWsWXjCkiHtpQGy51MPb5JCyt5FEK1daKqC7yiHXB06kzTyTuB1aeId2Eh
89FqWUSQe0jvx66MMMEY5uFFCRQNc0X06PaIx6cI5I2q8h1LZBx+tUT5wgZSRDDNYfNQCBLODxnW
CkmOvnY4JdVTVUW6AczJMO5bvxFwJc7n44CT2CWVxBHZET/Mvul9gby4nPTA4ig94B9qKccClZmT
WfbZHmEU4xCOSXRo9BGEpjXon4DhiDv0NrrFc0+5KUT/IZvk8mWCLLjPUlN6nMqsfWgMXNz0ysxP
c+7jxjWZ2aHBqfEuTBqEvfNBtBO0dJy5FgboWjiKuFlXxA+yhSt3UdXWDt1q+eB3hugK+Rwe48Qw
bKFuhjuUg9g0vthnsVvgAZsgbIibSKrp45mjfvqRlPrIOhna3TSjg6dkaIqLQq+gnZ+EOzlK5gP4
SHEfg5o9Jmaqfa0rYTyxpoY7uQeHquLx+xOBpsz3umpOPN752kUqFfgLshLViJ4Ao5hyC0kXRFLQ
TYFbt+9gH2d2r3TiA7ZUk+SEutU/Ii2Q/S6NRPvpm+3Xeuzi36MZVW7U5UV9GIOoeDBL04AGFKg3
WQgBPjHwi8PobfICM/R3QouKdUzbbS8E4iE3FcfEwUe0kkuBjhtGMpWyG8U0ffHT4Yc56uNTCwu7
tEFDUA0uRS3GZyQdf1lTb9wESYdkihr49/gkdgiDqh2aOj47s5mrl2pMw4NcYZidmn6Nwn1lGF/0
TMx+o0IxP8VD1l1MZHh+I4qjPzdm9K2zQulglEL8IwLP/1Ud0RZ2WqUp092EM0piz/1ofqpGX0Na
QRKVFkK/msQ7UxV6fWfOQ1m6UxiwGSUxyR4rXEEj/kereZmjZiq8QJlz/GJ4x85zd07A7KI43mFb
jn4JUJJBRpxYDV1TiSdHFlAxR5MWcTJd9FGtya1DiImIg8AQezIQGvxf4+SUolHvaiMaMTlm6pIj
M4OJnSZ6/13pA/OYm9WI9XgeHThXQ3VfKcEgekoZh8+4K4o5h+9Q3ptZ3eCI0ijKXs7lOrxEAyIe
uB+U4q0pJfqXQjYr/EkTYf4SaUPxFPhJvEdvpD4Rb1A8X5uqS84ZS+WyVw4xekS301jItobmDt3L
rpZwj87lcx5F0ScOwRCxX0XwzyWGuWfV4FyqxJDDo5yVeMH+FoZbTybOz6oeIk8xxUjyi0KM60ne
GNnXrl5MzpsoMqUbczCmm6A2BOkJZXt8tLhOql9z2iv5vu+75EVH/h0HViHP+YSVlcSnKLBwZmuR
++FOnCZnon4zYPRahbyvJCOeOY6rz/NkVsc0Q6KvhsJnJM0BMxv1H9KU9ISElbbP0cC1wxC5jRLR
gNKuEKtC7rjNhnNeRdNz2kyYx9p5UsTmtwHBci82okw753qWDId06n7h5jj8FsKm/1qHc1jYo6iX
92mnx6D6ecX8E4xCeinmJoYuxiS+tE2uHNt5wtDF6NPiW1LOXXtBj3zxg5cCfHhR8kVSWVTh/tlQ
l7htEzlTZnuOkaftM7W8x0hkbm2saPvsPu7aQDrF7N+zHhr+jy7XDLQ9YuMLgq3qN40l8jIg/WQb
U6mcAsPET6QSseiqM0PHNDWkqVGrmOYZ3DCu2I7RA5NfY9+AmQOnl7kbsrCu7KXed/KjuotsGi+V
tevZXZozWkYIm9wa2jssW3E3xK2xb+02g4Ria1Y6fhkrvFjKNvGxi4y1f/q6UkwHuwNtP8UmRrIM
NogRWmmVH0rbxHBDkmy6bYF3dOhpIaOw47DX8VYdhuKXVbe/gkJJUF2afe17hd91fTKGUXtUA8wZ
Qj1VjkonlTkERqs/yqnAyd1quXyQMy4uNPOGtvIQWO/kI1gmcULpao76Zz9OhyNCOeKTKdXNA9QJ
SJ5KIlK2xdF+ri95iSOi50uq9K3G2Kc/iTW+hN9G2M3dbZQNYQ6YFc/xW4y85NRNVfTyvguUR/1z
nBXRr0aPf0izEtrD2HI2dDKeBiGAc0Oci/sMVwM3DyUJbGXT5r5D3qiqDtlgUHh6psmu0fYUPdMk
h5fUWsgKsm9EiDTJ4Lsgr6n/S5UcnMUmU/+B0YpnLnaj1SkIh0jz6lxB0mRSLVwkFVA5iKgjdTRq
y08T2YOtQpXdmjF0bw05dkHXWHfmgCFXE5dYrokCZwK3gAt9KfoEnjZCaNrAY9wqDcfAQM5O4zH/
GqY0pyIkrc+p2M8nTa6awEsjs/ZUXOAOOkiM3+mkDaWtlL2AzBiOjzXeYecE5FNUPGtDNrulBFQ9
R/4uZAMIw6UNk+GsxzH2v1qA5qaArHkaXXSuVk1r4RvrCY3iiX03h51yjkFwkvpG064wI/+etR6f
kgQ3cntUK7bQ1GT11wFYEQ4vpXSaU1aKLaJd6kyWMXuxngs/hDiuvNwfeIbpcijeaXWtOZqSxrdS
1Vrn0eirQyMkNiABoMWaMKNIr4UF6ZOJHjqPA/Mhk3FeyxjqM0UpniioWp2mMMxvZtDQv5q4Gk6K
6QtHtUYYKPeJZ/pZdxvGEl6l46wdM3koSF5K9JMrrTTOfWYZPp7dMfZDRqurpygOwoRiZ1zWTGdi
Pidhrdg5TpsnrNe0A7lar3HbiYHllPlcnTBDCV94ejSxh0YSCMy2PhqVNN34NYZZeSX1WAAWZfip
EPUMoffQ2DeDlj/mSqVeEjENbkmllJdp7gXdpjZU/tDnvN23WW7hEF3FCp62pYDmEkK8MBuoovbH
dtKlf2JTxpZAqbKmtXs15GnCUpNCG00tcVeqgmWHRhadA7XuHsRWwASvMcp9jVrknT4k2qUjrSlR
4dHjY+lnmEtjeHOoGlnEZ3BEtTMJp9oZp8p6xHIdvyQ/Gm7lrgh+9xhm4nM7Yxcu4ipxwbLYf5lH
TARa9avSx/cckizkmwIZOrU6Rbnutb5XDsPXblbSnRJdplrLj8EU+B6V5cTrMM516QVLBULxaSth
w4Dfa2B26DFhjMQa88mVkWCM7mWj9m87ZSzlBw139ofZ70fVEZOquhX7SPliJlxWbTW36KyFCDeK
YlVYvPYb/R5V33l08hyXpZ+SEoa+0+ZD3toolEbpfhp7apYNEBtDsOViCspTLFiCdWagSo7P9mw8
SYGJ3mkXGGp5k6IvCC40Rf1tz5FmtHcgA+gLWRwB8kXWw1jelbMe6o8R4iShE2HnOXlzGSKL1hbJ
gEW0nIzTDtXbrtrLNc6q4HUpju99uVSGbxYOffJeSPxQPsYpyLFjOCPI5klhNGgeWmLBgEVAOnyn
+N/i0qqaRuGaoj+zgUZIIuahUAUFP6M000C1+HPlqApgwouYytUlnUMsgj8uJb2vLsqGivqdBLqd
2oa66n2YTdiZWU5Jbuj933GSBC52EqGtcWpzRI4bdOdrpZTX0VbNj1Zo8EleIM/D4sA8/DKH2JPZ
Wx+PaSvKqvsxkg1ohVAuSMT4Hgftfa7oFznYqk9dA3y8nru1qFGp9RbuxIxGo8NocK/Y1rMaOCrV
5gtveRd2V2h3T/XDZJz+D2Dd68NEfUijnb/I9Lytpo6ZVNRU5RZsFCpEnZsEWDyekj0iwV6Le7fT
Iw2BVsvtv2hhMe7/Bl6VHzOrr7M4Wcadx7qtoCK8n9kQ/2qt/DfKquQY+kPdl7yiefvskrq9I1+G
nbZRFX5f82b5o+GE0JmKKcN6Dn1Dn32ua3qpWXNC1n0c1K1+x7UQYMhoDYPARAJltcOy1G/HOOcz
DQ7SqQ5OzePvnhajsC+8rHm23PKyVR++BtKhdQXl0ORmeS8+pHB4CVpKM7qlx5J/lT8vtBHBKc7B
UXLwakVp9LC1Ha6dJK9jLn//qrg/+bAac52pHKsHPErtWfzZyI9Nt6Vpca1r9mZwqwkVkyDCD4DB
iadFbyIGaEXKDSaQhzE1jV35eatvtjW01bHVj8HgD4sF4Fj796IV3ohSTjVKsjVemX9/dr2exdXZ
xXM51mIh0mxB54YUvpQNrj/9xqF/ZUkuvBPEUugd0KlYnRzoFCK/qvlsreosx4IdmoL7t8Og06Nw
NFnQ7N4TwtqoTxWZSx6wceksoola+tz2W2D+9+OgQUA7hzC8n96J0hil0ht9JiFSlovz7YwD3WMc
YHL48Vje7yYdCa8F2Ac9FoyMupouNaMmQSVhwWqBD0Cl4IzWKmoBwW/zzLPNJUuDLfi332gVdHXI
TjJ653GvL52kxK5wWMjFbx+Pa9knbxqLqwirA3aoefY2UKFsER/5EEl2Xdqp061p/sqrrSvj3Q5a
YtGq4pA1sSf6c5W+OhyyyNSSHG9NO0k/odDqNIXipJbEM21jUFuBVvsna3OsEDOu4Loxz5hIuIEe
vwiIZjx/PHnvUTjLiHBPgZIDns54h4O0BBDwDR2xcjH/mhRsosNDEt2Rlx5kMd1LKvZpk3Qknd+1
grULVPwlA2OXWuVBABke4Gdjf/yblrG9+6BgpJHSWJyu1pAMnlBg0VS2wwKWRrt/v+D75MPW7XJt
ivGOWRSL8BNBHfDtQV+nVCWLhewxz7G3dFLF7JtF4a0Ot2xAtiIt+//VqlFHxJ8xukcgSeQNYGDr
lOMPXxr0ujaSDena3L0e1JJsvQqF9tqiCsXchcfyOOHj60Q74Ra9A8WjbrAz4Q5Mro+D5l1q7aiJ
bSHdlytk/e3AZDCheByxUVaXGp6cxaAYPLJlyp/6dMnm76P+jYNnFwW3NP02Tpf3l+jCGMADEN4V
ovTvgPVxLvdNB5LZnn9232lROL7b2toDPKVDvQ/cLQjvu5N6CYezFmovHKQght5Ob6XIYT/SzeaN
HnRf57ptKbvIW7zua1HwisG2x8Dnw1wn5LJYyaYa8BE7Ohgn0rrgRsTNc+M+WJbC6lNhUKQbS9ZI
kHVbuk7DMk06pm6ID9r0JVC+6Fs+Ie9DLBuLy4YT0wDwtJquWNQiVOlBlUQ9Smvdp8TH/LzfYku+
X3OQtVGBtxCHVdFkWBF2zLrNFv9EssTyQTNn16JGraRUnTg+E1m8mTYpr+/HtQh666jBkm5jL7E6
Osa5HItJZFwJ4AUzSB0tEPAxDTcOwvfr4G2Y1bkh9WbFD2Bgad7fx3H2grHB/uOzdvkCbxfB2xDL
SF+dF1IxNGKqM5Ix0pwkfm6yH1lJwZxqJW71H8e6cte8Dback6+CWQM65+IybcOp7vb503I40VZ5
ip+Tc3X2bfj2+nPgbekjvT9+SawWkw1uObhFxmqMmRpWpRg1oPqwmYy6xAu03k0kxR3jDdj9+w+G
0RO4dPBgBvrEa3FIDMyjpZmh23K7NEeElMJwmG6c8e+PeIIAO4KBzK5CuvftLAZDnZcVSiy2Kvgo
8rDedXXXyHRM2vSXX8WutJhGyManj7/e1bG9CruaxbIO+6gJCDtQ3xaGkFbulmzGH57O29X4dmir
BVKTs0b9WHG8WpeIS2QWyuNchY5qzQ4SuJcspYGNyLk4St6/GB3ULPx8sZYC2/V2UtWEslg2zJqt
tYY7174LBuDjCGs/NviEDI47ark34Oau/djykVZ9Xuga6bfkSU+kAOpn9aQ6uWceU3t0umPm9qmN
ANKudsITmJJ0v3VUXtkKi9ozbxoOY0q0q6NSMyu/seqMbM+cyn2oYyWiNI3m1krf7kJD2mIQX7mf
UWHndUMmsCR02uoG6HpFS9Ie+bGCvRCH4h7MCO241DUjKFOGfKfT7LGDSvakTP88gMXG1NPFoW1j
9v+XH6LhwcDBDQJqtbTETmrrMEt1ksrme28dMQ47GM7k5dXt/42EfmW/IEGgMWyYKpRkVtsUa5cO
bwL2SyRepqazh2TrMfKeXoG45+sQqy2ZRYoY+T2LNu2KXnb8uPxeDJb0Q++ntrOtWMbML3UawPTx
uUx+DrG8aT/yDom7+gmraW0pBUe9toge9ZY9d/rNFGL9C15KFwQnl7hJ+l9BzxU8b9yNV07BN2Nf
Lax6btUKqAobVsz1szZL+DxmZnjoZAMoTWaaxygMbus8aR2uhvCwsZmvjhvLZ/g6UEnfEVbnEU/7
cGRdo20yeam1l7r9Ivln7ZJzcpwKOzWd8R/9JX3Mfins54VX+vFPeL++gH+CApU1XK0QVlhNgCw2
YwJLGWiRHtzGYbufk3Rjjq+GoPpGogPBxBBXITqwRt3ol7AWIiorooWzk+r70sZA3p9JOgfSQvtf
ahPiOqfWatrDam5qNjblvFqSQPOGXsP2Vh1rN6/HeSPee8g/Ev6vA67KYHLRzw1uFdxkCGIDorWD
E91kCDWyi/XJ8a8/kyUCtkScSTZhDSlvL5Z89mUBWDoPsuCGo8lNw2ojrXqf/jKcJe/Ar0ynMb06
BcY8kQwL5xu7axPdGzPtIkTZc4rxXCecKrHxSiBp3sejuhqTFEcFuUr+u3479LiOGeMQklKZAhJa
hUNf8s7oQ1seZRhRvHKF3x9HvLZKUN1WmEKDDbdO8iWji7TUUoCPp2K+80MxP47GbD76QyJ7QRsK
G1nW1VVCVQ6OKFtM/o8D4qtkNReMMfJlssaojCgN3CdjsKNDRzEEPqry2Oq7eaAsPcm7NKJBIdX7
jwf8fop5Y0o8azExga/+J514FR/5tTaS85w0L+lSzwib4jCDxfykdd2AAWKlOWWUZ0CRYt/9OPL7
bU9khFMWgLkOz3JVJ2yCWZIntiA8JUn4kiZiFgGzUdOXj8O8/6JLGLJldIoWTYdVyjUb9eB3skDT
qRt+trqQ7QWjua8CMdwNrTRvaCpcSQAIx/KRoOCjTP/n71/PJ4qMNYgh3R5/9m50SL2F+V/vhMuE
cGfkbWnBXI+H96CMVQnKGOsFC5qmnc1yyZdP7VnezfCKGtc/TB5Izp3vSBvnzNXZfBVu9dHMWfBz
ULnMZlWfAqpZbR0dlArUU7+xE9+D6HVm8lUo+e2RRjlrRDKPJFK9gHlxhn308B8VBfNlURLLnc25
vD44rjuKCZxy67vON+KaBgAR/c9WZ5fH0gtdBWnZOwzEgqdFwCyGLFj8iH58vESv7QToHVAg+GNx
kXk70qksJkMgAwPE29RPStHFhxY7ycPHUa4U5pfk+L9hVhOKWhdSRgpbHbs9adinR82jYve5l7Ha
QPDfnjBjmQ5Thh3MX9/wbyOvbictEqNC6oksj51jYW2r5xu7/M+T4u2b7m2IZY5f7bupT/qmEgmR
2H629/dQ3vaGEy57T/byXWm3vH1KO3AA8LvdYUvv8drSUSwsFcnUZHBcq1OGdouFDh2vLtMYU1sq
jZcpzHECHfTfdRz9/aXBYP8bbf2+6hJrFETwpbZ/kTxWqYfpGhRM2UYTYntbLMtvPbXc+cDw8UTm
WFvG/mpq6zRuerQJl0K5+s+wN4/Svjgqjn4D3mgraVpyvY9irXJBCTSZ32TEkj51obNsQTgChTs+
ls+tPTvLm7W8CEcRtP3GybZ8oY8iLxflq1H6IPXKP5FjSORLO6DzwkPmGRthljTpozCrhSJLGW7A
6BuBMA14VajVcznPi8nvxvF57Ux59dHW9wKy1U2UmqRrAc0ACDvgArZW4ca3esf0SZMRJ0G+VbWb
PfITLxLgJrapi/vnokNeIHqMuydYpdxrt5iEG/O4Fg2b6xj8k8m1LopUx01ZCB/gW/dOnVCu2jg4
N5bGmkxb6KEa4mbJK+zU7ZZeUdw46JAatyp9DtVLMzs+hRjvjG7rVc/G08fht6KvTjbgVF3dJkSP
jwvn9T99qm0O79aELn//av2nUWg10vI1/eqL0H9TRkCvWzfQ9UVJ7Uv6wylUVnsMELvc5hLJijo5
jeZpL0tf2HcjxwJ9JO3jR5y7b/6+GAV7EvqkAZkRXRdxVYzqYjloy56gVodd+6zowUFV52+FNoJR
pTTlfvy5rs7jq3Cry1zolKiCS8YJZrV2MQsYQX+emq3ezXs0FdkRPs7YHFCcQcVmdSjrwJhxXSSM
ihh+6s4/cjd2k722D44ZME/0L6xT5k2NMxWu/vnvh2jxFaF1owf8rsPf+ZY5qjKY9MCcf8kC1TQI
6L8kcasEfWUqKabjUQGZj1RQX618fYjLKgRqbEsU3Z1w1DVwWll6k5WFsJW3X1maJrUBgmHiSH1g
dS4ngVBAzRggvN4J3uD8R6on+gzeHWQfipgt79yN7XBlY8PVBFqC2R/VjzVVOVY7IwMXTkMJVHnQ
1fu2zG5Nyj1OWrchbEL1gmjbT0yYv3z8/f7UOlaXEFUtapTkuMgSaauJ7XIpCsyC/KF9MexF9k26
Kb3xKWYvVq5R27CAClrh1v2WCui1pB4jYbjZvDiRCVsfpUJcJ/A6cYjAAOmfTLfRa2+c2DPddtem
J5xX3WhTIfjKMqIwgifuMl6W0mpHGgjJ96mvKbbSFne4f9zIA5UzWDxfP57Wa3EoQVOFofKuUgB/
e4LOuZ7CS4LXmnaSPZfSpewVB2x3tZFNX3vzYdiF8oWicZSScL4NBMmkR7DCUtj71EFmeKnY3uMz
V7kNFtLg1N1t17MrCe6bmKsUfhonLS16SjGhAI0L2j4UhSM0Qle1/s00LpAMqp50uNbUc/iWQlgD
lLKVePgsyz1M2cHJ5Pr7x1/ryoa3kP76nzBr2WijL3Vce4GOVXJ2NyoyqHhxA8x4PYQO9IMO7kKJ
fvudyrS0SqXjO6WT4mpZBUs520qYrxwigCUh+FEdA8SyLmsmoJFTgwMUGUnaPWfpIOtnAY0sRPDC
2/K7v+wosLZOeNG+Rv9I3e7jWby65pEXRSmOhyvP9bdDHBq/LYxegfZbwXvQ74r2a6fN7sdBrr1c
KWuqmOwincgTZPUq8OHDDgqMAjCM/TEoHWyP98uRkd7Wt/HNeBEPwV21cSNcG5mCAQEvZp0/18vQ
7OOxjCJ2s9Cb+lmpevM3pKAUa8N23LgIrobicYVwooJMwVopqExGFJ8XJFLfuM3nfLA+lW38/PEc
XknWUaKkokIFAxDSWmohMvR06CRBsQXskNJCQ0QFUntveXV4xLpx44i6OiKqXyj80RQ31iJZWaEU
k5At0cbWKbMMOoB0KJIt3OSVVj/ILWr5KGCgz02x6O3yE7oM/p7VscPOqNwcxV2yC72cCjjaVYNn
vsCrcVD63JK7vHoCU6zhpU9iAgBpdQL3QtfGSTdwRmWB/pvcYcIS20itH7IgCk7ZibTMRam228SK
7/I8qEkigjJ6VOoE2k8qZ8ap8sst5chr31hf8En0QRWuuvVsIFygjBS37TGleR7UypOM4xZ2td/1
GiX4hT318aK6dsC9DrhKQhF6KMKobJl+fXa7xoRnsuVyc20l0StfZDuAVICKfPuF8axXfTlvFLua
c7sQS1wSRmCyW2DAq1/0dZxlqK+eP4gVt7MogqnovWhGaGc5YNiNka1S+0M+fNtk6erIdPw0lqqf
TDL2NuIYCPCJtFmx/UL/HUEOq6rOt2eLFuPHX+lqIAABdG3+wPdXry45i+QkKVCqCfWpP0L8XlAO
uXKeR/rF/yKURRma5r/0HplimpB2cOtiTErynGsVcnVN+VDCo/77ONxq0mIIf6UrqU9WO3Xo0dpt
Z5iHLlVmz2/a6Tzp9cu/icTKA1mwNCdXe2pWjHZQLNYfCm9nMPs/ES+4TSGhfhzmWnoFlFFbEBNX
upMp7/s4r3hS1d3wFKXVI2jmU8I+t5Nx3kiwruBfDKwgQbJxo1p49a72VDRGTVGECMyarZUljlxa
/WeEka1jXKrdJ/jt6T6QhOhk1Fr2KSrlVnZYXsJWWWUJs3qFcJ1bdH+4jhBkXuXL3WSKWdfry1vA
fPD3jZ261m3j9Sh6lqdt/7pr2wCfUnm5LJDTWn/J3JRSlg2jDmv1UTfJ0a02PuZ90v6LTcCoOKvA
vqDPsppeOZ0kSMikymNW31poOEFxlEOnF+pqY9WQ5V2ZQ3JkaZFFw39cld8eIm1t5W3RaeRfpYxI
TmMGUufWlGtrO5+79HehZv5JqOL+biib/nGo0sHxE988wzszzrIWIwYtFTGAazMbC3CMjdTsdCWr
RH60KRySxJy/gNpRKlvAT+xWY+XYkp9Jh8mQxeeiUcESFYIBCzGXZqoNsTB9B4bZWwcRVYIMUpli
7mLoACeYs180JY+OpWaYNj5a89NgTsUhVcXCTbXUS9P2rtN138GXXgn+H2dn1iO3sUTpX0SA+/JK
sqq6epXcWv1CyLLMfd/56+dLGXPdxeIUR/LFBWwIUFQmMyNjOXGOazrT8FjrlY2K9GKnL3FUA3/U
x5I4EKqB4ROPTVAzAGpPfwx2HJ5hEKg+Z4Y8Mww42cE7BcahA8QBPL5Zl4ydG+dKpR/SaFneJ1I2
eFA2aMwXVeE3QhTzQ6rQFYErqHOVrEejknr4l6UaZwZe0RBGkS/6HsyO1t4P49B/1DvZ+SbpYXKO
BrXJISfpl1co96ynNKqLzO2TKH2c9XqeSKej+D5WeX4hAGEmvCxqrwgV9Q9bmebT3M/lX0nKrHcH
gukkFXH2PKVG8aNiJuRdCZ3KMWygp7BSpflR18g8VuaEREcbO14XhjUUXYJeCXKKr7DzmZ5Sy8sh
aQxm0OEdMAKvpNUK919kp6/m1MU73uT6WpF2wBLG86IJDNbq4Rw6JeooXzPvbPlF3h0q6dMY7RIA
X0cal1ZWblh1SjPXJMJW+b59liofCAyyPqNv55SZ6XqcstOeS75eGMUgIZ0gEm3kdVbvcxXPQR5G
tuYKQsc/g0nVzrzSVNzCsS7Pt93/li1mEnmfZQGvsFdPNEwZ+cIgO6/MGB3gx/HyRfK1eect23D8
tkxOg/cHHQiGeZWQlnpoQx3VkfMiS/GtgqrIryo7S4CPKtEp1ioinybSPYUKCRRL0fc6ipY9QPi1
y+JH0O/nyPCCg/m5dFnWADtglobUKRgX9jrw2l2V3sdVO7ntaN4b3aDvuUnxV16+NNQRKbFRsaRe
itVLk+EYZrYMxe1PKM5wnj8K+TKTflLyoN7tY6Y26mvCHkNWoOtBVqxfttJqY1iPejRZz9LL4pvx
U/0MM9ldfoo9+RgyowZvJaQ7H9Lj3rjJxmgGtkUNUxRNGcFY3ZS4MpQlHyxYA1+HR+cvhuXHP+an
6Kg9286n1KNbc84OSfiaS541HmJ/b7Bx6ygL3RFKkyrg4fWMKGxZ2mJHJoCW0fRz47msu/MS76GR
tq2gUgh2hcBsPbzD9HjTmh1WgjF/KbLkYWigvcl+y4x4W0VVWEx9Xx4cmZcsMAzQHP3ALGiTf68g
Q/Mafc+/bS4HPRpSt58Fh9UBlaw5t7l9mluO8CrlEJYsmfQiZNRv+5lrN8rheGNnFS5kUZSAW2Xb
ktYoYFYL6dVFv/wgYAPsm+oQ3emUNC73TEmjwCrmgU+TwdmgHNTp7yHakwTeciJCCQb+QM7ZVU3X
TBOmzPAUDGN8rcNXCX0CcyFZg2oxUPcCus1de2NstWtpBqV9BFmVy2veHZVAK71JhU7n9rcRPv7K
Sdm6QiUDiQkI7i73bciDeFLgZXNz2NfcagaIEWvzj8EwTl3fn+G+em4na09q7Drx4Gu9sbpyF3mc
Q5LT4C4QpHlyjPlcVefMZMSxMoydhvHmIRf0stRCwSutvWIfLQo3gKJJnZvnQf/TnGs/GLtfLrqy
oP+srEU6HBvWLrmQQLm0knlO4d1Ai8vODrc/1gZuj0WIHJfom1bcOoeCSVSdZo19EzPjMgxQRxSS
vfKc/6183K8VbJ0N3i0gggQIIDBXhZa6bovQTqnsDM6g0bWcZuoStIfs7iHTu5EJhuyD1jLYvbPK
jdMhBKpYIuXda52MSEVmrHNmzY3/KR4nf/ENOJe1xhtkT4XjxafJf8xOQevqe7dh47C8tbweTrOD
ukv0Qax4DnrPyMbiTs4zxQ2N0Pz14OvC1Mr5gjcZa7meNKDsbfSn2Sym20Rd8gmqtXe393PDkVxY
WjkS+NMGWhJYiidE8GC2QaB475OJGG7lRi5srNxvItVBMtvYyM71c8Gp/L54zXN32tWt2DwbVCsc
mt1Af9dV67kJtSBcxp/YdOAfTAbM34A7nsJ7oVQz+trHCpn2XZ7bjatgKLYulAup/FyNfkoVvf54
5Eg2uQHV1b1qT99nXQYtm+tHWsnPyAHteOaNMjMNDttiFPtnGLkeuKrLeZBSE5tipga2s/wQ3o89
8aOgvUdV9DU6yO4ejcLWDSCQo/JJyE6XX/z5m4pktNRTqY0kVmH3WDQ8c8WxV5zXXz+RXG/INTV6
VMY6GIeJb+mDIqeQDfEtM+7uPO94/a0z/9bC6llLjUTJnIzqI8yhiSstr2ZW7fopcUXXh17Icai0
AphTWPcbVOgs51yQDgtumeHcA99irMsbz/s4ma31vDG1dkwpkpmKNGJq4NMk9Y9m2omf9gys3NE8
d0lW/Ex12zz4FpYlM1vQPL2//eE3OvGEGf9t2bqJPEejqact6xCyuYn6nDp+Rh8efoMj1YJ6PJXa
Yf/2bgwT2SiEMSdJjGgRHTqXpzrIltQO0/r/fqn2NNxlfKn+rN7teaitjYSHER54ICpAW1cJPGQ1
Q2onJOxy6US+0hixmwxl4d/eyE0rvP9kPPS56BVeLqibpxEmS0J3mLGgZ3XgodUXZ+eJ2jZC1RJ8
AW/xunZZRp2mgGKirr60T/aIg4UJ8/Y6tooDoDJ45hWkDigPr/zN7BR5XIhKdwZ1phukEpLUOiW8
z4GVMsIPtGH0YwvKzEUpSSqrOvygIoaz03bdOpd4Wb4aPR96veswWEa/rgl6Uq4huI8/VWehMBIc
Q+su+TYd/pWQ3utabOzuhcnVyq2pjfVswWTkROexiI6ZvbOqTQsiXGTqk3xlHfrSJE1iawGD1pTZ
GUWul97QdhR8Np4LGq5kw8IF0pNcvfuFXjU04imrmEphHIhitKdeD6l0OrD33j4qG6YuTsoqGh2o
4LRtIKMV1CdPTTKdirn7zqjO3W0zG21/WgNsGtgCXnoi7curJWp+QU2NDu2LmTTST+BF9uEO9frH
xm1fK0jvXiT/N06DEOwhKWLg7bobH1q8I5DMqe4ovYsZparV4HR7YcIlrF4rMV3EUeBlV6EWulzX
2GZoSAV8qtEJ9Y9LP1E81W1o2Zc5f9+3SfxpaWdgtOhM3XUyvvK2+Y3Ph02qJpwV/NbPbX8TWChm
VQWzDvrLaUK43pe5deEclo4UlHcsbYSIFoRJhIfi+101z6ywVZsi4p2cYMCnCt+b1n1QpY3fU0H3
0zhMpR2LG9EhHUH6xaSATPv8fH7erC1uYwonCn00tao0OFaqBzuc/17k5jWd29ex66mgG3ttmK0N
dRDpoLpO4gls6fJ7Lkvb1k3EQ4OkoNcoHyvrpYTZ4PZX2zg0F05qZaSrpqaXFL5aVtgDFLmm4haR
VJ5ivfHVDr3r2Lmz1e5BqP/tbOrPuvDlgRX8OMw02YSIMF+sQhLYG8ndE77jQ5gBkFQ9Xp/IS/zc
U8/i/aaUetAfY0bKhQqPf3vh15/00rh6ubvyhDpYJ1O0LgKl98bctLxcSRmHQ0wxl1/7xeigWgh+
/cW1gSky8SAUUK5e3HFxpKWSGAS0u0z5QBmq/+IE7efbS9v6pgqMXxBy8TcgTHu5tCKLpMmMALgS
OyDWoVtM5VjZU5/ry8Oc9f/AOmvfxf0S+HYa78FPt94kkKc/KVPEgO/qo9ZN3PdtS7MsTFAKmZLZ
eXDmfPmN3AlcmCz4DtBuppR6uUbZGSJ6i9BLRo/Dd9hgE684C/0r69kOjvNX5aQeq3vYbHe6yxuu
58Ls6o0yRrk0uoz5AJQcZjhcgbRyfN6hw/VYSrje2x9yay/FbCH9e5pFkBJdLtLKjK6SHQH9NLUX
Kew/OIW58xpuOBkedbJQKoQy/fLVPlZMZcITW3MgW5iea00+IAdYeXrUlDuL2WpfMIsmeIdAeWNx
9e7CuVUVicBCi3RX88vTEh3lkaYqE1XzEQIXf4a22fRgJAo7N7d27G+tlMwAcAO4ScLR1WYGdVTW
UoL5pVg+FTXzaMoPkHe/ccGpIihiT0VfdLWf9qzOaQKZhmslcv7SKMX0XurRF7h9MLZuONgRleOv
0KZYj/bZSwu5zuJA/jk+TG33UKAUldY2KKaYAeb7OXk/zTuZ3db2EZ7ZdC/BlF+3RoZo1GMwqW5q
6eOTlUvZsanj9qPT9q+3F7d1x5ip1cCuE8hcwTJbp4gKaWLGqKmb8gHGmOCYMm70rlps6dDEuboT
RW8UXXkKOI+EhCJBWWMyR03hWme8Q4J2TFBr2I9gmVzDiw6Ft9fI2rb2v1fvOvxEtWUYE7Ct4731
Pb6rUW4kkpldDThYfNxrN/881v/vR9Z2xDv4JnQx87YOWxEs9V783JxzkIz6u+D4b8MujH5dghPX
/9+jDnry0l4wmUUyp9iL9a959PdCAy03Yu9Xj8hbI8Rkl0YWB1idUlKNR2753nHOZvfVmStvcfYw
tFuFBQZYGTTBYYF1W99nKdXhhIc3+qfquvlJDEoZJ+m+fdkXpdy6YW9Nrd6W0Q5RbJooaTVD9t2o
st7N9eGjyUTOjvfYauZeLGrlifOwb+dRuMLRG3z9UwW/S+2G7y3QMeVR8gZvOpS+3nqwtuW2G6de
/LJ3DTYvueAvFLABiLVWX7AtkrJoTH4CPA3fcntAeDxtyvsxscazpSx/3T4vW1UIkr7/zK2jkqxo
tM7AXHIu/+ipDok6Xvluv369ty718mRG05RU+pLxZI9Sdhiq/A/J7h9MmM1dMD47MexWKktqQFuU
V43W1/odcCB7zwKZAkD8ife6rr2x9hQf0kSyWWm5k2ZKybkfHfa+3oYT444LWmPRJYV9c3WCliYE
SRiTm3R+myFDV5/QjngaGM8cTtJu839jUx2IS4kdqLQTP698iqQGeV0GUAVVdfJBKpofkdZ9DxsC
aCf+9XiIgRRFscTAPP9fmZqY+O7bEJSdPSqnvgTFAXqeGHvny21EdiR0DEvB9g6tw9oMMUplEZNR
7s2i1yRS3tPE2XnWtjYNdh2oukiWr7Vaq2GJ46UmwXHG5CmSIT2NPofJ96bZq2yIb335woD7eWNI
rPXNC5PUfB/0yzQ3NPvPo/XYILfIqOYRoKCXyrs0a+IG3TK3irCqaUICECp213y/EEZyyr3+2D7+
Lpr6cm1ik9+sranHrmEkCm8RAK3XD5py7lBFuu2dVBF6Xi3JBFwDw58oKq8OnSzhCVsZzz9Ca9w5
LlIn99ULgxRn6WNFoPoeSWl4mXzRFU0QQzmqp/Y+OUWn279j68TAxMNIPmGXyo27XGwW2kmwdAYd
y/LJzjo37QdKOHxX9dezKNpPXDGonG2I3FafMEFTZMnnkB5fqKBv2E6fGJ37MMfmhOweJ/b2sjZC
IODAwKWoGGlE5Gu4zSDnigRVuRhsi+8mlQqDAOFPh/E8v+p/Zd7ehdi63GK4h4k9xjAZMLrcRwC8
nSI1vAFxkb1zauvkaNIOw/JGrOAA6KMyK+BnV5VfqD00q2Iu0ZU6Q33R0yU9FaOlvhLH/jqhjoi1
aIIR9f/sGl6uxlKCPg9FQDcEH4WkoAM85vYH2loMMQDjQwZjRNdM6E6dW/RuuGTLu6UyD5GO5lCx
BxDcs7J6mZFN03oESejbTC85TnCpEmBef99eys+ju77K9BfYK7Ta6Hqs4ppunhtlyTjDlLTK+VAR
cCfHqTpEryLmAJ3oZ3fDAXWId3bixp7gnuhOKg3fj+lf5c5bttVgFs2O//2Yq6gHOUpJw6+IjDvy
tIcicqfP9rk5DIf479BLDlRqAQTt0ZZsXYC3dldbTeVHiUsRyaoZGEw4WtVHhlidneVtWaHnJ/jM
lY0BXEfNlhYQneYuTd+9m7TadMOiNf+6/UW3jg11exJeYDK0/FaXWZUD07EL6llOOORPKcVvJnna
/FAUavXxtqkNR0UqQ2UQ/AEVNNLRy6tWGshshpNKt/kY3oF2Ln80D4PXPiLyl3ooqHh7YICNthhl
V0RnaNWLCGsdxwURqjddx+raw+SLyDEFVs/k74N2gtvG6z46ur/sVdOvt1QYRdBdAO14AcSfv3lU
lbHt1KClt6mWAQW8qPpTR2ASfqBQ8Xd2VGS3l9cRU/BlskRAVVfyLHJgWWOl4LHaQ3ACX3GQFlct
juPw1HEZkUs6Ok/qUbyrdfeuiHdCsI34/NL86iJUNp0gQ1xAodjMNLU/PRbH9FT7xqk9N172fh/T
dX0rHNw0Z5UKF/HrVUow2A5ky2KGKTCiO3OoJk8ylj0Ohc2VaaZKDPtzzMZeJQBFhnCTqCq6UfvT
yQVfY+R2KGr4ysF+mX3RUt0jubmOT5gBe2NTfOw356YIGNjTdDEGlqX+EH+Nh9rLltzj9u8cm+uA
DEuMYDKuAhCJ8H5lKVOjcsxIF4s6GL5nTYzuZBi0fplo/TdraYzvI3KonUd5zv6iMwzyQr+++VuO
FCStpiT/ZJNwHm//qI1bQ/eJpxjGJFoHV4iAKUuMSOiY5fTJA2Xwwr5C5e7TbSsbbwbzW1wXkZaL
KuYqCHTsNLNKQZsZPU5H7Zgfyo+Sgsy4KAuIj9syeftknbW/b9vdXB3+laqfYLhbJ0S2BItmFmJW
7WXtlSmg9KsTD0hrxkrX78S54uutncLbr7s+R00e45cIbBfkAe9MJYy9DoVFd0jj7/rS9d6klH/c
Xt72fXlzolbPyDQ5OtLfYPdRyPO7s/RdP5Q/h02sk3Fv4oH2k/Qt30fhCmotUfS+mv9OdJr1pBzE
74nudQPK4Y7tx7qKhCAUze07R9+5Nj/zlKuNfWNRXOA3F7QZo1jqF1TTYrmInh2rn086tBGaMbZu
NFLRjUqzRqsTTJ1X2k7+orRF/2ibc/8tahv1XIZSc5LIvHNXdxImnDpH/UuWItjBdcgGYjLLl37W
u+eqjqMfcdTOvh4MDAPAHWi7dimhAN6YVj55Wuc0dzHiTJ4TLWPr3f6aG4dVhoyDljBqChpgust1
BvAJMCHak70jhec4aEC2H6JkZze3jADcZ0gAUhX4VFYnhpG1BYlRvJ025J+kJWJP9En3Gy3b6aVt
XYc3hvRVyKoyCzabgvdD1ouB3gsivE+zPbffFjusXmQlqI+tPac7AL6tYIf36ScKg+6v4qwOy6yi
6qgE8NQg9nrUqSCJtm9zULgN0X3vxp9vf7OfwdPqcF7YE9vw5nBa+hKpVo7/lIl2LODVqpce4Jkt
hbLI4/J+Vnz52LgNFJDBIfSDzh0f9ojoxJrWvwF0hugN0Ym66rYxiFktugI6LglZITQnfaf5jiId
ImQ6b69346sSSZIf8gbBwLgG7lhN0pHvUBo0wwVV5N55HBPlXVEFLyGDPl4JLettg1sflMLBf/5m
tcGhEspK1eJv5PuGb/mTNHS6H4/TwTwW7yNoQ28b3Ip03tpbufFcnjtpEDMGiy2u/Rm16b3wceN7
XSxpdQe7qlq6oKIiMnrjAbJ7H2A1PMHRMfYm28MqLaL2wWD49bfWxpAg1UEICtbYDyObRpTFTbo2
oDLQoGGa0L29e9tL+8+C2N0310GP1DmHQh9u+2B40sxvhEKuwcRv2Fo7B2PLkenAZgQYWEaDb5XV
BAJpEeWUXzoFveVcMr0kwpAy7zLqCb+7ul5cq/8srfxy31hQYkSg+6WHzg/v+pN5ls8tmkHZYb8o
vXne4Y8GxEF3iALJ6nAMsGPnlEwAPFX5IoS05pMxO45LSjq7UwWBvRbZGdFqJSFM3EnyoaXu5Sal
BJVnKQ+ekSb/3P6oW1fizU9aVx/U0UDUdSRulbSs/JChMXdmDhOY5W0zG18UCAtSpcyGq4JB5/Ls
pHGetTr/uJOdmF7aSr23LMbHek52Eqit9bx9mlZHB9les8kKUB6qk1puPxaHMl529mxjMQzHktgD
CgVsuwbBTvEYLYmo2Chy2B+MMv5CmNEc8sXa27bN1YiCDFp5DLKtUzMJHXckkjvmQJgIQVl2eibt
vbv9aTZQFnSEZAGF5mTiIVbfZrZkTiVylFRuUxuV+L6FQ7Mq7NyVVIMpcSgYzmZRVV/zJUH0PXUY
Mejrb0sBZrDqrdBx5yiIUdewVXcCmfyZeUzVt+3C3Jmo2uAapAsOhAdYLr4BXMjlKYoUVHtUeSRn
FF1IxPzG3q8ndEXUH8HZYqI1eqDDG/cu2Z71dc/DbrSwhHlLh4KWFsnVxIeixqRrIiI3Qj96F3m1
F/mOV4wIt4qW2W4jfuPrX9hbPVfGWFqpPVammzbV8I6J+ezbFCXpIzFw+C4pdGQMm15LXSmJRi9q
TArjvWmfKAlRrCytMH+IUF0/Lm0X7NyyjRtw8ctWR6Zm8mDK4XhxHfjsPplj9tlpivkbMQkcB7eP
58YmMIpKQi10zxxoai6/eRKPkCCIeozCJPoYPJEQ/I4FOqLAogU8bB33aLFh9pLBa1ObyY96IkMY
4Gi4vYrNshnBvyq431FIWU9+F+kQKHrBjgmRP61w1R/F1+zoUNfNnocF+RAvfPmN2BGIFqm/Aicb
VfLVVyrTIO3TDHLD1DYQGe5bKKnHonCtpR5cE0WonUVuBJCKDGCeO06Zjkm9y09VT0E/Kgr5R9mF
H3unuW8MJfKXsTkpGV2bMY57//a2boQk1MwFayV0NdAIrFZIpp/ltAgY8V2MF71MXmLloZkZGm0d
eacDtZWPv7W1fil1tW7rqeYLisIglNCvee9n+p2eQBs7eUKxMUQaMnzZczubd00w/pAj0vFYO70c
RLSpSUD6gmRo7oY268Gidak3ZEOxhxLbuGw0stlJ+swbM/NBztMpSVRWNS72gxKN6tG2kuHb7a+2
40ivmHDjyoqlKsaRzvfZh3/DfvO1PIcA+sa7PTe6tX+k3DaDMdzvq8pcI0AeywC+jt4LXynKjmnZ
vUzTsscpqm6UTwhx/rO08teZZpTaNFAal+9Vj+G8985zdUg/KH8Zz61v3Cd/wRECdqv1q7uFVKDz
Yl+FIC7wYOWdKChrH3b2eXvp4N0FORVotdUPaoPAqjWToyOUXzQVWr8Po+MZ0D/UZK5J86Md4GqH
me5ux/DGOUKVniaI0MYkaV057abNgMQnRGEQ2E6fG2jMcy/1om+wslUF0rssfR+3tuF+SBfAGwoQ
Mf3bVXQAxXEJvBJqFohrpVfzKZi9OT+M/yB5w77rfl6/T607UZGsTnvojE3bpugbEBroAEEuXZ8s
hVYkZcB5Cd8JToYcLpPYiHLPSqT8MMMq5FDPMstPtzd6a58Jg/5nVr00qwVmMkQGZHGpnqIrlgfB
R1MP42LHsW+4WW4PlT+GC8BhaOJnvMn8ajPMq2lmlNduGp/xmmT+NMY2osB7fXDhr1fpGOIhcGIp
SNHAdSZ+yBtDTdxqsZrM9HlO0ChCuR+f1WN32msLbNwLJmfodMBER9vMWh1Pu8wsq3ZqCmUG8Zut
39mxdh+me1Mnm2Y4i3C7GnQd14FFAtmdFM82fSrH+mZJcETBqvPnmOQ7/nTTDtkkF5yy31U+wmhP
bqpjCDIuWtpjPoRThz6ZOhy7qS734rENXT/CMSqMEF4I0rt1usBAUSklCZN5nS9axM7nOXNh3p4P
9nv5UPjRUTpYXnpqDkACYz+muBO5xck8/PLJh0JHE0JzzAxfJZRNVUR5bAiZjWY85nVtCZH3PZjB
1kN1wSm1utZqnGWmVVEB1E/deXwqvcHNPtnuvzU/acddbzwfF8ZWl1lSmoZ9JYEpl9b6O+ns+L4q
Te1ZnuTSLftQeS0aJXDr1In925u5Z1m7vHZzIqdGZhEotlLg5UX73AM8dEA7GJn8bGiIDDTNr2cQ
qNiLCg9SJUBLxZl+c9NDKYLXNhjpTUWzRLiRPBq9BPPeuKfQvHE5DPCG8JgIKR3qmpeGNHNi0DcV
BQ6oe5+nIMk/zkUS++kS/AbhHhddwf2b6POCSln5FWb1klmF6IOLqEo971A7+tYgQX2U1dnOG7vh
k3lagYwwngoYdr2BaT2aZtbTObGipPHsujtGspG6EPR9y+ToNwJD+u6UcIC7k/quXVmjxU4kqw0I
e65cgiqp9Rtk4mzeGxOrD9WFvZSXVi0AotBGv5vYtJf4NIFHrb/qD9H7YMeDbB2Mt/ZWJ1DPx6ZE
oBTcbVhWEHvo4YkCTnaokRM53b5fG8+aIUYPGU5g+hQM2+UZ7KK+VUapAxB1/FfS5f9P4X0Dpc0W
MtoElEww96zTIWTXrS7UsJOctWM8e07pjs81GuGWlzwPny3yFNmXareb3KX06Fj8eg0aegpmw0V9
kzn31fmf9LTSM0NgJ4pxOYSZEfiDPJg7u7lVsLowI9zZG9+RjQGXr+CaNdA7v5ZVL4WuMVdq6tpx
ArHZLCenwWzSHyiW5MDPmiG8s9Si9PRed85ONiF/JkFSWaMo6QWysXyhxmYdzUApdl7mrd44P1Xk
+wgVkhmvDtnSh1ZFIMwz9alCCI0aA1hCE7WWZEIXozuImZH0GO9qQG8fhTeGV5FUvNhTqTsYlt+r
T3kDn5cfPkPMjjhH5EP6Mv3RfzetM8whh/To+HtQ4s3L9cb86iTg8odB7W0hsGJD8qcO7qLGggAh
3hUgEX5hFTNebPHqNAQ59Qgus8jLJx/M7b3WnKKj5VknnbKckZ4AH+y8l1uFfCI6ar8kOOSU62YL
AgRNMyHjCbdN/od2F97rnR980ICzm8fhCeWI33gu4SGgmgN4E0DL2v/mei41/BTN7fPiSBk0dKNe
v6tk9fNtT7X1qry1s3LCY5hLCkSfFFQCq3IjmWclMAD1GoGpPES1tIfN3vp4b+2t7ocyW2mTKHis
yDZdWWJuRJ0Ot5e0NTRMlIgWBqP03MT13ulx1+t6zVWovkgvzkv0LjtTwPkq1Nhtvzm0qhs9Z5/S
D+2Zfzv8zjPz1vpqRxEzahoGNun8d8Zjj06vVfYfhkDfgfduXnjmHdB9Q/EDOpXVG+NYQ4w4E05R
yIZ1hes8LONzfMi95Q+BIZ0/RHftC+qdHUVAmYB8r9i4deNJdEAA0UmwrzLg0onNqlRI+QFyuEQQ
7lBFsO5/uf0xt86nBs8p4EpUCq4G7/i7x34G8wSyYb43wvzrDM1vk8USkoXT+batrbOJYgYDJFw4
JrBXPiyIoqA1apLRYm6+Ja3pT0HZ7GTWG9NieA/B7Mq1puu+rpTEiRlUSQUwBDoOGho/H+uD0PmJ
j+1OyL1Vg0ZJlgIFJWji03XIaDYEWIE2Cqad+aB8aE+l5/xhgSgO3P4lf3Xe7Z2JTT9JPxqGHcFG
cMU/6thVpUM19i/fqaiJFRIJooNvVn0oCuSHPdbRrfPxxuC6SDs6XZPpozAYv87Z+AWZe9ful/em
vvOybx2Ot1iUVcpUB5Y8tQKLAijO04rJn9qdG71nYeU45qWtbavkqEdW51EEd83p0+0DvnVl365h
5XyrqINKImQmuBj09IQKzXM7otzS6fbxtqGtrwKBAQJTZGCAlFc3qS56/nAhewiNh9RM3jtDjnxP
5Ot2vGNp88S9NbWKBpjSglsD7PdPQHQ4HcLpDmoKDpx2KJZ7q6Tw+FunXDCzijeG5O+qRRV0tj0W
VAmmY/hH/UfrAQ/6IFh9zaPy47fwuoI0hfIYk84kgGK334S/pZyZwBwxt0Q8mEMbHOO222Nh2jp9
8BYoEImgTXTVdShp5E2xzqOpN3pzNtuiu4vCvddffPd16GYzOUTCInoO61FZEK+SNMCPAIdk6VWp
fMqSAIRqppyUWeqYS/9x+xxung7K4XTtgeAL/v3LrVPyeioqhxwzO0+P9jf1h1Crsj5aJ7TpmtM+
B/HWwcfhMoBI7C/c7qW9IUUHIlDwuMHQhH4jla9q65jeiJz3oxxl328vb+s+A8RVudOQ+TDjsLKm
A5dpZA5G2Ukuf+wr9ZdQnveerE0zfDIxiSWaCiu3MTpTkdu6qAY/Gd+DxtV8+QeS8t7ADXPjwE0A
Oe2zIW19OzHMCQjOZHFXI295pXYMz8CoI0beeEt4K3MvppMhvl719OukbQ4NI8od3DMQVevNdCo5
mSA+Mtxetv0MKv5i8G9/ru0VAYYBJCUG+dY4kgRikHiye+irQr97RPzODc5d6Aav2T/MxR7mOygn
bpvcuNUEh0AnRQmXgHjliLVsrpai5/zLUusp1anabXRvRdtMBP6UnbCJBdWVd1ImtVxmMfE1TEdB
sGL8VZ4i3zpY2SF/tE6d4/df6nNOu0v5O3o0vqbzrxchmGvWwIUDZrme3VO1BKqrvAads3Tzu2KQ
Q2SmgnoHArtxswX9rRAcAJhJJfPyrs3NWMxtGdNVHAFbhHkcuaU9DW4xSpNfqcFvdDGZ/NDFgIYg
VV+fFe5h4BijRSFBKtQ7e1LNgxZ1w/NcZcbOudy437xj9BIYggFXvy7wh4YiBUZOcjuP9Z29wALR
tS/Wr7OD0KHTqcryiG2wiqaSEutBiLNSko+NHnt0zxDM3lNs2zrwFPmoMHPBiOJXLrHp+4oY1CDy
WHLX1GqQQb8uDMVCaISgHYNzunr90cawA3sG8alFkfFgtEXmqdLYnacw2IMrbryXZFgUfPmfEIRY
rUadskWVhHZa2qAy0nRfzUB+IXuoUfqS3HoYdjKgLQ+FByQ4Y2KOUZJ1xiDJRv3vbDt4785PpbmF
p41eU34qYGP+gtQI8q6ZOUeU1prw0EkJaXwwSuFZncN+cuvYKP/S5rjcOaJbt4+ymqh+Q3dGYfXy
9iHwshgIvEBJohvHMbVGhj5ot8/Nn3VhnW77zK0aHgkguAjRxqOSt3KaahfVBEGMZGkvUeAqvnUX
34dPOsXp9Dz63XP353hXH/ZGq7d6T0Bo4DRmlJYmyXqNch+KGUMyjH9HMeND4Ct/pGe4he8cf9oZ
HdhCt1xYExfpTVDZD+Nim2lAZFS68fP8SaSi0kF+jU/j0bhXDvXrPh52y9EwVUMaz9AzlFWrQKKU
1ApBGPqWilaZ/mBFsTtWQ+wu4LR3Hr7t9b2xtXqWQlQGoyoQkBNvOWatH/3NOA0BRJkctCfnNDyL
sOxzLu/Y3fI/YmzdRi6SmGzNxzUMdq3nLSPEk2Gd4DA9D3Lw98753PAKVA+oUtAJ5XSucQ9BbFSz
KnjpBAO8GBmMjkvotoZXF14KL1GAhm52mmUP7XN9T2Bx6yYSvQCKdOjcW+tKaJ5ELdGsLMZB50h9
cdJcUN2fhq+3F7m1j/SG4KcDqAeiZOX5ymnUopw/dLt6+JTMzZeCbPK2iY3TKJgoBbaUAdMrOZg8
j5cFiCUlei18rwzSucoUf6zyPa3CjR37yc8L+ADyK17zy5smRdpYMKuE74r1/M6U6wqy66wbEw9m
xepOV61gJy/YsshQImSilJqAAa6ynkRbUnMSz0ZdVcfe6H6UgXOWoUPym6DbeTI2PhQnkPaP+Ehi
BvpydSXMTcqAiJSbwXL3MUuyDGm8ZS+R2/pWJCCcBaF5edVojYdybrWMsrFN87gmiB0T9bVS1OPt
I7G5GLwvUDhRwFqrei5tNtMbbCnyzFHt6XJ21pz4N0bDfirBwRkOePlqwidUc0iVRTpfhc9qxmi9
dRz2fMTWQugLCrZreP2v6DPsRgqDoWch5PHvYruL+Be13blAW0YAP4HKIPq/xl9ZctiopeANM0oa
BlrmRvlerLVpgjlw/mFul7rE5elK4ibN9ZTvbjbDj8qOntTS3HsJxd+xKkpY9hsb4je8eQmlQs/0
KBE23i+qax2Xu9RTTvOxeu7PAre210zaOstgVJlLAu9E+WjlD4YpqannCHv9+E8qyS9znT4YcffX
L59lygKEcegOUvxYDwM77WC2U4wTCAdgAkvloF5aF3sjehuuxhZgC4ahBUx/vZh6MLqiWwhaZhD6
JEHqp6jw+if0ph6Nkx670j/j3wpaeYc9XoKNXSRKEsSwFk/hVbE+i3SJ5gMtRkWJ89Ns20Ccg2Ss
PLNW4Ga6vZdbq0Q4hmifCRAgJatPVlR9orRCEaHRaK06/LerTEpwNBFFeRmzWTrctrdx7Akf/rOn
Xh7JvpqXRBLF5hCouhfOSfg4ZNmy8/G2rIj5dVRxTAoe6zIm3y5ZwBqBHuj0wq3l4rNqV+9/fSXQ
qjEqDRnYNZvtFKtyW4s5IGOhOWws4YOZS5Z324h4Y1Y3WIBAmZghe6X3sPISlNimum7RkhBY+xYJ
BgG32Bdg2DoFFBMJbjjwHLrVKUgLqUP+kYsbqOYT6U7kMn6ODEfv/Ek+usd1vhHlUW77z9rqDNT9
lCaz0ObuzOw4IUXs69LsR0wguWagBsyQNf7tbdxKfIhbad9AlquJ+fbLY+dMahppOdVLsY/5gfGB
ST1Uf1Ug+6ZTY/vm3XhXfAFIsVfs2NpZ8lzK6WQ/gkXx0nDflnY8ZwwSVLn8MlSfNYUSS9r7gaoc
b69xy22gPUvcrFANvpKC+j+cfVlz5Lix9V9xzDt9uS9fXPuBZFVJqlK3ll7U88LQ9AKAIMGdBPjr
v0PZnpEgsXit8INjpFahsGQikXnynDYUUbmg32IAtkRc90xdDgVrr2TWGBun8i3zAtoU7csLnTM6
4V5OipJmKHKCoTyvgwYJSWxRbOzYm+uG3NsiO4WYXN+wXvllw03A9/smZzHCyZtOcBZ7o/+zLOe7
dyxdgLwK1OIh3KKniQa6CI96mE9Db9n4zXROVrRVHn1zzf4aw9MiV14glJwWOsvCXVSiEYeFG678
jQOADALIK5YsEc6ctiuga1v6qvAGdTp58Oziy2A3l7nnbYgivDERtLECvYEOIGRUdNX7iON9zbIQ
gksW+9hK91PrVN/P78erIeAcoLkOknDwG6Fuo6UphrqEaEaAvKczoScfgvTXxA0/nx/j1QHDGFgl
4BsXqR6ErS/PsG1XxG8InmFikrjNVavYMQP/x1EOdMrizOj+aww1RkRsBNpIiLqCTklzsr3tgqtw
YXzP8jamntgj4ZkSuYUiemtiS+AC0TvQ+aK77+XEPDmMNMwyDDMEcW5ctBIppcLYzc1GEV534zYg
PHixhA6oIpcgSTtvvgsW0wEyyrDOD4xkl3PlJ56t0rlSl0a3WZpcluf5VbgMB8kGULEhugSoXls+
NLYZtd/jjlpAleS4lEzqiwVegHbFjQapt2b2fCjtguIO0is1wVAOmXa9IPdo2jvllH5wevlR2O6G
r9MNV5+Zdjl5XWvWzMCTZmhp3OTfWfPRqrd4p16havRRFqN79hhom0b0rMKk1NUwLcSlILFuokT9
bl1EybQ3oeRDYn5TfrLnDwsd87aG61Oe79wWaidmNvNxpCO+wiI+8h+qVrEvr91v4Q/mpubl9J0+
oq0FvK0sLZJ2bx6jdCG7DKzYvMt2xQPksuNtWaPF2M99scWmnq2NqoPWHpeHklHIC0LE3i5gl1Ud
XPX2zMF+Ju/mVm1sux7b6RuiGarkgcVZg0EXmJNz7C+mvbVzL7Y6RHRnqg+jOTqXW2M2UwzTdQzx
FUfzzsV5V/qUNj63fFqQQ60uw/ldhrga99NuTp/o28J0IU0iiX+R3y0EpSKxNh64bxkOUhogToyW
1gk9Om6pgsA6jfCYAFXVrhmtemeGrEzyLtokU1uMUJ/j0rS41F8QQOrll8YNOxEuWeU2lSm/A7Nh
is7TE5oLULPNUPDZiLHemBsKI08g8oW6TadFzV00R0TLtomx/c4D8YUUTR+7Rn65sXn6fYHzgSyK
DfgF5HOQ79A2j48cEqy1wjE8sTszmUDSAFytm9I7SiBsfPW5xs5tevM3Dv/zUQMtHEItpMldjlGX
/neDxfwRMrMEuV4gTsYY76kWTyqAvOvHpZVSHbdSFW9Y/IvxtdukJLmSpcD4/i00yU9B2ydtfWyc
R5nnx3wjZHpziZHmAZnJIgam16pZ583zHEikznPU+dH1TcQffncbVGK/sZlvnFLU1MC9icc8wJN6
gccIMUrZPS2rTAMbqoqowwO+oyD4lLTX2xv5hndZCkrIAC+EC6/ScSgsN2ZjLacnupIqiwX3N9zk
q8rdckCfD6E55ylHFZeZWL3i0tu7Q2p1yUJhGxzoxXBTXE1fnX5jyKfKvmbsL4bUXLNpTa2sIOgU
Nzt0nfmH7OCkwXG+yA7jZQFYz56mfVzE+V3346oC5h3iWUUsd8PHbdzNqyY1ffqa/wbZf1EaEtPv
1K75Ag5aWsfegw/Ib5bi+MZZLH8h78BO/im6zWLzk39EEXGzqvZG+PViSTQ3kWW13fZ8Xm4rdmH/
JDueFCA8DFlsHreEZl6xY2hzdjTvUNVND8AlBpN7/6r7Vdhx9WERRzIS81I9lGXS76zES8x4e71f
FSv1sTXP4A8UzEcFxv6X7iWuMrrvY+9gn1Ax3obAvYLN6uNpwSYSB9FcU4znHoobkcoLXGJ7C83M
IMXb8PVvOb1nlqTXYY3G5I69eAfXUXs1c5zZpvvEfP/XJKxrF21rCBCGaeNd+qpgqc9w8SHPoqu2
LSqvCZZhD2onSMqOSyZLJvkjvQCJ1JUl4/Z6K4v6Vrz7/MDqFA4tmtWyp31kv8BGJL0dn2Ny/Ngc
MjgP+8FBc8Xe+uX9shFq4v7eumBeQZT1WWtuC7G837EK+1r9op9cIChxs0U7mYROMhfx/42x/a1b
9fkGa36rJ6DOdBa/5aLpeFlk9AT8H/Ra34pN0BUFRRwUrPB/2oPFr/ncFtZiIqRLc+sQ+n3M2q/n
77KtQbRTUynOG5Ijh6vUx7ZFDy55oPMWUdwrjBcyc8vFBaoxQEP8V8n2ZgwCt57Qdt6iBVgxANfy
VKK1Da8SYG3Nfbjn+/KywNFBc9M7rk9teM25l7TNQyPC8CK8LrIA7fb9VkiwrNOLuwxDoFcEnUOo
MALbu6zzM+uLut6fi6lYZriwHAMmehl9GI88GVJwSBytKdlqfX9t8NqQ2tFX3G37eXwacgDTIDjP
0uwbehITUOOm6BCDstBWuPw6StDG1I5+zbup8xuM6V/zx5kB3AIlkKSPzfYC8iroStu8EbcWVts7
w2OZ5VnYuynxaULtOLwa4FzApzqlODIfzJTvt7zasnLnNlO7hY0GGaqsxyxJ98ujQTrbQ1q6FIJh
W5v45kiAegDKvIhe6eUv26PtPA6IVR1WXflg/EwaV5ix5HOCOsXGY+d1kIPdQ6EmAK8J2o5ftXuW
AbPs1sC8xIkeFr5Bc9em/sFOAAL5uARbBGwNHyqGIMtOjcs8MS7mb+f9zWuH/fI76A0XLkhPCnDW
LYYiLv1fTrp0sKg6XnJM9UH8/j7rR6EUmgiRDdC9/i4YQPFmRwXWWLmwDPeGmOJfC/s/3+X/Iz+r
m38dje6f/4v//l7VqmVo79T+858f65/ivm9//uyvH+v/Xf70z3/68g//ec2+t1VX/er1f/Xij/D5
/x4/fewfX/zHDimkXt0OP1t197Mbiv5pAHzT5V/+X3/5t59Pn/JJ1T//8dv3ahD98mmEVeK3f//q
8sc/fkMa8Nn+Lp//719+eCzxd3cD0hmPr/7g52PX/+M3Aznlv+MZD6UZVJDxLFuCh+nn8isLv0Dd
H2d+yStEeLP99jdRtT39x2+h9XcUt6EngHTxIpKz/FFXDcuvXOvvwPChegZQ9wK6idzf/jPzF3v0
1579TQzlTcVE32HMJeT7y8oN5EwBQoIVaPfqELZdzjs3P7lTOJAMpBOt3bm7gZuk+JqBHB/hp0+D
R6scG8bBixa1BijyZ7dz+9tCCKf4g0hvQlYCzcvy+7P1+/e3fP6tXrq7v76UFp9KgFP8KqjFqUAf
8jfPbO3Phaz+q0zOXx+uB9utTYGynspT0Q1gMCVERolDrRbNvZ2b7d83A/01YYQZol67PNHSKpHT
oL3RpN3UZDg//6Pt4/MVeuky/zMJwGte3rDwvUIowctTFw6QmCvIfGDRfNu4hbq1m2ZjqdZG0a6b
sQ3yfJ7K8kSIze+Kyr41iTcgeBZuUo/Vp/NzeRl9/TUX7RoV1VQ5MyplpzxnAzrs7dphF9nkoA5D
vS7YKsyuTWb5+bOgpGWROTcTLU6FrYR1H1jCLA8ZcM8WEiTSN8HsVvtGvinD+bZlAf36crzOM1pB
aJWdxo74bpv43TyXhz5DVeFjTpvccNOos8IKeAunK+kl/rVfuHsw3Sh5DQkBt1ep6Y/KTathaL3g
v0oQ/bXai809WwarBUXjKCt+qsrugzDbKLGm2kwHIlUSCpOm5zf1bRMGvPHlMMVsdoyEUGA3FP06
WcyGWhXGet+Ha/4hC1RFXHfkJ5u6Xsomzq+j4p22G0SagyhkZzdWRkOg0WeV9F4IWALUqLd6jteO
u+YazCCjYxXkzqlDgrT5jj4EtcBoc2Tmd3kkmrF/3yrpYMK+jphZqiY/USRcoTWd0bJOhVObW+Qj
K3scau7BlqEsrHrKT0FQFHUaBnVvpKYDxafz27xisaHuGETmZpZVB0donpppiX6R1OmNB2JHILIM
po1gbGU/Qs0vlDbjg5im4CjQgp26qmnSjNV1ygqx1Ra4fOHXl+wrpfg66/OWOVZxiooWFeZm/BT1
Y/3ACapiVV3t7UqyLaDs2qYsP39m3yatuSM8WZxqQ3SHqOLkQZCRbJDJrm2JZta17dQjGcziJBwC
6WLZ4cEKzFxCKp/EI1Hl/vzWr22KZuGjReYqq8bgaLsUqQWv44cscAb0QQ3svwJu/ekI9ddGj5d5
YZiWOEViyu8n16Afh5Hfn//+a7ugGbkMsi53ylAeicXkFxfkxtWFFWZeeHn+87V375/fXtcct72+
M00Z0RMyh0jBJ3bmV/7eoHM0fWqDAGT0u8puDOsTnRzS/+JjF5rfurkKZOIX/WDftxAAC0H3a5h+
+A3FevTMXAyyna2byPfEIA7nv+jKRuqYBy9jdhEiC3g0wu6XNGtyDyafh6DP53cOoDmJiIMb1rDB
ryHRFHUa7WI65NxCr0dhkPedlEDzEJESNAvy1j6q0kFuy/Ca30NutxsTWDkqwbJyzwx2nmwurEn0
J8fsnZg2ynjw5oZtNS8uzvgN3xNo/qDxsybs3aA4oVnY8rIky8oQWgsgnXYWihKRjY+RAmnTj4Xf
Gg0OU1406r8jFvjrlGruImp9ozPsYjhNvVmDhS0kP+s6unW6AK3ePs0vzh+yFa8UaN7C6SBI4mfl
cKrzNkv8EXomoT/3lw1vvhltv5X4WdspPTDofYJmjXI8TnOeD5dNYNZeA0CabQtv48pbG0LzG8bc
NtIv2uyIl6KCZovf3pVZAIzG+YVa+Xi98OpWKDKFhhEdc8lGfzcZgz/uyykrNnA6KxvhaxGBssFD
1vMcZ7kPSf+lsdyCHqg9Qrdx500iFI/V1NuTtbHvK87F12x/8ocMvS3jeCzzrv40G546NRmzbllR
RhuOfG1Gmu2HRi99lBvnoxsNZiLBxQRpn3pIBatvlZdv9a2tzURzAtRDDI6mHHZdN+VnY3A/hWBL
SUdivvP142tuYGalKs2K5NcjY1+RcYJIUD3HHsNLbmq7LcqKtfOl2XuG1nmQhhF6yqXfnSx0NFwF
rSm2YptlX9/wZb5m54TC1TutYd7xWX4ORSnSiWY/Bgdo00wIRIfzlJ43lKcM3FtDabY+2Q3NiKjy
64KZX9xFDKH9wAJSxW44drFTBl8WWRlfgiSuGSAteX7YtdOmmX+Zz4LbpKAnyIqidz7v7SSLuilR
tbwA+nvenx9mZZs8LXvQ1Mbc5H5h35mlLG66sqZfgyg3N6xy7dM1J1BMhLTgyaEnLpRRpLbNGSiD
pd1vrdLaAJrZE4c0Tu8x51gZkfjdHgVWqCWGvfEgWNkETzN5SkEE28yUngZaGgeLg6w1Uj07gBmF
7Kaqep9n0dujsqg1Z8MR9LocWzdVsv7oMVKmQcj7ZGyCLXTz2mItP38WXuQA9ICgpOLXIe2KQ587
7KtCZL0RvKytlWbw1JNBS8KMXONCjBLo7x4rKzL2k0++lUOwlbNfG0Wz+5aGhoiYU52KcQiiK+yL
Mx+kKjDw3nXKCAqaM97PbrvxyllbM834bTl3buNa5HqcIjtxptA6FsjQ7t9nfZqRA/GVE4fa5t1A
WvkILDqzEsoDZFfPf/7KaunQcgCBS/DN1dgTREWJmfGvNs/9o6jLhz7f7KxYubFczcppWAcR4iBy
jaCOHgaQUu8I7dwkt1S1Oz8RTa/7z/DR1QxdFow7cyHdo8iqyEECdeB2N+8gFBmp4KLrZVWpGJ0X
fPhdkk50F26WIwN6JbouqFHuRt+Ph0oxLyCCF0VhO01g/SlD1qR5WChnN8xTEzyaUzepj8B++85V
VILi4GuRT+ZwFSCDFwVx5oE5xY5VaAv2I6vFsAX9XbztG1eMu+zfM8vkrhOOtj8W181YfbHb4g7i
7YkyhvHKLfoHcMAfggFcoyKDeM35BV3bMy3KmJw88A3FyHVlGp9Zp0hqOzRIInS2bmzZ2giat+Gg
OvKLKTJOQ6bmZBoMlGEBzD7k7bylKrm2bJrLcdGIKctaFdddb/3yxURiE8jlYWqm2CWekywL1/uT
Alua5yfnF27FIbiaA5pABzOyOjNOqDIXd2DvscZ4DIbqfWGz3gtlc88FQzAh18on1SEzghtu1EhD
lVWYFMsMz89ibXM0xwPdpXbOLMpOU1215UNEHY7O/ZxUDU1kgx7Xrf79xQe8cbJ1KcUQ+46EPoF8
M+I0UG9/zMgodtwabjsZfZEjHrdQdxYbZ24lKnQ0T9TUUzkVs2ecqpry1G96Lyk97L+Zh2YCVg4g
y2v1eH4JV3yro3kkiOnIVpmIbaZxCtPeqq9NIosU/SjZzmBh9L4rYqkIPncN3SBaEFjw+q4bIEdQ
QbrqPpgs8uX8JFZOsw5TaoCdjlhhVne2O1anMBfhrrTcYWM71jZfcwGZkN0IHvbwSKNcEJEqI+q8
S8cRE/9VToFHv0mvIEF1mHNPBGjCQ8PzNG0MvjY1zTnwfHYCJ5/ru9Dr6O2AmSLJkZny4vzKrViQ
o/kBbgRW5dRNfZfh4Xxpo24jkrrLQQjcZu81U0eLPtCy5VUUufRjoJzCTUrQC1YHs6QF+s55ljvp
+bmsLZXuDaAI7oF9BkvFK2Sfq5FUl53w2P27Pl4Hk9t2xzkv6vYOLEbhpR+6EN2pB1ttEaqtWP2T
nMyz2xNtVJWlIIx0HGc7TOdwCBPP8VQyDAOkPAb3m8DFfzg/l5VttzWrd0Ez2hDlNXdlJIz94ptp
7EiSX0p3DL6/bwzN5EG5VbUgKmGneUQO45MVoTNsqUHYIYIW0eO4nR9nZdv1lr0MwBCGg9veMcNW
O9MwHfAf5WVHNq7KtbVaxn22LwrJxaGw+YyYDVo+DY36hIuxS/By5xsnd20IzciBE5rghaPhTqnM
PpZBlv3Oe+VctRSX6MZdubZMmqWzQVKvDazurgxnlVbQITjWvDQ2/Pva4dVM3HQro1ek869kNIWc
A1MVTmAMasHaIeKuJx4E+Vjpz13atL5Z/Ty/9SuR0xMw8dnWMKOgUrLZu50NSQfIAE8Lcwo0zYOA
Lm9cI4ua1DbgP4cLsB2EHkvqeZbBRw/xll++L5v+BKJ99i3KiYfZTAqEvdKlyG4OwQV0kMjG2VjM
5Y3QQxdtqiBYgUbekF8zrPFe2cE+HKm6yhFaj+P0+fxCrmyf3vKAZvHMyGSFKZSjnZCypYcKtaME
dJG/JIYUgeFu3Dgre/bUZf5stdxA9HVV45FQgU8vycr6aqhw01Qcsc0ylK2Kb7OkIkbH1a/zs1s5
+k8lp2dDVk4DpM88GehNRZX1srLG0P7qQLtNbLigFft9QsU9G0AAxty7Snmn0ZjGpOIo5e95Bt2B
uB6c0dqw4LVN0rxEN6p+akYXLIkZZ9EAVGYIWoOrsI+8YR+NuWf+nGYVUrl3oW0CEYTzq6eB7P98
tD4hrZ7NDqGnRzhk9E4kElUA3req8Tzo+jC0H+9YyQfnigJYYw07CKBOA/8wQ0ljyJFgbFjx4AV2
56WWhEhltHGE1pZbdzZWMTML3aUnauXmFEPzqj+UrS9Bdi7r8LAx7TXD08IJgFyQGhNTdGzLEfmT
CzQeN8M9p03tPlTR4PcVIKuzW+D57vaDX8d9kbtqAFMGQqkBjHfSz+5VPUoIrKnZbNqDyuqaP0gu
eN3Hvtla4W5WVdib73PCut4H3r9ZNDZi/ghnCAahq563oyOSqgBSgl8R1wgLmjYjHjJu0nZoxttK
Z63YtLlEzs9OCCWGF1JaklPfSFOKPc1DHEk438CCvggV5i83yMOW7WuQQQ+4fey+zA5FE4ZqS3VP
Y6n485TqLduinXnviWg4MmfIxwevVN04xV5tYxv3TmZLdunmdT93p6kgtjTijrI8v+qGsa0/R36O
9Gus+pF1yIgDOfiLdcMkf6AVoKzZjkMVF836pbQ2rXnFKem0zZNymn5yHHrHO6Vm9M5TWcV+VPnv
u5V0yDoxnKGp24jfd/YcnTgwUcVOVLTLNu6lJ8WkNy4mc5nYs01nPMigpWx5R9MFc9CUOtNEjAqY
iUaQK+WafXYCGozY0xHQ+T5vYh75suW72imMHuipjPThtLOtTMxGPCoB5ulD1k2WWUKblBVz0vm5
GIo0hNeLPrdD5A8E5ZE6p1AinqIMHtC2jdw7dHKIvP5i9LNAlElRdGVuJJy7Jvt23hWsbZXmeBsa
OrKwZ/+EaFbZKfe9zN2hy2C6Of/5K/7M1EKzoZHgEaOsuCdgP6xjE3CXL0C4oImoNfmwkZJZuT30
1v+pEHOI5lt2GkyPpZVqIdgHdqbEqaTa22HzAakuuREyP4U+b50NzXd6NhVdhQznaS4FSGz33sD6
/gbEOIMdXnZdO4ITKbSR2OoPKvBqwBaZEu6Pvm9K+7qXsg7+mCaGx1xcBAY3RTrmZkTDxCxDYn2R
+TR5MvYrmgO8qQibDP5BFI7zs+rZQL13Jc0hovTygFesjIa5d/L7IZtYlg5gRGqPgcTZ27hZ375h
QE/0cgCFO7NDfxO4sEB8u6uC7quQ2Jt5cO8r3KEbm/H26X1FBAJAUFdY5RABsAJa/xbyEg5kKDtI
8Z4/vWuzWH7+zA+QKKx6hWzfqc+kkQR+dhvOrnVJQn7pWG2zMQutw+A//h3khdowTjsXhM/W0a5L
d5L7zG4E8qKVEUS/C3dkwk8nKaGstW9LsFp/jjrFAog6MTojDWgFU1R8LvHqFfWOMGmY6OgN7CZI
yt7Mtzqi1pZ6+fmzpcgH0nVoM1enHHySezPMoiIOLTV9Ob/Sb5swgPUvP57TAHGINcuToVT0ETip
+9EZf7ZWO+/LOasSUKFtRFhre6p5JFaXdtRFgp78Vs0yrmQ5FAev4ALJOwfhkHMxW6KmcsMQ3naA
eBO+nJik1WAxo2yPrYF2/sSRYHVIOOFhmwTV3LwvgIaUwcthkNjkKhM0AIaNSnTeOSXCrx+KdQGK
ElGUg3MlBE5vuh3BKFzQjZO7cih01KrfZC6SdoresQh66F9Z27X0zm0r+a6LHlSLL2dVDmGPaCqL
joLS9t7LHPm5Lcin80duZWd0xGrZZE3RNSaC4MBQB591l8BeVfdDRduN5Vm+5uurAgzqL7++Un7X
l6ouj4YvquzaqYagfqSdAYYz9MNbtXUFPxzRMaYjCd2vgkKUdqu7dm12mk+hkC2QYA61jlMBRrAj
1NppFHehYs19PvJg3J9fxBVrCjW30EcQySsIdshtItB50PpzmPef5hxraJtbAM21QTTnALYN7Doo
a48qHF3/iz05JWMxmcpZfMupiJydO3En3/LHT5n7t/ZNcxGSuqwDHju/Er7oJdg3s2E+hFVmz/cg
l+0W/nHwCtqxEZA2GuMmo/mItj5ZT+5j6fZ2gNZ/sKq5t2NpTeOXGQKg6BM1zKjhMcj05VSlOUzf
55ccMFwzKZqKFGEyhzRUt2p2qIuO1onZArnRzoCnp7UoC3+Xsa6AtN0oLPuPyePjuJv9Vhri22Co
ofa+VyoDeeuQdcCYiho4LuhiEBQLHuzcH6qHGaRF+ZQwC5SiV7wV/rhhpiuNSa/Y2jnAN2rweHM0
zCzsy9i162r+6LbEmQElq2uq4gpLIR9574cQy6IQiHI/tKrowBVg47n7WYXMUL9nuQeutd35o7nm
nHSXGBR4B3Lm3zJlkmum0EN4EMNgFRtHf+XzdVSvz+0KOQrLv7UNlM/20H6ZDoDS2E16/vuvnHod
jWt4qImpHjdHxtrCF7FAC4K7dxQEwXnc9MoibQLRWa98V6gOEfWX3iooTVJVhtufhrxrgD3ljfdA
Msi5xtZI841JrS3aMtlnYYSqLagjkro9hrQZd+Dt49/B7rH12ngigHjDcnV87pDNSNKSsD3NAnx9
E6QDQ8Y++CEAddccmRx0cEPZjTsnMxwDB62ik2MWMjaMsB5QvwtL8dDJ0TKnByA7oaWXGMLMBE5Q
ZTKwT5qRcHdY/wFC8o2HZp+gc5zLfOCy7OLBk6W8rsregJUDiSbvyzEwZ7qfMor0Y+e2bS8T261B
Gc2pzO0cVe8Odr6bWY8sZKzs1gnnjdO/4v91KLHbiWiy66E/iYKyzwEyFYk7ZjUoEoe2fqcFaH45
8oHdVp7dHnFvSuMHmlUZffTrvvlx3gJWgkIdKjw6EKZpqaGOKFNM4bUxBKK7QXsmzfy4RqHS3FVo
AmvivBwto3znCdUCNhCdFmMpPHQDVhxpf9AL2GN3okyR5v78tNZsQHNM/ugb7TTz7qSixrrvbbyT
0M3Fve/v+ngdN5yHNcAqzdSevNb62tfQuIaCRL/h6le+uw4aFt0Awgc6h1csMOavGUWfYTyPub/F
O7xybHWUsEUDZdZORo6yVETceGPUhGVqEp4HyYLzLB7ft0iaHzJVJTMoZFeAh4PdIYFRtv7NHIW0
3WjdW5vI8vNnjg514bYuK0FOft0QBw34PWMJJEcZahug6dzC8Kztx/LzZ8NAjaGFkvmQ3Q05z7sd
EriFuABfvb3VGrlyC+nqP9BBCBnYB/OTGPIHWdvmbi78KpkyQPs8Ob+rygDq2JfT8PG6jTCD7K4p
oyIps5Gl5lyGu4rPWzIOK8G4Tq/pmgCdkrbrjws9LbfSxiBW+L30ShqBqLaOovFi8JVQyJFCcvnL
4FYh6nvnT9vaYdAsvjGmnNCoCO84WHWSjhjRhdsA62JUvDm8awgdJpyB4oP7RhjdNdk8XpleQK+e
Fo9a41a2ZWUWnvYag2CuwAK6AV57kNzgEVotfVD3JGiEfB9aGF1d2jkoIawNNBI/Ic4fbnIJCoHE
GKZNZYq1KWhmzwyj63IZBndZ0eYJmTOAjlzpx725uUor50yHCpd0VASQs+oYVF10349DxL6bVdia
e6PvDfLLlRmdv8+tVwHaJ9C/9b4z5mmeAC3YbTOMpn2Fpv/gSk22fVtDzAECuagOnj9jK/fxKwUU
n7SmHHtxBWZ6mSjIxBWNXaTBNKgEVKh77r2zHxYN5S8PAjfnzCA4a7e22xs/q6KdPtsjopfzE1k7
Btod70u8nXKvL0+tF+X5fc5L4XxlZWZ2F2ruabF1nJ+KzG/Eo69YnfOgRIV25se+9Zn4OQ58Co8E
8Uu2z3rgZW88Y6Kg+hYzJD0olPd8Y/wiMupWH71MsHaO+eQ3+U3YM+Jfyrzn068GpPg1sLt1UQ3X
eRsBJ7goU5mN/77ksI5J7lRt1n0fuHemO9rZJe+Q4I5JZQYifdfy63Bk0++dvkRy8m5wJyU/KbMR
0YEAjBbucl55X86PsnI16oDkhg6EF3CztwwP7pMCZfetKOpu/75P1zyJH852E841ASSPtuXXQeWB
eTBt1k7vHGA5u89udtMagrxpJ/uuRPo/34FvIPL3QE5vFdFWChlggHo5AFrLcs/18uDYz/no3vZ0
MP15xzvQRKUQ0JqtZHLlJCGPZfnh0TW4GqGjDDiAwGFwjCWxmI0EkKGwnf1HJpQjSFJ70OWUXxrg
+9HcWldBBvJOq+hNIOapWZrBzQjdFKSlzu/CiiG72gtEdcUwAlNE7kseGdcQrGUfSNi1D9A1URvh
9IrT0+HEtXQCoyWEHseg7BKeUXIwfTldOU017iI5tMmEF0LyvvlojsmdFf43MusK+nuw9362nBj8
D/KqdM1sK1e8tmhaNIJavzmVrcHvG9HwLrbFWARx5zl0igNv3owcV+xPBxZLZdM+d4VxZRl5YQHh
Ww7DrovMbEuNZzG1N5yrjiWuzLwIhyw3rorWmXHyrJ9hQ5urNsqQYSqrrVLWWnlGxxH75li3nurN
I+mjykM2TiFNcsH5EFgn22ZzdMFNEJaQeKo4Bx9khtQbDv1Q1bafGpWRB2AxHOssF7GMQMSQQD3e
Vzz1kBJwivt3nRwdhex7ANQR1hf3WUkZS0vkNy7MolJ9mnNAns4P8pR4f2vJNadUd5ZFbIPVVwGo
C6IQJUzXs+46v4raMp6g2cL+qHrC1D6oaNnkOxO4BD+2XLurSGyTYc4fbIBDpv08V2wkKbGhLpNC
3NkKyxg0rtm8k40aVH8qEWRK0LOZbKpv5jpkQ3HhurTLs6scgF7xy2ugMpCOBVoMHxGw2/O4U6Er
qL8nLKzLPV5dE/lcuENpfS76JiyygxGgmn8r3cCgRRKNvdfsQzTbe/ahH8tp+lFJF3KmH6xwKsUt
wmh7bHd+xy32k80L2X0Kcghg8V0DPCD+TtYdpX/k6Mowb5ljNPkPKABG+SWSOm6Zx0FVN/bNNPaB
IdJa4UWG0hkABIewR9K4TtyyIsaH+v9z9mVLjuLQtl9EhJiEeMV2OuesTLvGF6K7ulsIECCEEOLr
73LFiXOz6cLEybfujApkzVt7rwHpa/UV7x3IPsLYLFHVLldtVNw2Aq7EfVaLNg7u59nk6TOep13k
QNQIzRQeQ2XEGD+0WqjuRxXEOTtCLNyPviZTmDcwyNOu9+9KDIBq9nUE9aevBbyxhntCyjIn+9QD
pOdhaLuIPaMUFuY3gyKD/qorVrbq0JdmaM0Or2Q77nVYeQEmmAiu1S6ZBu+SWa69+amSQVnQvZRj
N7ziXSMalDYAQgnTLG89WtYZacpmS+bu92AcGi6uLGh8k7kcCnI/jA0OyTK1jn7rKlbIOzOPfsmy
0sE9UOzs4BDfQTURQVR9CJuhbjaypGun2uLG8ZHw6wLU7R9ol6udZhbJ/qlrP6jTAuO8f9/KXkEr
kuZ2fojNCMHHHDAQ6Fv7ebVxw6z9/sUNIy7u5KKtvNfIUGtv8OAdJIYQ4Pjb62fEWgOL2yUCPkuo
OiofKhz789GltDiDw4BFeP37K7fXEqtOehl3avLt/WDFFBa7hlZlCq8vA4DTZ2RZgv+bocn/VuWX
oHWSeprpqHMPjAqqDwnBFtqD3282ZmLl+loC1fnY5yZs/O5kRAwV/AqaHpKxYUdYOd5CD2hLVGJt
wBaR6gBMHqQK8vEeaq0dvSkLnqbfGhuVsNCcy3qLF7Uy70usetsJ2tbSdm+qgcffzjYAl2WCC+/P
6/P+Cwrwm7vnF1jrXUCca63jNpHyLR1ZMrI7WdW6Cn60tOK83jeMNBZPKEuUavss54bB3pWTGOLQ
aaVVdZyhpoqF4io2lf9gczF2P+DsaD9ZpPX9vUYk4cOZ0C/DJyQfTHEj8zTKv0FnrH+N8trMF44H
ogAFjEAAYet4nE4icTz4THzHp6e88VFZz0RQdXGRXQwJyF4o6PxNuzYeefDDGdIbJJZGo/a2T+hw
zz1Zdv3RzOnQQ3gGHTpFEmm1bznEsiRgAgOQRDuGMDvs7xBF0/IhTFELjQ6udRaVMl1I52eu7cdm
3ltEJAM/aOpd7jfthqHL8pRyeQRwEvz0rIZ3qtorRCT2RgM5Tu4F4z1QvXjL9J85YE18wGE2T+Gb
bA3hxw4cnWbP0iZAsYMzErcHZBcEYnkuHXH3UdKlYXOXMymrKSNAJbY3qu6AYL3r2eB7cHnsA6QM
I0kHqQ8FsjudB1Cdn6NGyJwGIgxIuKR6A0Orqf/Ge6RJP1WjpOynVY4kkA2GE0BqdjDgU6i78ipE
7lF3uW3ao1Cp7D4nCI99EJNYlVTxIa+hgAdqaaK7chcDCN8eTMFGo7PZxsBhP47DWLXdJ3/oy7zO
EMEl40ZOYeVu+sWLfbc8g9Ir4J9QtW+ixHYmsAHeVUEKVh1kWEloQKoAyH0H6cKXVORbShELedv/
f0gtrouAO9pNkY3vtcjb+MXGxFLI18lwIscqh6pdnunUCJSVSCQxKhlrYKF7S1lgWQ05FDV1Byf8
Bjo2kD2MjkkF7cnxbWPL/j5AX3piTEgUc5iXFo9FOurnIFCyd3B1NzzB9AtYCd96XhDlYt/bTiN1
FNA5mCiy5ClkKT6WzFjyKFLPtAF0NstHyAEVw2MpxZQfylIZd7jeyZX34ZIikZZiSiWOkIeyZ47+
XQ9+LL53XOfNl17HtHQ4KsZE4YQHrKj5WPliyZwYvBHCDS1ySTM0YorMGPBnM0Py/GNlniVpQkNX
z87U1yc8o9je+AWnO6im2i11nl+39W8O8yVVAsdX3AQFivPtoGsSP5kiGfxkj0QgfGgPDiF0XNzC
wUp74Y6PXcuCnZ1cAhEMZWWcVWGs8CcqUG4VR+NDR83tGwh5jVXmhbxzR+RnxuTPeoynDvaYOELT
MiubnnybcPQW1aGJCw70Jk7BXAZZoOUA24jUS63J5mhKGV76ifbvoiYoxaGIppLct6Su/efa6TmZ
N2KAlWTxkr4RGNMlTVMGr7RiuKggkdNPBHpIpKyqjAWzEfeUVF4U3HkaGawHHxmOZot/uRKALKkd
eVI3jHdWn2jiDTsLg6M7l0h+8CmS4V1gtji/K5HBr7Pr3clIHVi+3cj6U6Un3AVFlz56aRdsmHKt
9WJxAjIoWjSlJ+gz5Z13E/T0nA849ape1FkXNF+u7/K1VhZhM1DbEyx5CX1W4dTu8hi0HsgbkAPM
yO+Qif0fXeZ/yTJvS8XSpcY0nmqO9XDJfcazYsgCaMocuBVDFlL7Oe3iZOOuWll2SzaF7Wiou1mr
kx6qGsICfp2oBxYoomWmfRL236KKOHlQWnRsyuY4GfRG+L6yGJZ8CmAggaWfgOYL/Cb9B7hsl+yb
Gg/FjR219v3LMf1usWl0AnCrgL3yGlTWqjX5y9zjcX19Gax9/bI83n3dJghAhG7UCdEfv7O6UMea
TnpjKa9E6kteg+0Hi1w4K96IF4cvgbjk5YQHraQmZeXP6z1Ya+PSs3c9YE09eoMW5RsQYcMPl86Q
kaOx7/4ZSMT/b5aT/xuVLIWqgyoYksZrp1dLYZK2FwYMlpu+bHm3r0UK2+/rfVmbjcXWp91MugTk
z7egieLnvKscyUKE3+frn1/RbYS092KszCTTAnCll3y4yP0BMuA7cqcCBeQ8rqO67B4hzaTPrevy
SWSB32q4KknTAFJkSAmjWYRbM6mPdS/mFupzflgnZDfPTLZPALoNSOxe/6lrG3rx6Gaxl5elp/mb
aZMkA9fiK52g2RClFgZAyEpmfRsfhkBtSd/9PuiB0ce/R8bCMMOz2MhvgP/oZ53jABRNVB5yH9Sx
oAaNBfYOHxP0QBbs341RA07ZVGJbCIAb2J7XBvUoijtlK8P7+9GL0+WZIeOiw6uVvLpQ1NEE481G
F+kBcCPqBMC5rU3YDbINSgRIN4DqgUiiCKqPJf3jdHGoGFOyqHTGf81NUU/PzvI52YcebOFvmzoW
9QbG4vdXGJzG/j2MLh2S3jaqOxEnvO9SxA7ZGWFZct+6uSdZA7bM1im8tj4Wp0xQ8UQHbRy90jzF
qog8+DJ1+s+2tMErs+PnYdhUYFhJz8dL6oCBggSVskleZSt5+41MWrc7EkY11RAYqINx3DMJtu9r
YNpoqHcQ06ya6IhRHso9DGCb6pv04lHfgKkEwbodC8AevI+DqeAfwgLF6fKcalnR6RY65lWCYFSV
szvYtJ+QF6dbQh6/P9bjJc1ARMUoUQVpT3gBe3dOVpfzCryf2x6Bywe7sThkMKwon+ZldxIBfH1I
h4O2m/CULX3vY4SCeEkoYP04hGOQBieQTudXE5fNtxLSyBv3xcogLekEF7rCUNrYnVhfi4OYWkCq
KQJeVOm3RFRX7ox4ySpoA+7PbOzgAKkrmeUWnHMZAlyQX6rDyLVc/od5401+8S9muNf3sgj//vUf
JsdVfyG/zzhLNyK9lU2/pCC0NUEypkjdKTfaZhD7+SZjfZF6iJIsjT+6/NjibGlFXTKlaHAicgAJ
CYWyR6I8uh+VrjeepGuTtzhS8hi3rI0TeWKNgnUOQI7RbUig2g82vRNbCnxr4xX++5Bs6zSZLffz
k2JQ+t9Tl3oBnFELFBOqpNDmMDaqiF+v39prXVqcC5GbVRvTJj/RwT5D9q8/5B7uz6Gh+vZ6Cyvn
8FI3W6YANipj8hPgbOJG1ok58GYgBxiVvM2qjw5z4ujGUlvrzeJ4AFxuonPF8xPz3B8qmvNjinzg
DuTX+nC9N7+P9+Il4l52KRKtg85PufMiHznIsSh2aZWWw8ZwrXRhCbkHO4LSJMeEAOvSQJgK70jo
L3q7uedbscZaE4tYg6UzkWnQpKjTKu9GF1O+Z03fPgzC3xI+WlnDSwlsw0akz5iOX6mcmm+kqphK
gUg3IuU7GNl35DvqdFHT7q/PylqPLn9/96KgPaCuF5OKc5uPYK5ejhdAV2AQzS05XG9iReE1XqLZ
A+nVo4Mc5pmrvjvnrZr6ozDEK3c6HFsPdDecM6auySM0IhLENeMFcDJ2fv3BlbE4F/JxRlYENeuz
jKL6gXftJ6Y7dQtMzvl6F9fW9uIskKC/zKkfiDPrq/6ivl3cl2Ezbvz8ta8vXjKRp3ERpdH0Bnmk
7i9louErztNCbCyBtc8vtr5BDtTlsXBvrXbTDyba7tBHujh/aGiWgHZU42cTdIE850lVVtkAtwGd
te1QbayulQW8xLQbHg4uJWl1Bo+2qnfczrhOqJx7WHv2PgA+H+vGcufPrYOSjkrfSCWSvUJV5fbC
+/9YcEYvh8H7XQgzywmq6uGbyY33Jyg8+mjrqm+hGwKtsOs9CH4h9P6btoXR9b9bAddPeFYw+uZ8
X5ePbWSb5igEgAX1YeRYBj9K4qvqReTRVN9VdEgE+Gi5l5oDCFhhcMhRwimPxIMf4R5J1dhlTESA
NoqpIHClgHBX98RLFXsveNCmKT9ENC2tyCDsJIc7X6F6RzMUgPQhlbMobnBposrlksDLH/NuSL6P
fj8NtwyMhM8urHTwaOMSbjPIBiF5rZRW3VmVRcUetC2J6zNhAMTM2rAe1Z2LLOl+IgHWNAdae8Aw
cL+jCX7ilIY3jlfTA0L54afLE5nf8Xiuv7MQXiEHcmGj3ED8SSSAxc6t/8hokb8GRcCmY9t1hD0g
SE7+9gYe2T/NLLrqqwlB0TmSGgRvyIlMir5YA/H4P2UKvR2VWSpxuelyMAqCf00od+AN4q0GVTm6
o8NUITgRSftT9nLq7pUX4EHFkr5/pFAne9IY8emkG2l7dQhyqOCduajr8gWAqdnb0xFAku8QlW7r
Y1sFMhgPMh7ywe00CpbgKpqo727zArpdGRLyOtgFcuLuR5s0Y/yJhmp+pW07pzdcqr488lAE08Gl
cTzfVBUelhnU5Ep+S4pE+vsoDTTMD6e59+4hJ9WDCpGRwilxM6cdasQUZKj6bign92TxNopu5Ajk
dJeZVM1KQlg7IMm8B6kSDEhTgu92ZFCVhgqRBN/KgOQ+xQplXd2O0eMUmX46qLlt/0imaaS36gI3
yhpw6WgWRIgUjkVTlfLFMcc+V34JzdMpFN0/jAwz1gTm+6vXzyH0lOQ4z3+AsSvMXVuHtjpr1Eoh
wcKha44VMbivY2Hmvwy0WaIs9yaT78diblhmWeR951EvupfWVKrb0c4T5QG8PSsfzeDzcQ94bQ1z
4iluO2hgxkG6a0GACI9FIqaHiKQ+ZDADOLsVLpnSR5RGhduHYH8C6RQ45W6iSXfVPS4lBWEpBZGp
nx2gO8OO6x7LlTtbVsdw9oT+Cd6a+isNTbDzZCzkbdDxxL1Yf4DcajT3CR4/JV6Ld9ZZL9/3BlqW
D7K7jFmfUtlDNobLdAdK97grJaVq3LsQgNeb+AJl3sV6RErEebT7ruF6V2azGepPMxA/zTfe+QO5
jZt+itDHefQyYi5XdVNUF39betGa8DReCYe2A0h670jf/ePjaP/CamKL+7QQM5x3Yxv9VXGLP0AD
EYoyiWj6rEORM3jocr8iu2hIwJ9qKofmuQIYYNcU+Pd7waIulFkIccl7kOyK6llJJk9kEumIHwTB
wYe+HpryMELmqbpDHd+Rmwlp3SemvFncRiYMJfaYrOfHrvKaKMgqA92Pbz0sKseskqhlP861Uydv
9nVwwJJvin2Yeg4OVJLUX5XkE3x2oAs7H9PCDMldZw1yCnBZiQF24x0k/So94seHZvajGwXtzS+1
6FEBzVVg0j2H76ZG2c2CwYvEsD988U1Qf7UC4qKemHUKlL+AFF3RAvx9dv4FJmzTxt1PpQ6+Jj60
pBBIgE/x4Hk2pxuXwNpteYkB3l00eWwgQT8p9hbF8FQ90MBLw31V2g5CXYkv2cdCiiXvSFakL6Oo
DN+08KXcQ5c+THe0MafrV9lKxLIkHEVJwoqoGFIQQWK7q5DzeY49f0u3cW2MFuGWLhnVad8UJ3ph
MukccFFY/5XZNCTl4WMdWIRcOjR+ONqyOOW99Y/k8uLuXPjBmH7JJiKJgSZJ1IZvUxDVp9AY7zik
4djs4H6+5dSzMkhLOhEtdNCRqgnfxjjouiP2lJ9U8pMn53mLQr0yy0s6EbgqKMbXM3sLg8HeG2+A
nPKQb1nhXpLdvwmGlt4DFQU2teom9ubmbtwH4lVrnHLw5YMxz4jqoyXloQm972PKtqDba01exvLd
5mPaDwBhNQzUDPtKMfEOPgc7qGyTDEec2+Fo2Q8xyreFtW5jJ67N02Vw37UpGnWB9PrJm4wrYQCI
tc2QtYzjLhihsL6VqVqbq8ULi4SQ7W5KULO0KAKdkUQk4S38JeWWhNxaA4sXFsRO/XxgbfLGZQfs
j9ah1+5Houe/PrQj48Wmj+K8pJWrwS1LQJncMTKP9qZICOScrjewksxZkolywmBGzrk52zGuDwLQ
2x+gz7SvUEEzR4m6ntqPcSI+RK2IlywgGod5m+cGrcVgHphiHLGBuMwSvslZZL/fQEsekHGVSpMx
NGfG87/0GEddJmyvj9EgoYkyT24/wWrnxad8+mCnFm8w4qa+bIQwZwddHlC7sUnMAHpucWn2+iyt
ZF+WTgFQ4HNRHbfolIzqgxn6J8lUcgtNp6cadKf99VZWNmW0OAgCKwWNRzacgd0yGYtDDafX8XnG
dtloYeWoWdKDLv6mMN0z/luAGwaoANbtiHKZuIBDLGnGjEXmlbnmCPHLjTfsWpOLI6CFRbHplPif
Jkk4/+Hg98oHnKq/WoSgSJ9Jv88mrPONTbVyKizpPTyum7xPJxRxqQjcvauE0Ac5oiyw0cDaTC2O
BRdoNtm6HM98rGBRyst44vczDILI0UPV6mPk3DhaxAMSjqS8ZM1wJgXjXxSU5767mXn3zdykG0Xm
laFaEnp8vJOoB+DWa2rDmT8HEP70dgDNIuN/fVGvnAdLQo9tugkmTeN8JgPib6hrHikESveVTb+E
DX1susTuh67eEnZeUX+Nl8QeeIn0szaxOmtne/vGQPVCMNh7jLg7yWdN9+ATkeRkIYjI/mAsDOKX
yjUAAmU8aXyWJXDW9l6ud37ldF8SeIwE7EbkBiWUYg7v5KifIjxtAZP1xUPNkk+IWDe22dowL84O
hWyAXw4yQBpds13A1SNvMbJBHPzNm3yHjNdTT8bX691aWf5LykY7lf1Uowx2ZqTKX82gku95mron
zwbxRiy/1sTi2GDTFPhJYuwZBgzlMzEa8ADiV+4OgVK7haJfS0EviRliRKiaMEfOc6K+zGzOM4Bo
vaegURbP/+gcpXk2TFiuaTnHzzCR3Zitlftk6TAAaUZPwf45fq36AHp1YkyreU8j6qN4LXwIwnvQ
w6Wfrs/W2tJYnCIKQOB8TmpygixeA9xnsAO5wsdoegCGBShWejZ+m0i6hV9eOfGXZA4mkViIkIg7
EfCdsgriptTDx3/VKAHhbnaQkzoUAQxC4Ia66Rd3WRi/CdyXzA4d5KPum3Q6o+5fNWSHTBtYMJlo
YgBOs3QweJ9DwpWE6R6VBn9+hAh/y78jKxZ4D3WbtsW4h8BX6ZKDoyETr1AfRay3MQUrE77khTAl
Z1mBpPFmRi70mYXUq5+sTovkadYxMg3Ifkj/B3KxKpF724lxzv+oRmgHifuxhPPubQVcKQUf4GLp
kSU+mCw7Gsv2D3i1C/tVdCngybvGqkr81LRvKgNRoJQDwQRIMZIe94CPX0rVtYor705AXAeOzrTv
BLJteUWQOOFD4bVxBk2NMar3UV+78fM0A2+OYctndYYuTK33LTFtDRBjBeGDTPnKm/6qvDryAEmK
8XIAnJ+WQXricQxXqgy4MI/vTQMt5Ra1VtmGd3jVBuoPC7FJGEYmg+sgCjIHUZ8FjCTkFDjM1MFA
rBcGU1DVKYKbCuQKXx+qklDwdHIYgzfVXpY0sK9BAls7kZE4ivRnCfVeVBDzFlisM42grXoGKDj0
voKOwMtqJxs+QXLLqDoYTFaSMe5eATOFl9UOLpNj+DAlVU2/CQ1iM8ukqgp66yVDUdFb6jxUJPdi
BMEdvzT3QEpFegrWPbe9UmXvIFNtJX9BUpcH0d4yLqG7q6Mhljc+hcPDEXd5AIuHEJIezV1bDtOo
M8gSQds/yNPOj4BcYLanh2KcSP739VW3tuguf3/3yKOki2xCaHNyrLpx8E3dk2bwgFAxpw66hRtr
eyWCWHKEiKSuDHyRnEhMhg4ycfUgj6gVVulG0LrWjUvD77qhxj4WE3FIWQADN9/Wzus+tRD/emwh
uDXdlqzdAnqsdWVx6VTONZVtAEeIJmS0D7xKlHc/diGcWq/PyFoDi+cqQzjHk1i0Jx0m/h+g9pb9
W9JB4uNjeIolOSOA2QeJ4In7GtUExCc1dmP5nNa1zC/qsXiKXe/G2owsbhRJUYhALqw420aPO0Yh
klyVebErGEL4gQ9iY+ZXbq4lDUNBALVkZuZnCC+CQwdm7OXpVZGy2Qcpha9Jgk0rGd1YySsX15KA
AesDaxUcOU8M6nwZaXV3QIrkgnBrf/IIXCvlu+57Dgmzu6DewruuNbp4vYLqkI+F8O3JJU2/u+xU
aDx+MvBaBE0i3cEfetex9r6otmKPtQYvk/puO/HQJIT32p6sAR7i0mBbt5/MxUUL79w+o4m/S/D8
i9t6yxBxJZhbMiJauHT0TZmIcy54ciN5Tu6R3jIH+KF5d9eX5MrO+g/vQYCt3MvAniQbylvr4vEZ
Yf4WH2htzBYHg81hdal7Zk9EtD+Zsb/miE54KpGh/qmi8gagsU8JskUbK39lhy09LLQABUlZJs8M
Ttd3URGyu7zr+V0dIzItk8121nbY4iFL4HxhQ9sNJ0CLvT954y5UdaEzGZgZmfkxuLcFuW1C7Ljr
87TyIlqSIQLnFU0+R825tUG4dwDeI+LA14mK0l1PgZFLocK4u97YyrpbUiLaEqkoPZvpJWdzvSfF
RG5IlH+vWb2VLl7pzpL5kAeyNsx27kUqXjR/cjKG0TFVcQ7haavBQUXADRqS22vNWLTlsbOy2Jfe
EbIcJ11CEOFsfXjSWN63r7PDErk+amtfXxwQRPlB58sCScJi6J6DvBQ3tabRlk7T2pBdJuvd+QMU
1tAwKIWenA9RMztjytUcN0et4cYwUXNK8XrduKjWunL5+7u2KlXBTAlVpxM8RNMvcoZeEJT6EEDu
rw/VyjZdciLcWDRlCPLpOadTQm4ldGo0h+an7EEaRvk16hrATSbTbuQT1hb0In6wosmNQq3gXLkW
gGi8tLw/RRhVfzXEJm/X+7Q2ZosjIRexSBuIaJ+gPgaleZNoHv9ZANo8na83sLYAFtGDoQV14MjV
Z8hPXaJy41D2R1bkkp3MwrZq9n6xGUL8fsSiJamBwS/F602dvjkyeLCWQZ6b6xjyJAUJbq735/cD
Fi2pDFVE5Bw2YX0Ws6GvUiZmPCZCxVsCLWvfv4zju0VMeE49H8IU52qKauAkhhTOKLyB0MP13782
RIv97mZua4mi+VnXoLvv257pHK5ALGY3UwNV/43D+PfTHi2pChCQ6XQCL59Xpub6UYKsvMuhTgyJ
3Z7eQ/fsS9NE0UaXLj/9v8mAKL0M5fsh8wSoF70tXgNd2DizhdD5fezahD+4Kk69fTEGPru9Pn5r
87MIDlD6RzKzpckn+DzET9EFchA4ps/Xv742O8stPwhN54KXZ6BW6JGwjuzbiaa3ooY37fUm1kZr
seNZGoJwDoWVs/MSBssa+qguWeAohpplyIGmud7M2jgt972Aw0Fo8uIMHazA3cJqd6yeQoZc1Mas
rzSwJBpEVdpGErCQs4HfIWx2wH2Nh8lt3CUrE7EkGhiqNHy9BT+TgKE0G4wGNrehjYtD36FQ/6Ex
WjINKvhc2miYvBPilFFl0FaCfypgbPxw/fsrU72kDjASKFNDlv1ERlrjyo38O4gHZKDT75St/rze
yMpOXxIHmAJbQse8P+t4KJPmoOdUmRuqx4aqXQTclXuB9hAb/zbMm+2WHuva7F/+/m7Pu6YZjOtz
9sZVa5odD4Yiq+gst6Cea/O/2OaA+fiytK44KzjbEah9t2G0Ay05pfdzM5UbN/xaLxbbnc4WgncM
SBw5KgjhIHFYDJnz8IC/Pjdr31/sdWub3hXJnLy1koUvVT/xCHCmHn6q17+/Un+J2GKXQ4Qz9wj1
w09G16V/7NIcAu2A6XXKg+52o9L0MYBE5PjNB+jNfI2IGENIgtBuMFUmoM6dn8vUi7YAKSv9XdIL
DGSsu6quw1MwoS7CgFG89/Hm3l/v7drXL8+qd2uugrCMbIYoPEWldDtogpLHLv7gmxbwpX9/PUfO
MNaWhyc81KFnzCqwvoKuar5d//ErC3pJKRARYHjOV8GJjd6sn6iH5+tOigalCKblz+uNrBw4S/H+
Fr7gLejhISBNEUAtU0cewbV96pMeirNh98ErbMkloLCPSztoCH0StQI1RcOx2f8alOkQ3iYwYSqe
xtpw9aGaaZQsT4LQ0x1oieGpKnn6jbUa9hPgJswfs2WKlhL5AwWkZXaG/wPBoyB/SSCr8g34H+Z9
uT4na6t2cQY4yStPl7UA9xb3PUijPywrtp5Ea6tqsf85xPSKoAuLk5uQiIEEHaCPgpahPgw+xE4/
1IP/sAc4UrNWjuZMgWFpbvKiH35Evd+VH4KUQBv83zuPjnkfEOOnJzPP4lHkuf+DOt0c4nauPn+s
C4vN3cowjeFX7z3CUk3tBSKjg+9vKVusmB1GS+aA81tU/LzS/1T5oS7vDXRWCORAa1F955In5RMv
RvAICkRM8T6nA6zqOGvSQzvCfexuruaeHpMab0ojw6q7ywe8o19o23fenpsez0JmtHEAckOosEPN
ckyqo8hViFwV7ycA/0IGVappgPbLDwDg+y1hkJWlu+QqVFCJq4oy5286NtMjBL3UfRc3369PyUrc
Qi+NvjvNFeuNrjzOEcPj1RPUdA8gzhc3ItrT0Br0B7WVA1nZJHRxgmigo9MCGk5n3k2zRXk7BFdb
RT5w8EPrPsZ7jJZ4WGPi0A/GnD9Z1/CbC+xG5vCZ1n6jYHjtbYzaWl8Wpwlc4IXf1VP8KWemf4hS
yAbwIbQvE+22ota1JhZnCh3EzMFzjD9ZHpRPZE6Av1cN26lWiI0TZeWeWoJjI1hidx3v+NOv7chH
8y3ieP4oFiZZAX22/fUltrJ+l/hYNoLtUsaB9+oYle4OVAJ5Y4uRio33w8oSXoJjFY1RZ060Okeh
dneiSD/xHKyASnPzoLvx5sPJ1WiJlHVlF1gSxsOZFiIxt25oogpxXmhxTMaq3JJbXxuxy5p4tyl1
EnmBgkTEm4b9zgNlIzsXMXRwr8/HirlQFC/2fDU2U4iKSPoKp3IJQRMPNdnhFtlVL80Ij2oGibNK
OhBaQiofKpyM8S0fvaLjO+t38ReRRgVMGaEDl+9ME7YatWJ3MSxuuzqXIILXcMA7RA0H6eKmmYS4
hyuYo+eKw2j5AQ8g09/zdGofiqLQcxbTsU4RJw8xFAtRSiak29t2gASfgBBWcXQylTHksAcQI66P
wNrCXx5FKDDE8VToN6Wm+KnN6zN1jHxpo/I8N7A1v97Kyg7+j/R/zWEX7Ln8lUgoVN1zXfEfnFZd
+tx3+mPOghApXiyVCvJH9VD0b3mbVPcy8eI/GkjFfSwm+A9SdygJmaqweuPACe05XhXAHUz1LXTE
xe76KK2s9SU8F0RxFCAjM75xKtJnarV+jos+3l//+srZsETm8kaEwijO32xhLgw4gOjH8GvLZ6A+
zNyHwYtzQ8G+TxGF3ObGxK91aRHmWFycNqV9hUYbUITyBqacWW2Vt2Xst9bAZV2/Ox9sMBHqijh9
hdwUj+8rkHKQThyM//f1UVvZH/8B5YIlZBPL01efFp9REPMeQcKBYV8U1sDhtMWmn8wltvxNznKJ
zWU582C/5NVvlMXjneo0qIvgqtu64DdBWH+PhvGm7JEn/1i/FvueDDAOcwChQdMCqstKlDILgOS7
0xNqwEWImOd6Oys7f4nFZXXPVSggB5oHTcOzFgTOYUfh9sjhlDY7+8Gts9j7edOPgDx04g0ZwK66
1VHh26PneR98ky2huM6rAa4AB/oNshQRUG1G4TFT9yT+YBVhCcQFIjCB73jQvAGGHRRPDiqx/4+z
a2uOU2e2v4gqIUCI17n47njGsZOdvFD2zt4CBIibEPDrz5p8L462NZyat5QrhUaXbrW6V69ljmC/
YvNlK2QDcRVoF7tAz8kx5ICzg0imA/KwziFben6jHYZiA2/nyCygh58U+sXz7MZAOqZvkafuKcp6
RdyvJZgc9m5DakEFwCi6M6tnnRAKdSe0/3hd9Hx+Dq6PW8EGuoYnNnrYZQHyoZ0GwQbQwiNdCTZc
Xz/9/YOrOiU7hdfXUNNN0/yeINK/VUnxctlPt+wZsuQl1Gbi7l8ZqeqXJnzKrn3FEXxc9n36548H
WxbaolGJetFQbc13MmFjeA/iSsQ95wdwOAobE5vnYq6TohOvPVB7Ow6VxQ2ZeH0b61WuINcG2O8I
sCcXIA/1jxCP7P0N1qgBNLQKvp+fgePzNvCVeCRvIvA0v7a+YQ/q1FOjdbDmSF1ft3ISEn5nLmvh
vXAK7QeuOh8EyCxdzW877NeGqKqmq3HNLO1z2s/c385Qeci2KgBV6rcIGDy9GZAv7FYMzbHZ1Lq1
5wyNlJ6O+bHt0L+L+/unjIL860Lmt/N74Rrg9PcPtoYG2bbG8adHHfvtbVt30ZaPJLxCTmRZcXiO
C9vmLmd5liVx2XrPRoMXOlzkHudpelC8gWoDeIU2HRfJVWPMGrHs5yik0GajliDJxxu7CF6knF5B
yQ0y9BTULI/SBHdL4504buU2SBa0xaOfeY2pzzVNy/AhYAohD3C9voAyv96keXMP8O4vjbrkBolE
AGl1eDf4iFTOb5zrmFsXeRgtU5aX/fjC/EjtRDQNuzLJfl32ccsBgHIGPQRjFRxD6U3FFZsVq65L
HslvF33fBix2MwTvoSFTvI4NiBwetVenLZrmvXisVrykYzdsjGLvBzo3qRhfSBvdC/ApS6lGvE69
esM1blqvBkXjdEpZXTYjK36fRZeypquiIzia1YMRLf3iMxjTZV+33ACFZlpAkcB7Bn9/0CA6TGJP
J/u6jTT6BC4bw/IEOag/4JM9hFSg+L9i6OK7Wkp1ff7jjg4SSLH86WfE0oTTiEzuIxAtd3PYPISL
2SmhDsLjj9UJQjnT5SlKqh+oRYiVKTmcm02+XE0MPI9g1Tjqsq6uQqhBgP0DFBIxLdaixdP+fvIa
sQGIplc8qBLjPZO2669UeGqCVkgHyIn3e9BK/ChQt1sBnLmmY5m8YhwQ/3joQJHrp09oEZH/GuiB
fPWIR72Vc+zcKMv0hVyqtCehfqHGf4J0RHTzGxEkovlt1pV64AJ9FWndAPeQhHdeepm2DHg+/jwg
bAl7IubCP4oAfJHQXVv88Tkqo2aNwdHhMG0IosmLqRcQyDnSJc+7K6ayJdkTzelKftf1fcsDGK+r
PFFregQJJwQ0xMKW5HrxhP73vAk5dp9YPqANwxjVliI5KmgQQ1YDtEP1HZf+UG+7KJB8hYfZNQ3L
DSgQFUkwwIZHrkf6Bbl25BEZMM/nJ3H6sZ+YCzmN+iHcaFUTl2EM1uIKlWDQ2/Rgoczinzhi2TOY
XrqVU+yaRPDnMCF0lFGDaZFGG2K9XAk07uQPXZc2zWVJLkL/HABCEzoDsY56bnlqrnuR/EpDYDMX
Q1Z22zUDy9YBX/TRmKVBywv21uSGEwLKx8GE7VqQ5DpOlp3PZVsISnGlCKiMv4UUXkoOHQTw4rYi
f53f7c8nEdigQpTIzeRB8/A1jxNQbaegtYk2Y7RKjvy58w1sROEsySAVlAz+zgFf7KorL65zrwQB
U6v5XRLNcfqX33OERbdtniRsrXT7+SEO/kOZHOagr25Augu6i2EKN2DF9Mu/Yz8kwQ8TUqACIw36
q5Uq+ucbFSSW3ZNaMkqaSb2Cr7zcgW9M3IscJZeFT2tNsa4hLJtnvoDEQz1NR3jh6n/IvD6d07cp
jc1KAOA6Cqe/fzD83O8UCwzcu54MVd+rEOrmR5GoYKWg45qCZfGUkXiMqoIcoYM0Dzd5mPTZN8KX
oNs3S8rnFbt3bb1l92riLDI9l6/Q36P3EHj8pjxE3sACt5D9A5LqvOG4hrGsP8wHUEyVAT0CY76A
f1uIFJ2MGw5hIbUDC0E/BptuhC7j7vx4rt2xnAEdw9DI2C9fDbSh4y2YoyN1Dw6EUa5s/+dPssCG
HALP4tc0hWQRHyXaaU3cz1/zluniMYU01V1mdPFc9HlU9wifws67MQMkj85PznE0bEBiq0jEYpmn
R1VUL6gkitus858WULPenB/AsVs2GJFCbrpHK5R/5LySVwgy0p3ROAtChPnXkeoVb/r5kyawMYl5
X1Wt35j6eQbg/GYGxVvfQ1EoRNycFQXDZSdBhf1lziqdbwpvaqJyZQUdx8MGKmJC+RIL0b2yUQMH
MYtF/4pHlOYuCmwDbjmHNC+gsVUHAIUja/kQ9kMdbUkSJzdZMGp+4SQsD0EY2kf9fAjADAvT2beV
LqD0qNW84qdd20P/9HBgbhpLJTO8n0og6EUDPlhIE2z6Tgq0ckkQ31VsV+KSWJmP61hbPiLtlqJP
QM4LxL5eYmhKieKWg/RRQfmFXcZEFtgoRR0tCs82uRwp8cFgyUgUhMvWK9hJK+e89fx+Kv03Jgxs
6CEbGI2436d4OgPL+8wHkASDJC9HTFJuZpAGVncoztPknw4keNmWguMp26HzkOe3vVeFehdVaZN9
RyU6Ga7O/ybHgbe5kDmbukinOPA6PAngTUobCMhxuVZidH3feiuIoCVd0nTJse271gMfqgCGVU6C
DCsvX9cAJ1f14boFhi+BLlDbvVLoxd7pGWTn4Nue3s8vj+Po2WDFPqwaDeEmPKVECH5MEQ3ASEFe
DxWriIOw6LITboMVQUuiFdS3omO/iDp+SFXj/WMq30/voyns194KrslYfkG0qGbMpcIoNJueoNlI
tnMSR9dD61+EVQ5snCKtlw5cKSI8QjsFvIeiSStwRWeBv7IdjvsntjyBTgMRg86zeyVQIbzps7zZ
mAiyBMREYtdl4xoLvetQWVFCilx0nWU+5uFBDeQqz+eR3RbTqV59/lw54nkbrth2AUjUg3h4pabv
7sFHsagTPj0C+6S3JMsRxBDKXDcsBPT2shFPzvyDnaC/Ii7S6KQd4/nhX5DjazYyhTy1IH69y9MG
RTOySn/uWD9mWT3u0JQYn4RHU/rxvEu5BGdhGoMB+PxkHCfZBjPioZMkAQFwgVWq22LJ5hs1lWI7
4v5eGcI1hdPQH9aL6SphaB4bXgF39MGVMXuPwRAEl12hNrBQqiIwkJurH5BTQ5dgQ9vbqszUpgob
uucxOzl8SIcM3WqG0IFrCmyEIfPQEA12oQahTeedAE3FnL1qPfnthrUNT8UGnMJ3aGLJvwwQ2Htc
hvyWZiRp916xeMMGGDWx5+Ba34YQU9nTYVQvNOFgQGSGqN2Jg5hBcWJIWgDHR7ZcASk7APTlFeDB
zgE7zDaeicFbYmIWZF8mxeXwSMYiVD8aDfU4scmKjPTXjaF5enP+nLg2kf65iWBraIE0zcdX43nJ
ERgTk916nTfRi1h7Amb5I1WPcVlANvUoaUmeZzOASSfr+eO8QIwJ+YA1z+3we8zyR3lQijTp6/GV
hGgqnCEcoRXasYMFeUlU6A7nV8thVTbiUQJiVA2IvI8Ur/3xKoee7rzVAkHrxl+8aOWB5JiLDXiE
huUCcaS2fM49r3oyJQuuJRSftj098Zj7EmISl03HckIkB0lOOef0qPoOTOMENF7xRoLNobkOQa2y
pibhOGM26rEfkA9Ll7F+ME05bwGl1vuhX4OYuT5ueSGAqaeJlTo4Kh3q67yZh24/ETUE+/Nr5Pr+
6e8fvBylHARo/ji+potkt3PqAerjyWi1VOg6UlbIQbtqEGCSb16NWoL5irKkM8C48kl9WwLR9sfL
pmHZuR7bRhWCJ8cmJtV9F5j8exmucj06LmsbRcjCEoDPCmI/QLVPG7WYqxNa8UrocQB/TroNgpys
OCzXelmGDpECUELPw/iqpgEMQEDrGg+vd4iYfr9opWxAIeonIZ2QV38ORcx+Us4M2ybTkl2mUBXY
kMI5FXWY80w+y6gE+yq6bq5SYEk3QwY5rPNTcKxRaNk1bRDe9xXKD3Osqi/zgpbCDUlV8tANVP08
P4bDSdn0nnMz1HGnNOIz5j/l4KYG135eb8sAzaO+CrzL7g8bSkiSkUZTj+0OM6NQqwXVXPO9BwfH
fA2KlHzejnlCorVCumvhbGPnPi+bpliOAvoA5T6Ms2ZDZirITqAR9zKvG1oWPzdAMBOy4MGXjnhG
B+bLXHblbbOstkq49sYydlFQEKJPafFVMUUfjUyTfNMUfnmfo5D/uEB1/LIGzyC0rneMNHTgdC+e
+wGsGgp08QpZlFtv4Wu8Ha4tsey9j/ICfWNAvfRFl017FoOUIu8i37te8mXRl+2JjSTEw6+EynEU
HEkURQBrsOheTvH0VfSZvDpvMI6LxMYSsryZJACwAn6lluj88Uggpm1SlVDfWJmFww3bcEJWxj5X
gvpv+ex1PvqNKpZfFdpX0XZsGZjs+oikGdAnlbgwW2xDC2UATl9Pk+C+QgL8J6DYy/At8wshVyIu
16qdjsWH61dOUwauNx7cp+Hkl2ZDaJIGD5QkU7ziYRwHLLBs3hgmZdaY5UjiQoU70Rn6xSiRs52U
4WWV1CCwbJ4rMmVVDcK9fiGQUFNpCx0C0Jxmw/6y02WZPC+zJCONFg+8iEuwmHHAlLcTGklX9sHh
UmykoR5BPJPHXXrfgggfPR1mN0/c30nkZK68aK3z1VEa+P0y+7Db1RT4JfRX9DPtuhwsF6HZtlH0
z4lsi3FIpLQq7nZzpG/QEPH3+YVzTMwGILZzPCdNXk/Ppj3RrafJUJkd60voyvQ5myfId2XeGvzN
cZptwk3amGrgPbI/amqKvwjB3c/HeO1B7jjJNhqxUENKwqWZjqNX9tuK1t1e9zl5yj29sliuEU6L
+GF/2q7z6hNt+FEUC2TiOcjQZFd2DyNPv53fDtcKnUb+MALJsqgN66J57WHueifLhX1XEKhoNue/
7zhhNgBRAo+eklGRY1hoaAQFsYGCsdKT9w8facgQ26NcKPEISkaZbfq4Fvn3IVEteO3O/wDXBC1P
QEOtOw8Q7KNe4K83PB3i71A/4StFyd94pk8y6NRyBG031eMUpN6R0KDQ6IcoSf9vmEW9voGgl4x+
VhBmAh/7Es0wsaCJvfiAIoXHd1FXZD6Ct7ClZp8iDR96m3hssnFl5g44UWAzLUIpWRWEjuYZssnB
tkpA3UmSaK9AnNcmwT9KQuuNFyHbNkR/LVN/rc/BZeJWCMFkHPK5n4cjxOXQR8GTErK4I9m3nJLN
FKwBJR3D2EDGqpZe2849ytqq0e2RNmGZXwvBOrI3Eo3Cj4uHEG9lnx3HyMY0ctp4kREhfxuY120g
IFtu4zFdC1EdgYRvPSBIoLIgoF78BvbZ9FqUKJNtqplmz2gozZ7jXs3fW89nb+dNwuFVfMurALix
JEllyFFmPrkSEbyiKXJxVXhmTfPi9/H/xCxsOkWodqV+BQGSI/eKbP6Wsmws/E2gUaTrkSGfW3nX
xLWOfjAso7zKkf/Ib4nXt/pLWuYQzN30aeVJYK2KZYKAGqRpK6g0IJU1XXPAfXwwQXZlBI4b3eXB
tzaQKI5yv5mzd+r5AercPIa22XTlzf6FpAqBDaTsC9aCvaeen6GTBEYakkN4bteoOWErj23XKbOc
lRclpq/AFPwLMmU1EMAgq83pRgFsMKw1u7mOmuWvpBwno/p4egZ+9WtfsgT9w0W3Pwm4+AkYlep0
tTbvOmfWYyX0FpFSv4/fOqmXa3AooTILTcBkaFaAJ67y5W/P9+H2kglaeTl4KJ77wP/XkPwGWiVQ
/J7Bm9YnZQFy2fAxRTMf+P1flrCdHqDBXuy7MlxJmjtckA2cbDPGA4/30z3FHdDLPVhDO1AwcNS3
xWuqoc72tlC9hrNxjWYVTLTXVr0XdyFIt5HXQ/S5Lb002edFd2hNcpkwRWATN0q8/4YhQJlBlHia
qdxbbkY9ronVOM6EjaQ0BkRUvPbDNwJql/1cjvsUEptQN84vK/iR08AfjgQpErqEQR29GTBSpVu+
tEPzFfCgkKwcOtcunGz3wwBdDZZif1ngq0+3Wx+35SYr03aTeagvlvxCXaLA5m1UIB/n5TIkx7RI
+Ms8i0ltalTJVrCmro2w/AC0+/BZRPxvbdpHeLl4v2YRB3uhg3J7/ppxODNimT+kuQOwBlf5EZjm
4n0ekaPqvUxfdiETK8jIOdToAMKZn0OfMighGK31DsDlcg1T8vnPpzaAMqQVUqx9yd9kA3XLYeb6
pu2V+HZ+cT4/RahK/XmKwAoC/vih7O+NFlGzoTGU7fM5r9DQH0ORIKiRCTs/0ucROLURkyAYjook
4N4hBbRjO5N53oR1tKcKg80+GKqZJ/rN1NBtHEJd5/ygrsU7TfuDkSR65kmBUPttyqDR/NI1HHg5
QiBceX1+gM+vMWozNSLhISfDJvmWhCU46BrzJU5lsalHpMV6xQ6+ks/nR3Ktn2Xv0NRTZTn56aGt
JDBfUu4hefUlpYvZ8gAV0QWNqlPVPS64u1cs53PbBJHLn6vXihLyYJ3EkCIir2DozcDFMasDCvFr
5u/aIMv80bW45LMRxVF1XfMCuZLsBbpXcmUCrq9bpk9AP42UDhVHUATmwb4dc4g3DEMUyd35TXGZ
j2X9pcq6gk9h+MbyIdoVvBt3ZQvytL7xHpme6GXzsKGTTEK9V4scGjxyAh9o1bOH/wfPnWObbXBk
qME/VGfTcE/RST/ccVAC3oVdCstPfR2vqQ059sJGSKrYD4RMpL6nMcmgd9GbGdqnwCiFy0pGz7EZ
NjjyRNRgThoUz61ACqSd2c+cAZpUpXjuQaXmeH7LXfOwLva+GmU7QVnjWaD585YmXfGedHqNlMa1
F6dRPzgsFU4shZhPegSNTziSrfIJcE8bSFuV3L/NwiJZM+6Th//vy4hyy7iFoJBXBdb3iN3vr0SS
PGp+6Akq879dMoE4wnYc5Mtlq2bZeZ/wChLBujzSQkHDHHrJuCADULfUK5vvWjjL1Fk2T6nPtLnH
TAK43uRGMAjUoxvjsiQeJFb+3Brp+zH66UV5hCI3u67CkR66XF54kdgISFomGjLAVB6l0oANYzuU
MEfDQAbQ0+QbOigOF+2EjWtE+0jIORn0MfRPubwMDXExAUHL+a87TpXNw6gKPalJeDVw/ckjG3Pc
iZN/3Rb9O59xSSno5UESeWXPHaZoszKmUL5poMunX81IVLGByICI7qE6k8Qr7yrXbCxb56HqgqFM
h6PKfbYJJ0Qq0P3czIGu9you+qsTnQLEhpuVCTlSZdSGO7Zh3kJFvuvv8w5ZsjlEt4fWaX+TU8hM
o+N/D9nwdA/tgXJPowEyp+Oq8IRzbMsh5F2WMwCd8iPz+eHEgJZ6qgAHLUiNWVV0Wx0uT1MFEAqa
3CCE1Tbjyu3mWmXLN1S6C6t05tkxpOxBdpm/ZSV/UQRprdxXZjPNKUClCHbOH1HnRC1X0dcDGkVo
2D/JYiYA/JWQQLyGcHQj31rAqMf7CvKE4b6JKCSQaEVYb66plh2YjLKYtGt6CM7fYTkUICeHgnpT
jyObz9dgvi92kvr/pp7ez3F8CEPAyua+AEowBIwsLtdkJh0xqw2xpGi5S8gyZ0dlugSqAi8VBDlA
vTX876pMvWp3fqUdF7JNDdnGycBDiSL+ANT2IWNdez2XCPdxfda/JpG1+/PjOHy/DapMZ62gxNCN
b22EZsIKMp1XwkQPYw3ptvMjODyNDatMh4IPi2ibJ9A0k3I3GJ5+H1jlvV/2ecvPsKZgJSNFey+F
gujYnnkUhAVQgUNF9er8EA4js3GVIdCUk/Z0elBNE24Ekja9gMYHBEzbnaf0dpHqMPrVGgWKa0ts
Z3JStwahZXdPogwd3yTw6uCWJ3M0fO80h4DY+Vk5HkU2bWMrOuKji7w6sqC7TSUgr2r8GyHGvS6M
2Pz2Hj7R++4U1pwf0XWmLeeR97yu+NLVT7QCGIHcSvRgSFAEoRsaLd+trPL4vhORkWvtZq4pWl4i
RXZ6nPESe01Z8B1hXPyDNwFSVlrlG9jRHQhHvk5RhDxwPV0a69iAR5KIUDDA6Y6trrvwmjRlD3U2
SKL/dX4VHS7IhjqGIWj5/LaVr1AKara9j8y6R6abNEJsOJC7qF4VqnJYrs3yOM8ThKLrvDyi/6F8
SWnBjmCI/nV+Gq6Pnw7Jh2g972podjNaPEk0HyJQawWNrxYKNt/d+QEcZhRZjqGvwEmLZ2R5TL00
A4lFW5XFk+qQ7gUoOBGEXabSi1arP2ciex73xMcy6SLmcpvjxJHNHJfdfeT5az1ejjw5jSyvQBkd
gH0f1L0xzQgGC5AD5gBDb3NivgByU+Odc9KNrwgKkeFQXKvhZVDdozeuAQ1cG2aFGt7sUah3dPHP
ANyrmyWX2XWDKuGKb3DtluUb+qjj6FWqq1cRTuj6apdgp9suevRDod7OHwiHN7CZFVkd9Ug3SO/A
khnrlg7vfTHtKoTUVHS3pot9wDArJKBWRakdS2bjIquCZ3NEAYlkaRb2txCLhEylnCtjvp2fkmPV
bGAkheRmpKRJDxXYcUOkIJvlCL5fhFvoBl1z2451s6GRelHBGILW4iAmEBCBfOowZz2gJj3CERMt
/4ZUPNFB/CqX8J/LpmX5hgTUL/nUCPne+oPZL4DIb6CKgVA+Nt5K4OyalOUdBEEv/URD7wCWfoVm
A34F2BoEAuTp7qPsoBty7Q/yeTy9Is/PymXCNvUimpggt+t3868qbcVTDv7WbUUydS08INWrBnIB
oNxBW0Nj0mvPVHQLladuk/bJjxgY7RW36DqTlh9JZUsCsDDOb2SI1Gt6khOlYVyv5HRdB9JyEqJP
mkKzKntHO4G+QsK93ocyHzY1hUGfX0bXEJaniCBdWxeJyd4hufOQ+2N6PcTQg+yntFk5G64RrLBh
ZrUhkPysDzxX7TXR1XxXoaNxMwxjvT8/CUdIaYMnexHEI8h944MakW05ybidEOBoZsILWYFkqY9C
iC+tvVoce27jKE3UB8TLaPbeo4N3T8q2+VJQ0Madn4vr66dA5cNNbtC876NDrzuE6YBeNlKUfo+H
bpZemBixAZO6TZsE2e340AfswSzpI6cFWltP68SX6HaKyNP/w0wdux+c/v5hOixeVBm2pjkQH2j5
6nSFM/R6bDy2qk7oWrHT3z8MAa0wOc6TNxxUW6pbjcQY2UR1Ov97fkNcM7BMfM5qD+LUoj/IHolo
5NjHR6qiF0jUjysxqOv4WmaeApoplprwA50m+EsdvzDSv1fQhd3OAGv8fhFNp3TP+Qm51ssyeaAz
B0CF1PI2eITLe1KOEypGQs1xthIbuJbMMnlaIYU4pE31v9gAkfuuysy8H1r2ctEUbMxkH4OjS0QK
ROkZFHMVQMC3i2/I/vzXHT/fBkkaCERV4LapDhUrq/y68hoYiIYnrp+joASv+PlhHPtgoyVxFdYx
C+r5MMfB9zSDtBp6oS4sONlcjZy0UyFYPx9A6v5LM+i2A46x5kJOkcMnGXtbPZovHpOdN88HSKy2
dxCHhHoAONMPs9BqG+jVJ65rhU5//2jZvRl0JJPp0PvqRO0+JcG/sq8v06WgNjUjlxKy6maU71M4
vRWSdrtmWlUZcjwsbRgklHIzliPWO/TgW4Uyn4SsPfpVHoTiZFvjnup4Oq5ka10H1rLoNJGtmZpw
OOgA6pzhQoG1CSZ55wliXs8fVtcQlknLAWcp6juDIWpQ3oPBRFUbaXw9fW1O5Lsrhu0YxoYwpkvU
iCrJQRXgYScgvU3FZqASTQTUq9/PT8VxqmzkYtqkaGtEq9uBJqN6UGbq34aWX8YtRG3kIlqfOuUj
j3VQC+j3Ws4OUw7TPv/THYZnAxVbVRQg4yrHQ0tOhUWK/rnqdJtmGQjMikWsQSRc23D6+0fDwyMl
pJLrQ5tG/5gZ2ZxwHP5CcmcNU+WaiGXZGcCj4CSZxftUwhwAiei3cRM8k4Lm9yqIV5BJrp22ru4K
TFU5IKrtoVrGG+Kjdz6CbtL5rXB927q0w6bzDfdGfBsE4MiOo/yBhp21NK8jJPgt1PZhA+SSQeFB
0+rv0y+HlNRdUdFrT4YPvwda+PhXW5O1LlzXVCzbTo1f+qaSLUJOqBpBGFOgC6H8cdE62YhAVoGI
LIZmwX3re+aaLCb6mnTJ2gvJ8dNtHkUK3Ljukqo9gFl5Eai2Tj5YJlR5GaiK/gf7NzVZpzVvfnL4
0nvRectzMKy2ljmezTb2j8AxFFltmp9qkKbzN0k7ML/bJ/40N+xK0zoe7jkZ5+EqhfJjZJAtT8Ef
tgl4PKQr++P6DZapByaVLNCd/LsRPlA8E7hJe/ZSTfprYUBBAvEmkHwRyIxO7WVWadMu6qJSIAjh
8m8AyoJNC/KBKzyo1hKVrhNh2bzUUZFBpz5+otnohVtk9aJpE4Jl4Ob8eXbc6zbZoporRTKviZ/A
Rg4tIFE+/w7dkL9J99UyfL28zm/jBUHKMg6DYcs9aZKbNga+KqlXyS9d62QZPWORh2dAw0DdGqTy
Ufu+jlDUJQG7KLz1bbgggwBQnhe6PKheDPsU6Md3eMxm7RXz+Q3i/wcvmBNQRg6L/hsds+2mhVjF
Vp4uwCLkdDMGYFs/v9+fr5NvowVJBuq7ah7zJ90TmT0qzaDkPKVjXuzPD+CayOnvH1y9WZjRZbfI
AzBPaC883VI6AEXSHKPKHcTk9vwwrnlYdq5CL5u8vizxqGFL/CiQ4NFXtCrLy3RwfFu+ueoFU3LM
86dU+DA8CJklZLf4ZK5WFso1A8uyq16HJOWkPORCsVuo4IpvUVbEazDpU7D830eNn1gXOkGpxw8G
ZF+hyp77P9RYVvqfHLp4/U0WlSDHMYuO05slCI33mDeF93NSMJqrCiS134UZ0YcIMex2bJBv90mw
M7nwl7sZLTf4t2Rhvp/HAY1NC5Kl3hZMiko/oo+hbK7TrMqbLaVzkGxHj5X1I0QGw7DYNJL32RNF
BpVfkVCN/mMVxQX7Kwx+1114Uif4X8gMtMkTgHMdXsGSN80N6OtqedX2RdofYQ6G7+jih/IfhSXE
5d4nbRXh9T+K9N0rKp/LFZN3HWXrHRKWA08WlcgDrTL/pe1O8NBGvoRTr15NPL6eP8kOuIKfWK6r
42EZF37u/T00pb8nPU133TR8jVo0ImV4UG8Bt+y3kzcn2ySpdxTtcysTPBnLJ2fEhj+aeQRPvMAE
VQ0u6t+2CnajEZ07q9kZxxraGMgq4wNIKePsXUTs2R9KvgXdaronhUqu8oavVYhcw1hpxqQv6rA2
WMPY6wrk6IHq8SEOwHIGMXlRrRUGXMOc/v7BubFJd2NG1XTfjbrYJpl6iGWIktok9lUYrryKPr+S
oWvw5yAlR4oZ3Gzp30uS3iSe124GE2zLbviCri6E5Um9gsJybf/JM32YjQFyew6RrXuisDi+Bx9E
I594mxt5bNoaQisrx8zh6WxEZD9kwoAX0qDNmU/bJhXTThPy/bz5uD5u+bnJ78E46eXyfZlVUG3p
WFRfwK/Pf132edsHNFNYxSnNX2dQRjd3PDHU3+vGKy56d/k2+DHMIBvbDC19A2VNuhF1ynZDka1F
FY7FscGPuaeCifE8eppBl1CBrsBD9a/pO7jZi5bHBj1mPOznoGz9t6KZCTmQwgQPy4LcyopzdE3A
sutoAHyKlkvw5vcqfWrYoKuHIdBVvRL+OgzaRjqKuYSceppWb1Ilyak1vd7WCkR1SEHdtXD+Kybt
sDSb1DElyDeBAi16khAW2eY4sRs1iBayH+T6/Ea4JnJawA+2LOIpBJleXb/FXcn2U3h6PTJcwEXj
/5QNiLvPD+PaDytoETlB/+2QRU+kYWjrJsC1D5uCZNHKfrgWyrJmvtDM9HFev4mUPQ8gurqCePpV
o3t/ZZ1cA1j2rGe/HpRfhk/hzJ4NiSGvOoTF3o8bvfIe/DzX4cfWdZ4lCQRLeF+/1Vlhngsif4GE
YR5Ba8bqa9HN4b6Pu3knVDWtxHonY/jkGrdxh9WEKBIKP9U779gzKJL/nQM8rqTkjzmqR0j1x5eJ
fvg28LCqFm+eioE+GY7yl8kADpZxwLZBM60YvGsup79/OMfdnOsCUL3qHWrzEN+qUXaf2lxuao5c
Tg8ihk0wQWHootNsow/plNe5CeLorvcAqUP3ajx72yWEtthl5mJLRZspEZ2edPbuJ/XzxKB0HkMp
48Jfb5k89T3f6LYW72gx8TbTUgRPXiPyleDAYek2eSP48aqOAMkIAEDTj/uqQG/2azGk9XiZqdsQ
Q1HNeZvF2nuLSkpxpSKr7IPjG8HOGiDZYes2VyLoeRVAZDR+UgQ5qB3BdgTQJhEeGrrqrJ92l50i
y+B1WY11BlrLJ4AJ6+oOuPzOh7V7i7zsrWuDBtkUzPE06vmJDeYLLU7lg7gzV+d/vWORbMRgP41k
pENF/3c1VXq8yQddA5Thz0DeXTaGZdQ9Ipq8aebwCQ9esVNl+qMl/vcoNcX1+QEch9VmRBRRgbxp
J8kTq0rd3eDVCraesMpALX1+ANcqnf7+wS1JX4DOs+jCJ2mA8oXQkdm0qEZtl3o10/e76vGJG7eh
gjnxoyYEfc2TqqtYPPVTOZlvOo5qc5h4MAHYN4NwGGXcvufNI8Qhq/q7aTIW8S0TUHPfzj3347+S
HsQM7wRvlanejYAJ59+r/yPtynrk1LX1L0IyZjKvNXZXdVIZulNJXqxkJwFjwEwGzK+/H310pT7e
obiq+xJp95ZweVge1voGRqeJbFzWGrrmprw05NZNQIyhg0/PBykBWV1RENB60fj72+O99HXrHhA3
4E7xnhQ/XF8/vUIHUDrrViZz6ePWHaCgZMyRwDMXQl0kM4q+FVsYzvR33rptLCERs8aedP3LTFsF
EJy+C1CEWCmOLvx4GzbomBaenaYpfqRCFNvKVMTbxLwjd650GzU4FI6HDE1MLokZY/rkC03zA0pz
c9m3clpdrEzC3xP1rg0cFFAtzdqxoCfAUEAxIu07FgVPElnuTaHKsxqDpwh/aNq1l9xCCNsCi2yK
vaQ1Zrjwpkd6ICLHQjTOo6u1WdlKl6bG2iTUwPpAVmS4+B4hh3AK3B08TZ5vR8TSz58bfbMD1Z0I
mT/UuHkPChA0IHo9t9WbtmxhzO4RVa/aL83n1l/2IVtPscwI9hZjzD/wWZNA87qw7E7FphA8y+Jz
GsZCfho8sAKrXePIWF+Mgjwm3OanOnQ/wL296IddrGlGH6ZmavmzTlvSx++iRGkz7v3KF9UxFixy
P/aZ5/ifG5xB9ALBCF7HGzFVhsGiAOnXi3G8enJ2WuJNMGyqIC1zs4GWa/azLGGsnnTNeClCyC0f
oK9DyGZyQyM+QXAmKr6P0MqHYDHeju3sMaxjFR8DrzfR574mSfuumkqPZNsgzorqo8O6wn0vuKjz
Axxmaf2Hxa7OfjCPFuWe8yBofw3wOcrBIMkmEX9LAljTwDuGh6XvHWNZ+GH8SKRX027lGbEUH9YO
qKByMVVJOv2TA9KxTaP4uQAhoemIe4wAst64ZfYrAU55E3b1mqrPwtPFVp9sUxaGHgsmJIQo8R8l
ZU3z6Fd9+L0euynod0EUqrjZs9AlJVJTIXLBt1f3UuhYd6ihrYokrJPwJKCm9W4Y4JhFh+A+iVjX
BlQi4ZwOpEC/VB6wx6JPp/d+13oAB87qw7d7sADgdW0cpalaE9FA0BPJxANVKH68Aod5/9EPg8cW
UPskZA/S619M6G5ngmOeQH/9duv0VRr4L1Fra1WqGZkIkpPzXZCJ8VNqkK5+jkaeOvmeQSosONZt
m6tDWAxhfebw3/Y3eSBLJjb9yM2HoKz95imWDZSYnZ7DaAssPWN2YVJ07XYYYZb+QttoMqekSeLm
Q6jLSJwLEqPbL0MG6djsaGBEJXeqa9n0IkyRjceiA5MfehRilP/EyUjLU5O2JYYGTlV4ZXFQSp0D
0VHSJxskX7Dc+OBlbCs1xe+YxjIYvH0GN5ziDwFjJhMziXqMH+gYxeVHLkG4/TRA72p4J8MezwjI
tQ3mJ4z7QHyYOhQrXpjUzfS1RsXAvGN5W5W/W0Gx62yTjg1BsMmbtISwQJZWpXMxDfRwP6c0CPxP
Xh0moEt0mYQWNgAF/rYpO/q56B1I3E2mk8k2JAV1n9NhFOJL6sjWfYoHCEe+VDAsBMEUWkF0y6Ff
xY9BaCbYF0OOo2OPIf6tjxBP8cJdBe4W25cNcPnHIHGA+o5x5Wm2pc519j4iFJ42GqUAcBFa13lM
WsfI32FFp2oTKt7qC22q2HtSlPTsQHPl1cdS+EECCcE2hfCI9KjvPoxUxc4GPQnan6i5+pXcjEgP
tfseext7zGpQrd4lfQRN8XKasV1Q0e34UbdKqj9TFfVM7P1s6Jtj7qJc0JRxLJ808JZqk7S4cZNt
F7UgHECovyj5z7I2JIA/4DChPgq5r4wdvBx6KJuuYNxv9xUffTVthhJGR8+RH3jBx2AA2JwBSZaZ
/kOfBhHyZH4mGMYxnAQv/6n7Aq8SriJfbKBZG0e/DTD6ycchyALvZJI4+4l1pAH41kkEzC8X4dQd
sDp7r/2mUl361ywtsukIXZlo2BreduCDVyquRhymivpgxMQu33nAAOY7wKC53MOZgJIjG4DXexRw
cJ0zEDHqmshLdM3TBI6p627yPO+k3JZu6tSnxlB+GeEW3m95mvT1KQsh/n/g0Izl24ZI89kLTM++
eqAYdbtwTJhzSIHuDR+Q1ETMFcqZ1BVC2bTelU5SJDuWwHdoX3rQbHoY2jJvD6GnGqWgGlb5+6SF
us+h9pwk3MowqrLHIVctDPo6r5t2bRaX+lwJoHuOoap8ug9cw+pz3ojqOUxicIJKN5H/tDish49I
HELOB37eEA98UnBJC09jIiN9ihjE5MZNQAiWsKYT4C5RUYXVO4XKWzJAia2mqdjR0Qlq6JlONaCf
yBrQT9x4avgYuaEHgzW/jDXyFNBobfU2TX3ywhogIp0N2JM9H8FP6WMHQ1JRfnBLJ/yR877P30UB
5dWLDKog3mW1jvV7VeRd/hmy4jjRCx90hUte9Yq+x71+ij/XZCyzY4aaQ/MdunqV7Dc9bLuGP7B8
y9PnQg1mOqEm6gYAMLI8OAZ1kjj7BANMd2meetkxVyYJdzAGVChbeX4Q7BFSoTgRnkFArQ28hB0T
VB75g3TLsHwMJsiIbP0aSPc/saw65wTCYATUfiWcKN00eTWkp4mDq/lBR37WPZQqKytxQC44bb6F
Tgs1CIf1YELkDWUvPPf6r1PRRFxsIKXZ8l1vSt3uXJek41d8DYqXG78TSPAdUKbFK2wX8ylfS8Eu
HMU2oH6IODyKk7S5FNOAUiQIp1KB/ZnKP7ePqqXvW7fkGkiNsuiI8yy1abpzkbtYu3SsI35f5soW
IE7cMGsHiOleQFo2KJ4VsFM6Oagex/vbPVjQBHVt9WHAU/MIN4niTMB529CZq5OI5CoIVk2snmBR
+wCSebHBtqo3aoh+CU8/pGDPOgG7L3vmWddDn0tS46AfL76LhASyOM4GBr/JttPjnUkVW6K41lS0
TphOFy2S+AX7Ost3OH3ctezrQsnCFifGoR/njc76SzgiMQrlSCgE52zYFUTXj6PsP9+erYWLtA2u
J+BZZn4iijNz827jx+MLg/xx3aa/5vsY+LjIcOr3JV2FeS+81Gy8vUp0HGbIbM5gMwaBdewZtANf
ALyqNZ7WwtDZWHtBp5KOcL++TBPwplER7ESX60Pm6V1MnLVs/0Iu3gbdw5cFTNhUjc9+CWvJDRT8
QxBGCDsOskk+Jnn0a4Scwu1ZWtgVbAy+z2BPmNZSX1jfKdj6hIFP5+BlxFvThVhaCHPTb17QEFRn
njc05ESIuMxEfbhhnn05A5RSdZptNToN2GuzSopdWghWikx1U9y3mvSXuuHZHhItPojlIGJn4xp3
awk78m9YvoQ/Xxfl57DAg0NnFd8byKGC6FEfkjR4ooE2u9qA0p6n7EOOC+xK8WFpMK0cmvQKx+Rx
2L/H9S0uDh7EEWu24U5Z+Q+tUj5KnXjsT3hDJn78OHKonG8qHyr6bOUHLC0Y+8UY5MrhEMs+wz1x
kEfuGZ4+emkEpe7bK3JpbG3wPly0YbIcje7JbwElFMN7HbEP2qXbgQVPr+85PYabEYIu8LxfK7Au
jKuN5kfWsJ8cRfJzgkUKMHy2VQH0WmiMdRMWwbM/sXdZjOYgGvfrdkcXwtyG+IsqznRn5pGMXLzh
ehdv4gInSrAJs8D97sGFAraUPVQ6VkZ2YepeE+BvAlEl3HHrhLkolUgitklK4LzrlnB/WnkNLzVg
XTFE5PQ5MhT6WSOL7EBtrQqRdnLpmuvt0vfnv7/pgKQqQW7aTAhs/GbeQLgfL7g1sPzSEvD+++t1
6Pud5KG5AHiSRmxTU2TXodEahXG6Ab3NHx+hT5HFwYZAbjX4Ksoq7+FKq5lcQwUv7FyvOY43HWRZ
bqC0EfWXoZ0I5JIqaC83Zb8FzFDtbq+6pSasDWQgHpCDbBqQZ4ZbC57jGVA1SB4EU9P/imIoUK3c
N5eWt7VRFMx1fe0W+sJHxl6I0+VPrADqvEtHtUWOIj+7Ud+v3D0XGrPpAXTq+zEp3OKsK4hx6ml4
D7ndc10XUMU35YderSkTLwyfzRRI6twrSYWzhWUV4HuQeebDrFsFoMnKDXNp//sXWQBukS545+Tk
zy/lBCSNWbwqDMkF+YWHpE8f6qERu0nG71xergjPLISWzSHweYHMVTLWFw6AhgEG2pHeNjVwqFxp
YCHHaesHA3brpIq58vxKZCPQ5J9nyOA9hToTCmZp+FR5Sh9ur/Kl7lg7RVFNPfF7qNSjWhYmW6kk
FMWDvom+3f7+wkXQFhEe6jDro1p0F3AQJrzRY80jAMapDpBYgHc2F/2hZLB4XeMjLK4K6+EBQROn
F2Upz6pr+gcu/N86jj6AvXqUU5lt1IxXxPUQxg/J+NKMa9WbpYG0touQOFUaRxrVGz+ZqNiE0CoI
1G5q8HD+fXssl5qwNwoZFIz4GnNVd+0xieBUNGaEH+/5OrH5Az4oLsgPlFjYOYRZkh6ZqCBZ9Y36
+28nNn1AVMhw12MSXgZi0mfoh+tvUYrnzn2/fd7t3hwHgEADddD1+DqryQYEqGY/pRBNvu/r89p+
8/WkLLCEkyQ/FzGURjfUcWh1RgKLJHcO/byHvmlg0O1U+ZCTOguNpO4GZGIsXBkYsbvdgb/vxcSm
CkgiIxm6bX+BKjJ7TlJR12eDyNw7rR+HKzvJ308WYmsG6ynJRT766YvEbVTW/pm4uAXOrAoonF0m
cSesiNjEAc1aB5zYHhskJ85ZBl71bjA5WRmrpW5YcUygGgyz+Cl9KUL2IYn8c10F0Qa6WBcIZn7r
FPD8902KFc0waQvCJo5RIISq4p4Gw7RVY5NuyhgiX3c1YcPnQ93UblYH44W21ZMI659tXn7AUgjv
uicTGzsvBuC+wenuLz4dohrGeSNJHj2KhPdKB/5+ehBbOpjAmydJNO3gN1g5BxnzL3zszGEwsyjL
ej8W4sPWDxZTX/eonuqLoNAtNVP7kyKH/SGGJ8qn+2ZibvlNhM9VEdT4/OzsN2IAu9Tkyc9Ajd70
rZocL3u83crC2UfYvPu+aUZ5BvJatMHiRd56S9Oab1oHppMscb4MDrSACtxX3g00+jXLs8RZ+/N2
wwu7uw2gr9MMb9G2Emcoj9Q1JDUC1MEjFHbWHkx/vxQRRv+7Y4yjckI0T14KH+QM6fRfB9xUZ/2m
2qW/6yEtYJV8n8MsYdYWwBNHdJGU5bMM/DPDXO2jGO5Bt4dqaa1ZYa8JT0RmBiQVk+pLi9rehpLs
U8lXhZoW5sKG1CuOuppb+MmL1jCvlvng7cC/X0NVLfx8G0+vm6SK3bbuL7A36TY1x3PL5BBsQ6Up
WLkAL3XAOsx9XHmhNhtML62OYnBlEhK8N/3IXm5PwNLnrdM87NvILcuxuzDFqitJyFRsULi90zaD
2FB6AOEynfR98iLCfDwb2I+BNcHilUfPwo5o6wT7rdf3ZZ5pIBUhKvaFjgMc010KVVIKShw74H9B
muD2SC21Zb3zk9i0XuaZ6YUh4bOjWaY21IVMBBBXbNd5d5JASGQFt3a6CJPuD7i9kT9KQsTOA1pl
5YxaWrBWMDNAHoqwYMNlVOn44PS9txF4TF1jH8f67XFaasIK6SHFHjE6Ynqpw8kg0e3TM46pzy6s
wVYuiAst2AD6NofXYx4G4zN8DQAZlVALNg+FX0XfOk5TupIbWECIEBs9n6CuStpKmxcDxmOy1QCk
mX04tppvpIFLzqFAQVQeK2cU49Fviomc1AhloJ3vVGp4AAwC5fSAJ2G6vz2yC7Fq6/vCkS51UdbX
F1zCkq3IUdh1wCJZmbeFQ8VG1/M4xaMaBepn6qn6wJLgJAlS4AOf/gwVeE4QoUxr4a20tjSH89/f
nM1tAJZrWTjoi5mih7oj4Mlr3rGXatQAsNwesKUuzQP5phGux94LPHRJ1EjvyLz6IMTH1xtsK7Ny
ayTqfSARRbvbzS31ydoheFOVHCiL5gKjqXIvDBS0pHbaRw/c3ZWlv7AJ2Sh8XngK/jBdcpYR/Jpg
P/qdNGiBxND+yCpID97uydJKs7aJ0HM0VIlQ3oG6L9m0LZAH1Xy43fd1a4doYT+GSnw6nrBpB3CU
k/mHAMKu329/fWGIbPi9icq6rxmury1cfY5w5Y43NOUdLCRG+hFCdmt044UxspH4ph5rCDuq/iL7
rNnAjZvsem91BpZ6YR37UOYMNeiHzomEJZzkQa9i4FgfEwMT8P9D8XMhQmwkfu1wo1jdj6ehR116
1i30Y/bAsJlu500bQMqfjjQ/bs/MQnzYKr5hSXUaBwandQvNLjyXyN4v5tRTNa1xV+fh+TesDtZ8
/x3xCsqIveem+jLEWbSD3c2vWEVQTMiFt0UOSm5iAp7x7e4sTZEV7sZ0pvNz5BGkL2b9lAJKNimE
8nuYxmwbMAGqEn7N0gs/3G5vacHR/+6b0dqBxgHs5kFP9I660vm1g4rqys6y9HUr5EWSOT2EqJAt
ntPHLexJAIiZ/tz+6UtDZUf81LjAqXOkXOKy2fKiC+AFiP1kvuxHgKnvbzezsMBssD2HPVsxmcYF
FqZ3Husi3DEFXffBReHvdgsLHbHh9onLHJob7gLHAdFmI8m0fX1JsnIMzvFYr5VLly4fNt4e/hYG
+julOZkw+C4wWGDIQ4UVLgUCkBXekGNNOvpASw9pasd/coDMupuJTGz0fS3LXJaGElRh8k+FEvWh
Sdx8ZZr+XjEDUPy/FzJqVE02MRfQ1Fod4XHBdkOkjqL1oo2JEwgRu/wb8peH9Rf5UirAlus1Uc3R
JMNwJu7x1ZPFdy+iax9lHDyFLeo9sxi/r/uPAG+tsa2XFou1QWhwO/sKgJaTyVCdLXqkj8E5cM5d
VGjA80S4kuhYWvb2xhANPqQhCLloFUUb+ADs6DyWYJXu7lv11t4gwzEcXIUGOC01kphIzknYFR6i
pPxn4kV7uN3MwubtW7sEi3HkJMn0v1tQBxcU4fvPJMddLXLSB2f0nJVCzMJuZ0PMZU9L6jWaXJBc
9p7C0KSfqhZXndsdofMv/ssxZIPLB8j6Q9eoiZ4ByHUntdOd7KtdBqAFzBjysv5ew6VLP8ApOVFf
ddP59SceEDiB7Uqjc5I/eqSLQ7YHmcxzPsM6l/jvWWhoAREuiICQPz0ecSVothkLm2YbtzTp6QbO
NSolQNB5MD+/7yZo49QBLPSyPKxB1ZvKMdlIgIQFarHDmnjy0kTMsfPmik44kFFjWdFLUQWNOfhD
3ybPOVMqWSlXLASHLQGsSy/NXM5BknDzT8nM/xuy/uPYrUpZLTUw9+xND5IqJJOXNfwEkAE5APUM
q7VQJ5uIdWuEzKVBsjYSPHMZMqVkurQdBT2ADc63MmDpWu596fPW/lHHDhfaLYPLwKG5Br8L9scd
RrqSo1nY7W1cIhzNZwchGVxaGZxnTA6OE29TNMAuA5ftQFnh2cOK7jRgGbfDb2lGrH1EjvH4H0Jf
EQAzQCf9WZMo/RA7TbiyqF6xL38JcBulyJlTA+sOzI/Ctaw4hhmFqbx0gJPdMcpT+Z5UmThVgI2b
LazXSvaQAVXtvAceL/zud4lTPSvHFPJrzYdaf2nLuBy+CtQ+6ndeMUzenc9sG9xoJkiFDZ3P33sE
+gbXqTEhKPrKAVL+n2qiHVvT7FxYQzbEETIDJE8rwk8wZDH/CBCQ5GaY+myFRrkwpTa2EW67QULA
6L1QT1Sfhqr6UEA15iBTk68s06UOzC2/CWMBx3Lcq6G9Qpx+/FmnsUM3aYHE6F1rks7Nvvk8n0DH
ULlXXQyTyZk0yOiJuhJP0QRNi/uasHaJcIimxocC7H+uAbVWZ7iZ+A//jxasjYKNvagaRWvIiZgX
jtzkQQrjHSuATJ7v64N10xCsrxyauNUl5AhdcIo/Spii7MEOXKNeLa0ke3Og3WxSTtQFyWK6Lzrs
CT4e2lvo+XkrmcOFe5+NRFRTU/g51FgvSR9XW2Xw4UKEwcZ3w8+pIvLl9lgtrFgbe0gYTwAiat0L
5yZ5ZHrEyZzDoGFlKpZ6YWUgwKQIgYs29OJHDduzKDNbP9HkELGS7MrZL/F2NxZufTa8UPSuE0Yw
jAcNd5JgruHDGgU74G6L6UffVeax61cPo4XZd60or/2+GCovxuyXU/5IXO09CobDuodQxsrlb2la
5r+/iXQpPaIlz5vLAB6JB4aME6FSELXtyrQvpGxeWQ5vvm8cwRuT51CAKOGuU0gdfQM/63vYBeEh
rtWXMRvCU+qAy3Z7fpb6YwW94UngCddg55qMeIKkE94yEaor1/s+b0V8YTTcegyvLioUFzx7YYuH
ivPtby8tYSvWhexabnq89BKZywORJAOcpPc/4WHN9lEhV9MCC8vKxhEOYxYnZZu4l5r1udqBZ5hH
+7YRLoPJ3yzPcVd/bBShHzs5rlKCXgzRgPtCjaqOIMLddsQ/BP0UrDhDLsy4jST0SZyPgMK7F8UL
/WdIRg8MSiLIykm7NFjWlb8NeiQxPUgWmAxPGB0X4Y8uwrxXMmxXrgsLe4qNGvR1RNRQYe9iAS6Y
DdKLYg6I+UUczf9VSeTmb8/JUm+scOfRAKUw8DuwdvGqZ3MaOMDETBNPVsZraTqsc933y6YiKHK9
amCxVPOLZ/DP7Z+/9HEruv2iyPRYQCIqEV5j9iQtkl9ZXKfFyvAsfd8Kbx9uwXndYLIhxNd/hIcC
/QZJxrVM0tLgWwHuT9xrS6fwLgIy4kfeu8L7ktEsjnZO5Yn+eMcYAQo4v2ze7LjQiabGBHF8EinJ
fsq8MaCRsrpZqfD/dbHi8/NG/+bzZOiwftIAT+AS53jtuhDDMSqJDnyYMrqDKmz+kPVO2xzu6878
O960V5Tl1IS47QCLXJKvPGnGcBtA+36tRvXXKUd/rPiG0Jxf1B7FvSTtivdkaMbskCrpr+F6/rqr
4/vzYnjz+2kNY7ycVt5/ygggRz8zNg4v8yNyAlf8nkscWpl796YV1fEBXOnUu4CTAwyBbMqRnmDM
6P6OE0MfApnlw/N9E2IF+GDYLB/RZVfoSULgbrYb5lG6Vqb4a4ygI1aEU8dAUVgp7ObCb3+0Di1+
m9zX+zSXzf52B5ZWsB3kTo10IG9LyAA7YXWGioCn9zwCx+e3AK2oBNNIpB7djS2k+NeSkkvLzIp9
5vUTVGmJe5GqUoeiolm7CRzG/tzu08Kw2WhB2oRDUg8QaXvNecKNQp37RDyAcl3fF4c2XpCXnVEy
ccWVszQCQBsVcW+r08ypV/bepS5Yga77suMF63EKdtDIHKSTPNDOqTZdXWcrZ9NCLNpYwaHMwWTO
XZx+KFMMA9zaY2Ue/Yh/q6Chd7w9FQszzeb+vQnFFiD/tCfDdGGoIII54TkeCnmqNM3udgML69cG
ClJNoxIKUOL6eiMZstZ7mq/UfoFiqxugWAWRuzXKydKkWMGuVNjlDgEZ6VXNykBw6DW/rXP/nvo3
oOVWvEN3Iq1L0P4vzGv61+yXcQd6qFANg+AdX7mKLs2JFfJFKqcslQ7WVqTNI0/DiW9ylcRr0I2l
71vRDZs4nig5a8DEafxeGKU/w8CLrUz4wtf/hQp0XMYbLbOriflwlAL0pQMkJKAncXtBLX3fOtJr
laY5NBiwN9Gs1C+6gmVGu83DLtFf72vBim0ai15FuDlcE+T0TnUxwfi4kkT9c/vzC3FtC+1CLCaP
aBpPFw+KxPupHn8MpIOTBV7NxwDM3/tWkY0ObDNUj5omdy+mqE14UH7YN+9gFAC41e1+LE3E/Pe3
W0fpQmHeqborpOPYOQxp8zHz7wP8AGNjxbKAEzRS/UF7bYti/OL7yCbQUQXbvKtWbiELu4UNBhR1
AasDXDvhMAq9ad2yDwP8149RFK6xO5dasAKZ9rmfUF2zk6raal/X5TfI5zd7j62t1KUGrEiGlBBj
MuLNleeOu+OKbpMR7osoht13PNhwwCFtOGes0ldUEOAnoUQfa+gOkfjD7TW00AEbB2i0iLLeI81V
U5c+IGnwxEqVP0GM/fftBuZd4V/FBBLbuL6BZfVA+xYNIFn06CsapO+HPg/SZ5gnQMWmCAyJXtgo
nfKYNmQtkfRq5/S3dufgfxMc0Jrqm7z05A/qTyVcfkLA/y51KmTfHkmM92AN7vvgwPuzarKw9Q5d
5Gr/B/OLYQSgvSWEnQMYUHRrlP+lkZ7//uYH0WoYYcXj6is0ccJhA2Xv/BMEgfj3aqrvovhhsK0d
gUF8GXZHLrnAsb4GQVeEmd6W1HV/3J7MhR3HFuIdxrypoczUX/1JtR+gvzbC1ZTXpl1JzizcVWwE
oOkLN21qIr5DBEikJ5X3pgpPUEYL2naT0qKlTy4PqG8OHCpfEP27r1vWNqH7tKO+8PW1hQEGSGUc
2qGJF3b+ykmwNPXWLhGGJX40JIwvEllfOZTtweHkDxZnct9t24YFCteBF1js1z+SQuefusYpX+Bm
tQYOX/j5NhhQxBWkzeKxu4Y+E+xg3Ah6VGHpkC9Vu2qiszD1gXXm+9pA5anhxbWe8aU9Mo4HDQV8
g6T/QTXgSAsFB8zb873UIWtvaHnMYibj6ES8VO7qASXbQQCHMfLVzNlCpNhwQBqO4HVHXF1E0/bB
vk1Vk53gdnBf5prENhiQQcCqywJSXEkbtycjeP6+c1efbwtXpMA6/I3D4NcJCa4rtFCY9yDhEynf
+2XBgnehcOSvkcINYWXxLs2GdadXUM3qSS66Kx/HHIJ0qFgkpB03HnwQ7rtpvAoVvtl7tXK7upp0
e605QEQMXJwj1lS6HTXKfLfX1NL6tWKcRRHIonI+SDsxFe9ojXriMxTLoIhKmqpov4ChJ1Pk1kCi
w3PidqMLq8zGBLIe8pEZVBGvWZjxx7zy4NlTsy+3P76wBmw4YItjSRmot1zbZPIea6I/D3NUiglS
plG66tS31IwV+CLooIgg0uKadBTqqMSD/NbW99lDl5XfApPW962Bf6H+hhTiHglV19qf3Z+lTh6D
Zpwg/3ZfAQ777bzC3yyzus07N/fc8j+5Luirkc0rzzPIkb65PSkLwWJj/VC/d0fRifIqcZ8INz6S
nS/M47HYtP5s2Hy7laU5scJ/cGQZSlc319ebOUx4DlI64rFOqmETi+4urgvGy4p8HOBwZOJdefWF
Sg4twdsFluPlJl5Hqy1FiHW0+7VBflDy+mpoYL4laoQRhSPXslxLs2EFPenNkOugLLF1NQIPSHfa
KB9uZQHsLFfOqoUO2GA+QjuwSVpZXSVMhWBaXxqIr3s+uTOhbaP5woq4eLEQdTXjED4RxeOHMCxW
tpCF8bEBdoZGcVV4FKPfAuTrzCXDiQJp938wzF5qYl7Cb2KOj8aDFpjAC6wBDQYb1HCQUN/fwdlr
LYO2NAVz02+aEKMpA7htVVffYfSj9KH/oXxJV8p5S1+f//7m6zyoCtFNbXklRYiHQM2d4BjCo2rc
347lpe9bsewLL3RLXK2u1EHtPCw892cj76twQwnACuHElYJ2rq+uQ5i75YZ3gIduuriBTuPtn7+w
FdkIO5njsC5ik10LjmyWcYCV0XEdPdChfjfFw51JLVsAEGYf6RAjKX7xFbSu3LjZxXfneG1AHTTH
VdTKSV6RoW4fhrRryAZYGWS17hojGwhHujTEji3rSx2r8+Bk3aZlw48mUx/G2Tz5diMLFxwbBEdD
f4hVq4qrTDP+UMx5srarqj2XqLdELPjU5FIebre1MOk2Ik6WgRgjNmbXV0OHNol/EZ2aU9aJy+vL
4HYrC1uHrfMndIFUJuSPkXqH1KNxHMjagkjfg4gMIMUaCHipFSu+QwKTIpSpsIADaDsPdTTsFI7w
TRUCaX67IwshTq0QZxK3AJhQZleReLV7GBzmAkGBRPld3kGQ4bCjvGvTfHSnGmwgkMAgX/7U9FW/
8uuXJts6oknhTa4sQnk1CiIGFIf/OzEzP0SS6w1qasHn26P0V6wuOmEd1jDJnhzocoefCzE2+bZo
oX1TOBDuSRxcCqqIZ1udee2DytJL2oTPt1tdCBsbL4fi7WhkTPD0MKU4CFQVzkMHgOTrO8dUjvmI
9Nu0EqMLC8FGzdEQumv5KIofeuqjB9IX1X5UKl/pytLXrZt6ATMsNSqSXYGa8YMtVCBACeOUsODO
nz+vkDdHITPQ35Gszq/Gk3V5gTYf4Y9x70Mc/L7JmGP0TQMkgE8VD4viynACHiW2E+yPEnbgcJiO
xvhXPmtV3m5qabDmv79pSisIQEPrFXVvxxu/g9/Qbv2Y3JuTsYFyKKZjJWvanDhXX0RWQ4zeRyGs
q/r88b4OWDEvRh2VLgSyT7ytzkMCKmOAZMzKTC9FhR3zVJYQQabuFQDSaSOTrImfiAAj24Oi0MTK
+JTRnt/FIYK/lhX5Zhrq3pFpjjtEOvSQsuj9r7BhZ2eYLqS/7xouGyUHIFMSFXEmrgoPfEgU9tTA
P3hqx5XK58IxYsPjaK2KCDnRHrEBH/mw7t+3GZzXIwNZkft6YIU3rJNGdEA2p8Rx829hqnx4/nay
uC+3a6vpoXCBxLdUw1VLoY7GhM+KwD0PGtHNtpAw+e2V7FbW7tJgWXEOmfpq7HlfXEXOp+kH0U1U
PDLWBuLzmLVd/vO+EbNiPPSanBk3rE+w9r0IdzBQhV/14Frqg3WoF9RDYrI35FrXALCxOj3mMv/U
CKRg7vv1VoC3kzOMwxAlV2JYOYHR4FOXnwmUmIYVAMVSF6woZ+7/cHZlO27rwPKLBFAbRb3K9myZ
meweJy/CSXJCbRRFURv19beciwvMYYbWhV9nANFcutnsrq4SwcjzdHopB5N8g7LbtDdKgcp/Aprw
8iRcQ1imTQ2SrHhmrp+BaXoaQU10s7So37TQYN4Y4W1HzmyAHJpQl54DlXx+n43VXYSNEWclhPHb
5Rm87QqReP7vRQHItgabGq//kUn6q5jjR3am/xa+/8sPps/+mYXl8kCuiVj2LQvDTdIP9UtUQMT0
kxR1AHhA1Yzi9+UB3t4LZmPjwNoEjfJAr59nb/6IOlGz03473wxIUm20JrmmcB751aWaB8JE6AYs
XjSKTg9qjOm064IkuQreTpiNi4MQG01YvkwvqiobTCGsj+g9vvLSZjZv3jyupojlYD4LBRmjoEX4
BDHI6jYl4xYCx7VCllGrwhBI+lDzmbO1DnYRKY3/EAp/ohs27RrAsmk1LgTyxBiglA34hkcC4ktz
Hc0cNsAy5zzsPH9oh+UlD2WhdqRP0j7Dc/86bAyzgW865KDEXSL+IhqwTKMHZyzX26KYkutKiczG
vRHlkSoFN9Bnioa3Z7Hy6BfiHPHvVRZmk+SZqEmkGHvzGRqK645B92svNA+zMMBD/PIQjv21QW+S
GBl0fcFfZOB11U7RbrwJluFad2rj3ZAIIRBUnMfnXMBPC0+DtZdsKsU6XJANdoPysE+ALRifdZE/
0SYZD6VKbhBrmo3H6tuPSGbT34kEL6uRJsNzqWqdgTCB3YPFUausY4s4yHT8GGuI+Mk6fQ/JaF5u
DHt+Af2NZoDO+H8dnxgNdFo87r9Q0BVlQWeavZJd/06m1Ze4yclGjcS1+ZZxQyTMr2AXCAnORUUt
OVJ6wIfTH5fPlmt3bOueWwVZO1OcuArHW8nnj6yc9I7p/Hh5AMfvt6FvoCLPOyRQKZ4V54iGdVOS
3EOZZFyvipmYzYmnuIwJWA7ylzrpaPQ0ooWL/5OqnskN9+pYosS6pM0cFAsPcb7+SFEa1POzP3HT
BF2njTm4hjifsVeX6NhPIB7vjHnhigLnP4dj7x2gQyEDkfWKbyJ/zt9748za+DfRhJHfdsn6MiNx
cKuK7ltZr/IDADZfQVS51cPvCJ+S81F4PZulqXwTzcWJTrFod5yW/o6DZ+5b1OvoAB4RdV8jKLnO
QGxQHGM0SVHcyXE/DfX3Mm6mIpumer297vxaZj6ikdZrigjXXzdAncKg2WPYVy10Fi5/37X1ln3n
bed5heqKk2DhC4quSOGmUn2uBhEfrxvBMnEfwiIzG+Lxec17Fe+jbqT5jznXXrojeOT3vy4P4zB0
GxbHCPEjUNvzEyEdVZ/LIFHVt2aGLOeGkbgGsKLyQA7LjCxwcQoSrvfcr8jeH7fAaQ7LsDFxqk/a
ClcqfzG0/aa68YdsUfqM0iYC8GyTDtE1hfPoryyjXPuhbPreO2quq/AgUcGddomPNsT95U04r8Ub
Bm4rykcEDmQd8/xzpP3fJZS0bpASfDyX7oFxvYNkt7jxo37j6Lpmc/77q9mYKm8GQarwhXmgcBp5
9O/ibRI0uz5uvbVrX/lJ4bfhC5/89Rd0fvRD7eVbABfX1y2rJjlKkcqXw7MQCfsKbPMQ7toqh3bf
dftgWbVEVxUKuHUB1gVwsNRl/CC8PuMLMkMjXjSHFvQyUwNVrsvDOZwItUyc+jxOUbYPXrQWQ4Yt
mcF0BhK9CgKG17lZG8+mmy6oezkUX8AUVz9Aesa77w1Iu66agI1nq4XkzYSOiFPZN/IuyCEuGObQ
JGdruZWWcFi4jWbjdZy0cWi8I6+m/lGG+bzP03m5M/2c3yZsi+nHsRU2wx0IGMdG8SF6KT1wn4L7
WaDnTQ60zbwwZqfLy+W4YW0oW14KtFisBdBMsikPBGTGWTwH8c06TO8WxW/9Kd+Krl3LZhl5PUbL
PM3YGejvQmSwmqpdCRXgWy8uq53fbdq7a90se4804MBNLktosep4b0w+HiA1aR7QKffr8qK5RrBs
HvqL4JQKzgqRGo8A5iXz+2mBLM8aNeuH64awzF5I4vVoD41fggoV4NsZyiTjzqh26XZVs261sLu2
xLJ2COLkgGX5xalXojmEOA37s/RKDKnyXYKKzUbk41gvG8kGuBxQq4UuTxAULQ/AZ7N30An+hLfc
FlvM2zRpIEy3r/Qm7RQ4c3Af6ukUBEigd3x+YikqQRI6nZkavfi+5f5vnwfiadDo2r68UQ7/b9Pd
gZc4jUlTT8/QEw5uyhw94UnKtkRkXF+3rnlV9SuHzl51UjMAPFANnfZVNaj95d/+NhkQVu28Ya/u
XTHSuUxn0j786XAADQt4Lfs6/Lb2JHyPFrnyIYJ+SAM1OaPu8xFMywzMp/+QAox6PG7QbKar5os/
0y96bdGpl3LvOlwOs7Fwc+r741r49CXAw6LLcEug5X7Am2bLi7uW1nIT5TDQBg2swzMkiM/MeqE/
ZX4CuPiVB8NyEiIuuJzSvjwJDJRkeg3XTCUdNGsvb54jQLM11GmD1rWiDIMX3oC9i4eFvwOj2rRX
DXi8wLj6a/STYYcnUrFhxa4Fs5yFX/IhZFNVnTpRxSh/hWNb3zCBXtaNGTnuIhsNVxOG5yuPkH6B
3FOWx+NnXrX6Qw1uw9YkfL+mEKi7vHiOudjAOJKoBmrIfnUiDc58wgu0UpTAw275I9f3z1N8ZVgj
0oIzWxLvyIS8jaJ4el69PP143Y+3nILWaOtOy258jjw/vJ2S8fRnea77uOUSoqrShrMleEEBF9R2
gIO2Wl5XlWK2Ym7dyNkTBjZBJg+a7iz5MHbS26gLutbcMuiaCwm9ARiEBu1OxmfoBlUL3+rdd9xh
NhauRDoWVE5p/MSXppW/eRrXzIfsd+nX5mape4RO1zkOGxQ3sLoUXZqH/5Cz1nJcFIj4tNeDkv26
HbbsOIdj6qVugpca1OXfVXV2qf7iia3f7wgq/gLEMZDxyRTvLcmgLXkH4e4hPFB/XYf7wUvqal/M
jC/XTcZGx5XgrEOasfW+Qic8AAtI0y3rXRp0dbC/vFquyMKGxo2VjoOVLuZJU3/4Wc5ShSLToJcy
SJ2vqZx2qkzh1dnAQo5Ao0OV0dvXyCFW825qq2TLPTpOoI2by1OjJFgm/RfRQzlijz6d8WFphnje
pTkNNig9XJtnmf84R2IosaboFPRpxsu58A8zSpjg5oxiyNgbovsrt+5sx698pCZioalJ/ZcyFVHy
GFWofRzMMq1beXWHQ7CRcxELm0JUjXcMhlYv+9wDbKpSXU5uLh8N14YE/50A510JOtGoPhEfAlY6
6NuHoU88tKIG1/W4ssB6BkSU9EjpQOyLUZ89kbCl/P2UD8uY9asZ440z7looyyM0IxDEQZzUp3yM
9M1ZG+TghcWWPIPj6zZIjkB0BHWnHoyRgSB5ViUroH+JSq+DtrC/cHFlGoL5U+Ic+RGb39GpCatb
Po/elkipawLWZc4CGUR5FMqHyJ/Dx1JG8tP/47nqiONsFjkgoTqqS4ZQJGrlTdyh/zERQ3vIzzTj
UjXLI3CZUZYGW027jmNrM8nxKk5rOi35VzIOfQkBURGXmQl9En/00Gq2BSt1DXNezVfmLfOmzItQ
S1SaEvkdujDsiYPg95FzP//nKgO0cXLVajg2Y6lOHo9ASzomzS3/owNU9dUGy5TDH/4lUKtAC6P8
sjmVCxCeRiCrDg0AtVfww02BDqPrZmLZuSGq7KNINSe94nXXN6Ldl6z5Nq7+tSNYNg6R3ZoJ1VWn
ZjDeLl/rT2HA6G6d6y9XTcHGyOFxyQaeTNXJL1k0Pqyga5U76qHp5EAhqrNsOF3HhthQOQgSpo0/
UPkAuMj8jndiOVDIIb7LUTA4KLolD+s4vTaTHK73Tpc0rU4BIe29GCtymCAYfMf9YSsYds3k/PdX
BuJVxq8j36tPLA69nerqfFdNEzj4pvB32vdbxP+umZz//mqYIFiTpZjW5sSqMpjgfuEedyB3b951
pPE+Xd58h4sklrGrVZVkCXLkKQLoFxg6ftYBK65LGNvas0EUoCnB65NHbrp+6DIoOAPrB0G81d9y
Vq7fb13lAq36I/cG3FGpHsKsGfq4y8BLqLcwsQ4vTywDRyIKHcPBKp7/cIWO7MNZDFjOxZ1s8m9/
6HpC3ys2vIlrNpat1xHABEunxXPQDAxQbs7fhyraKpO+faASGzO3DJ4fgSxAnNK1Ge7KZiwfg9F/
YX734/Jhcg1g5fJab11nUBmLk0+Kl06s0Ic4h1WSzFttWW9nGiDybdnEBOHxvI3ECQCq234EBox1
w31FvswIRPtik/7cNY5l4sMs2rRrpTjhbbD8AyoFtoNm0LRrFhO8SA5+4FoX/VW7jlL1fyfFiM8l
MO7i1DfQwczCyvf+LevKu7luVywT14FJwijFmkXe/BUMpM1+IfWnHtQB+8sDuBbLer8TM4ZLGvXh
P6xHERBosUcwx8td4yu9S/kXUJptoT4db7rEZpZTSRWQMYryowrRsAgEsUQTbCNCSJKCCSpDQi35
2VdVbLIYGQQQ+gJi7mcdNKgvT/VtA01SyxsYLx7bfOXjswnYeJiHKXzvx2v99fLXXfZjmb+kcSU4
98RpjUSbJc1QZtD2MtkY++nGWXMM8RfULgc6Ounz8ZmO0bwzMeQoeMLvWsa2upQdS2Rj7cQKOoWe
Vu1JolT4UUKVco4mfry8Qq6PW/YfNakHLjNePweGcLxzxTj7IaSwfIpe6+uGsEw/KStStAUTpxGl
8n+LStAHAGO2uFT+JFP+Ls+jA++/xp6zbp2bRJF/AMkN5d4L+nTVWTqxlZmMLSySpwGiGhrFaFm3
Msi6ohzpoRIxn/YjauB9cUN7cPgn9+D8UvX8iCxfFP8WaR8hudv4c1+8lEEQxpCdI7T8mHh9oM7C
NpB3rHRrMkgBVDy+nRDcNestzvFKmqwkJKxr0LWhK0PtgrwFvDOTcegH7aemHdBY+JNTpqJiw2e4
NvL891fBjTDaW+YiFSczIPsTU20OYtwS+z1v1VtrbDmk0psAQS7W9ihB0rQDS6MPyhLECVkDuYDb
TqebKTOXOVnhR96IeEjRdnw0If2CYCTJuJpuPK62Kj0O32pL4RoGeTFZ6eYb58LsaCG8m9mvuxIJ
nRV8/j7VPzsJ0oTLZ9+1cJYDikyX8o5U8qim+F+gor/nU6P5bgj7JwhNgMr68jCOzbcBgTLWSWuo
qo8iYNUBrMk0Wzr0Fl73dSsKIWsSp3oUzXE28P11KpfvHnAKXy9/3bEhNhSQNCSkqL7JY/SHC53o
H3mZ+j8gLxcdzha7T7oo+Hl5LNc6Wa6IolvJG9JVnPgyjwlyhpM4Q5i1uS5LldhgwACeJs39sDpG
DBTVJEQgm6OxO0vN5pFyWIiNBCyrwS+rsE0f/9SGUCd6ZmXR7j2oK23st2sEy9qjhgUqWog4xYkZ
b5IqDu4i2U67SW6y7rk2wjLzMRmSNZ3K9LHm+V0w4cHaUDSjX95l14myYooIVy8SLbw7BmfCvVrF
n0jgiSXLa+ntVgqQ9DqiO/1K27NMXNVBUoD1nDzRmOTkUwCorDkwz5vk4fJ0HD7EBgEa0YF0sh+7
Y+n571Fjb2RWzk2etWr+2EzxlQWExObI4+juYl4eskdZ6PXDrJkss4Tk0wayzXGqbDRgOcTBAIIl
eQzwoj/MaJYBlz+SO2KLNNVxpqht3L40oQn6+gicAOiK55EGCp1q+VaOzfX988Re3bCB6td8Xsr6
qNDa98Gopkx2VQ8GvY1j61qg87ivvo9uzbDporQ90gHqYXQGfY/QeLQ0cImXT5JrBrZhd0XhD6RI
H2dIqr4jLTSownYKN+4619ctm9a89kQfniOQJMy7LEFjwJAF8TJv2IHr+5ZZS1mSeMr76siiFM9H
tYC5Z4dmTrKR4HR93zLkpAm0XD1fnEKjflISpuh7aDa6Qh02bCP98gair+B4kkd0bKo7Hnv36GqR
B38NnynbgiU4DpAN+GORV88xEe1RzUx8Hou1/hhF/Rm5zX5ddYBsvF80UdBdF7xFnUexQ1Q13fM0
1+r28tffzgwlNsyPjR0ys34TPZVxUXpZwAeWPuBva7vPTQ05lBvfB+nNgcZzP38LAE0n15EzJDb4
L0qhzsa7RZ64QMJ5CNIbaKtPe4hJTTuPbYItXDt0PnqvTJxq3QtQnkdP4G1ovkFB6p6ptfvVz5t5
FschthntcpBVGkg1FMcI2ZUU2tV6WR7DSORXaWyRJLasfBTpUIbxFB1B+TBGh7ouUraTrN8qMbmW
yLJyA6n1gA2JPJUe3tOzwW2twta7X/NN8RKXMVqGXtbcQ7u0Ko4gqyEHNQFvGcREPyVKfmijaqsB
xbEVNtYP3DTntsGwOHKq2wcVxuQhbRHZXjYWxzrZMD+D1k2vnWn4hGY5yEBM83zDSGqarG3ajWjZ
EUfZgD7tr3Epl0me5hiagioJ1D2ZO3Uncy2/e6T+Evegfrs8HYft27R1LKiVYdWUPgZMvjsHhaqT
70ajvB3gK0W2eOPnxK/lzeXRXFtzXtRXdjhXS5230i+PCqAEc6eQm5z/gfxBWm908L7dP5fYmL2A
t7HQlPrHOk1/BeVHmcSPsm+nuxEvz75G5zb+kNDNI+2akH2zR/XQDzGPjoIN1d2f8JDV6xbfisNg
bAI7s1a1SFIiTzLp0CpHo+hff1brbeqz4DGIxo1L0nWkLdOnCnpxoEJpTzoOg+XQAZ1z8M6s3Llq
Wb27vPWuQSzjh3YGIL2qio9aSAGykkL7yx6+bCoOYeNF4u7yMI4N+QvBl4AUdYj9+Ii7TAOJ2Pm3
1bqG+8tfd1imDdoLUiWwWEYe5Ty1DyM6eD5Q1R1nVAu+lczXT/56nUQ6SWxyO06TEMLLU/EAmuX5
wPq0ewIGa/0QLHn1XeQT+3p5Tq4VOx++VzbJR4OeMKHlEQVHSHtxQhu9o+A74BuL5rBJW0WWC3jL
Ykz9Y+4lNxFkEDMBkSfa9k+yam9ZADdzVn2quuiqah1qAv+dkfIn1ep4DY9yjZBWjxiS3R9XYFaG
Kw+ZZfXGV3W5BGN8ZGYhJ1yT1ZSB89cEG07ZYSs20o/XbImQBI2PZs4F+LxWk1aZGVK1HCozm612
CNcwlt0HaKEE/L7qjjk6NqGR3qibs8JbOF7JvZXYtHd1TIyQNezFRAbkgG2NMteULJ9zAtXwZdlU
rXU4ShvwB0W0cun6pvtfjMRI5Tf0rqx3rSxGaLfU3y5bimuU8x36ylJY4/Vx0LAY2di6/ikqOJi5
SqrfY9kHu2rcgjE47MWG++GT89o2gX8UnH4/K/uxKX2qYR0CiElJwncDbz6hU3/jynScAhvUR300
c3Rximx9vsS7KiIm03Xyy4vJ78vL5nAwNg+ehKZwDPkk/6ihQPNI21l8LmLlbeWBXL/fsnYx6r6a
BtmddFnwp6CMlvu268V7dPZslf9dQ1j2rmMv76Wp6dF4uv5OJ05vhddA2Qp9HVskUq7DZcX3ZQqK
clMs7YmD7uIlrUj05Q8vOZ3r+UcIF7rx2HOdLsvocyiGoEViJEfp8+8l6f408xk4tJuyB2IfYRJr
2dOQA9By3fZbF78qwyQKY+SZgzhOm31QNb548CrkLDYiC8f5stF9cyI1KVPTniiyIOadRIsDiCXK
WNQvV83AhvcBOWQ6lTb0SA04YHMOBtVqvLKPNvHPscYrrwIyUNlrBooKHePKLRdlbppz6/Tl3+44
Vja2jwgJiVYiupMs5+C5ZES8bwIKEQIQMWTt0n68PMwfNNoblSob0kfbkCYoX3cnkrY/oSj4YV7E
/Vwv+Z418gNR5p+5AW0uuspuFcAgLC2+JxX+e3l41ywtH2DCmI9QzJYnQxZzU5bdI43V9IDEBiR3
ry0I22C/eepRpS268uHcV52P+p5DPGVjn1yH2DL/mCVrKUvWnaow+j2N5XDwgs3Cguvjls1H0HmE
OheTx5HrhGdMGBifv7Rb3Yiu71smridwbLK4j48ziElu2OqZW6idnC7vrePjNqrPJEHS9BFrjlFB
cugdgP1+gfLXdR+3rnSQbRkqqded/iBjUvAGgvyabeGCHfeGDeGjaxLoRRXtSQ0hbguvaMPsTBEI
SdUg3RLldpmezXwnUIqIEjAMH2e/b2l8oB1KIY/zBHaju7mJabdmgALEusrQUd13SZZXrZcfgJXT
1SPvdUs+TU1ReJ9nM9VbQb/jpWSryKJqDdii17UnFtZ5eAu22Li/0eCd0PtlDNJHD7JJ3p5QRGmX
d9KFqLEBgHzluRANfIAuwPkIsnf6AnFsCPAkeWT+aDL9SaIoiEXeCtrSx3zQW8yiro22AoQinxlg
HEV3SiBmcNuYJLpp6zwDR+d1dxyx3INq4sVfRCBPrAigoAo8wxfSQc1m4/Ou3285iHiN+xbpufbU
R7R7llPbfJM5fw/x2erm8vY4PDSxXETQxoOJw1EcaTIFh8BvPgm1mkM9wIMu9aZ+wdlu/76GqI0M
FIVhiGYLdaJrXD/IumqzwE9Qmvf0aYQEz0GLfFe000bm5O1TTm1yvUhNdcoX3aHJrk72tAGUS9SK
7cgEKNLapXft6G2Ry77tB+lfiEGQWnlJLMVxhFIoGn+M/LmCQOm6C4ja7HoFnUcJBLg8hXEC5fXC
eE8Rq9lVB4zayMC6WxHnLKw9oUcZ9BSmgLrUR/AlxwTJgAl00pdPmWuNzn9/FUuB0LeOWjYGx3Ge
yn3JAQyd1JXscdTm14viAFLocmyPc4VIbcZUvHdJGgpxVd6C2pjAGkh43gAjf5pZ+guMHhWQh/Wn
yyvztv1RG+8XLL1Cn33oH0c88x9MyPT4Cae3CB/yyGf6uJZFumHqrk2wTD1qSh2rvCHHMamXd+Rc
ndx1ORimNjbZMRUb+UeqJW4KnwDr0dP4XT6MNcyhDKfu29IEuf4ISmp2pVXYGEC044ZBu1QdHGOe
vwdAsz0ieh43rOJPH9gb7som3BvnumzbbiaPIMsc3gsPefc7v/LS8H1Baxb9Hlu6xOvtIrSBRN/M
aRjfBUGkf1CsADiPxkGY5neeJwta1piCevTXIPVx09KqKMzB84JZfqQoSEHzalRTPvrYD1PKz6An
nrsvoc/DaMrKNez6h2Ap8mRjYo4jYLP8MZAIRmZExlKFc3DQnc+PPhH8qoIxtZGHZQ2+vWZQ/hEI
pvB21KqhJ7zGV38j4nz7iUz/YvlLTD1JdNo+ah+ouzk6CwCnBWj8CfrnZT3t65XdhTS+H4jYSC25
Fiz8r+PSyFpAZKFSJ5kq9R4MB/GTmeZmf9n4377eqU3vx3NdhxE04o6GhVX0TCn0uUHfrqCZ3JtW
bWyLaxQriADfr8YrnCdHZJO8G+7PBDrWy3TPofa94VpcQ1iuhcuOAZRDu6cJdCo3U1v8K2bwaCCs
3SqDOm50G9FHUoB+I2GQ6omrEJQ9IzlplvMb0J+P93nsdQ9DEl9HFwru1//uelwQE0mCINlfUIm+
g9JPQj9XWnXXibPQvzB+MeH1HIbdE1PoZMhqAc4jTwrVbhwsh6XYUrd+2+hZJiPcY06HXT1F70qS
TIeIRsNdUErcM927zkA4eR2C5vbyYXaYig31G5nIW39J/KNq36G/+8W0y4/LX3acLhvhF4fCrCLE
C0KpNPrGPLZA3FLKbFVz+OvyEK4fb9t5g+YL3SIOCojPqt8yZHT8qAbdb10prgGC/x4pUPBVCYEO
GfoKTJDvoWmJm8ETRbUR8bq+bxl5SaEdPyxtd0IsPwV7pLNi8dkL8ysLeDSxTJzmNcBeclr/N3ow
BaM3c7NZUXVssY3po9XcJqKLEYfKeS72S4LnR1qvEO0tcL1uBCiOpyi1EX21CkMKhjH9ZARSbSpG
2aMMcBHWIXhJtQ/0XZT3S6YXIT8a339pt1n2HRZpo/1WKgYyTH13mpVff8nbVDydk7y4XT60S59n
cx6nO+ONk87mFn1NVx1rGwI41yKPIOdHj3JAte9QR+CkOPRLzzZs3hHy2VSAY5UGCYiCkqPqQaI3
k98yDaMb0crHBEnTjQyC62ycj/zrx4MSKRlKeOMZ77gdmjLSXTCk3UPHo615OGSDKbXsnxMoT9aF
MseaaLTwQlc+94N5J88HAFLqfmaC4N+ZhA9h6R2HBk/JNtfFlbtk+YYSYGLCB40MCQd93K4MG987
FAql7CsHsJxD1PeQzIpQSlIMgMoMh7+CiyBiq2nOaViWczALgFzVjNMdmpHsG+HJTKRou0i9+N0C
7uRsItJ8nv38G6LCh/9H6tdxNmwcYTCraZrQTHIyxhPviZzAFtiNLEqyWajiyrDZBhLi6eePaYUk
+lhr9OOCpe6+Srtlo9DncN02iFDIUXQR1/qJcqR5slEQELq0fRlv2M85annjMWPDCBWY+5K6HfWT
RLEyq5vuA/dJvh+hsyllUd/Mazzvu3HrReuaznmrXpkrCYjKB4HDlrYQ8+lZ0f2sgFc5XPZorslY
zgCIS12RMdBPupxvIsjI383BeDpXYEvEHUb35X7pttJIrtNleYWSFV4uI9xKhknyftRAd7FOkHci
1Futja7Vsmy/WiAHjatBnoK485tsJeN9UeTr78ur5fq6ZfgDMnh8BUHnCeoebKfH3LsLfbP12x3e
P7asHhkXWaO3Rj+BLaLaAS/yS1XygQfDKeWbhTLHHtioQVPrFXC7ST2NLTS7gH3rsqBCBt2r0Qpz
1Sr9BR3Madp6Ffxv2enxZmzQwHp2Vdd9/PygeWUOalJ9HQ2BeB7D8ldk0AWjxi2EtsMYbJAgHvNq
jVRiHnUyLBntqb7js/gpOUe5pAGGNm0hcjudQ4vLk3ENaNl2EDGM1BkkI2f2aZ1qEEkrdMUykxa7
bqFf0Eo07eN16/XtGs4y9hEwy8JPkF2nQfnLSJ1JVryn+DweTw+5J/b9soXkdrwvI8vUhYwLhW5c
8XyOyvIUCGvwYJzBHWMRvGxDoBxhoI0c9E1DRRLCOUaV3+waUyMcA3mvlzIQQsfNbg5SdhN0Yhdw
tgUldTgBmw5QemnZ5sPQP/1xl+OMFzrKmhsvf9e6WT4AWI6hC5pWP6E7Js3KpZCZ0clNfpYMhqTH
vkI65qqzZyMIzzSGSiCT8Wh6oKJkA60ZXfwisvmZL8PnFiejibZaZxwHz8YTqkH2UxnDI1SrfIzz
Zd71gh0jGtzKqHo/rwOKtaiUX56YYwltQCEJkQpXJtdPogMhrWjovzoG2S4ZofM1pARlq039NcdR
CM+e/JUzGsd+MRAogacD738WJcI8dJPWt5cn4lo1yzvk9ZRodKuaRxWNMc4CaHHOqYezwco8pDvS
RZ/OZ/vyaK65WM6hNKzzF46w5s/FoMZ2P6txC7jg+rjlDmQ1tAB8gJTD1EF+i37eKSsKlHcu/3TH
xWnjCBNaLHGUU8QVZaIOPuVqN4BqAO5s0CIT1ewfrxvIuv8h5eZx6NvqJ6IZtCdh9f93S5ek+nR5
DMcFbWMJwYrAaq3OS9UantG6nfY0hZp3F2xKWDmGsGGEuZ/P/TB5/ZOQHYXaM9i0kfNHz78yfN1o
x/uDFnkjTLb5Ag242me+kv4pb6ZgvCGyaMWDgLIM3nnQ0/XVVzTUg44+o6U356CR1DyqfhLFyXD0
mi5X+Z6AQKc/CGkSb1flC7L6Vy2xjTyEym9simgWz7MZuoMC2QQP2+5wLesEtbGGQDSjZOOlQJrj
IYrGVrB//dsu8fz18u93nPe/kIakRQ4aOtEnrwhJhmLQz7Eg5Mu04nW9dN248ZBy+J/A8gg5qfU8
gIHgBK2W04L87S5dl7rc1R3Nu5tzzQ7EY0zvmqJbuw1TdjgKm0kQ7EbY8hoRdjwQ/cBMnq8ZQjK1
lRtwPa1tDd46MUnr1XggnAFcrTKnoqLvQDQWPI3zbJA6xls7MfGn2PeXuwTEVNe5V5tfsE4b5Y3D
JJ4Zci9Z5CPABD/DhrG5Vs2KGiAaztOmC9sT6oXpxyHKmZfFISgl95cPnOP7NvQwVh0firBuT1PT
xvuyLuQdFHK36CkdQZyNO+y9qCbtEAAS2spx53UrR8qQ/Trfc+c0UdGnuz8hgozIlTGcDUaEznOQ
9mHfnuqgKHfBDLBVkwAXfnm5XBM62+2rsEANQVytgqePDFqEuiG/x4Wbn2D2LvdRuza3FQQ8b4xe
+VMBR7Fhra49sqIFtN7GCxlofZrKvP8uk34YMlnE4d3lOTnuDP887Ks56ZTNEfDaxfNcNF/O0aIE
hvbR40G84ZRdv98KEVjTt2zKS5wxjQaT0Gv8H8C2bHVkuX6+lRcICHhnckiePKOm+hV8DN1BdtVw
D53cLX0H1whWbJDMdGC5BAOVF/ph+aIi9P39AIkrXx7zUefRh+v2wTJ1U85tC8YePKwmKKcBCAZO
YRXLeO+3dff78hiOrbChiCLJPVaQsT6tYV4/QM0sv6crQbv+dZ8/3zevjpIYBGdJ0uJeqUmU3i9d
WzZfKZPxdSyr1MYjQg1PNH7CsNkx2oiFD1nqFK/py7/eYdw2DFG3cS5RYVAP54wZL/OnmfL0JkKm
9n84+7YmOXEmyj+0RHARAl6p6kvZXe22x3aX/UK47RkQIAQIEOLX78HfPrTlVrHBRMxLOwKVLplK
ZZ485w7J+6cBvSaH9Z8g0rYzY2+CDAFaV4lgEb+gFaNMmdPWKbAsSAfTeiuEtpzev1CFoc4G/Pzq
ImVRHT2n7P9FajkE0b0adp4qw8AjQXBDIfK7TL0K8y+xO4GL88DrMI8+Xt8a2yQMI5dxXc0DCOcu
2fpg8sf+jKiFn9GTs/VoXj34G0GtSS4oeOl2YGqv/qeswhYhsgP6yMqXOCrkxe0Wd0uQzWaDhp1X
YGiDeNbML6DgCA7KW7DzeRvTb3uWKjQBhOAsjPx4ovXFnbs4TzUEdtI2qp1DL5wtmc23pxCaqMGI
5mNfN3plw8k/AY663AWw/I3r4u2dCE2YIOuGcSjALXapBvqpqtD6qFERPjW4mdooEBve1jaFdfRX
rkp080hzDm60uZx+VSRLo81WgrcPa2hCBVtEg3mtwHs6U7DgANYrTm6mgehFXLAr5gxNHd6GCTrI
qIDfaCGCjGtCQui30nyLfco2BcOiXSgZVQuJamApQ3kT+n3wrV3QYTO3XXO5fk5tG2CYNKl4wZlb
45zy+UsPSfgDNMvKjQSLpUwZmmhBtoC+uOlzVArhsGMq7mKAm9Nh6bu7mXL/ZlnfCIQcp3GWhyHE
+SpA2n68PjXb6hkWvpAm8DyUSS9TEA7Hwssi9CZJHkGDwAM48voglvUzQYQ+bvK2GbLqUkWq+6cq
0BJ+aKpik5l9vbP/doihCRx0lh5ch30jLp50fsqVIwqguMuamVrfh2JhVVoE7T54LbKqf5qjDwah
pizc+qKIFxwXNSqaCg2VNiC72w3PaFsxw+SlB9RbWBNAVwIkRlPfH+rnqG2F3rftJqpPuGSMAirW
pwcUfFMp+vZexKF3T0mmtp65lrNlQvt0pBq5cFI8uiMUOjIfLHqZ66pDRDZ1721DGMYvYndBRzAc
sD+hW6wOo4dhIPrOW9r8Zt/ZNWy/ZCVlAaq5lxqZiLsGj3LJ5BZW0LbNRrieU4eQYUQOhY3Nt1hB
WCyp+uTrvl9umLYAk1MSBA0co1PeO2EkjmEHEeXrH7cs/F/QvSriJXS9QZ82I0NR+fWxbKubEiSR
Gyf07Qg3NOF6PB5j5JnRJRHP9ETYfFRrYknM2dcMMrA6HO9zCDDALeuNB4HlLjfhezwE8AUZVdyy
TfyvWvoqbVs3P6LRpQaVar/hCi2pn9BE8WVeVVXgNIHlIWQYZwAqYwFBbgYM01dIEj8sFWIH1EAA
6e0foqHKb/dt2LqRr4MI7JcnMchFDt10UKXnfq3dsowPE0EL/8Yavl31CE1QH0RZBtbVAb9IYO1+
m2NQT/KdF8Rd2hfkqSvn8n7ffAzLzx0dsAH/P8pkqQ5yjtRRJS19Kavc34ktCyPD+AVN/p99rk0C
0VB+mtcqUbY49dlJJP8ROhEQiwJynEVXuF9VIqtd7QlhZHiG0Clqb0J+9RIRL0MH6RjT/ohHJPl0
ffksnsdE/rmDE8KAwUZflUycFrRZfyNhEP64/nWL8ZrIP+nki1A5kmlrfRwaxWmu419DrzRQ3Oxn
KX9qVv2qO7bVz22ZjYkBVGMAPISDeIWD6D5K24q22S3oNp1542DbBjDufAGgHQE3DL/EQz8/QIoA
Zd2iG6J2w9vZvm/c94GYUJokyEa0bkfvwpx195FfbyTlLFZpAvog/iFCurQo5mSzd4euDendAOwS
gDJLyijlXLIjJI22rMYSjdF1jq88TdJCjinO5gbZ8/qXvyI9mV6yuwkm5OrnqUw66BHQrYvINjnD
D5DAo42UunrMUW51RgD7tF995w1aHsWtr5TnZecZD1m3PaBm5g1k4wK0jWu4hsrtim6kXQ1i0jCZ
TrpqnVsSzRVe4lp4D6DF+hiAzW1jNNv5MNxBszB0c6KOeGm4N13ipeJBqkVS73vHmjLAbEx6qLg7
1aNeiP4GNCY0QygreHJo80U+QllQDhszsV2AJrqPR4QNSRDlZylwR6gE3dcrobiOuzAV5fwDyqf1
ERpf772h+uQBf3TdJVlW0IT7KQnNP6iYI/FTR2F3ky9jUt93TtNFn68PYDn2JuKvAiWN63hufnYB
vbtRy+d1Vj7tXtQAPR8+dSev2cdxGZrovzqnSw8OP37xSyg48c6nT1O2E/QfmjyBGln2adIIHPte
t9+6OHLJneu6pTxeX6k15HjjuRauW/TKQcRTw/UUDFCU0EhVNlH9hIZO9+RCf2VjBOshM7yC64Dz
vE+K5sJBt3Uo0C9RNvN/yJtB17xJ2LmO+5Os1THJ2PwjwmPx+sxsb3mTONAbNaHh6OOe6Lz/egDn
SPg5W5sL8x6QKqBCqsMKcfIi8Y6X1a9WQRvr+tDr4r21qIaHYG2GEx3m9aUAAcVNNkfFE3Dh4u76
1y3BsYkKjD2qssQpQW+PpDlEZfIaHExddwfSwq9t0Y4bQaplEiYuMGsyMLN4a9DPkxY9dmuZaqz3
ZTNDExKYFVnn4ObmFwopUySvk+hOKI9u/HaL/ZtEguj6rwjCBMS+RXb+ncJZgx5e5L8gc5GOtObp
fgXk0IQJOmHdLL2om0uDEcQgfqq46NMMMIJpku0NwC1HJ5+/LLPzTQXuvrjOFBBuGGtKkHFB4CQP
H7pKvC8D4TxHc1sfF7e470WvbosBnL4k8dyNC8N2Jta/v/IWQsqkHoVKTlkxq08x2s8evG54uX6u
bR83/ISuQDetkiA5cW+mH6vKD/6bJ9Tc933diBE8aOGJYJixXMwFDZ/vd2P7baw8aO/ts3oTBthm
OmshEgmrD3xoWUAjsFEp64pp5+IbOQSagSVbTvAqbVOEfiqzpp8+Si+Y6tP1JbLcBSYAEC+QrpeM
cZQtWu8faFfpL5q72A/dtBtPKYvvMnF/Mot6cEL79QUAGMYOtfT5J3Q2jl8K1hLnGBI//rxvMmus
+OqoUt66ftR4+VkXui5SyB+67xRdIMAFLZB8K61mcTQm3o/neK+3DTJSYK7xUwc5g5qASgWKMs80
6V6IV9543hZo0mIgJp8grWM0LrRQfwKyrT904Ti9C+pNKiHb19e/v1qwCsDvcZ6i8Ewb5r3rJPj3
WM234gzb1w3jdsEfHzEnyM/MkeFRTpDX6DyIYFzfbNs2GMYdh1McD12YnyuW/YrnEVjtkN6OEi9D
0k4fp0x9ibbbiWyH2LjepdLFoEIoBv6uKiKCHg5Q9eAfgOip02pm+1SVQxP4N9YtXcqkgTboWr10
kcM9bvMiWIzdhPxp3+m9biyri27UYxBHFNQX/fABmrvt8/VNsWy5ifdzQRNcxIksQc8eTU9dhKRa
STZlVWy/37DvzkN4kjRLeflNcF5XXp42ABXfcx78u+/3r9v/yiDKAUlgplGO8UI/fiwlHZBd9Sin
N9e/b5vB+vdX3++AngmHURTnsiRBcAsycFp+nIbWaW/RTLRs1cBt22DYtQzEPFSoLF7ivupTHYPS
LW09GewMdk2AnmzyKQcdYHMhRBUf8eEa1CaL0j+vr5Lt5xumLTyeJXUgspOP0l/KJtnclOvTft/X
DVOuGl5xkqDmyovYoccy8bz4KW/AAr4RiVp8hW9c2hnT+RwzwCgAWoV6kTv4t57Pl8e1LI1IpN5n
ayYez+161fYDbE3xkECQO4naf1vtocx3fZ0s0zAReQyJlaJrKnahA2o7DIfqOIMsCaICtTpVfgvJ
xn0DmWbttgg7CsUu2dyVh4z14aHri+7dUqOdw284+XJ9HMuxMukBdT0ugFOX2Um2U3yXV0v2I8qa
4uP1r9uWyzBt4oA+ZSYBA6bU+49PTuKkoiOfSlxGBw8Rm9xYLdssDNvuSaMC6DDh+Mqm6A4iHJrq
NskUsBvXJ2JJHpvMfyDmESUHOc/FW6ZaoXN2Gp/A29J9KCFg+r2NpP8ceU3rHiMNrmYXLmaf2Zvi
v7paeK0TWVzEXAffpOPmX6M+r47Xp2VbN8PsUcmnhWgqXB7+XD9AfznzUjqILZyLxbP/zoS88uxt
puoSe1FfwmYWj0iI8nd+EUG1AGRAG47LMoSJyJMjbVs+Lsnpt+QQb8LvbIZ2GWAXL9eXyHKETbFf
b2KT9oeMXSJAov04c/x0FV6etMNOnS/2yQGGJjKPcieZgskpLq5W0IFs47spFHrfg8ZE5om6HRYn
KsuLgAbzsYFTvO1H+mmewmjDPmzbYBi6m4e5ouFUgJ6O1Dd00P4xm2h1XAgApfs2wrDxWMncC0bJ
fucydOLGX9x+LasB+XB0B7Qx77MJU+p3BTVptPcmJ3fJfsm2gGjVjCrv9UlYDM6k8SM5d5mzZMWl
Q1rmo5wV9Y7o8q/ZhjnYvm8YNJr7wZQZIKPskSI5itHrczA+VMk/+36+cYuP0HkEo0xYXGg7Dx/q
ooovCqmDLViWJVWJgOPPUJAjwhln3U9nKMOxh7VQl7sQYh2L5uCiuzxVAbjiXdHUD4TzEpKi6CdH
XXrP5IiJyvOaxcuHumaXMMnpU+a2gh+6wnc2HMnbW0NMXJ5PKM+GHBnssBra5K5Zxn54aCGVpXbt
PTEJ/KgbugmrsfdahvN9nvQC3V6Lp7fACGvo8Xc2l5i4PJ2D0IsB0nnhKqy+NHhvPAy6+UR1iX4h
MG9+SZJ9fLKQ9P3zHIy8IGWwFNAlF03SQBwyztVNMoqtvbDk4onJ5MdpkDntgHyFP4qvLZguV36U
2avCY7SiN1aWYmRiHjw0Mab7T5j/57SCIPSCugtxl5RhfXK8rv3cT+FYbziXt68qpDP//DxPgOzQ
4Yw7xO2Td7pYe+XpJA4ibtStC3mKjXHedvaoMf85zigSFRBItKLS071j+fqEovHyIdFhvSWAYDlr
JjpvnqAI60wKQ2hFUtHw94XmAU39wYEXoJ48RGD825exhEzhnxMKMrZEUzYUFzBrEn5bO8KbT3HP
w33pMfIXPK9Y0PkGcPyDWBRP86nWqYgiyAn/k+do1CclG983Q7evDkxM9j0WqyLPE1yVgzM7IH8a
0Ja5coD1pD0Iv3kqUezaSGTaXLaJ2lsGp0o6UPpfIiTE06XyfyTJ+LHw+edQZH5KW6iiybVLU9RP
oHJ+p1pnn782oXx5Q4YqRrf2xW+JfBTFRDMkHPW48XnbEQz+PBREB25HakwMaLgixaXNU+r70Dme
lx/gjK7S0cv4cdfVY/LzIXfQh1B2Ax4ZbeBzLdgROYqt07A6zTf89l/CuwsSEnE5ocTUiW9SAhjU
NqBdvf7L3844ktjwBR1fQuGEOoGUS3ZGY/YNEx1LxRS8TxbxPsrpQz1sUQDYzpoJ8EOVFDTvpOne
KQ383aTmVNPxn5F3CuIoOGM08g5LVHzwVoBHGesfa03z+jwti2hC/1xO8gziAkDV+0m9pKLO+JyW
FdnSWHz7gUlMpJ/myVyXbYbsFIq0KzUEtKt8Tv5VzXgZIwg+d2BvmMed0sLEhPxFIK6PpBP8bzxv
XuIjpFq3+hZt16tJ0ecjC1lqPtaXeugfGlymblMNKboZ/2sdUApDn+lDS4CHb2Pxrg/KLSUQywVo
Qv1Gtkh3yv34lLWIelgGtaEKiVbfgWf63X50/SxY7r/I8AwylA2fWdk/ggpPPsm+r/wPJWucJXVo
T5z766PYTpwRLGRtMZVVJ5Kz4rCuHjx1TQDiuOsft62UESp04OkIHEfEJ0Ajp/hI1ZTfg+VM3rAJ
0Zw/uMnT9YFsszD8QyabnvsdmsG6MXbOgL+pT2XC2Mab0PJ1E9PHnYhMxQDMSV/nzqceYkPz7RCE
8z5IOvkLwxcJz1Vsjk+qK76TCUBiX0PqBxH81mvTcpZMur5sgch3NNXZGS0u5XToyhhRDpvm6Qky
efukI4nJzgcyaBo0vlMjzZN5y6GOKD93a8yz8fKwTWL9+6s8j2irdpz8Lj4JkT8zF6pOMpm+AMyw
JSxtG2Dd/1cDkGr0xlpn0anK+ulA/ORMmii5//94mFsM4i9evmyeAmR2o3M1RPAfaIrUM9jX4jD7
Vgr947ox2AYxTFqgtTMrwFmCOtNcpqgw5SlYmC9dQoMbL0F75PVhbFZhGLfW6EZZpDc+cj288Cxu
7qLdnsOE5blF6xEVhtHJnZrywrhXP4Pzr/un4xw0gouuNrllbbeIicpzM5aXLdDoF8fRH/uqkx9l
thJytKBhjlaygAq15X/6SZfnjFe/GN0CxFsW0MTlEUBKxlmA3U3ILPnoDqi8pJHT6n3IWmLC8pAq
m6Xr9/RMEpRoeSMZHjYFv921/SYQTywxk8uUyRc8ZsC57qJP5xurd4K6IEL3py2CadmXOZRCHjWF
1CG4txGX0E2GANvSG5Y+yqBTbk2nR7R6tQdw1Zdlih7HaaN+YwnqQ+PqRm8wXxaaq0c1gqcGoVx/
ECNAipKFJ7yTIES427WbuDsWFEQ3UyMf/ab8FWt0TbB+ygHN3+w0si2WaegJHTOAFtUj4F33soKE
1DIqZxf+lpjwuhxvEt6w2T3rBVIKblx4B+a6+iabRvm4nV+3zMGE1/Eig7Cav/SPfpdkz+DaLxhI
hedkS+7McnWYADtFZUeKkXjnrIvli9ugrwX4b/7PVFR6w9/a3iUmzI7WtFwJ472zjF02TaAM0kH2
3mMt7q3UW5IpHlI2oo5wr0AtPgS3QBeNAtRerjPF7B1JKllTcLOF0JO47gNss15voFcXZrbM8eDo
3jv7cfwUS8AVR7CF/NNTJTfuMtu+GW5AeLoH5Vrtnd3GG448QWdxEUJu4/rvt319/fur31/nkLOX
PRKAEC3rTrnK0E3Omq33ie3rhhcYZxX3YuL6UbWz876GRsIBfTbiuO+3G7c8qWat8p5VF+IA9Cjj
Ljg566t739cNm+96F33o4MB/mSs+H8oliO4L3pGN3267c4kRr3tIwWfZxAGuQ1LU9cNPUAxLvoYD
jSELD7bbpk7OHGqkt64O23eLml92TcvE3EmqM8Ypw4Ftegdt627wQSvv+frHLdZgou1E2zOoXsDH
MNCgXqpq/pJn0fJ+pJBy2DfCet+8Oq+KuLD/mdLTSKd/3KTq7ljLs7Rh/pYfsyQITIRdTdBTWpeJ
86MA1O62RC8Cm733fQVOIA9X2gFJxV9OVL933XbnlhgW7pMQmf2o9c+Arev4JgsFzd8XfgdeleuL
ZgmHTZletngs8XrfPf+O6pmin4lcerQX57+WSW9xgtk23zB2hVIV6gclnHPd6n/yMVOfwY8fDmnP
USLZuAJsg/h/7r9PHQTd3uCewdNTpf76BGJV4J7qzJv2vaQDw/CFbGSSx4F7Jo76Mk5IadTzzo5i
YkLs3L4cAGqPh3MsKTC1cYJsUBr5TrKRzLCcXhNlNzE1ZXmgqkvex346B7VIx5L9yoR80UUepLnj
cHASh+8dWm7xNlr2xMTddYlTDSHD8RKrNtfvPSF9Q268QHp310+w5SIx+fJEFja59kb3DGX24lNH
fQfc180W6MQ2AeMSR9NWVwZjNpzhp8gvFofJU1dQkI3PRVt/3jeDdexXjosORdQ3A2bQRc2IjgCQ
d1PRbXhF2/Ksf3/1ca70LEbAH88s4f53KlU0vW9Aca03lt/iQEzIHYuqJAHTHz35EetSnSA76jqd
875JlvHOWWUW9i2SYd1Cot+DDq2LMspUPwD9Lz5G8Si3il22ZTIsO+aEt4Fy6SnrQgVCXkB2mwG8
Gvt+vHGju3ndTGHS4OtT5px1FzhnpOXDf3Z93QDcXf+G5ZyboDpfO2EQgVEQQkErbzzx6psx8/JD
vUr7XB/CFteYvHZofSz1nM3sRTmQp13Zg5VTtZ/9NUfVdGj6C5ykT9sOqcMp88L3IAHe4m+znFIT
YhdPIzjvAic88WHVrpi//E4k4in13xzyLZoqyxky5XdzWXdjFBX0JEmef6d6ET+Twi8+XV8+29fX
v78y5K5xeVMsi/8/P4cyHrQBEXVsbI7lcjDBdVAyrJ1RaXJaaRUqZ/nP9fhPN1bu7UrzPsTiofSG
7j7Av+ybjmHPuk08FI/d8JTRUtyjuuw/AsvCNxRybMfZNOdZcLdcXPYC5lgg+xuRgS2lBP3+52Xi
m1B/25YYZs0Wn6G7omAvlFH5BYUo/2cNHOLGfW2Zgwmrg6AcaAygNnkScaaOyCi6KakJPSQy24fc
IyawLk5UCwFaLzwhnmneCTGAlnFEBe8Ygu5wI91jM3sTVtflXoss67pKLpIYnu/rtB+aw9oeoZte
pSMOl6qGCyJR9VBN9dfrB8y2fKsreGUv+YgwBmQD9ETr9utv8h/q8a/9tEmaahtg/furAcAJMnv1
DPY2kcF3+bT5mrm8PAQuUljXp2A5XybvHTA+4LJ0ZfGC7AxY3Byq67QNI75LK46YKDs/IxPggkuI
B5OMf0/A7crmUErQTO2bgGHkpO4EeioDLBGXc5JSXjVDOk/oILn+/fVp90ZZ3WS8G6LOXeVaqhcq
fd89OmTO53Ty8+TiJIW8i+cqig6O0F+uD2fbccPeq7hS4MD3xSNikTF1wcjiBm59461dN3tGCEzw
nR5KmmTVIh5JPF46pZZDwmedlt5mQPv2mQpMhJ0LzR5IH3EAlHwkd5EDy09DvJl3eXuFAhNglwSl
qDzkDy8TtL3SocjatKw9+hHlR/58fYlsEzDsmqMNRi1ZXr1wPyw+DW37M+qzcFfOKzDxdbFb1r4I
lXh0/baEAgXCVycDfd++n75O6ZXH8ENgIhi0yC9VL1zwN8/AyVOvdrdewLalCf78PhryfdFFJRDA
dO7u45FFgGDwTHy6/vPXFf7b2gJTGlcM/uSOSHM/i2b+4kIi7nNHm/eOA6B060j/5vootkkYV7fD
/FKLgMbPkSbsoaoHBzRLRbJhwravGyasa+iHTlOSPOc+mgQcVflPyt/kHLR83YTMxbTIe7cmyfMK
ZdTIyh4onbaa4C22ZSLk4ipI6lnk2fOooYmBmv5T3UMlx1nlYK4vvWWDTYgc67Trk2mKnlkVfVYs
WJATwOEnHCPMTUE3noy2VTIsmKreDyDj1Z1570P7mA1tLW7iFqmujXnYBlhX8JWdjXVGoYjjJs+8
G8NjKAbvpeOd3gdVDEzQ29QmwArWbfIs8rC+TyQZfqrCCTZQTm9H4kFsGDGfBq4DCT1r1rTTkeTz
RxWcK4QZ8ai+CKd0jwW4Y52l2BVmBibubUxcHuWcRRciY/lOSFYdY5SXv/ZJsg+sGvyFfovAl1+4
IrpAKZ3ct0tS33qdw8HV32x13f5uxnnDOZkgOAoel0INcf3O7+iRjeG/cdk+jfGTD/iZmtQXtwzB
7NE8iSa+90O0v4HA/brVWOzSRMRNauzGBP1aL+GEQOBYZCvPRgmcCgsHxzleH8RypP/CvglXjp5M
6CXn1P8plK8+BBEqKPviDhP61mUd62kVRM9N1f8s/Lw4AofxEi31PpL+wMS6oV+SBuVSxs9ZmY/P
Y+ve9VCo+7xvcUx7HxoR+35cfS/jODh589jydBJFtnW4bIu//v2VP2HL6NJIj/V3zYHnzsdpONbo
cdvnrUwomwcSwWppdP29mWpy43uFTCvVb8GnLIXRwOSqY0UcR6OTVN9dWUPPJG8O/aTugxKqFcEy
f3Emfpf10e1U0IdVv2nomq/Xd8Xy8AtMrroBKsHjOHf1d3QmfZdS3scu+VCAnRGvmSGdcnWrAnXs
Xf5zpWzcGNR/O0gxCeyoxMc9pwbVF5nudYA4PfzdpuJD/5iG7kEW849iZafHIefpCk6ts/GW+mrr
TWLx3yYerqTZTLoWXGMQyjvn7XgYa4pmuLz+SpBKC4HzPKzrrJt4Y50tt7YJkBu9uR3roCPnnDhf
RS2eaDH4N5k//NMTfwsbazEBEyPn5m3OQFbSvOs6qOnSDHBfFUKN5Pqu2b5uRASOlwUEj+nqO0tE
n+a9Ez8VqBP+uP713wm4N+4Gk+iu6hYENlVbfdctgIPrcWja+bZR0+1vm2hKSLC3sAf01atDvUz3
0cAfZhJ9owWEpgQuqdDZasK23BYmC54XJX7ruJy+oG+uqA5to+CmwD/n/VBCRPvudBNJJ2Pd+LHq
grMc1tQEy8cDW1AKi/gW8ZNtx1bze+USM3RmECIS/xy3xfeuG8LHmqNwcX3DbGtkPAGEl/kRcl7J
C/ZDFe90nEe3hVMQHwLRfrWV8rRNwXgKuHU4ddGSkZPv1Z/cHoA2sBdtYfItH/8LN5cQL186fPy3
DmtM9Y8qw0tm1/qY2DgkyP3ZyWN8PMYbXpbOV0WBG24Acto5wppwebW9qoxBDFliBD9oszRzoidw
NQ/HngNCfn0O8dt+2kTIdVU11h6n5NQ5/YmSdz5KzyIiNwKYh5q6H6aWbOBw3k4Sge39z7lAEZuM
rQ7JyYV/lBzveullB/BzfMmo/+8YexsxlMUPm/R14BpFH1nE/R80oCAbdXLepl6ZkwMpBvIlq/UW
fZRtIOOFUPRdMIxsrr7P/chvxwWKgVMsoLTiI3RYQC52fYcsVmhi5waJnqGl1RgmzPU9ZfUtMJPt
GdRSW5GPbSKGnbsTH6KB+u5LXeRhkvb1qFLZxC6EPUD/QuNxKwiyTcUwdRXMusvBGvC9mkDL0gVj
dO+zqkojCfa966tlMXgTQ5dEcQKNeVz7rYBWnVv1zvtQTTt9lYmgY9DelZCZcl+QEh5OFIf33Wok
13+6ZXVM6BwLhXAz0tTfE87qT3Ov2Yn2oCvaP4Jxv+cMJW7ZO+V3PoMmkOH9qgHtPrXJJgrAYuQm
A92UdIUqATF86ebqdtZkOYSjd0i66ARW5hbqEmojmLDt8/r3V57RD4dqHKAQ/sLY5N11nQNRlabr
FmfDi1j8oqlNi3Y6llVBkLwMuePfll4OefDGid/FQT+jA05nR11Ny6o55t/u237/zxlVFeniOZrJ
jzih9LnVYGOOoZx3E4P6dcM4bCfMMPRs1olXwCRenJk2dzPqvDd90DRgQwVt9vVZ2PbFMHFeaNmN
ixc/T05efUAXuXTTBf/tfAOa4Dhdq8EZAIJ8wWZ7d5I20SfqjVv1SsuvN9Fx2u0m4TkVeYhRUvoc
d6CUTp1gE0dsWX9TddapVB44EBT5Dg7aD+7KB1GoyTn5YU8+71p+ExrnS6UYQJfey7gML8sUq8OA
i33jhFqM2ySbg7LelEdxSR7AZQi8kn9w5doGVAG0NMn8e+J2W9Zn24f176+sW0HTEYP12bfaG1lz
ywk6yo4LUoAbM7FthHF1C4jwZkOfOy8yQXt4FiGw7QKP5+lUFFs3kW0Mw56TCdQ+ZaeclxaqdR9+
c7J6gSMBQw63Enq2ZTLsmWrSxEzJ7CWepvpTPIfxL6cAjPf6WVpvhTeeayYQTrEm8pxlcV66CRLt
Rdud+gEPM+UgAh3Qi7LhMSzDmHi4EgJTTJbSeSlQNzmgSw5cgAl05pn8n3/dR9kfmBg44bZkqKU3
fwOfXe8exqzM5EdnDsotYJ9lw00EnILKHlpxKuclrCZUJOfyPBdOf9QQB9i4lCz7bUrGdujnG1uh
yEnpRf5oYzd+v7uzLDAVY0tviTi6X7MXJkGWHnpKfh1ntPjJ1nc30kK2CRh2HTejn5AwIyXIGDN1
545c/Vtg0faVDU0Q3KjRo6TnIv/ZlyDagkAdvRsAc/x13R5s+2sYtJqrxUNVMiwhNpt4waFzKmSX
NOROJHWKm+uD2FbINOmJSGCLJ79MNaI15AQd1ZZnB4wCy9aj0hLamPxzVQ58v+irCEO0i/88dQDk
Cxk+5GWZ3SvVgK+4KZN3IWs2MvOWVJwBjPs/moydpm2kvyGXRB/a1it9dHcu48MIcXT2AKJ0XkLc
LGkG6GrprKfHuiqHYMO/WLbNhNSxbpZtvIz6WwcexdtGZk9OXsfvi4ltjWDZMxNQJxnopCGrgj3L
G9Dl/4ZrIYe1cagt22Vi5sYBHZiKDbCZMarJcqxWWWAoJtT3qg7UTZix6TBnUxPeAkQ0ORvn0LZn
62q+uoEhXtCM7sCWb3mpbp14uQv7bzVpTwni+gxQtCD83PntvpvG1I3tmBtK1U75zzwuk1s3CW9c
lUxn3oA7t5231JxsB8G49JM5Y10VLtnL5AFaBWGDVh/nIao+adXwfexfgUlSl4yVBB3orL814ClM
HYJ0JjRX0WgFZfaNA207boaL0O5SNQvxHKQuHUgD+cCSf4W+qXfc5YF+lxFe7TydaAwRpCR76TJn
qW4XSOeAMaAItzirLdtg4un4kuel5+dBmfqN8m9UCOjOyJEFmDT/eX0KtiFWU3o1hZw7bg92f+el
hN7ul9+iQND+aM95QfZdZH+B6apMUkoGlMoZ8Mp8OGQj9D8OUOlzgi3IuMUETaq6aq7csmpD/4HT
+En41edsQBmd5fBbZK3ciL6ZDizqTgufi+d9K2eYvUQudtAiTl7i0nG+aS/6LOtMfO46dPBcH8ES
7v0FpitzqnTbx6dxbo6VDG86aCCnQaFuV7qS62PY9t+w9DiGmFYwuNlzhPz7MedCHHoX0jJNx6J9
VmKy14lORIMIMv9Uuei+xnXaHKMo3+Kusy2SYeLAhHmyysIaQkzgSZ4gBngsFfnOV17dNAEkZGMz
bAtlvNYDCBOM6BKIX/pGidsWTGMpyaP8WBRbSshvOyvfRNK55TCHWgf+A7pmq6P2g/H/cvZtzXHq
TNe/iCoQQsAtc7BnHCeOc5zcUImzNwchBAgh4Nd/Cz/fhbcShrfmzuULNDq0utW9eq1DTzbfDmtf
tww94i2krAbNgBHjLt8ZF64xirYKVn9fHWKj6No+VCyeSfprsQNe47meieBdX6Csd8s5JTZNncaL
x81NTE5ZRoDvQTMTJAimPRTTnq8PsLY+y8zeXIREQEq5nCbnV2FQDt2nMiibU6mhE7wxg7UBlv+/
GUBPfvm/NByv0bH7MxorNT5kiInbu9tmYJmydAfuQ/ahuXSjb+5mXpF7p9xS7v17QoPYSDoG0HXN
6oG8K2r1yAcUVYxEqZGl/WFpUuhU6O9um4Zl0AThdpxLp/hOilLnR5nNoUriVBu6ESWubYRlyZCJ
m6AbppoLH0P5IwR7cb+Pitps1QhWbMGG1Iki9UhZO+C6CHlxSP06TaIq9JLt5PTKZti4Oj7Jwo1R
7DqZKM32yN6TRIIj58gN6tvQigMXDHFvWy0bYccjorOaxNkL8mUOhNmVE+TvZqcF7cz1/V4BXZA/
eOccB9JmBKxCS/xMQGKFNp4PBXgUBUrYk25Pgvafhk4kYDO6vz7m3x8KSCP91xZbQxFkxip7maB5
DWKpyE9qAwHGelbPIu3qw1wW90PtQIjk+oArZ84G4FG4qUEVIjrR2QMfYQMOjIaL2+B9xAbgtQ7V
hTe35LLUhfOU9ruCVlv7s/bTibVWrVv4IVjyfhVVJD4hmq7RC+lnH68vzJqxWNY+1YWoIW8Vlwn3
5p+AuqR7qqPHOduE8q39fsvc2aT8sYA4zqUl4ETXxcDOkFneoslb+f02lE7OAFOWlPonENXHOwZx
WrSoIss75/Hvm1bIxtFNI3hsAxjIhQDiShWvoM7MqkMrvOl42wjLNfPGMyFNXTAkdpHiLcJn15mq
u+X4O2l5o2f6A0qH5m+vQz9kmaSd2/2TjVVB411cuUDG76/P4e9hILG541rwjXqaGXKRPbieEMam
yYTuoS9+N/8sW9BYXh9mbbuXQ/ZmqTKPMg5VguKFCpclyCpH+6YuRVIvRC23DWG58dilsi86QS4V
uGzvxMS7Q9jJ6CAas4XLXjEJG2AnZJgD7qXyF4DJ20+0q2SZoP3hNuJwYqPojOZGuDL1T8uJVa77
Lw3ifBcHuPSuL9HaZlsmbUaqoBvfkUun/R9oQ852NACkv+qp3FfdZmvLyjA2Lq4Y68JvfVp8b9P6
ImpT3uuOfIvoVN2DfrfY2O+VzbDBcBzi5ZFq46hM3ChQ0Q/BA8G/Qa5qK3RecXY2EG6KamjV1x1w
K274uQ0i9wRNunjHS1yCzgBWC+LHO6co5K/ru7M2oWU539gIYNJTF4PK5CXmTbsPfNrtwcckN1z3
2qZYrtvQamKhEPRE8ULaQyww+jctwOLpxSDKySFatGHpKzGWjXqbg8LkKN7JS8MhXFO1v7JiQPjD
x+OQMrZD4/ttdWBiQ99alw3+KIm86G4EyttTgJTM3RYdwNo8LPedx4RB930oXtqm4QVawCDp2fhB
vgvbMn7vFaFzUH2WHq7v/cr9yCx3zoXTxaiY4X7kPLgnWaShT8rVsfHRO33bEJbxcxBJzQTv+gvA
fGN5VCKo7kKocbOHiZAbyQmJjYYzuVem3JThifToWJFDpR9Sd6neFtXWRb9iJ39g4gInCLxW+JeJ
RyH6Vlhx+j/wiK193XbqiF2JX6T0EgD1oX/6LhmCc+Do0NlKT63stY2Hc/0or/MwRXEk03VOE7ch
/0vyqft83qQlXEGDExsMxyMd6I7z+tJV3jcKUqxjOafxpx7687swA7LLeP6DX+FF6vlSf5Ksno5p
zn9fP21ry7j8/81lhkc6+iRMLy5TLfN9GbXnICbThrWsfdxy9YKbCVKQITuJrPnadsTshniTwWFt
eyzDbx1IAAVNyU4AeYmEDCI9LOjBCh2hN2V2SWAZu85RLGr8gl1adEjsUC/2z7G4UUGV2ExyqpMj
rYq6vqRu3z1wR7efbm5hIDb4rYKKcV2j1nYBMHUCBHGYoTaZiYxu3FIrW2vD36IoqqdgdsuX1KuR
EIa8NnguFRTRNl7NK7trI+BMW/gCya/wQqv0/lWtO/C7k+dCoPemg2+rso5NIYGWz8Ul0h6KjY7v
sDwxbUTvbvv+MrE3hiWcCYRnJe4nPGd9cSRAUJd3oePS+dttA1iWG/g1nn0xL9Hp1o73OZS/PyHk
7TfO/opbtUFvOuQ8HUAl8+I7xk2TIvRRdYxCOSRqgK3tHEh1vh8I2zxQaxtumXOspohxIfnLADGN
ZOjGOfErMiep8bP99RVbCa1sCdasz0IwYLPg4jKneay6LKSP0FOf6J4Oesh3FRTb2431W5uO5cUB
GRxC7mE6S2YxGQz7PRUUkvNQNL0+mRUDtNFvbhCF+YgOrpcWiat2B3hGOu79QmY3xiE2AK5pHMjG
5YRdfEzmQKj+ZOKsvYuGbusOWVkjGwNHoYeL8MznL2ih/S0kblbm+D+GDOHnbWtkReok5dVcM168
ZLUO5J2sAprfhw1XN4a2NgzOj1o+M3AJvYCn2j07AAV/jGZZblCmrJxXmwkuaxvoY2RT9SJxMD9O
ZQs7hA7T94Zl+V2ryi0NqbWjZLnpAM8/kA1V9CIadEvvVaY9eQLPs+S3XVW+ZdvEyzKQWuTlC2jy
skNNZfPsTlO6pfCydo4sPx3Iuhsj0bFL6qvoue0rUif5GJkfIBcFP8f1s/T3EiyxIXDMa/2wUrF7
Mnn1eVFaWFoWXC6fWhM+6V6/j9RjnZmP10db2RIbCefUXSg4mfKXABIYNajPqyFPoGAS3HYV2gg4
6Kr1weDR6oVMBCohhgEyWE47MSv1q3SG2xTB8Tz5rxMsoYjDcav6l9fSaDfF41n32bDxVF5bJMu8
cfGBMg8ksy9RWMzzTo1qHpOsqOLb7nAbBZe5IQC0Ffcv/gA/KEEbUOVCJ2G1qd624mXJMrO3QYIO
0qwSuX+S8/wzG4PnjNR3KSA2Sw8MmEI2FmrlIvkDDNeJQeN5lCNYQ4o7iGYnmTL21RnRuYBexdsq
KcSycgqReyFzFVwypdBKnhqIe92NPUThNw7t2n5bdt6CD6tN0ZR46dAlclpyCi9xmudb/Lcr14gN
hovA5wTKrbpDnIPdkE2tnmp05wEGWZyuW/VKpspGv0UpyauwcsoXNgypv4dmcP7R8eD/clQDokh6
pwCgwgnVui1wysoBsxFvi8qyMZkHLkCkKrMiL0/TpKFMZVh6GSh+CSSYtnLHK9tjY988ySrpUDjD
dspdSFFFQQO4UK2jDXe49n3L3OOoQ9tuy8ULWrjaD1DVAWk107K9XN+ctc8vx+KNLTLIZLAcooMv
XlN5w76Kgd891lC930CirH1/+f+b7w/OlHNdwsvyvMQ25Iz/25C23UjnrRxemy1OQblmELTgL0EV
eMMBTStDh/SBovSZDOPWFqxcJDakjUFaOSSgI7v4RkYZunnAqGd4go0GTdWe57NHHcg7N24Wb5jM
2qpZNl97Pup+RhYvZZpOYSLjBU/AQgi672/bditQl6qXEet6xNGmnZvEDXpz1BmKQxsx6MrG2Bi3
LozrcKZSXMaCOifowjftjmZ18xXglC2Nw5XYxCaN04UAfKQa+YX26GFYbi9K9K7tJTtINC69dtgX
4EZ2jHObsdigNygVj8pDXvc0dfKrqiI8A2MQum8Jb68tmmXqvENuYQE3vvh98LlbIt0U5Nr/h5fB
ykF2LWMPPS/oS1ASvtCYOLuuDr6Fcdd8qzgUpetGs+P1w7U2D8vm4clHqIVTcYHI4Tdc8uRB9Ibt
CjNvkb2uXPA2Y1wLEG7YdXC6MV7l9aEPJnXP+hT8brVkSLQTwKAgSQJF2OszWrFHG+wmwLONBrgx
eyF+XTiQme1Pg9/qesNa1j5vmTuBc6q1VOwC8oHyQyb7/LMDYcXbbN21bJ2C53+WAQp3RUSiL0rV
8blPq3kL8Pv3H+/ZALeoakeJDon/pTuJAu9umN3YQ+TZLHHUr4UOoKQOmCk24QyhsjDnaDCH0MW4
rxGobjUrrc3CitmzWWsw24APw6SOOrPKHZtdhaJUtLEJf7cJz0a6xWB9QvgGbIqrXHlfoafxSQLs
/W/VT1uHdG0Iy7qHDlyZkzfnL6XbqvajRvO3vk+zCOwCCdJw/pbxrY2zLOEbl676yS3jtqhfUAT+
WaRt/BXVqM8AsG5hcP9+TXm2IGvnOrnWEqXGvBTRHWVlnaQu63eaSXWngCa/yao9G/1m8AYxXd5H
F9Z47MxSN8CtAS3drVLK2jwss+5kjYauPGUXEuruARp4QEpkU7YXuqsBZ+36jYfO2oZYBq6cqqKV
jIPLLEh+pwb+eXBJ+VgrkCffcv+hpeq/W56i7yJCG6VXJCCbl4ipIarX7Pu8Cdqt1tzXXoc/u+08
G/6Wghq36R1ZXaYWgn2AeqA3G22JKaQj6VIHwutqePXpIOl5WghENC2f6yG+LwvnKwWO+rapWheB
G2RhWkgdnJg3yXdkNmAK7dJ+vlHX2vsDGNcMtR8JpFIKI+dH2vRQY5K5aYe9KR3u7/LCeG2SISwb
Er8jEJickMI9oksMiJQyEmTcmOnK8bThcpz0UYT5eY+mmPkuMuV8BzBPvZtF/NtpdHrTC8CzQXLK
z+fOKzm7jAJKWonHtPOr69xy4wmwcnHbKDknMLiBaF+/GE2WFrF4LJj+ocC53GyljVbs6w9mOoeH
M2G0fqmb8KFWZNrXdYRlC9mNLS2ezUynercJ3Sbll9Zrg33Wl5+DEn/cdqSt+6FlE3a6mEBx7dYd
cAEAm7Gm2JIYWzlGNlaOTErkWmJ1GPU+IHpt71qj2vYYhfUZTKM6urs+i5VdsBFz0GhykGHx65dx
cpqdYN5w0rUr99lUeLcRHXs2/VyGcs9cQubs0tR6MHuPl6Agpghon6/PYeWw2pA5CC+XeVZ20cWk
jQt6w7yAJLOc0Et5/ft/fxJ5Nl6OCUjV0WFG4qOk6osw9dj91APa53bBNAqzj0IQUO3Q1e+gOjqj
3PShKetQb3Sxrc1u+f+bwMCVkBGdKKJw7Yf8CxuglnlXDpAROl6f3d+jfs8mqNO4GQtTg6o9o+2w
0zTrP7eVeFYIEPZlLNXRSZ14K/O9dqytvJ6BUIyL3u9lKQHdWYDLRQbQ3iTkO6eCkOz1Ka0tmRUi
qEJDvSdews5w+inwvt952VhuWMzaFCy7r0SJ3m5wIFz8MnAPr6x+Oe7gxHDT71Xr6Q1HsrIvNqIu
SodKUKeSLwpy2KkAJAH0rercDyLcT04qHv0ecnTXF2zlFrBxdRFyCsphFN5ENfld5bb+/wcIks0S
4Mqe2Mi6Bm8BMZg6uEyVj8ROlXeLlp6utyQ516awbNcbM1EO5SwkIbuYeP6UUQ98i2TXz+6NDzKb
Za7twDxSBDFAEDGIW7ULAmwVRLe5WxtAp4zoAjTJ04sCGvfIXDMluh+m2yJyGzQ3OtKNaImaFrpf
hX8ECjsVT2mbcn66fnz+nov2mGXV+cKaI6eAXbxS/GbREN6boTykvTwrPRyYA5V6Wva3Tsey7npU
uh4dT77UsQc4gWmo7zwJDy09v69PZ+2oWhbOIaU9kar5X6JbyhoFiAaPAXbbdthwucgJ0N3ANLsE
EJnrkfDMHLnvjENvXCAbLKfrIOugcixf0PgyQB3DVL/Bph7elK7zbGlVUWVzzQUyE6/0dFMKeZd4
uz1j5Xa1gXJD7wpSpxq3ngBgY4h7mlDfDB9TubxSVSq+37THNlIO4MdSA/0GNZShiJN2HMn9CPqF
/fWvr81iOVlvLqMWUlyeCSDusbTo8Lpr96AK+Jix6DFue7IRlqwN4v93EKqFM6pYhaeWgsXPLVHV
TVX+O21ds/Oa4Mf1qazcqzZPnMu6VHqjF55UOX15FfdMx/YxzvstRtUVa7ORcSlgnVw0Q3hCmu7f
Kc79JIfYxvUfv/Zty5JlkXZjLRRI1WcUK4s2B/1Dp28UvvNsYBzAuzoPiEm/jVGefzTR6B7BINZX
CVIT88ebpmCD4wR4MaV0DDq+GhDzJ2nOxuzgKco3lmhlf21wHJ0LyDgQQB+Lkn573V8hst+l3lSQ
XzmmNjgOEq0G9E4oG4psSZ2JIaviB19ghY4MnJYBcNWQc9x4Fq/NZvn/W8NjaHtFKRoySi30ysjI
fjA2p3d5vGl1K0eKWqZNlU+KIouiE3qw1I7gsgLN8HBTWdL7AynnA1GGZE32PSdBhfaMyae7igTR
1pWxtjyWo6a0KxtXRsGD0q57ZC3h56hl2R6V5K04bG19LO9Mclq00G8jj9DpxA704AAcQmcLBbw2
AcugVRTMtE8n8ogJAGnppvX8pE1nyt04etGX6ya3MogNh5MgksimeA5PECjHnSri+m72TJH0UTjv
rw+xsko2IE7OfVDGhXG+mdJLPzRF7r5roq493vb15UnxxgqUjngaF6nzDQG3c5plCDx+vdXssbY6
i52/+XjGAU+bZhaegNuFxIxsiwTQ+c+dd6Mwkmcj4WTn8EEoxF9F531ICTgSURa68W1oA+EYISSH
WiXkAkqO5l851JPZ3YxcQHfnf5en5qWAiqx2vnVDIe50UbZH0NB8ur6xK1zXno1+KzTqNaKg/jt4
NjjM+FHWrr5LWfhkSiGPKREXMtbRjqXsOIbuXW/QS5KXCGzmDM0YozfUh0Z0G3H/2lGwbN0FmYRW
Qy5+x9whCXzGeBeapVOq2IRdrg3xh8H7tBmbmP+eytKjSdsP71lIW9CXIjLdCMhXPJQNkIOQQxgV
XSZ+606UPDF++hWeKdqndPafvU3OirVhltfTG8MRfWB4BHnR08QZxFF8MDqBIitr0svsoLJ6/YSs
DWKZfirCLujyunlRYeolnDH5deLaNYnjoF047/p5S1Ri5Qr7gzUursqxnwf6QFzEggLgjQSMMe7x
+jxewSZ/KVzYgLmUwA2qxvVPNA3DEvqmbkAytJJFfYELJzY5+0rcrC3kQ5dNbfeQxXU65SDsCIEf
2VcRFcMv1saimhK3M5CLOaQ8GNiGIa5Nfvn/m73MwyrQkS/S32XJoYJldKUv4VxmG4a19nnrEtGh
oo3kmj5ALGbq9jofOw9dT0Tdlu+x4XWtBILI9Sr6EIVOVNcJ7/QsP0OE1fAwmTl0Xje2cW0i1g2h
3DAQPqnpQyuCEcxiodkX6JO4fkbWPm7dDYApgUwXHeUPbK6e0eI6nFDk3MLXrXzcxtdp1bFeqLgB
lscJvR3FgarvchF5xfP1X7+SNLHhdHSOKNQihqUNDJmlp6U0pwo3/TAN/FnGPrqA5VxUSdjcKGzv
2aA6zUg7dxP3/gnQQHLsSBnc39wl5NmEcr43134Xo2tqUjoz7+OMg/h01k3H768v2NqOLC7ijc3J
so7rSRDyonPaghgikiA7qT15WwuB91pCffN9DR3LyQWN4EsAIdbEraDu0zmevw+MqTbsesWb2cg6
pNlRW+kj76VH0zfyJk1Igl3jdOpMnGJLJOXVb/3l6rSRdaEMBh/Rt1smIxjRs89IpzTpAbvfyibh
MfPkRQ0Cyn3fwKA0muAACIt0yztSD0OHB4HsGvceKXmZ7igkPP8RI5V8n/E+nL8Qb3D8h8wrew+B
5VB2z4ROHSB6UEOQ+DxKsEg/QbWgqYTZZR0E5WYURboue9AZLRnQ9NJ4aKAISNpNw1FFtGJHoxrj
HBdmTX/jsKz4wdcOyTebaVIwGS6Cjg8uigzIPjq7otGfCu59q73btLW8Pyjtor6UwISgmVZSs4tm
c1QGXS3eEhLfdORtwF8BaZNiDFJAvapY05+qp+h0F3kW1huX0IpN2Wg/FhQQRGF9/4JHfygPIBip
p/thNONG9mjt+1Y4wsUA3j+IADyoWaPpwJhp/38I3Na+vmz+m00uQ61NGk3y+1wMX4YebDFdBAa7
62u/coJsWB94Frt5ABXbQ+rN7Aza1AC0K1F+lrQ8OO0mUnxtmGVub+bQoxmO1Y3T/xM0bR0f5s4x
cTLN3B/KHc5XFD9RIpqv1+e0tmBWXMHzCNYQuv4DSQNvuuMxV8WuEU6tNwoZK0Jtno3pc9mk4bHA
BJbI0EjegnKzbOHGJtFCDG/v+zNUzkDPapzinseVHsnRhZhXRk8s6DumHyJUP1ixh/nmJQc5SV5E
x9smb8UiBOQwaVpJvPxm9pz2gNQFkAvZ3fZxKxYJi8A3rRAcOnvTLx3AM1UuRrjl464NBlREU8mk
K85tBYUyBSGxBPCPjS37+5lwbTAgClncoU0Xn8yMmzL1QNOCbPgWnHjt69YFMFVuV0WMsQepQL+F
OHxOjKEbt9ff3alrw/841TWLKWvPixpgOrrkuMg7de2mCPTar7dCDkd4NK2MR/5R2QA+NzAwBeQU
s3CYb+uMdONl5DfmT2cZDwESNifS9r8g1FgcopQ+g9VkizJlbY0skye+8Bzk/dDaTsGhJQvznQtE
4UGgfl0/nGsDkP/OQIo6HuuKVGeWq+zgevyzFjIApmxL4WdtEyy7zbwi73s0Rp4n43h7t2vAWRRv
9TqsfdyyW5KWRExgnT9DFANMJcwd73sTbtXwV9bGRvgVvaJa8pL8IycwLakyeIqC2PnaGW8LqLU2
gpVUYDob5NyG+VmNwDfj0Y/3ROcOsU46am4dxDJionks0JSfImc2gAkT/hBpixHeFg/JDW+7sg82
fo81aaybkPKziVW7VxBq2M04tNeP6NrHl8V7Y2SpQHLYM6M8S8T4ByqQnUK/38/rH1/bgWXQNx+f
XDM7SkzZWROU4aIMODAKDBAkdUGWcH2Itd9v2bCM+rpl6H48swZig9Kb/m2a4DYMtWvj8IgfgL8W
7AXn13ougYh1okXY74bS/ff6z19bIcuAXb9zZgbmrzNkUL4Sj30mTE9gINnka10bwDLiCTo9Zd3r
9jyVNU/AlIbmeA61rFLipF6fw8oW2Hg8oWhYFlXZnFsBXAmvMIROQaV029ctKy5YC+TvFBZnCJM/
va7+SFFYuu3jlvUK8FCMgxtUZ3cyR0ZnVIfzdks7YmXpbeydzudGu1MtzpoWMtEcUXJagnXbc4bb
Eo3IGP3XwKB0qDzw1lRn1aHEIKL5QzNs0qOt7atlvWIWQqMdtzmDpxeAfl9X+5ndRhju2tA6lXKH
VxkWx+iyg++Fd1+ofv3lArq+t2vLT/67NiouTZi1vcD1P3zPDKXHxTWO7mZufG0Ay3bVJObAr8b8
HOUImtGR4FKT7nswGR2uz2BtAyzbzSRpmsxIMJl6mdoXIfDFXTV+uf7xlV//B4YOEW3o6xHLM+Fa
jqJs2s0KqHfQkW8l3Fd+vw2dY0XbCelwceYRwPMZZGaq7Nb4wQbNZWjENE6E7SWl/sXQJbAz4fCl
W7zj9QVa+/XLq/SN80LSHIpOedueWQ2JQS3AAtmBF/779a+vLf/y/zdfbwsFWbDeyc96jI5kuXSA
rbort4//2s9f/v9mgCjSKNOmy/7WKHXsWlgY7h8l2OH6BNa+bzleaM7NHZ4Y+L6RL9C0I7tm2nzV
ra2OZbuFiLvacfr6nE3Dd8rdf6G+0e9rf5Mdc+3XW7ZLQI8HZdsKfpe34EpAib9z89uY6l1m2a0m
BjSlAy3P1Cezn2S0bodvPricyW1Mva6Nk0sHXiutcTX7pnF2IQuzj2OPJN71rV1ZfRskl0GvJorK
UJxFMFd7ZqLjq33hQfB82wCW23VjmREUUpoz8xAXShykM22iR7A3b53OxUj/zPO6NlbOxN44th5A
wODCyJLJAOMSAVd9XBrHKt2pu9smYlkxmAVcxx3xxECfttkb3n+n/XD0t5k9lhX52zwsKy5A9dDj
6hFniPy90wagFHfxZJMLaGHJZ/Ade1IM++uzWTGKwDJpWUY9HvARtiUbPrWemfHO2Kxarh0qy6Rl
oXu/dAhmsjxVF4lwttRFU1bf1Azg2mA5pf2etIbVZ+OAOOTVGcQ3qoC7NotcCzH3IIpjfqZI4SWo
GiNzj+f8TetuY+V0GJR4hbXVOXKZf3bDOn43RDcqGrs2Si5FCSKodQoBc38oXhc+oz7b+XqL/GLl
2NgwOZ3G1OQTl2c9IU6Uum/v+yrtbjuUNkZOgFgKpbOIn1PQzmYT9AFyCSX56yu/ciht8dR2TgNw
hWc1uOKneQeJkSewc8pkW7VmbYBlzd54YTDEpzHPY7wgOfBSokHfO3qKZOIRcRuiybWBce6UzzFH
jILlBwn9600dYiLXF2htby2rnYai4BOYyJHkn+Tu9U6AH/t628ctJ5w1zTzUaVWfp2o4vG6txzaD
57WVt5yw64dgWs5JeyZeVySiGKf95Pefer4p5bLiY2wsnAAVZgTaR5zMLMifCRiGjlDmdBZVyHd9
2xe3GYCNh0uDABrIwxKmlGimS7uZfwnrzVq+F7xms//iY2x+uMjkA0ItPDPcMZI/gEFom08afvOr
XjSvDgR8E7/RSF7WRwLG7HvVo4coTWY2R5DJFaaDmtQQQSKNHcjYVHkCNEBzKDTWJimLGtlaYmJO
9qrIC++AZCURH7xZjs1Zmrbh91GmeSSQ+iYTzQ4FfnEkvoH7uR75ToXgrU94jZ94NGiKJXvpj3m+
Iy4t8iMNs/I9NCx6SKIG/dwcZSvIY0uoeCSdbM8KHcTmwSDOPqEDqRh3InfKQxwGzQXPz+G7K/N8
PmTp7P10W51/DInrf2jH1NtPMfGfp1zOUJVMi0/ZULv32hcCoxEd7wwEcJ50XTpu4jRF+Z3SCizF
kSP4QUAy6mgEn12keYH98yYT3kf1YI6DDMQ/THB2gg5tNNyB5GxR5VNx9C/vKiDtGGh7scGgbn2v
oaeNFctTNM+JFHqKSlIA5GekFEAA0rX1SQbz+INlmf6GhxD7qEEAcITUuz6gkI09YEygV22C+m0S
1R3kczK2PIBRZf4IHHn2QJdyPrhWBRpYgQLud1VcMz9RZWo+Z3mdHQnx5x7FNq96yFNUVtNIOeO+
hXIkwpyCDEnmY9+pXxWHuWXFA+lQrU5cvw4pOoA6fXTbVoUJFHbkx6xx0cDhznFzROfC9KNDlw0D
MIgXCAABhUWCocftqBrIqSBL2I7v3HhGk7JOx/6DbKboxAieYKKPfbLnIW/1nRoj+gVEE5XeZ4zr
B5dWIQXCCcw/920s6XdZT2hkzobRo8fUEfpbjFXw7vE4B1RucCf10+2rJkgiJ/eiB6GY+sJ17Fzw
rsz2UZc28qFmY7c3vskvQvXeP5nnjdm5Lfhc7yvZ0mDvSzDMvANOBBVPV6Fnswyc2D1mVR3cj8zh
v3nb6oueRfYBujMCjUvNWB8qWTlHcD9kpxzQ+y8S/VLgbPc8xBXGBNW90w84qrqcoyiZIz55Z5X5
0aOacPV/dGcUvp8KPrDuBNSiN923WZr+Ix1vqX7HPeiuSBspCe4eXBbFGAMhE7WleQxj5Il2nUyj
963b47c4oEmRSTkBR7afurCddoSj5LKb5jh/UoJ6oCDtSY8mHHcIX+r5tS+8zRXdg3ihdZO0n3hz
cgugQAAs79NHVs2UA+yWzSQhOe/7Q9ug4LmnkwG+SXm8Cg9lkEb1o0OhsHnMsgK2Hancm846Z+6X
Ct2W6kA4roNdzyf8XVQjgAlepAl+RgvjfXZVm4uP5ZSJFB1VuoYmaAcJ9x2ShFLdCwZ56mc64gQF
BiTOUH4BaDEeUiRuC4SGIJfmZVT/Mg7Mdhfh1drxXV9ANP3eC5s0f4Q4gqcR+vad2qs08LNnPC1A
soVGzCxPdOcFfC/wzhU70fQ9ti1VIAQB55sJD2E8hvUhRm23u2Okx1pEQQdCmDQN3ewumnOvuoNQ
QieBIqPVnV+2iiToCCP3M5ghm6PTBmEHRE3duHf4sX2rEgj3CTrsUspS8r4Qogh3IDHOpiT0fV5/
mapG9GKndRnMCav6gB60P3v1jqPXMtZ71y36+r0JRIFnLknZmcZaN58KH4mxxAgz9veVaxrv3TiN
TZAnzhCUwHKH/QTpyUhnZNxrQRzykrVZOQLFMWndJYxndfydxbLGG8R1QOv0nePSG95lkMjVALiW
LDqNOTBJ0yEIh4ANyUy80fmBZCt8McycGfNOeh503LNiHukD6HWlOx7MANqFISFY/uHozND4+MlR
Pxh+86zK2zPy+6UkiXFKU6lkAn5bw2vojH1yfSiEHcTkdvl9MU8VBFR4x+cT9eZJHIgold7lYdx4
x8HzVLQTalJsD8pHwy7QcVHvuZnj+SMfWoAl8eDiKuFNOOudGJx2PAS4YM1OkaJq94BXZcMTy0NR
71QxpezkDSGdH12w+e9kRkl2pF4z3+UhjsFPqL3q4WTiqdVHvHhSsFq6eQl0a49epwdRj77a91Xv
h02ClszOffJAST59LbtK6LuYxrwYD7FIG/UUZlELPjnd+QN8q9Ok7gOgSF38bx78P86+rDlSHev2
FxEhQAjxCjk501N5qCr7hSgfV0mABAgx//q7ON99OE2fdHbkS0e1o5sESVt7WnstR/uPaSoi9ocw
7ri/Mihq692QRnCL4Rxl/R4MTGy4caR2yxl2VMzN70lEoXhFtakYdoBziAkTtHk2xHwSefdiqSdf
0NqayGsb6T5346jLPVsihwaeMEtY1kVBnAUFK07IJUyIaW+h2iHRhauHl9QddHnILMZNxs2gAFcF
DHQ04NFpNYvkLxFpOJBwSDOSAIfqha/FOKRqC/ZsGH06Cafekz5oSJzhWqw3U9WqF+BNeIDZlUKy
Q96AKX7TRfno7wUululuMHnV3IZuAH5hnFh1U1SuqWvUNXmXH0C0gjSTUNx8CSAXptx4fLIiwSkx
3k2dUWq2U+f2wx3rCJRxwaPiTE9ANOb1jeWj+8tjNmBgSm6Val7nPB/syQOtwbxx+h5vEhT+DGGp
CmNyt6rgYtiyhiNiSkjWpxB4wIGFlHs8iny5wvzaUh4LO7TFiBsEDOs71fXRfAr4lH9IqCgGew1s
lt26Y6/gQ0fZmy3Lxtm+sdYNozvIOqjog0Z15A4bnUNW6dTlkCzcNb5N1aGnpSY7zsBx+Mswd462
XTvbkCbQ8KinZluwSg9HNfjR8KcirX/bh2Xn3qU41OKGAUf/hiUcM3+fpX7rjztDAfPzY+Qxwcj3
RdXM4bcMTGjmhxeWqvhWECqm72nuIA/ZUC6c7oEPqiw3GLL0auRVrWOihwI6CNUtiEia4skAzRZt
vZIHXQpjLfNxT7SbVl3CIEk8YxxQFw3et54b9RsiWwZQ5UrWU/ZGUdoxj5NUtIk7h7XDO58YogsW
RNoVeEca9vspY37xLJBOm3vGSkFPdvSYB+003dXmA6Mx7V+BAMr0UQstAbNxwYg8bCu3BbeXkSqA
KiO4Bch0SFndRRs7LxepyTrq3Yx9Ay4D44sxOiiKLsPOjG0V3XcZJMnSuBhLMt2wAvhrCI5VITJK
NQ7Tz9QNmwFktsBtaxBfjn340aq5hZOQdSVasE1FAeRMSa47vqtkGpwoL6lzoLka+WZSlXW3egZ5
ysZLXQk/wMCCjJE3MP4kmYfxGAUPg/nAvi/ElhNa0mey0ITeG78ah2gjmqr6AK4xkje+purJpr2s
bjX64Qw6Lv4QnLphVNMRaiiaV6iYZejKow6YNp8KwCuTaM86zYPr+H76XluC02mZbIatywuQCHhR
rV7GoA/uhCOrvoqrGrHPqZUTnO7o5F5071gRnAa/pvrQAejm7bwIlWm5SQedRzqe0CDDRVMUqii6
eJwKyltwq/ijv8tIN9Ee2nQgw5cbUeeavlEzlO7r3EsH2DmMq+SPVIBL9GSwaMF3y3qo0cb+XKYy
KWoPcdJQeuG8x008kTisCswLktxGeDsvdAQ7gM/WdX4NjrH8GGKM7ThOBs27WDVQME0gjFbANXXe
aFKemDKFyAamiAiNZ9KMwSsyTT/dtfnskW0IDux3zZta/OLgKQHN6YQwYDPxqSybGAqB4wukuDLz
qHUj+9868xv+Z6iZzr65qg90DEp7nt9GVjKVVEErxm0Ggiq5Q2xr9RvLaCC3GNxU5LdHAfPbwAfO
4s5TvkWt2aa+vBc5dijmY9k0N5P1gLjySj2Hz57r8+aDSz9vtn7aKXpDaT21O66qaUxoBRXJOy+Q
bPhdGCz2JmxMZ7aqHPt+b6pBZ6+Wh77YGciA2A2Bzrf9wWs4n4PjSgRCLOgbJB8gL6LNzvAMkeie
0nZ8bxr44A/RK1+wuJecZTuE+a14GbqI1k9+qNv5FKnGYg5HtYhI8EkpfQ4Q8BNcXqODsIRMaZfu
BzfMntMZYeND5jGYFFVgY//ZiZYbjvHYys+25ZTx32JwgRb0DKaBkqlXU9PFHkX+tAM5edC9ZAbO
JhF5W/PbCOs+izgvkVCgtjfIvT/J2t76xWzKrex9krhOAP8Ym2hq5i3FlT3HXtoP/n6IIqGToi2R
m5KgGbqkGa3M4HPnXm+YzRFqdQhW3I0NPCNOQZWDCK+SxUBuAoBjP7XLsT8gFHKKrTM0kxsPU4kQ
r0FEP2/nIKp/6Bnq9PsOifGJ1AOCRMDuZ9gcLiFyU2D6w71NScdfp7zGrQgKANUmXOlanxiS8J0o
KZQEkBTZD1DBUHooXBs1RQwPSL/3oBbs78eWqR8RCWv5Q8rAfwp73lTIQaruNpejl55ct2Hzrg1p
X+y1ELghBh1GCZULqEZD9a3Z0b5eSmd9VKHbhKcmZlo47Sb0iICOaQiyDQyjRGRDuiF84pyJYpsq
E9JHBA2waEIlHDMdbQiolMrxbzASAqCVcMr4/G2q3KzABd4Em0ikYbuJRhmVL2AHC75XfotEpSop
HAF1vd7ZidDr7/nss2mDd8yei9DYX5NLq8euJzV7QNWvUPcVwKo/4D87+3PgHWYyQ6iyPRelodUe
8bFovmkHKlH31VyHGNjsM7AMyRLkEAuEscGNXKY+8iS0Z+c7yBPlw4G4ArLg/cRmZ2MsDNhQNaDm
l2ZukuIYVptinMtyW2RwfT/bmlXlQ5UylDQ6pFb8HhpbZEucYmpijTF5CZnmCThUGnL2w2uA5viA
0UU2GWjt3xa1n985kTfyLUTQPWcLK4N1ziVwQn97c75tnHH4nerFS6StAd0cg3+GjIEzymxTgQ/E
2XTUgqgHQOfuM80WkVTUiaF5zEXj8lgLUjd4l0pVeit6aLlvuYsMqqv8DvTZg1e5OhYutASeLLI3
nsz+rPzdCJbSn6Rfyjs+nWBVnmPVDSmXZSCTsNOpjYi56Uif93FaFghtU9/v7Q4q9K3ZAu4r3wqQ
S/yGmy3MBoO5aEojOUHipUpcv+/QzGiLbRj2Aww9iIrYR3B1UyEZyRJUX2izJRFp+c46LY6TrUd4
Kkic2GBXALO83JOufJmDyelQvigchVCDzGB1qjjotZMsGyXfTTBHWONoYZPAH6e/wQI6DhbEpRZH
Tjb4rCBciI0GRyOra3BW8e+wRhhd1o1/myIIOkWZxUBGMUDsLeqEwSlyHf2AObQ5TIqpzR+YCsL0
mDpeazZUBzAnxMXQJBJ+wz6qgOQdSvV6VnGjQlybkZ7d/jCAjtLdGziWLcRGXeQovTYO4lyFQ0nH
zuJFICDvxVOEip0Au4xOWpfYJlbASel9Wrv9z0H6OCdeU4/6pRpBAbYRnELyQDCSooJk+BjeDRPK
NC+GNewWtA1NfsykwlBXl/UIfiG8AneVtSgvaW9Cua/kwP544cSOhU3zjR6qReqKY/qSI+e6cVLV
UWSZFoUhYBvcMl7O8vcJoeTG0wSJBYh27LHrc7aPgFJ6W6zkBKI67z7yUeGJgXYBza7iQ6M2lePN
TkKBn/0gwPONW65lVp4qcCiJBNMw9p6SBpRaIKjECH2RCpwJhIWevaGy9k0CUXS4lqqDno4esBqj
1fMdgnov3ZTFIH8Irxffi9yoR0SHiyeJbPFaQGLvAH3I/nFmKMEah/YBogLpkFOBvLfeMiRLRzZm
YXMq4WbhtlK/V+B4cUoEzVUDz3wLkLl/B+aq7sXouaxjOWXqU4VT8xumEua3cupBvGcnaZZdQFAn
xpFIpKST+N7Vbf5h0r57LoSBgDhrneGXKXFnxq3k+sE6Zu4xNkNFwl2Mn6Ad43lgqOZ6fvSiIcSs
h0T3E9QJ+plZVGK1bKLvBLWPYx9J7AjkqdKDQJUOdZPCnbYlAQXqBsqk47uyTo7gp1LhnGQiBcEu
lGQWJ9fl5IH1oXTiMiP2iaFncwvm87GGd/SzewoNlWwzF8upZBju3kbg4SiPPlIwlFH48EuONdgq
eYqKcO+21QYHhv1u63TuN4Jyu80pFJZBJ+XXSSot7gpg2VBeYRizPNQEVwW3Pp49SlZDBihHGB2l
k5kT4hWoec1TNBTwAo5MhoigKFhgEuKvIeP9PUGfe1f1sGm37LwEt2fAklGLas/dIDjBPodXVQvo
3RUum3UcoBT6HbL29smXzB6zqEcAXyrSbqZWF++8HfXvacrmP8045L8ISnYI1HBRJUXqwaRSgLNu
//6fz9M4vvOoGD/0kKGyP9FhX8+DuMHCh4c+NN0QsyZ3PsDEXz1VXpRvhgG30mZiGWoGdEKotqkg
BFxuu7HQ95b7UmCswJZHTltUUW0ZDb/rWjrv4BzoTgIpdQn0H4bP6EjoK3Tp8D6w7d7Gg+yan0yO
hiSYPMgxmaRN+BSYvj8iMWE/UCoojp0Tku/4iGCf5eH4l1c3+p5gik3GBIzYLxPqlN6hsFH6iyIt
VnGmGvVS0LL6RlPS/EyHCrcGYpzFDfpeUW2yiftFbMQYRrdCqXweE1TLYIyzrJ18U7lIGWODG7qF
2KunqngkGCw9zP2MeqWduvkT91O6b/zQowk6FN0pCzEwUeO8yAeiecvvdF9UCGKI4j06b6hxl1Gl
npRXs+ZkOtb87ggTSVUHYBZlKbQlYw+dlp8oteDwu2GKNH5hAHyEjJEpXkGsxL7hmu4f/ZDqxT17
CClB8o+aqRMZjJ1HlJ+ikHSfKLu33+s68yWqk0G4V/NAUASrXCxmj6pfkvYIrOphknoPqgPB9xyz
8TeY2LXpRjMQu8e8luTkNFnGNoRj8hHVZLAKQXAVyxEu01ppMSMLHRo/309txJ2d0gAKxB6qMdPO
R5XpOXQy34n7EU5m0zYjundzBH+GP5Mnp8SwQ4JRBiz4QIvoPgeUym5APzI+40wXO3iD9mYCHQBY
rXmKOlsJiTlc1xWyJx44U59QImokMmn+HqJL4OPscPHKIORxUxagYAPZd2HAgRBik5CT6Tt44LoF
Os6NHg1feE503waJxNWLCMABBZ3nDcNTT6r+kIFpew8/TXduFmFAxjAOTlRvxq2nmGxfQNMBLOvo
184TAX72gOIiCry4Uf0/qK23b6TvEA6O3EXd1fZi3tegqKiBDxtwFTa1mXAHjEz74Dkt+IDagB7u
UIE1O3eKOOa1x6VeDAJ+cxh7B1G/UDR7LitIeSaAe+QPFrXPpOXIeMH23iRLhHADdcw+QGHMCX7B
uP5wY2EFXs253qoADn3PJ0duG0TEzr7sIiypdkL+mqY5dluA41PEkK9WKf4/tXggIgS0AwMD5FDn
NodmdoS6Xy4JynthxF8w/ATB9oh2e+m6xSuhhEabihj1hG+e/4DiwhGY/xSoVrsdDAldM/+hawwC
AApHg7PAvOlPFQz2CaiP8ibQ8Aep9Pifjgn1yUo1PC0RyQG7ANxV6EQHpqTz5EDVqb4VVCNgFU5U
N0+hx6oGuLJx2s4csueoMyOOLoGSSIKxcnbUpLh5GCG1icHZDahq4wgsGoS1gufJQ2ukMei6dVOl
d2oo2a9SBd43nGWUH5STob2FV3+KjEbxNPMjjPvlDqLTyfYY3G9HFQwbMvTpplYjXLEfGGxxJSLx
nUmGnhJHC+aBZ352kp2mn2mYOe+ebsUD9yzqJyGBGsjrSHK/PwS2hU67l6IGnILZ9RG9aPkbJoSR
Nh+xZdMzN70RFapC37SL0g0oor2UxAE0hL1H6lTdSaMw224cdzko1sx5s9dBiWirGqDibaowx+3p
eUWOxlGAK2YyljxE4IPud5Xb2F3ZBPYYqhI6pwg22vAGuS4qGsRx6x9V5vRyC/RSiDiwN89tP4YH
5RVIKNzRktuoYS4/1BpExpODg0lqkrOYdLqLlsGlonhvespvIp4hoSoMIRB2yRl96bqpfhvzhmEG
NsL8ttsguU0KXZvnkgMNGhmwrY8xdHejfpMyRo6lgwnICQRbHwWQKh8ioO28Ga0nn2aUket9ASaH
LY3Q4XuekbA/oPuR7uF9cSVwaEnaE8gCw/YIzzw8SDuU2xT1/ApzAdxJNwJKllFMgYdhMeSlGpVk
LXXzBMpJvN4S5k6f/RA13zCQ7G25ZdV7ZSvZbzUiqy1BhvsEbDi/Zwh37miVVSDNJ12wKZHjVMjH
PKT2kN/VD3OfSX+TG2c+hXMBL1Y3KTplJoBEpBGodUZua8ak8Xzvm1dnzdYDQfizHWtImlm9JOaw
/ApDpwESNc+RxXs/Lm5PZRblQhS92K+iotn9jO64v4EXK8SGQVXxL5EjXnWgUdFsIxkU39F9QXYh
+hyx7xhC3iFDLjhsgdgpdkxWzoeqOttuI+LTOa5FABRDNfT+7cxRPI0D4Y9s5wrJ9pWv5s+G4Lwf
HLA95LFxQYsJ3U7qxk4IBZwdh3O/N+C/K7be1CJIgk9BKUKXOj/wIs9/eg6r/oJAo24SaMCIXdr4
hmymtAq7UzfO9VvR4b8jZsru/+6SItCSLxXG1uBEgZV1EPn392HG6h+eQL1CRtweINUFrcqBMnXA
UUOyt9TpMaRUlN5HE0EOdzOGfWh3asyKbCtDTJDGGdIajEdT/tPhqU8Pfe9XxUEHATIAB1y5i2py
CiaxupRe9uSk1ENfBv0mzFXWoISIzeRKXGuaPFENpcMYUFX11M94Od9B5TFuA4b2Q+8W8yckzdTw
4M0peSK5q38Q5KrPQRja77VT8y6WIZcOcKe5M8fZ4n/Q+lZbi/tEbYgduz2aNvZ1IKXZN0GN7gIU
2PBPB9G2qsfpjfaeK+8qgZZXbLN2utEAc7x72OQnX03o+FLhV6d+hLffZCOEcBBRormPCjq20QT9
fY0A2ADk93cjoBir2X8XOW5sUPnm3R8ET0b8qsZM7FpGPGdf5CAvH51s+muYTUu3VeH2aR5bxumh
7U04I16LnPLDhvI9dbsy2oseL1xX2nlCqj8jJZ00ChBmUMXiidItcrH6h5h1BgcbdWhMm7DXz1MW
2INrc/mG8rR5xnUi3mvmoiOKPpv8DSIe5AU2zJWfZGgXPlRtSTYdEm36hpb9dESrvXLi0PV7yK37
FlpMjgJMR8XpyIpXLog56NSiWMcGZxgONnfBOiCRtcS2x8D9oZo8uD7QEJiNGK2pD7YGY8xm7EAq
iKJ2lIGW2zKAVyJBxocepMrFnYZOVv7iyMAd9miEqicqheHPcnLQMNSdq34UucKBRFAMhqChdVpy
8kDRFmzQJvLuVCZpfhPOfdr9xCPc9uBPoZjRlyGAapAgVfx72JbjZxkWZeLULBfbtBrQZYokSaN7
VGK8MonazvtRzjNRbxVKR9UhqvM52zjTjN4xTLoa9sibUI9BhTwT9xFVuE+QdaL1H8kJ3O1xPeM0
PgJo0b0FUFwATBBFWtpdgKWfwXv5K9C7R0o21V0n/m/iaZEBOszO7F8JZVqwWv9Aw/GiqZjrp9Wx
QKF8Z+blFpIhrtoLzz+D+VoTWHmpqtOFXuH/UL+Zb4LEeO2zO1ESXwVZW1NYdToYeoNizrHyAbI7
TQA9EJQxACcqr9yBFeKugiflSMCq4+RgImz5BHD8XJL7Pbe9K8RdRs3oaIoFonn2AMdm4/8BqblM
ZP0bjmyFuEP0l0XId4AjC8Cg5xlZtvBho7v3pF9pDM2NEtFciByk9DPKrkMorhmqSDYi5B+5Bm4W
nGtDxeokVJf0Ic8cqLV+Y+pagMPyShzhGFgCBNob7pzHFoKk1wFQ18qNDCme52Fi7ohxUfYNDGbT
FozE/h8njS6JiZ37hpVJoz/Q+2glYowXZPAxAv035jXB/0IHceZUeSuzhibO0m4LYRQUie4rc/qc
fnOdubowo3oGaLmWb/SMhkR4E7onAuFR/0DQddUuwF4TcqQSkh0TNG6mGWDEr2383IKtYPCokyOB
DQG1R+z0MC3zYt2cP/0Pg3XnfmBl4mRwuoAyx7mhE5g/BipLxJDmA1TB3ZWfsLJzUIEJxQIFJD8a
HRWUTLIy6UUX3Y55pV6+XqZzu74yd4qYXBSVUEcvGtmRW4UwemRd2F0wjTO7vmaZEgX6faylqGgF
TkyxvQkZBIAyBgVxeJHrJjjWVFMVAmIzjQCvG7cGmsVngFc+TgNqceFmtshMLuHYz2z6mmFKdBoq
CKOujgTXJGKr8g2MFTDDiwN9Z/ZjTTJVtX4wSlfAuaYzrt9llkZr//fXm33u7Ze//8Nzo88sXeOU
uKeAwkdWC1LlcfyVNxdnBf9mBvoX77GmmDK08A1Nyx7eQ7yLIHugwYvQ5A9gBM/Aeb4JIw8Qefs1
Q7r1um9a2TnrhQt+cYxdZFHVb5YJYA1c4qHHbXPBDM9tycrQi84FQLTVPWbwUoQgXligbC0F8Q5f
f8G556/MnKSKoQHpLjyD3bZz7EfllRfc6rkNX1k3Oiypa5rcP02We4/QOmz6E0GTB0XiNkBF6esP
OGPjaxIn7slSjrnvnQrpkh1ATyJA58sbmvFba+oKXP8hqepLc3lnvmnN6AQ5vaD0QBV4mnyMBBSi
kt9ShIdNm/bXEcas9RpNmoE8pG1wiL3UTyZYYyxV+/H1YkX/Hl+RlSNnSGudOsjaYxc1oJsYN9bj
n8Lxn4ZIHChUAlHiOaprZSnImuUJeJXJTrRqj0OkFPqgtE4cdYn44MzRJcvf/3GhAEWZzpGd2qPl
GD82KK5tVHFx9P7cbbLWa+xklw8szLojmk6ok1f5J1q9z8tidbLoURXV34GMPIS83JfNlcnTmuCJ
Np0PpJqH4hZXLabxQZgCmMEl2aMzo4BkZeyoKUWlk474pHm4TzsQqYkSkYMJzR2yUmhEXpz/PBPI
r/Ub9Vh3SgT4joU7qMMMNMgLuq3uzc0iijci7wkn5+3rQ/1v5wC+dc3fxNDNJk7ttkeaTa8GsyWb
drqKkHx5+PKB/zhkaA5noZ+V3ZGPYGPxuuZD+Zgr+PrN/+02WR6+7NM/Hi4ISx2AuLtjEUIODnii
JLWuSMb04jzmuV9YGbygbRQ5rZluKVlChhyMXFMH/qAwRzXl64/4twt4+Yjlp//xEcTivjIlyFNN
BGpCHmo0RjWWinb3ob6KIWT5lZWxs9xRUPoN8SswRA7E2calqGR+/QnnTtDKjQMFRSrAO+1RU/bC
3LxJ0LO+hgRgefO1Bwdujinq2+MgMwx58Oi7fznmObe/K4uuhjTvfYfD+ymIlmHsOgW2oMpiVYzX
sOUu779y4wak0J0xkz0KVYSbKkWrewmkrlr5/6Jwsk6JJpBqj0JCZw+V9zfn8hD9mcVZqzNyCH4y
GkEatUMFwfgq3S4idRAmNxfCvzPnhq/sd5D8/69+x7PPCndFIv2LCdi5h69Nd8HjpKXEFRqN6hY0
SG+2iOiFdT+3NCujXTTiOjWjF5b68GtyQDtP4Gq7josVp2atoGjCsqzTCQdTzOrFknq6SWv93XVD
e0WctPzAymYJELl24MoeybwIqzFgGutli687lyujBfeQg5GaArFFJ94Z8uAE7QV74do/t7Mro21Y
FOYOU9lvSNcA3iHJg61Sc+Wbr8wVcHo2LyXiU1Xh8IMTEATsMaB+9OXrlTlzctZUTYSDf5KyyT9p
WTWJXnjipwlUTeMkP6/7hbXLRTMmbErjn8hsaZ6ANH4wSRGApQAAJQitXigOnNmFtW7ipCYBAqvB
O3UFoE4AG739D4O95x6+Ml4OSA0p0b4V6AYTdQNkEwZV0O3EKMPXi/Q31e462cX5X/M2NYybvu09
NKgLKZ/G2hRxDv7dRblgtlKhoJwdlFY8wTybQf8J/t70w4Xr49znLX//h88PipGHBVQ0BeDSth1O
M8/zDONnKGv//vr7/i1UXT5vZd68dxrHyhALGLihulGB89n49fcgm1mC2bqf2vcusLWfiV/Clan3
ClpVFRCIQE90nCSyLVXcoq1zQ3RwSwCouLBm5wxnZfWCNAXrXLcDqmJBE5pSHRV3XyEDO+2+XrNz
u7IyfdqnvTt6Cr8AT1EnHXinNwCIX8N0hi1Z0z2BH7ydRgy4iLgRmGTKgDLZksa9pi+yPH5l9hg+
BGK/pXh70YyvRnbTps27S2tzZvXXXE+AQ4IVcgzw9Eh3d1JixIVU0/2I+s32qtVnK5PPoR01iAhU
EDE0jPxmazAX3D5h8gjD7Bccx7mPWP7+D7PTDloTWQ4AU1xQdhO46A9CW0VtR89zrnOrbGXZrW15
6JoWP5GC2O6Qz8Q8G4W5u68X6dwXrMy6pBiAJuhOSJCE9RSiPw54+T0n+D27gC99/RtnzGCtl6i4
M3MMBIUybt3251hY504KoISue/rKjLuqb1qHNng6SjWfXe4Ee1+U/Mr1WZlwBcAvUGMcTweOPoxL
iQDB6gIQBIEkwr1uhf6L+2lAlw3TNpgNCEY13jodCx79GWK0Vy3RmvzJCg1sT1hzfIQLOBkHwi/W
MgAu47rnr8Ju3vGGD5Xv4RDZnm3lxE28jMZecAhnzs+a+GkqfUyRYJIY0C8JbgIyFC8oW14jS49r
bi2NGFmDoVcS4uX90vsFeIreQAfrEtHrGfsKVuZbBJic1k2Nd6cGCo+CgL8qE83N4tAuRB7nlmdl
wiMagTXwyzg8dTMDuu5CECmdgUa8bnO9/7zjUJ0imfGXCyicEVZmKQcrMShpLrz9uQVamy9pKqcV
bvopC42BCwzoxapzACOWABJ8/QXnfmJtw52F4J8fpJ9qAuNc6Kb5LpyqfE8BpL/OwtZ0T74BDLrr
CCzMs+qx9v0AkxxjfiFSObPDa7onk01g3PUaHCKf8FutOsxUzU50YXnORHZrricflJGYqOnw9CVe
1YG9E5aeOgdVi2Eu95q5+6/34dxnrByyaOcuasXfNzWoxYGLGuWeWcDiv378mW3+L+KnTClSkAmu
zANn2C3JFWZUQlntAnuJPP7cT6ysmXut4xZlN4DwDM6gS+k7wSBOPNv2GvF43EZr5qeQ5j3ny8Bn
zCocVMAIC0xlpnX99PUinduDlTWLIYRQPCXpJ4gnXoYcAy8Y9tVX6DkuL7+y5bLo5yADSBJ+wEGM
RQTgdLGH+fpLIelyUv4lx6IrSwaxb9tXZU3BbJ0dKjnFuiu/E2gcKOP9+HqBzvzEmgGKi3AAjaHE
NwA9bzadiB7B9tX+AnLV2w7GCa6gtsNarSmgqO052F8m/A7xZbFB9YRsgRq4pDx/Zp/XBFCgIHAH
apYrwzaAiEwO67b1wvTz9Sqde/zKlM3S9Q7QYzt6gGdPCYT45BumIof0wp107vmLAf4jsPYmgNRt
rfD6KoeBlfWgtkUHqMDXr3/GjtegMqAJLQAzE0WtqmGPAAoWr7qoW38LIOyUXXfdrXFlWYoYF7MT
w3GYqP1VgFfJJo0tpwsH9dw3rCy5kOBo4hYTPRloum4H2/30hszZOcE1FIbLCV1Zc5G3aCDM2sME
F8aCgYKdEgecPBcAQOdef2XKEFNkUqFU8TcxJa/Q9UqD7t4fwRB21R6vQWQ8qse+RAZ+RFkESN0Z
eh9AW4OkPmdyev76N84c0zWWDJuZRpjg6I8aoFDQHIWY7gdT3HUPD//TBqqi9VlTTv1RpOwJVAAE
tZ1LWnJnVn+tZsg7id5HPqY7W/tg3qoV32ckfwpyEJp//fZn7tE1gGzCLKjsXA+/kA07yBfeGpSb
vQC1Chk8ff0TSyHiX7zBGkNWsX52fIsRK4DEs0PjFQ9M1Lel7rcLLYRpwl0zX9kX8fz/3IwA5G/G
8TL8llvl26blLxig2X39HedO0cqSQw1qKcjuQc5RYExpEynQfJlivOCUz231yowxPY1SKhjGMAjN
sjLGxPSBIWqJA/+SLupyIP9tH9am3LV2biHTIDEvjUEa2h8conamKJ5ABHeT22D79Tqd+ZI1eswG
de611YAvcUZ0ZYMcBHuFoSwBEcY1wge49NbYsVKXfU2Hyvmc+DJeXkNloXXMJSDwuS9YmbTRtVfR
Zl6EO/VMtmk52L3srfM0gO7n60U6c5jWkDFgEH09YuQdm1EHZBtEPdqDUnsXTtMZm/tbqfcfjlkr
W0rijXi8cYEf8MD7m2XfBJEHDKoGoE7EcDd4Iq77luUb//FjnWlUIVoPPyY8Rl+BVph2mNm9RCh9
5tyu5QnhLjNQXPXOJx1HJwZ1Y7cDPsrsBzG8Etl4jy5yua+/5NxPrUw8gLhpQOYIG4/5GPL6Nz9/
K+S4wWirl/S9qUCeMtQXDOXcr61M3mfQxZnUog87T/mBTuJdsgKMM/nT6IGpjNTX1SbXioBS9O0w
VKYQManIb0gj9UCEX1s2XAPJyKRHif/A01vQ4CbRnNaJSy+lcmf80xo4xtT/4+xKmiTFmeUvwoxN
QlzJPbOrl+p15iKbns5hESDEJuDXP6fepVpdJJ9xTbOU0BJSKMLDnftBS6wEco8UpGRtARifn0BU
CIkABU0Ggdqlx2u/YJEmgAzUB74PUs74HnfQ900ETiuwRVnIAm5r3/DF06FhSjS+cxVJ9kG5IOCG
fs6aJOPCiWUCxsCs4jV1Fid3ROH4qeqKDOktRo+h0sE2KzdhY6mN8h+wh/ZXrVlz5SyZ3lcaGcDH
s7M0AOPi5pZvoaxjSO6gbOp3YHsh+7GCYktN1mRPFo7EPyBiyu48b8RJhRQf+V5m3o7L/v3k9f+E
KvjSkvKbU/j3x6NZ2kuGZU+BOwdqaHwHhYy64MRNP0uvTFYcqqXWjYscDGwVR/kpLFhVqa1icMTE
UxVGE7dCuilcD3713890sNVSUMv09hXV2TfdgmZ1QMnlJlNgJjgM7lnfVPE4QjlwmnZ+3iIWRBG0
3DL5zESHqV4xcBwjrI2sQHfSQZh+tmKUcz9u/e2Nykx1P5YHFlimXBDeIVmdvwMnGFCOMvBQwOzQ
mXBmWzdz96/v1AycmolfZvcG4qe7VIsjJyFKgAdnW0CdmcgwOwt1LMu2vP+/RhJYtA6opC33j7//
7T3KQsOebVCNwtXssruqoUyFmnEk8xtUzm9r3f19dphjgwDTs8s72Chy1LF64ycg3coVR39piQ3r
bRKQbLmZdK6FHbv7OXbFoUo86G4tLPP2pcZMaJgrPF23MRP3duIsqhGkudXUv1Hu9B9DkBSvRSkX
BmKixCgIkSpfCecaN9hEKFaFjuMECvxar2FIl3qYD9tX29R3lEZ0zLKvnTuWB5S4T+fY864kBNXG
46Ve6sHwxS3Zgw8jyPO7zPhTG4LrFURt/0FapDg87mBhp5oafyMF9QzoM+Udjxb5T9GOnjoFIwrs
V9pfGsD8+6spAoUSIzG0ke8FhwhEKmFnqF/kIB5RxSYHj5mgMfBig8hyaMDXKeVpGmp++B+yGi+B
sD/fjcxEjAknr92J+sNVAvAsj55Egj6Lcs9H+VQUC9QPXMGnq6dnFC2ATibS/cxm6YGwvAZhrpOC
zfjgxG0jCEiJWFXgT2kaQ/enB5m9+qfvRDW9J8ifI1uOUnAAPmlh/4jBe4Cy8rwgXrV3Qrew/kon
cFq5XW49Z7YqxQ9wv7UOqnrgDiYnV4DDFrgaMK0RBipkJyR2VEAPqPoyU9x0YVTULShD2zoMnJXg
2NLWMY6hsRuHPJxq55oW+TMdgNZuSv1127Y0DiEwHg+hHBtxb6wQjBV+74OCLMsSmqzErZb2peFF
dGnWgAdGlvc078guDR33I9jKx6iVDVnZlwtdmJg3UJBDiNwqHUhYdPQwemTmqXL86gmbY2PikwXG
EURacKDHo93fJ0Y4SOP5N5BQpiunz8IK/wF2K8ueSgJisa7T4JkFnrEcUA73eImXpsd4Ecx0+nbZ
F85LmkR5qOyiYObLgmztyfEScnnDdE2wmweOPLsANw0YNrGJPqk0/Ggng33M8vZJxSnwnzCWvafA
49GTCjx/aoovIEeYQAeXfCgLjNfuLVDjgljEyene68lzk/fj1SEQZN42C/PUvzofQco6MWzE/j5A
KieqBvAcu0kfQykgSVeQCUsTbTgjnHp1L62uuPuoFwD3BY0yG6rSgYdw9rZBGCfB4IxDXUFh7557
RQy+eJw91pTQa98Ea10sOA2BcSCwApoDVi7lvevz4Ubi8kYsl90CsGdBqAJwiMcjWdrxxrHAgLUL
ZAzvGSGDj3x+poLrelukiJlQOHC6VNBP6fs7CCpQP0MKqMm7mwRXachMJJxft37fh3Z3B6NNtfNb
FDJmWQm6QbbtPDPBcKDfUJbNeHevPO0BoTC8zyEDuhvLbts7HhLkvxsDL3yQkysXji0Kib9aZeB+
D4sE57/l5wAzPV7it+NOICP/vRMmULIN0Rh5FxypU8ohDJmMBb0ipw3aMNp+DgdQqT3ua2E7mbg4
32KdHTuquA9+zW4VsHf2Di4WRBu2tW+adh8T4kJk5F6PUOkEW2Iy/DtllbdSI7VwcpiYOLsOvQz6
K+V9cLxbkvD8WJbhr8TFPfn4+5c6MKzad2UJCHBe3kXKf/khxM1oDxLuraEIZioipr3tQ8G6Ke4Z
I+WJgB/iEvfQw3j8+QvLayLiHKiSCAh4FXeQEQUg6uzLwwBVlP3j1udgwxvX1x+AOA4lBzA9jldm
a1xeFbDzwFcWNSjfsmewB1766Qv4olde9ktjMV4aY4Ly465s63sKYu2oStO/y8b78ngkS20bdt3Y
gQBTA5aZlOVz4IlfjAa/Hje9sINMYFzKPEjFg0jvHkCw4wUYSovGOeX9avnjUg/zoF7d0IhqIEVY
p/W9gHwBuMeRwu7rFBTl4z+Ph7BwtRHDiGOp6hEOYX23+/RD0vnPRLfvwSD63SJblPJwNxDjgmZM
QpUnddXdC6Ai7oKcCG8NsvFeMwUQkUCFrMMwdXfXcd3vVITjpyke1efH07M0/8aVPKAe1A9jou5p
r9M92PW+hYEP0Soer8FQFgzNxMUBK+WUFW6Du5VYZ9xxP/K8OcN3eeqa7jwR+Wvw2v8Bn7VgDSZQ
bpqqio4cmlwiyIYPU2VD0kSlukp2jydsqX3Dkim4jgY5duouw6Y6NLg/d8Kx2MqRvdS6Ycvg/a0m
VscS5wQYCn3sUwGKd5TEbPz6eRu8MjdoB4DXjWflXeKqcUFTFhEJTrBtU2PYsoJ6KUQs2vGa5rPW
Tmp9UzWoRh83vrBRTVQciMCmDInA8j6BJBgKLBZqd3T+L4Lu/koPS3Pv/j43bVNKAbErdR9EK898
Es81tBq2XQAmLi6e5QCk6vEiHlCN0IVhebIyqA09npylTzesGA/IwQb5mLpDL678OWRlmEdeh8D6
puZNQJzOaGZndV3eIXDxtUvy7tY4mbUt0GGi4EaoJQWeO7R31HS7UdAJeQrb2to2MyYIDrqfbTwm
gbqPDrnr1ofS2xqAZsHVNUnVlKXGAIKK6g5m6b86v7rOKfDG7j8FsvoorHRl5yx1Y5isDdr/Fvew
uoM2Od7RxP8u8vaHTWvgyUX/CeJeh22rbJrv1JGhh65TGoGe9xf0FUFhWfUa7I7b2vd+ty+WIFJp
gRb5KDzQojLS2kcvBQPgttYN63WLuguDMajuCEXbt7rJiyeZ+M5+W+uGKz2kytakI/kdXnTVRD3t
oP9kZ+02oB3zTAMWAWQVIONxZw0IEZ8KW9PmBu0V8WnT95tIOD5BmrKSPDiCILU5UJl0p3XSj4Ud
akLgNJ36oXFG90ZLsAil+ZGDgyMV9U8aOLtK26dtY5i7f3V3ZU4uoQVkNfc8DcDdrkPUSe/kOJPj
buvAuHyZD1kxWSqoJY3+XbTBL0SW19KSb1KXwEk0wXAy6PvJJfh60su/W5fYP0UWQFGsRS0gI2S6
ZRBrOVHrn15LcfSy+O9tgzKs2skHyLgQOHhhYLlHDhmlS1d3Xx83vuBcm5A4SaB3ERZU3FMJ8OMA
muEIJHpg4ontD06YrXGkLNz9rmnbECHtRZDieiukD+U//66gqLEHL727svRLPRj2bUFodmihFHgv
oLKZ7QLQel7DybHaKMiqbiXvvVAfzFzDyrNxIqUX+yjR7SH4aJ2qsm7Y16Fjkv4AVrUSx77DQ3H6
Xqkc+mYRonLczeHnVDW4lOMqQJD4ebBAq75GNbUwbhNP5w6xgPwIMgGQTaNQFwqfbNY1O6tfO9gW
dogJpgODPvjxIQVzF6BoYV+DBgBZvgvAQpD+iGPk0LkYS/3l8XZcGo1xQihL+8ClyfHKGzBBxaDn
hjQfuJpo+e1xB7PRvBE0MJF1kBalHsRU8NKzc2eXpX18cED59rjxpamaR/XqfCvAKzEriDVIy3vO
zOMMks09sPWD2AslHXvfhrH783FfSwMxTgWGME0ZDjjqlA3ok8oSbC+5Mb1kgupKSLA0ode3d6tu
GzB9QBOqOEIXorEO277eOA9UoTJ3dEqscwVct+b6KwX98cpRsHCbvRjvq2VADpANOYV+qR7pZXSK
nXR6XJv0i0qCjwNkllb6WdqsxmEASK5DKnBeHmfZhCOYU9ud7YMgvRqSX4+naaGHP9BzXHk8liQ8
FlK/Vw4okpom+1IO2drTfmEXmQC6EViDPlS9A3J1+a2ZUKWx/TVpYuZQXoJDMMDXx1XLToXTNO9J
sRrPX/r02QhfrbIALHmUAxtvYFyr38Grls9ITjYrrsqCKZuQOWHRTLfDFB5FVVaQ70g9eO5+Akz3
UABh2q0dGQt71cTNFTLE44a0IyhjWg7NL1e3H3ToJ98bGlIVjd4IUYXEzcZ/H++opXEZLjzlbFS8
A2VrDCmFW0ETCEVVmcX/toveA/0+rVa27tLymBYubRCYxJ5zc/EU4VRPu7KFbsHjUSw1blz2DXV8
EA60/o01lhPBlf/G6+DjtrYNq6Z6gMTp6PDjaDvuGUzh2QlSJf88bvxtgw5M4JyIUztNClpd/b7s
kHzyJuumyxo6W14eFPfHnbw9O5Ad+d0yRghSDyHyWkcxOZBzT5HlgtbR2twvDcG4osdGd04FBB3U
ZwuopDrkNsKxO4K//Xnb5xuGzSHHoHlT8RTsdnCyEInN+uz7oEjXrHEFvW0FgcmuVqSpX5V9Z98K
paFXQbL0gFRsPytX8cgboAK+bSjzCr06o0Dbxr28ddmR1aAOUVPeHUkSrj1pl1bCtGVtOYFX8/Em
M/e/NAa1h039Qz4APPP485c6MGwYwo8tD1QGGXhETHeQVHvWHL7lVm8sCA07Ti2vgiNZ+DdeW/rk
9qhKj+s1SO/S1xuGXLUQk+8yj0E4PRhQ6lBCpjMvQcpF+4358MDE0FkNeErzCuotEdjCP/ZaoNgX
rH0r87+wTU2qNQ5BPpABqPhUaPYx7oEkhSPD/OwAMbXj4yVeOCtMsjUUitdQ+GmtI0tRjQ7p0hqy
WaEH0bVt7RvG7OOtA1XJununIHi1h670M4DPaw7Y25dnwOaVf2VePLbSCnHT7h1E06snKoE3d/N5
I6HAIAbpI9RAg410hoEJo7PdlIdJMqL4LcnhJw0AcwFBVv/cNk+GLdukFZArqtA6kPns4oHxZjd0
8Rpn94ItMMOSGRiAIM1RQNEuHcYjBIOhk+a25D3YIJrDthEYtuzmVea1te/dqNvg6B6gFVNOaw+S
pe83bJmmvGuzwuZHCC+04on6qqsPTJe5894eNNQkH49hoRsTkubzkdgBhKSuKlEQSAIASLM4qvxq
JX7wdiYtMNFolPMkhroJVlmrCpopDrDtfjv+02X1T63953nCKhBDAB20Ent+ibD8+eANTIwacDrQ
9aji6eZyqPUCXZnVfQtpOg7JSYunkOFmsQelO4j2jP8WzQThuaYbwbsuCYHQG/TMcvtz50Do6O7x
gJBDn7fD+MEOnUn+gp8B+TDRzS6yrFoQBRRTWHJQ2is17PNcJ/lTX9N+G/lEEBinSWEpxF5EwvHi
wg6mUHbfw2jWGDqWVn/+/dVxIiGN6LlTkJ46W0nEJ7vAR1n2HvTwTg5cMZhl/nu8zRYO3cBwCzjU
AyENZFnHTgZfmpheZjGUx00vHIkmwxswecRhUP05MYjPHBqI4yCOG8i9zgBMLGo8kjw5rVVnL43D
OFViD88HCk27o2pzeoJEmPwS5ko/Px7KUuvGgZI6nJEhDq3jKKEqWIS4NqxVUv6ltTYOFD9sU7fT
BPdeD7UnN5B/vfDrqmYtt7Tw9SaYTddTBdUgrHGRtmSvMrwf/dhfqQ9dWGUTywZVtTZpp8A6zvWb
iP+9i7WP8vX8L24V+yHrVw6PhUkyEW0qgYzl4MA5sIHZ3vkpfUfnXPNMfbRpiU1AW2oNDHrJSXmD
2zHuRQGuV44YzePGl77eMGdRNzbOVm0dm5b/0mXoQNnR+xu6ttuyDYGJXgOaCuK0fQCFzAYC21zD
ewVaa+WqWPp6wyHQ9RhXTlxYRy4QmBf98Cm2JmQbBrmC8F7aoIbxagj0otQkLG585vHxLcjwFp1Y
ezostW4YL2tIDyofVdyYBJaWxeCSj8fsy+OVnY/7N+60P1BrwrJyD2pbR+0NX+fQmG0xMDST/ax9
8biLhe83oWtpEIO/Og7EqfPA9RoJSsL0a0WE9rdNv4le0ywBGZrWxc2GamFkN6UfzVU+275+Pjde
3WQicG2AXPriBh0bebLT1j4kKBLb1rhxCXdI8jNlVxCeS1HC9TOuCSRzY2tTtgsOxe+fzpLa8SDU
Wtz8OsveQ6PYuhAUQu+3ffu83K8mRhHWNEUAVV4VgmfXL/L6nTP28SYEcGAi1bqsyCbmecWNoppt
1zmIyY8ojjw49moWcuFYIIbV+g3XIxm88tQ42DZFACELDcXYFqLG0eMpWvBRTbSaJk2VosZtvrjk
N5ABxWegOxjE2SFlAARyEDlJ0Jy9joY7p67XikEWbjRi3MdQOydt0w8ST13nZOM2g5rmcRYBseAe
WYBkPB7cglmbUDaZT1xncpInlCnTXWFP4wHn4Er6Z6lxI+7GZWyXgYMiK+htfu4qV+9qOqzFApYa
N0wa0tfIww0OFNBHhPKYE/yC8Ow2eFDgGyZtxzjeRncqboUc5W6E0vrBc9ivx3O+sGVNSjdXxqll
aVh0ylMZdRT3rxt4QURQIbvf1sU8aa/MutHQQHIDJsEXgxhALKoK8o/dZxAdrxWJLOxPE7xGyyTP
6RjKEwUziu3DFCA6OuMffaH3id6Wngx8w7xBlgG+j0JO16KFQ8QTnBs2H/97PEtLW8i4kwsFEXTl
iuna+PRZlmkbWTxeY+NaatwwYIEo0oSHbXXSHX+CZLCMvHYjoQvKpX9f38JNSNLCkTjRBFobs9pD
Mq1GORe+3ISvNV0Nxm9QP150iDrYbgQxQi7oWgHTbEJv+ComfI0WLQRUWZheOKveKbztu778Jip2
dgK1jTQxMHFsrCwH4Ti6OkFD9pse4OnKCZqtQbpFFAg8+p5xKQtSOnYR+1jcPPtgzxn5evPOMXnc
ID7MAQsN1c2tmu4o7ArSs6pfeQ8vTb/hRheQ407HLKivurNlfOJpA2+OJ02hy0tdxl1TXyxStd0K
s87SXjLsl4b9JFvAMa6dGEb3jLOOIQwmhOccNtmwyecGICGc3yGoEMEpu8imkJkFqvDLtsYNGx5B
j8jTycU+msClIyYcDlsx9oEJYIOaL1NUFfVNDxBhGm3xXMy1LJu+3ASw+WDy5yg0VzcJ0YxjHDvx
t9rt85WLfWET/SEGql2WV9ZU36SGgzLaePChHDO0i104v+u3DWHu/NUd5scQox5q6JwLOO2nYoDY
UlG0a3XmC/eXCV4TTHCUIVfpZT4iZp7zhn5J8/oyxt69ttfipwvb3yRziz2CUoe6rm/NiA0E6eb4
Q9WuUkgvOBJ/YNUmmZG+Tmq8alArL1DBV8w1qIii/ni8BEsdGNbr9y12KdJnN7+1XPjuIqYnu07i
X0ky5JdtfRiXsN+C/Rf3THrxJx7vJUs+zPQRimbPj9tfWmjDhpmfl12YDvAg+uZJAxQXadu7ggrp
0BfhUxuvxYYWltrEnY1+4MZISdU37it60H7LP7Q5gP0rBr2wFCbqzK0DECKFXX2zffkRPJNt1Azh
tz5BHOHxPC19v+FPp4HLeBqW9U0xOOslaqLqMJtO2xo3bFl2sgkG7uGs6wEFFRwwYBB5ZM4awmnp
4+dZe3VWIBVO6t7LmpvIrKqMqJukx3ZSADtu+/6531ftQ1io04J30zWVSBepIH9mYzqu1FsvnKYm
uKwIIHbltLAyeyDPXAcglySXIP8XWfi1N+zS7nF//36VcpGOrVPf3El+k0jRvksJXq6eXs12LZiZ
iTFjlePEoUvqWwekAmqVu89z6uSqPBeiOmX4DgGSjd6dSdAmmnQAoq2HRTd2BnxxHQkLWfjN7wIT
ZUZV7lDdN+pEZZ21pzKN/f8GEGKtxQIXFtwEmQnQy3SQ/p6uIwFixPb6H13tfpdT+ML6vGnHmlgz
oO2hR9p6yYW/MAq1bn/pi3pNv37B3kyFT0iGtQDcT8lF50F+in1f7712Dd+9sJVMqJkW1SBC7SaX
YvS+FxDIiuASn5ui/dF12LSTCFfCU0sdGVYdt7KFYSTZEzJa3+LAv42DfdJD/xX8t5vr9wJT4hOU
t6DYYpU6uXMRWUHtD+tbdWkIhmHzwJP1SOrmKqhLdQR6Wmbt9JC1B7emafxegsH/FriTsyZxvnCS
mOKejSV0gzs1vcjUSqfdqJWXHbrJad7L0e7cbWEpU9iTW6JmxGsbMHGDKAkItOZjZdvbCIBAiPr7
aYgyi7YJKu1cJEoGX5zu/0Ez/W3TQF3E7403qAytCQSLIEGaIyTMqVWNuyRL25V48NsLgMfn7+37
DqvHELQTF9DdqL3bBHZEE1vumWRrwi1vbyrgKn/vwta9Xad241x4m/1KSQNRiWbKJ5AcV82OlBoC
9k6Q1YfHJ9XSgObfX92tVIZWZvWNe9HD7OfPcLBOgxM180HA9biLpTUxDL0ooOAndOtcWGL58TNE
oMrwlIpmI2qImvxtheuqlikwJTFqpTeOIogTmfi2emkaGkauKPFBK54mFzpHI30JfePQWssKvn0Z
URNyRgvu5Lzk9JaSKX7COw6SXjECkYVV0ndtjZD9tjUw/HC7lTnoqvIEDy2ntp8kHeldjFBW/rqp
fRN5xrJ2yoDzrK66Dp+4AldKCHar/bbGDaO2RFYO9jD5l7pBFe1+VIBERmHdBv88bt+Zl/LPqBj9
A3YG/8nuBiyxXwGiCvEEByw1cbOfX6YSIJg0gP6NgODLDif6F5/UQ8Rs79bbgbfy3F7YByaxW9NN
bjbV4XjVQQflL5vvNOowaeLdCW6sx8NcsEMTn0YzFwxgUnkX1pL+ExiVyHC2hFtbmzxpakLSRgrJ
7NIj7c2tS4S1GqCvUHY7ckv5YHFmg9f1h0yHU7HtXUBNsjecwFNmo0jzmtaAZFBPubvA5d+2zZZh
9lQNtfabhty62PkgEgQZiUQOZVvjxrN7lIlbapB13bzevfesE5GQ+edtbRum3lFRhvVYkwsEOsBC
HKIOxAsRmHvc+sJGNTFpkEy2ehBvxRewcdUQreEsPCDLVD1luk/UZfNuNcFpI1QERJi45EKbQp7H
IXHFuWxtOzw9HsiCNZhINMcSyvE4BEIjhJP790lRttBjy7bV59M/sGF2HfNhzhbm2q7qr8g+FPJT
b3mOJbftIZMvjUINVNgxJzdlOUxGLihX2S6DX7JNBIz+gQuDhknWFZ51LrIMtR8Q0Iz6LPy1bfq9
3/2OpstGmzqgxoxeTlruA4zuiW0ZAmrqfarGbas8drtbV+n3QqbZjwQVdt+3fbphvMB96jgLIXIY
xToV+y6Im8iZtqVtaWCYLzgBPdTrheQSd1a85wIhxdwu1h6/C7v+DxzYwBpVgGL/bIO/oI14Rcp/
3Bbg2E1TYyLBJlUSh7Y1pmYSNaqVZnrASdrbEH7URIDZlaWa3EnRfC1t/zAgfX4i+VYnycR/ybDL
BVfSOo9lOb0HD60fIb4RnLfNjeFpi0Fi5nUdQycRsVB/TmckObRjHrc+t/KGC2Oiv+xRs77m+HY7
LKW/Z7U32jsuMnVMVpnCl/owbDZlA2k0zzX4RqpM/5jSAJgCVlpPoZLbbl2Tw8wNhbbUxEGpKCfQ
4bzA2iFTsy0zD1rw308dyQuH8cRD800KJ49P8galSRtCAHIF67TwejPBYApscQF8YXorCucE8aTd
KIkNzm32NMXw7LK2W8kOLHRkQsKE11qE5YqcbUVus8PIZke1L29OW+7X3aCF+94EhnWjFFA1CNU1
DqEI5fbHGdg2BtOHzN/oaZF5hK+eoKNHm3GshhABgQEAIrxTkjiyrEYfH5vGwplnan0iPKJU0wp9
Q9S4inQHs86StRK6pWUwrFpmoDhBqa2+KcGOyGI1GWCpgn7xK/ZUDwApbRvDPLbXc0SSkYat15zA
+TOgxBCFYZtdLWLY9Rho2RIIJZz8QmdhNKaIMx3aSaxVeS4tgOFKjz7KSknckLPIszoagZz4jyCA
+X3b1Bg2HTt1DHGaQF1li9Yb7d9sD97648aXlte4jYWCXnWcltDD9t3wDA2555iDNnrWBwwa/9qG
VbrS08LhamLBurqHMImV6ZtvVx/xuGJ7oYGaSMSoVnJ9C8tgMpm5Y994UNRpT6qt3o05HIupVtti
0tRU/CyEBYnnyQkuqgk/ul2rLpMlupVDdWlu5sPp1e6f9TscWiX2hXH4RCj2yHQalU2bynce8atq
2w1tQsN4VhCZJRUmiJC7ECTeJ/hhm2vkGxbMUjlrtysOiBYdq73LIWF9dr1C86+Pt+rS8hpWLIqR
90HeknOaWj3b+VbwiTDL2rrAhhFLEN9lueuTczxOyB9WiVs85Q4Sldu+3rDisSAkrmlcX91JFNBm
QoiFuPA0Hre+tIEMM+ZdnhZjRYM0elHxQPXGICNa++6tau2hWlnihbvSxIWlrULgw0U9k01Q1OIT
FJJSOvEoYxCTcKaNyDkwhPxuDuDFg2KZysSVWh1BRXX6YRTlxn1qIsR4V5Q24WBtFkLpYmfXFQ2/
en1huWvJ9IWN+gc+jCkL+LwYVaoUlD4R6/WnFxrvx0u91Pq8BV6dFbpBjXzVxvRMoX3OTyVvkhME
VuiawtfCVjLxYWmOrWl5KT3HBP5c5+OAoHXxLZhQLbJtBIYhp7Ne3OR02EbITYpu8vbgcl7Txl64
0DzDjBVNurhPM/riNoJvroe6N22ht6ry+ieYHqZgZ432tJb6fgkuvvEuMRFiOkSUkYUOPetyrItI
oYotj4ahp1BHCHVS7oG1nj5lVcVYNMaK+G2kM18frAob/OSVbNSfgnrw/ysVcdUeXwmYMZmG8S/l
lLZ4z1FB+lcMh8gDUeqk4CCNLvmcFm0hD6LKQn5GEUz2w00pK5/tyqM/Jegvy6MP7qy/EDhJ33NV
JkPkpI7XQcnQbbuPFlj6/6K6DfrdJPmYRV1CvTACUMZunvopkfFBSwBmWERpSQmNYlK68V7RVqR4
MlZJDUWRHChjoOFTC8DKM8biJx/GNuyEh5Js3YFpnaIYOVAHlg1F+cWfOhV+oTZDDEcXKkh3hT+x
ZudC+0xhg0Fddtc1KeI8+IHnEXju+o+g7MPPhbC950lAeuQjShzhuZVKZN0X5fQee+8LD9Ahh3Z8
+DBOqC77KyitIN0DlAwefbccWm8XsHL4KVNQnOoyVd+ThMXJVRdUQ0KYlHW+c7kFTrQe1PvFrrD6
rttPLEnTDmrVVHzNA1CO7TrGEveQ24nDdoFf+O1KYcqSuZknt5hABxJQeuag2P/IwWXD20FcK7Im
2rbQgQkEhNRcV9usoecUY9018GHonoGuuR0ynew3WfQfeECIMtZOrel5FjVgqm/31UxBsq3x2dJf
HXjSAUuhL/PuJIDC2WmKkIum3jbPyxR15b7XiWwg9Cw68UUHNPajgBT23gvqes3HXjixTTDg2Fog
/WEBPft2/D1NgcIklr8m7720vHOnr2ZH+DKZcNl0p9Si+fe08K0nFwjcv0io7JUtunDtm0BAN0+y
Ukw6OGsannk7H6ZuSHwnSsCPSJpcWdv8U5O2jvdZCX5QOzgLAZ4ZZgXTraSrKLGlmTI8MJnLfmAT
Cc6MoBilqQFyS2XKD60LFaDHW3V2UN64DEy+OqjyhSBJRxe+P3xllqsPjR5b+2+7xiU3c6QPqIM5
JsLL7J+Pe1zYWyYukCmeBxT+1/9P2Vzc7idrLABLbRtuGOLAofa8mEAr2La9veuDEiPRai38vrAe
jmnXvc9Iw+P4amstVOTTpv4xcr87hASa0I+nZ6kP42GloKgs4ybBECgFGEpKDqYKvG8Bt9oEQQcF
2e/2pybVZqqv2XlsEFOlyOq4HyywxSUrKKKlRTDsO7a7pMvaITw3tfzXHlE2GmhUHDyenqXGDU9s
tCQlQ2Pj4R86UidRqogge1EPQ/tpWw+GO9YVceqlASr7X9xgnfjPFkV8alvjhkXbnM5+0MTOILfO
052iqJXbZQDArSR8l3aPcTcDb+jXxLLx8ZJb39w5mD3D6EARujGqbWIBUYjRhD5Ev08vkaMuRigV
4Jg22h70N+GAXWeHOYhUNOo9oJENblMVSRddbFoCEwjIUIRJtePq21g1T12IqA6O8Hb/uPGF+Tdx
gFxBmq0pHX0rcvq3HKp+N8a42rxaxGuqfAt3m4kGBIGtXSFzEV7SeXZsoT/pUPIPY1zus2QVvrpg
ZybtHO2gcxZA5PFS4LkQUaix7SxwCmxcA8OKEUAr3c6R3akLZsLrGK0Hufy4bQ0MA27w5Ld6cJlc
ELvzIt5BJbcoqbPPQU+68v1Ly2yYsYwzJZKKOeDRTnyldx1Fii07Zaxz/exYW36/phe6tA6GQdud
VND1xvaPUjBUR5DqkO9KJBlWYjxvD4SYyL/UywdEHEd5hVh8A/BcoY4xqhz2WYAKycfL8fYIiIn/
05NTqXDy2QVa6/TwUnoZuvTLtsaNG5mFskUxjJU8oQKcPImJh5+qbGo3wXOIiftzATPzkzDHadq1
kEB3UeSxD6w15p2liZnX5JUf7EqEXPBm9S8vJLnSo/G5T+iKB7zU+Pz7q8bnWl0eDqGXRiMldx8q
jIccjHb7bdNu2G+KShHW1I1/6eBCPDWSgYmybcBMua15w4LZ4NpghXj5eNf7jhJ/tSsL3WwyXmIC
/OywGjVPwgpxcVAIj3nRRWPQuIdKdeNx2wAMq21Q5d8DLFPh9EQXkFkuIoTrvj1ufMFmTWAf/Ge3
BodPdXFJdYXuuPNNsLE79XSGpG7rwvCjY5m6AiRB1QVs7PYewYcwojqrd0MOl/RxF29fY8QE+OnY
BmN561eXxgF1TGfzeg95NP53S2qya5PCen7cz4IhmDC+wg3GBoV41UWo6qPm4HDMvFVvdGkpDBMW
EvqysZtVFzmTmEiFN4eQ4H6rw41KyMSE8Ok2VyIYshgqj9C86+bsVqv7TU8BYsL1pOONAVzQ+Cpy
q9xRIs8IcG675IlJKUfDLqgD14WdgUjzAxNdCGGyKd2WwiTMuINt4YxxK2BjvguCppF2n8f/4+xb
muTEma5/EREgBIhtXbtc3ePLtGfG3hCemWeEECBAIC6//jv43bRlq/iCXUcvUEnKlFKZJ8/pNltq
XFZjOXAFkiGvUz2sM/XjP2lK+v9MNfbFvvPzJ8ieKJZcyMDH2bBqapYgYO3JZoLF8eNtnJ6vw5Ik
esDXVY2sRFZ60bUx0Fbb5VE2TC9WVQRQejiLg0+D/zhQIZ9MUMUb0ZvjXLBRejQJYuhAe+VtRWtI
cGVkMB7esZdtvgnX+lheyyuOtErddrdqikaANPBCzaXXbeztrzMqkY3Ra0slQHUwiheBJs5La3R8
FogXDzSNmyOwAv0JuL3oxbBNAKhrPtZtDDFMbxQLLW+yVP8QIH7PqUFz8OPddu0H+TGQyMJlGPuq
gTFVbR8d2YDzgdfo9avS/vdwwAvn8TiuSVjuDImA2FsWeNxAa2hWaZJFyWHolunp8ffXiPDnRFdk
g/hA4cuSkvjiBVry0Y3qZD2uP2Q0/31Q3PtkxE51+cgG9PHFlMoHfeMNYUDxorJJfYbMBNmHO4ls
QF/mxQ26tMISnIAhA5qyEc/duEWt7LjQbDjfmPVNBeKj8qamJbyNVRd/EGmkXwlRW8Tpjo22IX3o
BBppI/zyxjzxvlV4cTRlQC6Pd9n1ccu1lbcMYVwH5Q39qeoZmlnyneH7UEuRDeiby3hBqnQcnkYf
CYN2iF6BnN8KqR3HRmw5cRWlhfD91lxjNPlBXPsmDb3LYPgIAeab13uHUm51Zrs22XbpIkTBsRyG
p3kZyJ8twInlGljkX9Cf7f3v8Ua4xrDcOWs1TljTDcAmjJesyfvXvmYfknLznnDttHVDMw4VJahl
yRv3p/YpLkGz0GZocnn88x1ft6F8KOOZpR89c4v7XJ8qiJ9ezUoQuO/rVnitwLIJKutkuAmF9Ac1
bXMmgPTt/Lr1JlZpPLVdNKMjESnAKgQf4zaW0rUu6y3x5lk5pGHD+34UeHuARlmUWJdV1Pvxsjiu
mp+Y3ZqmGc3Ui9u80Cq7j1FalhkQahPwA8eh86Tyj3wpN4M8x5UQrZN8Mxm0EOkedInjdQ01FI+f
V5ZAnVQfOmjj9P3w++NpudbM8mwhaBagbXF4Il5R9xcVAihyTUd/4H89HsC1bpY/g4Q9aJj0seHo
GPj8vUwUQ0f8PE+Rf1vQhr7TsCyfHmJW+A0iG3CCQLkScUZ7SgG83/l1y6ERDWvqL9nwNEyDRwGU
BucqUmn5vLENjhPJRvONotYoxU/m1hYN4OqZZ+YzaHanp8AHJdjjnXCNYTk2wKxZTuJivn2P/WSL
hCmgDP9qpXc+qmxQH1Kl+aDDyVxp0Xuo/U/lUp8Q7QTtvm2wmd60iUll6tI8zTL+2q5cqN1OTt3I
RvOpJuPGZ0mPfFpB3n8PvFvSvhQk8zc2wOFrNqRvADkg74rF3PB2Kw5jDw5CIJjFzq+HPx4YKu8Y
4DARfv/I86+6A/33elQ8th3XT7e8GCWngoVRNN2+w9NnkAMfk9aEu5CmKHX/+NPRkFuwnAXDUxwE
kBhWLV0OwIfyP/b9eMt5/WypR7rk1ROjy7ehTvtjPuQ7TdIG8Y2LbMIy1dNNyvEvEqvxEKV0o3vc
cXbawD2+1JUukUB40t4KhA6KzDtQfy7PYQM+7Kg3bbzhWI6zwUbxteC4iKSQgO0nmbhznorfWK6n
Q9jupICMbBgflGm0V0Gf4SYm0FUD737te5CM7dpim+JtHpKJtWEz3dpprQhBevZceEinPf66ax9W
r3hzFw+p5BqpP3MbyvJTS+LkwAFuumZT+xJB33sDO+PwsdBy4CxCKaIW3nKLQQZ54uhiOadFs5Fy
d4QTNo4vo1NOIyg/PLUGXZ6SDMfZ+O9BdXFlGX8/gUrj8VK5JmG58pALCAnqckJrNHrdfE5xxrVb
xTPXxy1H5mVTJovgwd0XAB4kc3yAVPXWJjs+bgO7WlRBgzD3hqdqRa+BE9s/Rkb/vWtZbESXBrNY
O/jU3HiNTrcrJMmz4B5xgKI3auuuX2/F1QI16TwZo/HGmmpZjtwvhuiE1Ga3Eca5vr+6xlsXqGkf
mHIe4b2o9PFq+jw0ex8FNqKLgEImMtmA24VDv4U3Ul8ib/Px6vBem9bNryFbkWsy3vxctVelZ/YC
QhywfgVZccrDTQEG1xJZ/gsudaFb34zoQAYkfSADPyTxVvuW44C2sVxqqJOwBh/8TVPu34kZxPPQ
40XZLXtTQ8RyXdLmQ0A8H4/7AnJPY1L4p3qcv+1zAMt1ZR9kIVJhKHcPaAJYoFwPoSHiv0T+GDRb
yhSOnbbRW+0yQM7B9OMNDbfv45x9WHvcSFX/4flbskyOTbaZ3UB1gjZzKmGqZtVXG5AH9EGlvRHD
raH4L/KANobLh+JI0YD7BCnA6AwiFGgP4qCekgvSUa8LyY5LUu87qG0p0VF3YzO343BjciqfpUL+
YBzncOfXVzN+c1zAllSlx3y6DQ1IUFCtkxdwomyhxB3OEKyb8+brfih054VTf1OMpceVShHcBf0x
EsnrY2t1DWC5su4B8UX/nL6hT7b8wEsJuZaujKFf0G8xKbps1YqoR6+b1Dz6/EV5/CuX6DrACyR9
aoZkvPaiHS6PZ+IaxnJqDSrIIYAb3HxQct1UEcR/6HhgJ1EA+94odAFtxEgrHdOvTNdy8IqGWZRH
uIAk8L7JvR2K5Te/MVN6QB6jKI8KXEveoWJVdlZJOhQfvWxCnvvxLB37ZeO+aCw7oXg73qp67QaS
UHXPmuqPuq3qDc90jWA9nnkoVAKtbBQ4OS1f2QQsx1hXzdnIDBSGj2fh2Csb/EXChpDR4IwfVVWf
smz4XUGb+KJb9pLjbbcxE8cJZqPAEPJl4MVQ5obGlOEZvErGHJama3cmAWwIGAXJ3EyhwHvLYih2
VWHLwYC/9Q51LZHl+ehLAHY9H/Wt6kDtqBaTX7/HgRC95C8LGBkf74Rrt23/L8kUEj/CbjNkLKEr
J7uz9FhxitA5vXFEusYgPx5iKp/zIVoWfROpUc8kTz/MATTNtpUuXANYri9FjHaYlADjoQf+NYvT
+hoZVh5NDED+43VybYfl9BR8K54Cz9gNWmbinLF+uFQNwBLgxgyPI5n2IRepjQRrC1+lk9AaLDK9
d9SVZufB6PLWNSBjfjyVX1+91EaCSS9qk7YZ+lvFDDm2/VKeMorbPZ6G5Zjo+Ja3HT+n678eD/hr
PwTHs7X/XeLVNC31jYbo/iMJ+ZMIs9Xk8euNQfX2x48PqED00q/HG1/1WdRYlYeYYmO4CMZzZFp+
3jeJ1fbe3MQD7ceMNGtKC+1LJ+GDhCrixRYYyjULy9tJaRqvnsnwJJA2eyEN00/odRrOAUSlP4R4
Dr4+noVr7y13Z9OkhEyH+T7q+TDU6r4qVXJjPtftcAyU/IQOsA+Ph3LtuuX1s/RIbqIeV3HP/0Q2
cD6GkbcPuUFt8BgqE8uE3jJ9452sDxyiyAeT7oSH09RydqFkWGZqRo665smlnZPounQ7n9/UBo75
hR+WphU4rfy6LA/tmrsXa4vErnW3xUhHkRWZQPL4NsdU/5ZFAWqvk4ie9n3d8uWqaYJuGtfXDZux
rS0Wvl5Fox5//dcHOf0JJZZkVFd5gYXngIRUBSoCWQNu9WnO/308gsMqbao3kbW+V/BluWegk5aL
vxymlYbk8cddP38d9M0ZMStTJSafsThY/wiyS2V3rkq0bZU5uLcfj+GagOXBcUSyYMiC6Xu1LFsh
jV7gfdn3bdtlFZASfpubm2wQlrGxi0G1kPyz7+PWJc3GUHiNJObmQ5732CXTcp6lv3WAupbFclme
LR2f5xZL/711Go3OOaQIt9QaHV+3gWI4+KlfiHa+jTnUGiEUmBzmNvzf44VxnP02TgxpSmTg1IqP
J2NbHIkIiutca+/Y+nH/J3pQ93W90J8QY4IEnLERA0E7hYNOUydP4bQTYU5tyJjqFAfJFUwS51oL
je6W/Lmt2eRwLZvTTc9VAvqgGr8dZALxmZkQslAsh/Undbors0htyFgFEAz6r9aNUCroTyTpcPIU
yIE/3mfXFCzPJU2la8QN861tk9cKxDJgs0zzY603+WR//TKlNrmbaqYAhT0kdnXKvxLK1besqwN9
GrKSgZMNQgZPQC0nCxqmpwWdJGm4JWXvmpvl3D4FG2/Gu/k6oJJ/9EcWHmevMCcTbfb0uHzQ8nBa
95nXSSJQ9TP5V0F4hW55LOLjzXF83UaLMd+vi75cZgAQguwEie28P4esJ8v58fcdTm7DxZSnSybr
YL6CO/A9a8TTykAfGzAHztmWRrhrDOtunpmKmtBrsUJZCoA4GpO+MMQtH6k0H02GPx5PZf3cz/kP
aiPHWgJC3lqn81U0SXKgjf9tNqH3omhVv2sKPLsaeOjGWI54NV7t7c2NKiETlqbgB7mCmuH9Sjq7
1nM4UoMqoedVE6Xvt9rdXUOtlvFmqEEHweyF8XzVrTwTL3jfQjdmZV4fRPS6Niz33T68N7VBZnQU
oASYo/maMXjLXPTi1BXjxpI5XPEnorhWyzmHft6KD83Co87CnlwqnnSnKeDNeH1sBC5/sRyeh6nR
0Afynikr+QWqbv9DNL4Pm0htqjhWLMtCoWf73EaoXuMu/wt0KFtEjw7ztTFlWQ0GbLBXhfnBB3Eb
jV7FAMz60N5WhOIy5RvNMw5ntOnhSCSNboYQGkQKRTZWRXfV07sYUMnwguz4eBdcg1geTzo5d572
YKMtpD/E9HlU40k20fO2Wzg22uaIm0GxPkWRCq5tGH+NBZ4pSQjAxePf77BVG2qmaABAluqCK6tq
dG74Iu1AzIv6c3SMvDTfh9UFvdCPrh1HCHu4AtJSQPCRVPHr0mx5m8uarEudFm1cT23YP+liOlEp
X9diM03/LtPqS0L2yWFSW00UHRxNrSbTPVUGNcl2BLXOyqD7eBMcUcNPQqJpFowaXABPshovBPKz
eok/xVJeRIFHgDAfK1bfvcVc9g1n3eM8qzzOdUOAyZoBAFtBf5kiRxV6X+Zpeb+etg1O3mRnQY7a
iDM59UPHMlU8kQCdd5nI/01IsfVidbiHTR0XJ/M4hU2Ao6pJw09ZxpP3HnhMNvzb9XXLv4cBhO50
rqoXoC8/kiAxf6WloX893ojvQj6/uMhtjBk3mZZNl1cvrQyuJFoVwydUi7+3STBsB82LV6bRH4FU
VHcaWX+cBv33NE/kaTKbxWTHGWCj0SQhi5cgOHqRMuGfiRjIMasD4HGbOtyAhLiGsPwfTXTcz3jm
PcuqN8d2XHPcDJz1vZ8U58eL6TiJbd3RGcIdcari8gViqfqABnAkOZsOEjE47PlpSTLww+wbifx4
mPEkTbs4yfmLUMPfRC/zF+QN51Nd8a/TOM8bqQDHuWYD1VodocPBKyrMpz610pyHCPUANqF5po+Q
MDEx3yfdQql1INAoEkOepvKZB0v+KjL0gI7LGJ7yRvz7eMkcoZ2NXANP61Qwb6qgs0aKF+aD4Ar9
UmV4qcsx/spNqz52fRjdvcQ3W3kah83ZiLaRD8iTUSafq9zoq/SKAo3wVXSCCOhOs7ahbLyPm6Tu
CX9BhtIHjgc8awzxxSElO0s31IaycQ/JuNwT8qWSSGiB4VgdNTrur0i2FBs8JQ7PsQFtpKdy9KsI
5eGyZ1cukxtyTsiwd0V2bur49bEJuLbDOgKGqMn8xs+w+1qmlzZc9N88p++iAvCSxyM4PMYGtQ2T
X6Zp0JQvPkH2Q6TecAYMWaxnQXAEGCoMz3XRDGzjGl1/+C8ObxvmNhfdFPhgInupwgmo41hJ8JGZ
oIvZ9fF8XPtiRfix5gy/OpYvXMweXqkoy1bQgMmPXanSd6EfBFu5O9fK2QfA1KWLhqu8gDIAowBq
zqdXjWobSATDInwJfOKRXdBDUNP+eHoyVaQt7zMQFAoCPQAw/ITHMpCfHq+Zw8ps8FtbySnoC4He
PBkhnm0V2mGYmr413U6BDGprnE5FGaPLU1ZPoJC/Ga0mhIPJVkXb9ftXW3jzBq4mloDApMbqjIH6
QGTDkWmjnxq6eds7zNYGwAkelRDFiEAZxNG1CiSDOYaVvwXuddisDYCTiQ7yElQRT7LLv66ShSo3
F9kbCEVvdW25JmAF/LrjXHpV0mCL8yz4NszGi09Nn8idpS0b/wZ1lSSbWVg+xSb+GlDVHGSRf35s
n671sXxaTBNIg0BC8UT84Uxi8yQL8Z7V7EkR9vR4iO9yh784mGwqM4n7XBHcs88S6nsgagZZmmie
s6iQB8T906FDE10+dC8FKMeAn90iMnCYro2II0vdhLxfmUcFpJ1fV0Ie1TTJp5TQ/z2emWPnbUAc
KxpAYIq2fJrLcX2vgIi3KffR+1MbDwcqHoVqYIqfj4C7uCHQSp8WzGHfT7f8GgDNxHjF98XJFvEM
UdjoWvv7mDCozWTGxZIPE7R6QPoaozd5gGIJQGSQzsindtyIel2Lv/7/zckE8Ve8P6C3iPVpoUT1
/YUQwIr2rY/l1LIM8gKqa/h63K8oPgl+8e1uPZdpWhE7q3Q+MZ/gyOCAiR0A6FmOShh9bMZNJTCH
Z9s6p37gdVUNCR28qkn5aRyQaiqi1wLgyqLcwgq59sC6pyGp04/SyzGPSi7zAREh7k6zBRx3rJKN
bNOyIznBeYcZNHo8sBL3P10LJD1BH8vjfXaNsT4Q3lhRBYmUBQ1bGCOOJVg2luxfsMxmpyGN4svj
IRyLZEPbWu0JUfIWQ8glie7ohY1vDQAw+6IyG9OGFgaDvvbUu9K6fBWEHFmS/aFkdGsAons8A9ci
rf9/s0i6UGXHxhIz0BXwCaLm5gw2tehUsDk77RvDcmeq0zDqG1pjI3iW/FPlNGyvkNOMxhP4icd2
535bfk103NVJnGMqWYxzT6fDXwz0v79FQO1uHEyu1bKcuwwa1Xml8C9BHj2FZjh2bX0K8i2wlsuc
rBu7DMdsgOyrf2lj/UQ0EmMeC5ONXXB93HJoVlFUu0KJ5WEUUkRcgNm0EPm+Pr3wJyybT/KAEiwN
UQpp/N5Dnx66yHb9+NCGsdE+bmUt5/kyMHOYuv6qcrmREf31noY2YC0ruyjTUFzJDwRVdLAe+v8N
0oB0jItuw2x+vfShDVvzoDgZAmK5XGrenhbqH6G2vfHrXZ+2/HeoJFA6kFW7VKG8TJO+zW1/fuy2
v75lwnQd8s3RUIV9xrpuWS6hmq7e8qx1eR5EfajNzt9uOSzAaaQbK2xqFOuLCJJrm2yRabmWxXJU
KmJZqLBdLkUG7Cb5ksZbykbfL9mfQ17wVv24LIb0OWctNnMqLukZROcHcIe/Kw785EXHcSOwdhml
5axRBhKh1B+WS5b2n6LR+xSF0SX0ui+7ttZGpaUsA+TE65aLP6nr5I9X0H+/y3V1kF218fZ2zMBG
pjX9RLJcq+USxyE9eaBTPDYT2KBrSbd643+dSghtOrO2rFLa5imGUNC0pqIQZ2h7ZmcdMn0GCvlr
QEq+UeFzGJQNVoM4XJ5XEWzViPkcmxZg9q3TweFnNkqNGqYgJ9kslxbs2edlysprk6AcRjovO0w8
Uxv+7JqC5c8owPgimBecoctnGZpzquSGtaYw/V+4hE1pRsFpZuJyveDVwou7Imr4IsC4dIQIG3/P
ofihVrpXSES/z8tQbiB4XBZm+bgSccL83MOoPsQTkUMM3seAwJyXYEs/0WVglqv3bAYrbmLmCzpl
kWnlwanumkPtJ+exop9ACrARubh2xvL2LDc8zygPLrIomoPmfLmaAjW5x87u+LqNZ+slLTmCO9w+
k/ky9+Ofsf798ZcdlmuD2fAkq0B/G2EHIqX+ar3kEkyoWuXha5VXG3R5rjHWvXlzC7VDz/CapZDi
7vix9ooL5A8PKZ3/rFOxEWa7Fmgd+s0QLC3GoGrz5aIyfvVZ+LHPow2fc9iojWTzq14OhMewIP65
9MHx6r9LxMYJ6/rZ6//f/GzSzEihFmu8q2p0gMbVOJ8DVHQf7+36SvqFTyfW5UzqSFZmLsl1xS+B
T/lTJswT6frfAWB5Hw70XdGMp8dDubbYcuQEsmgEFHTzJRQyO7QVOoWW4JyP6bkk0X+Px3AtluXK
6BnJO3xxRoJQiX+g5NqRw4zQaV8oYzOdgbKzQJqz8y8gl/3GI6gRLH04bhiR4xiy4WppV0YRm5P5
AurFAJrotPg0F/pLL/FyFp40BxQfy31GZUPXaFVBqDrN/UvWd55/qJTHxLuFl323YVcOj7DZzmKP
5yUzMriA/C14p9biPOu4OAdRWG0cS469tjFr6NQLi3jy/QuSSN4BwlbsatS4FQC6vr5O7I3bCa5n
xbIFK2Sa7EwWMX0D/Vn0xy47tfnOZG1mHfl+ibfyyLwXlk0lghpwdT/+vGv1La8WoN5IowxLU/lI
3rVNVl95mgQHk21aq2sIy5vn3JsaSLH4Fwl1C6havkJ18ve63ZfdDG3tUrT7gOQk1Hhntox8iBGK
zcfa9Js9l67tte7iIa7mEO8R3GmxHsf2nQYpUnaDemayj+4htDFpMRqfwShOYEAhurFmcCPelhjE
J4932HGY2lC0EfRy1TgYfB3AY42r//J/Ptby+hAY5KceD+NYJlutdCxUU0H9Frss/W8r3xJUp8Rh
37fXqb3xsJGwFE98GKlEh+VRBVCYSsQwbXzdYZ82DE2zcazGqsLXSyAmeSBfeY6Aq2t2Mg5AevHH
37+0Xl7FnQguS4OyqSlL79yRMD8/Xh3X77dcuJVVB8GpGG+3Ebc+YWgKoWR98MzNPia+0EagCV0V
AgB//yJI6t9oMelvUUdUvmGiLtux7mIVhhHYMz12J+mc/qFUZ9pDoMP0w+MFcn3e8mAA3PqxKcr0
roc0+EbowKFrtv15x/rbCDPfEy2QqkVyp8EYD+96vx/qSzEQf7r0AQGOddcsbKzZEIO3KI3G5D74
DRkuIGaDmpquY7KRAnBNw4qrkeIilIQFu8s5/rRKZh4rJdpLR9tmI3J3jWC5sd+bNJtlu2YE1xR/
DUqwthfxLay6vUOsQ785KYBEHlgS5ezOfZ6DxA6tOlHIhjO4DPf1Aoc2u1nVd6DZasLmaQ7QyFE0
74Ts/jYLvU/FVqjtMFgbTjZKlpfZBGXmShbkdxonYC4uGwDv9lmSdSHHIPXz60qwu+gAiaSoEEUl
jzfeTq5NtnyZtF0BhXg/vGSojs4V829kGH6bapHsS7zYgLFxQrt9VdPxnkWQg2AlkrIEtnR+vDaO
2/InsJgnximYgvAy0AY6ojhL26A6gcXrpZcq23fj2OgwH/386C1luHFi0Mn7WRX90ZmO/FYXO7u9
Qhsdptux7FMxhJdVNvn7dQzc8MZx7cju2LAw0VM1mHI097kAeJ55IOoZJnZBU/Ry9YNY3Eaj2ctY
mI+dZv/u2xfLscdybhRCDHKBJkVzENVAzrSZ/MvY1fk1SoqEb+yNw/fC9f9vTpC4R/bTK1l4GaX6
R1IIQUNxZytB6fq4dVUzxWnfR/l0B22u7D5pKFxxfgglGDE23M81guXbIqFhnuVyulMzQDR+zpp4
OZZztyVp4nBvW7dUR+UgOzkuV10phc4PUPaQXF0a/PF4o10DWJe1n0ppxihL7pBX4peZIEClswLJ
qddsccU4hrBRYCTVwHsmKrz4+dBCwwzYlHJOEJxV80Ym0rELNhJsgFyNzKQP0XLmYWuR+Uz9exmU
Xf3frlWycWCzb6YiRRvkZQhRotIZXgtMtuqed5vyja5Vsm5rTqMgqNDcgNu6gCi0kdUFcOY/c9xG
532TWEd+42okT8LY13iZcEaRDSYLRWDm8SiLDwFarryN48q1Gev/3wyjmqRYfInAhsb18CWrkKsP
0K/xbd8kLJcGMnLqCpwZ95Y1zyNq8h/nrosOSxls0Xq6NsJyaZUgo1N1LLlnRfxVG4gIZUrKwxIC
J/t4Do5Lz2ZE03SIadfhNPXp+HHVWT6tyLmkHD/mE/nz8RiuXbD8WoxFitaCkt0BYsiexkV792Rh
40ZQsAapv0hO2vivwOvBVkZwo/px0x2mhkAi2I/JqdYhynCsTo854rYNu3VMxYaCoWONoMxUTXeI
sk4F+l371oAxZ46nfRZrw8EyI+uO+eV4l6KLmiND8fxeZACqbnzfYVE2JxqFKquJJP+/UF/h7n4J
luhruuzEeYY2JkwlRZD41frgpeQbZ0vwPoN4+sZzzvXrLX9G4ROP/wTpEjZXz9ngzWeZhtPZY025
cwTLp3nae4xDee8Sdh4e02IaT8gc/p5xlW7cci4TsnyaxyyjBKrBl2GOvlZRHh4KU7MN+3QtkBWC
x3HZz+VCkzsnAE4cIR+sSvR/F8N46Ialj3bOwfLodpkYeJaWNTOJI/AYC8j7deVOnufQRoTN7QB6
2zaBRCS4qaLDSPpWnMB6iPF2nUi2wiUKX5WgVRddtUlFf65qT1X/pI0fxlugA8e5aqPBoCmQs1nM
OLnLHvqodfw8L/EHLTx28Ip032vOxoRlQJekppuwLCh9l0edIjuWo+55erxKDmOyac7k5CEZJtf8
c9uglXXWEDGtuMSBt3IY7BvD8miOBh3kxDJoja6Am6ydy5NO5vLJazdp811bYbk0FApnA9G2+Tr3
wXvRlZ+0GiAEFN5Z0m0ZlGupLKceOHpyZJKZu0Yz24n30AH9LplqvJ3M82iz+DGWGRvlSZpo/86r
uPxCWxqYgwdZ8H2K7KFv+bQyAqC/oASvIQFr0GGu+0m8Xwa/3apR/vqiJjYqzOdDT/2uwYtRo1MO
vH9gOAtz9dTG4XAuQlI+NT4zfz22q1+XLIkNElNo+ypYN/r3NmbhJ9ag/W9AAeHkZ5DY5sMUHxTU
II5h0O/LJRMbO6ayES15c4fXi+z1Bx+tpxgHXQ46r3fqwhMbPAZ6fTCkUy+6DznoFtDZnJ16aZKN
48S1Qatxv4mWZVAlqi/S+O63VH0G8vr3uMDH+fqun1MwVuRmJ2qf2IAy2kRTi3Y1jDWB3ONzXGOy
T5kOABTCAcn0Pv1WklrOL0hIJDg64zs6j4vDPNb6GnHwqz22sl/f5SS13H42chx75sX3VayB+E38
rqtQYXz88V+fKdDT/nE7/CnMIf6u4vsY9vSMt3YHUvPev5hwZxMzEvg/DjGKpikjs4BtOVkrvENU
0eKQ0G5rCo71sbFldFqCBbdgfBd4f6E1rvJuXcj3RVLEhpURb6nyJYDYs6oFeDGnNqrK31jfq3aj
AO7YARtURgpQw4TdEF2yLCrvvFDmaUwFeYlKsgVccq3Qemm98TlIBsSZz8v4jk43SB200p/FqQgY
25V4JzagTOcD2LEq6d9jaYqnapqQZqRiKF5MzuKtpKZrEuv/30xiiFWCY1bEdzWL9CAbnBeJ2Ukv
RWxE2VxAfStHk+tdj2T8H4H6JkA/WervStgQWyYzi8AoVXHP3EWqAdpUI9B282ZS2WVClhMvZpzH
tOHoOIaS60FDvfhI5vArRJymjVjcNYLlwywK8rhAv+ydjrk8xQRik9l6o4ZVyHYVeImNGoNYOPiO
q0GufT76RTfg/ouU2Ed1DeEHy3ogowvCGh3dxcTYKTOd/jxX+XwekTLYiDIdBmoToM3RAHXeTKIr
A4QHSi8h3uyQuX18Trs+brkwbbu+Kn0x3nXcy/agBlYMx6I15a7qH/kJN8agFSeqBauvVfSu9cbl
GIU720pJYvmun04hqxsa3dvQ04cK+Y1zmMgtfXPX2ljXL0CB4IUzLLoTJPVe5rQXzyyin/YtvHX7
irLzw4lxLMyKSfNnXT6bZNyiXnH4VWJ5Ll/acSKqXo1+QGtY63N+T1FnPwZTvfPgtKFioLDN0Soc
IyRW4l8iwaO0xJv99Y4J2FCxtkuzBqkkcqESKrR8LtUl60IfKbJuX36V/IQQI1Ft0n7tdmoT+Zkw
NRbHxcz+1rPKEZHaADEtqNJll4NCqYEONpqHXlQ+lF/msP+98/MEwltFtXGMOizVBoqprEtANebT
O4HsPJqfxoWEt0Q0VJx3WavNaFZ1lRmyiiz3io6IssCDnnjvQo9tdoi5ZmB5csto2E9ZR++ZlyQa
d00QxccSIqgf903A8mVJ9VwW3PeR+xTpK2Qyh38RRAzpxjHqMlfLm4NSiAjIEv++aA3RZF59Um2f
HUg97er1JDZarIXEMJubPrgPVWr+gnJDfIimRGz1IbuW37qH27qkjETBgkirHtoTbwCWPTVgQq72
XWI2VmyV5eiLqonuFCiNOQErT693NkgSGyomwjgqlc5gPHCpA1oBCzQBGvMxSMt9SvDEhompnKdd
D9YPJBj00hyAIQIroonzMNjnYTZjGcRzQ5l4Jrgzjdy8QgL6UId7n2M2Voyi6yPK55LeB7Myokxe
+RyEbXn4/3hOOlzABou1nEV1UgYYIs/Uh2xZsqvvocRaJ7zZMCLXEJYTK0ZicPxKcpkFaH7mAyos
EzlJqYT4KxekFns3w3LnOK9j2kZmurOS9vy3KgaS9YDbrk43MjxrePVz3Qee9WPYyETA0FktkA/L
+FcRNfGZsnH62jcdct21lP89PvUciaTIcmuGTpk2pCiQsTA7UhCljTMYzSU1H78XygiIpJd6q9Ha
sTs2niwugyqVkDS/64A1R/TS8D++N1svpc8/P56P45iysWRx3tMCSjhAYvWQl6hykZ0LcEE8/rjr
96/3+JuHIPfHGBpI3nznHu/PsgGEIi3m+RTsrRwTm7usmgAlnsFmcQesC52r6SSPcQJuxWkEbO3x
LFxLtM7uzSwGyiPuDcly5+GoPs6I/v5Bz/I+CAKxQWSEemUJjOZyH+uE3RiLxF2Z7EvHMJPHv9+1
C5aPEwYJhFZMwYXPeBHOfcuO/4+zb9mSU2eafSLWEgIETKuqKdvdvvX29m3Csr1tAQIECAHi6U/g
/xu05VZxFlMGErqklMqMjPiNzakXvA1vd+GaIsu68yKApz1X633fyDB+gEgR0+9H6PwcdMdCy7oJ
lOgbMmg/C7E5Qy8IM+Ds1M6T33F02DiyMjI+pXUyX004lZfSEHPpDXhGS5CN3gdNfkxnGhm3PzdS
UyOdOCbEz3LoxaC2oSvN2U/N8PP2IjjW2caSUUkaw0SKdc7ZI9lgjhOW/uztIq8cq2wjyZjXFGT1
scphAOkLYeL57QbU+Hjs97fVeWJm/ajCtKuxTQEgV1lO6j6b+PoNQNFoJ/jl+n/LkMu2XpkH4psM
K2xOfWyS+6kX644NOG4GGy5mAOgeQB2b34fK/2VY9HOuob1a6Tc52HZPigavxhJszMcmy7Jp0KRB
W7FYzX3nr71/See1aM0pjHUfA9+gY5SH3u7IYRs2vRhnsklBKLJtKijqiMbLWA1uyJpP/yx0F0vm
mjvLvFUIvDFQ0vm9DKfPRPwA91Ryh3jrheUs8xVscWl2la0dr8jAusL7kedDY9R8FT00ZqnXftzK
UGY/wHu+OaeoZbs9dQ57tMFlJm8C3dUs5yfitfQ+rCJ6l67B/DKl07Cz6Rxb2oaXmRaCRDRvaQb3
7WUesPxlAW7DnXi3q/FtAp9YJHSn83BFsPKeGJq8bvp6asF0lBTvbs/P8+BRSi2D5/WqcxqNmJ+e
da80Qt13ZCimU9NSfhJsuoANEPS26XTvESQ7bnfq2M827xjDKanKKQcTdo/QZQKcXxlVZTav7bX1
EUu43Ytr6bcZfTJzCE9UsZ5CmiE3Y9rLGK8/NbjkTySmXbxzrbtWxzoC5pIPZF4XA/Szr/6VsTAv
QT0yHiO0pTb9mJlWtZR5a+4lj1K8/uLGF3cexHoPvl9tqFmZbxd6HZp7HUGv76yTEnQvSRNXP26v
gWt+LDPHc6OZ4qkN7n/TdEHFmwIS1u6R3zv2kQ0z6xE9bmUhg3vOWp7pxa8vCUcIoQyRVY65/+v2
IBwbyQaY0UHpmvgI2vGlbc8Q1viBRHl/CchBeDi4g//cqrzXgiLxF9znGjSyFQqFJ9Kq7PbvO9bA
hpfptpn7ofD8+yZv1jdzWIpfNTX9sTyEjS0zOgLaf63w61uBAbDzlzWFtMXtX3fNvGXCpl1D1PgX
wb2s8tcNUyA+h5LJuQr6Y7St9Dcd85NDAgFZ6TcIy2VbD3z7826Kvi4JinluD8E1+5ZXDtyaB22Q
Euc3hOsfTAN3v6/hixxr3bqzBV/WImgrnKSo9oNajdCngO8i11z/bllvD7k6kaYpvUe9JViay7j8
7NNOH8uh2IgyigLapfQXmmmRInpD4yYmZ68X0O68PTmOu81GlHFcyTqpuxQbf3rTBMEn0xoOjAkq
kSBUEYI+59TUKjr5ebxzmzr2q40wa3qEJtqiSu9NyGh1aVQAiboVD/DTVMV7LyVXJ9tp+GTL6qpk
s7cpvKDuQgSQ4JnjF2Xjy0s0Nf3OmeHqY/v+pA9DgiANhoRde8kBzAIr5V3PGRKYKxjIb6+OwwMk
lm3rNWzN0vg0Y3Bjw9IP8KRkuNjkhgDzJQY1BSA42DFDV2/2RU1bCHIj+pgxtM4m+on1oIPlInxE
/cd6DvJk74Hp2nWWwSc1W1HHpVPEwKLoHpx5KKtT2N8mqR8Firv0OKrvTIN/q5rCHSdxW/pn4m42
Dq1PRyjB1W2KAIxm75p1lAJCrqCSAVa2z7OCjGTHaF0bwzoSoLAAdQ4QlUGPgAbrift+y06sXfuH
ZeV7/JvPD8e3UWmmhpfbkIZm/dQu32JcA2+6JA6GexB5p+XrOWyi97c34fMnnG9D0pgcINSxBCSr
wiJ54EM+PYSx9/lY49atDlVB1OIsCDWIWaWvwLvmnXNO+aEd7du4M6ETzyiCfVaWBmzTOa3Ldwko
ncgJVG/ksSGgPTxrD/Cry+3hPL/0fmqdCXSmsMoeq6JnCZp7yF6AAWG8jwMj/73dg2s1rCMBBa/D
UBUInogIeRUUvAb+P8uYxnt6rq72rUMAhBCTnGSf3idR0X1MVFz9QmHwnvi4a34sw6eLoCbHuQlx
L3AgXLnX/GDx2L9coBm8swSuAVjXvW6SeEqSGC9NUqjLrEIIAOD1sXMiu1q3bDuX3iTAaQaiqy7W
rydUNEHeBPrax2zNBp7pGclKHxUsGUyZkIssDfU+rasn1c7Z5Ph/G3smKavytE6Se0hpeJ+YCBGt
GJJa7xyyvx3mv09Z34aesSTtojGZQSO/6YbRfPyecNQiQhv6K3hZ5kue0H/MOP5jwvEubuR1hTRW
mvjpqV65OW2iLUVRP+6Lt7jGazkCJmZk4d2K/5GcMlDZErkh8o95rr4NU0Mh6aRr3Pyo04eOLy0K
SGnA9HeOr+evST/ZBvXEw0jSyY+7ksb3LGybjOnphZwNLpQKmglNNN7pUT5M6weAkPaAC45bxcas
hTlPxQTHPlNFWH1jYfFfnsD7m1m9PHjjrmS7Q8kFGa8/R8bydC7IgqJ3Brcz16W6UAVJiD4aXjMD
hBZLw6+mjj6wFMIqEHGqrhOClAV4uQGZJNnto9Q1WOukaJK+UICRBhkAAvq+h14miJtW+WNd+u4O
9UDVHsu7axNah4bqiAJbSr9eDQ0+6WiSZxAJ7AWKHI3bIDcEbomidQ7mkt+uO5S+zcWDgMzl9iQ5
Tmwb5QbQ2aSqzsCAAM5TV7DvfOlFDdGdIfx6uwfHMtggNygGrX5ZafSQ8AHV2MkXM8ENqFKAtos+
3MmduMax9f7Eljxc+0C1rxAxRlKyPIWA8oul/REkQb8zU65xbD0/6YElQx2ivgjjgDSEvDRDMEFY
NIeGy5S/j32xM12ugWz74Ek3SQwW4m7YpksbgTBwWL5YBvJQxTnZOXZcO8pyAZqODCkbtiXfzu8y
B3APr4y9LJ+rdcv0ZboiNaPHbbnHfL4A7elftlq+25vJ1bpl0xSC4WUbbzImZckgQ7UAeA42eXns
+reBb7qLF6ENID94Ii/9C/ja0N7s9qB7jh1kI99orVDmMXVhBtBzdEKsDmyycgYwuX2HPO7d7Rl6
/pXn29i33rQ5iPubMNuw/6ZRJWQXo0cS6Pei9r5Mu7SBrsFYnr0MqAfOr62fTkGwa7oL2fxvv/Sv
x3mXy9qx2swyalYXkvB5DjOa59Vd3uv1DLWGj7cnyjUAy561IhzqOCb8zYc3F+2P7SU8tWAOPMga
6NtMaU2TTKYcV8zRlGQ5YOJnxP0f1i7uzotQ32+PwzVJljmzqqd6kmGYYXfxi9ry9UBM7UySq3HL
mjceqrVqdJjxYezuZJr8l6h6j7fG1bhlzA1qWT09DWEGwYb+VBbNl+pobMW3NTtnNjba87ww26rg
h3w8g73hHTKFH/pp+H6YCcy34W/zOuq6SbCNNGmhKFKbbx3y9cfOIxv+FiY4SkkRYQOh3u1EdPjo
79c6OabfBr5RApjsEBEUUOVEoKh4RVgoag+e1DbqLZwnELmvkGc4sRKta4oQE4Lkezz0jmPOhr3p
IvSaUjFYbzS/B1+dAcMuaNJAsQRd63M87t5njvvYBr+ZVnu57nFoa8kIBCA8ctZ6QDGM0cdiJJFl
wJxBmgvoZJB/pPUHIVHF4NVyOriDLAPWqGuCphxOh5IALZ5vwkkB8Y4lJ3wb7Ia0HM/p2uPs8fzg
AhX3DygCZXfDmO6AY12zb7nWs+hBkjmtQda3nY+dFH01ayMfinnxrrePT8dGsrFtZtZBWbYsgIkl
72Yc/yAqAgPV8k0AxFr7ZAeC5jC2v/BtYAWYVohEZ0j9fVQGzlw9AMRwewyuxu27uIqMXHqKU7oF
kkDjwQ2XC0fq7dYda2BD2+YIIjoQwsAi502jcIVVCahRxFqbl8O06ZLf7sY1iK37J44vYNaQYlQh
2F26aD73FQhF1yL973bjrjFsnT5pnHktJObDJcySwqQP1CvX93PPwctRHay38W2KtFL0yu/0EmQM
5BhnA4rpkyLJjh24JscyY1EsdYXAFDjMIBx4p/tGZxNcltuT42rcvoejoAAVw0aQ5gl1+k0WA2X4
b8catywYVfOmVGrCzDN5bUoenJbwYKGKbyPZWFPmqV5w/ph0pndCA2ZmvHLY2ZGOo8EGshlWqx7M
OUEmlMcv2hj+Us54eRNg0t+jIOz7NO1S0jrW4C9M2yBCPaGgNsuBdHpDklU99h3EB28vgmP72/xo
ad13Ito45FoNCxYMPD0NhTc9R4V/ud2FawCW+RJkwKGXiXO0GZFhZBNSSwOIyncG4Gp9+/7Efsup
Hfp6UUGW+BBwgw5geSat9+XYr1sXsCJhTelAxBZimf+ZC9DQjuogVaxvI9cMG4I2pxW0MWKwGIP5
k54KVLoeO5xt9jNeeYD4zCCHy2PEPjiX5hXZfNCwWg+hFX0bpkYhTxIla45zbZJfEtAJnCO1G2B1
mJiNTaNhzWYf3JWZkOyx9OvHvADJIWHv+Fh9SLs9QmzH/rfhaWWcqikvsX10jVn6TcKZtM2PqvaO
qST6Nv2Zqght4WoFGZ/JN7WCwyGuoF50aIP+hVADPSyFTEWQyXL+PJcrO/1/OLgO07KRaDwNC54v
DKiksQtPXLQ/kr7ZE4d2Tbxlt8lUBMHQGopLHY8AwlAwAkWy9uTNyzFlCp9a1ksWtQwcJH0otwSM
75wQ0C+Covznsam3Ll7QZ0Rz0LU1P6lgAXBOghYOZ9ueJJUjCGGDzzSg13VbT1tCcfqHttCl7MRj
jihKm+ydbv72q8/kbGwBTCI1WaEzvkJEdZGUf+BeGbMfWk+i+xXyPKjOcZRXP0xbpes70wYFNAGZ
rJO4eiukD/2t85j2EIQ8g4nIpHonYOvYdjZwDUrnVam8ASMfQdXURFBmhLbYHgLB1Xry533BY9Tg
oqLXz3oyQKwe6t0LAufH3G0bqlbGpCIsBRgOqKkPSP/Xd0WA1+2hDWdD1XK6EBYaCnA4XlMUT65L
rFd9vd24wxxtpBoIv1PThHAjRznPp34GX1KjwA0owP55ud2Fa+a3709u6pAleHCmg58lkJkIeBSd
GcoMjh2ENlRNNkUrwbSG7HiLBAsLOwpNaxRAH/t1y9ZRjF/MOpLAmG/KmwYKkHeQ7y13ds229Z4x
Q1sRU6KMFwuJ0hENiQ8Qp8TTe10Nr2Oki0Z1ilNQMNwehmuRLY87SVOw3U7AXGxQeYna28sclONp
6NleTaxjjW3Y2vbs72QPbkPK4euZmcpLte7KA7hat2xXBW3v5xu+ZtZAPPrpcFlSSGbdnhxX49ZT
uQE3CwXVNHaQku94MJG7ysvLl7cbd5zmNvGZHpfKi3KQDHKBQlXTi0cFuqpTgALxuiN0ZyO5hrCt
+xMLy1ntIc/VoxfKwn/DipX3ybAcBIjYmDSj/Qkq3pgg0kxz9nv6u2b8fnuCXL9u3dXNiEfCUmOC
5sJXZzLI8G41jO1sfFfrlv3ynq6VUqMPsbX+QTBoX/nNLuucq3HrkayWwjNTg8OBxEBAJzM46NcY
xTS3J8bhB//Fcrb6IUrklzSjIIITIXvJEoJ0Mv2ZkPBxowK+3c3zgyA2qqyBK9bRcDsaUKahK5Qm
dstYXm43/vzuJzaQjKNmihbplCIS7r81fnOmQr+RKnmxX8ri+n/LehPknEBE2mGa1nmNkWEcwTNX
p938eGwI29CemBYrGz4sAHllUsHFa+rpDY3X6xZRruuD7FzEBpEJ3+S5lxtcBB5RbxSK/7fKDKQo
dhb5+fOf2BxmZRCPpNWbGSRgX+zx+jyVOf255CE53Z4mVw+WGZcMwunlFKCA0GsHQDsR9vUB2F/M
McwAsQnMJEppEedq0UGooxNP2YP0p4yWiAkmwR4znmszWRZNugFgE4GoKewkOPdT+V8fsz1d5Odv
e/IXhVkNiadkhBsUttErEhUvOJRPz1ICDqXl/VhFX1tT7MSWHctho8ooWJt0H/QsK+Ok81GzRHsR
gPAqomWbIT3V9TuhAFdH1s1ME0hkegRnoFjMv2Wk2asUFQ9t6e1doI4lseFlie7k2sdYd9GV6eck
ksUnFBftRQFcrVvWTae6SieK1s1SypNIu+m8j0xwzc32/cnRIcTcztzrgArmwCWWCNheGj+qz3V6
sI6C2HgxrYsVygzQJQN8aj4nXuqfKJAbl9tG7Zody6jzZkSh4DTD5oaqfCdVlb6KNPKmt1t3XA42
Iqwh4ahyBbUEQqL7BI/bpJzeb9n242Zg2XMyrB5GwBFrQLQfxEJQflKgCqlBl7QzRQ5hXZJYrnVZ
rLPScxFlqFM7z6n3Ra9xxjoA97bjKfXPVRQ9Vmv4aiwAguhEu9OxY21sEFhuRk90Ekf6DMJ7aOkB
1Vl05X+3l8bVuGXVeR96Xt1EuI+2l3g5Q1kdCN5jzB7Ehn9NmgLxv27hmYQh/TUljXc/tX118jbX
+PYIHLYXW4Zdpp3yI40SoLoiH1Q6VKe8a18OtD2WRSU219lceWpE+TE4q4q6OedzrU8Q7m1e3P79
550/YnOdSYVMNrBlYTb7+swNeATVtJVo0Hcewatq/1p1rbRt4otaZdn23VWAP/kFKVDNGi/gq7o9
DNcqWO43IEbzEHk9jEOsvbpKjxYfiBpY+VDrQu0xWLvGYFm5Tpa0YfkK8kuwYDwYlg4r5G4bvgeR
dbVvmbgskkkiC4ljcDXtnYFLI8pd1IKjcRsBJlHvDeYc+N900MgR0vjdvO5W3TiOWBv5ZVAWmNOi
7q46DD7lch3f9ojtQiymORUk3cvzOFbZ5j4D81jQjKQEhD0tHnWJJDkFcMeLyJ7ekWuOLGNWTMft
kCtkylX0U7XTZ6qmveCaa4qsS7rsKzWoiUfQUtJ3vGMPOpAPsLNCHIO9IFT3pxvgIcazgDnczyIw
eJ7nANYV1uUxfWzCLANmngQRXwFuiiSA5pBhpTrVZfTztv06jiFm2W/ZDgr3Ww3nC1naH1he/5z4
yDVAJ5C8BS9c83oAOc/Oke3wj23Ws5xDYMjfPHy2iiwHp/NvnyxZ50z7IKSPihbM/XtKkK49a9l0
IydTBSU8g2YEH1OzgJdnXtI3NcqCdyI/jrmzUWBsJSO01+fuCqqsH0KLOySOXyai/rEVQgTlMWZ9
YuPBQL/EVEoR1lYh7tKt3LjxB74zBofh2XiwZG2DtAciOwsBm3/Bm5n+iOtdWhVX65ZZ08Lrao9s
/vGMFNwcIjnWmDDe2U6u1i3Dhm4FlUFUoD49MssdDwN2rvT6z23DcDW+fX/i2nMegXk8RRKrr9jP
OUJVehqBE/N24469aaO/5JRAE22B90U8Eb2QNQKHZSHmx7RYqp0uHKeerZUpCzFsAhwA8Oiepvck
kS04nVXfoUrytEAkIyzPnR+Fx/STiY0KY21LC9bg7YtbWV4J7p5TMgGWClq0Y0BtYtOfzYBSTaoV
QOWFK7hbay99P0KH+Jgl2JiwrpR07ApNs24k08mUAO7mU7JXk+1Y8b+gYNwfUWCPIFMzruwVpio+
hT6YpCrENy6HNlW4HVNPdqxBWe3SEISYAObZauIDedELyKPrcN57LrpGYdlzvFair03iZ1Nq3oOn
7y2r5w8yCL/cHoHD5kLLoHmpvX5GficjtVrfARPD39Zyae+OtW5ZdNiOnHRbHR7Yr8U5T5B81MlB
RgJiI8FkBGi/l+OWFlJNeC00/G7Zrupj/25d072/1VbLCpGlohlPesXm7Cj20O3WXctqudfQUaw9
pZBcmH2ku3v4X5eQzOOlE7uAGFcX1m0syqTwygJFaNicXxUB6zUx63rygnQP7uTYPDYsDGzRrQbh
TXeVFdQVhARmKw7GvReC4/9tWJjM17iHPPPmuiAMExbqC0/BTLOFwm6vgcOZsLFg/RBFegCZf9YP
Hco2ligwJzrXooUGQtj8TBhLXq1sPVYCBjGhPw8LCMQopFSxofIemkBUIddWQi/m5G/Hxu0RuaZs
+/7kPEJenzKaYERdmKuHKI5/hgsXmdh21u0eXEu+fX/SgxhFJImAAyCgVn5uBMgFowWqPbdbd/2/
5XcL1ppyUYi89QY3GvgXI8QwyrfpFgi43YPr/y2rhhbCsoQT3KOmX/lLzgAqQFXBXsrQ4QHYKDG9
5CPNGbztsuDiLkmZ/Mg0709FMfrXbgbj1bFRWKbdbcUQCg5FVs9Rmql4/hfiLeGxxm2sWDOwvB/8
Lb5X6e+yaKfzUuzW4jrm30aIGVT1LpArwMs8iPhZVGg9Kttjl5kNDuOLMVFTILSKhajPVJP5PCF4
eHvOHXvzL3DYNESoFtz+fEWxF42hIxmbOXjp8c4c84dsiFgTmtgbSzw75rJCXgFo0rtBDN3OujqO
O2qZLjFFTEyFd+fspy82/B/E3aHyPYwPIpb0vJrkv9sz5Vpj24rHYBQG+thXXiEYfenZPNWvO9mu
3sEOLCMOZ9p0AwjKsr6uA4AxeXnXkYP8r8TGilGCSiZ/SOQ17OWPOYK2d8Ag6HVsbizLJcvgr3gO
AEcqgvm81WL9jj0eatzGepWj4KCKBvSlafR35YNPcZmi5HKscSt8PY8DKlC6GcDjuqrPIBr6Ui/l
njvk2Js21GtugV4HiTNcOXCQwxsSpwbRfpNygBnX4H4pux0AgGNv2rAvBjmcZfDwKGC9518VraYX
MQu+HZui7eh4cjnKzl9MAHThdR59cjcnLH3hzd50qDaB+NuQnrQu0gZigmBvy0i3hCetUNzdev0e
9tVxddmQrxyCJR5qE/JfZTS/Cdfmh+rbd6Dc+Tjk7btj02OZ7QzazShUY/6LteV/czd+HvWukKBr
XS1/WjAZJLQq/nevaHDjvh6Wojy4ayyrZUlSch9hlQxpqeIUphAnRGDo8fa0OGbeRnklKTVh7uHX
mZe8oxIIx1kmL2oJIvMRYdPbnThuL5ugjDJZrA1dumufQ2iR0Y7f8WEW56EHSfftLhxLYDOS5UPO
wWwt5DWpUDp+IkGMJ0c8HOTPIzbqK8wLyXwi01+NWM1JDDBd1KUjxpXw9nx7CI5jyJa8bNYInCvT
0CGYwr+qiL1UfvGWyepxLqdsWcj1djeumdq+P7FkpA8Whg0rr9qr1CmB2jLtpmPYTULs27epWj9u
UjDWR90E8VTzbfZRaXHsz20TrhXlQxUj2pRGd7JLqkuw7Cp9ufaoZcNNHLXBEA5onNXBF8WGRZ9k
NATe2xbaIN2OuTki4jYErCzDdECasbuqds6IP19KQq5zED1oj2WLnt4sSBcdmC3gQdM/1zmsh6Cg
kfe/dUZNU44UUc29r8eat25kOXOJd8CY/pLwo0/AkYNjfI12fNFnFwP/vpnIkz3K8rEOp2TLUqDy
66Ec5X3YElR5T7skEK4erPcwagnk0HawAlD3jyfjI9keBnPyuiY9e397hp61Zwxi6/rJIEIgUEMk
irprM6nkDDe0vfC80V+0D/bKMMnlqarb/BCFDHqzzJpxlXe82F6vAXprGMrKBs13Fts1W5ZZEygt
B6b2k1992ecnEZblnQnA6jN5x+wP/28Zt0B8XJGh6a4okZszPqG4Rm/sMVEYHUK0oQvLxOdirpsF
hO9X3PwTey0UDzwQyAB+/9AZpcudY2ozsL8w4OjGuq85b0Sh17695gaackUCRJ6cOpVJGqlHlIAA
bthPr7SOqjuw9Pc7XoJjiWx8WB+t8v9SL6wLwAw2QdyWU7D3VtB+3hnYszdHktq8YzxIgRdCBOxq
Io+8JP4SXItZZLetxfX/lsn3uDSEKHh3LQfGz3maykdoVATntSzkzqniMMjEsnm8pmIKGnC8rQDX
k7P+DC9hvmy3KzBQw8XfEDe3B+OaKcv082iWwZrAqzIdBy0WAxOMXOmemPGzlwjWwTL1XDe6idTQ
Xnnq/5Ke+aZq8UH7/cuBhfdF4b8dQMF2eyCuVbEMP+dQ0CEEVplPYDAtl5y8msTS/+MdhN1gNJbh
N+Mi03ga2+vc9FFxQUo6GO/WMaZ7aSTXGCyzJ9PwPxeX+0F97aeZZv4yvYHeg3q8PUuujWVZfBKK
dgl6STIezu+TgH9qBvG4qQkk4GiZwGpzqBsbIKbWFcbHUnkVZjSv+By+guqjd5o7hGoKMpusCMRe
IYtj0mzKMIZa4lUaHGIcikANBSVuB9rTuIPB3B6Mw0RsyFgO1pCloxPZ6MyvNPd+BKQ45CgmqQ0V
Q5wJ0olybq8bhetbXqvw365Aeckx67aBYjIvpkRHHSpjchxWP0ou6/WBq7GOr7fnxjX5loEnZoBi
9ISF7j28w1iRvCvLeLgUiDHuDGE78p65o2LLroEA4HUbw5XeYAysrIGWJdfQr3+0OBZvD8LVhWXX
zNPRvKAYAQd6/Uhzcm2kvpN1+LhtpGNdWJYdplMi1jUmmZSgxFCjqE859uxn0FDml7Qn9ZGaMewn
y77LYYXkfY+Lj6c8euFJcCh63i6ky7HaNl6MBeMKQDRSDsCgiQufcF/raFleFKzfYzN2GJuNGuvz
YEwlIAFXg6RADqL/ayVrfuyOsMFitID8IC+b9ipUJ7+bJGaZTub8Gkgudg4Lx16yOcLADFBCnT1q
r6GU13wlbxNUnAxT+KoID8UokBzZVueJt86GDlUgCB5cyxF6PWYEZQif8vVzMKriw+3t6lqF7fuT
LvBOAoc96JGvYup4RmSfv0Vl/6EICAZgmbT0UwniuRLebSO/5BzMMIPco1Fz/bllyw3v0wYPebTN
kHmoAmCeOznsTb2rdduMh1yPKZKe1ybSan5pwLHSnkUT80McZJgay37JJJdxAgPTL+Z3izz1bQ9n
v1p26Tsd978NDAuhvJlA0rO9NjS+k0Ne/1+Mi2wxLhbn7CT6decocliCDQ4zRhVp1CDOtRYPdVld
kgDiHIEhX9sy/nRom9oQMerRqSUFpGHFWCJLSTnKf7yeyT2wuGsI2/cnZtB3iqlq2tjvKSo1MF/V
R1moj1SZM4i39kgJHE6yzR0mQBNflqDPuSYdhOhmVdSIiXv3TVwPZ8q1uWgRv2OM/3d70lyDsmyb
63KNZs9rrlFfNuely8+iAG8MwjmAIWK77XgGrm4sIxcAtsa5IM11DvNzXsz/JFUI/t31uvI9HUVX
F5ata6H7hfutvDKTLNdZL2ehI3Kph1SfelZMd8cmzDJ6hXNVxdD+vHINNBwHhXRO+9d4wr71dmP+
rqFYdm/mVBkPWl9ZmPCvfUDPTAggakAJFSvx4fY4HIeXDSMzCLcQ8HLJqzT8U64ASfDHeo+cyNW4
FWQDcTuA3VTBwUlXdTYcxNdduRsPcbW+HWdPDLGJVzokCe6jTQgNGiXlXZseq9NNUptQDIIXEcgZ
EU9lFJR6LEEoR5a7BSeOE9dGjoEHvFhXcA8Ciju/N4OcLtt7fnvKpyr3L/tgXIdzZitmrtO6FBNQ
stnK6Sc5el/6ZeKnWYzBjifuWgTLosOuB83hiP2z8fRStTEqVf5eHYXr7y1bzgEFhC46KNq1100X
Oqr2c8mhQJZC8XDnQnL9v2XHc6ViyBGDWcaIoskR0vQqduoHXSXZMQOzjFh0QRqvBpcrbwIgcYiJ
eXgaCCkOJR+T1AaSkTz2ENGENkaC12LGFsBNJND8KA/OP0b1HoOrYylsQBmTSxJWXQpgC9c/VY+q
nERN7yMNZd/b8+TqwLLmLUkoWASq5IRv3C5EvRZwdC415Fh3tqqrh+2YfXJeyJBqIfjYXBkIes8E
jFpfkk0duox4uKc16dhOwdb3kz5aD/T1c4On1gI6pOjlkK5dearTaj4EMMJqbx0/6QBKFXlczFUA
mIsBwTQHUf0Ss0PE2GjdsmbQKRCe+CMHOVqxlJcGHEUoXMK79PYau2bHsmevLSAmNTY+iEt4+MkH
avZMPf8Q4wd+3jJlOaQmUINPChCVNMOpYIPMAqhL3B37ecuQjapGytU283419PBgmunFOjW7HoXj
TrChY2BULwM6rV4GBqTrDAdmq9U0pMoW0BREx+gVkB+37uR5nvx28IFV0CPsDNob03ndmEAOTZKN
IvPEopkfxPUVGMpLmzeZCNadDIFj89gYMi2bgPgDmsZlcKKivS67YWJX05bV0nbNmzbBLclH/x0z
kK6LVXrw8W9DxxJTx3lcAyaptLwOgr5YIJp0yr3mElW7EA7H2WYTjIU9xHnnMFozSFfI0zzAZBkH
PjZQxd67x9WFZbxJ3o4kmNWaFfHUf1ibfP6Xp8VHyEZ6BzePZcCEkQKY5YZkZT1+V4snT79LlI/t
TMt8oxCAaNEgp7EWVEB7adPX6MmeG+Rw1W30mAb3Xc3h5WYc9AbnDX+VG5BWy6p4G6Ps+vYQXJ1Y
phsGONzGEO40yEqRI0XYc/Po2HZIL/QQviJJbTRZ4oMuw3AsAukhJ6NEXpzj9hjVM1q37uCklH0U
gN0F9e8KOO4VZe/TML+/PT8OM7aZw3LBuVckCGzz0niAhkBitDW7kHpX69v3JzevBmlP1FcEvz6k
78QCnsxoLg+RqGNerIsXsd++HmUJaHhXiktZSnUtgmgPIejaOJbpmsDkEa/jIIOu7j3n66veR1Uv
nf49fK3YzGF8kwcKRYmnHqboJCYkwSrIkl9vr6zj7PEt4xWsageyIkMFYklx7qF2dB5j8RgjzbDj
fjpW1waSUdO0bNE5WHWS6FEWSN9P/THi3CS1AWRJEqIOZt4e8jr9zwTglvTFLvW1688tx5l1Qncr
A3MX65GvVwPoQrsS5BK3Z97VumWwTVAtVVFuiKitmnc7mHNPJgcn3bp3RRCSugZePuOr3/9TopLz
LQMb58FftwyWAFxVRyWq5CVSqK9Mj5T8AmDDTjbesSVtqNhcJgRiCiBelh5Kd8wo/evog1BjrcF1
dmzubbMlSQKo8ECyjfJX1sCqwLWad0zKtbDWZZtHsl7CAWfCDFr8t8EizDmIxF5SxdW6ZbCqHBJ4
N0BTV7RezmusMz2Bs+PIvACi8udJDP9bQdYQpY+9CMWrHnrD/QmnTn9ILTxBTv/P9glQeiJa1w2t
OrDq25YNb+Kl/nT775/fOEjH/dl6H9YhiiAgcfrbokIPZK06AOU4Xi97pUzPzz4yBn92oboRpUYE
VxWZvQqPiKqtixMulvAYlCaxsWHJzE0U+iBXFIJ8a0Rc3UX9Me4xTP82qqcXLWjG+4Ftfz9W+QuR
A2q46r1UkGv2rYs2DJawQL4DDP4G1BlNspB/12L2Tggm1juWtS3k38lpPLH+/H8KYVnlMVRY8ArQ
QraCMBqF9iVSfWxs74EP23F3nr/V4TT82c/KBUtVVKJkuqD/j7Mra5ITR7e/iAghhBCvQGbWvrkW
l18UtssWIHYhQPz6e3LuSw/TWRlR0RETHkc3mSn07ec752ld6sy1/a3MCca85/YWTp3Wxox5GHGu
B+gdCFtc9BhcdrbJVu9cM+PE47egL1bmtPGOoQs7DPFNUYPHFDjP9jmczwJBTpjCFvTV11DYW9FG
gXShoI9ulu5vWLhzGxEnXrXY2HKxdiTvUPBCHNncFkbsW9VlRV0+uXVIAntOOO7Uj9jYs244hlqB
h/zNglqppWRN1vWLNbv4HwHJJmigPAGZGt3l3k9F40ElE0N99Lm/O/XlN+aMeVmzgDkWuy8xfxaY
au1yOUUXnz/8hA1sxSJBEeQAsPTZPvLXe2b1cy+bK9GFl3MYvH7+Eacu6cacsW+6tkGNzqfqGIO8
etCY8ooBxx1lQ1nr7sySwalj2ljzHI50lVDb3lNWfECOsk4aNL4//wmnTmljxoIMfqhyrB8drykh
R76DCUBb/hCs5/BQJ05pC+5qfR90zQMF+5RR5R0NCv+1FwPdlXqqzhFmn/gZW1AX7eeyhoI6iPij
+REc8AZd9eOvOGpyfn5QJ17CFtXFCt6vwkJGRlT1CsTPEn/LKxl9iaILAsDHH/aPyFYMPQj9ZA5n
VPY3cxN9hGvztVu6BXUB7z/IEnJZexq1720EKxMFmvTxAo6/z8/m1Bve2DHryzaKFcKNdN0NH/zD
rNm1mcQZSz519JvAvK69N7WQ19kPeTxjdQH1tZzi8kylccJRRxsjVlNj6rkAjyZO5WDz7oY6VNd1
3NwcvfQ0Dt2ZUzp1RzdmbPPSzpGDGSvfe5FNy3/WEeZKWMKD5BQE6r7mVLeQLitpZEeoWO+LMHir
u/zDK7/WRcGe3X9fUnDtT4yOIYIyAe8EY02ZRH5xDtt44kVsoVyjXxd6Pqrh9HHxHi/6fl6fdSxu
rSztEcx+pjo78Rq2oC4OOfdiwarfXlf1YamiPwGWkkaZf4z1uYnYqV+yMWbFkVDT4y9BPnQTxKAm
oPnHkQq5q3lWfjVH2gK76krM0xSBDmweeJ72PUTKRcUVmKeC/GuXacsHtoCsqy045I865tadtOqj
jnS+/5Lb2OK6qARmEopfEHdrojs9iw/qyn0cm+fPH3/CbWwJwWYyjbkI4DYwQM8Tq4B7W7yzQPhT
73hjzeDE9enqVXjHFXkPC3O8rRwcqgnv2/sYja7Pf8QJ17oFeHVIiuIInFn7Mq++gbkRWAOkMCIn
b58/3w/+w8vxL0XJFuPV66JmoYEOQYJcMvpd+zXX4NGYxbw3paseOKm9J0HqaIAAn0VHmbcO7NXz
OC4/fEvIyxj1FP9fcOx90GCZsHsnwKUArGTcjJgKV/WeDUADyg6ScYaJvE7nsLN/SRP7EzY+Pfbq
GtPeFKAtaJI5x36d7Hp+1U8S3DzYN4l3rY8qoNfcXLAKUn16AmtfGgHi8T2ouvCBi4Akg7fEGuNh
a2/aWJPvlBbtxXHieglZedYfdBzOL0Pc0TvRs+6jwS/2MohJ5XMC8HkZPCoqArlHvJRBxkI19b9N
3Fj1R9AGrW4F9S+HqVhZVJnRY2SgWApa053ikz0M4CB5WoOme64pdmTBtwUegKZZrm0h/F9cN+Nz
Syq9VxBFDpJ+bMqUQEEE0yo1GYh7Ru3YJabrsFEzdw60h2ryARKkEdpGpHNombJ8LL/bytpvitYg
KWezFimvwLOS6GJdi8T4sacSQSeZ6YVPd2AJUCuI3CqQ3vGasvVeDAzn60Ftck51qJdnBUqB37kW
oOzUnWx74EJLSJAZeMdXyF5jPiTrmf8UTbxec49R+QMi3oO+pTmrrlG1TuFOzTjaVI0suAJRVnBV
kJxmYGNl34nvaL8HaZZ5dgE0HbKqWYfxqiZrdVkEAyBLsVbXLe2YzfhYzFMChl0AMVVtcr1TmGNU
T/j3pJfwmdfymoemvPDKyQ0JAVzoFRILmGw4huCNGnSpWep7rglfh6BXNAHSa8S5cqym9ayuXRLP
cQHjUUP/TVao7RPTirVOhB9BhMDrKGTk/aW7bZ0Vh8I3kUrGZYaOhunD+LEuW2RMRI94Sw1TrEy1
9KV7Klw7PzmLL+b6qFgvKI6xvxUt6r2ULgVYAMGUabFsH2HDc0cKpz5aMMlc6ojKeydAurevBvyT
dsUEfhzLSHRBqLcGCU61z0zZWpqRcRn9y2YydNrplZW/PQjPqISaDl8S4Fj/J2GSvSiY5pCAcDy4
qnhcLheLoJR80yYIgp3F5eM7MlHNLsU6FsEO3eD5vuCVw8AxENUbYJFReRFbx76DwWe5MOGgPrD8
yLsnihLtCXC/2SSmqiz53YJz12QcfKxYMFw9LM+JAH/sQZOQiq4fboyP21WvzLvNI7/940xrf6xy
qG7KfBCHmQf4/oOiwYGOOKBkKMf2EY4uD69jhrWZZO3G5moMavYh+qN87MDEtWsENpmarpWp6kdM
GMuhelBq4r9GzQt15ReTf7Cqtjab+7EK0qmdUQhLVyEQ63VxaxKbWPz11r6yGZtBEvFYkQFvJ8B/
dA1tKnoHZwAIEaXTJVlEc8nW1uzRFwoyKfJcHmawTCd0OMKoC3+qv9VmDpNCaNklLLcjv+paU/kP
xTAOek1UBzdQZOicDsVdx7C4eK361v6tS+rhAoE1L89qkMGoJBjVdO/r0RXYo9RuvQTrsAFgZ47n
4aBcjd1Q2XN9VfARpxW04AHPWi2OysNlMT71PeEuLcJmfFXhGD3JUugXLBBEza9OaNx9gB6UOIBW
pb9Y2lUUZZo7v19TII3K22DW6yGnpVOQFqPQUkodJMT/GGwM/6JYVnuwvRc/1DDsJ5GHOEXtHa/f
XE76r2zhYrErnau9VOBzTCTu0jOH/s8va1x5WOAmLyRkwjNMVQP1agsalIfjMniY1RH15K2EX3te
g+Od6eTQBEk+u3K9HIA3WQ6sHI5gHw1NrMxwTvssByFcD2kGgurIsw1Z/uhiDu5nBy2gPW1iFx3U
JKY7ocL5GT0wEAVCOG28D3LJC5BDV+WUiFA0LmsJLgfI/7w4ramm3zhi0ZQUIzVD0kDy5CYGdvCS
r+34w5Ki3qPCbIcsDpWhiZxZ9dYAF9vt5o4GfYpOhue9FHFp7H0w+o1IWrTFSErqYbjB8tcYZ2C+
HOdbqUx4C0yZeHHYtn+3iHuHCHpWKeNRZxLWLdXDDP6+W8aZefLCCdBUDczyswYp5IHPRf/Oy4E/
InTNGXW+B2GcVS3PcinDIuFRTaZMe0HALhYG+eK7WWEDo0yELcn6TLGUy3s4I3n8KAUik9+Me4ie
kVsoT0klQ3wRJ4J7VOZeDXb21nuivJLk0njRPGpAE5q+2gvI13bgngsQCUER5+e3XIGCrq4IJTtb
egK+tIimW+0H6ITQaWnNRRcPVbtHBy9/MyqsGnuBfXFXvLOJgfK/qjFbu7Ri6qKnLurYkGiFYTmR
mJwnNA97WA2ArS8N6+kd0HjVA8S+2IudcQ67psj95ZcLY3o9D7Or0riPOjuDNbgf63eF2+O/9D6a
WwnQrPwP2n7DH0/CsgnUnj4EdW2VBJiU7ZC6QDlOIbm6xpbmgFdGpzxj1JvuOA1clLSkrP07ME/6
8TWo5kIKviINNVmpJu/JlTbsrwftOCgOvOI7sOY23HUQTfrgsWu+x3nZx4mhunBphCrNAb3D6bXw
Fu8dktswx5rbcLgW3YAvz+nU3ow9sR+dqh1NQ9KVOkUqtZJUErjDiof1fdt6PfTSPUfBEyfYCB+M
sOanOPdZpiBUDp7mdUEw4m2ow0wyw3+6qbXfIoM7h1k+0G3zrMpLD7Htcm6Z+QnyNiQkswQHQSlr
MqYd2Bsy3tU2zvIo5vsu7iuSlIEcG1AzgsQa6xKInnGcI1SrmASX4FqqvzF/aAAiKiyH+ChKFY8m
qlYgIJVwIkghpbmteRw8gaK6/esUnEWwtN6y5+PCzfXqIBrmCgSiZA6UUckaQaIJiimU/wDxd99d
s6nCe5utcADsuUVG2AqhFSc8hT5cnwPHQRDBksUWOHW4EN3cwiVB/j3BujohmVd4MWjc4wqO/NYA
ojFmQWTwSv0o18vdFHNV7UZ8xTVbScPFt8ov+qt5GaZHQGRXkq2YC5gDj7l51evEuqSFA4ckL5Sq
dzqcfJ3GcVem7YT1fr/x5I9Qr/XdyorqBuOdIp1rDqBnSTzmEhWUpkh5D/acCyecaBNMnMcymdA8
y1ONU9VJZZaAZo1oZLUbaNzTyyZi4nIZF/ceVZ17a8PS55kqbZ8pBEeWJ7JUQ5X1edPvcXJYEYjb
eLnm8JBeyheHFLxH//Ke5gX8pEbGqXe2wo41mxRHcMuXa2oD9y7jpvroADd/MGZuriDIQW4W7ABf
9SAozFM40fJWDFX1EHtzYHYxWfsgm5B5PsyyyrHEURk48Cmc3ZI2gWt/qILHeRqDhKtKJ7vkedrQ
AE6TDAyHEVVlVydF76l36FK23oEAi8kSUU/qZcz9/ImXUj9G8LYW8jArWnAENcyayo6pKXO+KHcQ
fe661Eghf4ICxL6Deq36KUjb3fXSIoSqnsCxmAp4uv3oaPWGZHz92WPDLkoL30OiaBHIr7DbF+Kb
EA8k7ZwcL5Lwhrq/FwsY+pIp7PNHqvPiocS68oRVGINQACkF0aQsODaBC9Q+4UXjIhBUgN8ck7wG
SeaPfin5T9YM80soQRWme2/5SVkYf9SF4HsetMW+Fzly43xtX2breOJFDlS3s4jfizzSjxLVCQiC
4/nZKIDRcU2ESsfOcpIyb8VZ42lI0F08wkJ0vbwWFQhI22ZafqGgCSzqM42SomaefANXn/+TTnyJ
L3iADDiVfVkgqzEdBoOWjNgIZCUtf+dHVrO2G91lqWeCRLQDGlq6abpSYTvvOWfjm1ja8NV2KAO1
mb1rhtrtwu/L+k6EqvymAGNx2SD6KS2Q2H6bKabjFvITmWsmdQmEhQC8ZQxvowJYjtQBj35l6hZI
zRZbWcUA3mXCZpkVS7NChLaDcN4AzcUlgzKw/5qj/ZGgcphv85muRToEaNO2GLo8d6s/XQoKh3cc
imVcjPjPTUBAeommBr1zWHt0iQCp8AOzNbzMTLr1IGdK551tjLkTWBUp9+gfYB5L4qhLbRAPj7qP
YPRht9a3RFgceqsqcqGbfnmVdckv+3gIM2zJs6fVi6fbXo/tTU/b/gpZi06LqVofB1GCAnXp9Q9/
IPIgLcVpy4j2l4Vkbdbbxr6RY24kfVRVipPoiXWN/s3dWMcpyA/7y9Cf+FXbt83VAHHPN4p3ejv3
Yr3G6FLeW87K3WjghpoW4A/VNeAuwyEkpFD2nSJrWpLCdmZBrJNrtWPEVe+YmtMyG6A4SbPS5EXa
AoB0BV2b5hYNJ1w360jsJXUD/9CGKGrBErW8xhKElVjaqnB+iz466MBYH807aH3XuuQHn8xVlDRd
A3MsOAE/Z5w/qF6KBI3oeg/MhLh00KCFcJUGza/iCiW+pEJwlFXgD71wI52+91FvPwD8N0jBVS13
usMdYw5hJxMk6m4lxmEPveA/aKugUhxVUl3Ytq1RRi9RcA/rBAUgpahZ6q42j4qP1Q0icnDDXThd
jjCfbxNTcM9oyOdBVnQhUEUsBqZjSGovDEyG+IAF4APKJeIlTmAnkSRVTorgWefO66FLUZLiovF7
3vwYmS+Lg/I8o8HC0s1RdInyF9UGh/TXkolFke8aPc5LIyGNk/CQlr8oMQ1C2jr5T6MvyZIAOXvj
yBCbl0L1uKnIsyDTbqGlIr4RrHN6KJZ7xELW1uNcJ2hlMLiIVVZv9RIs1V87+9pkPWlR3x2LoTKh
Fku5F2yQwlxhbxPGFpNhYVmZY8cEnTKBF9U3YCW/kq2PWgVrtb78Izuqw4ON6pynYuDRcBGsTdlm
XmuD5kppJS+A2EbMzbu6gIbg1B2zyRC5tjHE5t80MlGUpVWjdPHN88e8ADn1LLG8CJreKd+BoVHj
jo4oPBKXz0XwGnpwAeDHQWxEOQq4QhtJHJN0eckfajoi9YLrteEVg+sycNFBOGc69Ogja3XEf0Ly
FmUzNpoNci7aoi66XovGUw/ILrBbjwDqty/TpKG+ofkSmSvKaeRfmhYrPonQjW0ziP/O3i2HmCb6
VZC/iA8DJUN0MQMLH12xYh3ECzSSjr4yVxRAJTBYQCi4QmiHLDFOQC7IiPcSt6ICM3o04+z8GqUn
+MLmaOe6WDdvupBtdxuLYX4izTE5hxx5Rw9HR9dfmHycvb3wnFbZ7LT7VqwB0n5OGW93fIX2Cp4V
VMWBIWcZMGIWsZc1Ma53EjR59eRGpDjvtMIO8EM9hM1PGpcwhxZ5ew6mRFvm+5qPEUGaAfd5V7Ma
ROSL38xol46c3uqoq6Y3mFOd72pDeHkBO0Ma7EwD0EgR80kfmrnlD66bVpkg2xhfJZg2kbGQ+lhv
FG0jdx4fwSqWgOlwhP4gBDjVIhMXzvSCYfRhsrrW0/zDx1uZUgp4/m+65rX/M8CqIbtmdZADZyoD
ikGWd7lOKPEuzcwwUXcDKlQu/JxAc1DXNGkM85D0j+LQUjFnyDMX8mHrMWp3qhZwG3IyvEpLEAou
yTigCwACk1E0WE3HKhdUkaDDlPLpKG1ny+6VjQb9KRHCMQs7zO2TK4h4lnEn0gIF9oHIglwUreaX
upyx0FFbhU6RlHyYdtUE1JovvSrflUujPgzUZYD8LZZFxFf9Cukr22ChDlUGLFCAARgJn3U6NROJ
b8K4g+Ud701+KUfgr2CLevR38wpviOC4oulAQXn8rIZ2/ZgJVa8RAx8xwLP2JiCAa42i8B9LAqnH
K9ss5s6qKLyT3A5T6iZ/URkp4voQISsNEhGEQcoaxDYQf0u0hHQ46rSKoJSel1BJLSB/VA/ltUXq
XR2ET+BFzYK+IeqU+lbHeonB5d3ZYmdCJKUGXrsAQbzMH1DrhncATIpLFbW/4TZQDfjCa1F9DWZI
sSLpoxrjnswGEnGZ1OjBou9oYfmULeFtQUq0GPxe7MhClh9kCsufckE/FXuD/GaFPHS+LyNJUrOG
qCTrqocsCiXt73wdyI2/NN56EaBX/Vt0AqUTgN03VTW5fcwiCHkOllWwAhqyKiEeitlr5mx+KCxV
KffLAL1HkHiIuF0fGLR1hkxOEr0WU4nhO6lHtuurnEPrCGRnL/mIpiU6plH4wgw8qxMTwTCRTlet
16DVK0hvr0eHBoDoqwlkC8cMBHh8s1/Q1bhAEO/uxr6MoRg4jd61yRUQHUtUoUZT8AfPTYd3HKO7
uYM3mh4lXDk/5COWoEC2ZI8niaDsdRFWaEao8hqB7lMyryroD67O4w8q1/hBDE31xGaGkpaj+zgM
dfldrtz/YbsGBT7a+aiTEf/cFfoVGM8rN6Dh0Yc9anIsbsx7fzIRGMOBCZRsRJ6AeuS1483aIFeQ
rZcg0ZjvYePq3mu77rnA9tb9zBaZY1soUPMvX6mYpgGylZcROhS3lEXyTWBgmfK5ItB6NAQDBMkk
1mah+p0GNa3WxBz767oAuV9qxwDu1wYeSxhkS5IFE8jHKHS6wX5hHXaIZQqZdjC2YCCzRntyB+lg
3Ok+9osq8auS/sDCTv5mRTQobBlhiJaAocvtmJ7zQxS2dZ01q/VFMlG0vnfalaROJgxhOnS9TAjK
QnQx09qummYraAbbXRjp0t3USzl46YDZwJCRzvOrPYYoyzdOdAQ1lcnN+lnDtr3L3oGxAl0kEr/O
oZ7q10IOsX4vvMbba78b0DirdH1nKsUfPKAasrkqUPePgRvvwckiUm8I2+Nr0vr3UjBcVUvdLndF
1WZ5jBoClF96b+3aHFfYfPFCx5nPqUU7DE1mGwcc9XuXP8JXtmAkWlZLdnKkrbuQyOdWhPFhgr8N
VlTSetdRF4XPofFVf4kgX9jLZiz65tidXiScxsRexkYPbu+BvFykJe3wXTHgQScGlInw7U3Mgnvl
o2FjJHaubB+JejcIBZtoR/wPKOsg7lAPqL9hScf2EVSC+iu1Dmv511Qr6Ng6MaMSRmPONz+FHc1P
Eit77YKyfze0Q7CtO4d6OexK+2aX0KDiGe1HvbDldyFldWdWNHGXBQkjEnai8Qs8krYrGkmLj61I
zwGafZ8Tbwxu0JYs7vqWHr2QBxET1SBg+QR/0m1tHgY34yZGPv8hhY9YX85F/JEDXwcWtKC8nctj
ShGw+sUzyDuTfrLiGvcWEhwCGrxIWqn721ToN6TotWIcg8jT/oDDR17Th7Z69hRCToZqy3sCjx96
d8NsMGsK297eGEiiitRZi05LKwH67bWHUqfVLXmyquyemrkpvwdsoHe0g8xpWhnP/5bDeXTP0EZq
xmRE4mYv8nKM3kc1EnT00Vsozc5VgXsEXhxN5lqE5PKoI/4qvdD/geHf+jTb2OzqXrU6G5F8BBdN
jaZj3s+8QpuwGcHUsIwBGS9j6F0UYdavLnqHoBriGsQ8oT9blHTqkUcHAieECjCj1VggscfW1nDN
FLUgBHIYRbBlRiWlC1rOF64OEBo6eMTENp3GV/XYeu3FQ8QydKY8lwwhNMHBZVL+BVeEesUqLejI
Cm1KIKSQfL0PBEE1zRntb1SEKvbC5XV5UTPIQqJjFF5iMMSaS1C31ve2nIJ6n3tDUe68qBHTAQMR
VEcdKA7PiUiemOVuGS7qObc+qIADoFcxR2hlKw5jMNxWUdWfmaifGHn/D8EFTg/YIgA0SENXhAFw
v3XkSzTwaJduUA22KP3jXibfE+tQiiBx8gf25/Mx9Kkvfjyyf8CfVt2omfhduA9C8gtyC3/myPhn
AD6njv34mf94ttKBRL8BYyRm3QHyeG+0r1QSIlCdmdEfD+DfBugbfJLuhwieFCAJ0dufyF/QFp3u
ZGXvppx/DX221UDqqZ1m00LxhQEphj5u+Fz5X9wBEuEGyoChDEj98pHtR2JveuL2K6rWpPbLfQVW
ic9f8Am4xFbxSHojUDztEEJuNEo4Q70vOp1StDpiL3pYp3PcXCcu0pa0YqbFAGUlwPSY01EGTzNm
U/TVh2/Q/2YF5eQcwoDrqMWAHBtG44ot689P6PiQf7lFW9EjEhuCEgLCgdXq+gSLsnuNHvxRmbUO
gyjR5bT3gKb//MNOHdPGlkEfMkFKIABTzYzWEobJwezeKxuhm/b5B5ywCbYxaNZAxBa+O9xjN+4v
GlnZ7JnvzIKA++yVOvUbjn//D7tGBQ8UqY6DvZHLCwrTLp3Gs9uIJ+7rVgRpiCFQUy4m3ANC9KO2
+ijZjurCgiIj4uB+joovvokN/NDkTWVAbxvu67bItDRv0cjOLAmdcHxsY9eO2L6Ylpjtawl/VB9z
RCSDI6aocE5nbu2pz9jgh+uQV1U3wXFj1m13fEbaXqygSIuPaLQvXaUti0VrDcvbmgRg8kMSUMf1
+xHZCxDBtW/tt88/48Rd2nJYuELJcuxg2cUKHndDUMPzmpwROD/18OMd+8dFncKQzpg4QD045mPa
xkNzVQzouX7tq29MuSYAxvj+Eu6JKi7kgspvac6qU5x4vVvSChyyQfM34HuJVmLSxtiEMd74vZN8
PQPHPHU4x7//x+EQLCRGZmR870DAm+h50mnQlC+fn80JL7QlrUDXcliIwNdvqY8uEkOVDJBn7FjS
jbl3Jr849Qu2FtxpUTUt8AeFkT97icFSWJGvsSaILXOF8coGtMdA80IE9MVOx7e79Oe25U693a3x
2r5mhGPj6bh/oSWETdD0nEBMbc8p1Z14AVvmChebiKp2+P+vL+DZjsjwwrY3Xd6eIy098Sv+h7bC
1KxzNeKABkd/wmOckZvtmnoV5lRfukdb7grjd1FYem14BDA8TG7JhkF/MKBVUfOc02U7EXG2JBbS
RL6BXAgkbAxYRRuaiki+SuyuTOtzB09+xmGfuK1bMSTNhCgLrNfuJZu8P6GOm9+0UdUZqP6pd7Gx
ZpNPOeBrx4OKHcbNzc1x6awJp4fP38OpL7/JtCnq9MGRHiE/Brd9TxCSMYf49bWHb+xYggdeYf53
BM7HVaoxnMv8Y9D/2tM3wdjUyla8xNOJWR5Vhx2GaICy6OcPP3XsG0Mu4jHHTqoJ9j0AZgmafWPa
o0ZYevzh8084cTu3LBbzVK5EVS7cD3y+XgP0aRGHSRynEVaRKu+LBay/ybAD3qoZ+opYXKyBAMQc
sU/Q/Tj39BPHtCWwKIYuBCzaxf9xpkfAeR35byMEH868hhPXc0thUVQReFX5KvZo53zHGkmFKWJ0
jgfihCvdUlg4zANyVfh4eFPfuKK/4cdMqENnriaPn7/kU+ezsd6iVrETwELvMeSoMhRnc6JlEKeY
qZ6rlU8d0caC2URshLkMdss1hqxugK5ozoYzUk6njmhjwRgtldiLL4GLDASGQgTLbPlFWzQP50vA
E1XalswCCAYM+MHvhKVp5T1I0d0Qr3nIA/bRxU1GVImW+jnes1NntbFqeDbMScyACKP8Ir/AhNjs
V/41ekexpbVQo2vAGh8JFB7uiCaGbmaDQcL+86t04rtveS3KsfT8ni347v6gp13Xx9EuyskZ1Y4T
3miriUQNUE+2EVjrqGuxjwr7LVjsSzcEO3S/f1TBOaWZ/7zWfynKyfGm/SM7LehRfTr08EETZGyM
dtAgq/dd7//5/w/rbuZgzsRa3gcwxLV+/9rpHQ30Hx9blz0a/lUoEEZNfGUngDp8p9szQfrUuzn+
/T+eXnDZrXOZY9EdhMJA5eVR1oHmNfvad99YuHBoyHoGFl6Q8dfsAbDji6+2qsjGwmVZhl0e8mBf
9hMkXoWtUhGyJ5UHASLe/MXLu4nVYdPxdmVjBI645oX3cIMADq5nIump099YtVBknGMvRCeMjCEG
vKgXpvlrG3rRlv+Cr2O5jkZxCFpEzwUWJ9N1BhLuK2822pJftHOIkZm0bI+RMksKbMV82XdHW+6L
En3Tep2D46YWdkOKoT6MfVMAJUSvIgy+z0Tof48QgKturn7UR9hYkUfh9eCtP2bVx17CQOYMctpv
XzumjfESYBxkbGsg+YDw3CGhnA+BPvsL/v36RFsKjDKoJzD2rwbn1IwPS7AuN3RoyzMR9NTTN8Yr
x14AkGvx9N4P3igkrq8nD8Cer53MxnqJI4tqpxZPF7YdLzFbLzIbSvL6+eP/PSpEW9YLVs7eCjwI
mprrUeFyCdvMhVCLavr2V8zMnPi0O1c6nzqojRXPgCoAAsvwWVDnC7JGiXiH2vb5819y4ppu2S+q
qhhzg/k1omcl/kTAkaaLDrCSwH9wLzgTRP89lcGy3H/bwkgUZFe4d/yQSevdf/R3l0jeAZ2qsE0y
tinF5I5V+ktBLRLH1/aPsAPQWlvh8zqkTsBBpoVbAXk01ddUAiKxMe0FLNh6bMYesGdwbrPEG82A
FZcl714+fyknXvn/kGFMPdhUBcd5jRS1IWAKWGtp1jNNwv8Qlv1vqhH9j/aRAhdbNRzfeRFCTqS3
aT2LvfHZdZTXDzEyzcndio5fY7fwS703aE799xuhvoobRwD0BroHBJRFiaWuIDynpn3qfm2sXU4D
Ci7R4OmKAhXqe79gMBm0ca79HFprVtED0HLfv/ZyNiG7iNop8ko9fJDaLkmYI0r1QMhcfO3pG2tn
PTaAqmkaPhoIs6ST3/7CfDXIvvTwLT8G4IF5bbToP8w0f4d6nkjKGGDBzx/+7yVdtCXGQGsMYPXA
934XI+ThSlt711Gk5UXe0fjh84/wjy/0X27ulhqjGlzv9UQoLIXN/l8v6sPkyEDZh8f2zFFvlZZo
SDv2f5xdyZKcPLN9IiIYJIG2UFT17O6229OGcLdt5hmB4Onv4bubtv4WRLCthVClMqVU6uQ5A3QK
hgAqWN/AfSyxG9eH+F9dlTxjzHI+zejw+rseLwEAsACLZXm6k/ZojhWVP6OW6CYyqZ2+oSP6VKCi
Ald4wJPNl5UfYv9P6D6zbjvvtsdcTJw7AFj+FWl/PRvis2l49+ksrtZdeIEc+o5HaLYxVSBJ4MzC
m1A3v0pzjgHD4ch9OnaMT9JV2TSKmizpPOTkrV+is8VIiEoCeoxy6L1Svqd7pvsLSrA35sxSUK/Q
18JEH8nUVW8gW8h2wlGzban8GTUUDnsubON1bpCfU2EFxlg+c1onPvAnQGcmY9ATsldY0/wXlVMj
lm2XlGVsvkU52ouM6Rd1URPZjkzd2OtffOdSUHMqWI4+vTc2TA9TI/tgAIh+Jyx0g6vHuUc8O6X1
/GY6jXli66zZkncHR1dO87RtLQMiKs5bkpSoAa6NEuC22NmxdFNXMvQqk/M8zpj6ggqye0KfDecg
fKv69BBcw1VpMwRjhgvqaPPNmy3nGrB3kNWhL+fYacSUYxusVk5MuVH+9RLeIEEDdNe1Dh6kKmtG
mXEZz6Qz38DIMPwqmNU89AnzHrY9UlNQcZkSunJMCHQnovwv94Z7YvN78B2Np/+gxGg5Tf2xie6p
7O5FG7e+TOjPdjxGAu+qVBpsrgikBD32Gvcpmp8yIDdSATqL7X+m8SmVRYNAlQfN6CN5NeqMBGZb
jQG6V3eSQ93gSiCjQ2Px5rohr3i9H0HwJg30yqU79wDd4Eog2+AJbCFnEv+dc4D0/XIu7G9OMSSX
Y4ZRInng5jxHS8f/GOgl80dJLbTLpG/HBlci2UkYr9Bxy14TdPL7EZjGgrKVeyIj/OPEhq4We7d/
Ltni8bXN87VfGT8rz/3DLOjIz075wxZAEi4du46WBR0vk7SPBTdVgrupwcUyMlu+NYTmQGHFoKXt
Otxgtw22eswHuZoKJIPKpVMT02B/1ppimlZBCwLKapruMwhhFkNzg96UnV1Wk9CosLLWawTN+ml4
q/PkZ4du4aIaQrMhzxwF4bndk1vSZLgqssztnHiZpnJ446BQu+nQLXWJFwacjjECxbFtNc03VFSZ
QU0UpNxJoppT+Z1YW5l/2vOxw4Iowc1EAvUg0cjQAmdMDIKJ+hgywVUhZQZzJzqD5y208k9Wdx6y
r9vm0OwYqgKSXTiWFXsYt6MRCNmK4deEdvSdk3/dFz7wUBU5Nk82B85hlmgZupqhMzamftd9radj
O4YqeyTKtJO21cpQxM21XJrXuHV3imf/IQ4+mroSu6VnzWNKTBmiz/FuCrk/nPqwO81B7UP+99SE
D+yUnL68Ed8KIM98kiE0kfzJ/7pX2dfZzv53w+rmeeE22qzDvL6NrcYX7teEfUnFXkKpiwPl9O4S
b7F5BON1df2pENWNYaLntEq+bfuVbvrKNbuAZjjemTsZcoHSbxEl1ziHHkBCelqqUuz4l8Z5VTgZ
kPU49E0skjSrws9AQOR36TEcs6viyFq8uKOHe8HCxpY/uMOZ2Xus3Brb/0ff9e4wMoyq56wS6x7U
iBPKecUTiM3sq4kNzs49WmN/Z/393SeSLsqHZIBpMvpWJQ/oSUQXmk+qY0ebCibjPI/dFM3GoStn
tA3E8o89x9Fp23d05lHO6koIr+9L+I4FbQeG1lIH36AtD7eH13mNEtq2kLVgMYY32i/1+I3YL9vj
6oonjhKyJAO7zOwipKav1RcztG5B5VF8I+C4ORX3VRDvnPu6+SuRa4zVTHrIFoduBpysqM583DON
zvJK1I5dXrMFr+KhLF86s/CT+rXzvm6bRzNtFT9GalApok1GhlCTG/96AApWAc2qqd3ZDDRzV7Fj
DoiWTMiiyRAEu4C0/KUQxomydidt0M1eyawphWpZQeE0lXsNMUg/N5+3zaK7RqlgMbTtDUvjYeQM
2fQrvX+UwXD5nJ/rkzhGde+qQLHezKzClTBN5UHFktenmh+MVVX3CCLWILaZKwSTPLfTdTo1/twm
O0uqM7oSqSgz9bx218Gz82z8ZAcTB1sJ1G6iHhgDsXsl7lUyP3NjZ1fUFf5tJTR7cNk2NegrQscd
glSUz7klv4w9BWeF/WblAhT3zmcL7889Wh63/Uez0dtKyFbEidFXi/9Csm+jBf6+PMxShu7R1+3x
NWugosUW3CPR61lgt0nAoXPbZTvlA82VQoWH1SMUudGmK0M2p3+mkj5PYOovjPmB5BHoo+wd4Lxu
+krczg2jlEisiD3cpfKmSI+dryo+bOZtDfbiUoYmcUO7cQPhis5Hv8pnL62mnbXVTX7d6t4d4tzy
mnnqcJ3IZv4SG20Bn2qrneDSOau1fvXd6JU9RKijYOMBYYg/RA1QHugDM8A1QJprg3g3gwt6IukG
bbIHbtQtuhLQhlOl6DLHH3Lj4lQyyy+zc5p4fsQ+Te7TtsNqzoH/Tud3f8sakwaadwgIOYEN1Oqv
KfPQX1vu3Ax0a6KEOPesJitR3A1nqE+B0uZWms7O9qGbuRLK7TQ7LbQ8ZegNd2R6Yt11E+0cvppd
QkWIsZX1o+gxtJPa4TJ0wUi7YIAIFbQZdj6hMYwKE0vAREUbC+7kVTh7/6JDens9deMqEQyIJEDH
Ew6B2M1BZx99dot8x+C6oVdrvXMVCZYOizrYHMAtA0LhMXCmcie6dEMroTuTiXnChZs0BRiBniXd
2TZ1466/v5tyXPW2BInIFJq0DVsqTwYoJI4ZWglOUUZVV6LLIrSgBM7H/FRYe6qaOvdTDlxJ5n5a
Jhi6qpMzyHP8uv9FzAT8tHtvL5rYMZWwbEla2g6oUsPK+dPQn3nxs3GPFXVMJSy7Mausul1NbkRB
37cnCQ6NbZNrkj+mgrwqUHqRyMCGKCD23lRfF6s6NxULKop9BULjxU3vNaelvZ34Hnf9xx7EVOgX
ZNO90pixzNQofPBL+uOw10GmG1oJ1cgC7x8o02TYgxe4e+rccNtMunGVOJ3Ikghvwbhgr/Vd8LWh
ZndsZCVMi5oKCe4/GTb9VSHvnGNpB1OhXXRp3BLkhGv15sEWp5Q9H5uvEqO5AFMUrlFT2IKqZoSz
n7fH1dxdmSpnNMG/7CzGwPNN+SAu6f0f64kGN8YjmIp2nP3jTQAkrP9uXbbwzIVArzFk8qesVo2V
1nfdW+nSy/af0LmJEqhOBiQEcdgUWg7Ig2Y0NCR7T0L/XQ3+tx4IcoZ/J1/wGPimBZQXc8AuICI4
Zef6PjnHfvRl/nTnXJwgSPzPV47hk+fb+NuhP6TCumgnRtd1YbGiv3YnEDUe2tGYCt+CjmnZ8hw7
GgX1JLaCm8g7uAWo0K21lFwMJJpC4NFP0p1OLtu7XWn8RwVtdQjVnuTmFHptf++V7rcqi0IzlejR
B2f6tsU/PkaYitxyWpALCKCPQ7S7Ba0X3/OGAzu3V9TVeKiK0gJDUFKxHMfqTB1Q5Zp9Hk5xfUwQ
jnn2vz4Kdl+8oDgwUM0fYhDIL/TztlV001Yit5zargcTIxaVg+XEvVopM7dHXk+Gj8JKCVmxpJ5o
aowsh+5m5SBHpeJF4iaIKt0bXcAvuf2d/+5lH3xIRWbxonHyooBt2FNzzm/in+7D6F+MF+emPmc3
3nN9e0W/bH9LYy0VpzXmrtN0FT7VlmGTfrL3tjeNb6rYrCrhFThLY5QXwfKVgdw7S74P0ALanrVu
9DXq3iWWUJhxs9zD6At9TvO3Nn02y+/HhlYO2YX1nmkVGHpEW3Db/iJOEoj04LzXVXg3b+gY86YC
W21okCocQbKezSKALsWh6x5TIVaD5eQlSEGQxwvvwXXK0BndnZnr/EQJV4hgywb49Sm0JYjrAMPv
QFK2bfH/qigfubsSsTSTKQVX5RR230FX9DO/Gq6MwA15sDw8lnflHQ2e3Ovf5evO5z5+XWcq0EqO
dlaZ623HvJ/+RI82SK8fTVBsnaEB8vo3eqjum3vjOrt3T9GvfOc/ro75wV9U0VYiNkok5dhLOfYO
P8tN7he0gbTsegkQpdy5I3qaz6y/v/OvhkfTIAvwxxbeS9zegZLxVLdPkfWSThdQqe38Gd3+pEoZ
Gbw23X6GFnGcTgGl0A3g0cVewO8LEQTu2Z8aBHzLxycnkXeVF93akRcsVR1UlR2yfPkkZyPcXk2d
Ydff3/3j2jKFZ0SYii1esvjUg9rVfGzTQ/gXpiodRRJcJYXbTmFpliFn0xlX5Z2l0k1c2QqGrEiF
iCckCGnBT63hnKAF/zQ1N3KlkN42jmabVAFboncHo4uwuccGu2OgLwf5U3lrZvGheiWEEP41Po07
F83u2Cs9LzCNC40P1SuZCtai0NJtwT83haDBt9OrOv4FZK04ptzNVDyWk5p4OCqGKQTZXxB3zaep
ts+y2tNa1cSgCsiCMkXvRe16gIyBZeH14o7OoAfob0EcxqadpFiTiqiUXuNil9aSrZbPhke7gZRF
Sy5d7dyDFhiMjtbpkAOpvF4NSNVcsD/i7QFd9e5dupzTbCe0NL6psnrlc9wLmUts+h4t/BIPYGd3
bkG1z/LivD17zZlFlaMcSeBsjiNmP8mfrnMv95hPdFNXQreBdrHTr7mNJM8zqBTb+9bYiSjd0MqV
2SnIUFTrUdj3d4ZzXUSPxbHKECid/w1WUdMe4kGYNWgkuHHXH3tdZyrcKpUQpgJxPx4tHOKz6M1l
h6qHTAVYFV5NWwMiIyFNjRPtBlxBDmYzKq6qjJJqGiWGJnNYOJ/M4lgCpkKqprjJLMhQIwGLy7Pl
WTeLV+3UCzQRr2KqsMtGxOAJijT2E4RqDH5leD/c6QVckMdOCxVdNdQQFDcmJA+VWX8Hw/QDOsH+
CmhSHIpGFV9FaLRGI/6AHUVBwiLg5/dgcjrbKAFZ5nkEyHmDi1kN6nYDTVhDa/vpKB6mrEUDCNt7
htIc2io7l0iqrKx4jg9l9jkt5gtjLxbIJsXem5NmyyJKkNbEBUk5g2OypP8KGCGk3L5sm1+zs6ik
XJFpla7R4Uy1aheSk3kcmCm4XqUlipftL+iMo1yP2WiQCGIKE55smBkaZSGuDADzTwwswmEi0Zi6
/R2NjVQglT1nfdXmSJwtO+D5Dei/tsfVHNwqhmqygJQnORbXLi8FijQptC3oBDpvsOLJ+HHMXre/
o/FWFVA15A1PIR00hW45P1BoUcWgvwZe8hE9/1dpOe58RmemdZneZcbE4WXXWgJ1kJb/BPIcUiCe
t9ebpBt89bJ3g9et7bk9RTCDzT1IqPCHZWef0/ips37x3ciRTGXsQkcwbMClnFknPv7oQMS8bXrd
tJXjtUlcL7IhLhrWCVjF3NxHMefYyErgjoJOk03W3a267cVVJ3c2Zc1lVeXhqkvoyBRNuo7b+8Vy
l6AUlwFkLKC2U9gQB3oqoCm4/R80AewoAWx1gwOte/wH6k4BXrz8Mv/C6S3Zg9/8RxnzwS1YRVUV
XQm1pmE1/9fXPvAen+fHi3t/Z55m/7MBNPjO/9C4kAquklBuQM8vPrMqK/RfJxtE6dX3bRtpPEhl
5GoKWkdOirFz8zqWN8nezV03rhKtlnQcWiwYt+/ewIzsj90eTZluZCVUeQ+pNcctcYctM/g8xAdo
fWwnVvFUDgq4/z/pef60VNfLHh5Ut4BKmM7EHFPTRWxChxUKpX5bX7u9t+MdOnsokTokUWZAWAqX
YjcZH+tq/uxAImInydHNXClluXJyihpbWFg2j7lxlSfPRfV8zPOU6IRDQJKnxdANuavpcySOLaKK
mTIyL6qixUOxuU9PlYhCwOxP21PWbF4qbKoTokgglLOW4jNxHiyDBNCeg2YJBV/nuYht8+TgAfkx
b3JQGTR8T2pbswoq35aVGTQnEZY4csrPNbhs0CbIyMmWZGeZNUe4CqgyJJRcvaTGB/rOCea6/xGh
ef5kkWS5GeaoP8UQX7zeNqLGX1X+rQjqIuBK5PiW99APn7xj/VFMRVSZfQuJA4GrJtoPL0bWXKDl
suNSOvsr8Zs7EIo1cJcILfKXueEsWl8UxzZgFTEFFYEIWTLcFRref1sp5e/StJbXbVvrJq6EL7AN
aEmjcBxp3pX2t56/QMB25yTXraMSv6k5ttFsI73skvSvK/jiDzzfKRtoxlYRUxDTqeo+QzFFRtAT
SR4L62rbIBpHV3FSKBoktreWOsDUCMmpgKRvtLytq+9VXIfbn1hPuA+SApVTq+iLPJUT5g5NyROZ
bqz5R+ZeC/sYEwGEGP9NKJcOCo6ZjfEhw3R2ssk3HXlq573WFJ3pV1d6l6/WeZtC/QlvLgWBomsj
IdpCd1ZV443m+sl3QzNPWiX048ZQer/z5LfN0Aa4R0ikW1glROe8hxq3xA42GPcUrHKF0ZzS+ZGD
Lygvl519QGcb5aiVRpIIXkA+2uzdsG6wpN20HIwnFUTVAG4AdUX8A9Lk5NEe+ukyDO6099irM74S
rhKqWlhJC/cQsgSgI76MCbgkqLPj9R/bn6pYKqj3uMK2UP5v69sx+rJYRdC396V3A77F03Zg6T6x
3nPfuU/DloaDRgDAm+YpLy4Sz+GcrOoMBpiOd+rQH1uJquxZhKHdvKbmCIzsQ93ToEwuULTf+QO6
wZXItcYly2eweYTCS+6XIr/khXc9ec1OeH288VC+fvadfbKJ2TWL4Z08a88ScknQzvQRyae4Sg6d
3VRFViVVE7ujg1VOzZucx2AV2+sm09lGiV/KrRyqYOhT9Oit1/+k80/P+7LtNx9HLeSL/7VLXfTc
LNvVb4YrqMGY8+/tcXVTVg7XpsyHsmPwFZFdD+JPhvfd8Wl7aN2UlWCFbqCMWIG6a7aca6jeNeH2
uBoXUYFUELSxpkRiyov7i2d31fyaVH8gEL49usYgKmKK26CBsEucTMskT80E0ijP9Uvg+7aH1xhF
BU4ZkhZzxvA0OkcGe3ScwQVnmCXftkfXTV4JTpJ0UONeI3/s7mM8LSf8Lqq/HRt7/ea7yOygEVVb
DZaTVNMZXIsniBmdvIH528PrDLP+/m54bkiova64KQsdNR4odXaSJZ1JlJgExUNjkgrjukXyAgK1
sByru5pkO3utbtpKXNoFqMvZ6owWi+9csFdAR/PXMYsooTk3eK+c+IKhkZbaNPJjWZ23h9YZRQnN
BnJuTtekWMtYnoTVv7JlueaSHHpGpCpUqoYaB0SjUUy1yY/B+lWSPwK6TdtT/+8q9L+pKVXBUQT0
OOYyRMbvuQRhKbRFvmaNZ/uF69xCHdn0c4Nep339o3I9yEpPC7uxLAaZGSg4gPvvUco6C7anoll7
FU4FJj635RIv+U3TQU9y9HtjD02rWSCVxMpIl2wc17XPIPdlsxY4hBpEzO6xTU5lsZILqypSjHjR
tLMXdy48n+fuj7q39qqWOtMo0RwxELGOBFmCa/52hxRiLHuVIp1llHhubaME/RLOWGg/+ksEdfPK
p9nj9opqjhaVsIovscsqG9HMHX4DieILSEMvaTLeFVO0A6PQWUaJ6tbKE6OdBuQIE0Fyb3+jg3fs
wFUxVLhRzWmNnqXQGqxTw9mJ4oVk2zAaq6tQKeJ4kwS2CFQdzo1EM5fT3gn5uj22xiJMSYlnAg0d
Q6xZkzfe97T8tfBoJ5vUDb1m4e8OFXS4RF5p4TCf2XlsPufj32NTVs5Z8CoY0hkxrsUvIn+dpz3d
B92EV/u/mzAF9NDwHAxsducu/STqnZxX49hs/d67cYkEvM6bseG7xDL8juA6IHv20+us4gpaeMWX
bbvo3EQJTulWYzTPmP5gf43yW3uRPmmP5R8qrsmiFeXmgMDpRsCyShpO3LqPdhNs3dSVuEzZlKON
Q5RvZMw6PyflW5qjzQj49oPzV85cLuJCOGtJhbf3rKlAS4uO0p3wXEPlgzNRhTe5LZRNc4aTyLHk
2RJ4tPHsCALZPWiQyvE8ivTHmHl7emEaZ1JxTnR0+9qWqCBDCQXi0ZJmrfTbqcbjCy3kmUfiaDau
Yp1y6AA6k9VPYUJ7n9r80oNrb+BFuO2vmnBT8U5zB6Vj9O8hLJziDG5MvD/Gx9qeqQp0Ag1m0hfr
ei/efdV/s/OX7TlrHFXloWrjLIF4PXZ5Txg3swSuwhvjYEyq38fGV2O4XPrenhFno5dCDbv6yrwu
cOtjACKoXf27E9X2wIeawSxTVYe4q0Bfyzpvz1y3mkoIdwzEmJ2BoXPh+olrQPB3D8yiG1oJ3gGV
CDr2yGgtb/bbbjpBLPdYFqnCnqA8UsSlg1ysBjIgnMbZxvtLYu/kBJpYVcFPUMWbiBjR0TTF093E
8ouXACAzWqcR8hQ7/+DjFyWqoqCMAawBxgyPrLx7x47PvfPWJTed+9VCf1Yz3Zp7R4Cm4ZyqaKgp
9ZaO5DL+kyRJdYJGWNDHcRpMTVL5le0uV1kOmeymtoMxgjoZHjz2iEA1DqACpbqoJDY6MlAa7M6s
ei4OFqNUBqqIDU3hMoxLWBYQq7mSlX3aDgfNRqHiokBrlNQkgmM53dXE77rpzfL2bmE6cyhRjGeT
gsUcOBYPJD7+mDatn1v95+2Ja1oJqQqLyop2aacYx1knjDe7dtCnIvxeDL8GJk80EkCp1VCYZ8GA
ez3phiwQgu3cXXUBo0T6nOPRsIKYVEij+MpznUfocILbIL8qF3enJKExnoqV4qLNopZhYdpyuhS2
6VMx79yOdUMrufTgmossEmzeqXPDUAByoKuzvSi6kZVUehg9W+YzsnSjf4r679EeXbPG3irNVJ6R
0QGjIlLGcXkxIvOxKk7AQ2RefyzvUommelL0UQQ1iTBdrmz6aLpX3R4kXhNhKizKbTyXVF5avvGa
s5t67W9rpy49lSM7uO+oooVTmwsIasEdXSO5eFkWxBXfuYnqZq/EMKNO7iQpImiEPsIiHjyz8znd
yUh1y6qcxUlUty6tsaxW9jLwm2n6kgBwH01/jnmjEqUVt7PSXDtMovq2N366ZGfaGpuoYKiWm0bH
1867tM78Pu6CCMrWxV4tUmMUFQNlWpHZtutNl7NXbrxAf8yvxiJw6l+HrKLioGJT9PHcIfon657g
ZaNCB9Wxkdd/9O7+SHtpzDnByNgMm7Zc0HvQkXB7bJ3N19/fjZ10PXLaAVbJix6Uv1dV+m1OjhUA
VDDUGFfgllpPkqa7JuUdsw7O2fl3zhRV5dQ1EO/cAbXUp7l9SvY2Fc1Gq1JLlSCvF3ESDWFkLICc
Dcl3AmHJnXXUeaASlryEOBJcEPcpJ858JiHxFVls8fOY5j7Y4Kud7+jWVInPzO5NKNqnIuR9c+Va
zTUorMJmNo+doCo8CvxyzJSpO4RgXwCjNguM/hjXOCSQ/11ZPLln4AOHhWzDhTZFtDZaH2pEoCoC
Kk8Ig9xWLMJoKn0P2gFj6u7YW+M0KvZJ9rkDi8DPI5GXfmpCjdzomn7n7NclZCrcaahpI+wFGUtq
GYO/FCm9S7yxfqz4fD+TygrsZHoZGoue6gncr/VITD+bTdvv+dIfXPP1r7/bJnguy9x2cbubZ6e5
bQZpfW8MYh17x7GUgO6iisqJ1SKkS+e7XAaF2OvM1MSCCo6aps7o2mG9O070R9HPV1mKOsZ8MOX7
jxjmnV28jlLInWB4N/pEOAtimZ+2N2adUylBnI8jxBVqOBVvliWs4Lon3u+2xWpGV+FRPM6tpo+w
hQrruo7unfGYn6joKFMScEil3hAmXR6kaRNErnfMICoqqqcEaoKigpN40TcLdRIfjzTft42t8RIV
EQXpI4SOZ4hwmWPfTB8q64qLg48m5vrRdz7SR9RrEzsBaMlMfwo3/07j8uSQZI+meb0EfFB/VEFR
3Cg6qzPgg3ju/+OV83IpZ5sEhevS0MuXL3NP90g6dW6jBKqw7KwH9+0QNjgiJ1dcamRR20ugG9r+
10q50S7OQvEvbIKqZpP7ZK+vUnPsqrCohbVOUud0CNP8s1zuzFn6Lkgk6E4mr5u4EqhGUQ9Qecfw
ElDnwOC9PEuRJOG2WT6ePPkfVFQKZp8qRgtaI+vTkD5bCSR74hM9dsUhKp1UMzAoIK+UJgmo2ZKW
fjLYztXvY7sQFQjlgs9ZoFN2xMuSy08NoLW+MKzhvG2Xj50eW6viLnDDKa8x775nF0AjL44RX4ZC
QuFoOTmo5W1/RvcnlNjtprjMlrUzyTI+9WYMwsNjLRlEBUJldmxbkKFGkmYAXDC2ph9V8lw0/e9j
M1dCNZcF8rT/Zm6d+uy2PqbISVQslFuaspHLIsLEHAEaHRq/HaN8J9fRraqSIU+ZSHIvQUEOrOmy
hfyWfEyaLhB4f0jkTrzqvqHEq5W20pRZKcKxufe8sKPxeaguS9T5hOwpRK/u8b9bMvkflJTXOrzz
cFYJ0LFMjnfNoh6v/NMeglfjlipOqkjrEoUJYwjdGuTmsrhaPOdx2290U1/N9u60Kkk9TX2OqXvy
xTNvy/ihGg+l4EQll6KLLex+guWl8WV2vtrWy/aUPy6BE5VZSi592tpxjlCSD614br3HBBpdpG99
izxU5bdI7EGbdcZZ1+OdcfD21c5OD/80l+uZfCPd9yLdI0TRja0EbCMYaGJX65TLT15YOAN/N7tp
8HqB+sghldO1mZKMFxFWtas+tdb3iD527o/e+UuFCd34nTRec1Z5SvQmRoNiVoM0fozNi2GDrRTP
Ka0oz20nDyVqxFOCV5Rd45AY5YqxffKiP15/tUu/oJm9ipuKh5TE1rjGLIteoL/yDNJtP6bTyWz4
j21H1Syxip5KIm/MlxKfGEB5E5fPzXw972KzdPNXAhfXTtpTwGnDmAg8bv+uneQzGfnZKPYgLrrp
K2fu0o/u4OTI/ABZve9n8d0bjKfK2eNk1mzMKi6qLpY6TQoEwGSMVzNJzrT/XXrG1TIAKj+Xl2Nr
oITw1DljbRF8xba7e7ewgmFqzlVmPW8Pr9mZVcKp2cnj0fNwsaJWciLeGE4QWN0eWrfAagy3rqCG
WYgwt57GHuWXGPk9oPhoXT9vf0G3wEoAZ7wxTDkiurqxPU/LjGfiOGCDsTO8Zp921eAdXLbEHWxT
lPIWCiZok4YCQlIECRC+Isr9IZt9tytO2/9GsxQqbCqzUpB7eMiwTFrxwJNufYbY+h7fjGZHVYFT
kzDK0qiM/A25ROvjLX0K8p7fT/nwvaHONbgT01PD3J1TWRMbKr/UkpCaV8IcQso/tQaAPajmFcMZ
9PGBy48pKROmxLcH8XMAZVAi60yQRZgeSQPPBS3CseVYne7d2ZlOYzpzb4HfQsATl73HKZ0OrvTq
Ae+GpkU+lTPDxIFQAhZGnGLnmEY8UQmjXGFBt7FrMHRihlDkvfbEHj5OE20qpiot46K2e9RKum74
K4r6m2WhTDuNOx2ZuuGVYKZlxGOXwih9/RWqJid3uUTk57G1VCLZa93GHMHqG2aC+hRgDyn3qiWa
qFXRVNEqbZ+vxVTHXcLalGdSH9OjICp0isxuanTOekKWxoMTLfd5N+yktpq9WYVKuTi3GrOAsRP7
rkovNhC362uqu/fkr1lMFSslZ5pObYOEf4is8uQOiwhaa+qDbsnMcHtNdZ9Yf38XRCMf5rnvUNvp
qA1mIVb4xZRyYNnSHRtp9jAVO2WOiEq7X58l6qeJB5y6vtM/J+TJiPYQnLplUHLodG7jyWTYJmMr
DmyLf/fK5LfIihWj0Oz8DZ2dlGNYoGcHYnpY6obiybbs/HS4Sqr+4CooUcsdr+x6gchKlvqUz1kQ
Lbft7h6sm7sSt5PriLYz4UZtR66KiD+aHruxbfF124U0sauiqbIIvG5Q7BjCUhRBw8VJoIfy2NDr
MfzeO+d6BHU2UhMUILj5Ypjm/KWtpZHvIE80x7kKo3LbCNeoHKeTJUUBOs/LKJy/Xj2fUbnNT3Nn
hynjw84ia6BURIVSkR4Ii4Iikx7qJGybtzyyQYsMoUQ8OnI8TlRA7Td2DS2G/HrbfprIUCFUg21l
bjfjH7DpZxnNwdIVQcQuQ/2yPb5u6dff361PM3TNkLl2+ofkjbiN45le91a7dzfWbB0qmgorI010
k8BvIwKlO+sMzNM5buKgAMSG5TuXS50PKJFtJzSvY4aHzWpyxlsagUOXF/Jkz/UjxAQtPEqakCSR
dO89WGczJdYn9OU4Zr16AWG/7DE596357dhyKIHe2b092p2FjdDrbtkQvw6ec4w+BaxJ/y71IAcw
m6/1dAoQWF7Np9zYox/X3BBUwimPdSPjM61+m0N6ZYq3qkM3yDxc1XV1kQsBZ0J9sqc9ln/d11Zv
e+ezRQ79+t5ATNCOnx3nEx4HnCbFDhMD7xaySvp8D3yicS0VaBUbTVqlGT41l7cJ+TsVjyz+Ktov
Dnly2E75ReNOKtbKo24x5IKVv2uSQNVSzEW4lObfbYfS/QElvimthiTzCGRjyXxji9xvvMUHSQow
oCa2ehokwx7rnmarUlFXadkKaXoospV19MtGdvlJit46WRT1mIWybGfH0n1GiXYnGzkBId7a4ddd
0cW6RvPpJ2qX5yKPdtJk3SeUAC/QM+xwPle/BwquqrjLvzR8/Gs6/NzZe2QoGqlTwFEUL5bEZE4N
lL4H3uaG/EYLHlSQTX/0/owx9eUI0Xa8TFeoFC+N81yLpyr+5LHIR5H04njWaTL+VBlELmYzrLqv
dueFpE3Ckg4nz3b8KfvmjsSnifmUlnv6rBrDqEgvbndxYQ8zck2w7/aU3s3VCxMlmJLp321/1X1h
9eN3sV06BRqmJE4MCKYU5yzFE8XsuNH1VBEW8Iqzr8e+o+whnmPlM+cNAlvaJ1EMfrxUBgxdQIbL
lP72RzSRrWoMNsDyQWoUH2lACntK2+Q1Sse93l9NTqiqCyYTqyYzmUFJMZl/HfcLaZbnZDgmSUlU
DNjQml7SLhi9Xmk5U3OybuJhqf3M6dhp2zq6P6Ak/URYuZnEcgRmy7xMTXEpo+xqjKNj92gVErb0
snJAYDqGPXT5rP8j7UuW7NSBbb+ICBCdmLKb6tyUm9pVrglh+9ggQAghOvH1d+H7BnV0rM0N3qyi
BtpCykylUivX0v197lYHF4q7+2ZvxAiviVCYr7FAKk7Q2kdLBxi/5J9g6fON9bEcc6bEoHZqNZQj
2AtIdy5icfDn7OPQfwvLuyzOz6F7G4VbT+2WnzKhYbkYZc/BfYvmJOdIO33TyeYx8cevA1qcdSZ/
1jJ+lxThedfamXCx1vUCwKLBjFh51QnwZXbgJIHIGDpQrv+AxfFM0FjStYsnShBiLEMin0YqouRz
H01yS1rBEqVM5NjiJGHYFzlAPgFgnYKIcz8nt8uIJ0/HL++uf4TFP0z8WFUsi5wTWNio7oX/QJ1X
PTxeHzpYD5m/vCuZlFnE8/BUGGDs5V19ZCeW3n2d37Vf8wd5U5z5IX/67H9wP3r3J0CYDr/d9MuX
7qY6Q2oHf1bH2+zDbf1+lSjy060is+WqYGLJFrJ4xdD/Iai4H2qIsYYPkFmSydpNuHGs26zCyBxm
RVmeR/hoWXunCCJfWg0bvmrbKyMaKK+pq5Bj9i5K1nLUp4QVBx6wncMbuUKQjD4wish5iui1rX+D
iW9W366bgmXmJqLMbWfSTKRHk7Ib34PvM2gSPKjnG55uWXITVxaFXOi+1uznoAGxJKwa0jFxNqZu
G9w4wyPaZg4j4xogM9anQFsW3i0XhXK33OTvXmLCyyTN2oQyEAr4satTsTJPVtXPfeu+7sebRAdk
Am2BmySaHw7sjh624Fi27VzX6s2wubMsqh4Z+NOcMxvH1GuOI9tYDstdwjUObFF2MyNUFT8nFSEf
ZbdRFh4VMmJC628CzP1NsIFAt32F4al06FhdFBnImDgjoOR1fKf6LQspfdBRTpth0PYzhtcOTEdK
ywjdpkdyCn7Kjdnb7NLw1tkrHAWNmQVsODE91D3/yETLNo62v88Z15B/b7DA1TAWqDWdVEB4Cpo2
J52iCRK1Vbn3J4wc3KMLSwRFLbNzIxCGPUNs+jBssQD8/ej0TXiZo/XSqBDV5B5XGUAaGvFcykfG
P113K9vw6//f2H+by6wIOgwPQsh0Rq9v8Cginbr71Dp9k2prAhCm6B2M3zTqZq6ig9RbbwV/Nxvf
RJb1DKT1QYZl7wnKfatc+LhhkDabMRw3JI4DDDhGRqEsBdc4zdVhcX5dX3HbtA1fHZ1MlVWJ59o6
yFIRkLM7/943suGeZREjK+2x1oK07+qBvLJ+q6y6est/8x8/MVx0FD6pwF45oJvwwZUab2EQNgku
I3gVuzOMZd7qjbKsjokoc0PqzFxi6Uf0QLdefh6pPF5fHoupm2CyztMJQZu/OiUc2g8QnkrHoT0G
TXwm3N/Xw+Sb1FvRQGbRrLvr9FCRiuVBin2e+h9UmTP2vCWrJ8E/h+Ch5Bq2iVvmhtHblmd1hjeR
IJIlaF1UpwAYESm0ylKqH/v8U6u22nX+fhz6dN3yNz+QeC1jTOADHP3oZ+eif+DZP4hlfvS4aT4W
zzWVC7uhXrqOY/n75VnhNTuP/6myfRdw3xQu7JLIrRfQYED9BdDq4B7VHZQEN8KCbeaG80Y1ug2z
9n89DJOfXWyC93Ld8m1jG97LJ7criYBTqXC8T6YaIUccm2UfVNb/D6IMqteSVa4+kXB8zVr/Npv8
DaO0zNxEktVLGEsW4CFvGpY0EEuKFOQQovJ0fWEs0cYk12p0V8RjgeFDkBX4Q3JQYmPkv1/PfJNb
S0ACmII2AD2MlR+fGh2rh2lWhz7v1D3owvIzE1vnoO2n1rV741d8WnydQFMM+B88lOtzXkGUWaTA
c6Sh/7xvoQzfHaK4KkUOzRyJ0p+O+G3cbLE+2aZvHLa5xNTHFb+xxjXGn4fkF2VPrXeDuLBv8saJ
O4WlP/Uhdnk9UwR4znS+D+zjx4bXeqL3vQ4X8ZPXhXetepRxed43acNnpxygOnQGrg+1JaCB3rnf
d1nwTbxYxuukTArESMlRHAezAqFZmhU7T0ATMObEJSuFz5YTgzq4TLwvIVU319fEckSZ6DA+Mbxj
CQTgQTwA5ZsGxQOlEKXk+6KNCQybeEE8vFRjN8mchv0v6v8a+T4FEv8/ioJjTvK5xrKzPj6oUR1w
Nu1bFsM5m9ABV7mEB2EhYv9XyT+NYYjhd1VufRMa1iyZmKsE7lPJxzXvw5GNVdqIk5YAb4LDEla7
fhsheGHw9XqAjKaBh15fmHUB/pK1mmqC2TKrhPTrwzPuTkkcQVJma942UzTcs8gGXjjueqTSZyQz
uDZlevetzASHTQFmzXJMfPF+ec1Lyx+wLnvjoYkPa/lIgrFbIy7uZHHUHjct0RLLTXiYx6YohxTC
n1XBZXINLv8792Jft5VvAsRE1UuHKBhjU4aHZQD94N5kwOTSUr4/CCghAJctf02tPM5JvM8O/4sI
qzQaRrGdwfKJ49a34iyvW7jFfULj8JxjxlkyYeQRFu46vxTe4jZvBLbBjXOzDhtfLzN2E77p1niv
8V72JuqmdmBAijJi3NenMu+mp6zLIVFaO83ySYwJ2+o9s/i/qSM4SD1DxtzR4CjXL80w3om43TiK
LEObELDFH6NxrAB0CMBu4DXhFwYOqut7ahvaKCcVYdf/L8qXYGjU9c7bUcs29Oq3b1LFJu9F20mC
VVfipZ+KTwueKK/P2mIsJtSLNU3ujiW8B5cXv/+FQyLAWXF9bNu01998M23QSIQTYwlu7Xy5i/38
qWm6u+tD26a9/uSboStKIXcFJfQT13LOU1qTYXwXe8Lhh3bQztbV0XJcmMAuHXuhpxuErX58gDd1
K/ZN/NosEtoWyPDUvM486AMhDMxE/omK22mLbeZGhjuzUoOCBPuKg66en6n/POIqtnkW2YY3zlHF
EhfcDhgex0U9ZinIZVOU2hJUTq5vsGVpTBRXw6uhiQI46pp2FSC5bsPmuG9ow1HBsAuOjQyrjgOj
yTvwVnQb0cVSKjGFAqMkiiCJC8g8Zbd4zBS/3LJPnVKlJDtvFiIth7WJ1Sp6kpTRsGK1cFtsvMeu
f4ybx7AEPv+8b4EMvy0VRCFnxoDn8IfZP3hgXr+VDfG3CBMtxmNSYwFnLbyeTgoIqvohquXJb383
dPgSbb1M2PbBOF4Jk5VA6PlT9pzEw9K8BMh84bn/H0ehbzhv3/FRR2vJswn7uyzpPo4tOwxZu3H7
tZRuTR3Brp6Gka41Dln/XkpBU7hwkz12PDi00vlAwhavpM/XN9wSTU2MFgJcXM8amSVUidI1yCGz
jLdqEJbdNsFU0icT9N4x+OA3KY6YIPgHYSjof12fuyVQmLxZs+yThvPVHcBIcgyioUszoMH2HWEm
a1aTxJqrtby3vhFpGv4fahC2dVn//+YIKwI+srnHuiTDMy3zdMKVFbJQ6e4qhwmd8qrebca1owHI
6j8Rev/Q6268mXyj64qyP1XtqkVtBi9PzRb63BLfiOG8ntOEeRlj1rgTj+Pv9XRBcMPLGdsptOOb
mCmwfv2/Ugpu3tzD1Zh/cupfuKu5+1QnfWIcvx6tSERaVA3c1p+fIlUtP7pFhlttX5YAZ2KmmFPV
uRtgjfABBXy20BQtqeshkLD4Nil+X/ctS1ww8VJTM/Bx4ArlQ+8bAAhpTduV/Xqfb5nwqJ5nkuDI
HH62TSM+VY0zP4vGr3fBjX0TGzUUOdAMPhpf2qGg80nGjhrP1JNgGry+OJbAY4KjandIaADg7Klb
3zGZTiEQcHt9aEto+A8kCpPMm3rQJ7QcPw+++xEYgZuIFbddIfbdVkxkVFmQrnchUXsa5vjgZ/KG
w8+uz95mNYYDzzmnC2C9+tSAnTUB41TYdsdqCvZlhiZlVtuEkCQrhIZG5XxUtDkMzN8Y2jZzw2tb
d6kTKM0rUMeN91XbHqE4/4ksexfGSJr9ko2ZU83oW54K+SL7shu/8LGPkgfCRNHvS29NpNPgVnM2
KS1OucRpQuOmTHMn+Hx9by2WaQKdJC+DjkOmCJDGMH8gSibg2Q3ved+2TyTawoFZjgCTS0sjXUjG
rkEBoPfSgHWpBlSzXg4ETdits/EpFv81UU9z1wc1U3hTnmT4oN3lOLRbTaKWBirf5NRyZDMvw8z0
+kA13vYYPOi9GzpPAFB6dxXPDyIK1McpvJBNgTrb96z/f3Mk90PGkr4E2nS9F6xvbi6q4dd33eIX
JiKKANnmEO0vp6Hz5bmbA3qIXGjEi1LoDdeznGgu+ffsqXBYHsxN/xOFpNuskO+ADvmAYueUekv4
i3sLtNigFbTveww/HyVhc1d7Cve04LbLuiMPl/NQ0o1vsS2X4ecVdcu57f3+lGTA/rBH7spDtLOq
QkxkVA/kH6jmZnXKXe9+4fx31C/7CC6JSbc1jvm4QD5AnQqneMdWNaSq4VvFlL8vCzEhUUs3TGIY
MHjZh8cc1NZNVD/VXfv1+qb+PWgQk3IripZauAPWhVUo1YpPyIcKvzmWei/KhZioKLZoMSfeqE5N
5ZxgQnA1veFif/deYqKinAIIUr/G4qzPqcCNPTqVv1Ersw3t/9u1ii7W/tiDdaXr5i8qcN8n2UYI
/ftpQEyyLQJqSdyAseQoQ+RFd8TbW4ZGB7XF6W+bueGnXi+JKjssStyEzzEoFVsI524suG3uhpPm
dVmh1RhjozoGa8kngdbWJl1xttft0fIDJiQqchIx83XywM2040MUPcrkvlVbGAjb8GsgfRPul2wI
W0ioKkiuQyaU5QcgWybnfg633sgt/mRCorp8KXi4VmlYeHbQ3AP5nhW45OAtjk3ZxiJZdthER3W8
ij1SDMDm9OWHSgLL2NUbBRTb0GsYerNAnbMowToMrUWWlpixG27V+SyRzIREFd4QhXpu1akCmEvG
Z4A7C/68z2wMb0VaMBbJBLhbm9zjlnpEbQ8hjKh+1+FETDRUWIaq1w3wYpnff+Yiugum6mNRb/HO
2FbdcNloQjEJsUydJrxl0yBJZ/9l38IYDhvHUFmZ6IoimNipHVNnFUdYIPVUbtWcLRZvAqKWZRwa
x8PcncJZC9vEO+MFMO2At9h8lbe4rYmMGqUiJBK4YjD3UzjcrGEHt/Y5/LJrkUxk1CQbASZODI+g
U2fFYfLOvhscc6Aurv+AxfRNgJQ/dcrxXA7z9NSZ8i9tPt3k/b6TyqTYamPwpgdVgWgAxE8INQa/
2+rF+nt+SeLVXt9EA1ckk8vzXJ1U/Ttc27WdewCuJvIPVHnvwi3Ikm11DOcF5CJUjl7+/ArXIuXQ
ntmsxlhcyxQgnJI+kDSgHfSzg+NEQGzOguP1XbUNbXhtwLhuSjfuTm1Q3jqTPvfJFszNtiSG27qh
42cICuoUzv09d/OPwNIdIL33bdfMTVSUZNDurLIEV3Yst46qh5DqDV+yzNxERHVNNQolMfNYsPqW
JBwdysmsjgpdMruqMMRERo2w9TrsM/UH0zWR/H1b7yvwEBMUFeqAzbyM8Lzl1mCd8qtXUZQbZ5TF
XExMlGaZWprQ707jqNpU8Sg5VG2yr8BDTD1CFel8ge5L8I2KtgRfPW4h4bJ19bNN3fBQB6wmXtGO
wbc6qQHV9Tka77qtbmvb4OTfQUbRIarHYgi+laqQaO2bXtyC/9xn6IaLVp2Tt6yWwbc4S2iq/DlK
yVKPh32jG15atV0R4SXFeXXCBhz3DPeatpXD+froFk8ycVFCtD2kR7jzShsvSgc2L4dZSLRRzNXW
uWRZehMcFS0SYssk0j8BLpK3EZrmviqe9xsXHdvoa8bw5vRIithjqpmCb44LQQzaDS/ErbduIrbB
11ThzeA8r9Ap1PX6x4rDSptQTWmj8q34axt93ZM3o7MKQhKARBWv09BFcaoTLwEkSCxy48y2JDQm
SCoDsrgK8oT/bFawzojOx0TH7/pcVYfZ2+LcsBmQ4bX+XI/JHFbtawgevTu6ZMktSu8SDJZBd9xn
o4bvUinbuuNu+yry+qv0x/hnSGZ9BEabfbn+C5b00sROKUjZVCAi4j/HOureTWUSnOeFeqkzsvJA
u4oXKS2j0/Ufs22L4dC67AIWuPixWUTPXd9A8DN8p/IQOuQ7IcPkP2AqR47lkM/ld7/V490QlOzs
VcPT9Q+w2K0pTthMdcLrSuXf+zzqDxpA7VQrf4t0wDa64dATJSryO8Q7N6i/akamQzGhDnh96pZc
08RUudFQJ0FYdC8woy9zxw8+bU+oN6NMXn4udX3gjr9vm03eLES42YniWL4EiarSUXvvSgdFZleW
B+RzGzl/glDxXzwuMXUIdbSA+jH38WQx+c8df5IRWuyYk+aVA4vtX/wgupvK8vb66lncxMRcNcXA
nAU56AsZo6MX97cJY69h75/UlN0mY7txnbRZgOHvbb+0zAXr/wvop441JHLTgJZbYHrbNxiHdZFA
IBBIIPLiO/UBh9HjVIQnUnnPEp7oZFt3eZuhGU6OuolHehm1L0lBfzF0D7JePAyiey8j8qsqi1sl
tl7lLRHYxGNFnTvgVq+a730CDsybeZL0Sc3DVB0jwge2YWm2X1k/9M1hFfNg0CGOqG+hD0UA7ofV
J+ni+j3F7hahiWXfTYxW5xCeIMQ33zvI7oC6X0wp6FnijTzKsvEmOGv0cx/PwXnz3U2S92HiuelA
c1QW2+FHVZWQ04b88nU3sX3HuoRvlirh0sEBNfSviZeJY95B1Slvtw51ywMWMSFaKCJosMmX9feq
jz5TVz/lubhZLWu1qlyXX+OQnVnG0JsT7nqwJyavFl6Mw7qcCP+eg+ATXV18fKSZ7+zqhiAmWovN
Veu6Wdu+glwbdFG8puBDFiytQDexsfd/VJX+EidNyJbbcBdAjyB5nWl9joL7tvN/Z+BYLkh0WyCY
kZYfJAufWdZ/6kK6ES9thmAEARkzUPOsv9qB5DWty7Y5Nrpxj9fNzJJHmOgtCDEBK5OR5RsL25z8
ovFcPAdxIUDn0DN5H0TCdTaYjGw/ZTi/rBT2ZhbZN1QkeQz1WG8WaPwiddW+60dBhXtgeD7aYNS0
eKqJ7Aq6WDqj9rMfwLDXw0Gp4nNRCnYsXVE8dbKeioPyNutytl9bv/mNt+ZTkjdON3Q/C2e6XdOx
3Bk/SSXfl+7XbRpuiymYgK+KO7HDvT75AVRBeAicgqEVHkn/dVOwjb7+/803THMouRIBGmem6oWG
jpu6JZ64rw9uWyAjw58AlpdektAfeRC9m5zp0wCmaSaGWyXHT06/89XERH6NfRJXGV3oM3gCnxXk
DVOZdJ985uRHWWeP17/lD4jmL4HARH9xCiG/NsicH7MnPLD7djLuPPcgaVVCzTfQM2+8swrpWH8J
Mshj+ykD3tNJOyhyJ/6TinUjz97QjxWoh9ANAVok5rtVgnBFQ+Z9vT5N234agaOUWY+jvJp+eHMX
3cjMy27ilk37vNnEjvm9S4eKL/pHHYC0BqTw5U3chf4NHTkwreg8Pu/6ChNFlixhRTIWzT8iErmp
TxL/oIN6H0aNmCiyDCABh4H44ZlMlZ9Gcd0dmpE3GyeGJd0xIWRdOSd8HEvn1delPOtoAgqUJcEt
9ZYtg7dssgklc8ss8QZVTz/cnPjHICxBlDNtUXpatB+JiSJjs+pDvNp5z0MXTAeSN+cwcL20q+gB
dBBPTbc8ZGOD1/4G7PRBcHQG/Q/S4Y2ttx24JpkWHWhdD+4Y/sic+Izs/dGLglOR6I9onf9Ih/IU
g71nvXDVkftxbveJNhITgSbKwJ209MRFdmXfH4rCiZYz5wQXJJEUzcbX2XbOuENEyLMbn4fR01gU
YXmIvaabD2iHFhv5luVW9yf1exPOh8WNOZll8uQE0UPOtAPYgYM7dnzOouVjF0SfVVXcVmo+7nJU
E5cmSpCeVwF+T9LYTXUhwqOT51sS5JarkAlMg+qOX5Mip08TeHfiX2Cw1uO3KRvQ2I1InHks5Wqq
lvoMPbxFv9BknJKNBGw9w/8S7U20WpCpMNKtA/IvT4LQhn8DN+mp9t0bFLFvrq+d7SfW/7/ZqwLS
HW4LJeSfxRgfIxhzUFVfWeIdqsHZJ9pFTMwassisyac5eHKVrg6Rxy+9j3B3/QMsxmyKQGY0LGa3
1cFTW2NRiBz0cVyyDcp72+BG7tAF0oXk6zI9DW34vRCQvOJkJzMMMYFpfFbttBRkepJN+zDO4FHI
9N7jxdR+DAfIWuOxY3oqsoym0KUShzKXW3JgtnUxDng5x0O5Kr88zd4wHqkbfAxncGJf39G/OxxS
s3+bpMBtADJyw/TUqf5L33YX2iLAzi650c7woamAPc3DYgse+PdP8Uxgmh8CHsijqLo0SdWrQ+EA
3XFIHLZPHd0zsWl+63Gnm6PkKfdBTl2seniajU/Xl+rvx7xnItPGLuz7eFH82JN4+dorMPbHOJNv
evn7+g/YVmf94TfhwVlaDzSjjB95sFSHJcnrLiVeFv/cN/z6s2+G70dFQPzIMX8nvmvbUXwsUeTY
OIZsdmQ476B86NeUkh9RCr/lc94eRIZ7LM2gnq7r8uiTwX8v+bhPRcgzMWuLNxTl4uD3Wi/oz8Ih
3QONIOC4b6mMQxvqGFmnm4kfp7E66UTczt1W1mHbZMObG9oGdEL2fGSoKuWu/Olr+v36rC0GakLV
PIfUZUiW5GlqY/9+FlORJqHrH1SgtiDEloqSZ9J40bwtx67l8Q/gHCenuQlcJ5bNYVJeQR/DQJRQ
ESl75aJA1oqskfmBNTl0MHFrilu/PM98ATnHxjbZPni9hb6x6KWJ6wgSQfw4SiCsqH928rMb7iOn
9ExQG27co2auVx8DMmb5KRmD8pF3y/xYdoPrHK/vmcUcTFVJEciq9ZKlPjZ5XJ3nsgqf5zJaNl71
bAtkuLynJilY1tTHXAbYJOjDpvWSfSZtsCuj8UzGL9CTgVfYL2qIkI2XwIm/jpH61KkiT3O9T6Pc
M6FuVa8FEMG8PnKnL4u0Ch3g1hm0vXZakeHsvI78DCSkGD9m4Ye2rMZjoPuwSN1h2sgtrW5jeH3p
NSCRdmh+6YKFhuUpr8AF4KcgfE7EofNqBma/2HHalh2rAj0S7SEXevEOgw4cyNdVvBnpTpMz8XFu
nxfDnJfBU6B0C1bOVi7xcEhcVbuXXUZtouMCz/OKcuL0aWnjHldInnxp8oxulCQsLmOC4zj1R4L7
dn4RapjTKMRbdcv2AUs8Exg3LW0i1Vh2lyyTqF5O3pS9x7npb2Eo/n4F8ExsnK6VmBWJq5+uUznJ
Oaom4ea3unDldPDHsA7q2ybUOtooj9oMzwTM9RPrc1DCyO+NGj7MbZhS3KXbvD4x2TzkMZj0cN8u
kse23yIssmQCpjYlIa7vgu9OfufR2oLsCrwy8Ycop3dFUz+ul1FfbpFp2VaT/PsAyLQbUXAkyO+u
1g9Ru7ynsnsAyOOLLraa0G3WZkSHpJ/jIIQ9X+KC8bQX7nTsK7YVe2yjG3HBpV1fVA1FfsSysYDX
o1xwiPOGD1ti15YjwETWqYKDSX4Os6dxqufXWjul80WhgKqLtIyDUu+6vHkmyo7Hfj10dZ5fXM/9
rWunRerR5qfr8cT2DcY5jyYrQALLwnmio9+KR3fpK/q1a9og/t3qzlUbUdqyGSbWjkRtTaHT2l8q
wvFuwDx/VCkoSbbqbH8v1Xgm3o7GtPCLuHeeUMOLP8SkjFKuA3HkOvwdzUV2IAuqKZoqckjUZr3/
z7vVfwsbqJ3920lyN0cxsunFMdPTWGQXHgTZx2LO8WaWOryPE4jLtaJz2FG7YdlB+A9Q/un7NBcO
C2GYk9d7D0PfLt0rgLDa+zGNTdSncUaDF1WRwslTNPyqsEwFpAYqH6U6PtIPMxpNKn6sVanHKp3Q
CMi/JTQvXXlySMPEfEtHiH9+iSupyzrNujLKX+OS+ohH85KI/uCA9DaB6imKWElzU+goA0fZxqFv
22vjvhL5ZeIAABbfdj/dx61ekdUe/7bSRjjKu040zlSzVzFHd6uw1DQeW0fc/Klh0mIjptvMyIhI
Qa86x82S6Emx6czm8QtVKxyvaA7FqAEp7N1zlpTnKNu6stg+ywhSuizLsMid8kLxWZlo3zV0+rLE
9SPtyvPA56103vI7Jr5wkn4ACXE9XJTv/VYiehdGuF2H3sd8ah7rfEuy1LL1JsYQleaocTLJLjnL
n/XC5bllET1eD1W2wY1QhdvNPEK7zX2qk65ISVBWqQ7o1+uDW+Lgf+jXyjCaOsgMv3a5/6Bz9msd
uh2HL/uGX3/2zXUqWkASoFhGX10pbgj7tBZBO2/nWW0iDKN5KVtRVAk4auk5YGgHDib6T8jp41Js
1o9ty2+49QQYNkIMGnJdHsbkFxIqHd7GXsm3cCc2GzVcvJ+JL3xvCC84LD7nwTinY8Mf8Wlt6kT6
K4fHX98M2w8ZXh45rgpEEyKHps27shhwOUQaVcxMpmCMryG+taXHbVszw70pwQNm1RH6hEQxARoZ
QSR0wq3nZovN/gddSJCAdtqnT8mgP3htfIeE833kkw1AiCUDNPGFbZSzoA+q6TK5+mapq+hhWrH+
moCKN4jDjV+xLJGp28mjvs/HpHMvAEk5B7FQ99CL8PX6TtsGXz/tjduNuVfUmOp0QQ0Fmm1jp9PJ
97f47CzpuAkthFbS7FaLxgI10ec58h/WQ6n2gC5kzocx1Dd5t+Ubtq1eP/DNh0gBrjIRD/OFLCQC
HUvWV5ylUT312ZcEGI3w5vqC2T7JcPJETwVtiT9damc8ij5+R2vxWDrzxwZN56sHDkru3HjD3Vnk
UjrIYL64coFwnZuh1rT54GH7DsPFM57gPb125gul4/JP7Ij5hxsWYO+meOTKDnMGn4z8ZF1KnQFk
cn31bOZmuDuI/PBSMU3xa+xWVRo7cZuWzSaY2OKPJsBQ6qAY2dgGrwkdzk08H4F3eE/58NLJLZFI
S2Q05TuDdoiaUTfzBaRRd0Gd3S4d//PI6bkQNK63uAktaZaJMMxo1Hhx0/mva5q1ZiRViVejylmG
m6YTN+XgvfpzGJxbtVV7sH2YEQionIKoHyYX0rkjmMGio5yjr77m9+uH5cOy4T4WAzAVPFkyukE7
utMlX4CXyQLhHGY1b3XA2wzACAKBnrI5EF1yWRw/jX3nIEEXPTfTB1aQjQ+wAAY8E2OY+ZlOGqCz
L948p6uRTWJ68ZL848j8e5Jj4Upx34dlCTYufiaZ3HjksH2bEQ2qIqasavG7auzOleselRvc56F4
DbbAh7a9MULCVKi+ZlM9XkaWXEQJaWPpxlut4Jb4bPLDqXmKi9ihw8WlbpR2BA3DokpSd56/7wot
JsrQ61QcO4MYL31eu3jFIuqWQWzsdH10y/RNirgJkqO1G7Hx4tUNR18p/wogwuc1gbw+vmV3TSjh
1OLCK0DSepFzdcbrz4f1qVjx8LPGY256/Tcs+2tqbAYCyLsqiNXFDeTwUFRu/RnvF/vAWp4JHJw7
nBixV9EL2izeLQ4Mp9bkM+RVvuHQP+/7AsO/w5yKsFqG+AJMfIu2vrpCqV/+uD64JQL+hzQOkuWN
CD11mQN5IUH4a3VmGircpPrw/5Bc27bBcGQgy+qmyCL1yubolUQTGoTcOTte/wibnRo+TKOKEg0Y
9EXUoVMeQVPcvbS5kz+TxJkP13/D9gHGIe55wGyNuAtepAQUAO9UFKxK08Y90DK4iflzx0EmQZR3
F7fST64HSLqfQT3j+swtq2MC/aBIRTWXvLtM46pw2ubibpyan02WlfvW3wT7TfniTlnhdhcAFevD
4BUirSanOATJJs2RbYXWEPIm06UTI35dh93FnweIJE1CfQpdUu1LOk2wXzc1AGUQqCQXVR/W6bDU
cjlokU+/rm+BJbMx4X6qcn09s667wNNSHKHfgQJOmWiO1G9u4jJ+t+Ybqwj6vp8z0nUValBTJ36P
M409t1n+0VP4mTG/5U555qL87AzhQ1ttddNYYogJ68siN3bdAAa2hnG0bN3oGqK9Ib1buP8V0gm7
er7xovVvE5gUzetRRv6FhVocgsVd0gLKghteYjMww78Fnk1ECGbsS6WUJvcjV9I7hH6L1oPrm2Jx
QxPGJ8vayx3ptReAJt4PnohOYytboDvHT9d/wPIFJpKvqdtM5QI/gPZCcQfQIA6LMls2SvWWTTbB
egC55bNcD4rVntSYV2kNhONqUMGAXwLE4O76Z1iSApNeDkrCog3QNHFZ7zMkHr8kIfvcS6CId6eV
JmQvyDX3B+jNXCLa3dUaJB9NxD72KOjujukmck+LLui6RnkXOunyo0pydmpooDYilm2VDBcfAjok
UZC5F/QSgbVumI6Ey/fD0jz0sbtR9rYZlHFme/6y8KEpvEudjWGbTnSpbyco0mzkrpagaGL4GF7k
g6gj7kUhGjHufRSzGFOBvKknzdFrw1e/7D+UAXgYr1uWzQMNF2cUBHNkCN0L9Jf8z4n+H9KupDlu
nFn+IkZwAUngSjbZ3ZIlW7KtxReExzMGuIL7gl//suekD2M2I/rNaULhIBpLFQpVWZkljEOFjjOl
sszUHkn3nw0F7Wr/66bCHCkfuSzuO7Ki6VSEqWrnp0sabmncu5FWz9cn8+dUhm0C++hcOIsYsXpj
Wz6v2SqiygtTL+wfLnkZ3MZQOpE7tv/nhbNNkF82M2useO++u3Zz587Bt1yD/gjPgetT+fNZtk2Y
X7MWFrBqrfs+r8FZkux5dIIvZevG8zTsIBi2NuUysw/hA0OxXVJe1C99VX2q1PxYgEEdvV8P2dw+
qCa46YqyTTI6aH0Gemgs/dJD8/veXit6zIeMpdfXaWsShs03Dej3QW9rvyCBmFKx2EneLk+XbZYc
j4LMH3Zukq39Ngyfd93UV4roF8iX59EwV86RQwUhtpDR3Hn6/dm32My4zFVVzIHfDvqFZJP+wofe
OjeWN/59faW2JmBYOvOtognDWr90vmAHbfc8GfOpTcfVXQ/Xh9iYgAn9g/B4yVeI1SIzwcXBDcos
rXx/Pl7/+oZJmKC/QUD0Zy5t/eLgwd12sO6R2Md2nv/2dLWTBd9YJJOnrulygKSaUb9wJpyk5gG6
etE2frkCy51pbC3SZXofzI4uYz24ylIvy+oPD3nWvtnNXOx4pa2PGzY9I++8Wo2zvKwX5g9FxqdM
7KUiN0zNJKorOuagVyWj78NQPxfBenRc98fMxtRW+rff7hVGt7bAsGgbjB/UGgv6ngXOZwf9NyhK
POl+kDs33tYxMgy5bVdOhWeF7+EUJJc3B2iqPtOhPmp0JV8/qVsrZRgyGeREZGaLF+0NX1HCBEAR
wiZZokfwHOxmULcmYhj0yGsC3Ucg0IidQakVM4G05xPaBf+tQNw0ExOlJyrVjt2CMbyV/L4MAb9x
Frl/vjzO9i/TjWNrQvVCp7JpqwaAtKJQJd5e19NGPGBi9FCACcB943vvc5h9nvU3F6/Ly4FV2O1J
f2uo2ok8t36/YdNtn4EKsQi8dz4HB8KgoLJrDhu7bEL1qE9QAhgxB8LmQz2HJ6uHBMwCSAyGub7J
W0NcZvXBIzmlDkK7Yu67LtQdjuvqd+BHZrGzx7a4YdImGG8JVZkB3cq/BwsD5j+4d+h6h9f4zuto
w9xMLrvCGijHKrn/LhF+/+UR5k/BQ44XANhxdvzG1h4bRj2Wc17Us/Des8L9vCqrjizQsux8/M9x
P3ID/7sFQCs2VVW0y3vuBl8YK2OPVEeC9+MlqgQw8kL1UXXhTcU320TjzU2+TLIl1bvbTJLcubU3
1F9zljt7cL+NE2Xi8GpLgXeUye7dqhsoe8S5my/6WLUE3RkRBHtmBQT1aPP8n+sneGP5TOo7wbno
y3bt3mfG4xJ+HTiypAaf6pJNBwlXNY34++5R2PArJkQvyJvOt7ugeWdwJJedKnDSFNg953pKa8Se
OdsjZNgayrjQBdhhM7LQ5l1hNpfZ4XxfaueQQkgvlFgOUtPX13DDikyAHveaeeJoj3ifg/lpdcM0
QB7DYwCkk79k5u5kfLZGMW733rYEadBi9z70w/nCXQDmnJQ09CEc7NgG6OP6ZLaWzbjk2SC9vCVr
8762ZXQZasVaFROPB4bkRjamfFfWbWtGhl9Q3dLNBRJl70yrgxTfXdR+RcbjvP6Vr3uvza0DbvgH
kDHYAwfJ4DvP+mh21ZGvJJqQHEXXfXSZD4XPyDG/m5bvvxi4hTh+V6n3fqiiDMTn1eXlCRuyiyr6
f8VK/8HB0ckN0TwlX2rbPYkwS8NlOndyOizSSXqr2TndG97bVCUte/CBlK7H3lqAs35ClBQYzlaR
eo/ud8PjmaC43ulk36kify9wTf9bkLXqL4MzPbJqL/7euEVNbdJxDq0sgx70O3e7LKJSHXuXvVwa
d69v+gbThG1i42x8NnOs3npzidakjiZXQNUihg5ENqpDV0O7uI2RAFPBM1xFU99Xbp2zKnZdZ7RY
FKjWb8uTGsVYIuHS8/mNyLUazmCNm4Kdu35rHw3/UbPR662wBtMWa0hz6pQD7iCiF2eP4H7DnH3D
cyjWtbkjffttzDJeQV/aWtYZKMFlyb3jCHrPGkklEGWxeAlF1e68O7emZTgRvDhF061seYMWk+d/
Ijlapr9Nttb9bVe+KYPa+kKLWk7Nmysb9XOEQ/8hJvRnXz86Gz/fhNcFU1cuqET1b6qpS3HQsnX6
4zjkPj1eH2BjV0yAHdRtwUvE+uHN4lUEBrn4Qs7AYVp+5d7XwV5ZecPETISdJp7UIbBvbx6HHuVP
d15C/kQ9ahc/0IERiK+3zebiRD4E3C4VnAGW3rxlnrq/XBtZVqO6ScCcgAt+t7qycWmYoLtKosFT
u1S9tYX814sL3K9ZPz1WVETcduIGQUTHbwxVTGa/AkClNaBj9eLy4a9L4vUSFfUtSVbHeRXiO3HX
m5Lwtsnqx/rc5nz2sjdW9uxbD832byrQ6vn67my4cmJ4gEYIHcDPyDcL63YolkanDXNObkH0odfN
GF0fZuusGSbfTpRla1VIiBIHvY6wUJ2FEpsFrtNuHeQeE9rWMEbksAhHg0Wlo69FyB7GvExlGL5D
Muo2f2wi7YSykWmSLX3Ne3fp3zl4NmU08Nqxbnucmji7URFSjG4Wvq5N/yBCCyG+OC2aRHkw73iv
jWDRxNiFWuVz3dTBqxNIlbbgd4l42/GIIJ5yR5ceBoj8RW1TeYfrW7/hLk1iPyoyHYwW91+naZgf
Ja/G1zJYpj364o0tN6F1iuYE2u7SfQ1FP3dH0tuhc3+RmtFQ+VyKOb1tFpfZffBiwrVIZaswT+YC
wmZ9O0cM4MEd69gwQhNcJ7pe+yqn6FEd5vSyEQo8yRMJ7zrOduofW0MYdj66i8WIXQyvvMqsV8dV
gnspZIpWX0cTgl97/lIwqLrsLNfWcIa9qx5YSjLZeVJ0E/3CuVvHnGfOXQt8cipq4v2+vi1b4xgG
rwKGmnA1yaToy299i/Jh5qo7vrQPetnFz2ycYBNj52ZlLlw5y4QviEXBwEXjC37m+gy2Pn6x0w8H
KwBs3s7XIE/otH7PRrx4SnfYe4BuLI+Jr1uctW27Bae2nMC+j8vPJuLzJTFrM+/9tt9/GfrD7/cy
J/CUn5WvuECCn/mcydeByN7ZMY2t5bmY/YfPw9lamq5j8RqOAvRXdUn1GNcXVdydAbaWyDDs0XIa
9i9PmRrEa7vIv4PcPnqa3Hm779kNF2VC7ICMBfGVF+SvhSjmB6Ibwg5F7ZM1mjKn3SNQ3ZqIYeET
alzDugRlCkXEJ1faX0LiQWxwuaOT2HNUW7thmHWll9pR1C/TpvBA/9/SOdJoPd7Ziq11Mox5yQiY
sGtepovo/L+gXOCNl25w8o2QvMzTm86ribTrwbodVMj0pBop+NhR2XLU87IHwdkI3U2oXSPAnEAt
TIG7eEfVM8uOsiblOVhEdgjrfkXaZ/Z33rAbu2Gi7sJW1AXSJGW6dvlXH041UU6/RzOx9XHDrhGH
lq3vN1innHyWaxPES832AGNbHzesehhbgW7UAjs9t+55XEeVQph97xxtPAVMsB13SVh6mSteITZX
R83o/ptAArdPMjadjjQuWa/+Jcc9YNeG5ZlkepUegkD0dZkqh53m0vGjEXwTHE+bCWqcO8axNSnD
vFcEm87QzeLVVtkJ1CIH0OS2YKyVPXqBPfYNdKir7+y8QLf2x7Tzgklwx+fWt0DYyLvVAPujrRgd
DDfmX//lTvjg1ilxu5aVzHq5vNYuL7VLtWrVQ+LOQ4wodMfYNzzKfyB3eqVu0VOZkGGU0YxLWy3o
Ed2/vTd2xYTcARY/2mMdWC95Wd/L2YlLhFBFNsZjMSZOVR15DQqm4ba8hgnBg6mLvGFumSI7CZMR
StR1Mvnzwnbe6lvrZRh97Y/gLUBreNqGeomdiVQpiJm94woMenLd/24Yi4m88/sgaLw1LFPIHoZn
hzLv2JeDffKB+oto1dx4HZroO1ZQQXKLFkgW69G7c0JtUUhfjEEsCJfvfSMF+eu2KXn/G6MAre2B
1RLerB/p/GNa9PBYM3+2Ylpq90kLi+1xSm9cLyalXpiVetRQdky7bs4fOrd6zoIy4S2RR6vJ0fwT
7oEwN1hMbBOch0pMp9hUhS/uRQoUeVfQ8abClidfW0dEAcfRGdN2mk9gFNg5GluzM+7/rirBk+Cg
wT3U+ckWIkX4KiMwyn3G2+uo83Av+fvHgZBKu1jzB++DDtbJXdsmv4A5vpbjsMRr6MnYa6F/03dZ
yodgDxm/NZQR3vujFQyWJ3AMi/EfBMsFQKz5PQ/5yWK1E4Vy+Hb9EG4NdPn7hzkFy+x4y1AUKQQU
vtKZ/5M71ls/uUdvderI6/Lf18f5Y/4Aa2e4CMumoWJIhaPVVxdR7Wl0FZTnxp9OVE3fAZ1+GiB7
eX2sP15DGOvipj7MiXdzGXYdSLoGj3H3gKbyHKqjpVvvsUdsDXD5+4cBlOv7LjYneKkmNx664n0s
shv3w3AKZcicWlgqT1GaewhLK4tGVj0OlQcqjiIDY2yxkzPamoMRGGTTkNsLtVBLmgtixWVL8wfl
5PO4E2VuHSwjFgjtdmjm3kZ5VPGj9vsCse2UqEWfNS2g1ZXtcbVsTcQw/wmhIASuZgzUedl74E36
vac+EzsB1MbnTbye5LM1TJabp0PQj05EXZUvoKocF3nbaTUhe5ZX4+0CQ0utOV8PAV9BTD2qW3++
Yd+WCCa+igG2IKT97g3Ku7NsXe+xXf/x5g+Zybw35tnAM/QRp2SwHv0STKFoi04pdON3jtHW8hu2
bK1jEEqUm9KBdn/5xeChGVoOe6uz4ZVMuJ7lFbbVg1Q69XF1LIX7iFTqF9eu/6kscRp6P5lWpXdm
smEQJgGf61tzsHoyT6nNPy0SKeBJ6hcva1LigWByvu0Jhj0xLBs0Dg6WLMtTKcPxUBWeTsGK4NwC
VcbXDbtmfkC17cCRg4OkRkc36GYeqwHUCDu3+eVC+A8zD75vmPNagyZCV/BLK5p4U1EGJ9+uTx0t
mgPIpHbSmht7YUL2IEQj/BBdx2lQaSQX2ZDCsR4nghS2aJY3Owz5jvvYmI6J2muzuXBXv8CuW879
osMfPplOVb2kKFXf0uscMhPBNwM7XkDEFfvddp8Q1YMv2RLQYGfJsoZfr1+pG3Zuku21jitapBwh
QVOXXUIrx0HIo7pPA2vHG6dhWPqwkE7ZA44t6+qEBZgGK96CdbzzdXa+PosNZ/Ifir2aFtUocLn2
wDYkdU6HhHD9etvHvf8NCvrFdehkc5nqbAw/K5brU5tpdw/9tvXbDauWXVVB8A/L0xTA1vfzJGJ7
F1W/tb2GUXMvY6E34wgVtYSqUf89Bx5sqZudWuSWERg2PVllLrOZyrS3vL8yL3hx7dEto8ZxVNSS
uR1uMzYTsxcM2htDgmmQcHqQtf5c2QOm4bwN/Z5sCvk3CfAHB2Xi9vwFGnCV7WTf8ZYm9BxmTGfH
QdXuP8x3/K8KWnPu96DLdHdQk6OsDkWGPJueHZZ183232plIrTwvfgQ1/otHdEbRr2XgZ/bdiGcu
/xGOq+QHqHfif4VfVCIiSmXBgXHhpUEIHJgYw7U5dHpup8O0BiONq4Is4aX1GllCCdIxcQRNECJG
AJGCtj1WQ1W/1SDTalLKpzCLww46EodpLBwn9R2h5kMzhcI7DHWt/wYKgr67a+5U0cS7/k0TlPXi
1vaWU0nn4KkQLiQeqNLNI3hdQLu7sHGmLLZ1aXcHvwbqxp+oHqJ5pat1RkO1ll/dwifIpQioWUdl
O9pe1Jesf9JFS9RfLp8KK3VARklSsXrDr7oYcMX0K3WCg6KXHKUbIl0VB024uhE0vyrnsZVc9m/r
VFHrWU6u9u87xymmmOSUB5EqIf1yD09Yf9a+1a5pBs4OsjwGYbeSMfZBfLjGNNAeT3WzTMXRmkRL
T3zoOoLXlp2V4kvYdGT5x127wnnqtSf8Nsaee1D6K8dPRARkPIBqaExLBwC9OVOaHbAFLHzym1bW
BzDf1OTBQ+spAdOeyAHLCCQd8vdKW4XzCBwhLyO9Aq4RB52i8z1AD3IBrLhYIemhwE4PTj6Kv3go
9GHVJM2BLi/DLAuPoO+p72wokU0Q1wKJg/rN3YuiTcYyuM7KyZX/GGQghzrRWkzVkQKnNICexmux
y75XOIjUQDLBioT3TbNYUW43oOWMXNF4dpVa3SqDz9YU0BcmXKhtBGHeQxXSc60Vhd9s/TU77fp1
Xq3+nC+i/6KFP7fwSLmnIrcbhjyCNFLxXCMARW1Ykg4qZgwU4yn4p7tqukDxveynzL0peF2Hmbe/
66kU7B90UIOTfyltIEXDNYN2AfEGbGeIV90Ureus+6NoSD+ds9nqXyyknurn2vfBwKuCZiblYWJW
P35qgXYKIqoIDtDgue6vwAsmP7ZzsB5F4IysRVSzTP1lsTb7ROi6Lp/aC290VECqrk5UQXt+wEFH
uNzW6w8QYq+/6sDzy/s2WMAAi9xNPp5tIADzY6nD2n62F1cOUdWCJfZYYNFExCaRNXHXSDp+90aQ
h0Y6sPRzWS2LPCg7dBMya/q1XqH5ccK9FPyEjIL/GE7DZJ+cxQrtOAAD+XfR2/6LXhuff5tnVuqo
CJvh87CGXXaH8rUzJrVbOxPYWgfu3M+FpM6nAeFZ8baEyC8frGJpi4cq5HJMiOzU+g31o6F7tGTj
iAPq4PZb19gEEvOVbLLIRX+M/VSP/QrWSXei3tG3l3qMWsfCCq6UkC7qQfSYRdlQhvKeSN5AVqvt
v/Rcsb95mEM3BX4YvF7SqTqUP/Pmmeu1teICZaDvYrAhljX2FvGTsFa8++KsPgXhQjiV4fg8ZnoG
3dHqL6xrIlhj7R0DMDNQ7H4Oliqps96KB5D5dNHiTnAkVu/4D/20qKesl8w5Ws4QiIiKQv/dYzGH
KEdzoH2QamBBFLQuC48t4esXx3G99tADW9AfgrW38tib8bIH1aZi35ZuHH5OYLCCOgQaZv0FDk9k
Mi6WQaQuGbzfWIehTyZReyz1xQIGTlW1WsfEUTg7sg8EG6OOlWXxN5xXB13K3qZ9HEwEqX6fNIXO
I8Gk154mZqvp80z8wLu0R8+2TiYHlIpF4ruqDz7bYmxBHlnK8B0XAc4d4KDZ8mkBC6CIO6Zm/gUK
boDGjFpCK2loq5UlrESvcpKFkFeLi7B3CWpIfsHvB3dxxRH9T1B4BDIweLXQXwXALC6VPrWC0edr
1JGxd1MVVtlykOXcfOs0Q4q1ApmCdcyRuaTwkKroI+JV/AgScbDhRCXksm036hs6jUnlgHwk5VzC
15Ic9Wkdd5PrQ5NhYXL4DYPt+4Nd8uDdCgN7TVxrKL+NuE1eES+r8pGRXttPM2o8/nleFtUcKofn
7qGp0ft7XivS4oa3Onc8omF99BOk3kYrZe7QrM/hZLXDPWt1DpgdmBI++aW7cmS8S4+eRNGGzRMZ
eOu8Er5ARAlIHJCtU7Xa6OZmi4uEvwAzGhcFSJcrqUI3BQYlG56JINCLtjJvcY9A6av2bHWdBiBp
hm6uxH3m4eaJ0LJLs3OJvjLoULaTWEZ8MIM6xyr7sD7YFPC/Z237c4MrtZ58sPpQnK6VteGvespL
gMAq3rQA7zSIZZJJa/xLDuevTg2Et/oE4tVuEU/5Its7NOo3vyXTwMVAUrwtvvt51Tw7g6j+6UAG
28fK8wL6Pi5seF3gGdrzCij2dC5L5fdTjC6WQD0sMx7uNGa1bL+SnJX8FYVTXV+o+ex1BjS8KMQz
+rV4cDf1Y1glUFvD7dyV2UoT9Cx38x32v+ofqGTWnSc9KhJ/dvpfkIZBvjTquy5jsZqdHF057JIk
yLPAl0dPtCM4zUpJoOXjgEihSpij1beZtKxBATTPxR2xC9HuZFo2olyzAwIF9It4K8LQELzq94Lb
DOiSInia+9bbGWIjSje7HnzIA6vRwSPALyGlWHuq+O6VTfV0/YmxNQHjiQTNMttxgYdLey17Gc8o
ts3JUEpo6RbhVO0l1Lcmcfn7h/Qmz/2hzJF2Qa/w+OrWojtQae9VPbfmYDyTMjeYihypzNRSdnli
nvu76l0ryatV7OzB1gjGS6lygqque0+mdjvmp9YrqnhGbvDsiWwvK7XxoAmM95KkqBMXiyXTIST2
GQoBMpZkdo/BpVtDLvV6vL7hG3mKwHg4BWsZCppnWToO+mGSA4uKynkAhj7hQYV0wl7rxMaOm70M
nu/CN/qYT+bPqA1bwXy2yyrceZZtZNnM9gUmSNCiH1YCcACD5gE7r3X3UHv2oaOyS70CIRmYbnaq
nRt7Y3YxFFamKz21mEsZhCDKLh9tALsOvmzQKHaTvFaIpNf/mohcwrJZmJLAH0DoIpyKOgUpb79z
gre2w7DzFtmuTuo1S5Xiw8mDEhAQtbSup+bGl7LZxrCMLaR5Kc+++3R5dOhwDp3+fMG/YYt2Hv1b
kzAMHXzKjvCaPgNixuLH3INeggQ79c6Z2vq6YeTUhuI36FjgaB1V/JQSEO0IF5J/E9QEG2xYOJ68
Q+u5FycyE9BSVa0EzTtYqsqb8K0YwDDtYukDx7JmmXLPk48C5+jRymR2S7NtyMxmAy2n2RtLLL4T
MEhbhk57oT3WAIPctv5ms0HJVrxJPS1TxSyC0ActdkvI9lSdNly42WMAyiCxKB+P6sXqVcy8ofnZ
hGCyJ6i7FTsz2PCtxDBhhHcQDciww0sjP2tJmmi11CkT410e0s8tOGuu+/CNk/qfDgOvAwlOa8u0
Rpwdc3sAyVlPb4JqYqMvo364q6dMrrJBOJCCCQ5SAdnzEs4qgnpAmvu7VZ6tKRimvK4MEktQe0xn
GciI5IAgWoHaScpu7YNhyTMQzGGobZHyfu7vK86PaIt6yNU6ACPfFKA9bXbc6sY9RAybRo/r2IYV
fMZCCtDRtp+IThQtfuRZcx6aES/1PXTu1kiGcTe2tBp6Me6qZ2fGfvQ8vO/wMuvDJfEALsny8baQ
0OwtACMiEWK5zAkgDohIwld5XVEluaLZjqFsTMbsLpg4hK9GgXrnosjzpcnRq9p4aZyT1llarg9h
v4dM/CMsKmT/aTKQvJVZP8In1hqhuRcvWfF54DQdevJYTO5psthz6cuvN1mm2WIgck/yTiFSsAcJ
7LTVgMs5UpYV+Dumv3G0zSYDN8OFkWe5lViW/JnXLAE06pLW6vI4b/q7nOxJy24YqGd4gaVFhFB3
lZWA/QpSSF0xnLmw1ufr67Thjc0+A9dy0Yzs4jQvTa/Ks2PhxRejxD67SelCvO5wfZitSRiOIBed
IBka3hNArMLIpm5z8HOx7Hz94tb/kLb/V3Plg6NUyHE79YIgVOXdcJwa2/4ssjn/vgaDRLEsLI63
zcIwfaAd3KGHFlXSAOX3tXWHLhZ51t1WfTV7CkYZkqVFsJNkUxiTZRgjj0972tsbS2TS9ma2raey
ISIlrVR3CM2tZYoGSLBm0QoptGqIvKwqbunmDJnZY1CMjQwDMJ6lFUew9dLSNqsepQf83Y7b2jhO
JoGvDgipChdPy1Ko8smH9nza9YV/40YYIXquBttaODZCcMv9pNeVo/d7rr9fP0R/htFhdS6T+nBa
C4h4l0hw2i/IaKNZlIdjafXAcAxW0ybScXqnSvsJ7w7w7dag2RPHoKkyGGSADCbxY6eigdyZ6oYX
M/sQBsgHDVWpeNJeSNBA6EEeUfWniSAdj2s3WGJ3gubf9ZlvnUHDCQSD1wnZ2FayFjB97Zf82OXt
/DBCSuOAFDlPro+zdTrMWIB1oprylie1LFQ6uQ7gGAMUSK5/fcNjuoYTcHwgkgaQPCe0m63zjGR1
jKQYOUBvT8XXh9hYKLMhIWxL6ngXgjKIjZymgbSRXpA8HwAVtFbv5/VBNlbJ7EvowW3ugo2OJ1o7
dWpTR39GA0qxc/9uTeFy4D4ccgf8M3pdsNdjRoPIly1/0jToYhdJ12O3TvlOhLk1i8v4H8bhlsUn
F2jrpB1KHlvKg1Iyq8WNXzc8ARhHPbag9JYUPPBBLhzSM+F0L9GwcZLMpgSn6QvEKTXOacesw0KC
4UEHvHhcesJuc5RmHwKasOyA9Nhk9IKUXzgLnXOm+B6L9NbiGwZN85wN/sUN20A1JotnOXHLxR5S
f+vrhhkz1oX+zOCbIM7BX0c/G86iyJqdu3xr8Q0zBsFDpznqtolbePVJkUme3CmfT/lQ3niPmK0G
pKOau0EBnsGM4qkgp+IuEBr1r+sGvGFiZqOB9Oc5hwgiT5xh8Q6kL09Vr85DZv8zOEu244o2wnaz
vyDIUaTOl4UB7zDGTTCmlvTuiq44FQoUqRcSNNgzy6Yd57qx5ybRb1XNoPKuMad2atzD4pD8AHDV
nsz6xm1nNhrUa2jTqsLXhc3OLR2/0bzKEyhkRgvgBbHtQsji+t5szePy9w9uSWhddyIQPLFdUccQ
57VQO8rVziptzcP736/DHkCVKSRPiFf8BGF0EYH/6X3yvGNIsr8gw7oHAd06YoaBz+iHy2cXHgrH
gL2Kkhafmp72ZxsP3cSRjrgxKWS2Fqicd2yuLZbwrMti2nf5afVrL5aVbd+4aIbBlxZljuOvVgJu
ri8u4Cd4rBXvKFiegoCjmifamxT0Qmr2EjjEryDd5fBkFigt/mD1KsVdlaPafS4njjI7xLHwDKYz
MDy3HDdqEv/WgViHvlqsJOyd5VcVOs0Tp4v1fNvXjbu8sUHN4A2MJVY+s1jg6wc3z7sdbCDFof3v
442a3QNeUEttewpfd4uvQEtkSTNXgMKgj2SwAMwIS/DU1+vOjf7nE03N/gHcUx7wTC1DwCt5unKv
TB177k8zeNjjVqx7HARb4xgOAKl2vysDF2yIFYd1nrmlQaIKBaOdDPyfry+0RP2vC3ALziZe4fvC
fbDmTzmCKv/L9e3e+rRh9CUq92AAwqelwJ2O6r2M/LrcOalbHzcu9WGsVNYNAO6E+Xd7OS7tLy+7
8XebBr5UPeBu+HRAvtnL49ie7NuCBWo2CrhhByJ95rMkzIMBDHcui3PwJwBsNN+WSqZmqwAERNzA
RYtIMlZzeAjqUMejbsOdaOfP9xE1eX3xhluWgDksmVmLAGQYVgaMlO5erh+ZjdNutgoAmlTSul0B
x/KHJFjKo4Jyb6frNOuKHcPdODj08vcPN2pTsYnV7oJT6dXJ6ICVn7hp5U47n99aIMNerXmEApcH
9tKu8uNBvE1Iv1xfmz9f1tTsDahpWzUoKAcHTm2gPRHV2BNSPCrlpRNNNt0ZZmt9DKtFB0hjFTYm
4MkjIGQx6/IocPaeKn8W+wqp2RpAEDoB0HP5/ARQ230vRMJL+pWI3yFJQ79KRGUdIC9/IGqvDLV1
qAx7LtzAC6duAji2m4A+1HedV8Z1797nes8bbey62SvgjqSq7AxDhBVFCe1pCfckpjZ+/H96A0ZG
GrvHeqn+xZ9kHAIkY31GZHu4fqq2vm/cyS0DH2vg4JdTZIRGPwRYkILPCng4vaetsnGizL6AQpNM
TwuGaNf1Tnj8AIs75tK7qU+DmsS+0vZrUeVYIeE5d3W5xr4O49DpHrq1TlvnRsM2+wJUYftdf9ni
hetDsLwq7d5mcSarrycDSHnwEevjPLTlr5WIyFM3JWeoSemr2rYCcBLf7iAO1CCpIffaY7YOjnEB
I3oD/bpt00MwiDMsLOV4vClffPbHvX7QrYNjGC6lEIbkCj++L75W449JPdL66fqx3/i02QWggmHK
xh6flj7EttlLyL5Oy/v1b284AxP83xNn1A560g798h1t29FS3tYvSU1w2pzhYQ60B5xB+/ekwdpW
npVKQ7KiE13uPNQ39tVEp2maT24BUe2D7tSdJCfq/hMG9UE4z9dXZ2vlL3//cP+q0QoLO8QcHHQh
BdbToh6l6pPrH99a+svfP3x8YtRjU9fj44GM1+6tXX/f9mEjTKZOoX1OEfdkXiHv5Fqi+fn/ODuz
JjlxZg3/IiIQklhuoaqX6tXVdnu5Iey2RyBASCxC4teft74rD2eqK6JvZhyeGCgkpZSZynyfahB/
3n/6uTHZnLnS8HbhCmNuu+9t3eWO64KlF8o8zj18Y6gyHkSiFAY89T3PAaC9HRJ/aPtLy/3c8zdW
KkKc6aiEj3c6+aLTgwqnXcimC8fTmYdvi86icFBwbWBLZYias/b72u+hYrf/0LBva85WXTmIq4Rw
Ztv5F7IQv2s+ngovLvVpn/vxm7M1qZsToGWAKQVXI6H7BOWeQ3spuX9mrW/LyzpN0iizGPfI3AXJ
VeT+vD8q5557+pq/bAgtK1GX1Hiu8eOnSZNnllzq2zz36NPf//VoOuHCo2nx6C7MHipIv470Etr5
3FhvDHSyarZonoJfyV4HXKDw8WrOLhXQnHv4xj6z2XqWytNE0te5TfKuvUqNurDhnnv4xj7pnM2o
YzIxvN47odBdgx4fdSlTeW7EN8ZZ83Tho4fxZ6R7rVVY52O1/Hx/oZz54dv6sZlyiTgBPzxxL1lW
37j6oYw+VqCbbmvHBpCsCYi5mM+4uW79a9sc1jLZf+yXbwxzlNOArrkeXtEpBrQ3JZqylvjCfntm
yLc1Y5UFqpimeHin2huHtveIXzL5M2fztkxsmjJo58x4tKSvUnH0haHLMzmmhuzeH5gzObRtpdii
2mqGegGmNAgfWo4kHUIm7QZ00XTNlHPd/ErCS3Kh59bPxmQFIG11T5psH4ddWZRqkXlaJ/Y6a/yl
i6UMG8t/5AS3ErR2VXqpdIe5GK6SFEW4at7x7HtT/fQ6zCuos9Qfy6Nt68acTFnTrQ3W62JuF57k
QqI7YknIJUz2mfCfbSx5pENJRy7jHU+eutTd8uV5gU60+rmQ+UJm+8yEbOvEYtYlMoNk9m6Utxzi
K/TYQ0fmQytrWyAWuylhWYBn9z44pMGrDgyagX614EqEU9E0HyrsTrfVYS06J9ulw2ts9TPp0/xk
3BIheXfpKDhjgtt6MFzywb2sYr7rLLprw+xx9fa2WuOj6c2X94fqzAayrQgzqKSYSFBl+0607smV
7fQ8u/VCoca5OT699K8jOB5WEzcVLpTQy6XnnQkG3uyNJ6nbkUymv9//hHOjtDFtXILqIPJVii4g
P14DyyxvuBdRHnbBeoVf0D+//54z+xXdHMwJMGZJomi6r038o1kzdy0jawuL/iMyow+QheVyN1Jy
Ibl3xga39WFytX3CuEv3ru9uQG96S5f1m1Dj9cqWx6whl5I+5yZpY+sNQAHoD+uTPfSr+6JO0TGd
KNvn3sJZfX/kziyy/1ckBkiJQ5NZsocGwXBgqBq+7XQrL/g0555+mq+/VlkN6b0S3Q/xPkx8+MjL
1s03poUK08d2qm1hGER8lhZNyvEuGKZCBjEqm6NrNNh97AjfloXF4TCSLGnZPooHYNnQ6nnQa1D9
+djQn2b978FphyaLZMr3aUvocgi1W5HypLWrLizTc6N/+vu/XtCHkGpFUyrf99E67QT+dJcMYfz1
/Z9/xua2pV7RWFWOdZbvfUuuffmt7vu7OuG7cKV3FIpNFgKV77/p3HdsrBtd4X0ATXe+F3OAHmSR
jegFDj8W0Ucbt5tw7UZwPxjUPWqXXaVqVu4BkXF7idd5Zg/c1nfNyJAtIKWw/SiT2zDu3qJkvSZA
0dJgvfANZ16xre+aU+jRyypge4gppeUNUO/DvSdtcFyjiD6B+a7ZBYM796aNQc8ydhL9vQwysPVT
rJurps8IWObyKE9/eH++z71k45Z7bRvNOs/2ZkajUTi/lEvyLPv6qaIsvPCOM2uKnN79l22IKHK4
nYnYvnPcPtfM9PdUONygvP8J5x6/sW1onZMJWVjsHG05/mrKcPjGhyV7ff/p5wZoY9gdQas9smds
H89AVgvCln00aPSkxzSdigoM4kutTefetDnAJ3QLr50Yuhc4tg/jxA8lX0ABVv19yMiF+PHMabpF
u49pWfo5cd1L2lQ/yk4foKz/goTG8cREJBzU2Y+N2sbSU9TPjC2as15AB76H5uiEjCy5JtP43AyX
GMDn5n1zYocN/LU57qO96WhzMAMN80Dg2Hj/C06r5z/CmG0BGEp6RRtZPh1XEHo+r3Ca9zJouwdE
UO3HktbbIrAO4rWGs3Q6Nrgdu/FBJMB5Qxjz/gecmept9dcyQE9GTirapx6ITUHCnwtOiXm27Q51
hXvnwuv3X3RupDbmPUE2ArrbZDpm87rmgW1V4dtF3NKTVsH7rzgz1dviL0iNeKaT1h2rDPk8a1NS
2EzOHzvzttqyZWiWUS4LPoA7KJoE6H2HetvX93/6GasON1bdsywV4VpF+3D2X0IIri7SfsqW4bZq
P/r7o3/vr1E38IFNcXbsdX3jM1XmEBa+VN11bug3ljyJ1ZWalPaooV5UdHMzFF5AUOX90Tm3djY2
XC5pCS0hMx6raC73vbKqSFDceUX9xQTOf38AZEf/PTp1EkNSY5nHIwvu5/JPcuky7txzN8fzpKBn
VCmdHEVG/gnjWO2lS9SHliTE4/79o51MGlc1JcaFxPtMgbXMLuGozv3ujblGMYOM5Rzi0VWQzw7g
uupjeyaaZ//9q0c4cqZs3HDs1/qO2uUVLd9lHqWX7uLO/fTT3//lSGC7TCs+p8MxWxlpH0gGidEj
VYuOP7+/HP/bWNHp9u8XGKNo5yY1HGMdHwM1flvQfsgBVNPBpRaS/17xaCH59yvENJOwbEJzREv/
4wI1rTxo49upQoPg+99wbpA2BjsOrYSSETFHN3UmBxjP5SNpPnRkJdnGXiGOHnSL74fjqCGFD0mc
HzOjl0LwM6O/rdTSpczQBLbg4aPx10GY9Tc+GufDkMV94ZkcLhjXmSnYlmulQXyiA6bmmGrT2mJF
MYMrFhWFb6w20bh7fx7++/xNtmVbFQ2jrGf9fOwDtAUQioAt+toZc+tEdEcjfvzYazbmLJCfrImm
7GgHvotN/71dhoPuY8jVQ0SKo0jg/fecG7TT3/9ley1i0HFcpDsSke3EZHPTARnKLzU7nHv8xrRH
SAG5KYUgFfzGFkqZcwS9JmXzKmjrC19wbnltjJujN2weoeBz1Im5OwWHJ9c6AX8Pa+zLxwZpY9wx
ZAgiJit3nIPnONS5VBA8n+KPWfa2jmtJodbcxaM7NjKDSBGHjhFJ7IWSnjPbxlbflc9UEaWwbRAS
lCKPRgb5byrHCxvHmfndVmuVsZ7iuVLmaET/isa/txOJtSL20jXNmZ+/rdnqOh/N01hGx4aU7a5s
WYXbjYtP/+/8S7KVclVgZdTNkNIj8KCfT4xmi6Zxyut9o9ObYMI5SrsL9nxyS/5/3JFsK7e49z7w
PoqOMkTw15Fr6L8UqD//Mcbqus/mT2WtXnvY9/sr9tzrTvP1l1kDTtlrYxk9Ii44+tbuE2ruk2l8
DIFz/N+XgQsAWdYLscK5adqYuQmibFrBX4WHoPF9VVL3n9aR60u5gHPLbGPjE3qitSORPk5N8nuB
6l3UgRlTQ9n8gg2ee8HGwtk4UKMGgn1qbbBPpev1VCkUjphLtJszx0ayOb4nAkEcHUpznMj0LSTs
INfuGuEVdBHRmp6I7MKtzbn3bE7yIBk0tQYj1a8eil/JvrPjr6TlB/6/gsRLrzkz4duiL6GCMoki
o48tqkryaQ51If16aUc8Mxvbsq+6tAgDgbOBXVqXu7FUuWsUpG2ANP7Yit3WfzEbUOaWRR9lM/yy
app2le0/pkKNvup/W5+PObV9o2ZwP+xNhL08W5YX5OO+tRBiet/Az03AxsDL1kNVm/f9McjW5iAg
/HgXdvWldplzT9/Yc9nyEuK+dD5GM//Dx6luPs1r75vn93/8mUUab8wZ+sd9qutZHXub3Zwc5tk0
V3GLcUr1PaMXW77OuAbxxqrjVnUQcVunY5hlqwOUfCW42kIGNod+d/oZirjV5/e/6NyAbcx7JAga
IVy0Hq0feE58m4KYWn3Qi9rqknleBqVvVX+MUQ9f1PEafglZx3LAsftf73/AGZPbVofJbhh5pqQ6
EirnwjjIL0HhtgTr52JD2ZnZ2NaI8bWzA+WDOg7L+gRezK/TVQeizatTpPSxrzgtuL+OvcrDO8NB
2x0X+IOyN4ew4/dzAjXfjz1/Y9gyWRemICx8pGsHVWc1A6+HC9q9MBDcfP8V50ZpY9jCBnqZIoyS
FsHzZEZxBdfqvmYN0JBd+/qxl2zsu57jcIygjHkMIXF55zKhP+PcLvcNZIV34MvWH0sYJ3xj6TEX
As5t0h7LsH+l6Xxzuos4+SED2hgvTMoZ2+MbKzfQUI7R/9Me42ZackLTbsfm4FI/wrn52Fg2a7tl
nVhTH7HhPkE05bbi69dTplXLS4UQ52xvc2ZDBzobx4HVR+haU6BfdV1kmQ/eUILb796f8DOv2BaY
VWkgxziJqiNP6N1CXFPAq86DFH94/wVnJmFbZLY0wi59v1ZHF9KDyuxP2bgv7z86Zf9zyP/De94K
lPFqiNfJBHbvGr/WchdQlOK/GLSjk3m38DSRfEdVgL6eQnGaDdAsR7sTc7hDAKssypEZCNF8Y0zP
RJVnUNiYTCGCOKj83pmyFz7vR9lAC6tjKDTaoVI+EseYtwPmoht9TH55j7Pkd4hKvUA8KbHoYNrV
enTxt1iPnfnh+3rpq9zrtS3foiabRpAuFieWvKJIaB0g557WS55CnUzool6G0YU5557spz5qDouJ
wY2HXHI41l+iYFZmyGlAeQWl2Zm5KMzd7EvBoC2XZCWcopSkSDLJrmL2eapFoCiEya1K78s09tMr
nUmDYiBwuoolCOvfslv7xUGZOG0pqi47HZDrE7I8CG+7GCIgTxI/aVj3QLf2EaT31h55pqLrhE/I
g0KdCQ0Kko1t0OCufdL1mpM5zvpnhGelG/LO2pZDqqohgINCGF+49EfMJkDwXGcCuKJQ4q6Tbwuq
Oyz/1E5UxS161z1tCRg8KfE2JwK34D/pNNXDo3YtxPOLJmJpLIrIkTV5VZY2zBZybWzyMmbKiR8J
2KYh9HFbKNj5ompBtGB7W4sMCtMMFXamywkqTrsmr5fZkjLPBgje6nyBulJ8XTVNi4y3rCSYuNcG
lQRNhLbKlce/eoEQrcuntC4p2OejSO0fqQ3PouchZhW9q6Y1eMhSBxpmBBpfiQHTQ3Y0q634TTay
kP0zn9r037Ix9QNIrBBqH4EHiLgVtFiVmdc3iLGH9Zd5Qvf7dAfd7yUZ8wr/k+jyObZQyT00ljI2
XfmgFRA8BqEl9W3uXfYGnoD1UHFeJggOXPXcVwBfZIwiCPfMrlbkEqsp/KGaNsj6omUpF7+TkNWL
2AsOebnHgDRR296FvOH8ZxCIiYCINGta/tBqrRKao8vFVy/lip/yRUdyHZ+Aaez7hzFm/VhdDXYQ
9E8Wo9a+LqJ0PfWYLUHnh71F9o08+ZO2GKAfHdrsOsjk94OZdskIpZ2XhK99VeXQzrL+l6+MHep7
bERzdu95EpduNwSJmkje2yRBllNMWvE2T/o6qNY9FYN0633Wg4zya4ZOXiwLlfbpeg+BzZT/0NyI
9dCF65gFV1IvlH3LSNCkKWiMQbz+s3gVz7csNFPidhAPrqA4sFCafg9mW1l2p+MwrpIdWwfFrubU
6/IhYmWinyhWFbldUc5tH+NRB/baLLya7qT0gYUGQ+ihfL0ufqm/mCXywSsE1Uwy5EAniBxNCRFu
uCTgWctBA4bTQUSB8JG99j6dx2/JwINyKbpoVOVLxj0dfkGPXjRZHkUj7W/6MosQOmqHbhuoMg7A
7eaj0pV5HrI0q0XBWqoh6a7KqjI+zwCn7vbd7GXzWwYrshp5b3o1vahonkE2AE25uWr5NOufrgKs
4y7gMf6FupDRu0PXNIR+p2rK6iOygWOwayshMoD+rF3jZ0uWmn2BcnTnDhL7IBe7JpBh+NM2jasV
1vhiR3VfJqnFPXfkFCr3c7TaOCS4AkLMCz+FLBJwAwL6mYFoxURzxzyRqliXCIbJ+hA3jW9CirYj
ezAaBNo0BWQozB0/KVwLaEPYMHiDWtFkvwwNLePXCRyCdDcsZVjj5zb1C5B0lb1aK732qO5k5DBM
3GQsr2sGue4C1ijIF9c2S/Q8D7rtmxxy7TZ4U8aSyewkazN0kZStofUP0jboFCx9JqYqbyfI4JsC
uHGoq+wgszJXz5BnrCwa5KNIZv/QTrb0k6iSENBXiIAuEPdKZtP/idqp7b8mE37eP0kMSMaPaMLp
dFKR0sbhPqgcoHVvdYLNTPM6mb5aCuIXOu8gFeOKchzH6eiaRvM+T6sAqJEc6glT/4ztxjSPyPRV
6ydo3tOuKgLilftH1FONGJ11tZDXdhj6xeeY2BEVowDHdtPPOLXWP62lx96eOzrxBEvFi7beEVUR
fRhGUCRKQACsjn8rEgqwGFLKG/fEpgFNxWDRz8Hj2pG0+wqUxVo9omUL8ktj1LrUFnWN7OwL2pTk
ekf7rqu+l4vIpm8EqIwMjMpFLGi4Xct4ZFdDsHbxc6Qhe9TmzpbNSTx/LOv6adUqDdmuoWhdznIW
szi8Th3irS7PapxNfW6hv2ibHPkaU9d5Qh0uM8CtGJ3RN4gARZZ9KWVMVfPgYSlC3o9V16fubsXB
udgi0lqhtKHIBK/HwxQYoBOvBG/1aHJXoxToe+aHMHjEbolvKcLW9MEbAEGRhVRYrzjEPqgcuuvV
Iv6IirSqNfkN+6U6zmUU2Chf4bd8T4XDWjCA5sQa5eARxNHBngP59BWEiX7wOc55hmOn4lXtigA6
+dg5QS9gOxOVnbxOV53WOzWxpU4OwBAg51bIZArrENyDWnIoqbIk+DpPmp3u6VrOPnkP3/UKcAXg
30ESCJfkkxs79NjmQwhHds2hlL+i5x+oNw7EWFz5H1nXV7TI4nqp7aGVokagyaYUO/2u5K1fbjO5
ROmxpA4swHyiqKyd83aoUH6Sd7FIYO0+CRSu3EfDMm3ykQaoDQJtJ1NtD2/I6QlANmf4mmuRLgu9
wmT6+bmqkCr5VcVG8DSnlW0ZpiJNxS5p+DiguTmRc3fNk1LpX85Fhun9oMK1y8MafJfwStQhxhjY
w58RPhQKY5UnzppdR5M4iq4M/rOMCwWgHTtSIIX67roCBDC+LsHn6O5L3YrqSWAX6ENcbjrgL/J5
rnt9L2v4F0MR0FaAipZSbOiA3QuLW7ggkAAvh73vvzFNHYg72TyENyGv4gPBdWaGnv5UMgvfc9Zq
aXML17GD2qYrBSkLJy04QLcQOXIgm8bUzORRtRBtv8axwrMdnE5X0p1tyrl8BmTGsacmg6Pa7DKn
G/aWQaSl/iTaklQ+r1i6jOvehMnXxUV1/KImU63f6RrBtSgyLRPHdpMoAYcq0nT2K0AVU6z6h5UQ
pn4miTFLkvcsgAxPngD3jMjfLppMD06E48FCYw1m2tGQWwAsQZCoARMQIw5S1CZzGSnUQiSh+GOH
jJvPXdVIBs72GpnxNpIJSf2VmloGYdNJJjL4JWx2EqEXrPHlkmeZkeVDAOdB/Rm9jvSYm6amvd1F
HFSEqMjqAEXoI4kDnYfjTInNMdJLHCNPMXf8QcEjm34nVsEjhkK4naFSs1reVf90a6VG9ahWEo7A
/cguXd19mzhB9zqFZDbboaKmd8s1Z4KHMu/KMcVmPsXxEvJbt9SRekSd0BgcI1XV7VcvHQGLQ601
idHD7JtZpbcxNlxn7qHpWFWfAtOud1U4plrnFWSyo6Od17S7F5MUBlX6pdS0uY3SZaLddVgJW+tD
JTKtfw0sQji4g6gL6XCOpyqZh8OAfwC0NCjMTH/TSlRCrnAJ4gmET1RvVDq+bms1z3oPd2bUFlHB
zIfmGlhb0tpj6uMhAqCEzqxBHYkHmOiAK15drYUSJKtmcEP8z2CV4N/oRkm3g3fN7adUTZJNcObL
rG4Lb2kdzDtCweNIkfWYmK+L9eQI1Tu5luE4wl3OeNVcrU26AAvczDW8g3xSywruEsf1CiTU4CUN
1e+VD1AqL9IZ4JSvKG433WuEhpk6vIHvQRe7B+LSGmhiLC1bIRRcJeU63KaDQNh22yQ+1uRq5iNN
9FWPc9DYTzKkdGXIIbYKfYf4Hlsz8CA4dTKH8M+Y3oEyT2yFWYGc8nOilpF/XYnWmM4wMcufSoqo
9QjfMs2vPLJ5ELNnDUz1bZyWBOikeBZVmsfQFqUwZrLoFPylHjJibzoacN6n1QoXbpfaKuCvRCyy
fZZzNbZPugoF/TZrgOSOzTiXUXiVNUuKwAzMMp42RWtxuRjnLQ1b6LoA+YUqpXwmuLlOdsB9Ni3f
WTWMi9ip0qLzJua2nxCcuMCOj23sSEtRmdXH3ScoQrCgQpeRZbbfRQ4nn9pDXXRGLAWWHW5RdsDj
zOl1ycekX/K2DJM1K2Y1+/ibxc6wfm/BkZ2/2lABY4qu606FX2TVZI3dU3CnsLdD0ELgTPfWz82d
SNqV/UPDmdV9vsL6e0gVd8TEAKkkYaggjjhFpWbPFFSpbMkbaA36Ju/jCGyePHZ91ugirkXvfjPg
s1BGtSY4A7u8h4J7mOT4dgUhKAIle0lwVkWzeAN1aSSfyHRS3M0b7Mk7BvoLzh4ZiRKNXAr4pWGX
zUnmVA5UNajoe7hv9fq2rPWCfTxGKNLfkYnX5fAWZUNVE1wqKuXDQrnaIe7ydVMzlU/IHZjsscLl
1njQDCuNo1IqrsnnkPhuDPGpSXzqYYRD1/0OOgN0V1EO1re8GJoQPSDwC/oh/SxxdEhdgExVAUKE
bXZMryFCgmUlwWzh38Nl6KPnlbSIDihIaAA0JJltAShnagAldVibZcqVGBL5UFXehzvPAQxROQIj
ru8yl8yIasVaIx8MP4pS+WaSESsxj3EN4Z+kQaulymfBSPADIVGf3iVeDHN7DRQYW782NhUCQbw2
Uhngc+Q0fo2Y0fOcs0WkCMJaE5+6qfuQyOBH2oFb9KPMTNBHj6gQbILHgNFaDmg6c6FRdd45Cnxb
btHgNtczSV66REsAxbRc9foJq3PB/i5r1LeBJi9TpBLudKSykEHIp+uCIF+GJf5TBg2IfSsim8kX
Q6gBVCoiZIIowi3QyFRWUL86116FjvhmgfvW6XTedRV6l+7aZGoN6D2zmQPsCENUg9Xn+6pP5X3X
2TTE4WbKSfT7vkRUhm4zvk61LdCGiSQPrmdDGFMOLJglv+MgSORUaJ+Y4DqWtvdfmnCd4eLAcWxn
kLJE/dKlvKNwqHQ5w2NegA6jv4XwKf1WY7HUf8oejBoHx92Mw5Mcsd18yRaUVn4WBKLCTVGNK0nu
uogBDoQQmPTxMTTrqc8U8JmqRUhPZoGIStDe+K+pgx08xJMKYVaQ1Ef1FCCADMp2Tpt4up9EoMV1
Atgd7fJRzmV9wwUuOJ/a1QTO76owhfEWFO2yFck7hETN48TA6xmL0tPG3ysyRdGXqEMa4JoOwIbJ
XS1lFL+wqlrLJ5Ru6qzaQax4QL0CQFR4Tr6SeNLmay8qOCIF8RhPep0OQ6xxdIYO+kmi721/XBBb
lMNhmpxFrrYtoeWUz9yt/WGNx8VzlLVCSw8gMNKU8FFxm25PhLEVOndXEXDzcDxmHXoTwv6jJPzW
cwriVd6lipYVRJSASGMFqE5cUGT/4d29jAlaSKciLNe++0VCnRm+k+A2BWjHDFh0kvDFHjPMuRTo
NEf2qEVqri/YKWHEIF86mugVNjg0DKT7KbCok0ELuomLAb4rbjNc3YunHv5CzQuOwsQEwiOqDlDP
b+BqNm8e+/h66JVp5FMVM+K/e9tanp9gdQy+IbT2zFU6R5w8pycn2+/Rqq+qbzW0Kvv0KcxKCGfv
daBrF1wPpMtqD7A0brGi/TTwiXdXEWgWsbtmM509EkgIPrs+n3FixOr2FJ4BxtdU1Re40jicCqP7
yqT7xUF8jVwnCDu4vFlJBzEPDOM8u2nn3EwQ51aC6Kkp4EPO02e01shQvaLPBioZecuRQjW3UiNB
J24CtGm44WUSIn6enEripxh2g6YrGlRwJHbAsaGTsB+QL4yPLOudQnyY1Gg4i0U6l7hNqYBaA1eu
avYL9U1bDKZHgS1KWCTkILnAvHS56o3GvRqTY/A9jWl0lcbjyxKFriwkbVr6O6ibZR7zeqjgP+aJ
tpyqW1sNiJCxy099+5yCnlH/NAAg6kOMRVSeMBGCwdCa0QLUh+9SyDJe9cBbku/LAJ8Gr/cSErlI
bggSvIAGW9kY197T2IJj0VpJr3D2qVLfzIiIbfm55NL1n93YTs0bbhkDUyPhbqbpn2ZqQBMr0VnZ
fjYtD8e7hOPky/a4t0KN4r7rm8g9Rjh5YV1ZNk1szgEQb1q/L2noqLjqEcrJtcgAvhI/IYTLUwxH
v8b1cIsfjF20WLjw0UnuvjV7zqSKAI7MUBFSuJEj30XLqILxmdQmv8KMcWDzFAkU+wK3dqlN3lN0
yF6lJxUN3J+Ztb/WTbBS5N7aynBftAiAEDpFE3yXDlGFeZraGjA9AGYTqJkj1YALN7A+gaD5xuPQ
ZccQgXP9FnXYOI8mmDqwJhJEBNUDg3Zy/KpVmYnfpkELA2pj2nmBxLpDeiT7hIRLYL9isSr/Ag+a
pg8glKw9UHzS/WwsDvIyN9Ku2d7PSO8ZOGYyCx8EPJTwRtDE259tw3H+RG1Myl0mm0zvdFkZaXal
ByYzjxGfgO3rkEZpn3ErVqfuq+CIcGiBuXXlY+985Panht4QYVuqWghqoW/cD//MQx0jb5zVdfwz
XIfafYGstZx9kYXYr5ZDGSVgSRWJlVN6wMlPXjo1iWQHfOLoczPAB87XitQYWFnW4LGGc5gUgUIw
eV92gzMHrNn5iq6kxrCIUya8Yh64UQFoan0nEHKMt7iHgBwRiUjvC3xwhwS5sqPcZ1mwfitL1fyo
pMVENbNhwV1jIFqCgz4KxhA9w5AMzdtsALZujG1769mQPC2IHe8oq5sHPmnEEqyc1UF0LGF5xIfp
R7y49Eu5dtFXxObxGw8hxr7LQmtvhhaNAdFMAxxVPVHXMQT6usJhq5+uZyhJhRjRqnpFGt+/dB03
vijNEP0YuLefOj7P9zosAWw0DryQfCgdHQrcKc1XgOnMVxXt9OMKQAndL5Ivf+TKWfYCFhuPjxSS
kQiijSYSKfF+tHsltBx3IHjqn1MWDbcZBUp115bNOgHjtmY8xyGufiGnw6c3VOyfrj4HZICvkD7U
etfAWJCCyBbTX6s1yIbr1VdkPaQTpHbRBdiDMBtBMdHk2VxW4QFmB3EiVH2AmFhORn1ruQeWtEcT
OxIOcQ+44JAlwy7ywr8NLvQHymL4AtD/BxFTLbN5ykg/JKdGF/7aQzHklwKgkcDyRyYLgTMk2c8N
q7/xNkzRvJqIpconYtLu0YQzlKrpKJpnNPsDMugYb+gDYJ78JYR65pqHbdOqG/go9AEJxuiXJCm2
vMp22YGOMOAcHbIRMl08WMGv7RYAWW8GpIzMHoYYk132fxydyXKkOhaGn4gIZsEWcvaQdnmosjdE
+ZbNJEYhBDx9f9nLjr5RtjNBOucf1y141LBc4WMw1ySCBY2kQdFdxvalb9eqTLzJpXDRQ5p6saqp
ArWWjH6MHUv3ppeGrxOgtYnTtlyq4AyunVWp7O12SrCP5UPqaJ0TlOrm+sffOj1eTWUPPc3Kyv3N
HrL6uzFaldxFclt/U/g4bTsgRzi/iWWmpvx0HIr70IkX7zh5DN7HOCC1FFxGYAel5EIvtPaOXH8c
9NsCUzGvRXBXLhibEyeynRfGW+4zUlVzJsyCGvGTf0M76H6M+kcVBJa9GxDowdz0racT4gKpG18s
oL80cw3fPboAJLkA++pvPa1gKnk5Q35BMAbqPGt3/QGPi6vLXGGIPY35wCbViqpaHnLr9lGBWoz1
zhWtf/IJsq9TIWZx9fyg+lUveaMPblPx1IrcZlMcqrBfzjOTKUWaxp+xbrSrtew4BPhv4q6W3bcS
a/Ea+aEaiCM1o3fAKU4fX+yVZXCoTADEPFhUxV2iYRnvfcWDciqYcIZnehCCRxkVUXgwm4ifGz0W
sCNhw3gfl/rDqZC3p8FgyrvepwD1KA03/4U0jfB2iQeq30/c2HHq265u02yz4SxkPQkqmNt1A20l
G9vjhsZ98k6YeGGzPXQmAHOTwwB20W/VM10SPP5jV7mPBZQZNZreOu6GuC5uPJflfILl0nEchpFy
9n49LCUfHrdcssCCvTpz5r3mfdHN96aY/OUcQYQORwfO9RW5c3ulrSEIn3LP8Gr36C2q/cQWyA8f
/Kg+9lJLImS2cLtmUvJ3MzOpV9csskhGatyc37qJne9C9OHXUoZFxm2nC7e6whdSQgDiUdppyZzv
pD4mNj9tB5cucqdup/ICkmmyDz3qkl21Z/B/VURG/0g9i35HxGigL549UnYLABX0FYghMTOPuqJu
GnRxs/3XwC8gTztntqd3YwnDpdmjjKsvNJiukPp+0Tspuryp2E1TXsjEFTCdO/5Ke/3uw2zY7hhF
3OFJwddBSo3KClIDgD2dlM6bv9nC4XwELBmds81/4yd9Pa7rfbh4Ykob7myxm/nVbBauIcteVqa9
lWpJULNk9ApIj2b2g8fG4zxnAb8d/NyOQXOSjb/oc27XtKlnt8Nrr1RUffZbVH+UTHnjv7qna+OU
9aV93ZaBX8vtyAhMtiHyrs401zpx0THc+yQrkReNwZEmYKv6s3SFvnb+Mv/BMtqyQ8dWx2g+L55/
DCO7+G5ULXSqx5mi7E16KBRyhMrpGAJxO+VqxYlSbBdpZHvqQixB2R6ICxj+TY7r92TtUsndHofR
CRYGwWx2LhOBEv8kAqZnh6nIT+yBJOuDiiB271xUSOecbbz9rxug1tmrA/cOK5r6tSpgzENIc3l4
qpsytr98PbvjHz8vHXlAdBcxpAzSe6D2eKLCjAvI2lEvNMg9BCvXoD3V3NwMbSh04A+W/8IKOmdH
+S+rp5hGq/lXtyZq/pGp7ql93bRr6hCT+1yrpqG6uWy69pdx6jE81saE1UNGbOV8tKAqitOixyw8
DSGba+pu9ipSiQnwattjPZzcAr3Bodv45B7WioblE33Hm38eM8U/OeKIqXZTVbr2vWfNleBpydEK
0F8rm53O3Xq7z2rGljJhqy+rfR0A9h+ZR8Iyzd2gb/ndWvUU1ab+z2F/iy7rkikvLTuUK0z9a7E8
NEsEiIrIIeSozJw4virGcPlKJX2Ju0DERdWYY7luOh5T3w0wiWtUc8OX6wgabsGRne2zWyoeHrXG
/Zr0Y6TuS+4hiovHMfss4SuuNkjDeBdtmuti7kZn2DsE1VXsk0OM86YqLQocU4es9xWSph3amnM5
ytruZypdOq+Pmgy08U8UFbXq/6zadyt5XSj8dM39JG27r1BexyxD3vdYRBmjDcxA4V+kZavVkHPT
NWJJBvzUVAoiJbTK5Wo62TqPZeDgkNQDUqF/UseOeGDRrhnoowhgO1ytrUujmiWmTwLiQYor8hEr
xggDepZWdcuiHjFVix0TjXR303KTvLP15u80HY/LzsgY/C6MM58rPXcKgGDX8do7aoNQFNhFbfk7
dyAJ/kRMcfxUuu4mjtm8qUeXZ77YB0u/glzmtuWnGm4EgFFXNJlD95crMAtraqrmUOmTI0XdPbXo
3ack8uLunXV/uYrNGf5xF/h/7HiS23PTh+zncpp61Lnt6vXXWUhcZ7XjBBPPi1hN0lV1Ye3HZhJM
9PMyvddMst3JjoE0zyt6GCsNJk/6vNp0xO9yI6pLd5uo74oN7iqVIuhfmLiybN+4o2j+6CmauEqj
LHwJotl9Up0lvb3shHDnZO7LmAIzB2KP+1dV7X0FXbxwmhXKvurWrZsXtZXdGamEbK6NunXGx0MG
8mGCJjMnZJzkJCv8BrOXolrQ896JRpeiZotiBTQRwt12iEV4KyheoEyeEVUyWonQq/ZVGObyYSoj
hCLzbHMV9nlJH5jKPbdLbohSfe6x5UNE85VVe38iwnE3+tKp93lbOe0p9NCn3G0kxb+AX0Y/ayXj
+3q2KbnvFgqpnqpahL9DGujq9wiC6rvy++ph7gunBaTIXfvBcgRHcNLzhwAAZK563WAbInRNq7fd
t82tkVdkNJcdaZUpNAhDaaI/sh/97bMVWZAXKY953orUuCrf9u445demNQDIe1NaTXuN4c/zXSx6
S5xde9Lym01yjq+rTeB96puJMw7+2NcvaBoK+T4JgdSjRbAjDtNaUii/5GX83tpN3D/A/C6fxWjN
20FZYb689atj6q86bqQNOD0IC1lYbUREd7fduNH7LQOA7vjIdZy/oanaK9OfmY4gVkX0RPkSNuJd
s2XDDIMbk8Z7XeB8w/va1xpyczGF8U5mqWR3ZqWZ2v3mi6I8qNobXHIYPOMdl1nxcVuwMcWRViGG
P9eo0Et6KgSJ7XJh2fe+scd8J4Gy3zSF6+IMCevluzB25z/hMIv/OJFcBtwxsqa9GvnlUtvqpzNa
A1q9CMDcK/bVbM8W0sdna2kz51gghqHdc9ZRhQYO2YccHlUv9LaThKnr+2jIAJCTkSmsvG91PlT7
frTycR8YO5+eDLB1/rdhcbSuVlbeUMMOGOplWIblznJN/1iiyfqL2cuO0s4Y9Naz8qcJWHqbvcvq
ZdtED7rexAO3Ff9vqAUP0sZE+OAva3Ote7HRy9Jk47Pt1/HFXaIm2nmV7Xip32bV+kQBVve28amU
qenzYtd7CvzYYs778hiaT86GmP9vyVPZnRY2arnvURD9bSLjvyIMGe+R1cY/sZNPr5Mew+ce7cxL
IxuKO6mesf/QrMLYZUy9/WO7g11gqyueDOE7Tz6r+E8mqzYHA2/697Us4+i7Yuv2jkMbCCeFVmQR
B27O/5l2BYbU/VbeUxMozA1Ebx83+Od/qGwZ2jKkMTtikNkwZvQ654iR4pAPKBlOJMRtEBaLCjvb
Oxj6/oarqCI1e8DAsRCnqCSqwoGkXVKInaHjYNkgrmwmLzauVdbUWDjqfYr89Xce877d9Lz5bpIz
FEFfTepIhWlVH/N5MGYX+0v9HK1UQXGkWndzmFX/SSxKZ39aQFknk9sZ+mBYvRW+/9zbTGU7aavK
u0ydGudLrgWt38tWoyUpye/SfWfeAKz9/eR4nQ/OrLX9W5ccmJTWiP+m2R+dQ4ZrZEzrzWO4ZkwM
tpPte62dOoCI8c63eyQaOXJ6eJA5ZwqAZ/HfWbduYLCvpnGfxV4epjxxEeqXYun3VL+PUMFgIo9B
WY7zPmf4UynpAl1wGL1WV5dmnsr7QrXSHHJL2jsAwBmEvxi3dbf1br7u67Csc8j7cAtOYFbdOxJC
D3Tb6MZOMrRCpM7odrzvzW0GBHNEjicj1iXSRPCyRjK0awbzMQz2UyaKJxXP+ZzyixV2YtsooP3e
5P+o6oFGYLKmErULW9fsVn+h6Bh5WvkCl11d3T5qi0dI5EEdx3LwsgPCqKp5WESvu5OmH/SQb04G
sD8wy0TxVLyOggfPzeL1sTGxW5A/voiT29vIxnMCwp9lMM+XrKucV1c5rtkXyoJLQK1is3GpsUk9
zy/qxFNa3scNYX+JJlC+OoF+5vbZF6FpUqmG6I2TUcDDbxVzKKAURSDwjH/5mkGzCTQMP23qgjpO
M8FD11rtmKw3/HLnDWYxKTRB7KRN2QYPk+2KBD/8cuIrBf0yzPCVAUKYrVywSQAE+EmzlaN1I0qF
YcllhSR3wWNuh7w+anQh3FuD1Tq7fPNM/eouUv5rxVg81xSk7N0W4Dsdlpi/t6ur6rw01ribxsq8
sSy0Y5qVG5SoVVf1D9Oxis4TSrdx149udVziRnyXdhTJE8U0ipC3NmP9KCyldlmT+cE+lo7qE5cb
k/nfzaoHp4F529Hknp9V5nOw2lR+W5c6M150ASwMHpTb1P9ZYTwoGCmbEwa005qSrC63h6YQs0pW
IvHmHTAi345HTNB9FNAh1MTLug+KijG5MPmtFDhW/WOdC/g1UerfmkjDHaS99WvJhP26mrC+lEUb
v/sOOBMDtr/uRZbRI2rW0ftV1jWjYt8i6EPtFUaPmurGryaTwv2sq2y18kNTESd5ynNvtp51jkI1
berBdGztoK2HQBkEkGFTljpduXPnI+ALK5fy+r7kZOcY3HGEOfo+txrkNEEZjX8dVYMKstV66dAN
cHmljkJ5N7exgKFtRfdpKOc+B9CDBfcjKqXE7XgDFKISb2fQWdw1VdCjqGmC8h7wvf9PB51zzKxW
fGwVdAvIa180h9UJoLHCSGbRbtYARcfV8uo/Y46wKK3tvn4bwRSKJPIhohPVN63/AhAd3PWBKOn5
tHhPEjh5/oi2gaI7lERlTGc7Z2lk8xPe9sPh1le/6EOyqZPJosrcQzA143FGWZmMYauLI0JrXZ6z
dVTzg7KK3EMX7OC69Mka+vbaHJp5WKbPqFbr72JYcN3wrNNH48dz/dOW2oSJNZb6Ra1uJw7FXBH3
siorf5a1GMhijAPl7kg20N5JK2kUSK3U3a4HDNOozY18ioPwFscFKrknBlE5idCcFBlg8VfMZ1Tv
5LoZMhAatFKOrJrHaFbNi8588cebK10mOSO2TDNgrvGgif+kBHPZYno+nM77iejMZH4ew/W/eM31
79Jeqv9cmbsDsqmWpaDPs/nSZNXcHno6WpcLaMZNM1SisX5EYOGlDgJuccqxVz/7xgoVc6sLuNxr
2/BJOvpujuL29+gpEdOzvNrT/F/Bi7EeRGeF4nSTRtwRzjGn9Oc1yAz5ITCSOepvsSCxM5WpL9rL
YuTiwn3OOuHe9Z1jfXjKsva+DwtvWhSr2r/90pDNxGf6MytHWS4uil4UoGzjVXHM44prk774I2yH
YDRfisrftxUKhXAYAkOL39Z+TVMNfGfF2p+hXfzp00Pb5h/7ZZnYh2QT7mdLEFW3bT9bYBxYztaP
xfmGbEm6NqV1Zj1Gxq9Hw+UIfec+otoPP9Ev9+IwQgi8zNbifvIM+NfAHop35QYZobKFApNkokUx
xCk8/VaOPf5xJ3ttdxKyfzcJCRLjqTh4WmFU93PsoL4hxg6HQKgKiVDa1M5nV1SjfuwztkZgG7Hh
QnE3s496fjTgbuh91Vu/vmyCo5XjlG9yDZz5j4Wk8gh2vsBcuut9sOX9XRUEt/Wg8bu/+AiK75qo
h89xAm9MnBCiO1nLbtSpHCzHSgoY2EOBAOdtmXs9Hlzb7dcTIlX/gzDFOgmRfKUTIyLJ5dzVB6Du
st01Q+UQwVzrwOFzWwOuvCafvtzFRwi62ms2ptpttmcWpPFOAQTfBevtyMcfu5vhTJF5Rd0ulxNY
+DwQVVOvTnmHkmeMUksNstvj1mYcDGMMFrMLz9kG/ZSUyMaK1OjVSoZe5Xs+5bJP23EaeUK7zv+x
vT4gSFwxx0w10Xgnp3W9ce9q7JOJ8ZfgT7AU4bchzONVuYv+wHVRPt4kHCZpvHY4GCCzBSrSdf5K
B4WnQHf81EnRp5mzcXQNdXBqesQMixwz5grNyCer1bsEVazeOZg3Lxk6kR1zQIkzBL6B50UttSLS
LB2iaBGq7DJLV1xVYiVMIuKs/VZIxqZETQNarVtbc3xs/RtNgGqrbxK/aLsvf7ZD/SCmTD7iZMk4
561w/CY1pGy/kKGoMaEqc6nSjJ/2sGZ0pVqysg66jpzdEIXNg0Z0Gx+xXoAylJ3yX+OyAdTM8BOM
iUIUsx+dhmD9irGBFOOaf31ZBywa/VozNfRer+9nmQ9tEmwFacpOk5drWnPbQbOLcnoF4K3+hg4y
eWgtsPkpttuL7gegBM6/x5qEvzer3Tj6J3wtOq3gjPa9lNNb6dbdXVG22VOMJOLVQvTGg2f3zUGj
XbxarYSisabqZHpXEWERhl9DfIOrs3BBhdTOy33puRx3a1FPpyjCzZDm7a27xtRNcOKVNd5drkfn
m9YcnqqRc6fdF54LIDmhO98jzgAndcJ6PQ+ric4Mr6rZh7x2KqmtYP7nWxsaiHAQdhJZo/4wQ+64
Kd0Y8s5hveb+meXe7iL/ANa+nIJOM6lTIlI7KXEM7n5mBv8vEJP1HXNheanOqzpKW2A+k2JZgqmz
h5ppba4HFC34qtRbJf0y2FvGpZFah1b+DZWS//gUmP4qMhbuR7YSXqlomDkVipCFtJGO+eI+dY6z
N/h/uN/96jzwl70hBaz+DNlaP3fYh6yjkkv4JSP22EQh1UT/2UT/LQ02msNC7cnXZFa51xBdD05n
l8WhtBZw7mUj52iXB4t3Lg3nThJzLKXbarrTqF37OnSeHlPRLMNJIU2TOGS73N7JiBn6rNp8vnSL
jO5sNCxvRYAdTg9NOeKwXIoCrlvaf2aFxKP3qHZWptF3nr12b+hm5EdRB/OTVD1wIz6rE3qN4LWA
5v+FYFNTdaBrImZGPcX3meNF2bGDuR5QdDc2sqnI5jMtEIc2rDt11qbIhJXL+z5B2/gt6/IOU4Wz
K+oi3i0UW++3jDoq7RqO0SnS1QPUnvVVjkbd5OWT+8DBHu2GwBvOiiBgJzXLVP90bpH/m5pI7t2Q
cZx9DMTYcFMAMQh1ilEvHgBqrQuwFFoX+HHLJUWhHT7GLQcXbHLbj/dbHCvEyGsG8t25cRidXRfp
aGJAOl8ZsyeFKCRGXLGRBx1d8pppCfpM610eTtu/JUfgAa/e+Wkvp/D37IRsw3xw5kHahbjaWYsI
DjIEmMVjeqiTQIuuOloDOsO7SUCRIpmHLXStBY6kCqaJRAYvCJ+Hphk83B14cuzJM/5J+nRkMzWU
Y7scpo53FldmYILLMHfb8+Z57rMHDnJQiACK/dqiR09WxrSbl6KrQE89z75nwcipNxkmL3zd5qF0
fisGyozfUMC+WFmVVYc4dqdXZtblPlrZyLHvgVp5rFfyUArPAilp+Xz9bTZvAYg0whvsXlMqM8v5
8tc4RsIaWh/D/60unih5MLXN1gH34sj8jXsqfi9LKinxuk2dJYo0qKub8Ihz15se0FOBPaJh1+V+
7lUU0SmZl9ErsuVCPW0G2nwhSGlBCVMOpmf6E5TyjunQDHxtYjbzk1tkzUsB7PgsGrvbNU3c/ZKD
7aa4LvLuxN4/Pzh2FHzZdT87d4Hwp+KN+mP7DXhchPtmG9iptRUH7pnqWQfLH6BZtzAD5FnhXPxy
mkKSzosZV6PpzbzaCYZZZ9mSeu3EL8yB0rsGG5dPsx9NTUQ2yiqZDMWgn8McsS3RLtV1GZf+AcMD
F16GKJrLrYi6PRCYNz6jXxBEdTYoouJ7ZzMWXdyU+DjVlTGXCaraDItynAFspi1wW5x0fP4ypb6y
c3aZlq4+NrW/ldg2tamP1swieNIwEy68aoW6YugclacWE12VbvnWTAdEZh0Wn6ElWd+tBps33rHP
pR+2z/z6IMzThnw7KVqbXyBzqS4Wyo/+BNR39zhKJfT/PIoi4ky2s8+4s1gxm2V7VK2lLtYUm69q
LFH4jEG2EiuEFqMkR4P/BKGxK8rnCEuNl9hLr6+YyVYNEEIO27GPcRIljvBwayMvCL+pmoOhCLpi
vAvn6P9aEgxRadBq/nE0EnNMPwMZAslo8yQTVL1SrcmRlUVQc26L+JBlu088uZZo9JBWvGE2lCDR
zJcd5C+f3l3otOI/slfkiSF1uDrWbMEe3d7ilmHXPvmWvXBbhJ7eqx6PxqHOPQyvgqswuxSFbQ4I
FmDXrMh9VoZQ3RJS8VCuNY+K4/TbI3Ky8Y4TNj+3NazJTnb2BPw/Io5N7d6Sh3nR2xHIyD2swOWP
YQTK7GmOHClQbV6HwjMWtNgM7fwiNf/wRS2RfMUMTk7MtlVBcSr4el6DTkSPaghg1RqkPPdLEHev
wlTqkRz3CvFc5vNteFSvv1kSzjiB8px2GTIu5j/uNZoiMKieQjsK59Rjur4vYQZ/d8BBTxGaWDSa
DIRnRSfwLVoWPLczQ/Fb0KD24OSB++FVTv4eT6htmH/5sgsZFB8LT/w9kMLyOfMEODt3nifkotBf
2FF40nPgitL9ioJivbhjDOaHvA7V7qA7uAHgOuddZRH2/drvSOPV0Z2RWflS4mI6xtsAp6PdHksm
fDpEba+xd6bw98FPoboG3epcxfd9nlvHW0Lxb9QZjGazG32sNhtXUnQ9rA7Pg/NlEWK7cCLP06ea
+vhiCi+8Cl02py5fsiswc3yPRix4anTcMLJgV6pAokfr0Dd++TKNUXMdrT471vi5fqbmJilpwez2
ogJ0b/BKtugFbLREymuBgIJg+S9yR56lui0QwpjpFiJeQd40sDQHbMN1/eH77qR+KXsCOsItJE9O
SPJkGSLDpacl8vTOn5oA1UEt82jf4c/5DuDakXNivDq0uA54z+vtqUF++yjZhlNWVl7tznMDIjfi
QH7j6kJxMI7yLCK7PUZhiXZINfnnYCOLOxHTn3+4k7xRN95t+DLw+CwFBSGw6CPzOztX6q9VRl2D
VMi2rwHGqaNVY27YOfNaV3/9sJrOdZ6BjxjO/ITLCDFgGnjYBA4SmOt9bhas4lEduolXOvgbR7y8
8QW0YHN+ORGBzJw0PfMlYBI7o9tt3nBsfFnNCV7KYt4rWzsx1NfgyY+q8gxMdhhiaRPhGnckUZcW
looVk2tK+mj9Fw1qJg5RI6XahVGhf1sQouLxBshwOMdDJHZs8xN9TNO8RK+srOuPMy8Kto9bMP4Z
jDUuJ0oegNFDHGdJZY1YkLe6LMUptooSz2scFfJRNQGDvx9GxDpt400CmgsdzWfH7yr7NMFOX2rs
FM9dOAQzLPi4cTg7UfSvoqN1SEo4gSCphyrPTprVGGw8C5FvU6uDbKjFxvuAfN3/Z9V5XD5uosli
Wg0Cj0sqRm+boPUeWIQoIF4eysAOGlwvofmiFEGiJ1cyxzWAKmI8zLehAO2l4TMmrAEQa2bE8xJc
C85ObE2Ei3qezTc34zzfwwA472IN2KAqlCAWK2RWUaGu4tclam02UhYUbAar/x62mHbhj3B3HtuW
kIxB+Qbv/lqzWfhzn+2jusJot9WL3wByxDZiVC+yspemIPvHbAN2tJLVM72ptOd0FYV6ZTwsliOq
V++Yr3Sd71YgiiunTylxE4isPpSdzeNm8gVYLUckX0DOVBVRwqoaR7zNXdGkIteYlqJYVncQxzA6
LQpokdgmCk/zNtzATue2tgwoGtLONt6QegQGfFvRWEfXYo03uRsWMV1XxMePYT+463FQAJrzgFKf
s3HJmr3b46JLtRnRpucE06Jy4p9+ABpkN9xcXPUNKX8W9rTSZZydx5DnfVjztGQqcvbAbr6dIvho
v00P8twzx3/OKEJPJvannyiae44XxLt/ByxR4bPb9c13k+n1AwtA0x/91evWXTvIXj+OeYt7qZBi
F7tCPZjJ4I0sMnZva618kad5RSHziZkExpGDbgFpAtQ8M6J2/lc79PE/XCdwfFzSMR90PfaPOmqq
lHzjrkwWrhuOW2AJP1VkaAd/UOkEFDB0YTl0ErhjKm6uyXUgYLL15DJ8TF2hJnwjnuMfc2xI5TuW
BWj28tJxprTOA6IyOeb3qC2AAvkO9BLcZUDaTRrhf/6Z0J5kp47UzV8iHsLhpmIZG5tvstNYKkWm
vZ/Zneu3YXBB69S2dXfZNthMRlk+C+6+YrLOFFCLCMvcVH+SkQdrpeO6Omz42HXLWF3DzK9VmP1e
2kZFwc6VkXuIG399CMdZ2u8IfkP/H6ZWV2U7BKRmebWq2gTfRMPMXEBshDhtk0ZYnmD0LFnimxUj
JWqXOhwOxDjE9gUdYVkewBRzOMDFvml4tr77YaMV5opj3Rl2XZGpix243KtZ5Hq/5ErsQYLhY+Ax
IQ7xWElQ1citK/oWbBBwF7v+B87X2yvtRNyTqpTDv5si+ldD4maRlBDVaIobH6G4s0BHOvkYE48a
t7qr0kiZzjmN/rqInWOhxqUwLUJz1jWc4T7b2xruueTm1k0H26+CvQMBKZ/bm5q7TnHOa/tuJev2
Lzpw2e1qtNLRI07MSO46/I8FbppaF79ihM0DZ24GDFxEPso6GqaCkEAEzOE7/LT8rBjtyj1XRv8Q
z6vbHLoSd2IyjjNfUIzh/d2Q0IIbqeSb7sHK741hFIKDxT50airLKX+VFD9Wr/FUOcNjDe6LxIX/
8Si8cbn3QwtQxcuLugM6YVhOkbjMjxkJBuF/RktGgblFATKUURPDbVch0AJigAs/f2MRiSO0q/Xi
dBeBL3Ol4bdW38HSEc7Q0wg7HAvuWchEdCbqrqt42SCk2Ku7BLiUxXGopno/N7g9Xyerd6MTfnX0
T8nWtKF/u0SNs+R7y5tU/8W8CZiaNMjXWH/DzgNu7Jy8Vi8VhiJ1D14E5ruKKKzuB3Q1My4TT80v
qGc3Ko8Eu91OItkYU+6nZX7Ktz5mT4AJ7N81sotfjtPJcK9VVS5HHfTzNfDdrNsTSdC7Mg0hhcY7
xxYobKDeSnZ9B53ofsDsCenbK++JBIr1jGK7R92Ka/3idhIdxbj2w9GONueNg3hsPmzSU2by44G6
zsJH53QmCaKpmHrEKu5WdvWe97fOx88YIc5p4oLNTq0WBebdabK6R04GhYRO2e5QPa+WzyI1ePNZ
hN3U3RctZqpvADo//OyCsSuALWT31UKn09CnlK6eW/yZUD1duOVHGXQ2HaONPQP2kRAXLh+81Vr4
KRm/WDUmAkKm74LQJ/MlywmVbOK2Q9n+KVoQ9icwzNU+FC4p4GiVg95iUvPH6AiXJaBNfGEUzivb
mSP5ywkduTm7IMQSfW5iiIznqi4d9bUYH8bD5zpvLy5klPjLNrT4Exhsh1iJy6PWeUC4S9v6K7ro
2+aRmozssTUtB9CPx4EHwD81nfHyT9ISnPHHB+oJMpgsjtXb9lIJ72TjT+m/It4SdVcRXeDDC0HK
fBBn5YLOu5Eixqeta9E0ifSNIaAlb7V86kPctmeQxaB5nNYliBwKBtDilghmPv7H0XksSY4jQfSL
aAYqELymztK6qutCa1EDglqD5Nfv457Gdqe7pzqTBCI83F/UKRZoQOvhml+TWDEqZ0oW/1cQxZN3
FmcV4BWnHaz/3TCb23rIaQ0CCOptG59m3crkZgrcAWAHg5L0zhmGPv1Z8Qd4C982JfwvTXi6xHyA
ea58H+CVZR9R53vqM4Me4Sc7k3A8fni6knD285ytNow6e9lE9gqMwVv6S+abscvQ9nIVOsfWysJN
XkyaWZeEnVtUzT3QGXIe27Mz2LOGvZtG2Q4bjE2PKo4zfVlamFnqMDfklXeK7grXdle3wSl3y3Xd
N10aNNx3ZaiEIMM/L/FHN3npr2XVUXYbD5Tx0DiomZtzMbU84ROiT3/Nqn52YPBWc/K+ebPcI/iH
VL8Emct84ZB0QYX6IEQwRDdeNBLn3nXYAIb3DovScGEij2qe2NoJPoUdsWDoxcUf3w1eXB5nRpTD
K47rqHpu2m7wb3GMhbSmSbnkp9TxlHnmM1mfiLAF5pgQXlxOGbO8l3CJQrM3ZU7EEqSDD+ak6ymJ
3YIxHbP/WF8aJF17SsIoR2kO5/hSzs6AKaWzuJxzvxnKz8jyg1MMVsKNr0w1dHruVWwTvPAIYw+y
QJV66HzgT/deny/FReA/Wh+tSeu6O7hhVOujKSBfXIw0CX/1aY6n5gnXW9bwmLvb9Hpa1jXZBSiq
/A9cyn3AYe104ZKfqyggPw++oGRAhLbCOJLzOnTNWQ5h3ysuQUlDfOwrrEn8Y6jZZE++rPOa4WLH
Js7vw7ixEpNT2XXRfuqlWe+mKmEjE5qyYJbKrnq0KUbTmE+jxUdnq7p5Petc6Z9mJTdKgnhKovuu
KZkTVQYfHk9Vi+NpiV3KZgL8ryRGumjnOTVGfaZy85OtAnwtQGrW+6jFj84Sx8jWp2ScxaNg3Lke
YwIn1Eud/1h1ub9cRRmRKZ9HzzDb8icmi64Ti98e9BXcBMav1G5Ba8uOpmxJbUqJzFyHg35nOZYH
oVJ2Lw6ws98utRanTiYw0UZj3h6rbuJ6XAouWpBRCyO2rB3Ss197gQviRaDeATsw+UMywg8/uXVA
G+cOqT4FUZG9MuLBFx3G7NQhyjYVn9lSjVhfLLLJLh07OqO+3aBe3IXeX7ry8a5PIjAIy+wi5kZF
E3/oCrfoPk5nnKPrOrPqZ0x189KGMa7DGIwW5WVpEcVa2ZUul2uSHk1KygJYKY4rkvTE/7KJ+fsG
WFv3Rd45v1unwJhlg9r5reZ1NDcuE5UV/rkhukHsDJz7BEYMWxs0h2Vrmm1cCZLwC0OQIDabyYCJ
SbLL4Iq+A5oi31uJzJ0u2mnEpUB7et3Oxdulb7gBtcCu+cJIqL7KQtMhUjEQUYvDMHB3CZP9d2bh
5QPLD3XOBmPbdCjoTQGaqfP43XAyD3izwofICAQqzLUcfVUa7opp1Fcz1OvDnONo3FkMPTGWzjLR
JCtn0de/pZMPouHNEMN834dDNDK3G/v4yJAt7c824xYszpZMcNyQXndRrnJwJl18DcNVmYb6sjLJ
s1i81gz7ccHSflppRYqZOeuwDOxVE7k4qS7s7a+kldq/6RnATqc0nm1M4TNO5maIS/JvOXo0I8my
+gEy5WMjIFR2l6Rz9Ctea+cPRRmfycQdUhyWlkgks/StYjbWo2hKkpnGY1lB0vGA9U53DiRW8JvC
d5R5b+Y2Zo6mKoJarTOm9koYmGcihUV1TS1FLZY2/BC7QGT9F3oiRXWwUuVeDJvqM0yn/eIe6EW4
VSy0ivphrWvtlS+YUsilTaIVutiXq3BVecnTavaAD2M4YU6Giyj9apd5TO8TuU1hj3lfxwyZlIvM
TFgEl3Sa09MFpJ1ojJEi7MX3SfL6z6hI4/qxRuwGwj0TJpU8EH4plwv2rC4/hVGrXNTmsSZDG1nj
di9TTiajWDwqNMsY46HBKpQfplpHBhrYhK+sXQS2CJywdGuh1czzsO5RLZEXsPMnJqeQ5HKAeWwX
NSDzdkavcrw1uDY/MI2n/UM9znY+xYUq7aul9b2rMr32+6jNSGIYsEbxLvemtr8F7UOYrkyEGs6R
HJz+UwctHwEe2sDHYOz7YX+T+iMBiWkoV8pn3mIsQLnTzN92xiRym7TGW44pz2P1pgpqtKPBl0Og
IXCCL1IcfHDRWhV45qSLg6+MB1H/GuZM3vXSM9O5cmxvzsOIHv/I0dOLeb8OxUJwFvtCiaM4iOXJ
NV6CG16M+t8yJNJc+dU2ODgjLI47Hpy6Yeya1t45ANA3/OqxZvznKJRZpv0LGfmE8vvX2gGuwl4T
Ve7FtEu+vousXtb9NDgyJA6TOknM/RTU37PVzXRDDGcRNytOyw+wUibd9zEixKUgLKygHjndL1+P
4xdqJz1HVzphRTw1a4rT6tXTfF6KtiGpM8WvXeUyzhvR0DKoWUxooSWl7ScD1uC/VWEi3fdyWgki
ttOW4vQYfSyJXH6V1kJ8QenD35Zu0luUB5U6eKsOKrKoRpnf6Hjes5zTaLjbNKgeVb7u8JKDGF6v
hDP9M5le54eYnXttIZ3ae+ARhL37GnNo761IjfiE0DOzHEt15o9lfQqYyt/0mcZdHRbaVg/JUNcV
dVNBsiuOqohLlX2l6x6XNPXp2PUoJWi4EvIV3fSG6eEQvEdnJTeJ8siXE5Mnt1febS/8ldT4JXZR
4mNQQ13iSuvoHr96OiKSGaiLercOFZVtO5f8S+7bbNrrpm4eSCLXH64TLq+VI93vzAm9v1GI1vbj
SBNP14z+ndwfcfHc/klsQTlSD0C+zht4xRzIE8Z4aguX1m3pcOlccgfde2ew4p7nFF0Pjc3ehqtT
PhonIkA6C5X7Zw/oGH4WVhNhNQ1FkKAYD9x7AZSl61gGWhyz3JOfpK+BdDJYlN9uYsr4lDIq8HY0
qhyEGTX/G9rkdAmz1fwsytTPEdihexCly39ORl20kxrxcT9tAbhdqgMoBN6QJ4AhQb7cqzVcX9y2
dX781JnXPSvF42eNq/FdjgVHPvNxfey09P6mTJfXHT/1Nh2F/nC3MramA+EWpOw12aXx0h70QauP
Ive5GJtV98+xl/iPHVmUW0M6EO0wK5jymmbwyoMEqvm0abQYV7xAIGkNzMnjGW+kr5FvnArHIFgo
XXxI3u/hivzFCHiA/YOvIlMPtZR0t3kfqmte15j7s0q8jMSqliNgxK2UIbVr9lWZwHBwgVgCQLFf
tmfRAq4RKGfYLFM58zQV6bvvu9lM8MWgwRWpINBe6fA9aKA97IJGiy+/rUfvhHVvGXewg3HzAqoL
D207tmY3uIwPm65JHg2/45jMFe5p/lyPhy+MY6RnrtnvoOvzjxTTKMP6NZwpSjolwNvMHeTIS22y
KDhQFdbdbTJqfjwJ1UedZDlaZysVEAorfNmvdcxQHiU2f+HTJNzSxI7/DkRoOuigxIbRpzL3/tX1
NpRfwQqegCdmGHmiLdfoAx14gddADwKpcPGdW+sW8UmgykOXWfl0PtgK2bOxQTelwjsbFg/Yfgjy
w8/yhkcaK5OfhyXPMxR2upAHQiFzyHFcNy9iAAm170HB3tlsib3jGrEU5WgGXwjOZHwA6PTbuV94
XdmcAtt21VM2wEu9AZ2oR1QRrhSMPIraXfiLKQ6TwX11g9kFVVSuEWRWRXOZxJA1TyTM1RseLOFj
uqmtvvQrxqBdXsKYoI7FHrdvfdE/lLgsoamho/h7ftbE/kN8jeZz1bJkKKIzdxJ3OtspYCK+07Js
/u8HZPqmdgFjXPe3M1JSHMM8ssNlYfxLnmXySnnCsBy+4t0O05M1kP1OyDm6pZPscV1+dOSH5ulc
qrajVZOe/9/IKofnUMqkPmBsU+nNZJUeXpxMZ1dpQ0ZsDKrtH49XNt61OHyfV+Vl9x2I5H/862o5
dO7mZ2sxHvAwTCQCdwSH8+IJN6FJ3piPEfPlj3SKZwsFJDrjT7XRkR4nw5mY+RLk4VzgIEiKvj8n
A8SiA/Qb54+N6Az2bqXsdwhYU6zMspZKP4q0JJU9EXH4rgKaDb4wQ2jcDnNE2l/hqeB0wT6HR5/a
V+a4w9EfB8yZsEBqfZg2giKWzAp3UtCnYXUdAShgfMMzER4A6rrRu6pChkM4W94lZOGTJuipj4S1
iXbXCZGFM2hHkgFFwp1L3RU/ReQnwNCiUlLAuta7FFA4x3OcA2/aqhK+pRx198HLW7wRi2S1KXVm
Et2U2CL9q1Safrqqe1PflGNENlMnCVfKLjeehAM0Fm3BZ9yJ5RdYvfgCx2UBFscrS2p9EICranIF
pD3qIr3vUGcQYnsl3TuztgirYsA9wmyKkBvmzZDxQRs1aEwORIBlFy0lsnqClextRm44q0FXAhsv
2b9jIvXwFgEV2vdd0jZggAu+wriMw4/U67M/5crAztaqUOc8I0+zC2VQvrajKd7qoLfjX10ufvsb
lxddWEf4rt9xPW1ZnaSfh/NKuLt+VEif9R3czvGuY153JD1VRmfbRpt/YfAaD7JvJZ8RuQtGRmVG
FB6nAot7R35Jvc+nMfm0alXXdt2sCC3IohMzK19dcm1DJp1et3av0HW1OpHgbjMYpyXWKdZRrmYX
jEv/1OOV4xbgw6Fw4Ak7h7MlIF81jOQZenuMbMZUdL/b1RICwT2FGQBGj7/HdYneMXbZ8ndeCbZf
W+zRDMOAUZ7Re5sn1Rtb3W0a+7xXhoT2nnhxqB4zBdv3FKGBDKdkatwP6S7ZOfP82r3DL6SQ/cuS
8ngWps9PmFfYWOKGKMh/sT5QEpNckU/0w8WWvhBZdaMaZZGrK4do8lMqlvEsfYGoUPtlbo5IXJVz
O2MZv3XRm5+Wvgqrf72tbHyQItTVLye15FDUmIdXiLI849U0VNU5JBJp7uC2MaGBK1R/t2kirjiV
sK8wsMz9fePUbntaehd7kMKvmB8YNGN7XL2xudf95n1MTd92T4HNmc6T8IvJ/9UqfdMhEj65Bdxj
xwV/YHDlhA/+U60n8cASB4G6zEpN7PB0Tnj4WZOIJWPOz6jFICt2OvX1B8bQbDrHxHm2HGlU9Zcy
1E0L+8+XnfznUXDBAS07940MQfCGRYLKizZO+w+hA4Frz0SEsG7cENW7nfqxn06ZWbG71VEvsmtj
AofRnZ8RDNA87RNxmiVwyGVpWqa599ziQdpErqeiyTJ56OxWm3VunV1MmBb/EH1RnEYI8xiOWD2M
L9OPvc9qjXE6TlT2jzYPt0nsGIh3TwzkOJIpAaNbZ4m+D2Iklj8j8Kr4zIScUnXM8Rrc1PAIboHI
MLGKZNWNl9pfFWzDUGTEupaZEv7UrqyPgJXpAUQImpjBd5dR8+yI2LF5CU9Bn1YnbHdtsYfkABBj
FunwuyFMrx7Bl8nhEd+cODLtoGOT4NDRk9u5OlqSpmQQ2yK6jWVuuEggZBJ8yulstr0r3vOSR4l7
q22OYA4pcYvK0AxKwmiD3PzRJQweuaQGG/EQkYjua/sDCTt4a6VH8iLXAbntlCP6y4QBx3fRNGt1
yMeEK48YHVZZrIp6OiwZgZUa6X7d2akthmtmIADu86xBe0m80DAeaYTqTg4TGr7oci6u2l8xxIFK
XWAL5hGr6ZMKyGcywELeJz43CsCpkhLLq3X+HRG1zHYak/yTQPLEDUq8aw8IgCxI21OA7+vCHc9J
kHtPEwOzcs+twUFMwGUzyiY4Evh4elzrVTxPzw3pClwQI2iHnQTVrPH/AS48qgU21o523ikhCAzR
C/oMJYRtw+LITY+BxmMhxadLPMTZ5U2i/m1XpNgFwSSfoOfIOyLAxL+iCmwNLsXNFopPFAd2ds6j
GnMz9VPgH3spaAqkqLAkcBEV9UnMw5QehUigMjP/TLtTqVv9aNENnnWT2DcTrRSnwTQ2D9br1L1x
OR1wB2qACb63ATFQUVnGgOfbPHgTQL0TcEvvt9ITcHDTOvq1bDCZUFx7/EELjiR5H66Mdhcmr0e8
vUlx4fzMmwfprepd56X/K+hwkgETXDYNjUbv0mYMgED/zhEJkU7zgVhLamZvi2l4SFwnQ6gCsX1F
KgqbY+IyMMJIZGNSzgEpBeo/n9gZp9A9X1rxy/Qefhrye0rxmk/ePUcG8TJI67hqwppvIcCBU+4J
ZW1Bq7RKjsR8t0FOs4FhLLjLGbVyTj+XKQoJrPYcEHszNziMqZyplBjP9gxkK5Ptc1JT19ovOAdD
PeJuKImI/UjQQ/FxzHyO6DFc41dTD+lLCVDvMwYY7e9MF222gDUyX+O6wRy8oePXqk5Vf8QERYHf
G3+oPCJtIDp5p5gSfSdrEPuHTRDq9nUEUncXtkxhW7xAr1T5sjmaCpz/gVY2fU7GNMYI1vS19wpq
3TEXeDcY18AV0ylr6QQXIwxkAab0xT8IECvIGEZD36KPsX30pTKvNbH375IFLO1FYcZGlEZE6g95
mGFVqCVa1U5G44ATq2Sub9giFiNmq04zpAvxKDslRjdyXbzl/TIWBIeMjwlDA6Bu6eK4HvJ14ZQr
AZpzQbdhWJ7l0qcvdVfMjyhVE0cioCa0aczB4yyZQShKpIxYF/A1XIhbKjDp6n4+Buje/lFqBqaH
bR/cL4oLznaGGcSAa47lZ+vhFsXwyE/TakxDJXdOvUek5zlpsQp9O/FCO2Eciw2NvInB8LfUf3XX
VRoIVuBdAA0jBCZMlFkdEQ55c1yaevnb9jEWQQM7E9O6YCe1QSmgSYvb7tZ0iv5QFc7wC/AsD3ge
OgDjwnSzp2PpJkdG80NaAsviP2+VcuWEC5rPsUfz4udEnDwwV2Eg0g6deE/yIPvjkbaud9Y1mcvG
IitvNJHZ9ax42gjEOg2E+TnHkSRoRFpkVONU59m3OBrxEsM3YVfalN7Yeu6j3ZgNQXpKe/xvx96t
4nzHrHcq7nG/Y5LsVvxdFw+Gsb2p2j7vT7ovLdHhVYrlGniCWA9uGiQS/nJBhzkUZFM/gBH/TszE
30UMNcfjEE8I6ISn2ivsTSyE9SDX21ZT5Zxoumzy3gwL0Cq1bkqgG4oOdbOfQnudLecDDSc/I0W0
uqoMm8ChrelgED6cBniH3tbdRGzyuYpUUfINgCth8mDNxF2oZmnu6mj0l9PUUCkt1IzZLSaObuH1
zAz8f1qDEOsI9pv8zptNXn0YvgXzGDCJ654bmSNdQlhV3l5ryjU6lbCR7a0M42gakTOhdF6DAPbr
DedMlT7xGswdpzu14R4uUhc/BlmBswGrZy8uLPttTLcH6yeB/CSWb5OmEPJ7zrj7h71vkm1jpOQM
+nEz8h8AbpKm9qIGtxrFYRTlsA6XAMRoxFmTbiSSJIkmWsGOpRMPNWtXFrTH2OYH5TPVH48lRqKu
vWPjVJ682IWH9XF0e9jHJo2RgXGBcvlfh4yxyoOG+S5vLbK0cwSqRHtDLZJ359GFnVcDL7a20jd5
wCsYoIrghT4Jd2wJxRJGZPR+Q7GEB2rvSfK/RJEyprHdRVvc5V8l/jxN1KQT3gVcT9uVB8Gqg/qf
WAX6gccxmX+1XsUM+ogpTvF3B4DeeQ9hOZAylSvOrH0ZluPKxTqD0DnRPnkOnsWxJS848skR+oyx
WuHngaHEsxpgWKZ4mCa+fqhHMe0HXg+g+Pg1N8yL1G4p7rzeM8wPurlKo90AOCr5k6vtnwfPz1VF
emMmgorfJ2/K8Fs4MGfYEAE//zBJwxjA5BPPMdwpz79vmwn4r85Hx915GeozLkgJq/I2mfNQ3UW4
0mHR10MAlMTKIGJTzFBk4TdsrngzZOJ1I0DsL9jYCDM21bWr+AI2g0ftJXxJxJKukwmb5r4vt85c
NSM97pKLCvCfG6Vy+gA0O5VPlul2/p9GZ0FUWeZ8fQxa0MOXpfEwXzO489Q9gXrOEVEB0XrWA6y4
J0BWJTZX0VXBfQ/h3LlOmA+gFcPLD15l0LrLk/YC5DYBCSfHUN0OzS7An9ZeEnhQSMpEyeeTnjI/
fatLLatvJZolSI9561KkwiPELYLvKb7z0homwSSAT0U0Bd2eh3VprnPEFojd4kRTerAumwrhPATN
v5HXdI/7xU5f3J3AkuJUDSXwhplOdQfdkNCSgQOdXMcKRQ4NXfnLP+zkIh0PSECtgGK1mbqHtZbl
uSODqxlrV/Zl9HH0740v8ndEfAoM9oERIEmkh1MZ5EKBKD1IdWA25NT/yAmH0xtKho9kgv2JOVOe
hAtbfUO+dPFnkKUcf/eTX4NDZlfoUJ691V0HMFuerx4Zp7mUlZ7Np48yq5r8E3nEIXufOdhRjhJH
B9mFUWlZ33hzOKwkolFUEMNHwuA3DapzfrIRIZ0Uwpo9BBmAvi8WQgzJZQIxSRtaKnpZIGJd257a
SAOmJ7ir6cOxjDPlQz5OqSkWikQyVBQsVV6Pt4qufkl4wXtQPFRlccUeXgXIp4dgaDEgTId2GX3v
nMwT6tNiPG0/F8K7YAG1afVfMl+ZviExStRKBQkDGTCo1CJQ44msAGzQ94yLNgcizfJwqCGglNyk
OQs/dqS7/PkK0zF0PrzK4HI39PH+sFc6YbTBHI+JRToK7iqMmR3FCLYLsJ+e6mIwZ5G7PPekwpkY
OjWXk8cGufpHZM4Y3nCotY/OlmgTZqN2dPlWwIONJUxXupUImEiLPNcvsAKa6ofNNzgWFyaZ4plu
F7tlEM1zdsJ0MAU3CyP8ilzYNs1GA6CN4FBUZyBiQ67pyxYVcmrX8lry/hKeDnz3jymFEA96Gp1d
ZOJy+FogKLAgi8xD5vNIwkb/wXfXJzfUVEv94NUWq89p6XCe8ODWfKIvMMK88JE+JT3VYBunC6IB
3/geHzC2gdHVtXru+bRVtPMpSgdGtz7uhmBe9QyXcDKoJG1MT7trfWrs2yaP5/HQFEIu1REdelgO
bDRCqUJxmZsnM5Zr2d+xWUGOz8aWU1zsmXJD1tjNjWZ8IsJxhhe7kppIX0eUoOZf2Se44sBLiKR7
YqXDxvDDcwnx1FGMvogAce3CcEOm0Ab8JNQfw1zfU27fPazBylnigdRcLmPWkN4WMhyeAqCF4ran
+e9Idquuva9J3P8ZB7gwV02r0v3p185Xn7XHys6DApHb3y4THs5nd3RUBVIjWN+Ipvvu0ap2cW/K
FJjAl+c2yfyYjiBJTh3BA9FjcPI4TJd6GbrLCDTIBbsxkONIkrHP79VC7XDLIlNCMO3YN+bbOo2T
f0q1OM5/1qxUwwwuOQo8CEXhTnZZoAZ8mwyAj2uILf7KfbdlWbI+/wHNBEQhW8XRY81R/dp667Q+
ALs2Jd6JSsU+HiOyYcUFlBR/GrSl/rsF/83Ap8jQW/uIdpP+QxRBf0QlT4ASp8jf94Fe2vFkhzB8
paqG/CY8fsK94tXw9nJFidl7Gqv6wYLCMc+yQlL7olAsNrCW37QngcDjA+pM6Z8ApzTLGbATHjka
7AAv/kT/PO/izMc9leddTM8j+tZBAJlrYtXQ+/yQlz9bXkuRlc5j4Ey1ugtchDGOf7YZZDvKuWp8
x9uVI05vkFgsDFg9iBot0bPJksjeEl3w7klwAQOBvOKRVkFH4pzSIpvwokmhx+ANK000nBdXgcsN
2FtHpTmZNn6UKiBthKIS2beMeZncXiFf7iD/J9sAIF7+BLGe6HnriKM5hxHbHe3kQSUJGEDFNAWI
u6eO7PFKFn27GTafvnMCk8eKlgNvb7G8Sn4bAStOjvXG8UaiCD2LwJ3f2vFyRsKWWfFlxcaJpkJ8
fzwk9WLUL6mZ1J1ckC/haU6Yth2UjLttjhQ35rYHfBL9qYMMggQ9KHuabkj/BZj3LFxz50h82D04
TTi0p6Yn9gydB1j5tWwT1LMAWtO4sxjuPtu4rVlixtaao8TcXHF3+6b5nVjWvCy4DvHf8xgRnJwD
xEljC4w4A6SoAy1W6YFBBCJ8RoaZmzNrADjR2JDm+Hc8rxzCumplcC+nhqlaQrJd3NQRw7pxdhJ2
KU2umknMauM8eKrElgSlKR7ORJggTgd91PbPymBhuh3HwU0pGGL3D11B7v4oN6/dT0selj1xogD1
WS5YgI5lmSMkiQq/152xFhBa4lPN3MsyQzPjcp8FOR4ffh4MbBfvZr1k0aGVfjvc4ECu//YlFCTG
iLpeMKl5HDbNmqekhjwRhmDJIJmzEGk1wUMIsG69kg9Q5p7BS94eFH4HPL9yJYRAsFyYiwtWrDjT
cJDUpEOeXeeTscVQfAvglPJqGRUxjhLoqe+N42IR13PfzY/wB8LXvqmsPCKszeVbAiWYmUHZcIX0
00TdKAMdY6Uo6p6kTYUY+KHW1AuJ+ES6qq8IScVyIyl67ZVzNmuf6Dto2PWAyy8hzRW9sjmJFhxb
FkSKBG300IqMUYzK9eL/HsOhrC6qmjOa2GjD+C6CekfRTAsGi8rSmPYx0awDE/TCu0B0ztN7MvFJ
/zxOAwu8j4hv3KJL0TCrGFfGlHyXDg6BEhOrvDCtLcZf0mGU9s9bFM85w8SaLTwVZkAo+saO1Ymb
nZgPcYQ65r9GUOg8lvw/PxJ+S3RZRsWLmsgYnDAjbDo5blfiUUHJDp+Lp3xIDG0brcHfYXQJBuim
A/xVL/HAwrZ25ZGJ2Mt+j0tqEc8DSPNvvI59f+y7hQqELU8YhHaLP1r3UOCfUlhm1hlPbL1mj7U7
0aEtviXaOzKcK3kblPsHY/Fm3KvhWFJQl9Jt9r3jJ4+MCgWTVmjA3Vkt1p8fGCJIcRnxy4yHfCYb
eR9UrSjO2NnFI3MjHd6mWUOpa2go/9l5M71yWvvjV772mXqECYvMjppDdF7gsaqo7HsunXIcM/PH
JO14Z2VNBKXL+jW6zd3NiQd+hRJQqhLAXu7W20aYekAPx81iElBqW9SO3YfIJYaFWf2x/n97HaQM
zPfWCYK3UUp+CaTS/l1nmXZe29Dj1iNGLhGFcak1d7M7zM2NmTo20MHnErXDvLfY7h8zo4kDfSl8
0GAodn0vjgK7C6d5pmK1p/ZNBkyatv/tY4+JaMQyLtnCL7yvmMufpDa7qT4p7sH5jMkEJVHphpRT
JGwMKGkgajRmbNfYcZaxM9nHBj88UfGQlaKe8uXRmwKo0Oy7pNntKJHGe7Y9MBfTNT4poD+Jnb49
Pxm2V2Tuhzf2+RTiNZPEQD7zZogGVjUyA2epT+IwKkBIjPNHcgsbiHrWxf0Khv0c10kqb2Mvpnqf
fOYwr1UjQ5/qfWBsy2vLg4Msh/IKw9LN/+K59ZLbnop3vallJn8I10DolF2YqVtMp+lPQtwvPQV5
5Aq29lQ8JW3WieBKRtYNn5cS2thnzo89PRTT7NU3c+Kt7acg06bYbwRNdm9A6YbsjJDMCfuhYHMZ
c+PF4SokrGEOvSB7CcsKcQ1hCwvXK8MZxUsXVsX64FHoh+d+9DAWeVjMMYoh3OHnl9AYyrKI1Ydo
V6edjnWfyOqR9Vmd+2/ybbXeT0Ma+lCWmpG9TTR9w4+7zpDvRizB/gNqaUVXndugxMbNxBvQw9iO
FP112M7LY2+WLZAB8591PbNoywcQ+yhIS1RDr+fcDJfvYGZ17VHBIC1OLRs+1U5WUyQudLj+tgIg
NBi0hgCGeGR08B+TPhmwARlgJBBUyGU0QC6c2i88MYJQhpjD+aIjad/KiqAh5EfP6ykMS3PyqUXy
MwnYTXJCXv3N2CscHnM6V2dPIcgxBKfU887twihmE3rQthWbOf6P1iYNoQKv+9IOToZ0jwUiEbem
r6bpWuFBHJ/KyQmLW7ZdIeUIV7doTEZ6YXy/Vav6nsOExK3uAEtdTMYSgEtdTjnQ2SZxXwNAigPb
dxv8rgcoSXP9gGNyLXAhr3HwarzJFleipbhV0fv9nuVRQriSFOeUZtHfPMDJf8NVyOCGhJT8Eaqx
PwbafvHQsEMgOLI8InuVeDfTN1TwOj/pIkjSR8XGjZo6mJop+OglG4pec+Y3f0bX9fucMWPpOseE
jh0oQiW0eXRlx3lherGtCciEjO8Fk36+Lf5jw7PFYDX/kT1CFm9HwkbYlzqhYtsr9tK4J8UqkeaF
RohMLvYgMyjszL4LFMJHmPhv8plYoSy77HFpAEfNTOjiTL0sSPqgy33O27zHpqQ7di2bHV5CBkAM
xoE7ebGbQvCI6J5eCBim9YUgDVHYYQ6n5teC2qlwWJEMWw+9zQZxK2QPkx2fCyIDqM/tKHe3gthE
6TQe+BYWpgj4aKOX0nG3W3X0/emGUClHhfXzIL34GVTbV7E0EoRrDbgRmjO0tX/CUkowMVgh6wUk
1Yuj1aV1X+NFIgAGeKvCR78MOLssZuPolBUzGqzwW4SlIhmVIDSZL+iZvZeEN0xLyE8E+BFYWrl0
o37spORIBuC1RGc099Llkgz7Mj1aqanf2yBClBl8YtAHeEVCHErZb9e5AqTZHtyFvS475uAA+HZp
MxGb4ZLO1kdYusHs7EeXRQYPpcSD05z5s5fwDifzsr5sciTPVRmxI2CcGkjhCE7/I+m8tuvGsSD6
RVyLBAmG15uTcrCkFy7LlpkDCILp62ez57Vn2m7pXhIHdap2hXO6IZ7A2eMXyTSeZpaf+tZZsnKe
hJz9HMRAErBa8hsb7D31e/2jgQdT3sQQFuzcCOz7uGR4sRBN03kwXfi7gugSRkWsLj2xlmcXEr91
dLMiPqDMAhb0+O1FP/bstPXORl0b8bQM/o2qEvIr2l4nsqmyUCjbHh90ObmDupi04WXC/jy/Q0dY
KWpCGTR9cNOFv/exoKzGe4VdHSsmOkXTrjhfQUkWpokgZ+HRZBlk87F3dP7IEEkeNquGMeekJSLm
HbLWM9UOJEKKA8lv2/7LhJHXOnuVmXo/DzGzLR5OyOIw5ZOm2BVpNSW/mk701lMOKc89kY5DybVH
Qv+7DNcvycwCuizLOpfjW5i8HM7j1Bp8iRl0gy9DZl7x97O0R/RcFjdyDwUMLpzIvPpIPc7RUDX7
kW4l4mZWVNgvZgwi82U3hf9oQsAAL8yRXnofYC+enFNdsQ9+YK4x+qNT6KanIsSbiJuO0Wg7gRYS
ald2+QpWsMc5v1u4aMzgMLgLnNIh5LY5ugMkak2NFX2SeUky2CObiQTiA0dPKqj238BLdXM0Nt/4
Y8XOcn7mVMGPg7mtk3dZWZEEGyoAcmpuxplimKRkvZoZsmR4PKMlvMYegbLjyI+dndk8kqodwxF1
gIV46n7y1Mr4iUWURwie/J1+UU0EkThzPPbnVjG5kntqG8739hK72Uuyvrz3sBjC4i72QE1eVko0
rokwAAYO4TmXR9FDWKMqYAm9R0osxVeUxU372tDJ7R6MEUH0GE8kWTfc8tOez5yF4iGpIA88dYY4
NXW0BUJtWAzOb5bI2E9JPmGnG+FSlOdw0m52hxuWwHPheaP/Okzx6D2UAtus0w3WcozUxBFuK22u
tTPhWkO1RXaevJwRnUxn1QPpdgeqLgIBGdmlKRfnOv2NIdYL0YBZoerqv06XqUNBGgZadfEItexV
C6XRUlpGIZ8MwUQK1BUYv3eMv0ODE7HCp7NV/Oa7bcInBZenJ7UC7xcTkoDOJKHOkd6PxZ/BsRrv
kdcFqFkbXmm2V4GWao9jQos9KL62u4a5T5aUuYyDl3o9mqc2GkYLHcIpDfRHPa1g56KRJR0dY87H
wHLShBQyVao8CCXj7E/VobKNAYyUi8+L+gHYDl8fs3YVvUpJmSnAbTaH49mmW4Fpgj709sNHzht/
6JdhU9R1uKj2nW34JjA0WImhyFKzAvPois2eMWf42TvaXsMXazRwqnI8VemH3QLlgMTIQBdobMVr
DGVmn2iADb3UnLoSTUcAJSa4Kdsn0wteVBwEDUcorefLnPCJtHDH9z5W1SY7jghjmB+WKeiaO8c4
JrpXdGfEd9AB4aJlBGwxxQRDZ+8DyPkVNPEi9x+hyszyyCYbpn4FaYPdv2xsAE+5CmCYIan/d++x
BDHtsBEMdEB2XRuB2xpNVb17hv2D+0sVFgzr1mUrKZwKFW0fFzjkoUMFIQfhjFVO0M7hKPNSYb7P
XnUB/B6KDmrrA6AF1iubNTOPAZilstgNnj8BR8OG8ss1PMAMP0XwQFdD7hxZYsArGJ2WO4wk+UMu
0GKwegXFgz1WdEPl3dmjHClakm3ZOhtUB54s2t+4xBjqY0EjKKayE3JvdLOZPcdfOHV4daPvEOEH
muI+hESMFoU5UFIAh9ttAJzFKwseVl+5tKPzPglsWrsRyxK7jwldNqUNHmOxLeb3gVR58Eun6yo8
pQjl3feIk++WMbVYawW00e3QyPEJSOF1/aVt3MluMU4sfC8ThYFkhwPHFQ+BI4UcNkCdKaXkStd1
p8KDYnBbolJDQINAuZ+8DiEMb11AvR/0AWzxy2zXcg9SAFF2Yq2cYDRYn/9TMmjbOhvbyW5INIhN
Wbc46hbmVf+H06t0Hl0WMzTylplb/pfapkMcWzDtcdzzHELQrBEjQ4ofGh9rxxzCh9wLRJ/5G9SP
n181UztDVrhKoToQTvyXzQDiGrhxZI+OfsssTXuy1JPyn+LMAv95sn2PD5tnp+RrEw9eeQmwDjhb
bkhk87i4Jt0pCHIfLZuwSJKok5dqt+sfV1CavIvDNbcH3LWpf3wsI/bVskZ1amDEpf+SuRIGBjch
jnaNjTjDVx+B99w6WJzNGTmph4MfTjIBLjI4pf+c5PC/s00YWj2zaTqtqrI/I+3T+ePreKOBZK9+
5crj1151E/9hd/7SNUl7ILmKsqBayTsrS8PwjViLF9b7aPJRBWvBmPiNx0WIN9cLuD0sgyksVFWv
w5kGZTeoKBGIU1p+qK5K/PcyZpc9bKmWQuBWceWNDwN20+o8UdRrvTumxG7TmIXAkQ44c54IE7EQ
sf2h+vHb9aSrZ9TevT8gOh37BpwZm7faLZ7wL/NNZ4VPHH6glmD5pgSU2pZ5yscPGijj4lY2I4+T
N6Zx8BpFMnNfdVkD9wBX4bzi0rCiD9W0/WtB6pWlrlWxyosql01Zv+TNKbFbJNNw8or6Qlksviru
S7irUaXYr6EuTc4uy2gM4o1TSm7HjVqIOTBnWIl+xazW1Q0dAh5rOLaopD6OzTB05hGgUsDfUShP
fMqczrJNTyUoqgXe/+ae1qGSQLsIia9ATYMMSiW0TQAWZ0gc+u21r7gGsHsWa0Mvuyz2r4bpBJCs
hTUlZq3ebptoSfBKsVduLkXfDC4unBkK3r7y2yh65NvDnK+DQYljgGYzHnxOCOigkTJ4ACjGtd+y
fBTNt8YWgKXKJzv/2uQVBcqxh0N6R20uEu9sGfsBL+8yOOhsbHv2NHkDb6uFzXmrHAu/qs+lkr1v
VODWqVigLunBBiMdsfrI/fqtydP8I9UobAQyLaiXTOM9BO9vIvZO8TW3bO1+ReEIhHZXl3QKC3iV
1ASRl6eDbjwgd7vTNcx01J55O2K0v0yjo99g6M0VDWGetVCQoBrpls02QRzCEILbe7Fp/k5GsEGp
KRzgeGDsWyjjkdckRECnlLsdvCQOwZiVz/yUkFFaPitZkJSzWXcvTAUoO4SoUvkfEtKAK/3kHVky
eQC0WOz7GoEJWz7TSclNDIQa9iHKmXh0EHZy94Ov8ZD8JKw9220xEgf6hVDpzGcwsIu19eNap7iq
1wwEL8pu/M3cAiKFFhyRTxQI1sxyPxE/AqVArLuY5lmQAwf1ccs+Sqg2A84GTQqYwYdYRr2hXCgb
/zkQcOp9L0eKlze4dFZ0LhNxvcccx44Bzu+SbHPfq35MUmNKy9FHg1ONa/ovzk8AZ3Ti6EfJ/C4e
LUG49WFdVQ4bOkWxDtqYw+/drKGQJxlFlr3zqFY5OB8psLZiMp4JDdCO0GBRGmpNmRZiNPprTAie
ZrTJugaYr3noJ088ZZy+PJYdU+l+6ECBXvlVT+ZvQiSvuXgejwQUQMFNgi5ElJg5XmUlTsTUBf/C
Ttf2NJ9wiiQ2bofYiP6OdatqTynkOyqMhUIGJlgR+5eYFwUrcA2Sm7wvHd7EhedwOdL+wqo/MxnN
eB1pV30z0Wih60/SC29scUheZTXVGZtBDnn3jIcSY1yUJeLLdjEZ8Y9r49PttgqaCyWsEJ1JVl+t
PsFGl6Q5f5MTDYZtU+mxwJBhDYuL826VMgjxBhAqCzk+sPJhnKo6YElbrtNFuEsSgjpwkfu+/Sss
khPnzMoiiMpVCFgG2x+Lr3NBrgyioGka8e27HarKUVDwktxZqsPKpCvBY4q+zosUp0omLk0/hfJb
VX5vFxDGi4hUDXcv9scbPTVxfqKli/wUPXy8D5BN0JU5mrmajf2AczBpiTOempai0+XAlQYbRqxB
OT9aQ+Br6sOwTg3RxSus0Sabrssg4z5Nznj2Nm5VBRGpGiYEfxOsgUH0DgocUmxH0DjDyxjKtdwC
C5Loaxg3C6YvjG5AtF78tkPa3UUxt9gLXW3ujOsLLWCCQsaGP/1HwXDtJ6cRBQsyEk4U39kTNFyY
etyxibO3CVRVyK2dX6dgN98mC+2Mma3K+tUknKNsFUHbJOpBFlAXfnwGXrZUOXLgev+M2jDipl7H
gHy5tZmPdCDte1f2c1tG+2yI17dGkHVU56oJUBrlY62ZTnat5UA5kedO/aml2si3dgl5pgp8c67U
8sgI5lq/fdnV1M4k8JpKpA888Thy2sCZQFc2mvKopWhcvtAj14T0N0sVIKebORWj/Svu4fJACm0M
RqVi6OaXHBJxc8ukIhjnh8F6d600C3zJnSZeR9O6sK1vycNCZw8BXGxYYLlf/I6qepZLxu333EP1
kU8h/Ax6p1K//XDiT2Tf+cPDbIVHWtizP4tbrHcWZSNr2FNVHBwP+2vX97h1qV8M2juO0QBsBiDs
Z1mull1y96yxsrWYz5YqPKIYuTedq/wDjBYmOhUPONTQ8xf9QBFV0GxTvCQX+LcLUBR6LinSw04R
ssMpEbK5qJtVBwpqeL1b1r6UZQxpK/mXGZj0k1P4cN12hsrx1mxxio02SM4pEGyTI7eLyP8HS88y
yVnjYB5MFHgJyiHiwEVldLhxMJa9BASrlx0LJ5DneRA48Xlkw5LuBbogNXidzTqiSVPazdhpJ85r
zEKQVePSLMF90uESh949BgPmPisXfwrUTbp1GM+fYruImpPl0Vy6l2SLncOM/iZe7TGe3wmXszxK
545MTzPbzroEnJzcAAEbFIukKHxNdKazq8EJEj5V2p3rmypn2d3UkKf+tsDdWu4qL42yix8uMmOf
tgR/OKAtRDYr9uqzXXYrMapcwQexq8rXZLE04w3/94kw1MrwyHawSqOWCwEL1ZgEmERSp9cAMXfh
zvcXSBRSkZdjok16ieUbzhCSpl0oKK0mQSS9kYAAHBBHtf87CZQ6QhsZ2+9ucuSV77jVoY/1rt7p
hRDCgSN3ABdBlm2p7kg+8F1q2wm0YkeeAlponlP+FduTded17ZSeMUi14Q0fNB8FnuH+D4FQ/U1L
N++tarHYtoklCrJzmAKSv/dqVKEthI/wyIKXnzrkS/XQ1L7wtk0f4uhB3Bf6BObS6B+fKcbA3g7w
BX8MmF7fIcUyF1ZDz4lE9TmQDUbX4EG2WUbFGTAR/hPncWCxJBge4Stbk9/+NK7TV++FJ8QnGLjm
RJKgaJ9m43Tud4KjqSfwUNkxKhYu7AJ1k177vNurUszZzh+z/ispOHqOttsGzyPn5JOJfcIiK5Z4
ZIZdys8mljpHrK2k+1QAO+dl3k5B+CkyQBufUDcVmwkLWVrQKdW6mLCTnDdj5cSEmlVgcG+POoKg
nXigybiZ4/L97yqKYoThVnm6rv62sURVAT07PjuenT5j72VaUCEI8v3qH1SXUuKqxEO6buqbYm0L
INyNn6JUQUr8/T9Y59J1aI87dsq4KrqIHNy3TXsptoeGXbz9vXLHRqoJIuqPbI+3SNSt9KW8SJii
eMbVAxSGZHjM0TTpwqTU1egzFASVXrHzTGQwl8pjroQ5Q5NGgSum77dpkjvuY8Yvb8BFLXBr7OYO
JsYf0u/D9JLopc0cXg1lmP/WczwhPbCtrDxSUrKYgq/V18CZC44grM61NSXULEZ+YF0hcvBwku8n
GPEtBEytD3byjXUWaMwuu21bh4ZqvyS1eN57cXLwQt/VbDLloyRS3x37KofemYTIqDJ0E/sMRr9O
d+Sy8AWGsIeJDRShj/4TsYruOjSqk+5zLjIgNsGqC5o1dnNJfQDiclKMh8CphDrgWDOfnMkrF3FO
eeqMNp+h6PimTyuQ9YbKkpAQXtg/VsclSL3o7MQ8ibecd1nz2baS7GSISUveJzg2LkGa2c+0eHli
77ul8zPTnhE+9bnPJ2tDoF3nhIxt3By7qI4BSblVf6FfkHOfR0cQFcoOaclmM+yCrL5j9hB3UwBS
cD3JWPTj5ud8qSMCMFjXeQl7XsVqBx+xUVl3DNo6+jsFhOB2jeOTvF6WpeciMvj6d9AieWMLZ9m8
yzGU3GVtDK52jNYYQYCv4wBWidkXcxt7DH92FEXHZdsUfEvZ32wE00IN1WTdP41poQJOooYxr2nW
d0Li4vXGnTU+8P/Vb2GcpyeQhbp9CVJyaqD8qbnht9IUo8IqPtLduygu6JtmALsv44mVgu0oj6CJ
ZQWP2DbxtsqBR/aWeJKLRuSnCVfALugV8xF07FeDYbG7sGAYImz4lkTyZ8EWIxfGmDgVnW0p5Wx7
XNQ4UUOgJR73ZLNwbcMPllNzP/R0/G5TFlX1peoT8d2BV+gO2NqMt+fE4k6JeRTyKe+7oGY2SSPR
h9uoGELvOa8i4JE6JmNyR3N8FOy91CEqYgxeLRuqBjACWFzFWZKt7fHnZFZ/kO2aMDas3ZoT8LY+
ko+9Fp7n0AYrQTLuWBcbSMoeAcEtL4ekOzNZ0cWolYi/WdswtW7wFlf66mI1qVZuc2fie6depaM5
nei/wq87QrAHFSMjYlseYKurXlLuM7ARoE3iRxtWMGC0MFoJPLvqwI2oeHOwPQUXW9vZePJUNb8U
/E4jNm9TJ/x802ndO2eWkBjNTgQmW/phqpF/WTI/kWNkopv3NPfF3R34mbJ8s+qEE7YNg9TZTUs2
Uh/Nyqa8kbDFv8WpMk7Os20GwkGUjzU64RNrkYYeyCu60U/EEJ1GW1/OZXSfebIGyUnZtM42DoY3
NznFHhubfayZ3u4QA73uebENtFTW8i3vHDKCvK0UbITw6kdWTtWy26+TesVsz03FTgqkhZ0hOBeD
zGtSoX4qpuCyP4Yw8+kmJ+W27FTvhtw2qNkmBwqTZ6ru+NozZvqZg6kqrDRnPbyPStc3dJlheKLV
mA5Jzjj+o+m24LKSbjBHUEwP3lg5/5Iyy/UfZkgWvCxtC5ddYpjZ30HVxDREDzhPr0kfkJnP9MAl
KwkEuExEYssrvypAE95+DvEIBLvEtZPhWWTk+O8U9s/5i0O3vQ/hTrDUDWv/ZbRMeKcR6k5oNRgG
Cqqd7BumF5ldJwmT5hFekJ+f0nZco8eu7LN9FfAPbD9PBoQadnCXCusnfL8chh82hWoKvlXParmh
M2p1ZfguZg3UfOITm6KDSEFNIuUgdLM3DEvsvGiorSFdbuGs+D+TtOE6U56RfdbeIPUWW6jor0sQ
EFuWAetLDtyWSbNxSD9x2rFHrQqyLTAbyf41ps9cSA+0f2aewH+ohhERydguLitKmwsyj0TeqVoI
F7XaK6njXk1/DF2U6axspmWmPcJ3CYRsvdBd478K/aXKerTyavDmzyhcXW15WayVjiqhOHKg7sE+
zZxlmky1IPkZBpLtiGuvl330lfGjbnJS/3WPIQo+HKrDxg4HZ3q2MVjWjxlgsfEveS3sMAV82+6T
VOLalMKCBnvqvJovMFmLuyxvC00n0AKpmPQF8EqtK4B3xrAtnXU8XpGuWTowe9JtUaVL57Dpa6jy
TWhZuJfkLapj+59IacsoscyBu3lCd/lcozLb5MTNDmR71P/2CtY/hNkz7rUAbUezxg5qx7cQ+SHH
du74SJupfQrY/MaHVBZ+cBxia/aP2RISe5l5Un+vAcHkaqt1LIucqv8iHckGBFiW99etrKAuNpQT
deLG8WvXdwQs5wm3z5I6P1h4x7cMz0qx5RfFHT70fc4h2zJRfmOvon8Y9/h9hz7p1Kbihb5N3LLS
FNpbzfMsHDaHXeF0H36Ws9H3ZhsAr6zaV6JNo8ablLLK8tm8gOBzuKhArYrkSy5H1nGIYuEHDqky
fKgySzwSqVYG840NcjGDoNgPhzkNAs5qGdUf0HaapxGVmokdaMxrMo64a5FaxoNXNdgjKx253oGo
Tn1SVZebF2XTDWb3DjyAJUxHdhj/lYcWDh4UqsyEekdioQGS7HNcZbdBLvo55EtKnI1jIDzUNkIQ
VBd3GXYUb3NVaDIaCWfcFybectUH2nX1uSPRsIH8HrK6kr14oNG0zm+Fs6bZA5xbLKx7zLV87mB0
Z2JSaO7HeiICB+ZvxGPuVZbHuEjP5bBxZBY8mLnCywQkN3+hhAdtdHRS2Gljh1numNXQeP5AJsVa
T/CRlG6GE5+lOARerJV2pN8z5APYPbTZxyRPqdjwOIkbdqZx7Z4bfyKB6+Kl2iZlH1j3a6Y3P/Jz
JDDFYCuQAwAuzZOOkBr8YxHVWSdb+7a1twObk3wrFNuCN1qK0u7T7lD833zLhk+44XlpSpDwZdgk
8RPKFQZWeEC15NwsJ8dA1Sp08m/m6xCEu5R+Cje5IYx44z2ZOlQdLP41JE0SeP7VzjM4PnjQKAx4
Zk2bp/WZLXHZ3scYGYYXVJW+o7G4XYc6MLOTe/VCNrEY6BSb1zOhe+YJHMWOdU9dhWXWmLtTevyR
cNjmXZgO9vA4KoCJP1IYKN587A7GR+3MnJYE2H1rNs+8Ye1Obfy+ExlGyJC336OkVEIzlOEZ++Oo
Nlbzqw5nUvqboRXKZ1Ji6H+zkjTNnhNi3MzWKNe4POCDyPRGELSaLj2MOoi72BCyEeO8V8bztp6k
WNAPh9q+MRmzTgVsFnSnhQXz/MzCnX5W5cIW245UhYBdhttYjJggxWxvAcvhKrFjSe4Ss9nkH9Y/
FDqeH43y2bEzjKsGkoe8zZPliS9XtPOvrOyd4sTwl1M9wEVQNtfF77r02rewIyhhqNr6SoAJJpwj
zDT+K2hCr3cQbpBFvAVBpsK0uNre1lyGWUpsxnCLmLDtKMTXl7gj5iujOv+iooi7USCrWd2RZ8k7
DhAGFDyEHRg8Vszt2hUYR91TiqmbFFJRJYeGkC6+OEqs1yBU75bRh6B1x615RS3MBZ2Txqdwru2P
LPTKmrplGIvv3lKOtwkIlVgFAtn9SOhG/HzkuNnvSJtsOTBPkRyI3wGw2AQTzzWx/fwPh3RQBmtA
IhjI0qDGs1bxBD3u2C3dMA+wwfLuip/qdA76vWMVXlFQYdOtfXTKdoJfvG+dQz21rbmvo4abiuta
2F4hJ5EApyKeXSSq08q4sksiHBCwmWI0giGqEeWyao9UjcqbAur4qtI1YlvWxKjBmU4p1W01Zesg
i6JK3sZuxf0k3FHZK8cIS0fgEE70wq8Tmkk7hxT+6soLu52bse7bmyXEP16ByLY2FXkPDb0IqeRg
VVw6wBbbLzBjcf8X3WTPh4SQLIp4UEhzjYqZpPMQj+qJdNpi7khxiQ/X5pjaeLjsrk6SN4SmQods
cDjY3i/OQUcwp1DI7DAjEwri71R2rFhSTZPqHn1CmD8LKwEXTjorsLtEIijeZwP8x10sWaRtcky/
Eagrz1Gnsh3yFW1E0+NGCFf/8I2V2TMI2kV9FAMX2BNUBaxOxKx4uBGREf1JxyjvOMq8ZchoXNnC
o8XZDswFkkTmwgAI6+hR684pj9gdRPUw0sUp321aPRQHfcEOGviHFbJeZlmQqHelsw5nY+8FFG+z
SyFwXQjsdyYLRHlZetzSh9JhinkW0YjxKIU7qm568IEUCguix8XFAKyuS2o7Yp96HAw/yM29LcFr
tov8O7NISJ+Q/TxebbLKgKgUbTYcgJQEHQHHoVsLTZuZ3lyyIOmFUhYGmFlq+Pxof7w3jB3VHLlp
l6Pv+vxUh2Kp0BB496n4Hi8ORzF7p1nfcDQRtwQGNmWEAjpmM5w7c7CNIXPZtDMAj0YzKPE8ZjIy
4GgjbThnljTBIaRcO/htmMbblSsHpCRgy76hi52aNa6vII/I53B444pbrc6g7NQly2hvu9kyh0xi
SHVnVIOO/K+8U9gLqIj79K7oysDdJp3bi4OtXZoygXgveFIrgfRB5nM1J0CBsdFqvule5tGCCy/f
hSXk/byU/MaoykCSgv9i9+/MwFy/VRKC+SGCNvTHlbHwGXtO+sP3i9kyxFz/W7j5+Bx2DV8RZVa2
FEIx5e0jAggnM05Na2PA2xbbQk1cabGhYTaBq/7fHXMF6FSZjc2owdjPDyskXwyb8iDeXCtefJNC
7/sD+JGFSwHa7aNEH7AweeYFSoRE4Np6bdN9hVrlFzZwqbUD7+bTDOtqNs28FGfF1hAeEPrsTNJm
B/QNDc23F8yPKPhJ+CsJfX0xZFvnawIw+A/WeTLVWewWHHiKtrLV60e6Qgsq1HaY7BFcR4iVT7ED
EGOPW61td0khuHFVCORUqFR58Jphvg13+K7I7sVCW1/8gOGbiGAXYATmHMPXlKn6SrgPYx/eVLgX
2KD4Lyx6C8XVkfq9GiU+PdwyUJGB1/rftl1pj1AVErl3jkqXjwaDV1VdOlpkwTk4LXwfIqRUa1B7
sl6UAVFv9AgzFWkIR/yFSzOjfRNThXqAdI0p2I7nJLgvXHASW6ClFHdB8S2vAgqBPgP2Rwag8WYY
wPFilCT2GV2YRDlsY8siPmiHHpOtGrE3blgSaPrdusJmGcGfTmN9rtDoeNE9tfbE3KRFG92gK4pf
lmmJCgaMUN6jLVi472zRpvLJH8CVQIhbgSZzRjyBoOdalARierpBtSgJqvR4e3x3JgzIoFY8xmMG
dATbg4clm1zpHqQMP4ae0dZ33FXm6Zb04AfWXevMcmu1+ClRcnNC/fH2FP6N4NmpyOrPIRZo+ubN
APuJCA9TtyImLV68vGBkjidF9VyMWew7qYV15Tkhmo+H2X/ynYkLYqMy/NwZ1DTUu3qsvUfOIaZI
H+tvAOuyJeeha0f2G77/Oj13qbSS6xxp6neKkUXGLcVyBA0D31myRdN3vmYyFDuNfIhU3OVE58Jp
DfzwnieSN7N98N5MZrXjW5FF0NXyCPtvRSPimRjoOobQb8FciQOK9yhdpw2ARRhJfwqsg9V2GRrv
TSd5JD6DmvDENWQ594JcUBzqKOccDkMYhJvCzSvvrCIbVoHA1cunm0TYmOOlGZ9zTyDx2zp19vM8
dRO//RiiGRAPUjP4JafpV69W+GHcsqzCwLRo/+jRkMO0R8SexMc0arlFZC75lHW5JomAXT3VCca6
gxo7wDUeDRMuD1YZU7sB54as8CFHVgh/IRLRcgBGAYiytgiq7FgnyhM+ihZbc+qpFwJSnOyCX1Tx
Yqh3W1uephW8M6rlX0wYgSI2YwoqqSHcHU2zYJHPIzzcFwol9ako/8veedQS4NJuMdiRFvJ73iDU
XZ4p7SORaLHloNfYp6P2PgE5p7hR5v1lxH7AlaBwwseSZUQPWMN3P5XjJvdxYNJXRwcaI5wLrWLN
OpqJfX2TfytP0bUrJ6sKN0Q8Ol7hkxM1NQvmwn8I+8VpN51iOXCOtRU9YvWgeaZkpHkZE1A3WzME
Vkh1C6cHE1QcHUmmkiyncoftWUG2DLtHPWPADfzIGZ8X5EfYKL2BfR90vTMBBPJC7KonPy6xWQWF
6m4RjjPzIOaJXw6EiGwfCBxKB4PG692TJxysg9BONrHKygdMSB5Mbrq2evFFqGaM0anLIN+2zbQ+
PwAOKAymQWzE240wf5Aug2abz2xugdPwVVF+O/2WdIZQqVNm+Ceiklw8tdZDaW3oy2Xz8f9uc4BZ
5HFimvDyDYgo5113jXoYqgqTCpFE196jQdQaxNHQ0ptHycXfJDSWOTeDz2uXTBv7kamRjNcNABzY
Wc3AdyMnicNLOYsqXjkW/IaZU+/q1jWXS0w/Vr+LEOeXc8jy/qebDMbftmc3fpjyzPG3LvmmX8E8
QE2Bd+80f6M2r5FdqaYNfgVkS/gT+ZBQ9OD6xSk8QJim5yr3bEoAjdVEBzFLZXB5ZbgPtzGZdn2x
0r7lWAIA1eMbJfJLSqOKpYdp09UBZTEi60AFF1xBESfZ0jnt2xyD4MPGguPv0SrIV3xPzhyVvzP6
/BBgUWxp7fRTnapzhd1dXMrQGtieaqo2igfdums4fUpBXFymJOhFscP17SPBuItbHjPw0nSSaoL5
GncgXxwkfnZ8Bdfb4kLWEkBA1Y4Zv0q6xylGSqhiXU66y7sW7hFNROMjhAasGtJeE3MzL8jxCOmx
fIVqhykk1BaWJm8ePJ5lrBTpJWMRMNFe1CEs2Iyr060xTKf7Bm+YePaKHlsXeiZreI+X03tFjpUI
VC591u6+NOVLjQpfvVo0FkxfPvHTXw1p0YUvXDeCaqBBA7tlbtQfVduTy5mZdYmDTEXhMS+zBYrB
v0qN/Qi4eC6xjJ391hsoEuWj6bpfJl5sP9ys7citvQ0I0NtbCHAh03ZnBlbKOB8g3IIhSN7iftAO
Qo6rluLCd8F9qJJ67Ls7wqd8v3zJ64XZRo0hpnRW2QktecwkwNTrBr/qrgKXerAxQL7juaOMqdNC
nXMPsakkWpqU7msB8rn+aqKI4l5wmfmtSX2LDawibSRc5V9MKCanOnmuphaA8h/Uo31SB0tydtvJ
AnXZ5G71W3m2Cg7cgaPsG1cVYjRt8G77XMveS95K3lbjZ9kFCCVsz3sfommPLU++pSV0H4iA67Aa
Gpu/P1bcb/+hkkWeZqboWxQPtbAl/WcGrhLAFTR2RVAarrdAYMyGQvkvpiMEx0k9gFlGT47SGch3
KHoqHoK++jA5NJQr36JJZ3imGiq5tmHJ6HphM77Kj4l0KO9QZeTQZBMlbAAyhzLlBzOZECCPMWp8
wypRWjMRAL4/1hZXSr7GcGA5heZUoLvMLDxk41PNtXQhr6fBngl7jaQr9TvbhsZ6C6owqJ4NGAGX
GI/ok4J1Dw4PtNUEfosgKhVjk87JST8a3/MjapC4GTTTmQXbmNm8g9gTfPrFWFT+psTAHjzMjCRD
vLH81AwfIbBsIbeLPydENCqLTRMEKcEkdpAsH2O1y1MZpU+u1ayZE1CedNvi8mX+4GkllZIkcD1m
Qkv7gDSENR6UFSadulvyeRnlsYxrWfV7k5FylZuhcDsfRDONDX90hNOMlNSonyV157ApGst8ksTm
6bvgcNbh2ZXlKL6KFJftxuZG5mBVwhQ3oLKErDC0igp15FY3NNE+9ppMqG2YhYo9gFvSJ/a0+Jbb
3CO097QnkVAaqXCn5ZhGP+LPw415ZYn+iRD667anjKG7tlw27ftm4RC5tOEwA4F1yz58wR+fZrcK
F2t7ryln6Q6jkiPbPt2qZ6AUfbAjqESgBEEfHuGWSCfaO3vIznvDRWZ+MAca+SQSF0Uv1vZcPiQ9
k+w24SMrj34rh+CkxsBzvlgSwgFFJ/1hwZZnGGhV6pGekwGcwsSk+WMQjTbOvxKEKJpLEAXpPbto
or1bjfT0P9LOa7luJFnXr9Kh64PZ8ObEnn2xACxLJxq5GwQlUfDe4+nPB82c6UVwBTG7J6JvuqVm
sQpVWVmZv4Gh3Ki68IydtBR9REt7NB5QyGEEG/+NMt7BNZd0N4omQdoKPHfF7wXlTuWKahjA6dJA
fH/YFLJqPdL+gcSQ0X2X7omqZveSJ0lG2zOtW6kj3rAx4DO1RFmKSHTSA5vWUvU0I74k1E1kXTlF
9CP1m9isUFypSkAeB8yhUbbe9JhAkT7VVvXLL5WU5pDGt9sMdWvWLn1dy/Lhb4FTvO3BuVnfyO78
4ZAZmvQc9/gvjJRXyb5vRZR3EJLh95XBmheCpH5spxyngGkAB38F6DGObhFlyoqrrk0VlCURrzde
RnUawkf4u6DVOddDyapJZBrOGGgSyoKtZFxnhmTQUiJmYZ5hNQVCaihv7ZrayjHnGgKKOFWIr/Tc
VCxkUnFceuamTuzHAlgQGaufjYEmJ0CjKFCPRZ+Z3z24pZEtVWIHUq2WgCxHoaA6ohRbX7JJBhIF
1MnT+J0krd8B4cPFVdQE9RHpIvMBKkFDgZ0ruhDV/rlA/DdwJgwn0P9o9Vg9doDESgpxRGhueT7f
BrKs/EgsGK8Vs0eBMEJeF2PjFBUcKD5Re03bJ/1KTVrwEXIooTAg25n+AjQwnvLS7LYhr53PrR/m
d/h7a9uODOBaAq57I+iJ9cnT+uFryxNJwQoABQVKSnF4NVAafjYJagj2e6Jv7gVZzWFs46hIqUzw
RYOcF/0Me+qr5ruRFeasqGlST+KhU2wN38PyLaE//ILeWPVNTkpFt40wiO9n7MIDdr3yA+ivAXJY
6ItHJJy4xgAR8JTKG/8myWochpUaQDuvSCR/wh6sQo+7wi+5MJQTuisJLLjKR4G8HqtfUEeHE0k9
7i5TjUUDOU82vAhS6+uumlLnREkCps8jDt/WCIkIuAg/OQWbT/UvStn2SkA9Zcb68v7OsChgLZn2
UwesBdEYRSu/SYFWPqU+Oh5kM5p/3XjQw/dDhmugS2oY4/HWEkuB8NKI7mK5v4UtTRfSLPXcToVE
E2+mKkQsY5OBXJmeRtIxObS7cqqQCa8RjLLLQLd+agWUBCfIdPOUJCVVx7wCV2YnBYKmqakBpORG
4DlKp66PvmaeHDz7shZfpQr2GnZlGUWxp++Swp0z0mBXGnOLk1pooe+tSOz1LV49sfE5kNt0D3KT
Sx2xM+OXjzEab9AY5XaHXozf0YTqpv5Ol4UEpr3fqQdEg/wBHUwtEzcZRXbuUBToDIhs0gAVMJV7
3D49vdbx5ZCD0EWeIoX45Zn5VZGKo2JTM0hVx0oyrTzQC4CoAh+MknE2lggGQuZMJJqhnjk5FkW5
xO6iWLrGqX5wDDQo0T7XE7M+TKDzvnXou2gODu9EmbwyvBp6Vh889pCiEqel/5o/GXoHsKmtGfMH
kuYx1K46NkzCb6V2Dh70hrrXk8gUXCGuG9rmEbTmGV2EiwiGOCpS2jhXK/AKU7/OPWVXmkaXnkgY
JBV8kpCYPDaMMeZn/W5eqFKafKEzj2JDn6UIWxPZcHAV1Pqp1xLd2piNLv5U0Bl6FiJJQEfEV7Rn
xGJbxGkm0Id0R5P0q2FKoJChDkJ17ACeoqaO/gGEUJR3MMxui/KjpjVUqvKspUlsyeZxqMZGPXox
OE/X0lRSmUgGeeWOpdJw5Uug1uiClYJ6Gxe9/L3u9Sa7gnJTh0952QhfJUEq8qOuDekNLyna87CE
cTlCsUMFvMVTDOu5fMSHpmoUfLCxIBCeQNVUP0aZDBzDWkH0r+TKJOwNQjmEZFLgVUH0COmzWMZW
TNbKIw6lS3qopRumPMVd2rHpkykFJWcQS6QrYygGn/dDQHBu+lA3sHROEGPW4Yd+rNs2OOYxbzVH
aKzoCRhD9aTxSDuKPHz6vYUtEwQj8A8e6oiFGDxaGdToH1A9suE682mZUcXVYs8Z5CkBVBT4MnvG
bwrAPgFAc+kqspSoeGoKKR2u4b/m9WMc5Qrk5CIozGRDO7fMwSciqr4jK8f1Fr6Bpp10Q4CI6VPT
zZ4BTsXCoxkqKGL0BT5GkL3hZtqIAuBJaFpZQ4BESzyldjdkohUh5h6Jk0NEZv0RyMv7q1AM0sSV
giQX6PpoInABYRC8axwJBHUXAvxEfDMcUc7CUZNaXUbjxjjMT83qawQ5xVLhpKpeeohRVEZyTITK
afdoR7B3+E7dNeY/ofy1h/dYDzaSPqGGOy3YjM+iRPnMKVIUix+FiefJJwuSOi3YuPeMryxMqVIX
whBkr1iDPz7R8LL6bU3zDPEs4OLyDppyBDHXJ4O+htaSGfupVzoA7XmnEXf9KISwYeRG5G1rtYnU
XTtYgvkEfxuM8Ia6eh/hGutpn/GGkjDG4T4ynKinMgl9GfNKJJ58Kw42CTkWFpkGVH4X10cZIQj8
yZ1RHPzwyqLKlLkytIl8j09ondwZhm7yE/q8NJSP1KZHYGpyjNrA10I2ypIn/5gPNt2rPHtK6jZp
j0S7NH0OvFxQt1EayZXmANOJIJ15Yl7dJpD75LvBkMb2usuDPL2Fe2BM9HeikXYheb8FgkIsrWOT
0Ff6POLsKbv0DHC55rT74xarYDl7BKIoj0h9ck0/yYBlg9FOVRV7+2kaE1q3egiAjMsqU2GIQl19
SiAgaS9SE2TG3axWNrrjVLBMToaGtgrYaAR36mhdUBouzY80AeHm0+N0B4S5ZqWUqvwYcHqVbUoY
QhMekPkvHauexhX6oODyFzXj2zAY6YNGJyfaJobZdk4bxgD0dD2gbqj1aMVS+BtBcwy5VX6ZUt2g
7qQaNayquG/x4KDUiug0pJXYsXqj8m7KwFJvysiEZ5aWwvi9Idcmg4jaBt6SPkCNd/IuiOHK0Nfb
9MRpgKWyJX+qoJlCRU9JfGFXUKenyARpyxZxsrgtyAdn2EtQfxbxtaHGSyPmVHARddTkpfqn0vdS
f/CVqEEHPrTqbi/KNLfRGPBxxjYKDAFRs6NzgCZmTqjh+NAvFQdLB5E1WtRXe44xzkN+FdM1w6OE
8jIdsHxfWPhMoh5CBRHaCLpHLq8Bq3LHBDvcA5rARrIJ1Fr07EqgtuNirlGChFRorZ0wmitBPlKk
x7g8nduQHX0Bm952Z25qJQn9LRJ30Pk1EFYYgc2P2g3fVDW3tWZUOCYXXBEbVFblz4ZHCcaNzExA
vZCWEm+qhoqYXZslF7AcqYlyZI/ln7swGXcUrvXWLeCjRu5UJ6K6J26JYKR4Ot1KuYdI8zRG8oTG
nld9MtSqHj+VAB07vNmFfvwR9pFKhpXrqNGwqv2wx7okuEEfRirua2lCTtwcy1E5cGX4Ck0bE0ES
2rF13sobkN1lfwNcU873uoZSDgJ5eLpsvd4iNyyrVIZXU9VCeB0K8CZsOuyZtQ+EaszhpxXYSm7M
sDODE+ryEcCGts0DEAuq/x3qvyojKdsHp6hHx/KGp5o3XVt92+i3qCNOLSKaKPk4miDozwYitTx5
q5AMR8rLJN7HI20rHBfraP4vYXUTAZI+crDab74FvY/d3sVfCj82g1sEAKz4gOtdNW3TUjPuEfHp
BxeHJbhARMg+f5qoiQIdgmEcwy8neuyMSh94h2CryofQIiS10OIrTtCFveykp2E0sCJgBMBfNw01
PivzdLSzytad+DEYayDjKzitgEzNkz5zwtFxApu/5YtV0xMwJ0t2MKfICjZROT4Dm8LQUs8DCbl5
gcLuXddWWnEV9XofXVVmjKniBA0zd60paxHPJJX9gY4UYPssbavnSSv6zvUwf+6YWJhy0CYlg5Le
TeNWbwLVcKvRRMMmwVNUeVQ05FJ+SoUI/JUuatTfTRiVjI7QqUqxKytqVTsz4cbaECtbDFdGxTSd
XE57g9pzl2F9nhNNtjh0FA/xKDe/IH2jDQjhT7/1SnBI4N5a4PS9jjj/IQLK0+8FUwgDp6OG2v5M
qamjMB/Q+kaqpK+8nUJlW3LA0qPKnoyG9ei3AohNGSGO5NilQpMd6LRXokPjWOi2ILGoBmpakBdX
KVSMvYYPoUkSj2wMuEuIQr1M8xUJ8BepCFEcQkjsRqHTvRvNNG+ftbRNAJp05jezwLm0yuRyp9WZ
8NQppQlQBaH1+yQci1sNFwzOO/p3LkcCuxzLyF8aTHdnFTQJIF7ieQKpviF/LArBf66JgdsJiPlR
E7sivyN/kG5UTzDUnWLEPNYUJDNf0iqwgN1N9RGKto4kojw4FY3XB8KZvAsDQUpduPm6i1RuukNp
YfxYdKICeSxDoE+p9e/U6LqHIsDa/QAhS/sxEo1PljRQTmi86Rsaq2i85qZR2lCZqErWGF/uowo1
pK3YDqrG7SEailNkQf2QB4N+rGtI1nZcdABQQ5rLHwXkWRRUTSN9Bx4qdDMJk1EEuPUtFhHAalKr
O4JlbUWe6IUe3iD/3IaHTFYNdgM2jXYroOVXRKF3COppxD8TqN8GPm34pYoiBF37QuHJLIRgvDfI
mYOV12olAHnB4enwZ6W9S3216T+jWRyUeNEGkNAFXZL7fV5q1b1HaQeLozFEG4OKAFZ/Jdyn6wHP
i7LYQHptf+I9ZiAjXaPTj+aCWF8LVBJqR6MPAWc4ikfsQstsIrmrRw0SEWom7RaS6ojUuCLdUta3
roIY3jOUwemr0Y/KE76twBt4XqrISsJUObHGQXjASy+CfkcTkbAq8LPEUha/DjA4xT3CiXNuRLWv
obvW5UgCNDGSRmxEv96juTP1V2OmRLmNHA1sDXRcaSodxCFSLd65WIDtUPBV7lArQc20S8qd1NfV
CR06ZQf1CFkBFLk+xSUGHRiCVFsy/vreT7Kq3pmhhbpFxcONKGyqTXWSY6C4VFHAVmyU0BRoiOQI
AThZF49UHpAakR389dDPKiRV70E2w2X45CeoZJdlnz7kYy1fU9erYIejY/Opn8ocw7LSpB1oAmGW
6I7oXZbvTXhZlptgOIzCJvIm2Lh3lOg2ctYXXNyehRo9lsB8QqAvdIHx/PBcv5ii63au9nALDNSU
WTVUtVCS+Ij+77CvCqn/QnMVNcDJE59DDCQOnjpqe/hM2QHKUDS6hg8fzemTSYgPKklz+k0o0Wfc
Klncg7fEJlS1xcKq0Gvl1cerIOukyPUjGmZ7gPG4OUVmihg+RcVUMnU0LbMK1m0XKgJeq2Wf87Ub
XnW4V07DLqzirgaAHU7eCW7BZD1ZJgZLjyXxlrRAq3HTHCPTS67Qqm9xa6H/vkG9EocY0TA1RzKL
8HvE3jwZfqOewFSjbF0p2h3IrYHEjP9W5F0CvLOUoDEXZWQrCPr97CUOqpVV5bhX9LmZXKEIgUEq
zEZe/IM3YVMN1HnXVROk2QIfLe82LxDhQhcn8n+hv1rfZSoVLydPw+rYNcMDgjOReiMmEUSQgfiO
I4Myhcg8oVXkRCr+UtsGRV6UEKiA9GjcCV19BF4n1ckGXgQ047DIJo6qQgcnREiX7m77NAo0n7gQ
JAQDw12EiomEFaCF9W8AkZ+UyLsFDz4JgyMArGx3kyLEvAwFrbDSRxCfUtg4aS1qZr1FjhCfVeh6
wFH6Jr8zamgpfSaUKEjir4g2mJs2vIEbJ5QmQVMRDavVonYEnultfoWx8ZQ8YYcsFJ/Hvu74rYpG
VoejJtX0QA9VadDgcUz0QKpngI5dBU8Nr2P6CL0Pd4xDDuvbdzSq1/OW042GFhXKjqMtWKp1b2Kj
QV6AYoQwHnXu7PiFtudooA0NhkYteUPg+XvvlZoiHz788V//89//9WP4v/4LZT7U1/Ks/p//5t9/
5DSgQp9O3+t//R+ky/nn9//zr7+z+Cu7l/zmmR7R8i/N4/zr/+Hn/nNc57l5fvUvbtaEzfixfanG
+xfeVc3vn89vOP/Nf/cP/3j5/VMex+Ll7x9+5G3WzD+Namb24Z9/dPj59w+SZfxegn+swPzz//mH
8wT+/uEj/6F68/dfnuvm7x80+W/UvyRJRFIFdUJZUT/80b/8/hPxb4ZCXVrUFEvTOF/Shz+yvGqC
v3+Q9b9JJu0qS9R1SZeROfzwB1nu7z9S/6YaqExh/i4p3Oqm+eH/z/vVl/nzS/2RtekdGOumnify
4Y/iHx9wnpchqpqIqYcu85MkSwUnzZ//eL4PqWnwt/9PWKuK2Koj11A/2txHZLaY/nFlUEfdVcm8
23mE0AYomy9mfNcZXzpCaN38IopSX7pP/SeEiHeoCW/PVvCfv+mr30x+85vJEkJQdGhZIRGb6te/
2ZRKAxBfjPkMhFM3hiA8qCboChiFBMmmhSLd5TYKP/R3cUDZlCQYG1oF2CKW3a/3fxc+9mKR+FVY
Jcti3fmQ8yKeLRL9ls4IY7+gEfm5h62CzG+X0j6Pbf7EeX8sVX9/ME18PZggD3ATR+IMZdnrYJpU
m5KDW+D+5Bq1EOC/2bpBOXGDpL+KHOTbXEgEY4A18oCwaWQDhLPxqePS+NREM7dpcmvvs9YAy0E/
Gw3HyFZhoIpSivJSuetVFLUMXtzDRLE4626E5HZEUXODUABkjx9QRg7ImjXHpqEaKBFyrKR59OHK
dfF3Me9ukRj5DqTlSKUeB6lwZT2k+Tu/3qGyIhkavS+VDq5iLBYfLSMJULJJg9kdnPCEQP9hvC0P
5qnfS4eVtX9/KHOx9EQBWeiJ7c4E5UOPso3pfX1/hLXZzGf+fCuNWYUEhkTaN89mOMDa+I9mw/HW
kTPQLdOU5l19tmvRLgfRizyLk/WlMykzRLFw/8J0zscwX4+RUJjF7iZA5Ky1/T0Glo7m4mzauPoW
yczafn+4+VMvt8L5aIutkEihmYi42jrRARm5neDWW2GHpfVf2AZIC8qKNh97UV4uHHAJhcpb6egV
SdMQA87dvT8R6cIhR/9InaOuqRs0hl+vWx4noG9VDjkvsS16D+Kuc6qDsk9tCpmDS0xzcqd50f7S
zP4clrvofEsUYqiCStXZ4KmxNcJ2W8RrM7v4jbjLREPSqfbpiw3uFwG8zKGp4HT42NzbmKUdZTfB
IMKOHH8ntE/eY3csr8YreNUuqdzKHvm9rZebhEoVMimyZUjcHa/nqPbICZfm7xMG6t+Jttl3oEpO
bKubzpWd4EiXy6H++ReWVlfoN2kwBWVFXsy7wUpd8vDldQqQOCLdmLQ5rWyaS5FQ13TDMED/ieac
k5x/vRxh2ognbON0WzbNNqAK7nDyPuHPuA/Xjva8FZbLqBsiRwDtJpUI8nowjzafrFhcv0XyNctv
Jq3crEznwgVPAvOvEYxFtBWnyBzwb2gcvN0diGm2/zHcjVvJzW8zts3KaJcWz8CdGZQIH0jRFycO
/f9ODTxGIw7a0pWyR8B0216hZXQUrv7CWBbACw16m2ho2mLtqqkO6BuBnUlATtmqO+xV9Eud3tHs
eJuKKwspX/pUZ8Ppi4XEhze3VB9CrIob/aaZtoN1GKrrxNyDU64eWVjXsge7lGm+7uJ0W5p7L3Ci
Cu1517d5vjjtyq908TcikCiSbJooUyzOoA5BsssCLlI5NJ0GZnbmv6ys8YU4o4rEUAVghyzBW3i9
P7HhURCfQWC1caStaocu5TzlAD81+OHdVScwXYf2Cr2Tj3HhWMWmy1Y+8vzzF+fj1fiLmw+ybxck
FsyYocdCRhtPdfMVnYtdMaVHpLren+28Xm8H4wrn1OOapi7Wk/KTobVyUDpdVGC2dT37cI/5SgS7
OIhK1NZBi5lvnwJq3+AfCdncBD2D9+BWyh50GizvT2VelzdT4RJXZZOooi4TIEmXEhwCJs5GQ64+
zOIwZWkeDHrb9NR4OGkYRg/jyqi/3zHvDSu/3i5jARVNn0Gk6o48xca7KfsMlXgbHfG2dP0HcyXe
XFxMQo2kGvQv5GXyhSgnxutjVzl1BEIivxqR/2Enr4wizUf7zbTOhlnswgR2gpjJUTUffReV9n1F
VJPc6Bjt3v9s0rxA7420iGmlMNQ678CKmNZ+Uu2aK1W513aSWz9gE7Y2rwsBRJ0j9T+XT16EtMKX
zSGziKDK7bSVbcWpd8LNeDfpDqrepEbk/sLaDC+e6LMxFzc47i0AsKO6cioH1r5NMnuIiSvD52Lf
uOo23erpBqGAB9P9z5ZWXlxN+Sh1iR7FFaEM6sUnVJCc1Ja+da7iwnNd+5KXlpZL3aScpgC4Xx7A
yioaH50nRtMOChIoyPmufL21ERZnrayaTo2Rt3Ik1I/hdFJTXUseLh2v80kslgwohBAh7Vc6+Ant
FGjtqLXvUT79D2cyz/TsCVVB6Aitvua7AKsUjMdGEdYC06V77Hwm80zPhsjAbtRezGI1pncoMht7
FVfhQkvYBc2JN8gtBZpDmJO8KnZlh9u1zOjCU0SlCkVpCoYAwWrxC2h5ijSXImG8MsqPeMvdt2l1
J+TdV00wHv7CTpc1CWaMbMAC0BdjDQgtai3NT0fUNtVhfi5O93lCbuJtMjfbpWtzuxi1zgZc5phY
lQCEQ2jBKd3W7a6KLVg623q2dnD0H8r9yvTmXbeMkeejLSJIA0di0D2OFliWm/F6Hgt8wmb6FG0K
+9/IadfGWxy0QUiGpkHliMCRP4/jpjtEt90G+7n6916Jb9dix8XNSg5N3VImfIiLCeZx5CPnSx5S
69rWA6MlaNWukr9Y02HC3NagYZZbH1dW9eIGPRt0Mcuw6GIdWhmDupAfQrxoNuk9Ogpw3h3Lbsnu
7uhDfh5PhrMy8qVARoyUqfmZqK0spytHBV70MoWA2k0eZTd0uSJ2SOtux6t0i+USKqth5q4t8sVc
5XzYxYQjD/+6IOjJHVxvJ79Mm8AJ7dox2LTxVrhbHW/+ecttez7evM3OQlADSaWo5KFmG+k7WGeb
xIGZfzc/xdLb9q8cEkVD6RA6AvVdYxEDoJwEaBrU9NpturVAJhyok+74FULOVsw2gbuWil3+in8O
OO+vs+kFIOGxHJqnN5w0JUZnfdisbJR5379dwT+HmFOLsyH6VkDbHsrY7y9WHqe9R6JJDSc6CQeo
MSujrU1okfTF+RRrQdvy9HcGJ7lL3dwWbPFudvDcUAomOdKfVoacP8qbCepz/4KkXVeUxQRlv6Kr
LhC4wTQ7eMJsaIGnG80dbH0DO9QBqXVYDd6XkluFR4+OIq2la+piUAMPEoSr9Dm59ffaftiQjh2C
PTJmK5WVC7PTVbBb8vy80nGqev356OppkEXpzaFej7dvjSATqDVJtd9fxQvfzVQ0xdDmhyN64otz
BnNUqTXLyp3A+ibkv7rw7i/8fIOOPx0Tek7LoiJOwHjfajQcZ6+aSfOcCKLg+0Ncql+bytkY8xzP
drrZGrA6ifMO0H5tm20Fd7rvt+kddYTdavy9cL+9GmwRKkSgZiVItsYZd+0/iv+n5rNlgyLaet/D
1dLhhQfAq+EWgaJvUBpCV4W54aYtQQMfwlvEQrdh1KFZv1YjkeZjujhTs/g4FTAaC4ax3HXU90pP
6Y05aEhblKbcBiyFubXuk+/plbWjNAPB6DMYQ9B6/bBSvrhQJlVE7B+xDJsbW+zK1x+yUMMYSb86
d3DkRWcHjeD7zEl3IYqDbnnwTsUuscVvo39qdvXaFfD2vM1jK6rKxCEoLUu0UN5DQKh5/ruQOceS
dqL8F6XXplPSiHQQPEAM6OvauJeGpfBAvZ0qKkXaRfYiILKLirxXoK773EWPQmgrhrRyFbw94wrd
yj/HWNzdYOzaTgCx6KgmYUQy7ULr/8MhFmGks8bME8DEOJn1LTG+NNW3lTP+Nu4qkmqySpQteCUu
S79C2wgofONmb8n3GXLN2o2X/exDxFt+GBTs5eGgtNnKpH4/M16fBkXSdUtFExGNODLM1/uxmzq/
CE3qzRqu1jvVjbaR58iH8GDsRB78MISddm+tnYILn+vVqItwFoCfTScQFI6wV3dITOS71A22c68g
r/f1QT8Jd38hqtHPRLoSQIBOF3/ZXkpbK0gGLGacerRbFykFV40pESOrAZgX9tgPXsurNYYLe//V
oIucwaLbNfRBUnCXKlt400+imzi+W52Mb+Ym2Dc7WMHW48pGepsWzTOFzsp9x4NPXRyGLBFxhkKv
ilSvd2nd7v3dXDGKnWA1aX77SHg91GL7COCTZp4Lr/ToSWTniBHah1bhKE3trsxq/q2XO/V8Vos9
I6ImVUigZR1J+sTpcEKXJ0H+aOx+v89X31wXngPkC2hIm7SW1DkHe30ykgSFMC+HsTHfE4GtnNgr
2ztr552y3c98JTYrbw//69EWlyDKOmmkJbOzetftkfdx0DCzkby1Aew2amMnCIxhCLJB0O4o154j
1YKbZ+GPfjR3nRheG3J/paE16XcPRMKPhdVfgZTaZB1SbFMPiwEc4KzM3rdg5J8iHaNp5LOEajis
fKa1iSwuODUI0PQsmUhvgxvYTydva+xkWmXBbmWktxtiXjKLJxRvRcrai/SxE4e2y8PfI4l2eT+/
nrL9XNMYD8FRX9t+bw+VDugHXTCTvFgiF3+9HYwxCeIwBbEj74rD3FtqjvlBJu33VxOiC21qxsJP
AzQzCpxvmoABcD0vQejT6Y9WvA14bxTXqX89qz+5mZPv/B2SAe78UCx2q8/SeSKvz9k8uEV81lle
Y5mhiKgQeWal1g5eyXiV+PuMlmdnV7/gdw9uzoWwFprfBknAEljlUJrSJHpLi5M2dZ0coLxSO6KA
vmDY2gnQVSoNK/vlbax6PcziiLWDEWPIzWNqrvdWP42Tf4zqE8ZmdnIv7xNhX+zUU2avFdUvD2sB
O8BRS6L++3rjKGkZTF4kUnyruG9ipNcMKnAg1/3semWGlxfyz6EWgb9WkaQjkZ5niHgRlJyb7KE7
FXsFcOIOFXPsEr5j82CvDPv2ILKwHAkVJzDZpMbweoYZvME6MlBlSw7xzVxXCBz1Tt/0vMPF/dr+
nH/Ycntass67VLHmm3yxnFFaR21lUjf1oU9uBq16gl57A07rPkTyi/eX4Tsr87t09M+HXCyr5oH5
lDOlcrB4+IyWRGtTZLmmwHEVCcJ2ioLn1EQ8HmXcX31jBAgaeStPzAuXEUt8NutF9ClyYez7jiVG
zMERvqTEn/F2ItY1dvqwXuJ8+0Z6PdziroUd2EQYtNdOXqEQMU3aA0LCB4S/HB3tGAM/o0oPurUD
enGdFeA/bCWZTuVikpUHFb1ueSgge/WQV6CBVfHbAGyg21aem1j5RkDVXO4VNFn04H7lK1+c89no
izmHWplmdUEftqKz3WBm6KmPc7A1bDQh602QorS3qeTrvvxqyLuIyL+2tS+88ln2s19hEQhTEyLS
pPArzOc3PMXHcDe3wLKP61/4Qon+9ViLaIgXfKyn2D9zT0vIwdgzrquze0dN7bls/r9/BL4ebhEj
RimGcOvRmC3rbaTeFr4646XdlW94MQCeLeAi3Ua7J20oxdC++YiNMy7TOsYcqTvtQ3uyUaSRlO6E
IuUeT4O1bOTStcmVrYHB0qhaW4tvVzfl5FcVGC9uayol44Ze0tbjYe0hH+0gFrbaQbrQhWZNz4Zc
fsI2NTMVpp/jXVeH/qnbY69gl3fVbrV4/Dapez3S4uvB4/eiSaWWO4cfkjr63dpOIftYW8b5kL2J
7mdTWnzAquwUcg/gQr60CyZqFNLP97fI21YKM9F5G6HjKCLAtZgJ5BMVS0iKm8nB36dH8zAd60O1
01YC9sVhDBAIskhyqi47bmg4IsPhod1btvmuDqAuC0O27/CmqpDEzqMICzO0uPygXqkiXMw2zgZe
7Ik08bHPwgDEsRBZ1LphU0f9Ieihxfmq8/5Srg21WEq1yVMB5zvupOyrN8uB6aaN3xsaDcpKhnFx
VxgkhqZIUwgY2esEI0RnQtLn4KEayMmYPcTctcvnYuQ4G2L+Fc4KrJi5t6IQ0fwRJCw4JaRxLcwc
wjK8eX/RLo5jAg/mUQmmaJldC6UuNLCWgEJ6ZCujYmynrkX8GjWflet0baTFUUK/WS3QTyEZFJVb
qZSu8oELLEDJ4f0ZXdzqFveWQekUQsPi4wBdl1WBPIwSR3PItuZB2dUHeb+Gob04nbNhFh9IBYsW
GB0fyBOvZfSPNBNmfPK/BzgQHs5GmX+Ls22AUaWswG1lFMv6iYrp1wCSv2T61sqOvlB3ez3Q4pz6
StzhDhj+A5Ce3PU3JV1rZB2N3QwrzdzC7k9/obNDbfF3TQNHcRWQ9evZoRfSY2vLObIIrSPmb0bd
I0r3qDTbTu43avMsDF9RpVvZIRc+3fmwv2sfZ4vqo2SF0u1QOWlAnT1r7LrBZPE/HWXxMGgQJowk
iQ3iZ8Vn3lxg7+OX3siO72/3CxV8FtEUefCoGmSh36n62Wz6WZnWk343HQenvS8sZHoA4ZOsRbuY
vngbuGnORSy51W7oDiujz6dpcUG+Gn1xDGrPgwBdZbDbTHTHuI1lezrk1+rBb47iFuLsdrWGeSHO
vxpycSZyzxfHwUp5Nc/lxHhw+5sEDEB2ohzh+Na+TURb/reQFhc3ztlSLw5JUigK4to4zOYFAoAY
VOATfhgG9DBXVvVCfvNqiourTBoKtDcU3jsg6495PR7rTjmiMr8NRpys6QJJiulgb3EwmnqlFn55
dVVePSqtEXn5nhVKyOZDy4WgKC9yGtrFEDtaNDjl2Dgrs7y8nH8OJb8+/pirQlRvpdqBVIpQ6Ewc
Ke6yLXkj+ms/wrvuHoWoa+VxZdj5xy63rApxToZMZmj6EpNZSQGCZ0j/O/5z78puuVPu9Q2aGYc5
KV6rJV16KVPk/3O0xbXnidKoYmPfULYdkC7dRM6w0R/FreLyeP2+jrn+jYl8Mz1YgZoqUS8Tl8mJ
FGdY4dYa+n/ONw5Csu/Ll0m4jZKruUrIwwox+dt6sugxDKhH7JtrYRW4+ftp/N4vsQgLo4SLSR4x
a5RN5Hv5XvohbZVuU2ynz4GTVRvD1k7InzudLdm+rYAfsDaTu87hmQ/Ke7/HIlaEUiBVQuhVDjTs
TaR+SvIvIiqNuX+j5yuB+NJQBt0coMu6Qc1gMZSpSdCFRMDuavFJkSzE/SNUyo1tWgt2iDn2+7v4
QpYjkx6aEDNINd6UfwEGYeMlz6MpH9sayUHjMCSfSxhR8SYYWzuQtu8PeOmwng+4+KJ41DaFgBov
mK/20OkmoltYWUTCl/eHmX/M8oOdD7NYxbZqtbjImFcdl1do0W5nz9/3h5DWxliEcaxQMhOxi3/k
OjqGKC/d3rIBTNuKXRyRm/836EgXakmyoeNdCuiRJ9iyphxqQZ12HS9W8Wge06PvxjYGMHZzA4xl
//78LvRuQFSdjbWYX2b1FH6zucJbytlGRnDErlHWxclY/KGk0r5TjG+Bqn4Uh+ZQReWnPMO6qQkN
akg4GWy6yD9WAkJpnvmIEu3JS9X7FtNJP1a/D5X35AXJxzjUbiuvucYE4b7Xyq9+2yG01f1oe+kh
Na2V1+vFvXc2ocV1iPw0RZQ4xoQX3TuUQH4ipoYQgPnx/YW7uC/OhlmEajWN0EGf6DSgRizbWFN8
KZP88f0xLl2v599mkfLivBMimk4rpQ2GTYSfRKvg1CJGuC5bayCdS7nZ2VhLHqtRlbQ4ZgBhcJgF
h13/2G2wJtziEQqyQnDWEHYX77rzARcpb1+gnxUjscTTS2iOM3g5fZopR5p89G06U7drI16Mgn9+
MXORQeRtYunouNYgSKpDu+v281uvWu1BXd4YoHTmZ4rypmViTa1pjgq1tN4fa7TDsHmEZr7yBLu8
M/4cZDGXYrAyHG+1+v9x9mXddeLaun9lj3pnXxrR6I5T+4FmsXr3TfLCsB0HRI9AIPj19yNVZ5dN
1gh1qx5qJLG9ZIE0NTXn1wAW1vvjlIZC02FlCRV48k+SdsDp/jufeeF8uDJMjSUUiTvXj5wEmnls
79yXj5GrA3YJCeOn1Xrdxehnm0CkUQTAnzoyWTTalTan7PMNQTtCs2Mb3SkhcOw+WSloXFwSH4Za
bmIG60vVwVAk5LtiD1pAmGz11bbPpXo1IA3AP2sO0KvG8tpFmigdIU8Jkgh3oxu2nYurxFVG3EHm
vfVPmloYb9ZBAAySgJ7/+Z1Bnh8WhQ3wsv1mbv83NzPac7ppdjlE1d3VtPXiG/truKX8AFzx4K6W
/nmr/IugPp3ycI0yeylxwqUKsgqggcLNYxndK9Q3hhRmWJVy1JPnuIUcO6yNUigRO3ES/Dr+XjpK
HB14N7AyZ0b8Ir9IJZFNNSGNYUb9ZETOBqnVV+gIr5xYF5fHx3EWZ7DWGxPKNNCTTnf5Nag8G1jw
7OwfmMUEFtv1Ll8JH5fW/ccBF08RlFaz5hAcR4LRgVKRhTyg+/XS+9owi+0lRDxMKNrMw7CtduA4
TrRAPay1now52i3zwI/TWSx3Ew7VOly8kMPQNoC8XBjXs8J/tB14tYPvysmETLCp8hBJzTZ2tC2s
KHa1UHa9zI8Q4D9Fqb3Vx/pOV+imSgGaV6ydWnebMatDoID3WZoFdQZJddi4JyrblPgMGL7u7Gg6
y6FEAj2utMMvBfgPU1qSUNRW9tLSEeAbx+TepEzQOYTGutXktzVx1g7/Sxv442iLszgSbT3E0LL2
I0eDfa8B8c+Wo8DG9T1ErXwUFUN4vsFsgJevTd5uI3iB/3qrXZgvIF86cgzAkGfC9eeIpRZdC2M1
7GuRn6ME6p7W0AVGitS3SlbuXheG0j9OdnF2wgG56U2JXV1zdBcMDR6T+pk7OkKKvPn1rC5Gq78C
yLK8rHT1MEAqD0OVfN82ZpCPUH02I7rVrenIGF+px1wC33ya25ycfDiskRtyQW20oFju1jsLTHXQ
AqMSl4eZLaVvCr/0co+f1rbgxWuSA6EiFGhgK/ATMFkmMExoYsBgfnBlv9pP06Hw4pDtaFht6PUE
z8Nvv362l6rQmOt/h1xWZnsGAwpdsWcKiuqV5BgfZrmImfdih1w5z/Cmv4EXubx6/hp1sVD7jiey
UbAxS+H1fAe8SqVCWWSGgDKP8w3T3an+NqOR15uml5fTX2MvVi6U963REkgtOzFA8BSzg1+Ndj/V
zmbqhnDl+V6qK358vovEz0x4m1ELa2k+JABQCxmQmEaQ79e6I5egA5/e5HLVVsNU97C5+tGFMbdg
5bvTHhlfmANQ/utZXXp9yMshsgA9B03VF0f6pMOtZITpLES5Y5dHWdgIes8VfUfFl1+PdOke8HGk
+Tf5sBX1HCYSMCzAPaD8jhjgFqPi/3qEi3nDxyGWx7jmQH+XzeuBwvcW0ibfQTx7ziA+CI/Om8o2
0JtT7A3NlCAFWxTqca+iS1dy6EuL8uMvsTjk4Q8bwYwJBYQ+0QmM1flJwJYIhq0wI4NnLlQGU5Gt
vMXVmS9OfLh+qGkyYcVk7hA430VYhOl37AUv3ytfVvPbeQrL/OLDFJeRJiWFiBMYWvvTW3oNbgUM
TLzkLjqKTR8oYR/2AUQ6fHGAYdLKyXwhg4JqtwmpN3BzgLde7EHN5nC86sUfYVXbZuHMeFuvAl26
jM/0CuA/HAvt6OWFAQq7XQ8oGjIoiAoZkMBpxhCOkS4N8wBepbm39kwv7I6PAy6vDEKPa/h6TLj9
U9y5RLRtSbT99fYw5lC8eG0AoUIpyYYGhgZs3+cdiOslVMnh1eF3tdj3ffNYDgSiqxakOnsQh61i
C7X/MIqHbQNQwnayUd6DUvOxtjt4sOiPMYevGCw7HWgZw57RZjsFrGCIO2KplwcmxlNctmo4NSlU
zDPGXLzC2s/T5Nhz9cmQyslxcNzDwmIFJ3HptP00s8We61oQeM25bT3jlGdtisZEU4sBAaX6/MZ5
VXZr965LCxFUF/SXoaYGcO1iw9WImRns4P4833FjMMK/sxAvBBPI30BNBDY5qmH+RHfLrajoGeRX
nA73fceGvdpeh1I+DNkjPV+53q0Ntjh2KuDmEwWGRT4sRVynhjmp1czueq7sXqG2vzLaxZf2cW6L
oweCteMATAP6dFfapr5WH0qIxV1rt+YN4F3n+iu0AqunX2+BS7vs45CLMwgajcCeR2APava3ARa0
TlesnUHzb73cZH8IFqG4AYTLYmEk8EDumwZDQGLKT2o3fU59xWs3Zljt6L4P0335sBY8LoxpAoZi
4kaugYq2xKGMMD5wEg7dLAEn7CF66ZqdBa3dXz+7S2cMFMVRxbPQ/AMueRF7I5ysKq9xJfmjU92i
0OAqHiT19zrAAKsaG5di8KfxFstxUDr42s3+0OluPmVKv4X62Fb/xoO52RXT9XbjhWQIzCkNBATo
W9kQXfocIOF7VZS4Bs8l2LHxiFcie4bzTudqWJLyZXoftsa3cpWjeWFVfrrrzYnnh8wIZUpDh6Ed
oKrwE3Ta0Ork2qq8sLXR1cQaAdAa9NklXyqp7Iy1sYNovJt1whqP4e4MyfN2cKXnuLpfh5m4zmAC
DJXhk/zy/790Pg2/iM95rBqI+hjeOUk/8WrHnVUdZg4q/PDWSagX9sOn4RZ7kDIoJ1dpDTEvnrng
Rbs1jL/hQLUyq3nBL7Y6qGeQfP1BrQCQ5PN7AyhQg/YaZjV4HIfdBj56OdSnT+Y+hxCHyE7QoI/F
ZmXUi68SlH9wtSh43UvQYypUUVYdxJ/agO+0e/W9BdwoDnRAtbJ77AyvC3vcLoE++keL6MPIi7do
ZzHVxmKWndp1u1r124fousZrvM4fwUjw9QPbOKgJnqG3v0b0vTRpTUWdE0YxJtS1FmdFkzNFM3so
b0dtcQdlHOiay4d+QndEka8dZY8rD/lCqgQPKYQCG/D1n9m15kTTQVjD/JCT63oDtth2JggVm3WC
0IXd/2moxZkEWxUn1hUUO6Gnv0NsghtwJoa1C8KlLfFxQvMD/hBj+FRMYwVvGqxVETgouTcQjrmG
EcJOIpzicr5KBLp0viNFh58d/rOQtS924YSCna0wDDlTdLQjqJJDoHhghfaQO5i5qCpEttbmeWlP
zlrPYD3pqPYvCTrE7GDtnffzoMab9OkmuYLC8IY8w54DDZPVPTGv+WUM+Dje8sgYNaZJIrAwT/az
kOjPJF5+J7fxQx0UKPYAJ3LWMl+e16sfP7A2P4+NE1l1IO32U2OoBwxJm+Cj5zff8526j8JyEweO
zx7KQ7/vDmC3bbqwzoI1ENmFY5KizjTzzkGDAg7o81qCQLRBC/i2+FD6hUTp28hrzzLLQIvYSoi9
tDd0jGFDB3HGhSwibE2mqasIRiqAymjgCQcXlpUhLqUZ9OMYizfowKyd1fNhYegeCVX4BnhwyQDQ
1oMZg1/XfwOFd2kzfhxyXsQfNiPt0kGPHUwrB7VgiKjbRBNAPGsaYqtTmx/vh3HapBhgSQgGRfyS
3/f38IbxHF/4fAJWI0Pl85/02UBswtQc6KJRgy6eZVYVtRJRXiNlI9VhhofRgO0iZ4cM0YcO8Npu
nz9vuQPQPYQNlEaMn3XYrCHPZGIP9Y8rBPGyYHqiAXE1T9zrh2SlBXEpAaYfR1vMTqpwx2URRpsQ
WRJvltzJn2YydnmTe2sn3sXwaYCGh+mhBqHSRVZYZ7nOYBZZ+/4IqKYGirQS0LMZCNxpu5D66lqC
f2mzAVszyzQBAaktmX9Do8A9CvrWPmtfpr5wdZOtva9L0Rm4K+w3ByEL58LnBVmlmlD6AvA6ElZn
dkuCKqRQZVIrZKBp8M8AhBSkb0D5YCoHgbbFTutp57S5Yf/Bnpf3BipGqMld4aqOw0DZrcEQLtXg
P4232HGQgmgFkpgajWaE45lwtqne7UB9VsL5jHWC8t30V3KVS5vg4xwXD3UACGZCIjOPWSCxBxB0
rlR1Djb53Exf23SXghdKYjagCNh32OWf32GBnZ8kBbJeGHpDU6VR3ULIs8Xzf5KDQUADt02qA4+5
FGx1GMdiHZzGL49RWAPZ2rlo/+1mQlu6srV/Xvq2aoF/CmcC/AGw1s9ziioS5TB76vyaWa88ywG3
jNaQcz8/t89jLKIHzLlKYYP36OuRGkjjpdfQiepXE72fD+fPwyxeT6fnhPTmLJB0VO7qe/KSJ8d0
o3gwxvPVbgfWCNTW9oq/Ktx3cX6wGLAMbDO4Ri3SvXaEpoqTQfnHOmXnyY8eSbxjX1kovSmAJpn5
QBpIla8eOT+HFMx31vPWoAsFOMlivnEyKYbJMeysYaxXIYrC79DExaUW1msg47DSXStCX1wtH4Zc
bPJhaGHaM0HbpW2/weDJNafnlS39c6vp86QWW7qFI/wYJ5hUG6TQJpuvHyjpHNYvHxfONIyEl0bA
+IFL+zJJZy2clvUIcE4myLM58McRq/QEGScY3DlV6jGhZWfgHScX3sShOfWgJQ71Y2lP17+e8wXo
9fybYAPihgkRm+XxYwmu2EKD6FtyBGQf0QuoD1dzq9DadaC8t7iqQNtlJmLUobmzgLPKXn/9K1xQ
k/r8KywuuBl8hzO4Kc/QLvU7zOsC6LMV8Me+7Wz3j/quRBQKYzAkcNX1Vka/tKxmOwOK5BrtOLI4
8Bt4vA5TjNF/yMu8mbgxJUBpYOfOMO/iTom3UbAy5qVoAaWg2aZBhR6LukjltQHmlUqBMWc5fGzb
owZN97F2sXXvVX8m/JcPSTiGK8POH/s5b8NQKFfO1g2w9Vlu2iJqxpRWGFY5gGLYe5YHg+x4D0/n
XX6gN8V970lUMupQW+VNXJ4x/E5sgPwpEOefQ/2kw9FVZ3/OOPGKG6l5s1bR3JcvT6MLM6x1uaKf
j+h5vn8Nuoj9tFIGy55f7cy6mXw0j09823v6Jg/GrbXSgLy4pz+OtgyJhlM6Y4LR5kKt4iYeL7GN
bMAAoF6vumtWH9of5j0/v8+/5reIiDDIitqWOaWf15IMnq3lxb412TR5kLrTOrfoc+3FSRiYfiKD
Wx5R9hPcdWjee/C53hbEOtowdIR7p0G9WB83Cozk/MaINE+p4B/L2qLeZWZ/NtrxYJTmgbb8qu6S
jU5ywEkdWIYjOJHB9iIr/qL1cGBG8CrcdmpfjFzeUaZt7Am+qxW4BHEqvbzvDgrrW1dPi7PeksyV
KjyZyAS2F9evHIKOLePjwbRz5sdZNAAwjWsN1/qTXZQbzmEKlBDrKsGHKi3bNM0YA+qQf7N4hQMB
oG7DyfeZURzLLn9IHSPUpxauqrZfSu3InDGQcviWRih/0kg96CR9nXKYrCKfui3TbqfRMmzL/Frt
VT+KoFwcJeSVKUAkEat7qJzqMTWFisu3+ZSk4tFs7DsaDffNQI+jzeAIOYDdJSsOWlkf1rZx3Zqw
FlWy7DWNCrHjsRMIWtQbEU8brUCHQmufTZ3tTNFeDc5Ygl9v3cQornmdY+0n2O224wjWi64WYafo
20HNbmRCr1CkP2hVv087KP0l5RZCVfSoaP0xatl33GBCkqf3hSb2Eq5LiWYclAxbvtP3Uek8QuD6
Hpf7dDfKRAT2iNdnaOmBCuspGq0Hi3anaBqf9SmLYc1n3SZ54pUGmNYsgomfEzvX0Dvb6WIkYR0p
iivF+I3D3i0AKfSKacMRkS+Ev6rjyiFWwqqJxxNcYN/Htj8qzJi93fXrjpO9YsKI1azlvVXFxNXr
MahU62xL+2psSqzMdlPlyqPeOXc8Mr73huEcY9m/SF5o6OZb4Yil5BpV8+Dw6MU2o5AUw40l0Osk
9XiXSJQpuzGc0mhCriBvYXM+ea2t6H6XKnIDO8Ytd8qT6DLD5XEkbL9JRAEqYqVUoTNm8DpO7F1S
9d+gOHiE7/pVT8sgyZQ9NEx6L8vHM8wNLbdg5Tfap7dtmr0qWnPT0JJ6SjN6jQpv4Vh/y0u4E3c2
OU1Zf1aT/ElhuC4ryYs0xyva0hsYux/UydwyA/JxOsOaqr/YAprtU5/CtpQmvjRQ60pzMM5kA8ZZ
Xm5Vu7qSJoMkNE+0LRwEIw/Vgb3lKHc9j4/gbuDURil19u6DUb1TP/CYP+VN5MJ47IBKnh/DQasf
LQDBkvJ+oNWjEZffiFFujTy/shSDuUVJ7romkTDzzsk5gtvsrU1L5ZlFWrypHXjRGkXvStont7yO
A0B1rvOkhDyENYQQJ7lDsPEhKvgETaIvY2l6jaU2cESkG1M+ViYIwSDv3nT2Fube13UPB8s0Sk24
2FtBK9gJvr63sjYf0h6wrRL+8y5rjUc17t9FPVQuHn1+21pyV/MKDrr6RmRmOKFDDH9w4QobhfK+
AhwlgyG1mMp7iz5KO/KGKLoZu/YW3+jBodBTmOIqtryyrfIOAICNKRrF01jZ3PG2bWB/OpVXha6f
nDLxW2YHII/6YhpDxXycpudShXYa7fqNCphJrSa2B1cxOMWGI2QGNRwyBtwGJMBuJvWMYnSrBuak
KuDrVpQ/OzKPg7L+bkxDtyNt4ul1WvkwXY3ALtMnv3ZUCIwnAkaWojrH9YyxZ3XswRqSbVon8eRE
Xky10r2cD1eTUOGwqYSNcq0owqM2d/ta7qjEJSQyOjRk4NSrwhhSTyLIQ1Xgf9NSRxiST/DyxII3
b9qmQZdoNN6M8js+8jmh4z21hqeMiHsYyUN3oXkTkxVG3DTcltJjBpE8z7QjqCHTxvTYSLbSal4F
YS88Mk1ggWIUYUnpQS5iDyLMC7HadqsVyfeGQGXMqL0EYYKUOCl1mgNaaoU4Ao6GGp0c4zt8wVFc
Sp3ArvqbicZ3cQoXN6Xy+vJGbb+Y5hF2pnWhzu6grl4Y7mjGEIuYTkZRbDg6lUxHHjeMDC+tc2s5
3qXkNBa5N1DLazMIqtWy2KXp1ONwas8CpO5KgG6SgyirxDsHyJEtwbJLYF1OlBSrQsSuGiPcf7Xq
DP7muG6Vj8OY7KoRpgvRFEBcb9P22b6MbRcZz1sjZbYrp8wlpDZvOwvZFteUTVzEbxRFJtR6VDQG
jPI1KtNHkfKHzHTQW0n9cpzfmrrhPeSJlQcjs4OmiFx7oAcYiQWmwvdlfwvhSV9vzQd9TK74XEC1
zOuhHD07Yo1bkTOTj6omYOlpPqrF5PIerT8ctwKxih5p95oJ1UuR3edFTl0xjocY+q0FYKKdhowl
3kfWVwJTd71n92kcIeZK5sn2qCbfxbiTpb5Nhu6r5GbiqkTuGmYLV0WNFQK7V5UzwZ/+S913V1Y7
3A8ZuaZp5vc53bEUIkRD5Oat5aXWEIi69bQpC8c49mSkukS3rntehLbSHs1pFtmDkwS8Qcv4lsWY
Qe6ELZASStljJtMG/s6Bmt7GidjRYvJt/HOTvOnmgzO0rzFOSlfo/FBU8Y5b0AAE9aHKjEBk4xWJ
LMetIKzskQyLD+sdPRK4VHl5lp7K2tm1XeHWRb61qLqTrcO9rlJeFB1RuLWTtzQTd0mptW6W2YZr
qeTG0ei7aZd10Np6F5qVovqmJuHNHNluV9IUi7Og1/bQPDSUwhI7fgTt1Y0ZWohCSHeyy+uO2udE
0FtDkq/wHHg2mbrp4wEH2IAg8sad6NToAxAHehAVDOb27KTXU2CbwCmyaK9y+o2IAW3RqEVaA3E/
DE5DyopNYqYBtD1h/pqcOiRnvWIF5Wh5SUFcuy6+O731UCq4cYKA/MgmDi/wwnpMWmeb08FtLLRU
DBWA4X4LFcmNVlG/UeiWiu5RGt22NSywy2lgAY8e5uNwKqf2q5hSH8DtJ0hSBXWfeMpQ30GyFIhH
G9ICXYGIAW9hZdAPXZ+d1IrvpklKV1bdk661b3YzEX8cgOlzgKT3RtqikT5IZzOY5NqkOC+cdGSu
kdaBEalvdgQTZvAJ7ok6ALk5yj1NsjONYpiRI8eTtvI2OmRfsOFJGcmjlsvjMECFy5ShbuS3qkU3
sUjPTBF7bUKhTSHFGQ7zp3Fy8I5k4aL+DusivsuI4yek0AKcr703yaTYABiP4JzmxhbAzhJXaHZM
nGRE3i1CZicnnQ+hNpHeT6301mriAMntrUhLfzYSlxY08rU0TAc4PBPDB99u1xYRmq1wuZNJ4g3Z
dKdl6hUZ+Nky4me9rA+K7A5VBl3BAvidkYCOjOi5yYc0tKr+jhY8d8uGbMychpDCDIUJ14PebiFE
ljWuLZPNqE4oiKGvW8XNPcpX8jDyJtuQ1HovuXUcC34FM+gbBpFMmacPsArTXCTor7xQ3+k0bFM9
PSkV89nUctQJarB46yBu6mBo4yQkBP7btGF3SqUHPbYEqcQXjj3r4UIQh7UOBgvpx6uKGpUPp1Dk
A/rRQYUzaK0RHMZuo5jRbdsXLwPRHifJ071pQb+zxetxuYEz0VEshBPTM/Ts3GscPtCF9A1TbuFJ
AixVU4NrQQ3QVuP42bBAbDYtkbmjZnDXSBQWcmmkXmwPtm/qogBQlKpbO8m+yhIngxx1dC1bY8Kv
EE/+IFl6PyG7B0ZvMGE+Hmsu6ZurwiAn2mVvdqnEOHHITpLR56UdJkheXFNxDNdpu1NjAXhrweoW
aNwNNua1UY6hpYrWzalzr4/lvUIS2MVLYe+dBKCCJtkodgodsUptXRt+6YdCnYTfzV7Mg6mAAJHS
Vz4NVeMObfucaDVWJLJO3nX3bZzBAppFOA60KsID0yArO2LJIuXXNhKHViyt+zzBY8UZhIht2Q06
Ycq90Lpzq7VHmOd9dZoS0tZ9mXtWCyou700FVtH2ldSSYLSMPah4B8Vot11db4jkB4PRHS4Em9yM
jzMXN7a1dGvKDEGDgyZfW869MeZtUNXDS0qUykWTDEUeZl5r6pS7idal8GQFM0aHkiSqwkEkIRhR
w4U+K15tGBSc1Hrc1yYU9CjFea1id7mspi8mj/SNZSf8mHbF18zIXgZlcnyNi++ZET06skcw1LWq
wEMyYAI7kii9Lmv6CAPjW55O96ZFngZiAris9bILSpkDVAgD7yBO2GESoKDYVe0nHfnWyFetxBEO
jULEdTUltxlT9b3IhQrmTg3cUqQST/Zd5zcdKQKqKYXf5GZQiHIvBYotSpn7tpEeKqA5YBvWgE07
EMQ7VW89A2AkP7GqI9q5m7JsQ9NK7jQGKEsm39peBJMwEd5SnANlmxbbOK4edRsiDW49asPbkDin
mDeIhh2MMGRvb0eDQl5Pl4HeG7HHU/tOpupjV3dekyo3wiqDnoEKklDWe7NuX8hbnFcRw6WxzO5U
Ut7g4AUStTQKN0ISWIvxLCv7lFroHjkOdhjZjPAkcKEyiSyrw31u0O5nFpwOcUIvj9QrOMR/NyPt
UGZl4BjJ3oaZ810f0bccXjMuOBwx7vcOQRjPrkqliF0F6eB3I7ZecB4cYTY+YHcn/S3kCxDzsC+G
7KvWST1wWB6QIQoHsy1doNobhPcxCtSMAhMN/oybDdY3rTbILufGm44zlNcCt1tk4Vw3oGw+2Yd0
Alq6p8BRQy7RzWv7AcWb51pP7sGGz8O0r74C233mDS/gE0xQw6m6ayjPF9CmnE5qp37njWH4RY7l
OEhUUWKeHpglj3be5dtIsn5b6fG3Xu+0YNLBzsJhrLpDWd3qCnngJQoxBcS6XN2IrpqGqUjABHMb
Q3wbGfHViD5WVLkZhDR8rjcj6iO57ScyQkUWvSf0sHPpASG1ZSrqBq3pIDuU+ejmKbnJquguGiHx
aEzQEQMrDHLkIDrjZxwLqUv7oqYW7lktTOLVaEOBYnQdUTBYduWvuVFDH0yPtlpc3SVR9qVXwLSX
RrunQwoiu2O0MBeoCviv1q+4dGduaheWq6hchliIIZHKDlZkj2lsH9tp3A1SbB0I8yvgJx0K3X7T
ClXZ0q7mbplpWPyzFplg+SskQHLf6O2nmmc3Td1ZnkGGr6RCHGwiHCaiVQBiBgI+0C0UVWTdQF+s
SY1gFMa9pvRZUKat7hoiMtwkM5ogJVhfQxUBYTBumKMfiFa0uAbYISd9WCCrhIrs1mT5AWvnDAQp
FF2qpkFsaSeUFTTILyukxL/FhhdpRQ10s8VcISMryJX4wabyqOj41NZ6qPT2VR27G1o5QVRFT1rc
7vqkf4US8h6J9Ik7au3SAYkEbArfOq7f2v30nPZ4ekZBLVzEhq2atldTSrgrYpu4wgGCByLDUFZP
+herju44A49bgdf3hpTKHaAbqhvL6QYIjnpH87RxSUGuO9G9OkV7wwy+odwCv8Qgt32HWMvzVLrG
oLxFzEJkZpvaandRr/hWjaZzXfRHanUNCsLa25iKOa0uU39o+VHmuJ1xC/Mnor6OyhJ2VxZE+Fpt
UAI+UiA4RHdSY0iLJgRQFDBjd6WsUPLp7DBvE9hrONm7YuAs6ZvyQcmHBos0/mqy9M7mGFt2uNYZ
VffI8uousuxTlXJ1Q9n0ovXsGe/gKu7KV8bQzSqlOgZ552wii0xBXmuWN3aO4SuO9o5/TnytiHZc
7wF9txNUX5GkwhiSe9jr97PAhRcNunDjojtxaT9ARk6/iYgDLK2wOpdUCjqrecuCunFKF5ns3lS6
PMisfGOhVpKYAuGxONdQFpKojwBR390aAqW5NAGuEy3VcZen2rUukq3FRn+ya6RxxsHB3tgkg/5U
dmRrCONuiLH8DBgzWU0Q51YcIoX7PlIU1wqEeGdyXvVeTa6Y7J5MlHIoy+4quyF7OFKeHELSjVqg
alNp+Y525h496C8AETzlrE5clIE3aJO1zzrE6kSb3yPWvzU9royt3pVBMRV0Byn04pDpqO5B+6VE
umjtOwLfNOrkbjOxl8qy4eHX2k8cnGNv4Nz2rVRrURgdHqRKIZEuUMpJS3y3xtNTnqhVkKnpGIAG
h9pI6jiBzkrmpfj9+4rkh3FA4lZwpd/nA33p+/TB0OBUUyYDsplOf81ROkCKCQPSJkm2EHZE1aZv
HljhsDtHUGznSHu0alE+UNGmfqQN06ZkSHB1YwQGtLKmU8dz7YqkeaA20Gx2ECqChoujU3Dd5UXJ
vbhrYyiZVvTc5+ljw0hQt9lNmcV72keFZwDkLHjpFegMY4+5DTXh1k47hN1cwefFzaal3XkwUFZ1
tOcp724LjZxNvdm2NkrQEfuOUmmg582uE3xXAWobGac5PyNJ8WjkvW9r42Yoh9sxbzaSkbMzig2k
K32r6W/SqtsS4xWHHu7ruB1ZbeCQCRIU8EXDzYVYhWclGi7ZI0QO4QFdoMqTal+SKH1X7cm1+/q6
T6Gxa8LMJu4fnAbXWNW4a9Rub1fKQWvaozEiscPj8PoiDmBw5VuZ2DJNnHvauJTUt7Vmgrwx4YKG
g6nMcgQm7mqV7AEczNgjq226xRIbfRsyTuch6bIRUYPNVxk+Aetb2iMqMVkzpzJCSmw1mTc3HSmx
uQde8lVA7sW+3YfmzqJZW1XmyLKZAdnBSgoyUcoV3KTQbumDIb01YdBdhmsYjAsMwc8NpbnL9QHZ
FUtdbUZlFtXwej8DmBOzD2e5wexuFeL4Mxb281iLHmGHskA6/G87iW3LqxkRPzMf05tV2uzaWIsO
bKWZ3FTmseZu/niGLcSZ+LNp298w8bwguft5YgvEQt4KNFTmVmC6Y1tjG/lvM5gLmj1rXdaV9t+S
3FWMH9/W7PuKpThLGFXQnxhf/3xh/+dN/t/4vbr+o+/W/ud/8Pe3qh45i5Nu8df/nNgbr9rqe/c/
84/999s+/9B/rur38q7j7+/d6aVefuenH8Tn/zm+/9K9fPpLUHasG2/EOx9v31uRdz8GwW86f+ff
/eK/3n98yv1Yv//+21slym7+tJhV5W9/fmn37fffYGPwodE8f/6fXzy/FPi507tkb9VPP/D+0na/
/6Y41r/tWbnScoAH0wlw+7/9a4AXMr6ELvS/Z0sxB9gfkCRwAP/2r7LiXfL7b4b+bwQhiNVCDB82
MwbB7m8rMX9JI/+GKAuB15mqwukA1p+//e/UP72kv17av0pcrWFn2LW///ZjEfzVQzXRBEfbH2ZS
FoBqUBp2Fj1UbvQo9pdJcwKI0gjigfi9Okd3IbvbrDVcg9vXiU3kidhs/ON/1n//ZMANGk2mWPGG
qQ/H7IxeBXtLFGv0dABLr6bcUPcUauQb3Bfyx4FED3GO07LDsea2OtNPpmYnh05HqxEM/e7OMcvh
uiAm3CoQU4u8VwNjHi2qOd9OeYNyk8jOedaS9zSXu74c6682a/8fYd+1HKuuRftFqiILXsnQ0Xl5
vVArEgSIIATi6++gz75nh3trn5cuu213uwnSnCPN3OnHk4YuuAttRatkoSugZqTl3BypYXLohjkl
9fFttWzPfznXfxzQvx5A/TFK8m9HECcOan16ZHkincT8x6JYrzXGeohBnmunBkihUESjm5uqIy7K
TYUxd5exGDBJwQTQYGqiuxeM7deuq49E5QbDVKa6YrnjlPYcuz+NovpeaVV/L5TR3T2rkzkAt4SV
lX7GJD8VetoGvd3xbW0t3B9o05+UJekJ7TgEocVofmhjDYsUtkYx8fYLqW+rosNnb/R1NiLdIeo6
4FSN3emJIWzXp8zQn6Qka9oKu/ZBjYwnMTbDeeaq8vdZpIthk/Pe1equKnO7a16NEZ7gaCJosQOE
6kifmIw9lUJtCUwwMq/MATGQ+PuoBmZfLoZ2Ida2wa4/rc+Pr+rBXJ+BA0mMCgnE6BjvogUhbhil
9wMpGBH1Wlr6Zt1Fk7GveUFgQxzaxr5RrcPABLKf+lnxuJT7qWG0e308rIueTWbj3bgFsEsA8IN1
tBhO894giWyo1VdZllkzvpFicH9Z7hLwaYNltCrQdxir/ntv57uriPjWihWGJan0d2DMqM+cbQ3/
/cr5f289jKwz0OLakP/8fy4cpHDYQl9b/WzugwHBTQeWZhnN6kU6ormJHfFEYmkQL2B49QkOSe07
zKxz0JbdknvOhnHDiKd71c1SR/ljJI/vIEaF/6iR8KOCIJx9TbrOWyuNTyhTGshMWrUhDEuituEo
Xk4yGmsAnnIYAJRPuvEq9ptWS0QorIP5ZjqTzMzC0wNpSeOtGV2ZraOto2qNkKbly6rOdX30jlkK
lJ5qe/ixwrxKEZSCl+gwLCh0LPAxhdq1c+F2+lmn7/9+EOnft24IlD3btg3jkOE5uqE7/1i/mNla
xmDawx93n1449nOvryDCigKMc6sNiHru4IvklnGpGlFviTCLPV5rqj0fkVpBXesgW4pOf348R79v
cy2eRYs1rAH5qY0lzpBBLxS+qyfbWPldZyZuVeVW3zzJOvBDjgHmCuSn1UBd3/cNEJFO2K+TpX2p
gfthEfDqqLKId0fJ79Z0eiqOh6nHOB5d7HgxSGc8BKoGombdD2DUWFH15lmatXbiBreidpXNXUOI
jy9HZ7tv2z5lBrzAoUnL4WNpWjusVG2krHeCFYm371O/+4td19/Rwy/hbpfdGRlVKQN/fGkJVzBR
i1/lsc54xzrz+Iq78hcwG5XxdfhfUtd/nCdkPHiIXT/ixPRj8pH3j1VSx6h0RHwb+gm5xyOgdvVp
raL7TZFg6JKZ/UStp3zX7ewXIjDl1SghfmOWN8Q4+8NHqw9t0BS1OrWNyz/ERDJjDAxpyxvgdudl
31c9FDMH5m3xW61g6gpGUZ06SvqrcK0XDA3iGcA6yzWLz7Hk6E/qUV1NZ9jyqsTAikFPHeA0Vwfd
1e3xUEHLc4bhL6WS4im2OOm/X7vWUVb+ZedA1isGPWDSw2Nq3vHF38vpvq7QJOC9TnX7s1/M+uKU
mgza2dqRN8QdwNl2Ga9mZb+sXNbRBpg/BlZLIp3vHMP9hPlm8+oDCSHdHXcguqN2GS4tAOwPh0as
6X8Kz91SMrf8UkNwcNirJb+4y2plUKTtb61jD7En7TkHQjzeOa65oHOY80N5n7QEGmY7IGOhNCoT
MkEuX2veemk5bhqz5+p7txjQY5Td1wG5ptE0rTI3bUyRJkjcATBvb9+Nbn8zIT/6Hwfu75WtfRw4
5AnA/041G4mpD1HnX/qQfufE6RsFEZDF29tWGFgM563tw7IV+ne0mIgGNgkB5L9VLxOzZIClv8Po
DjI/KwCOAbV4mYzbJJ49CvzbYz2yk6fxqhjszCto5reutlzfVQg3321nxUJi8tQaGcBazF/ymWvu
r92oqrgirDxP2DIje7GbGOMBWTSWAiP5erGdPUDlBcibMztOilwwsE+gQ3UUOuvSms1ot1QZLoZT
fP/3Q/SPNN/jEHkQGrq41VCSAL//x7oI6UovgViMJ8ftWTxgQOozvBFnzhvyYawtz4RoYZ484mvG
retCiAUx9XJfih91DpEo+zltC0JDJq2+O2U1YJ0vN2Bm7ZtjQOk/mWXrTxbjuUI1sge8bLT43z+B
9XeJ9eMTHAlUWNZh3IAz+h99kqmGFoXI0J1cDXVfJ+Bn2OT4LDrDeCt2LyJWg4lttsgdC9DEwSSx
fVVfEbRfhu1igohycDlPDUDCUVvBb7Ry/2aVlPu6mPonDwj0mbowMOwjC3ToVbzOHK9GXQa1wfr7
nw8oWdyg0wcaVTogBvjqzEkj1/8UlHR+02evyDyF2eoKQvSE0cK8VrQlsd1BdWCPg3UtxfL274fH
PD7+XxcP+zDpYN+D4RA9BNqBvy8eIxI03NIytrxfVz3dyDY/mcqsktZoN186MLhg0Qj13bED2ybr
ZV5M8DjlPGWuRpQvxETfJ1ZPwcIb8Ur6Ar4RAoZ3X+fuxuwm5W1j/gSX8dK0o/pG1h7FGQaAf8FU
QerXXovBk7YJi1CB+2xqrC87XVSMd+qybeDdk+7VyWLQs+6V5lvfYdM6vjMqDWfPdZj/74fjkRj0
t8OBGGdoyS1c6gYOzT9tG8SxWtNT85g7RG+2BFtreVVW2K3Efh6q1Z+hTdV9p2KY/O6ukOnTiV/3
ffptQOLvr1oLyqbeEL6HtvO57Re0QDPDDkMC6rrDB+em8xNmViPAqI0fjRoQ+bQQ9SZbq/8fF/4/
DJa44i3IsdHaYXAfChrD+Ycim2gKZ8nsh7xANO/TUH9bNXP/3PrpZkIXBuJ2sl9AyJOT1YPRY6Ow
fQZJDWLfV6Rh7a6ByDEsV/7c0YujCpuGCE/+ny4/jNg+9uy/HnP0tLqOsW1IzgZdqP/TkTnXA6Zb
kkEmdgERDYiaxvbeVsdHTX03lJ5W4rLwF7ce4rHW04nq8ADC/ldPPgQnV2k4eQWVwqjXsdB4WIrh
0tAyhYTVb3bxMpkD1GHYR4wT/vQsDP1abcu1hmRkmJevvDLfbpU+f2PWeDPKIqsMcWlW94KJVOEi
zodgDkEizuc6LBFnzhVJUH4xwg7Yu1+EpaPUqpO9KxMhi6RCkKoozv2oX/TxhkwXfyJmzsQaD5TE
teBgEde8olAidYGysGbo8nU3Rlz5HQ42bg011Ck6MX939nAy6a1Ftg0zzYhNZbiyX17z2bifnXoz
wasX/mKe2iKzh7TconELthfKguaHYn7nhFp3LWYgn+OtvXN82KrBvvs62b9Xd/UrFOpVkZTYZar5
aSK3zXonXqJ7yeR918hLMUHf5J7MQxvbhTPgZCdgdtha6aE2GkJqJy7EgwVwTQqFmOnC7BHUXKVA
qy9LhaZqM+JtJx9yZJlmNaHGtGyw8A7zqTLWtNu1J6gYkwEMpM3N58Lhr9I2L3DoJ4PVAkrNSkbT
Wi2AISFPxZaX1rJJNDo/ze2eG/uMPtXKeE1fLQizJWY07hCTDe0KQdQcD/I0VwKauq8lIffK6GPa
fRmAJbf6nnjN8lR2Vjg0FiRGWNKX1n3RNn+QW4r0iXRiZoAsig4VpXFdajOuWe0X+4ziDlIU/sXj
Q7BlkHr4pf4V25u/axUopfu2e75eggUq7/P0zhDAjaRxX1ilTyu8WL1+KRX8zPsNoUKptRTn6l6U
5Xu5m2ew5Ja/svU3WPAcaanf61JmJThdUnpR64rAiLalwNBETAPatT10pgJFwXJSCpdLeSre5/LD
7YA22/lmvdnDbQMb3cTGmwV6wvrWQb9cg74m6ueiOK4OxIiViIZs7IhhuCvXvyxgGvblRZojdO2u
r0hkor+3XsX0yba3xsPo568zBGXiVZqh+76WbTwL7ExPNYEGps6FABAAFjzHGKZAVFcweuX4ZiES
yiy6cPVEYtDT2FpB42V7ES91DiTfb9HmFJ/OJ4d7wry3+if2i6nz+VeJLA+erHMsetBcuhfY84S6
iVdQD6njfykQ84sBh1A+1ZnZgqPC/VFj0srAPLx4F0p78idtiLRp9h0x30mNYanru8aKK0WAmfvL
MEWyMS1ltoobgwSPVgyjTJvHQJg6ZeCESrPGR1yQmAnB8tKEOAwKJq3eEhEwrWje8Vt1ZIC3B0Uf
2u2SoVgKgOMkTGIEEQrJVcOobFz+rABc1TyBF837USaYuQ3NXg/dENwjI5Alb8lIq0VUeiEpic/A
gdNGg8zmgmojm5vh6vb63SmcbATzVk3yPEOGLksttoT1Um48UZ2VHE372mHvxhiU49YuSY9pyGXg
gGTa17NuxYtuo9SOXJa1APqrp2mJkOk28JxX6WgmO6hseBRnENrQcp8HcKNVbuCu2M+V93WdYD1Q
7wb7Uet67ojF7yfI1as2sU0SSss6MLzLBsa1KsYpmFDhqE7SaMBNd9paFwd7at6RFSPDWS+Kz97G
tHmdG6G5qvliKfGr3TYIaAxHj7HMtKttQsPTofKunKeuhsjGYAK0Y8kSr5Ms3odb4xZbPLWoV1bS
WtkoQTfb+/SdcdXeawjLXrxtzcYGLVhT2VgfpIWYCo8gvsHtclObrOeBKbD5BaSJ9U4z0rscSaUV
REw7kguBUL211FpuI/UyRJMlutTGL507bvFcNEja5R6DchpDkk0iPwFF6cDsbp6mLTHimgaEXpGk
Gu3EkN70RaBWzjy99sKpneYvmiNtX40UopyuN96h+fEfvza4kuaKNC7KBvxVuXUapknMQFkEAdRH
N2ww6tQYlfhY+8k4dxy1Jm3Wd3Nzuie+jTJE8eZlm2HJLxaq6nVenbfN3fcLhwrMb5m2flm9zUVq
4sIzYHrXTdO35xnUnqoQgbkvcovNGlcFVFt/PJiNdOOtay6P5/nuEQYNb1nhwpoNesieUQ/NW6Ip
jCSW1pA3ZaNwd8KFbf/3lSab+aNh4IjN7GuBAQORSwodMbUAgaal0SKnZN+4sf3xno8/fDw8nvvz
28e/9edzynGTrsQNLiwOqXpVa0CTO2cISlKQPTJbt89LmCRy1XXoN1bOMCaJThiX0Tm9i+HC+FH9
34eq7/CfPL7vxdGf8NlBMNsCxhBOmB4IYou8mNq8OqRPxkWL20VEGGcTccvMmunJwYt31ZpLhwDu
w6BH6HqFvsWosdF9lNFeIOdw2iI5NJEz4d4vQYgaJjZWUDmHXMyARpebscXXTOuNjBifi4aaSL+s
lCYL0a8d9A7FYkNskizKSIrqa2MAiBBWLNs2Rt5HbENUZFXqlY9mtmKSj93r/j4NWDi955nvmCtU
JWNfJSbiN1bPCDU1JXxmObcOjHZKcDDTeUQtMCfHcsUt6KY1pCDoUNwPNGhqpANNPJqtU+vC8GjU
sTSbiDcOFsE5JsKC6rhJZonUlIPTbCD0ASoMkgPCUxnxCvp03L/Qt/oTW/y9B3NlsQRDGBJSwA4z
eJEKdotl5eB8HWxx6tY69mDdGKQI9Ka57DvJ+Eiwr5Kwqp37YDU3eGNuypngo9gC1L435SEmUIx5
R/oLMpBe5D59G9F2TbBvLNiniv29pPt3u31bKKbPuO5hlUmki//D0G8VERdeD/caI09Kft3GNhG0
fZy8RUK1hYVPdkZKGnJeZ+waM7Ybw8NAZRob6hVJ1HEHThVcQWR3a9wJI1LSiPSyiGAXD4aBwD3N
YJzZc9z7N3BkAVS2X7xGvWAkR6pDuKZpSVXaiedhRwbjsHZx+4sdVDTuWbZZSTXLpIa2nS3mmcK3
UbVlom1B5Yoc4GJWt0NOsaBhpkqkYEOfTDcmc5+vlY0r1Sc2wiChJ+2IFiGByO+7866hHILgxzA+
oXH0G3uP0deH1gI9v6v7mqlFmAifLJz4pcpJb0LxSUKl3NCFnJAvuQHBKmYjJhQMtifM3OZYm7+s
unsfIcpA7hHqTZ4Q3AutucXa2rzo+AdXDbeQwChW3uEug+iujknDTlS5Z520Ma1AVQxYGnSeAGzy
j4+9bHsEB5aGCkPnTeQtfQRrKvZ6HZQEZisJSDuPatXFYBd3PjnmduIOCXuGyXZ0S6flDmFy3DeQ
tXhYH1B/2zNmI7UsqisjKHYrHtDzrQR9L9pZryTQ/OKybiYAGcl0MP/7iqPHMoeFOKWJhvrFG7WE
GOrsbSNqTe15NOrTNPKzrNvQ6bG01/BoorhHhZpZXxnizJ19uOyl8kcslNTW39AZZU4nTpgbFS9u
HWGdjvZVy6Hljh3jCVxqvg4wlhoSAvivsCBDvIUJfU4VewW9Kq16QUfxRePiNvDqreMB4NebU/SJ
tCbc7fyNV1MIsCnVLH4p5SHZMBK6vvCxTmGeCB3EZ2KMZjKBLStrlRoWRwkPIlsAyxdYVpHONxVB
IyEO2HdwTk9EwzI121l37LEQrPMWccIT5qcsayQVy12zfOZiONvig+zWuVmvs9HFB99j7ZiOVOJa
M20UPm6uL02+S4Wixwk8+EWw2SeqUWdAT6+jtSf9PuSSvztbn8lmx0j27UfrTIj5rU+dN95xhiTt
4qWwQ96b2WAXmQkKCWfzVE30aaoiiByZfq9YmRjQ9eo4j5bJLrXhhN1eRlJvIs0DcgELCep8wxhS
IL6hYS1JwUgKJ6iOnPgR62/pkZi4WGEGhMVC/tLpbdKhQOq2WA4g+t05a7EENvQJVECkj+Tb6BWp
t7cnhxSZYc0wXuD+5ziPWJuh5cVIZ7HsfttWPtTj+eaLYvwG2uRzhLWPI5V0KYxMFT32krx1ELTD
92jDfEZHQRG1YkWcEzphMPZW+KT9YuICOWb+zDRc1yaeqMr5at56Ba+n/WtdXyAkuaNb9a25f1aV
ndVutjkYnbLfR4udB6VlE7RPe21DoPJdm5xUzTA/gYHhZhcBQIhsYScjJgod466IK7E2PcMcfGP9
knfDmoFnDqEQf7YR+q6MM8SDUZXWBpgHC8xBXIAyKRDUbiLDxJLpUJRJ2eECBkHiWsPXqYib2ohw
1oPWGdBuQ2m9wssFLaIkVeBAJNb3NDK5DXMOBOHeBmoKEvFlbC/eVp2FpuUYbneG1w9mFBIA/v6Q
snpjm/lSWShW4JVKYfE1mqtC4QGFtO80JB275hX14JM1QoxsAaRvFyTEPoPzvtla63fbtSxyd8V+
GBviq4Z5kc5whuXGO9xF8cZu7vTmfS/WpwZtqG4nU/NaGCfeJq42X7TaiZlTn7WavxHaPc/6EPS0
BYe2n7AgZ7Xm5pCSfWmR6ilp+Wlt2Fi1Jq+mKm5bfj72v21cIC5DHjJXweCJlDr4Zyrrotv0uV/W
0za/DFg5SNSXmNfJ4bzbIROULXoRO51fLDJn3LHDnajE2kVmr+0znQRwjTVbKhoRt3p15k+92UMi
VWYInmmaAgIi4npmUOCJqLBlbg8i67pIK9BbVnOgivomqv5dGfIKbD0mEnyD4SZTsedb91TOMu22
T6RtnfWdp6RoU9soU4iC44o6EWvbdESxSc339nVCLN9gsxDq0r49SpeHPJi/7TApb2tzGuz6snmY
n+3aCVtZKov60ujuleGtpx0ZZWhyaihvpZ2imESgL7ZPWJ8pvFWAaa41PE+gYLMJIuiBbIj9q3JX
q1L6vBeB1bMLnEVQPJtarA1FBOA37zUUbKrGledBTtddDqXmysgrIcWlIno67CJ1S3h7oHCEFfKV
6O674Zl3cDzPYnNu9ciultkAQHZ8WSOzhIinrvMunVmluylyPjhwLZepi/HLLdHvw9EvQ65Z2Pu9
NQQijNW11Ps3VexPrNnPEI+3RNxpY71CA3BubdRwrZlZK7qgETcYgCp3jhHek620fF5WdaldfnYN
O9unMyxJcDC7ic71VCvGN0zjeXeLHy38UCXsTV0536Bkk9uadNp2antEENPtNOIqWDHy3pJ2oEuG
fV99QAidslb4Rdd/Do39MVXqqdOKt1nnzzB2+duxUtbapUPPqLj2iZUS7gg9scci7AgLYaQ9ecX8
6ewFJHZLpguOSdSBwWe4nviTJvSTW/1u+/VbDRXIPiz3uUdSvURdUQ0X3WigKU21FX6fcklLr3pZ
QH+O3MpZ2WAhsHJ9pM/QyeBVpndB+dVYrAhcPJSy0Gs6mIeoxUtTPrmdGzLVXifi5XB2PE3NDKGd
HTVcYbBn47da/1z21de+ormDUv+4xDWIbVtHZvCYRfpKn5fROm1mRiSYg307Od56atv27lLnNKMp
3LY3DVvj0o8QWZpXoIQ/9r7MISq9E6MI4E23F8jEcHt5IwYkUviUjOm8NEYGvqtd3geDZq5VYsTa
nC4FPQFBntf6jC0AVTr8/UBTG58TM/To5+SasVDDGRx2Li3jtKgW6LzgvoJLvK0+5Fx/sZj5ghCH
hMAdBbboNtDX1rVPFA5h7hrZbLZnUDwXadOzZhV54ZG0UImCwJTC+rq4yNPQE2nC7KY7kTduCf2x
cSNWqxkJClNG00QT229Lqd0b3MYl7tLdhD7CvJQV6FZMrRj4kLRQS4Ovelk0eip7O4be/sKIEdW9
wtDuD2hm86HaEpiBEu9Dt/ZTsY2JhgreQCBBq2GOgDFcJ297WtDIoscLmgZ4nQPbvdquUOpzr0lq
DUXrDvSj3k9g494J7rd1WeG0KHFfoQQkBuockTmiBaug5+zcrypGrEsKDAfyahNbaG3H+lpESoy4
a6oMvS/cencq1mCskeXnLhd9hqGZ4RKeyxMslxkGQv2UvTiBunnGvDp/ZkhdKYyA19p99rQbNc23
ttWxTq+/5EaxwHrQ4bTpwiLYuFsNHotuv4Exuyy1BA4HM8VYjanXtdHa8Se4cd4opc+gBO9QjMdK
Z88t2H1ppl173ZCXLAXLMTYcjTvQ5mPUnxIHknm2+jVimJlHO9Tas5U79naS3f6se80Nvfi1Lauz
tWyZNn3baii+C+tTderVXowfFKP/HEulqyzOrIfqWi45Bywr6+W0Kjtv9A+yyMDtsIjhAwwmeI8F
Aq5mxkolTtngDSdqdSdqDOA73JCSMbEWim2tPzct9gQNvPT2xfbsp83tP/fDE7+Ud1KUEbBVmMMb
EQHu2hBBQLZo+L3YWzioGwXoZmp2hNzBeMSyB0V/Qq0mEYaD3m25eg5cJg5whZGks6xibv4i3e/Z
Qsylpt1aVG4zLj0HLr0afRCgDkKTrRwTmEJi3VhS6hZRocEeiyJYJ8YJPgqLfxsreJkJx1XoQZuk
hbx+xz14wgIFqfqc1lx/rlc0P8y9wkqC5vEKmRfwSBLrhR3RXofXaEsN+Cb0HluRgxJjl+fGw+wh
/ds2FjfKukuBob5sRbGioPWGpxsW8RqpEUvckc0J4OTGf2Zb4VLeiETYyAMS+RMN8ewFeMXjyQc6
8vjJ49vHwwO6+fPbZR7aUG/F5tMeAqm/wT3jf4Gfx2swLyyGQqZUA2q8GhWggBmmFh9iZR2FJpgA
Ptc9YAU8DAWk46TvYNIk4x/PPb7qOxDk//nFmlnAIesSFiKYE/aAqb3Px5K48KfoPToWd8tRhI+5
qKsxHxfgSdo8YWvWKS5UiHFyfZv+eBga2oKVfXwPzOAorP7vzwtQ9BAlbunjKcurh3yhA377z195
PPn44z9e58+X2OcNHsm5RaDScTQe4M/jMHWrMhHq0GBFPn7Aqfgwew+5JcTU88dDw00Ys7BDIkym
A/iE2BLwqzpclMdXLRR+OHQKinHP+ViOgyaOQ/X4ajkOBTmiQdoCpeaBsD1O2eOtVC/HCMzcT5j7
IO+f2g0IikSWF0AGHNvHC/Twme/Bf17reGnXbn4UFPh8VY44ZeMQQCDnZdPxjrttd/9528dXj+dG
xJQBX9pBhTUtOgm8xOPF/vzdx3MwtWLi3Z8/aWZI5z2NvcwMh1+sOD2FdRxrMQ1TTBTkepJg0m+j
rnJA9oYa40UNMXx8UQGX9ypMIA61v/4W6JM6NUaelAFZbPQHemLNY9TZXdToW7KsS6SJLWCbeh2V
950MlwIeYgl38W1q4A5w6rCTv6H0upvGjK5sjTgwce3AFZi6qt+iAAO47xmMo6eugX0Ag0dsCgSI
5XoJZ6FsIjXYJ1Bg2d7RJwxZv4GdTcysBhFazzpOTH/nu3EatOpk8/7STlpUiT4hZqCbgZxRVCsn
g/087glPywU+zrmImmMLYuzKT+tQpi3BVekdm6IWLtQ4IRTgyuj4Cjjlt03iteAnuUFMsEz8BRKC
fEGUq1iGuDbtFJN0mjoUsglYrYJKLj7B8WhrnoCIP03TfuYoHrSuSY3Zyy3yWUjnyaxQwcqfx2HY
Yb1yOkSorjrUDMDo9jHC1JeQaW4McV6yugsK41/zMWKtOQFfSxtrj82xipYFthVUjVodtqTwCxtW
M70MNBQnau7QdpXpAIvrgNKDQYQ5jCwUO1wXY/RTJyPmIqMH4Pt5MVlYwV66lqjklJuMOsV93ySW
YBH0UT6miPiu5PEAKFNQlZRrFbrTa4HuijWIs0EJU+EtJLEz5Tq3xgQ3PzybdHtFPkNqsfpVwJqm
A35UO3rbSn9qMLH96BxFa+Ig4ZBLRGLMPTytmjgyD2DRKCK6HQUkqJMdlJaFKEC5phaffOHB94Oh
aQxQ2jAf2hs7bFABMRCtGmJOEDgQaCVmngKhZD285Ph4ko/BIZwEZZM65GPWMAIANkcs0AGrXnX3
WUePInsvXE0vqjYZdpcmA4rsa53ht64RKNViFU1r8mytSK0zMQSs+1nbX5z2tynMwHBRuG8Y8UYx
LrmPHYGISc1IB1MEpF3CGjq3ArZTfUAQRzdG2tpFtclPo7OG0BCFdHzCBFVom1fkQsBUvZfom5tg
g9NmpxCsqsJ38cm0hYW8HE6GYWZ0c6IRyRCELWFvO9FaXMESVhRIJhP3vhg/MfAgmfFmTSGj2qOR
xexvOwf5cSjCXaRPFAYCFVio7cjPxpZSAtJb9m8j4CYK7gueYKYTOG9dqGmHuGxegSGQqg6ZB+bS
AQFdeki8sAAitMCZp7D0Nn+xwIsTG0LTDggjUhcWEXTbBsGqymlFv6N5gxQNRp9yeKfInVncMreP
QJvBgL4TIV6CBASLtQ4dIFm2QyoL9BjmXopM19IOWdL8VE0FuuBiIHaqPdJJqgUk5cWtWNRoOFn2
BEwO6h/E5nT8XCOqZS0MbNFr0iOjB0ENd/BxEVzTx5tH24oP0ZyhyExdUiaVB5wSwkwG9atAh7TI
HyZeVE1lVAEBNYcpR4BwXjVawNwuoGJOPNAsVNqhWgBcFTtCu3WGTIpmhFXRSDeFWLgRYy5WXG2Q
SbAdklwwFPNqx6sqAuByoUTSqr7/0pbvCLfyXby1xGFb2qyz8nKrQx2+7drWwhZIqCiHtG5YQGF0
woimbBpQh9AlKIvfarL8TteAnNkIqsQ5bRVcV2S/7apLORNBYbGIglGG3f3ssf9D15k1twls0foX
UQXN/KrZmizPTl4oJ05oxoZm5tffD+Xcc+o+3BdKwood2ajZvfda35q2Db1i3KQPAetxSr8oz/9i
Gn4eGT4GdXuQ7CdI7Dn2uD4D+yRyBCi0MWWRH6syvMb+pz3KjXIMPlXVIYre3WJhhPi7iqEe3sF9
zi3D7b1VNDDzNGB0oFlRfrl3fAMr/7ReIG2VL4jR6jEPFA8Rm5casgM77GM8QauqfhcDancbjAtU
AQv2DxrTrt5OA42T4tS65qs0Xfre5rGuAyz79bYb46PVtNS6j1CXniyfaURdvTQexq6ubk5DDVAn
YFgMe6DYZzMciajeZjNSwuRdme7OCNttldL7ZvGMwuxgddhHKxTp9Q0kwLoqmnUPn8qYprUF3EeE
w5YmDWsuOGz+795MkVIYEEOC0+T1a83O0qIh6HfNvmDhzSW07DnYz6hhE0Y+w2CuJxVvSv+xYx9a
xxiEk/SpZqVPPEnbwNz0IrgujuBwDmmBOmwDqkOO8idsoPBNau3NaMYbujEipoNpPRmJS+iTeBjb
6K9sHuT0Ylf9wghbBlDusZP2u2u326KPHxx+00k+bgOMDIW4xHb8YLGCGHr6rLrkbWzLm+2oz1jJ
n3arj6lfPpRZ8Ml4dq0KVkST3ceyI/aymG6djerfWmW8MUdclWSWxi3da91Tj9ipsm4zJmqr7C5J
8SLC/pIm4MzC/odI3O9ZswtSLjQvNuIVtvF5ds9SmM+N4eGzKNYJZCUSKhr7KbPyq9OlFDYUTP3I
Ds9YuxNQX2Vd4jB5iSyXQPT4hzKM18Di3lJ2r02ZnruEGNKk20VcCJG7K3xMf21Hgypeu6yhEwIE
lJcv886NxG0YkxPptBsaQFtVqo2dZLuoHrdsOTcRDXOluV2mch9EZ3zAm9IxNlrR3LXC05Sax+XX
IKYHadKvGPgyf/xEpIyd0Yvrp2C2H3r/Ie6oEGKJ5KE6y4mbRZ9eQse5sBwuH/tdASeqn270wfAe
ltt4nA5G5z+6DCLjJEOdZTxkoj3WiqaJd6HX+aaFOJehfyor6zhAiMC1ek1ldNIm47Aq3YRdtK/n
n2MUHieFT010D0FAczHmbmcHW007fKDxnaUhleQ5NX4OtgmCAAd5KzeRR3XBrqfLmlXp/MYNtOrt
ZhVXv7vgZVI333ovqNDLHIna1nRQIulPz3q15huEMMQJ6G4maJU0WNJT5D+p/u/s3OqDIW9d96dg
/7VwqJw+5bWv9rBvxCEUXPdPpf9uG0iaHqZ3C8zbsNGvApiR+2D+gXn8qD5xKc/VpkHybK7DX85X
+MGagtcX8dq1umLqfXBW4yuaAIqMmj8bg/aXjqVywVrvOmYfK9mth7891D365xn3JzbRXqq53w3t
LcPTzqAtc05zEMRXZXTVBlG89dplw0sy4ME1zJI1Btc0reL66I5QHy0PgFISC49JDnI7fpBYeZOM
V8nkd5gtcINYNYTDlpzx9d0ckifpdNAl/yknN89x1/nfjTJf3CIer4bf17+h+FF5RbY/bKcR77pj
KeM4ekHPh6HdDm5lnOohvhTh0AHPEIK8R8OlSC0Tf5dmlLaZzkqGEoGMSLi31XpcfD+AQUBqTePN
9R0Dok1e79M4K1n1jPQ9nMU5N+m5DbMMtkHfJquQNe0tm6Z5ywJtnUOJVUmZGPHTxbkk/3swJu8g
Cos9SzShUvdASCfu7FNsVepyP5eVRXOIulnvLW+uz4bEYKJqMf0UGQbzueBCGq1XpcAm3HU1IrRe
76cyYuCmtoz4GDGoNj3Yc7ozIcCji+VOaJwEvcvr/eDILKEvhVTIOntVrM749KYruM35Spr4dJ39
iC5K7fy8n2IqzD62SK69muzH2aCBu/yh7n8t9pPsXTM+/PE87erFRmNSm8IpK+LD2BrjSzpZSDOZ
pxGshjRz+Zf3Q5V+JZawn6IMnFsHJW9n1YE+R37enO+PoJ6dvTG/1l5mHe/fGREKXQar01vPrP4Y
qem+dG3NNFABcS6oGy9OQpm92PeATY4X2ePLEfxx+05FRycEAzJgQtgZlUqfKtOI1hV+9w/fruJV
Cjh104cFr9ZBjmHIbBOmuCS6fGUSkN1k/KjNed6ZZegc0mqI3lA7nPKRCNaiqJ5NW0cX7UAbysVo
fxQFA/Ih+YOaZRVnGQixmUdq0Bc68p5Dpyp8MkfLPbB9aF7YZC2hG3PxewiiZ/LHKeICy9g0Tn80
dGGf056efY0x5pbZfLKMhglPszwNp/Kh6k3nFvnpWrptc83p/ayoCrNN4TjTp7QH+tYDlD2/k+mH
kf8MdSYupc6h6kAjeCg6sCvxEA/bWPnpCUuhZXXed1e7golvhPRzHkDRae2UD5mVABPznqbZhddi
GjezbaqVMPrqZPlpelXR0GzGZky27WCinknGG8J8+6/d+SuHMcz3KIFa8G5JxEmNo2WqqgC75KX7
2DX+gri5xG5tf6shuygIGoPuaGoVB7+VEiCjlpcZDj6ENgb+OI+KTdplj4YO3X3SJsPJ9Wp/kzc6
+VVVjzN7PYb8ItveL5Pa24Vjmr84Xc+nfAz1KptKeaHBEF8y8lp3yTM9f7UNEW6fNd34cyZ1tlW1
/Ok5unuwfZ0NID0GxGg00TKV8+MDEG9taKU3b2Qli3r7bRjy6WWZeDd20e1Hp2KgSzvKc5TzV1pi
TyvJ/4K7QSzyVNibmd7B5n5lx4c0DZBXN8J+o0c+FMNzbCsADrl4gZK6GZPIfdcY1K5xGMaryB/c
dykE4qm+ZxLt1NZ+Jm6Cm3XJmNvR+Fo6q3+Ny8h9FIruZiiH15YJEJTKErQJEMRXKswbGiP3Gk5G
/4pzGPyO8mMaAsDNvGSMTvFzxgIiwRCVFz+Ww9dowSgwi65+s0umaLocuQHlPXdFx+EeE3MFN+YB
dlX6rZYrsunM4QYDsqJ2Udk6AjKCuCCLX4mMZuEde+/bYbdA51v+0prbVNGUEaVhFjC9G7CL9xbR
qnGZXMoR2tzcmM3LXPAuBAKN1nfxXCoXjgp1ywW3LKaYrnlUcdY+dgVskjZX84PjleM2RPFGr1UP
YJqVj1pmsa6CQESAgcK4c0pmJ7lR3DwrDpjcTeYqXUwR9wP0r2rVeODRpwBhmK17eif8ndIwVS/x
8umZ/WCVTrnPwBDEZzajbg7qQl5woWE8BBb1FKN0iasuP6f3n+yL3iHBWaifRYioQgwuLpyaecUQ
cD3aU3wZYAytrHnCaRo26tqAhVkForRfWxflRxliMFwOjgkOjnjHalckIQiLxaI4pW36NMziQwHk
Pcxp02z7ZRZqdgzvkhFfoGioKO5+Doy02Ua3bKtZzT+BnTkfjh8rEhp869GNm+EQ5Lt/K4BoI3yS
s4vZo5fqRLMH7ULnXFMgfhuhaWHejVe5Fc9sOopdsHiv7qfuhz6wDnlhmuCCI4iZTve7qSXVNgNa
Ks3kCAPrhV1rdLLR8esVXcfoNBlsAiO7I/M6gCVNPOpIsENAaTCIMUPMmtRHCVr1pGeFXSYtW7Ao
MSqlIv1OO+dH33lf/3zGhTCAYjkwtuDIjRfbdW+e3cmX+4GFPF5jcjQOLXLDg/S8cj3l2c00HTSn
AE42pKw0zzSr9sWUOVc7lygJU+CfSkyqwloKFSfyZmfrJT3bHLDKkBKd9IwJngUOpCpDs7sV05r4
XUGbma73gzXYtIFcfGfV9J9TI0kA23qgDqfi2/rwK3+6TkX2a+MVlxwJ6Jmf623wyIQMYSPrgI7U
SPufFsSrPXOcej/EavqJSqhGPNo5prHlEhPl0Y0m/Dy6hXRFZ0GP+cVkun+JyfG63J/eHzE9MVBa
isP/TnVYTTaYfJzFQWCdieEyz13r/Odg3FmL0i93huNP3cpvFv3raNXTscnSjfaD8lwtB8togj2I
vKf7KQ9nxL/z90f/OSf2QZjRd7ZS7pNlHiOKCTaF7dYXFEoNwne3rxlN87wFWL7y8ghhmCaFrNbN
Ywa+5t8hDFnae6XpIP3fU/dXADOWF8Xr7+dtXTYPg4oR5Udl/1Jh/s8Sd3i6PxPYzTZK+f1u6PLk
OfAApYr6keTr/WQrFEzLgbufA4/ZsP6dy5ZXRLyix1YOwzJUh3whj1XETq6zIfd/JIKGDuqF8ub1
pfdYh3kF3YsvxF1vAaMp/njacPadNOtzP2k0eaPMH2NfnxHm+ActaHdZlJLPTWaZz8NSUAdV2x/n
5ZwtFcSfoo4zRpMx7TOEcWyTZvqfnlvnZzsbLrK07JvTWMEDckmQAT0ycygn27iZo6fWpnbsgrR/
8OWCTVrOySCvzlU4Xe4VbGbV1jnTNh9ic/rGat2FOAxiYexKrxovICLfcRI4u9qJttT39ESQvW+G
0QmateO89+PYvA5zGzOXaiEqBhnZD/RGTn6ijZtr9uPKipzuV5LOTzo227dwdoqD81tkrj54fS4e
9eSXNL6182GmwafPPegYNFptnLYqd/DUsh2KJPstjJL/Pk02jhqLq18AcCpUf7373EIr3LpWbP8z
zJpJ+Se16GbPc4SVShbwMRf6VpARno4dswMo1bHEs5FGTR1kyOGFWLGdpnVCsfMeOwP7JVPIfY8O
jwoWKtXEdbHodZqLnwu1o2XW0MmkYMjtcn4Doy1w8a0Gtwx/t2G6ZnPo/E1c+zFzhvEH+ul5HaqZ
InXomDJ3KSwlgEiXyAn5kQB9s8JTH8qmDRnkZXRKlqdZQxgSsI8jYgwNQbYVb2K+ldUwv94t2zyR
jni3/Tx6yosIhWNZqEONfuc9mQA7LZ2gSMGkhL2VPiN9bFajzY6c0TXah+CFEbRf2tO/bxZGt6my
gj07u3oH8trdirKsrkat88OQeBH2joKBs2lmB7zy1TVHnb6FIZ08zyWNU9kBR5MQ7y5BVb0YfSBu
tuEOb8DgVvf3lqng0opJPHQd9awey+qjrcFdz0NGwI3X8Hazn0htxS6baLv6pknh7pWZeLTmCxqs
ZF2HzHN8Uahr3Qbl9f4IlB8jnBCJY9r28AVEh/pT6PKQcr+DUheOJ/R0As1gV5/qqhSbOkaSbIYZ
hIjlnA6rirThHsORTl8UoKjT/w4BloJ/T62aTByjKJCwLi+pOpJL2WQ4u6GwBrWvUguIcYFHphwi
MAUknu0CGQyn+10hJsfiWINiU8uNwqzbSqyMyXocxpjscDjbp9qCShopOp+Ng8fWX85ZlcanYjrZ
qx+93G31baktSNzWAMp9tE6A7CcqsYNwPWJT3Sz46PyZmXMjfwXO1qjNCAyqJNpHl/ZbJXrwSgOv
vF86OWPgtTSQVpMayszNoXWi+v8cvCCPTq4utg5TA6Nd+w0av6aKyZCw46rG8tLRrndbaPp1QWPt
PVStkb5Wwiwe3BlauOsn6bW33V2Je+ZpttLmqTad5Nr+P6fmUD/4FVdE76mrMw/RU2pk0ZPtz/HB
GeN8fT93P/CLfxUztZdROvk2WTZP2XLwZd0/mBlqE6Oc7JsbzeapDs1LXtrDJZnQAergOjCIvbA5
GP+dnjI0412H1jClvzN5KtLb2KzGPTZk7vVqxvjaJS6eSnBfh9ls+y2GkvqFyd1zEDBYsgJaO2pZ
HzVJX6uhcuRlbPw/uazzD6ZQxSZTSXEz7MV+Acqb5mDyhySA9OAQofIEGwNXlZWoryp8NQGYOWOY
PTZDWLwCQGYHy20WgZpdPolF6WgNzqWpiIjQC72h8ok2agwb0ArM7xPSPcWkK7Or1egyCJKLVtZc
DKtsDvUpWoJ8O2oZvxHed8OkEhJA+WtuQ9InMON50Vwfmd4kn35Pa7Ss51fW4wERmfm3KbP0k3+H
tdiIXefg5TLdjNJ+5jt4B9MrXO5IHlLDqCn/SPSCoGxZX0+eZz/1LcKI+zOKn2I/597XHQZToF25
2bhq9knjJGu50Bvu52of31ypk2cr/mHquHiWsutf0k4OG3Ocg9396RyWATIh+cRuIIRM8lGRTLFn
gN0j6LfjH1nuPDmt3z17MqgfU9eG/egH7Qm/RcOUBI6Ok9LGv/8i74dp6stN6ATTKmtoQN+3gBE8
EExoRsAUpM1jurPLZjkEkbgS4+h/uGP0EI+yOkz3L9BBgg4DdxzJaDTf7o/SujJvpGNyro4/QcJ6
B5/d1VHV2IuUzJ1LoJM/yMlfm7yfftaZJ4FpW3zkooJtCnyETaDK/kroU7i6W8K5CUAWrWpDA+B9
9lrLvDVJyu7UbM73Z6NroXXrYn9t94O1hU4EP8Tuy5vANI57Bv93PXf6EEw9BLn7jdyN4rPIWn12
4aIXg/BvriOD26j9vTNVzeV+6n6AQ4JWvIKiE0Wle9b1/EZ3GQuSnLKznJU8xv0QHMa0Hi5+oCGV
m+ZAkzzjTp0V6XtXkpdgxtEmpqR91KppnpyCQUFZWCGGZuCmOm7kVTlFtHXNyn3KQ5vIBJDGb7ZD
R9UKB/GzpDWUTp7/ZxA9ZEJYOtZUyWc3RRteFdnfuF+0K2r4OfTCWgmv7N68nMowanpubIE7YFMQ
h5jt7zHtqnI/tr1DrTyUe4U58N+jeTknl6/Go+tc/r+vU2rdGLN1wG5if1h6fqbjVj5NmmFbXGH1
jzMnYYNfzTjPZ3JwKmt+UUX3n0fyv+fuX/3f65TXuEfl4dy8v2RevsG/R1OfPjv9hB1Q/m38npu3
Kcx+O2m67KRnZM+DTQAYm6d215XOV1I77ukOhGFq4J4ZH74MVsU4HM3SpssptBVen8N9yalsBKVd
FNgourzqBU/YrLS+hC4tUNA69tv9qb88bRdwAXIHStYsGTd9hG9CsoP5NDreZaoRyQ3cMT9j90V3
gftQL0Y9gyKCCIleDRDPYxMCp1Ujb7uTmO6HkW62prWnEiM/lnPy995LxCJc+1mD1pHuYuZNiw3I
zbeABHb/Wnq5YAZol4BAIRT9hEATIndN7ZdibOatDAr7YhRdBwhm8JGyBd01VwOO324wX6uapA1T
BdGXRpobRfKFkY16ay18tVXiQmq1NHWnYljaBZl7akyFPIt18UWOkjgDt+3fxeS9549G4cY/jLZU
xxmU1eb+dKh5171ureuID/NFuO6F/rXcjSrJDu1E4EFv9dO+ynT9wxLRlnv69DZMXnnWIV35uAir
HxCRw1XqkYRRAy/a1KbE5Jq73nn0x3k3WxaBFG3vnWeapf3KMfEomHG1s1soP+5yqAGGgTfNsAhU
jX8hpLHbdbmo5M7Jq+YRJDVTQVc91J3HwsZKjRy9Mknyoje2/9fQ1L63igVNZbvP0XIsTWknwvNS
aoP7+tKxdqeY3WqYMQOX+bQfLCYK/+nsOVCfRpspX+ISfnM/Ocx2tO2bCWX1WrSN2KihrU+wXmoo
3WBe1veHWjlyLxpDwPH1RIKPgQ4yO6LmjGbnrRw6c38/dT/8r7MsbNnt0AfHq4p6u14ldmae0sHH
Dh615qn/tsO0O9E86kmiWc7cX3A/oCyeVmQlMSacC+dsM2BjwGgnFjfiFkhYXgCs94rFKl0sD0Fn
2+f78yFmX1Gg5p6Dzj2EZnhtqfr5lA65uLDKBeTSdC5JAXaymD4cAD2+fsma94gAF7mOU6u88exf
E8uV9f1ZNhbN0xQU7W5QYKSNqafxAqHtXycePADJKGmQ7ZplW9RJuvD3r2ozgG+1fPXfU8GMIczh
1IYLpwm/1dr32+qxWL77/VRjwAPO0+rx/uxO31heBW8cZa2en5STpVdpMRUb4k7+yKI63zB6ddgx
hN0npH6YJs1tzKC/xoLMPc/sGVsbJqPxNnug9i03k5jMd6fucaSFA4kT96/S+F75GAowhA7HtDSS
z2j22JMZwSvYPvVo0tJZ/Tvv8Y9Q9NG4jrf/fklGo/Lt/fn9PxxMlo+0nz5CbWLnT2Oosf9eeH/e
mMkW1J9B6Wp65/vBjaP/PPrfOW3LjQlxaTcjekNW4KDv0Q6Fo4W9qflZd8XOiqf1mIyCfkzDx4WM
SVpEzsr0hcRNTfOT2DHTop9cmskKJ/B7mM37ILGqrdGF86qcH0ZAydvYkauuJV+la9gsW97CrQMS
Rf931xi/qS+ZfrawXyJ9UlCCi2YmVwSW7KytW2cAF3c0NqhwJOXRC+prV9lPeRWQUyDLs93FLn7H
+gOOHdKz6LA01JHYsMVD4xQa9iO3fhynVO8swlZefWGtas6mEAyVavHWpcDbjGohAysaJch3wyhi
eC2fAoflBq4TEyosNCYiXEW+o19mXzhlnhkk70Q0K4aQFW7AdOl/oHxHczuGw7kQ+CKLoHx2Q6Qu
ceJeXDSF/LmYzySqZb+V9ofIow8j6dIXwRthSDGftuBFFuNZpnQtoiFMCUGQ54SlZqXr8Eek9EPS
Wm/LWrKHs74pWvXhjbCc+qx8crn8XNtZF9mvpoxvY9z9Wv6kqW1TRZLspk1URUwA49Vn6/F5Hjx6
GdPsX9PBAA3fifMUEObcYIDNsOyFafQ+99YrGWCPzNiwjWQjBaInf4m6/2Q9IybKGJ/wRiuY0Nam
Y35dO+KPLb1vQ32qeJpWRd3hUayfdZTit2rWtPe+B9V910Z+rjQby3DGERG07Y6ftPNi2inEqjQ9
oe19HhN0hvxIU2oTNyTsjc2I20HemC00DAMnW6O945Cn68XyHDEPz/W8NzNI7p1udoWXP6vZfolK
70rPLF179K5qQpZW7Zi81lp8JOEYby1nOvY+Mup2ubj9wruJ0ljVcV7sbJCE6dDtksF8DNLxMQzt
x1wRrZUSThbQq51wFyDWwWsRvDOBC6b2q+nDP5XjAhFGbjvh+rJ8019Lcp1WmBe62P4VGHgh43JX
2yQlsWQQVEAIxkpEeqIIbA/1qB5pGX25ElUl6kpuc5CV4zH/jgW4o7qNb/THOlQ39Vam/WflBh8i
NOiwufmJUXK2kkH6YFXt0WBl3abFhI6JLdu46NGqiEiLjgySil6AqtBQB9U+rr144xPZ0s2mdVLm
Y13l9daZ8n04EvVnjiH2lqTYS4T2q95VT9Qb5ySiz6fbFrNCNjerRrsXPJHkIIEW26QbStF20a70
ZNbV1a218tfQTazt1ECXoMW2dpUTnOJ5gGTk4e70Mlw9Fn+1UqCr8qD+uVzrqkbON8Z/KiJgkE1v
uHsQBd4WrGzMRGB6HfksVywebFqa+tkMknpXZYr6PsStG/brocC0jTIG23tOIF3iJ3RG8zP/NZaf
ZQKYIcis2hiJvpZHvOpPqfZ/50mzpMOEF2vkO5e01Mr5O0TDhsICR7KEhtDQUN91aIVXnt7aGVvK
CSejwMI8WofJxWxG0LW1npC618VjVEHiJ770w5D6T8DAdcE8DOgZy16V69ky/hie8VkiQlExmihP
HyeaZZ0+dqN3Um75AC6FDNA2ZnpZGB5xZs4PN2M1zMX0Kw6iO6qd8M4CWakl2Zr7jo0a0TR4czM3
3DDeJ/SuqH5pTBL4s7dTIgkcr2VRnZoXQms+KJ7IORyffRl9U/nuAyIfwgBjvDOKlk2QDjfeL/xR
z1mbvhm4uXT/l/YleyzDtZCaYCxJ5cZWSG2EgWIpjrH+kjmxlQDyGXeQqaS7bDdU/FHMGrZ5YvEG
JSx8J/vlFM3XFEIIwVTtdkT3wuz6iRmXawHoOTwX6wGo517pb9cnQrEsEuj3ctey+voeis5MBtNO
EBpgO217ZnT11flgagN5Kusp300ZUsO+fO3n7DuuWqbXXvNhZzZhe6H9BzCEuy4x5BKds4tCfYjn
2br0xfgieyjnJVSYwT6EWVOspsiDYu2nMIJAC5g+4Tgp1lN4dwaxIeRlJZE8hRkyQPgVtgevsXT/
GOP0gZKdfumSqBUAt6sbGZCQGD0WZfcwdxSrMeN08jY2xjBvIxpPmbPJr6EKfhA9p7nEhkdKzqPt
u6gMITasaPy9WhHfU4UWsNE8WpugCYJUfFsWoiyJ2V0s7fI6Hd8ihWppiJmPlykujhiFJzivNhTE
CNoW2oleU+vO/m/XGxHV6PbNCOU20G2wyp32NAXdKxEwTcYkcbSrt7qcYqxR6d7y22m7hA+tbDDL
gRe6W4M4hJykJCcKD34nvoMGvW7AAoRFeSTwoKexGdTvRtA+aiv4GxeEpndlAdnJtcGSR7aFSbS/
9fnwd6BRHjgsmzIvPik13rl6up2w9dOE3s+aTROPevdH0MVcV9aA2y6r1oFJ4meRo+Rj2nREUH8Z
kuhaor3MNUpTSx0Nr4fzpqcNpvA/IjcAoquC27+xk9QbeYn5KiJzaUM98DjERKICKarrkk1Z89Nh
Kr/KOusd8mCxVnwwVmPb/TKbmaFqNJ31kD7GHYZhP6g00j2ooLuOvJAVWi19tUrigshL2Pgkk/qG
7K5lF5XbiQ7sCqwbXmQssxCgRvTwASJgF3QXdQ9qHWQfIERimLpzXl6Fh1E9zcaZtl332iOIeECs
NcwO/4ewvFRNgRNc0yYgPRc8zBx+cHnCGLUPQgh/3Va0ltLE/Mi6hESCYRnDVgP7BnPCnydn5NVg
IlohV2W5ZHj40Yhyvgle6dZsBlfIq5/Xv+WCZC6NEO1bM1/TO6B5OTDMmfcIMtpVmunmuiTkUPNe
zbH8PTSjfo3dK2gqMwVyc2hbmhZpYfwGdFXEqqP5NkMUUtzMk9pmj2uGbKNambJzyHbWXH0TRFfd
RGtpPA0KaQ1EgUaVGwbyCTNkfnl9giQW/JYnu69wdJjUaI8h5TZph+EqiEbY2h6ZM3MVnhAdgcFg
Uc1y6sAmTI9NZN8Kn/U4qPJDhtA7sQsiKdx877mSYHPUx6gK2yV7qcCApbId1l9iohTRM6zcwgWf
VHrDwXV8c2/q+Vcj6z/BhAFEsCteVaG1MJJwf2ZS0HiXbY14L+dyBqrVSJ8MQ27Osh2+2M5h/I4g
xLWN+0bKh7etxJJzSH+dXNrXOg1I1wxqaoDuO0fisJLmRecS6Jrb/Bgb41sjGo8ru1w7AUQxP00e
+4ckJFCwH8ntgd6qMSaMH2lCajvp4hPpNcmtbey/0NRyv/9BGhFdwWbehVki0Alq7vIDcuU+8ei3
s0A4kHD8UBxK9j3RVHiEelKo5+auqJKXuDb2QQyJQo2jhoDmrxMT72Dfl/NxQgyOqggQoyJyyqqZ
gswx2iSudYB1vGOU7euwn5khzsFv0F7BdjZaBY0OEW1lRsG2GeVPIxkW9fVmJCDXN4b+WqTzdaqq
ZmsYCBAoNipHeLuq4nsDcf4K+Hf9PJrH3Fe3scK1XNZPsxLfJhVaO/tfbmV9e475WOFFwhK9q8iI
fHAnttXaOCOZWzrGMaKM0pFwuo8Mcg6S9sWGzGjEPXHZbwvZB4cwCt79YSZxbMxvdktpOnvVt5xo
cItQwyahzyF3QdAdww5sEpkvX25hzKvB+DslMzFQTfsIuFstxgUq0ihV67r3+zcHG+qQTh8lbRNA
yjCOu/qrkrLfRP3FkW65G5coGCwzJHcZzFpphmcxah2Ti9sWTA4Ejf6VU9OjE9W0M7zo0Wk0AwU+
WivysKKtp6jnCURllPUUVu14MrPibMmYW3DQf8BL2E2xB3MpA2yl3TwAh4Cesxzfh7CcFs7HTBvB
QgzpWUTSOemHdOszvER76+TaBWJVj7gnMPpa/GzVUPG69oM3kI5ITcWqE67LkSTgju3ius6D92Rb
tvQjcEbE6DxOruRHVh0jic7JMbL5AJR7ix6pr/F5uI0ZboXDfQ6uER5db8ajmQCvyBocFf2Dq1Ao
E7shSUYBATZAgmptwRgIn3jfsy0Dz724eJDT+hOQj7pMzsq0ScO2+12VeicMrsWxULxjI2nS46KG
jNVMn4jlehsQqVQyiMgyXKWBqg6jdFcydpoTsjS2e4Ldr0+QmFmnPntoaMZmV++iyrHB/JhkFSaX
2Rf+ofSLYUWfbqc7DN30MpEj9uyEe8p+36xJrsbPtmpdmnVoE84DUnW63BdvUMjkG1axIkw2E+va
E/fqJagOr4pNrRo3NA+Z+w6rvsYU7NOzfggmrmS3RTseSphtKEP9tb71JkRCdruKuSSbPS697okV
B3lKcwy0QHArqK6K9gDHAkzz/+HqvJYa17Yo+kWqUtgK+9URB8Amw4uKhm7lnLb09XdI3Hv61H1R
2cYGY0s7rDXnmJ3/AQBQmfYvgwrRWm9VfZkm+LwOSY4rpzDf2aAAcyeyF3aQv0MlpK26rma73+af
jT6p7Ziw8O8yKodEnpmEDWNEgyXVSDpQRENdlF1+iwGAVCmJt1K4XzI6Oxqar9RxjC0oWE4Ljaq5
alW5ImkchxMgBm1en+VDm25IHKJv5XwKBrBdH4hTotK1YdfJXtecO6vUqqOFkHcweRVEJYd31DOw
AhdKXP0mQs/LOpuIxs7V19BC9kaGcWAwgreARs6mzQgocvXsFUT0k9uTq9OxGYJDQ53X3jtUG1cy
ASmcygLnmG68pqnCG2EjwJOxYs8wr4qgVxGSgJbYIvXLQxivIUVnSn+ht/hYRV6+hc+Cw2BCvdwQ
wucHf+LRvfUhuoattNigCApHrOsMe84lZl/WJZD2oqm51SziUVWMQThjkUvN4Q0l+j2qrHrLMpWo
X5cxkysSQ0MSYkwKQsbhG1/nhCl68RvuxmGsaSGUY0uvgku4J0kcRhs4BS77bVtb5srWg2GtE6Xo
U3imbWMCKLPTq42bolE2AkLX+05NJsrAvW9KAcrNOxSBxGtVojBULnap6T4X3oObp2e8ajkAZjRH
LplQ0nthtBcOnam46WhHWpyVhpC3PtIMP7nrpPnqDbpDwzQ600I8JCNBggORSJE0vzzf/YpcKJah
dopcARfSq5DR53dknidrCjNcTAjWsXHA3RcdKYj+LxdNGkA6ONOD8buc/1yAq3vVRul7okN21BuG
0I72PWsH49NziVP3/D+20UvOp+EQO+xL+xacI9v4zzRqH4d63Dco4miqskhnr7EXjfPSZAZriE5w
TYAHlDiWPavTbkzhFNQg8Ah67kfpZkQ1y/HgugqifYYlWYoI4Yt6y0KqTG5W0GVt4WfnJSnfaURz
pEl9ltF/Ai27IS80e1gOMf2EfYDicL3cbdhp4dXxEPKSgXZgcbnPPFBCYYKpDixIsAuy3jhOvMdj
NYKeie0RzSsjKeb5mbOj4Auk4THMkvtKz9pD24f3RZjJGyh2T+UsLk20L7TubJWYI6iR05Hw45t0
Kqd12yrJJtAa0BTIbKNjTQcRN22kpb+WbqndkR8NwEkPzvqIeU/TMaZLqF/9aCdbomaxCkpa/EZQ
n/EpEz2ojd2ht913pzyDpHkT+eRvvJJsNqpKBzopT2mUfSkKUn2rHmFvlzdwjGtW+gPpTvmcWD8h
VoRJNQ3lHkoJc5liMUKB+T0T2WNqVSe7MfHEg9vuQroChZvda2575w3TW+96eyeN74QEABPXeCct
DzNhkiOTYf3LOFW9kQ13AcS1EemLgcbxdsL6bmkWgZ4oLJl5JJKs+pg2wGQjehepAg3mupBcvJ6k
ISPErtDjNepca11DZ5y8nBV2lx2RH9x5Ws5mWA+2Pl9+1WBW8fMZNEWtznRh5aSvDk302Mf4EZrq
viqKj9JMPrXaPmnIo3bNpID4804QzAZlsKdX5kPwJclXH1xkInG/ttw+X7eF91qZmBtNC8xvgSgU
9iK1uOwxQ6p/cpULRoPTG+6BW53cemp38z/VuZm9MymYEUJ4zcyYHKgk/lUTNoFIPa0hkw7Rm8pB
3RgGa1nwiwKvvoXVLWInQzwFzZ3h7OnYaeNWMFoSEIGULm1QJtl5RAc8/AgsQjVBdsVZNoPqinAT
aDARO5MxycQk0patwEoY4jvUgYr3JQVHKfqPHhtyUjYoxwzns/ODTzbHj1HT3SZFd9cQellYJLCl
OYjpyehfvTD96AhAWJU5NYShDg6mHTz2pCXGYvyaiODZVIN5FzCZMpT25tqFSUZ2R+8FTxZ4SD3X
njKb2USb3Y+D9UBwKAEC4ar22SInsjtbBWDl8B4H66mJ7G3k57T7rV8o7iFbUDvb9rTgkoTSkGF+
ctaDAZX9sanSA3IntQa6fjdG+8Dtgh3V8nITeTg6m9b8rqJwB1vxSBuCymhKDtTERqCyjC1Est9j
TEFCr9kRBHzRXVbbK5E5DUY3cUIu/ihje4MvhZqJ6K9DVf9CQ3lETqqv+ryQNyZ1v9xvbg0dJ/ns
ZfWQ6aPYZhiuBvlCa2AXDM1XU7JSj+rqzPlDTT44azV91aYlCm7yU9xycuVxptbdnWH2B2+KcPDF
fNq1MSAWxoCqDxFwXmbmvrV/6SVBy566GawU2Xr9mo3HFNAn1eQRTXZw6zOyOKHzaNvmS6sDcu2a
l8DxP8vvcbQeicHcsJw6E6IOLlDDaSYt+K9uf57C6DLGIt0B/nmqPEK06wbrQDW+QV2FIoavE4oC
Nd2gvYqJmEI+rEpsq99+GFxBu126gvEgn7eHgqaFx5SjamYnH4IDHbBNWKJUnG0zgS2eCnviY2i9
aWvPJ0iMUVJVxlvMhnvjdsYV6Iu7GqMapHml8UFYLxDHP8R7XTu7SIWoY1m+rcyif7crkGoJjlDj
1PrMP5Ly7cyLY5OKnT0PuqdoMF5V8tqF31AvrrZJuvElrsW+CRQ0R6mewSMfcuKtN9iIVg3iElGO
7DoZDxDAxmwKtfbF1pnFwmj8FaIp29n0T7fGOJynES7paGMJoO6GMJDVUS0+S6smf8Ut1xPuVK5v
deoS+6XEHYmC85Y9Z78itfDO15o/iJp28Zh8OiaoANl9eJcmlDetpe51Cv6Vp3HVBuy9R0+Dm1OA
Wxm7z36Mvqlm2nANy+9JZpwz+NZwmtwE1vihGGj3E5+xyZ5YTd/0iF32ERQic6u66a15/93Qvk2I
RKQtmp7D6Dsh22mjaZCehV/TzBGgiRyKmTkFXjMnHWYcfW1V6hlYzx2leE6bNl/ZqcUCNHUj0lMl
H501FLuRuMnGqL6MkpVqyDgTjiQQDtOvUOtxLtnRjpxxZEz5XUXFHOXklyq9o5EjeqUyANsaNGXB
t0sJCYLkyG4ZY1n0TG3hrnH3cHITSXp770FVa0aTShN1AelRO9GRyOHb697sGKYg0MS6SZgJ4TpS
gtgLWB/bPoUL2I3kp3YWMwZWbdnQO+y0Vz0LvzNGhbW05JtbCNbzDYDHAnNv0EdyjTdwDV2ppNJ4
Y7XdvdFjdKde5rIFC1Jy8KrKxLxZYzeuvoJZappTx8Pvhbq7YEQOcxNjR0wWqHpLTcAA1AbEzJgZ
SP+sgxKh3SEOKUriwSOCehgjVnqsn6sytLaQGBnOWcq1pjzyxWJRuG3muLC629thRGHWOuZ2vok0
T+MsWMaW+MSUoNYFmuWVO6eeuvIBtPNb18c+QAkaIYN9lbrebwK/f9C7It91mXz2xfCMbBQ/ST4g
JQpPlmnfRwYdAR29HEuXdpXYgojv9NZw/Q0uUZztE0t3H2UN4bwPlaY/WVYZoreX70HPIgW6w+0U
Z7cRFcSVG9nXJjHJB101TUNwJ579HZEt+O6ILShCKcBCTh8kba1hq3Kytl9Utd8xOlyHkEqjkeF1
I8rxSxbfSM7ecgpwbIV5zNd2opnmFSuwE70gPKjGyChD+5i3fFwye64LtCNxKu8tbNJaVh7Y57zp
knDhgiXSurdrtuXpcGPZFP6lHu+pHSAotduNZ5vAPhOaKUg1DVaE6wiJ0iY2jQeAuHJtQpgf2vzg
xGA0JMFUea5/QrSaU5tnpThDFLHPs9R4ukZEDq1Z6kKQ8UAW2vVvOhFwORLrTxeFuLBAvYTwnNqa
nnCpjXLrYEFgfQUUYHSRR6IZi1FB+dtsbB+5oCCQhNYvETbvJnvBUwXyI58Q23jaDt8ZAxc6Oo2k
7UFgZqXxhN2AHGLiT9B57KzmVETtG9G9PmUbf90m9qtddbe1CpiEcKqtQpXd2oO46wxEyn5ZAUZx
2aX5VfOsq2PsqA86X/u+oR1HyTzFQSjH6E8qIgpbYUnOa5zd0ZA6B2p4GqCYsDCY6UpkOkL4/awp
Ymgtvt/IhZKI131d5XjHRXyikxWtapbCXpvTeyj950q4ZOGAGjVququ10ADp9+WHbhVHimsPYx0z
jFTvoNDhjvfBZSbRTnjwaPWNm1jB28CBJ82jnzW/tcwldsW+9YeY/9lb63YAqzSj/+GHVF/zkj1n
hScmBHLoWGoVF8mhU/YnLTSvlreRUaVrJ6kqwBd9tXbD4Jfp5c9sbph7NWzAYb9HMDes3Uzex+CZ
9t4w/HKpoDtBfAmUKg9ud6GXMq2nuaVlYzakZDBsTTU8+zY8WaeYl1tpc6q3FLV+u1AK2WUT1eWk
DIj0Zxh4JpqVgCvNitPHqV6DMCZmyxbXgZILhvdP01MbKbt16vXqbrLzdqWb6ssJjGklHTbLvpO/
sCx7SVjGOJIdgcT+i/jbGXBQInf23fw285xdhYAMNQWijNCdqLzkvyiJ36XWM7aZYO3RpV+xx/vT
i/psZtm+7Qrws2ZL7HmFtDNBoTDF3b2tFfsijs5OjI81JwHYbJNb6k/fJXPQirI+3ojXfOq9Q5dB
XNT1DClJQGQg5eeaUtS6IIC8jCl8Nh4DR0gLXAL1GKBmUfNyTn2KJGHoPpiSI1TK9cpkOp0GpD+N
qJ+ot9s3tt0g4Uu6s//tT4N3zShnOu0Te2sHu+EDmUQzdBEGTMYcmD8O8ZBhDMTe3Jt01HKDGja4
vYnrcIhgMVngWkATyMAFtpLA8e+bV6GhK0ox9FOaTaMzl1WHUW4jOGm8pr91s2rHFGTu2JBt5hKS
aGgbFUF/mkK0nJ6lqHLr8qEJ9UNsd+lNLbtn06y4qkzWA+xBf6PHf/ImBAhOF8AeiZkl2gAFTepx
TrQUYPpXkNUsBxwu0xDyO74yojnQi4B6OtRju2e7ibhKbWsWmCxkw1fisZyV7rD4FWg+W7iBqzxK
enZXDiDUMH7vZZgjIciDuQP/4XW4a6jCW7K9OHzpU1q+svMlsGfqj0Ps/Q5GfViRRL7LIO+QxF48
jvJsNCMx0y1CZk+mNz1egmjkY1SuF33EvaZWjFLdOqlYVrZDvqPMVvjkaqgbEQmQLh21iuCu79wz
YxUDZ9ITGkJI8pi+xGVCYaR8ZWXWHVJ9eNMH1GM4yt3kVJcU/Wy/o7CHW9cHZFinHXxtMGtRFO1c
SJIrYyBUu1SsOSKPEtyUs/9ZtZV2sKXcm9Ngb9NgxrJ25bXzs3Od6yR2UcWCJ8OOGKlD3yb8I+SR
0qxtJqpx7u/CI0OpzJ14G3bdtfUafhnbLLQ9qWF1m3JCJ2xT3N+Tk/YIKhiaTKQhk0B2lOnFw4Rs
cd2L7Envo8MQWNRBwalU029RgTiN0+c2S766yHxvPS42L9Wew4ay7NSqDxHYH9IE3BoPDrSDEeVY
Uwwry05vvkStAdrW6k1ampDJSd/LRuqdVN/ZXrOiZ0smjanZ6WxP2ce/UyW6SfThhTLRyi25boL0
KZrqj/FTrweKbNomdvZ64Rr03JsDy3yXQC6qhyCukHl7GBQrxGzwJmgxb90Awx6IkN0AAqQYr2iI
Xo3A/CrG7mmaqFbmdvpSy/ipbRpcs96KPUOm4uPAND3q7t1Upe96igjJNlIgewoUeVk+YxSgCSD2
XpuJvU3aykSnrXMid2+Pw0lE1tbAArMHennWLO0rcHJFdgI5ZnQhGScGfJNz5RM7KQrqgf3ypqsB
vXsA9QcfdKzfQkIyWPxD5kUwkmYbWp+XNiq3deV85pZ7MGX1p0qLO69x1arJaDfJg8Gmel1WMfy5
xIGiRZu1JLqnCtQBX+aFxTW8bxJydL28ZzkDD6qlLoNqmeIds/JAqJlowOTJzKLLO52jDNBpXN2p
kWsJgxlV1gjWQvAmkRWvYoOauwTTz8qZMCvQ1PueGY12NtiyFq+9b4mvUku+E0d8jyDtohZ3j0Op
uX0dFJ4HNzavrUaNZg4KaNBxr0jcoC9vTJtMIeh22nGT9o61bpvslZUJHCtkhhQ1O2DjKVGt+fyG
SXFyFb7zST5D4GDNEk5wgDLbvyIXiZoCl5brnWsRwizZR8Ko1pUirCDAqkjcrcHY2xvoWuJPy2vI
q4kEpKt62Jh5t637nHi3CauDBuYacEyxUnRlWOpvjHa8mF0OscsaPqakeIrIFfmFOS+8IYiNqg1h
rQy5ZJQCsp1yxkEX3JDQ+UoI3LzFNhSsh1Sei1S9Wrp11+nOe5HqG9c3/yTEHmNh7dx1E6w79DAb
w+nlpw8mel43GRCOmvwkq/AZkxameuaHNPzSzWRgV/+GNPzbnPPYEeN8Zun4qgbWkE3ItOEZAfEF
JbA84GBZyq67FogCETeA3H0ZKuPBEZrOvjyE1siuyw8KUF2G0hmsKmMNn4bLgJLXuvBta00+6Is+
wp4TtObNFg8BamKfrlBbM4y0SfXc1xhZDOa5is5Hr3/m9XgIJtlsHWu6Vy1tQz0kzxYpRwFxLd81
RIltnBhpfoSUG27XyxSm5U6vVLfRpdvt8HZ/pT0zkiboe2rstCIAo5MBuDTsn5BPbfSWX+jH+lXw
D8D8saKDJykdm6xmxI1fjTrWiumtVHCtApO6OUuQb7BODA/sO5RhISbqNx2SkfXUo1DQg88qpdiv
V96vyWAzC+Tu2lescjv7tlfwt4p26ik90QfCCSI+JkrJfh7BaXEot0eJyXqifXUys2aepBFORBRm
I5FoYIiznd00atM4bIySBnAeRT1bjwUZP2zjx5FQXXOYASrUptc1uOF1aXZfneb6d7X4KBqq6I7p
pixLpt+MJu0tvatdo4CpU96NtD8dP+R77vCZBjSh+8CwViJ02ViWOyNHoOABOxnn7oFsDP08RqxE
U+8a5nK8sUTObngcyq3dpqDLjWGPLa3eVZqT8LiX3bTMz1vPTz56MyAMJPOpsQLmFDCcHopkD2Jb
Rea08n1Ai150ydrmu630AsM22OnRHV+kgpiuBDW2WACRC7D4dmY463XK9oYWLaAIcM46i7AE9fUa
9dNUh6+Zhd7b6vWQsBD9zOZdYUWMqUamjP5jEtN8lGdNi42V7OV76wIxS3v1p/VGirGcVBq+BL2k
Vgl9dA23BSh4a92oSlTsCUS0MxD6c24b80SLzyEGn5fXSUGJoDuz2zLCokD8NMsmAnwlZdudHShR
Jo36bUkez64eqmPciPcUsAeF+PpWiPRATuqzFtOqMa0dgZ9zgROsnG0azjo04vuyBaBtUgwJUM/t
J2gZK3xbDEjBTs1NGHSmdJjqFl+q+yocVtj6wLbRc8wbauL6ddRpoSK0PNhJ619NvC+I2SGTOTmA
dlnZm9xAR6hGymtY9shEY8yM+WCKqQzPeK7pfgOrWIUJUyWn0GT4/DN6bq+ygU6YS9XBLCWoplQ9
5Yb+XZi6vzc84jOAoY3Ml3x2XcEiciLDC/QRCbpaTDu7cXuCS9gBNBqrt5PJKZlEcb4VzVgdawH5
dDksd52yLudcvAePOjK8aYumtz1H7PzcxLlVo1IvkPH0GAiw2aFKrfuR4xR4+DV9m8170xbIE5sz
AjltFwcmbtb5oeWAdJwtm7BPTofsX8xxOX8P4RyMEy/pOOQv32B7XXczOhQHNGDQ5daMCP17t5hB
VxacZmZAlR1LrtDk56Y+00bH+eBnPt1vjJfsUgGiLgct+t+t5a43g1OJEW2B2B20gvmmzIAHsnjm
5nIgDIJ8D1FcxMyuTeZsnpjJbUXRkkzfuZe6HFo/r39uZZ7sje3yICa7BiHv/KTUMCve0PiRzRdd
HToDLHL134MQEZvq4WxloYbRx/ySKYBDl3fINsNYuxTFWCBIoJG+pte8Cafnq0oVaVN0RkRWUG1t
ED36A02s2gFJZQ4TwQHzJ7P8w8stljp8CG18r2s2WAMsoVOQAoU7Jti2jyhad46tTtn87fbiuW4Q
jYUBSrzRWbtWUcLwTyywAIGgTUM4InT806DxqesRyRd/v5nl21oOzfy9+S2RDoiPiPD5WM6DaBRy
2xniI27Q4ecn7bcIqEUoPiTHeByRsm6yoqI/x17cMr4piP4mu07Da47RteW3TFrXHMFP4euqZupz
/H+fi6B9RqruzfJZ/fyY/jaTli1ZBFatohc/Q3pr3YYft9wcEhPQbZUNDdGJztfPYz06nZ8fd8vN
oHKK43IYspn9XDkICxaacOS2XsJFNp+w82lqm5NLxFvyajZsPH9Opv8/r5aTy08yfwfB7swc6Vdv
yynZ9gbI2wLii6HiGMFVeAgQOOyXj9RbCLzLh63+uTR+ro9/7uZNhlQVEYbD15qBCjgut4pgomxX
02dEGEFJtGrq489Bl/+9tXxidBNo99Z08MOqnY4pC6fjqBJ0TPMhsbUWiSBLkhxdDDtuoIR9VUXX
dj7QVujWHoScnXB99o2jIIqwypknwTWFVznGfLlmFdPIpqwbVZRGhJpcrJTSudBDss9DNB7bzLLW
nQxb1EzgXurlQH0/pB199/f5Bjq1ldnGzWF5+fIDM/SIh8gpEyyvWn5QjlF7E08kThuRYZ1sS158
PZCXyjVp01IYznIeIgkNVY0L9NVys/5+eUbo1/IirO4DGfgcofS/V2YdrPCgZLQezXRTUna+2poX
XJ1q0LeUhNqfxwZDBVfNy4l5qQoTrTd3lwNxuOpkwZ9ZXrW8HutRcz8ySXT/POvnqXiM8jLr7sIs
unh64ZziqhMXki0xJmCLZp8ci0s4Pzbig95mNL03k0hD2DisxBkI6/flKX+f50QnCJDa/fKLhonN
MSfAtEXzgX5XXaLSNn/+yPIEXDiClMSJDRw+SUZB/pxul95eSwPCUxFMogsI0cTrhU+tPXK2qU5e
1Sq1E/sitO5YTb51HufXMr7bF40MgHWGGXe/PLYcmH5tljgUAv4+Zoxxep7Xg2NU+QdVqT/UIqNr
6SbjpSy3irrX1YO46SC/uwNna14cZ3yMEz0/tW1oXZaHupGuoEtK1EZD6rE8tPwwRrl+cEw2A8tj
y0FaY8OX/e9HtIo9X8CWSpjE4/x9aj400J1KRQ9/fsryg9gmi6p1xOvfv748DtNoldQuISb/vCvJ
4ouSNH355Rnj/Oaztq13naOBByrd6gJ1Ofds/76cD7UHr1aQPNdPGIC8YLAvRuHaF50ReV04Y4X0
kMfAP9kXGOdqJpXSCZsfWw4SUsRpzgYHHfH39Io1O71zhKThdhooTK2SqnO32gSktOpJh0Qu/6yc
OD4p1PN0hREPdC79YcVKFLb3cGmrRxFOj3XLen1y1QbT32fTJtqlmg95rcJdaPrhXDr3L8sP9IK8
ZdNFtmOjo8XRoNLkVqn+sDzl57HaP1Xs+S8/92LNuJJzcRpMYe6JSw9vSo2gDezG0x2ygNVUED8z
d7qiYjgHtf3JjPXSNERs+WyzYhWhvG9opyd3NlqMldKMaCObgZj3ejtFxlPcm3JVVPRileE9l6Z/
0wBMbXzeMKPGyq6dleOiJGnk7YA/acTp1qrgu5SwGqPSjTZN4awqMnaazJe7KG2//aE7xAaGsSry
61VnJvVKFumXSggZxdWbm+q3U6U6IPBDkFtUvZyedHW//BTSsG6sICL6A/E2V/QtQ7V9nFisl/ya
20xNvwKNPFKu/dOIhqPCpMvN5eC0ns76bnC19XJTzPeXn9hpAVoI8nOb3E+NYthYniDT2P/vc5f7
pZEaQE15Vf3PLT+fxuOUfZNPQtzY8sP/e+7PT5ZXeHFDeHymHypNg7r+99k/f7SDQo2aZv7d/Dcv
adn6u+V1//rly09/3tgEuMFtY+KK57dEYdNa1aMpNqPn/+9tL8/+16/9eWFsteWmLiO8T/Mr/75f
4+///vMn//7HMoxrLLvy6+9D//rH/v+TsvXRuxGkhaHV5jv4+xoFHWyN+Q6Q5qgeK9uO96Dc7VKo
a1GW/YMWKXkTjL67Io1gZuwKJKvw3OKDFRv9g9CH8tpTjZnvLI/Ebq32pReSJx9hpKRXfXDTHl1C
wwhyO/bdeCqL4WKN+46wjhflaPUdYnoCgWPlPoi0pwgx+2RP9lSPdIGS0aYZGlE1tdiGj7VEesTz
N5qY+oflVpCj36X7HJ/Qt9dU2WW30y2teXDY4VHeAjzDRsNg25U7/aNERTrHe9epgQ2rJMrY8Aa5
npCS7pdXLQctyzdJIw5eBSHVIf7ubAq6M9K1j3bSJ2eba3lVGR5JMLZNfTtHDxYKAoV6qaZDBXRi
uUd6wkQDAa1J3mBUC4AP3Ecwunf5mGNynm9pRRAfBvpFPr09T9Je6h5SwroewXsaRD7NuEK9w5SH
BYOpc/wo/eE9zPjnvZwNvq4jFy3txj8hCSEK0Kzdlyx397hXSauLFOFOg3VLyzVYQ9dx3z2LPjF9
4OxOJI521XL5NtBZeK9K7y4z0xff88cPESMDor3xKNkWnFLbLKk0lvIO/QNGpUJ7oaTrXqtprO55
MT6VlCIO+wHKbPb0ZgYZNiC/sl5dRqBRE9GD1HISsfNuhtoaMJq8Ga+o0Yy9LVKi7giQqSiftAnw
yu5kL+dAGtG65zSkmIjl/d5mVXpTUtYD6hPulncJEWc9mSbRON10oymNOj4lL9SyDZaOXPefSlAF
c5NuuA0IJj06ox6sRWZ8J3Y+Xqj5qp9DlVCZIzJ9P6jmDzSs2kKvrtwbV6cEkxOa7U9jB7gc94Wr
jftKV/TxXTcG39u0+BMQAmno7SXRUnd/D9p8tx6aS1ak627GmLUAS3CjRLQW5rt1qwvOKKkuQDAp
KpTPaRaIP7idnmFSNG80QeG352W78yMSEQpnD6XBbdah8jCRE0Z7NrHvr9qRNi3BPdjuDXZiJ9+x
/FPbd/7PrUT8ivNBO4fJWFqbChkbEUdG+WDPKDpk3s+1r8lrRY+FSwhJn9Y5kD0rZWBziFlb+r5n
Q61BUNvHXnY0M3+4pQDR4KXzd2gG2gNKofKVDwzuNUGKpmDeLBMBcw3596Cl1bWxyi9vTMJXqIpq
gyw6vu98hHZ2SRvMKtVXhMaBSAIAK6Fj7sRQVhTPAa4OIZVEs6E/IAzMMFFDHWRMOnk/WOyzkoll
mz7fXR4De3KUZUVUxjSMHxHzhmja90ECuE9Z4O0SVlSMKWFI1awmKAkT2kDw0OVfh7S+D7zSOwlJ
bTJTAqLtPIxUEVdYPumX1InL274KHogQIBhSp811Gi2g4hZpsPcEI7tHmsTRrofq9KJFxTWJECND
e/RBDXVvhjCc106U+aasTOu+bm3CB4IEtoMJiLb0u3MdK3bBtIB2xDoTG22F9qMXFsEtjh08N+Mh
l+G75aezpScdaeZUQi2Pdbp1a7QwJnasOb1roCE2tjEgK7wNZ2lRtxK2Zx4Dj1jwdEbchP5v+i7e
XStYooBIClkJuW4Lf4xivdBa+9G363rrIcXfsbdzz2UYfaH1Lo6Y8Iq1rYVc0KARPz3lI8ek9HG1
ahS3bOqDD30A6FD4FoVKJzuFJbOi7uifJPji/NLC9tqLx3LyOG1FmiA2cZuB3R3fGpYRTL+Gc4it
pJ0HRda1bf9sJP7Iwt/7GknXINLU6BDXcPU6BYnyTFnJYbmix96sbzCf9Ss1czXNDF5BBo+2oFe/
GaN5Aaf39dWbeQNF1lMm7X30SPNdnB/2HbuCe5n67m2kBeUzwzRzTM8i1g30AyBo3mduPzaTKx4t
v/pDUFEuEuPczFwD24aVbZR9flvNd935bqhHao3BgliiwonuwCRh6oqS7MvO90k71r/GGY0aorer
DEe+o/6+W8i1kKrXGpDYR40PnxKVzpDW5cUf9Cuz+A8h/iqyY2oIWNbOvuyiXdg3xqOcEou44KBb
+40ifGymBZbKiijUy4LTlLsRmsOTThYbGHMub81YG3q99mx7JkbqbrT3dfVteQ7Gy7qhzyucOQWW
WRsiR0qk/CCSW+edKa2qtzpvYW24dXEHZELt3AjBMfx6NfSPUQvSpdQlMHDuhQ3tTy3A/zxwGkV1
8vgzvsfA2A8w1gJAnk77XtnlrSsSKPQJ/d887/mvOfPXXI9obZcROFuOciB6YqAy+jMaYtpArZ1a
12mk/2ERqrZtsDpeA8s9V1hUX8gpw1qV4chd7uLs0VaoK6FixVy5yzBYCSCdqTQPcVR4dyTqZjfh
GGZ4K/ozXjT9HVyG5K8I535KbXoBVmMnqCkn+ynH80DPei73zu4Hx/zvLS0Y1RrzHwjWGSHlwUy6
qR3aE/FY0qRfHiSt6jXSw31Cut5gN93O0ENWvUoZ6zDAYh3mbr5trC57ypEJQwd2vgePXCAjKI0t
ior2UqJXQoliPi/39ErSQ95pytCfh6zOzo5NRbKYMS6tho9nMHE/D0gB7ydnXKP5Gt/aGqUmIuny
EAk9fIx1lwDWMd7FSt+LvkEGvsyoGlvWvqA+sTwmmhKw4DDW1z4J5a4eyQTRwBQOVfZl9M5TIYb0
KIim2OU6RpqqdiBYOo51WQ6QY4gSodiEaorHQoWRwSOreVmU6cJyb0wjrNdj3OGUN8jFC/uUyAyM
2Vs1v+XBKZAYpiyk8DcaFyvAdM8543w7IyjKPvhqk+e0A0xQGF74q7OIQDWmqHgwJ2UfIb7gDVxm
TJ++A4lusr5CL5W75T9b7ho6DNHWlSBKEZXq7CEfrdB6tQXunhz28l4DUnt1DY+CE3rldcSl8kQW
cNsOzmNU2/0Tf/TbbGv/PGhELUdJ5PUPQxKRiRJ4zW0pcaHlpeY+SZOohzbKq3vCbNH0ut1Dnsvh
3mRX/myI5qG3R3W/fMGtPzwUxlSfqrS6gKyNLl2QsNTp3fTLD6mMitx4N50Qf5uM8lOg84xaA0BL
2DjIp45GgsZo9h+6zmO5cSTatl+EiIQHpqK3kihfE0SpSg2T8B74+rcS7Hs77uBNGASlrpYoMPPk
OXuvTTZe351CM9W/W5eze6R5PZIOJ/8MSjjyo1fIvVY3+WfDru9aVAbSz8Szm+o3ywyyTzYRf5dV
6dZ0UIXFSBwJtGs2hcUyG+flabaL7aAFBC8W/Z/eQRfU9nCu8nwgJa0KravA/khPBh9iXDW3SeS/
fJ8GH2IGaJBBIa8wjN9pfeivgCujV9BLmrpw8F49QjSCD5yeUBu2L32Vd49ofBJ0CE9DXac/Vfoc
YDr6MfhnKLcN7w2K6dqxBmVZisuPMBaEi2Q+Eyd12VAFgI9omXlV2GDttgIVVvny7LgzsYcpPs/7
shNbvsPsBlZ+qZPPXSacRZbL5WHh55N/ifnSqx1Qn2Ch23p0L1rpe8eZKjFErA7LQr1GNii7Cxvt
pa8NvEpSalCTavIj8aCvvQkS7oOmvcBlcR/xv3JldtNbarnpyaW18NTh/Djq+vxNKxMvTVnDp1Zb
3bLfMQzMIAmWOFDY+Mo6aU5mFb4JkXfnbFAKXbU1Gf/38r+vatGFGueffkzGWzN79UGfmfCUaOro
pkPXW25DdxQM+hOdcN84ds+ONpNkFhtXo2RsVSxbehOVbJXOVGxMix5YVk/Je5CQDg3zI2ldJKGi
iejDIYHo7aS4mnNpUL92BjUpfe8HWYB1uqPrRIHkvvZET+eAdUpn0PYp+6lfo7QVB1Nd9qG9J7t7
vuXykXgh9zG3OYVwPpw+s0E+sfWVzGZH+8UyzI8RMRoOvvAHhX6FIBQsWRPXBZJkqCf1Qi1rJRyK
hllhP7nlVywkfBOz/7BtwztmEUPzbMyrzei2PcVvoV1on++APNTPTkLgfZNvQxLcrnHlQqBy5oaa
goMhelR06xbgT70I9YsrmKhreZi8RixTBPJ4WxCjYjU2hHkxDuG6SUqxchRPUcu475Y3tugiRLKk
TqwcLLLrsKjHi6sRXUKH6RvhAHpi95eWBD//+0TTxu/Krqzz8i9NuvjIxViclvWrQX2F7TcVFymt
EMc9nimCNVrYBOXwC50yq/BNgnVco8QG4OXVrOtJ/VqX8pWDOhG+6qXBpVVW2SZeE/XFsSk7eDTY
SJevJp73mySFdFuGyFSlIiBmArHFoPvueYZJ8kaa12Z53VaLPCRr/34ZhvaHoG1A57kjQxLB6fJd
3mwVmwJQJm3NttrWsU2sc299hkBW/2Yzx35dbcAkd9W5jVwDc/c+djL7T9HJP0mmyy8m1vQOhzpa
p8lkHcakRj8S+rjQu/6aGrwVTIa2FrnzuNoAqPtj53/35JUmlvsivcj70w/+JtPcHCkcaOTASLof
XwOCkbT2J0kOJYFhCFppa1AQD+GudbQEK2M3nBX8CVoUg+sUbQLooIq4D3g3INMALfLgroHIhpwj
g/J1+DBik8ab6zWPvtahha8tj45j0VyKEtxGpFceCbSusVVEuRQUZSR1/dV3hi8y5PXLRCLI6wTx
YMWZPdgLt9zO3NvQfHFbOSO3p2xG511IjWO4lbwEEoNRNkv09rbF8dY2iV9avoUc8isjzhBNY2Mc
02qMXnAbU4I60/NyBXYE/4pHN7Mnq2Z5yar86MUa/wnVN3lSzE/NbCCI/p/jKb8C6FZdB/6rTqsz
8udtaaMoTmVJLpXpUGQVgfObBipTCcX4E67nbLTaweGoLqcKPZAHC1VmufyK3OK1IwcifAiB01Dg
/eMX4Sf+kPMc+OM5k4V8G5cOS2o0NfVW5+DhB+p7/2ClvXcZKwLlWIWDz6b7juJO/6AU5ODNn9iX
Vfzddtpjn+XtW2CYYl+V3evQOzjqqhzN4pyKxzyLxKodzbVsU/sFQoDNX4QfJxSjxikmM1Yz+XdP
eKcg/nPbgWPZemGLIwzMwm+n+pNUHAIAgunbki0Ph7qM361oWGmtfpmp3FEJEmuD8N+8eCazCYJ0
yS9ClgBrLVJIBTJMZiLP4j7MES2HMLREGO/7DFE4nFCXKJ1yvAQFmVdtV/rbdNTca6l59HIM462s
HWwAFmu95irNU1Z3T7ifEBy6IeNfnP3MA1A6ycrYUfeOTxq1+tPo93I/5qT2iNK0NkHoUWzYXc/2
ru1xvimS39y3Yj/O/Z/ScThIh7MBMnr5P5Ent7GCkFSLuA2ivcntBi4Kr/wYRARHm3nxCf+k6E2E
0k27zVgKuEXt4qq3g8nEuH0RetkeoIDZW69InCOdIQtxXNM890IxLmxlA51f8LU2GyhkGgwau7nd
HwC+Y6o1wAENVlVvi2RtxcRO9G3c3paHMS0JkJTtvIvy9DuUWX0LZQp1ySx/wETdn6hXQgmxdDbi
ADl9MW05JBZ7gZP0oxj2hedz/vLgc4Qlwwm95tnIPVVU7WNTu8VjL7MWClcgvgd+jz1ZqYSqJeF5
Ac8SoAFdzDFmCAddfAUdciGvL1JJezSkNN4qkN61/hgjL3P6QLveu6dtKdI1HBe0ED00Ms6t0bBF
LbcjEkqBrc2GvuJY4NEYwsP9T4H3edrEIeyRVlK6eJl+5r5NDwPVCNRDqt+we6JXMD03WV7c1G+G
8yIchPNHPSm8yf0TyoF+GqTCsetfHUeo/mNr7czS9d8jczqIJv/bz4n5pOtttmt8SEBpk3mrOy1T
C9l/3Lx8rBqUDAu00yx9qGGZfYr+IK4crygBUforv/j99slFeqliTSNVoLx2kS7J+ezkCQqwf4pD
XIZLGk0ZgHPsUj86QY5Hx5Gjv5FDDxBEL8jSHGtJyGYwTU/iJ62oCBhXkU9bCX2/3AbTBEwBgVG0
QWRD34POyPKgw71By42zy8zhCTPf2YbmKG+mqt2DsMYn3LK3GbZBgNS0DhU008hqbxdDVdqmhJ5c
QPUhzUbb7adVxP+Xt2ZElMIU5DmSdvDTDv9gzIr+5hoyrLJBhnXPEEnQ7dY4grN1J5NiT+rR86jz
1f9+ODOjeU/A630ZgBwoxGqI6TnJpm9OICY519tx/O3pJ1NDmVdLOKCtiG94cPUbM/K1bw/Z1fPG
1y7r+9fIjPtXSfQQ/OWXwDfrY1FwGiKEIqUCNY3mtRbsfLqDQSWOOjSS6mPEuFxnIga8yWqUMNw6
9sVIFGCF0aBrMpYKgbw39Dpxvf9iZmdGO9yNLmovf9xVyFx2qY/gL5GYNorU8XaWKt3phlQkgGfW
pSXAB7ld4ciLGPa1CxUV5J+9N1Jb++hGTFMcXQ5TpejHXQoI5v98URb+b3MW3nXByNaUH5cKxfAC
uEwHuqgoks5u39arAqwXSKQULeckUvIIQuNp+UsnIFhbISOGbrUxnaKiGo56wuF0jIef5ZOTm8yY
kiQ/NKHnXyor8SDQeBJBVvfZZoW2J3ILr3mgPXWgAb5SFiVctZH/hAfL2Fma+VR20bw21TG/EkR9
+gFjYEMRtCuargtUniIW8sqydEEyJdHA9Y+NRsfYH228UHk3Vwfa43nTKSYDHYt+UDgRXgnlc5S5
3LEYy9eaa02nMQxxHkpc5zTk598enaqHbka1rnkpxuPW0E5WW84bzzeqJ6CW/AnxW8RYcgASF4XO
eujJn/+eyE0UGEwaZfmZBDLclNaMcdwXf8c8njYJMoED/fuKJS7r9rSImttyek9UqNJsNBCIOvpo
EC2RawFZf0gxaHwbYbz1zcH6h3vs6DtpsXOA5G1sP5su+K7Ch0ZPvd8U20Te4Ds6RV5p7akoCqbR
PiNGdjzdQpfpt93uvv6AAiTYILO7d5dkz0TI+VfgEIlgjZKuajAGDO0FfnzLNmkC+sRF5AYGJ9N/
aWvME4NqJNB/7VBTTodSNUdIyFjXFRgIWc+AJw3uYzfOnpfFvorD56LR7SuhXcoSXGd/kvFHCNH8
LtGRr+FCr/oxmCAWUkkNOvdvSTwMiKRmvXy2AJK1tyElJVV34w7hDTo8BTrmuGGs0yGZyTvUCI4k
CN2yY7oJk4gYrsPHcm19u6wUrlrLhnnG4I789h4WM4/jP4J18dkS458qhf0NFHBYBdG0A/NPvaMV
6Ufnv/eZN+/hZUD+NILxWBjY2tp8Mi4AD3AfasNb5sz6B2IjfW15YXWFsNlBs6ouHZolfCPg83Cs
VzXwqzBYjYMzY28rXh0Q8f/U+jf9OnsLz7TYjCBwLzTV17ZKXRrLKbuYPRrTgdSi5aGZXP9E55dM
X3sFoiB+bOzsz/1djirjstQDjYl+dWgBRNAB+ktdrq2KblQs8l4/T05Kel5I4Ahc9GNssAepGrNn
7n5pkMULAUCmLDXx1JOncJS9dXKmnu51UcbDCxx8G6VqVl8y7KUPROhMT64ABZgRuF24qfvXi0zE
WeUIGT0LIFiE5UtAyiHuKJCSE1oqFF0wefW6X+G+DoncgXRjYKvZjTkm13lICTbMcQh7GOa7qRXH
Nhph9IJqwmo3smJW7W5ZVZMQUphhzxc/bnTwOC7i79CEs+PN/stMuAqa9OFFc/x4t9xFtdWNR+kO
yCGZAF/v+2rBSnkZJUMIwFL+ddbKvz51OcXyAC4yb2jfZ/bRJUDrRRbGy5L9Yxd4HVNfPtd++pyY
DGsit/Gf7v9gHdMdCeN6qxNNuo4dumc0N8yN7dQ0ZduEAU75K4nDkxfq3SF3rfBC58pEpUuxgkns
QTpJ89h5zvjQdgEmIfKA3EfPn2eape9lV5FIMBeOuwbhwRxNFVPewPpFBUMqoJMBJQmiUqeL62IL
rqqPqC8IsInjaQ3qRHxxVv2TWMxSixRSFFa/mxc0Poc2SMRpFx9H3R4Qe+G1K6q4w7vGs8Ts/30W
/e+zGbHJKArr7f//vQMoerxjuLRqFqRxLqAFqHADpkga1mD6zUuoAa1kmIjeS5Obu7HLjANe/mJr
WEJ+xYSI4ePtv/POQFzfW9ql8kzyRxoQbPRlzECXv9pUHpKRkym68efcTMNPx0XPG+EPvJCHF2xp
FF4CjOsHxHPMTrNuvtot9HHZJO2rFRVKCALOatKIOqWBsM2VVmqp+5cHwIuMS+iOQmP5E1QFf9mU
pB87gf1gaSCH0a1wuG3wu0yWINVL6XAikQ4beqr1RpIdRBg0D9VcDgenMr1qFyV2BdwZTnumzphZ
Bx+qrWdc91kJDzamwTIZNImYAxsPEWdJIKm4hnSQtcc0y3F0YUV57yfUz1hXwt1yCQMKIRN/95jT
KyFaAcRol7GxMKf4W4aUv5729x5bgAmq3ruFMdD2x0M4YVQ62YMXnMpADf3RqC98M+GZxWV5tjwE
NEkJNyczLKqseGOYQPHM2RJHA0vs8isuD1P2ztis+Ez0+eSqfctE0JzDMf62wEhNISCHbW4M1lr0
JjtokB4EwWV460Pj1KuH5fUm+zdFLo9MZ0tE8UzDlcEtd9DI4YPbagloW8r3oOw+x4bgZxuOhi2t
9An3lg3OuMO9JkMcCAbciIgpWhH46HMKp9jnNIvPY4WOXGpYDcBskbugNpplsRgj//3+k5o1MU/k
BHoQGxDndnVymuyM/XKkC16nBoQuHnDX6aemLMUmBaMPdFfazxoWPObr2nsUEg4KvBsCubrESxms
GWfbmzEwRgxcsYktbkaZtr9PfYDkH2J05QBWGlhA7jKzIrgqJi45A5jUwvos6A78p+Cw2BL4QX8t
QgQDfDaGEqBZ0Vhmz6MlkVFMlJ1kZyfSzV41z47W0ZSiUG9JeIt9q1nnjfesDen45/8+CSmdZi0K
zhaZFgx8MV4uzSnDwH2gFN1X12ESEIrs1NeOUvDrsMxsgbNEW+bqXdTEOzOsp88ab8HpvkhWRnq/
rVxhov9KBPdHHkTj/a7L52FctTX2rDFLT2NVZm85bxQnXsslusB7JsJD9S+YVrtVlezDEstEFFkc
PogKfYjxYG5zbywflx6lVsT6VS8Y2snmYKHp2CzCEoq8jVl72nvAEfqQAHZfgc4rIFXptNnpBwYH
8Eqco6rcWSeu+6HP1PTLFMekGH+KGwfWmz+MG1tdykgcRVPYx3Q2m433J3ehCZuqfHJ9zbglxOFV
uXmYNV6eIr1+YVy4H5PS/PCbfDpGdBZRT/0htCQ4GY0K6CPriKf4DcExx3Q1SJKkg5QWZEp0qP0W
pUelzBJ8vIml90AS5cILt04et5egpE/d0E8KVZ0E+rA7aBWjRA4hQEoMhVY1Ilz/ILWOTP+Kq4jx
bzDhHWjnxgYxuNq0pcdIgz73NtrAiBbTKa2ye/6ZGbMMasxzyjk3Hw08SdRbah1Rc+f7uTwqMxf3
RpK/hp0ct20nOAJVZkbETh6uUdfzN2obxvqTMKP96Phnu2qoRwiFLFVSis29dWHROOVNUkBoNuMA
/zH8GhN8F0SKftoSemu8LZd15BqbFIxBUFdlsALscc6Zy+9RFla7vGnEhe7gv8+4yf99ll9GExql
r0nmugLVCVaJL8vW8C2qh9yvIEylSqIVV/mZWJPyMa3kqxBSodnaCfd7FAybQe2Y2HLBxgnSce/v
UMU3rVwdfQTQFW1t+VF0zofQ4jRSxDU/ZyIvlirylu0+jei9lyX23g5AirT07gUHcKGUWwkfi5ut
ezt6bFK9O/e3KI+ss9UPp75MP6dk0h5TT2vepX1Yxj2ox7qrcZqD5q/exQG2AYRETPALfYVXdU2S
JYQPrRAwJrL4t5fJF6ffuqUefds1h3/E49lpGKX5jCN5h36caRRFuzCtawm2l+NHPJs0t6R81Qym
a3bW4n/r3L7YubppHcjTDvBmxs6qVSeFqsu9fRNkeC6Xio9x/wUKRbVrbYPiok+0t65sV9gt6e7O
NQMn3+GdZl90xsg6ooxALjbSWYFNNlS4UaX4VmSrKNyEriG+ky7/WlQcrTmYL0QreLZ2uR8GC3+g
IR/k2tnHFuvjlG0gHfl9ZN5832n31OLJnnNdTuOHAVCvEWwZdONaz1fL1Jpkx+xpeZZDyPP0TTs7
1NuSfaWsOWLT/rOvYVy+4ai33w1hgS/KLPRZPl1xkAYdy/i2J2vqLfT0H3Sqh9BkL0jrJ4ii9PDM
nLtrOdV2XtwewzRpNi1VxwFjTIXdUO4WqYhO13VFH3tHfZHedCIHVrGTTl/JLG+tG9ILTiZqCtlt
GL37B1QMcjcaGHETnxmnP6jzAE2e7fI5WT42y6Xn0VyfrHxrj7n2iG8zeuyGCCkK1CIopbQj1dGu
ViNvrwjS3X0+Xk+YBUPrMcgrY7+03gd3tLaYmORmufSiyj22QDiIN2dv6Ka/5DcRka10c36SoOgO
Y+sxCYzmWQj/q0wR6ma19psd4DTUDDXVk2n2pidCFuRqFlagZuCEm6hD//Ig1yBx9wk67O+w9t6c
fNLfx9oxNuT3OSdplsOlzWcD6ylkdLNkVKXprr/WDC2+BPaQn4E53TKBO1zShX7VSAakqZGTHRyU
h7GJVHcdFUSN5oewiRqN10AjU0qXZLOkb54No0eoYdCsBN9FB5Z/ZQciODu2rfW8bMKyQKnTmK3O
ARU7Zl4UPRB9PtCN1pzQZqePFiM26Nu2vzZUbnhMnMsVJSb8+rmKNnwy84MV1Ui8BB9bAd/6UW/I
IxOjaD+mnI6mIc5Vr3kH2ypcUhCV7BT9B00h0ZEqZUUnz6yi67JPzhnSKMwqH80IlXX5QNkVhMcG
e8N76JqkDGF1jWZgmnL5eKoPaq3aKfcFkPZ/fLONTt9xnBxXy9/AGw1/nStJ3wwUcEM0YI7IyDHe
ELHbZwryR70lrXn0RvMy2JTI2BbEOyNNnzvMtxBnq8uZs2+oI7zi14oJcm67NZlyM51Dly61OrUb
LPu72uxweqs+W2uZH5OwokOqNH56XWdHz+yatTRYMitXmx9JY00fE8H9t3x4li8A1YYJOkGQNBie
XFoNWsRs+bR8uBn6IXHfWo0NI8vgi3g1P6wbWnT7lQaDgLiT3kE0jLwO476LjM5UFosSsWKHwfLS
URYzHMsOPrmkD55eV8RtMzBA9jc92R0MmtlNSbYwwNghNeCrSiUTzDxMOSPyovsKfSkggw/aU+va
SsOBeHXU3nWtuC3vQV449ksHYD4JkuowOQF0cDyuh0BY/jl0Uda2id7cupL2SExP9bNJ7A/CE5RO
q3PBhDs0k62p8i7Iepy6AkWiFtV6xFxAmZo+YQ409308mXuh19F1jIrNkHTiwY4okUzi93aqHwhN
qQw/TNNv1mzb8UEkvbW2WcE3NTnWVy3EN+Z7w+FescKzxCSWyr9TZ7bYwXHcmvoQPf734JdMtCet
+/vfS5istlXcV2cvBZ26lGrFwBhTpFBQQ8qZde7F/S5evLzqWbg8m3ImKUmCl43bYyhqkBJdAzlv
6J5LOtIYpq3+Vaed7uuGe2u8Rh7i3qvXmoOPd/CQTxMAfnFt6MLqigwyAjx6zHZdfQGcN/9ubEzZ
Lqi5Yy5rsudz7cMmHvcSYC1a2YNb8puOxho5BZYFnJanoaMgwruuv1qD70EWqIkx07yHktPvaiTI
8eFev7g0/qFp/XPXWU2DHm+k/j8xsIMxeofebPammi7lFP574NYFPHsudZvJYUXbh4NUOXFq4mH6
32ezNbPyd2KftD4KI1f/pAIkm4eoELCtZpLsEiTQn1PqYLMQ0XdDdwWFnrc2W7/70B39vYWP94MY
azWmEzmmeo5e22M2ZuKPvtCjKT88mo8zza83x6Wxbtt+hT1C291FPG1oPId1uM+4Wy9py9qj1HWV
eggm0yEXpd8tS5e0DbE2AoJykqhGvlFjGPF81R4I8Twz3EP7hc6R2Yt17dVVTMDlU2qAfCB/i1GO
uly+ECb+A3m/wyaSxI4tP4bHqHq7XOqqi6yIHnRJk8esVpAMdRqCXJVestb4tVzZrK8coNEv5bSv
t1o494//PdMS1VcnG3ddNgmEwNIN8EzNnwX9wFvYRx9T2yYrPncVUjye0XtmG1fPYvWaNoz/fjXu
+dXyobx/7/L68h3L9+YxlGo5uj8NrYu97c1yo/up9WEmFj3EFMrsUDhPi7IhGWzEn9P7YIKl14n+
3i6FU0Ve7VYwjUilN6uMKEC5qsEZ+NNjpxH46LpxcVi+tW26iqZ5J/lMEVgYGH10iqdSnlwD/EWq
cRqaOAC89W2hrTO8wlcgHux7GVyZSDTfdtw0H6PJAqz0+lOvgsJLSx4IEI1JBZ5f/BbgZdZH6VNU
T/3Zq3LifISbvdeFftTQHduirW6llTTvjKjc1Nfe0tgMXzzaIcurYQ+K15u6N0c36vd0kPMZyUv/
MJEF/jZb15AWxLaYlTrb6d2b7rGCEifnfcN8eGuSOH0DXqPtoDppu+VybJO35RtaX0mqbNclk4f/
fPmHhmqYEdkrGFvvfY8efrPQq8Ot70XIBXU9OGtjiSyFvJXfse8/jXPcvuZR0RzHFhllCbz0N9oC
AC5h9OljQdy7Gm5LMv2qdzuiG5WgWWqHLxO6/YHYUsbC6lKT7StRKu0tb8fu2pEpCfGS16OgmaA1
VNl5or/6pmc0yZDu0ngNL5Wa/nazoR2OuG6piEumXgZqjUOXx92+Bkh2tpxslxYG7w1KvPWyPI4d
9WCtkZhoIS/ibNfeptQGMqQL+bcnIsQQ7Q/vrSIB9O2rE4+kDUVFuxoTAaqqpb+Rdn6w9Y8IPxmr
dGHdvgAkFOc8o1S7X2shnocAjnjZjW9aVdLKp/p/EtHkctLQ6nMuA+3AL2vvSQJwLtNMMVaN4Wmp
LdKiTp5CGi/LFQ4y3F9t757IL0U3QpE+GHgVnGKqb41b63vufG83zKxgJefGHeWYu2u83jsYlpVf
xwLmVTpo+ntujn86iBz/JES6cHj/mdC0PMAgidIhehusHpF9xeZj8Hc+1e5IVEaekshcsBfNVid+
/K9RWPOml5V2pgqglu1E/dyxHJ9z0rPWtWnWvzNdPwxEgLzHGND29FFhREO5QJIacrjnttBJC1YC
odizkeUYJZtom0ZfDOdJxuLxLOKEUZlNjliDAQQxY/KKj1GFUlnRX7is8NbjhjQS8y20aXjaFZYS
8Kbjg9Uy4YuZa7ToxTo4MScm+w3sES5pBYzrAJHbgaSuFu0GwbZdAN8NU8+4d1Stpdv0uCoH2c5S
diyvVdO750N0iAo73erCS27DKOaDhfeU6GGGyMtrdVX9KuMUnV+OH75nkBJtoG/oDL24hjOqJG1K
s9/l5efiKuqMNjp4g7bXIh3vU50pOZihEnMoYjpAbsWqLdNTVTnTlSAijemUXx3B9mC467L3sheQ
0JPK3LqQ5L9MoEFFU46PReIr0TLFmaw8a7coguHAbcDWBG+Oo7IXXKa7IeD6osmfM1dqz05ldGek
JbdaQXGWh86q8Y6nwXUEO/XODXTJGQ5/5x5H1jhMS2y2lnuKbA0USe5nZy2biHwZCv/BQBilskjF
zYySApcl7LxK6jeGyPpNSlRHiHrx4PnVL/myVKjUz2RWX9LbXIbz1sik+ZGbkBgD6QkSstp2144R
sw+smtOOcMhIR4ZTemcyilEAZTnRyUmsFIN70hGrM7cS85C21pojYu03ahDkilM5XWVLzReOnru3
8FI8JdIAfRiytQ6FkR7Jqi+uYWl+Rn0cPPSmdN+X/wD9ofvOSSx4YATnPZjlaD1GiiIUJtkfkx7W
yu3N9tGTLT3WJtrWc+icgTSLDXOzbOX4/lvnJuOFaOf+tdVeamiVbwmV37GI8/6chtazWXr1iR8H
BwyMpH5do6pYZ0t0N5PRFdXo8FwZvzMzgHc1htpxqX8sYB2tjTI5NtiQJPlnazeNLPgb3s4YTLSh
rmh2ehjc4prq3PBISkwKBENzr7K4zQEEJQrHtT7G1VdXAlIIeiN7TNVOGkr9UmbILJ6rOFX6k7Qf
cHOhrbSH8reMHfNsN+R9EMQY7fvBgbpZuG+SWnpfNKSSLc9ieiC4Gdxq1+Nq20W4Xn4haCm6YeXP
VgR9U/z7pU5jtagR+FElLusbwDwJ6cvsnvoijI6aoRvgwib5ChEukkc7v2XGPD2mWpqjqhjBNs/i
l4ue+GIhkdzPvn0jODPbe+iHH5DR6G+FU/2Elex+bIMJld2Y33PO+JJg9vJZwmfcu1QjDZFaOz7T
5bMoUFwL0rf/GvO6KEzn76ghazPCyUNgix5dQtgq4DFvBPjS3/UPkKjyN5GC4daYh+FgdAq93Af5
MTbhYrpllv/uLCjKaiBQJNYWNeYvhszTLbN6otbA0RAG40+fESrJohm0V8NGTOlM8zv62uacNDrC
e9VCKGtqZ7aq7uJDSiPNy+Ys6KK5dLENbuMBnPGKyJk3Tx/29NnEVRi+dyknkA0YkOLvKkW9Wojn
1ujMl7zq4g12P2vfqdGU0bdXi8XrZnkowbPMeWbbjFZYH4vjcnpPNXqVmMmkRcHbm/iJpD1IbCE0
MpU7K0OCgQsAFlZO2DRw3PldC4eQjMFavOchykKt+M17jlbYmUknMVGB9zoe69K3k5tuq66W8ezM
KcuqWQfHdKRRUMUUkrlHizU1VvTFFbfQST85x4UnGZTvvkjtM8IA6mE1J8wbgpYTxBSkiIRvFV22
Sx2QZA30YW0J97x0BHyIZzQb62s51u2tnFnWnNkY1lTr1PSjz+pL9wF8hD3RzClnsc+zAKnrqPtq
Kw3u71fNR11DDHjzQ6d81kvzpdB88ZwM8uYYDasvoRHbuItxMqTujxiz8Kn2cvsWBMEFH+RXmKmq
uMLExfHjS1a0BaS0zaeOOf9DZSAmyZAW4eTj2FnGpJVA5PVh66pDKRwJXNm5dmrS526ozce289Ae
8Vd9Q1IH5t6zrO8udWlX1vmvpVMItvJZjxqyN0h5egzqwNz1cRadshTZ9TClza4LpujJMgDujz3J
RBUQta2RjNkrdQWNyRAP5HJJS40f1YQa4wDyW05yhsn3/ncp1KVVNxmUHcvfdXOrAZoPiIrF5LdZ
bqaYLjHtVR8cVqsf7m+6blDvzcWk7RajTjPjWwuJfFy8OzV7SRkWUOhVqlepclzcXhAdrdkdzhL1
osAVzyihJENSXRqakzzSGr7UZhn82ymC4km2unFcjmJWOchzQ4JbSVjCk1Ylb7yx2jvpN8axD8jF
q2x8RWFH4qSX9t90u7CJzKJ+actGXNs5PVtUoeWqN8gkaxyRH2kD1y8htdTRqKFDCpLlDZTT14o+
gQtxKs5grctpf78mIwxhDFFVq9Im1ifpkKMbwDysbZ3D2wFSYh4DNlkL9xVSjjLdaIVmvRilp11D
QrR8oKLLAfD+IDWOgm725WiuGmxxMFzOj14xBtvMx+k4j3AUCF1KtzG2sLhrYY11vu+iuKK5J10C
Zc049r4YDO7dOIbCr1SEhsun2u9djI/9JsqZ4rOC0jlwiQJt0sY5RKmo18sSEhZ0GdIoLk+NWlH0
XrD+JvkNiSe93qBC05Q43d6zmmC9NOtHl6HaQBL1offd8cltzb9FNK06p7E/mNh6+wQF9/beCWHn
iKrIOwXNnKNYQFNMBpC1XyTvcfY6cUuvIbLY75VFWkju+PphuWyYxIDxU50dI3be68je1KI7lfYY
H3XK9IvBojgiQt2UNftB3BJEZcUsFR43OEpazSqwZ9R5elz6X/6EegVa6Gm50lU3zINvvA5wqQJT
tI5L+bM8ALU99mVZX5crguPa48ypCAx92rJ7UiolulnQqBXisciCkUz4ujpUja4d6tp8sYQaeCr5
3pA3fLq84EMGTYZQoAJQpWYzVaJBfGY+/OxAWTsymcB3pi6XB+RZFnGAAOOsicBg32DOt3yU0ma6
JOR/X+8fs8H/f+Sd2XLjSJZtfyUtny+y4XCM17r6gQRHkZqHULzAGAoJ8zzj6+8CFVUVUlZndD22
3bRImUhJBInB4X7O3muzZdPM3n94/o2Whr5Fb+Ty/MiPWVyMLYkK4URPVtUyrHVDQOxGz6KoojfZ
rpDYXXgDbQqt/HHync/AHJsT/dgpQ4Hx9+oFWbgYSQjuiFVMbkaaOcugsf3bhGyRg1UAn0Sge3t+
yu/qdkN7ikM//8b5B7qSqSicpnxzfu78BXXEtY5xFsptkQD/1BpnmwLDG0qNDiZwMnfCmymJUku9
SzLBsgtOv72CcYolm018SEfaTE+D5wHQOEY54G4PmYoV5dxA60b9eK51zwozbYyqCwOeMI7B8mQ4
GnDb2UKC+ipxwyry9t0QtE8Z94+2JC8hzOzbs/A/zfoLr6J5wKXU3TuVwTRSymYFU/HO6gAOM+dF
EgidJoc2g/IaPPM+9cxpW5oVknnK2NAq5y9R1/74rgaatgPIj3HS21Se1iMX5058Nks7RHbsJ6N/
DOu03NqkiyzKvB+O793T2Sx//k4r01vVp0tlMCF8fypMCJmdWKytGr3ULud3BRXXu87OJCKj8a7V
ols1mhNenp8/f1EUEbICZQZbCA8gSEgLQhWhQ3FfewziXNnRqFS/KfnQbQhPR2YYDcnz+TviKtL3
796f0xh5KdQs1Kyqb4yQKnfNZG+Ncyv8ghV5V0pRbWnxqGgdu40yZu3zFDreLIUeD5lWdUdp2a0b
67XqGnGJcsGbvsoMh8V5QO8iNDCwu1nTJTdhgYSzt/ap8Ox93xry2M5fzt9h4kmPZrF5fzBE+hE8
EEFEIRI37eyeDfXCIYwDl+W5mleN8Ver6vOjYefNBjZ3tyINkPbMJAyXwl9Bv16qj6PpWAsvb4yL
aLCVQ1pUgtICIRJj0j5OUS93MqwZIeaiUpAZ1HckKvucQr+HKnHbmXS3gjrwcBF8qzqbQj4WGvw0
vrPTwysG5uLJQPDu0D15t+mbiXkzTYl/21ftmjg8cdEzVSvX2shdoVZPrASICnFYIMXQAxaisRAP
z190FtAX54fATDnLBgvmxdyvHbL4qx/p8dpxSlTrGvZQsLOEFs8vrtItvGi7tt91dHj++ZR0CGU8
L4TV0sRgN0/7kJnLXR9SETxP/M7P9bFNRirgCsQ45I1hGGr9XO7SsIguu4TIVCpHKmA/U997Bmb5
gTTtxXuD7vyYgYtKrcqhyoLA2ApHTgfD8iOKufQ0rIR7Tjr29V7Pk/7SgJRdrWqviZe+gfqwbPpr
GGDJEaHztT0m8qh3+vKnCS5dxmg9XVcDSWtB6MBQmXtQ5wLv+bvMliM2CVQ32vxlJLnaNVRn1n4V
s/onLX0WMV5o3eGh1R5sa3YnGs6dkanyYSp+PMrnlpKudsPBzL/TuYK8YFn+pfCnDDARD5mlXKWj
sG7VeQmX5sYFbgDvTualv48zhIWZNwMjy8jeoEuplnHVaysvmbCQdNocgKaGxlokCkYKMxdM9FI8
aXpr/nhsM29ZG4XRLUUb29d2yoIvVbzWHahpXp+fg/fZ71RKKcSCzc/l/sCcHnikGuVo1rllsktv
9anE0qyr/jZWnB/f9b3yatOg2NINql1Kgs5zQDNaZAQYMHHorvyouCh6PT+NqWVzvwynu9Ce4MOM
bbdWkMpSh+jUKwSvSAVKDfWqDu85cczrOI1RY6L1JkTJjAxCg0pU2W20Rj4I36YrSENCXnLhzF/O
D89fprCGjj9510Bt+4PTeB1cab4jNRNyUyGHCy/DrsrTgTr0B8WzEJWc2RkKIRhxTZC2WqLpz72a
TJR/fGliqRxDwGiHhm4TYZLQImf8XVYMgOeRMwP8Fu77yGsG+WGi1vY+4cIaxD1WxSZ2nnI15Odu
x1lQyPxeLFGQmfuzhKYUTAgEqzmdYL+bmny689Nxl7FaY5XhtONpLFmXKFYubgrOr2Vu25gIjUG9
Of/AnEl5etlYu38+N5jTtW77LZVKgtwQGGnLfLCqKwmZbhFGwtujgKiXcU6kIvly8inw6DDHaX/P
zai5NlPSbOenK9KQcfngCEdYvZbcTZ8g8O40EAHfGoOC0Sht/5o5lIXcJ7Nc1D/xt7pGPcQtNIhQ
QA1wYewZLmKzut2UeWvvK3Me5u25QEn6650iS0ZTc7RPeuMTqYsrzKRZaadEIwX9QHPb0Gk9xwSH
DyVLQF/HBS7L+FpYcyNIZgoYHmb2NQ7Y73l8HzSN9kqDEY1nGlSogwtzZTYUoSHnFIeSJdqKhK/+
ge7m7CF0tNepewae4n/XhI1tpai/eCmr7oROJjaneLqRhBavAp3l7EB3ZcNV5By8ydS2DSTGPd3Z
YQ+cRdkSJjogUjbLTeQR9MBSzKb5MSQ3VsfqLqjH+W4mbuheA/gMavW5khpd7bh5dSKyM0HkBAsd
UDx6Ou01TcpH4gDsZzX0qIjRCb4P7UZzM88JrqmeoZJg8nqwIOjtMVxrW6s7ZrniXSgRksBxLPTD
+Tum4fLgExq0OX/3z+fCj8/5sWHuKWaSgztku44K1taIzOFyHCzibCaRPgR0uBEDePEL8HUaJQMU
yAm4jB8P4huL3mGhKUN+VUrzKsKP56Ip665kRENcWrhZuGicPfVyfwtexCZDGkj8GDjBVYnheDRw
xNt1M+wpdQEYtpin9ohbOP9V3EI4jZrC8W/VklMXOkP63vdj1dMroXLz+2//8V//+TL8X/81v86T
kVXmb1mbXlOja+q//W7I338r3p/efeehAUcSm7Bt6YauEYSi6/z85XQbQn/+2+/i/xgAkiuzw4el
Ww1YACUZbiB4El1AzPhXaepHh9L8m6aRD9Rq9YtpE7ThGH5xb/QsTuyC8Kmg7Bs37TIehlZ231UB
JCIjrV9oCrjtUCZu0PrF0aQBTZhVS5UjUa2rXJlmGHdTn+oS62adl9xgdcxQVKT6pZwXeBB7mlOe
a9BUfe8VWeL1EEYRrWG/nhCegdm28c+/W8gj5Htotf/+EEC9vBiQ6Lz/1LBqzJtnx3Ka93DoZ4XW
WabVhSD7Udotzvv1Pz7s2Pq8o1+IP0EtTqni48P/us9T/v3n/Df/+J1Pv3IMCUyr87fmL39r85pf
ntLX+vMvfXhltv7j3bmn5vThAWG3YTPetK/VePtat0nz9xNk/s3/6Q9/ez2/yv1YvP7td7zJWTO/
mh/m2e8/fjSfULbz0/k3v/yPn83v/2+/b4JTdvr866+gDDnV/hAouVg9aqivbMdQtd9/61/nnyjy
D42licN/0hCGKnTz998ywPEBf8WfWbptYkJRTfjZBn9V5+38I/0PSxI25TgqVQEpdN34/e8f+8d1
8X68/vV1IuwP14klyaSzEaRJx9ZNnTwy8fE60bS6zaLoXt1P7izqWoyrYl0eA5dO7F3wxGO3Ia55
CRB1+dMe+hdXqPh4hf7YsuMIYACGYxuO8XHLSoePQxvu+iWds8d0lW8QyACgXPhL5kxu9KvNzS/3
zwHhz5tjZ/88IDhKVHb6cIdb07uBSuHKbb5RVgSVvrRARV18setfbvNXH9H6uE1q82o94IldeRu9
9BfdXeSS4+xqOGDTRbUslsbuFzt1Plx/9Snnw/3TsAf1o9d99Q7cwy67w8KxsG4IAF6OW/32F1ua
B9C/2hIXyM9boq0mPSCG82cbH8RaXzIcctb4ydraIKfe+GL1iy1+3JusnwQrKypdNB4tUxr2pxOG
m0eKwOnrvEViIlY05Nz40LtiVWy81XD111v7+PHOGzMJThLCdqidmPqn62KC5mSO1cnONeK86aIY
x3//9W3T1KUG8olbzafdJ5qKPq53ojnd57dN9vLXry7+1du3bYkiweLFud9+PDoWlFxNNqd+Kb70
JyaJe/ta51yw9uMuX4fr8uIX25uvnn+eDe+7iz0lDdOEJ2GZn3YX91j0Ts0J6/eOvts2vympxrnh
EpXbij6t9xTcRBv7F9c0io8/bdZgPqfbhlA1qSGU+PgxO0QRRZp8S+vY3ATlWD1nSmTd1SyNDCz4
5dS4jl/qX8LeQ3msmMaVBMO9oqftQeBDCQUOK1e+2y3cagS3xlwqRUkCnlggkSIvzggBPsbTAJAB
eSTOUn84GcRBeYSNl4Lm+xjRACLWHrbP7G/WUuUlCjB4L+BcxhPE75bytKunaYRGVgrySVXPi8j5
SUqoE6IY3rJYxAy6foE3EP4XyomFEK2KCVmtyxuIwNpXW7GeejQI5FlZOWysvHGCY1lb/UOidbF5
wcQiPbGEil66gbTiuFCB0Mq6SB6iUFrpUkWoMXzJNeYfFn1btHRDg9xyqqQHqEqVdGH1yr8lPd5Z
m7221Efp1mVOyyYMtllm7OycpEzsxqZ+11BduugDLVp6NL9XSmKXbqGVMGybhFjHhYHDjSYR2RTG
Sqc5TMqWLSJIBx4MoZWGlVmhsEPl5DUOq2TrBJ2JkkFXMTbWeZA/VMLqSQ0i2y1aUYvp30LbDFK4
74BsVgKaz7Sl/zYUrh8gA1ukBjmvO12U+RcoVRuvqj25yKIs2hUgZtqVPVkoxsgHgafAYEz2kpjy
jCg9I2RkRJxe0lLszAMOYlIXjM4zXjNBTwdJgqmB2pSg7cPEK68apGQXljoZD37TeXhvObiVRYow
fvTYl9RQozEFg2/Udb5wqqbeNaOT3DI9DdaOyCZiYXyHqZ9eAJyxK9IduzYov5ZdHG9kLPesv3cR
Pmx6zMwmy0m6zA/azdA71dEoWmDag+G/eEnByieqfQ5Bgwy3KbRvvUaSn1YnwXKYqEJag1I/kDaV
3UpV854TQiQx+4uUNX6UhzdggJoHi8wmUMdFVGy6UWaXNUFPc3+hzlZTW2OFSHirJcPjHpKdWuwT
vY52WP9KxlxB7rIyZN6xp33ljmhiF6mfHmikzY5iO7nHSNRgkxxIom1QwdlTvaxampYEhoX1U2pF
KqHAI0alLld3Xp5Ub4CR/XTV9cRQhHGVHVLE6vm8SPKghuSiu6Qw1x1II/fUZZFzgTuN8C6nyLGw
+oNQ5loKFlMRO4WLiypwLrGu+G4Z1cmSBgElRT2M3VjBAWx2dXno7SbSYIX4X7HAK88Wsbwrfyo5
7YIU6k8tUDHZZO22Qpu+T0bFstQbtUvgsM0+rMnd8GSqf6WQNF7F6O5fIMvKPXgp6S+9DH8N6SHV
wkgVByNpb17brE/2DC7VknJcuU2iOTDXVjlUUTXITV6Z5V7QWLgdJZYVhSD4Y+9hdGugG1PX7nAQ
9nWquwm67hvPqnGVj7S3loPZqUe1Loh3E0zhLooypUrX5WbQ7gIgeQdMLhSNrKn7Xgd6vhuHnuUA
/v3WFU4wXjidQvtdEHnicOkunLZXt3qEvq62UNW2AQhe0yYTqjJezF7kJO8oBaF1iUVIGb4/3kl8
pYkhd0sVXQ/VcRNqXoHzGchAcF3WWnUqmPSS6Wdk0zoeavPG14X1Giv2E14Pn7iYKO/mwlXgP48N
Ggx6iwVqI0cB/dSTOxSvYLopq0n3yb/J+1pucMmP+rLJwH3aIi3pGZuJvWEV2++1qeZESXPvkTXy
OK481cGsAi8HyfzQd0cGynabVJn8apqjjpwIFvZxMFjaLqdW1fcd4XTosAaMSMvSd/JHTBQDxEun
Lb96VeW9OaUQJy8J/BsdWzBMZPJZHql5kN2oa5dWiZM81yUHF8eYvkVihmszFu2qRjWAnco2rOew
V6pkETne3BPi1qF6BiqCpCBuiHjADOV3S5cGraWz82Pd+2LVoedm/VDdcp8KgIHZI3Fw6vDc9fWI
VpG4GGCADmArVa0jPMtqYNHxRKdzUPVh/DY4c9+NAlaJNbR865twPVjeqmpmcTsS0OBWJ/IeS6qq
lKSGwbtVxNQBI/CqHqBi232hn1x+sUp0ICzSkY0kGQlpY9XmRKJ02SOGNW6cI4Vu1ZxQN/YiPsQt
ACnUIdhAdOqnKGGhDBsZ6QCQLbZGTQY7J3F0yFUtPaoI7Ug0C9PvWqbIpSBanOTKVuQ5nrjOumI8
BRwdGHxuuFPaolKKEktDxI7c+tBtt1NpoQFUGXjKZR6V+cnrdJUmSJwX1SoMmvZujCL9IS4cmNGt
mX0zkTwcC1NjsFY9H1BMWNveKbU0+60H67LPEQhcAyVixoBLokUOJQh+L7x6X0BdWHqWjOK7MLD6
N9/vnKtKSG+lwMgh1VJv44MD2nodhKq2a7WhJJ3a8u6iTk4cSyV6Ntq+yyGACPsR3kFBEYDGu8UC
cJ00VX2FOdzftcTGbKpal6sgHACi5zFKljpSsosBNPZmMpBwrb1Jc04jAbFzhWyor+zOl7sojVMa
M3jeF03exHs6oaU7MV8D0NyDvOszLSY83nr0K8LBsTFJEomc/tIrNP6EDsd4lRU5gR4mMyVFko/T
o3loFolhbkUTF88tCnLMuujadt7UXcc2tWKiWNVLPaI5xNKtKdWrpsZ9hVTYHr7hRbK/VCPqBnfq
gB6BXCW0E2u8SZ+zcNBzdDhImrWSJn6eL9pMrYgJmYbsiK6qL6+xiMudosIwsJDZfHM0InaxI3fe
En8vdtbWKP1rrchAmWskpy06NS+/IEnGMGOM5NTVyJBXHlWtlTo502uutqz8ek6ylejS6chN0Nl5
WnloO0rXSKp17zAMWUcCiSjUmwrdRe/2UQKqFy4b4DhQws+GnypLgwnvbTIRRIRdahB7+rBEKWp6
nw7LlJnfDbgc/cI3gCAs67RtLISk0lmpRmwPW5lG04vqm8O3zmy17xBc/SeytBusi9pQiyUUFrlj
za7tcZjob2lkEytdi2gVldBPl9ZolN9Dexh63IGJJJzSKpUL/KrkyPheLY2lEzSGSZIBIcsoWufQ
2EIdwYUHkiw9xw7voY1TpLIdp9hVmp8fkMKOX8Za+JeJ4ZG9iWEuR5RRttBvhefhI0BoGWE4Cjtn
GQp2AQcgwg/K6GEAEOqqimw9lWqoCEG1c7kiofSJsuRELCy/gd7Gzcg1sOTtC9SLblSTCJnDt2ZS
bBMMTenjuhgIB352qrRUgPiXdnlB0aIbwFX6PqlaaYw1rNKQii6DNLfKJQw8w1nA5ymZBk4NEODW
aDCV1sjlH+Ff2nvs0CwT+0phCmzpxReGvbZZG0xInyjJQ8zWLDoxQUdEKmBVi2ztNu/KV7NV5KZx
sHMAXjNQrXBC4lesQA5Ay88iAzoUmYrM/J0hCy6GNIfSzy02o+43MMdWCW0oNwVeedXNuXOz4O9C
8Fq05bpFWnpsWNEaBh+a05LeUjKWl5YC8nyhRWbvElnn7/24JNJOSj/4GqUBLC7cRtgZCp2y3mDD
x0IdlZYmesW0c55Rnql7qfbVNM9SDOdpUItI3if49uIrTmVDchMeWpYZkCp2ATCVi1Gibhs1NWZE
s4AAByKUvP+Ili99OVKMJ5+s7SEfrsqOhLkwtppNqfmrrq4f8jwpmNan2kqJY3tJdDZGe90G2S45
v8OD5RAr5fLhZgMviN2NXmcZWRukvk14IDedrKx1k8iUxLzcPjREbd/05Na7NcdjpQewwwfudyRn
2M5DZAGyzjuA/EXA9nEGw9fOs+BR1NWblafTwRsQpKZDtTdrx7vFueHBa+QiRQ4B55HHj0ZpBSsj
wtrZxT5ucRYJrpVVCAgrDX+el1v7yMxOw5CrK5MbyE6xb1uTAG0HcWWZAz0eFfWgc6Pd9DZ9TWEN
/XoQqb+3AtHfZjnBH3TngLfQtKwAjpSFcrDNSLYLPTLVrykdvU5kzYSoTWXG8qAkFUXkJSy52ryC
uBiDfq+7B2Gb02WbdcIHPBRHm6rsw2/c6c0NddBrVEM5N99Ja+/6wNOvktAsv/xiHf/nuoEhHOqN
lqqfC5OfFtTlRM/far7XK//WfKyPzuVclCMH9A0VxYOzM9xfbO/PNZ2P2/tUr2pwKRhm8z18HNB2
rsojCuXDtMwuNbd58N1fFQw+1gDnKsXHrX2uikjhNy0BLC0ZiETZ6R6kH4LxfvGZfrEVXf1YlPBt
bmet8aIwHyNLmyjOW3NPzvAyRpgDPMj1KpcF0q8rnP+qGPLTsZvLyT9X5LIqxD8wfVc3GDbSFZwZ
4Y4PkN7gRAIBcsGuQviOl1TL3usw/1ZT4H9W8b8qXmGbVa+vzfFU/C8o+wuTg/ePvtOf6v7HU1uF
TdjWP9f+z3/zXvw35R+GKlUTyCwMPmGY/yj+G+YfFDDRmFDmVy1yMzhYP2r/ilD/kJJJn2NQ6KS4
ZXLR/Cj+K5r6h6EZyBso6WGvs2zx71T/9Y/Vf1vTHDoPQtCHMAXUOnMeDn4qF+d9KY0hsYalwCcG
ovBa4kXS5ZyiW8PYA4W5GkvyeGn7Raw8yp3MStwKZcKyFTKHpkRvjrkxWyA9VCIsGz6KI2JsfMiW
vAmHGcm8ajbHEhc2CSwnMZZbCPZH7Lz7keiPwOKUtNPbop4jYwfYxG0cnEglizE4lW5cBqQYdogo
WjNZChyTBIUjeCmIhmU9ua0ZMFe0kUE7adOKZXjJMtH7xfUsP42J550EQZED6ag6jYRP13Oi5KRo
BNG4JBO1EubCI8B9wXBOL7G/yjx0cWZ0z9zSbY3WJTERl5B5KWa869SLXdVGFwBwjqOh5ZeG7QFQ
rHY0BLd9Wt6F02C6ZlZs2NU0S+PhzssVmLWetw+xwy08KzsUxJ20eNmw4b2kSXifB/X6p5P2+r1M
+3OzVHAa/ly91XSOPPMszaS+7nByfRo5PCMcSglAFB6D/RQ69SUqsSUwCTcxrYVUYxBp7Vo23jeC
VzdFkN71w8sv3sLHxgWuFTizlk7Os+ZQ31fn6+7nMzFjy0PgW4WbByTFEARfe8jhCvP0ik1miXVp
K5GkpXm10uz6F7V4bR73f6penzfumKot5o8vbevT589EqeWhtAuXch4udIGk4KhOX7XEXNYsis3x
Af/uIshK1xlsXMAgSFkwV2pFHvJ6SoP7FGKTDdOOajxiSlTRBQXBHjwMJVtu7qxn71RrWlDsyJ1V
Dpfqr/eenPfOnz6AzVDBxSw0fW4X/rz3fGQ2tVr7Jf36l0pAwo3H/tInM3RpdbjYYr/cGhqrqLlL
T8GirV9s1pCA3BZZY1/Ukra/2TAHGdyMJfuUMwF9yQ37UcV0ovT7lr40Ye4xUNU+W4zeJp00CDLI
fB3lF1eb+NNHocqPMt7gYHCxafanISnzjGLW4DWunplHzVIeMvJ7ASQ8Nb44jVLbKq16ai3/rUZ4
/Ne78c/XAeZ5wchqWQAAbJoZH3cjJaRciM5vXRhsrA5U+RyACs/nWAO0x2snhf+9PkB43TTQWSj0
KN37rfRDe/3nS/G98fPhUPIeaBRbhs7lgDnp0wxsCpSB8AOT0SSEmht12RuD9Ip7xQvxvrmlPdep
fFbaDmo6xUUYMax71JDKnEKVyaFy73gaJdmuyxl0U0DQwBxaoobKYd0alWTKbSTLQlaEWsCeEebL
JD1C6promy+8DvDwiNsj5FWbOt3i4WZNpS4Dh+JPVnFG90GK+zu+EDUFnQGSHLUF+0h2Nq8MoJY5
MoAhm0KSNqUL5kG3Pq6eEYSoKVARdc56gG+9qFpjRXTwM7Y2xcealconv4/vST27wNh8kebaM4W+
bS3lVq31b4ycwXTZdDagf/Fcm/VBN4qr3GluWZC+qLb+ZDfmS+SE974R7Ufvzq4lKUndLTWjdonB
GP86tL7BO5Wd9VZTv5zn4azqKfU0ygadyNJJ+8eSFy6qoQFEJJ+pbx6k1t6WmjxZfXyh+O2qYvkd
aGI9edqmLgFWJsiD3BZCU9OKpTMaLz4VhUwfcyxtyqmMIaJXyX0vOJJ6BdoLUqG0mhXISujKhn1X
Ft8DCqpwhqikx/cAFS8C1XmgU7HAXLGKKxLMVeNlwG49/19H2vOQGFvfl8+JB0Sc6zWj7pH6M8dJ
JzXTZ8f55bduuqW4HC1MmixA/nkSTZBUvvSUPRZMEuGLs5431PANEIlN4WJc9TK+rGzrIWoN4hpU
nKvtRWxVvE+Vv0Hq/j1r7k2vua1wyLCMxbRTkwg0hDTSWefEKotU38BuHArxTExkW+j7ohzGHUKh
jW9210mA2VlP/bfO4IYyQEr0UvU518WzEac29lbS4RwQPxlGYujxKCSppSKVPI25+lrnIc5U1t+T
1t2iil+YpOjO+Nv8/TPS1cD7qlzYhbYxzJCSIZWxFjiJbsf3xWA89T2yIvOSE/7JM6NdXahrMxZ7
s53hMg17pGHKHhGBGadpgPUnuGBZHtC24lrXaC8odfDGyP5mD+J5MqkUI1QNFxK2MYcaHqCpBW82
1ak87AXpxOoi0YFsabxWN8X2IiuzKwSZ2G6bQ9xHT76/NVq816Vq70bMim6VAcT2JuwlskPJTCEc
/lIOUQxQauToi17H8IdjGg3oshd6QXuA4kqjnoYRXToxrjYMJmyFtP12Hj48PjxFfcX0koX0hntb
faksTGKI8cJlQuDTwsGwqhfayW559/QK9+iS4dxQu18GcuMnVokFqfA2mkox3h/IH4emONrAqPLg
olGVBOum89D7XQjcYctVfBMX5sugN4c8xKyh9Sqabe1k2s0xDzDZmuhWicPpFj6B0MR87GUQTysr
jYA6Q1hZpjres8E1RfMVeSf6/1I/eVWoLRosdJ18NkzroSYa0xnMjUzZpbqew0xbJJF8JiascjFv
QEONtcvcAxZivXCPqBZdbT1UvQ3TJXN9ozp4UXTTnDSRYjowrIeh1k/EFWxwZN6Env5cJlxogYXl
QL9AijgtJiW8yKqXZjBvy4mdRWKpowN9rfSXAqfcQjdoKoRWsLB6lRO6bW55n3e6DvYwdMNjFA6X
VCVoNpnXgaFSuvH9ha2R3xFFAWM2TJGy98pFPldUIYzHanVbVLT44uZgttz3FH2F/NY1K8iTrY0A
1HsT8FQbJHjAR+Fg4x//yrLW9cuUS6FQKDvrRwkrgPRvkn36kM6JZ6wywfu0FYLWTh2sqz6ZDiaO
PqMhpodVBrN3/cWp8mmRJSWtAJF+S2A0MiOIsPiGgsYlSUUQQ+RzmurPfic9t07K7016a5D7puE3
T2AkWHTLw76P2G3GkwqBmVwEM20PMAGuSgTlQ8hOihrtyTCHi1EEm25wbgUREws6amTQV8DtjX5c
6R01dz+hxYrM8osz33NofD8QWz0tpNGisyX1mt7dsq+aASN97lYREWlUrzoIKN1hmOj6FEn0GFrO
HSt9sIu9a8eImLTsSsTEb0J9sNq7X0wfPi38NeYrzJ0B+6DomgUqn4oZTtm3SFRE4/ZBcl85bbi0
Ap2br7bOMGrCJjqil7/GEYA0b7iK9OmS/K8dVs57bEm3gSVPf/2GtD/PpaSJ7Oy8xrQtS3yazyCY
D6HgNo3betpz2lI7j+XWcpjaXUpMTYvJE9NyHh2nWn8m/IuwbGqptlVz4DMJg3RWP4zZlUoDm9uG
wGtGCGJaMjD+9Tul7fF5BssKlAUIfmB6nXREP81g0eLEetDqjtvr/Qoz/2MiupUmo32j875DCrSC
MPW6D7fpmN61yni0Yn9ZptpVWhdPos04A21maNGlXjkkAIUgbwsgsn50FeXBCg4p427ziLpyhUDq
GOTVnoIsXATb7THsOsRylzYFyaZ5MyPBiVndjr1/okr/oEkorTUdqDY4WHm7V2HvMbAYz1PEXc3Z
KJ18NQYGo+C5zXqDOI9hHcjhspXOQhTOorP3jfKNCjj7m7RA+wo3uMs9AydSuphtE17BshlpdG76
F5U2vHU09H2N+m9sms9KEX4ttDRdNUjwGYSxwPp3XdC+JOhE6XG6oR2CgIdnNU/axnXHNeCQNaBE
OObrLsAsgNWk5Byryq3TFKeCFY2ITWy9EBcb56FORtj19rJvXxwvudHQY5QiOBT9AwFhV2aRcD+x
cT7dN7QPnSL7Tk/oBizlrY7IptX1YyswkPqqK6cHxuStp5xq6MqeNazRkLhWOiPIzF26YyqrZto6
8CLC0ggSkOMbmfbEipKw0SZLk0Rq1DkdcELj3q+4+UdIBLnRD5dRL25kSUBGxfGnZBK6FkRqOjlu
SWhRS6srq4CCpGRXOqhV4u/0szBrje1ickYUHnH7zZbFnrD6TYclk8weV51GEFYtWSTRwRmay7o3
nuNputGw2g6MUqLE292Ps0mo73YGhdj3mf6/VTT7/1FJK+bF639fUrsYK3+ckIp9kN+e/+i9pmar
f8wVGSRmAvwvslUWiO+CWtP5QzNZuKEmlbZtWoJl/o+amo7W1sQR6vA3f//Rj5KadJDaahYFN02Q
qKbKf6ui9vEWYDo2ehKgsSSyoR3UKKl8XEH6oUjoJrHcBjBsHdK0ILJBH0CBW1G7+mm//KuqDfXr
D4PmvDXTOUuALctBdXaW2P5UvoMYHReFqQfbuqqyAZAvyKLQS5SN12raVhb1nJac6Mrl0EztNpZ4
hQo5NStuFSkUkyC85/LIviSFppASS3DYKvIab9VEJZnCCQwLBv22OUZRjEgHP1DJeNqrSx99EpOB
IhnyZRYq9ROhRris4RZ2PjOMsiL8RD6W9liopDSG+pdoquMTN5yI6LfSbm7aAr8Ul5ij7HuBRYl2
dYKMxegUj2wfhpPaJDx24VcjOLjaXrdJcmlhSsZoBE0AJ36kv9Jp9BEcBAyCWprvNNQau3KwuGrN
ANbrVFvmTco9deGE1Aar1KqfKobJhYQ7vCJOgW6fns1XOjkWiJYgM7CEigl0SONgCFz6681NSbQN
HIsMvBMtr7smA7yFV7V0AdKkOwWnHiBbomjp6WZTTTqhUMY7PLf+6xAZoGP7arQXOWKfW3USkJ7t
FHgcTiiAFQ0j6D4bNOMRF2rv8gnt780gu3sVJNEqojDw/7g7sx3JjTRLv1CxQBppXG7dSfruHh57
xg2hjMzkvpPG5en7c/Wgp6YwC/p2BAiQQspIyYM0+5dzvnNTxM28ukQ6X/rewR+kaqsiHdQB6YOV
LYBkOR1iAoiOA7ai39pCjk/CJ0BqKZHhW7unz2DyNKW/DAMRYBEbXRiPtsNEVegdioKElWmTN9nJ
KpdkJ3oHKlBfNifm2D1e4jrmKJ6xSTOOFMan14kx1GTEJjQr++wuMp3MOyKrQ3N1ZokJvjB2LZ/D
H/w1pF1AHmVLHKXDdeq4drb6JPpP+nJtV6LR9GU7qw9QqqQ8cGPJ78TuqwOYS0bMdN8WbDKTGZC2
5CZpcZlh/NEAkB9H3cG6ntfGHzahSyAghgF99EpESE5J1qKXU6qaCxDNWunaAfI919ZoyTMAjWb2
y6FzA2U6+rVwnS6o1cgeskILo9cR2QOj3vQMbW2euLzN2szHmW58CaWiU9JXUbGtvcb4ZI4p1X4s
eDtclY1hPyxJH1h44CuYD6nOXemW7Yfq2s6Hdi78vAaBjbwmt/bYvCvGb6RYUnzNIxRpjUI+dUrr
FY466W5FlV3WRXmfBC0oinqW4lTdBNZH6ZRx2zXzvIkVec7TIpiKI3l7Ieqq8zauq5aPtG2m5pB3
2qRjVdLl1iYB+/HjNYDADooet9I/LauXT9gAHWtDKzN94fnEctcm2d1xVHHC1gnZFI0kYSBSlEEi
S3GsqzTxhbPo68ZWWn2P2lEdGZmLc2LntKs2Dnz4U921t8d0RzGUQ7evhj1f08/Czp2zJ0r5WQyI
hJaWs4lMJuviYNo+2Ghjd0myprt1pSOYUpJ5knKcfsfTaG6rqfBAEEnI9JNX3xNDa997bZ1OWq/z
+K5mLtBIRtO1BK92qQyNPOK6ivEtZ0Z7F7maPxYpadKXcS0xtMY8/n0EvhsfoQtMbB4bexPXLmjz
Fv4+83HxRwerfXaJHTkWBX0KPN6/cyiWndnkH9kwNYQqKfGGzAwMZh2PkPQNBaV6aUHyA/UygiKJ
Bjw8WX5IosgIxKyZb0WeRoyNyXbplyW+ss5vzjWIel/Tc/KBweXvXb1EPUEasMREb5bMiUpVf7lj
O15slIZzgJfjYfED3240Innyumi5zJGevSdiXS9pkjp84mP9hn0EekZRE4NeK4zNJmjEX8tA3yF4
AKKmNwM7eTzPk+a8O3UDDYdfd8wzDJKQCOE7PNCrM7dIaJEjXqEaXIfrSNVtMwhhfEIpSrMA27Dz
c1y0D7Ou/JpqA8B7FC3FJumLNYRUy9h5rVImYwTwbMbO0D7TNEIHg3SUns+rlluPA4U9+IRiuckL
46tB6g3pI2WArqFiD0uWmoEhYnlQzF3v5F6RQZPmLfkKXnwk1g5SMg6qXWNF3m/asoLeuERKoRsF
mQ+5svdxAb9fi7vmOx3rLhwb7Ns2hx2iKjW7p/JxwThx7fwESbNeZIk8emQ1hW+u8N3YsZ5jWZIc
OeKKyoDW3bLRFs88ZN7FaiI0N6RScosIgMDbfKTogBTnFochMihNRcehLJE/3BqYBZ/NOGW/M92z
31arar9gww3eBvwQlW3fms64VSt8Ck9b5IeGjoPQKlp2WU+GGSAXsANQ5PLk1VnypKoVfam03BZx
TiJIBkNE+8z5mSL1sMco4I2srhaSE5OR1LIcxmzs7jFc9gc0rfBCFz9VIKy2ZCDbdb9bUD1B3hbg
b0e4wn7Bex1yeI28cibzZBsZ0VbpcRNCuIqOwsvlfmVC/O6OC/A0dwKNvl0dgEAoKPvbMqfGDv2F
vGJKdcM2Xn90RfkImUCQdB+KKDkmjab+qtq234myEFzdw7gvJ9P0C6fvCVPLY2ZoqCQDRJGwAbXI
QymZ2fF28sTjgpT6zlzn9iO1ijEwykfGttCGcwZB+ZgZ5rQDRzB+uqY2gsOuk7e4RdY9i0R/F8WQ
PjDp3qk1BOGqIC8+dG4aRn9mtWwzLxlPahjMJ63s0TrLiRC/VGONk4sZlReDX/eVkZ37Y7CYWRNd
aGyUZ9ULebcOM+GyJJ/ZQCH0gr4KTEZUAAZgrMYqkxFTRw9nNBwUoDwyWkfPvgugLIFjZZOzgWc1
7T17lkwozHIXEzy2+nbioE9xa1KAzXzpr8hX8wmtcjdDWFV2fIxmsWVypSMW9tKPyaZD2pCuA8NG
b1J5U2OMD6Q250MfrRasBlpVBFdZqM9uu4khvr6TNEvS25SOh9HW1S/kfODzlmrS39kPQ5qepock
RZrL3YMmtHOiUiTot1JeLN5lv2NZG8ZWIXbaWrrvlfOYASHpa/+AVmYnagk6SBOs+gHUTfXhdgQb
pnEF9nSU5TXJC4SgWctEK8afz9KzcA5Si6CAo0lMfjtQnNwzkh8mlqsztuBOPEbI4JmmczrI+EXA
8U+3Msvjq+jAtzA7N4zAsCadzIa++K5yu+VdFFHW+IWwzQLlJ2ouJM+G9TEgjWOXwq24qzOpEzNg
Dqd4jQbiZYeyDdOZ0p3nL9F+Ti5DVqOPNWTAWXJxmlQVm5nJtx2U8Xgo1YJLmU98N8fWQ5ZeO/mR
b9mdqkGrXjMnTQ6kIxifC9aca1Ku6zNM2/al+fsSqycVEwTTey8RCXJPgvTC39z8U8jpQTKlYjiH
DV3v9iblFyTGyKxOA+1vsQEp3G5lhUAQUWv67WWDCT15VAYXm0P8V0oAQKp38W6c8joYJ4t9e9Nq
T+Yk662bEaM5tEX31k6leMu73PyNOI1tdD+38Q8wmg4yztza9sJi2TOz6Xk3qiJ5qaeE/V9bEaFQ
In34w77A24Ox5MSYHD5uaZvZtcPSQNbkmh60LkrCMqqYflgr91vSE+052w8VXG8vRQBkbfkYGtn7
rKHEoRIOIDekbIcuzbMXTfadX6yl8TOVdnO3LVvcrCHRvkfbZiSbSIF4bFgbil+HuLQH3+GlgJHc
biCzuz758HJrqLyYNpnoq0tp9ox6zC6j/detZxGJhagFvS1ujq7KezsXxRPIFG6ZtRwtPDGRvisy
3T6micz2ndNYO6vr2E9byxTWhLkHI7FA17aIUxAEjxw1U4sMSIHTvONttE8pHpY7ENjiRdfI9NVq
o/qIo7GNt1Zl9daWzO7iCUDQ/CONYu2nQ498j90FDGpqd4z2p9FnJkP9kKjonVw/XNvWrLtom8fq
xTSZl20pzaMQQUdH1jJUJa+S2r51c3ePIVnzzUZDWb6uss0ek/90V/SgktxRk3PoCULE0YyzWhUT
P85+lOqrkHVLdA/XqO+uoFWZPifWxp1rhoMFq8Pd0qg5iJPZQ+SoQ2cJKtACUwDmKCleZDv07gbT
68MRlFrJl7va4wxBsJCHXAxDhHwRsZYf0Zl8tTohvgWS2xnwTjPAw2O+GmA/USesGMhQjHak8Umq
Lhg0469J1OMeclxy7due7R77UpaUBlDIxSPTJM1+kOxrB1wvL2Qst9R4w0veiWEH1pq+QzeSm4ZA
D2hNpDfXpcdpr2mldi1xMLBPlfEFO4z73uHh5ifYZ8cc8BxnuwXWT1twJWkOsi70iec2XcSmtTwK
wNmwz57jTRchh+4StwYgF91syURRVuN3XfyDbIiHoGElS5f40K0aKnVbivopssEGQeBLvjCTtZsl
7YabNndeva1ZKhIYbRNtg+j8OAPajTdLNokjxUhk+Z67Jod0Kpt84+Zse3ZjL6eaWSkx6ZvFsM3Y
N8CfPw1Zo/kw/WNyHCs9ZuERc9kZAr2/r2OGOBBkbAsQm6A1PpJYa97HFCwPg69m+epsW/xVY3i4
J7T6h0Rz0pPXy+QEXQA0lpkpxDAZLh7U3UAOpm2XZcMFuT1fbrRseqke9LlFLvVvzyI33I05iTZD
qUMaVV2ZvqApr+1N0USFr1nCIDxleER/TuiK87Idv0vLAqUKS/oPcl/vMKiHCyUe13cBv/BVjVkZ
zJWLHtaaHLW1c4wG8HMUglKUxltP2CO/Ouo8IuI6Sb1exEUCmH9cP1rTjpcNWSE0Al4v4rsjmwbn
ntIVYV9tTQfkzZN7sIE08DxBauhDwJBJG1iNvR6AOZU/LOFkuL6qSagFAZOJkqJAcUr07mhrT54S
/Y8ic+St46X9FamscTcPOfGfKc+7NHSSwXxOXFPVYTN4imcV3kS88crUBEE7J8PVjEgIJhV5sgBb
kalqgE4n5KVoKvOzNvoIFXViLnQcdtach6o2v3TSB59oAa0deWTNu2g0Z1tolcfolptTtot8hu1q
/GrWiIV2Y8xbRbiG79ola8SUMKGt4KK+uVHiXvM0MbgswaA/lZqA9ONNbPZAqWwy/kC0aumLzuzc
Ap/n4aR9gZ7tmVt99gAbdY2WX8rcifUD++lMC3AAap9Dkiz08sJ+MXHHvOaVNnzyaozXhv+UB4C9
+IpFlB/o+9uSCr0EXQhn5uSZU3R3XfrZjZ3kiNBsBOKK+Nnjim/sLR0b95cggew8ZVEV9stUnpKW
5JiuhuGy8GP7KnJLIfZ19d43ajv7BV0fRCD8waMprW/ixnHRNMrYu7A9kHEhwh5VpEOdHdD1Pqqt
bcdbzWDDqZavtsNcWMnWeqLNsi65U6YEAg+ejvtG1j+72RseSQTVtrXWBVALdKoUyj4K86Gr0M2P
oiLDtymDcoLfWFeNQeLEkh6LyrROTUw6UYx+7gXj6Oirglzb3qmG3zIRXASmZv8V1R05aYK+tdMd
nYNzjuWlnsYF05becwFh3WRUvlr0paKNgMuYpnbjhPJgts71p+foBI0YJn4OwFgI7udsuDZ0E+4G
nIG8ZkOSv0hWkJ+zaEnrskgxWLdzFGPuFJ6Z1+yE7Zx/aE/7FJHkHmFXxlSenBgNA+W14TbF9ESi
1aEmaufhYxvMIcyURGYBcPTQQsKDs+Xk547Jz7EdO6ve6M6Q4m6bovmZwJHyxohLEfZmlmAAmfYf
eXXAyheWxaHePbQAY4Kt0IjlVuud9OA5VQGVz5YnnbYzGPAu7SynNV4Wo0wOE/6WV9tbSOtDvPIF
Xqe5GS2ugkBfasqzXkhoKVbxgYdtubgzSV3r4xHVDaM7GZqZvE0tiV4+8b1MYtzYajag8c0aIyw+
RcyJjrslMLL5Szla/UKFSGCcl6of3bAUpNYDxdtidhXOaUZsEwMNXqqdYSTLR1KNf1x60fe1KdOt
Dm0myDrQI1nKaVFYoE8F+2RUN6V2iwA1oo3Oy2yfjQYJWMhmojuzZn3T6yMwk6wyznhBe39lnIx1
mdJw8WzrwDQNIjHeCz5g5h0DbSApM88S5Ri8UZh6mJPlvnWcOXBxTDyNbj2+tZoz35s0UjBSSVMl
cnM50AhRr5Q9IKeVWlBmtJNB0ZXGm2nhgYVTZBvHHDvzxq7I/8PxKUow8C0i0CiLhV97a/ehO/3a
7TRd5Ldk9dRlII/rpxiM6WSNWZ/7kr2mnySkAmV9qZ68dZKUkV35yH8iO73usLTqNoZg3L3nkukC
MrsyDhJmLqdOIec3XVwWhtcke7Q6TgjSu7xHEZGeE8jXMDMq8WGvtXM1qINOVKHF3rEHsc16k5QW
K9qO45KckZdiM5kVj5edxUdEAeLTy6349gC6yl61jAbmdGdYJQwExjYvXT94PxWYpRdS36Iw0zx4
MFisvuESyz95Uaj7zHTyxsiuDuTaDPuuswk7LGQCaUPaxR66qoe3Im68/ViTrUEVHqdfwGXA3RWM
yq2txkkYJBAKT57X5VeLLMFQI3Xxr4xghjWMjHo+mwbsrxJg0K9CFrAcsbxhQ+r4mt4QIaNZ9sEz
NPFqcwS+09pWzOLTot2MhUrOwiWugaK8zjngp8aFIliT5yvMyY9Jg/1TWYYV8h2749QqmL9q1b0t
EjkSFJe8OZPUhUKs7pZ7rwDPaw5r78ZAl4Hjg/iIlUOQbf46pTDENfvcNOiqppS2cZtEo/MzrZv6
EC9Z5HA2T9ipFmHYFAyuas2NLSzj1FhYBBW+4Eea3ejznVt0cVMTcoHqaElG59hwk4cDbKPD4q0j
QWVRZm9aytqgNgcUFVOnwolSeVemrjiYHYT4XFjSLwZa7U3mlN1Ln0w4qgdpxSdq7PK+FJbi+Kr4
/RkV+EmkD0SM2USp9JPDEMce+19YfI2mczfzPMDA8AbBhFjSXuVos87MmvvATqW5dVjrXKkGudHF
TNjthE0lIoj4MqLLIfNqXm/c9/JnQr6rQ/JVWoIVJtevC1ol3KvstTw0JTbNonCIW20WYmg2nRWV
VyMyInK4srjfNkst7kZSpt+s7K0tYglzl/QNQ4gK61PoClnkGztV+nNO/0m01pDvMJ6pV713rduU
dtiMGySW2DLymo2HTBb0TpaNOkNwxW5Zz7cB+69uCUpT9N2mxOV4xeX6gCCW8y+NCmvYDBLWZ7Gs
nh8PtfYxIJ4juVYTB6sAy0A+OvzTWVZBkY3utzKNArEgnl3cMpmqSW9mDse2z/0pNdGosNVbfo4a
LvyjvS7Dz5T8shds0UU4mjOmT10srT80TXIshsbwJ6ySWwNZEM0w2HIwoAtu3CJ2/qKvjnZz1oph
Kwn2+Q2bSmAdb82tmk17wVyfYX0jiCOufa537GOVF39XGc4bkabo1DAjyztYBjPoO4JBVAVjE02n
AowbT7u2eWxZjFw2M9+kWa5W01Xf+mQz3AXtQ3ndRpdI4xjblmuCo0vz0GHE49yf4qxmaabGBwCV
W+p5jmibO7xhfqzqBeLzOn3UnMoE28aO3ODWhNkj+si4G25l3dm5mf7kLAgeem+9eXkjCISa6iv6
zTT1eYm8rZN75Q/CHM09F2l5sWStpVt7pa3aNpXF1U92U0jCIrXLmJf7wbPBvSmEzRSe2Vk2mv0D
oG7mq3xIf082LHUyFI0Kf7mzvGiZ3sQcBOYsglLC0t94kNdvy4DNgPkZzFTDEzrEPXzm3pCufyFV
S99AgRo3ezGdz2VyzZBJl/GTf8/7loXb/2z4wR1W5SCDTybzm+e/+8yHvtrlYxW9LKPruVdPbwT7
BJutnjMM41PJ7fhR5nJ4nqs+v87wJbdeXsmbSDB884gYB0936m/RMGHhYCY3Tw4f0o3zwgc+QYk2
u72zbVxUwkzlEnnzvBHwBZpdf+Jff+V+4P8IG+DcbXRwwbM/d7DrOrmwiF09jwSwiAN5U0Gzf2Ml
3b/yQT9ckUkzYLsVK/GN89xpw4U8p14P82iIT0D8yy29hRZdyrV3x8PSzb12rRJmY2p5pMxkYC71
JB/HEGJH/qlZUX6OdK290yqBf5QpVOCKS+SXnkXlWdSzvIslzdSGZTVe3cFwdrWIp5uKkwl6bGcd
DagOLw6ZD0+LIapfrHojgWS2tF66yLL2drHaQa0hgF3SpPkZp3Rns0sYruPo5UezSnbbQ/1YcEfI
CDPBxxNLPVjVkDPQrxqc1U5fbooyR0obC6YnuuyDESP+U57W4hVi5UrNk+nhrEWSyDYtPURmvMBn
jF2iShcRkiBSHOZhoDWJFxdpI3S24geRaGDoTaLWmOIPe6pncaF0nW+x20ZnnL31y9JKaIKKrT8j
KpVe4qxf4q0wvXVv9lg9kE3G+pepvJE4pmg5aZq5HHtvohwl0S10Jsv4WaixP836lL8NvbbAopSw
YMoqRx/reb472xOZUMBF1gpzINbrIWQFkDySC4vsMOgZfMJYCDcwkSudh4dGKVtE/NpSYHw0DeMJ
3H3RWZVxGq7uOrwWqcx+WPzP/J4qV6G7nTymz27O8DvnqSxIL76aS+98dbkSlGBIazbssr2MbUyd
7DujVRe2FCbEvdFNTxqe7+dF9o9GxIjehVbCfI5Nd8afmqVEcnXtdmKG9om3Or61i6lRtRBE11cj
GxvZotAdNbViiOA/VZNa9l122vyqMV15zUxrChfU8ce0Ija0GYryitzzsQcwSJSRM+rkgU10tjDI
mpI5O01Ud99tt3QowdmK/4XUbC12qwlMajPymv+MzbX7oyh+b3+HAjdxOf1lFF76y6Zf5tT1cFxM
Enm7V9TfOvmlp3xky8YKCnitx2BcB6Hu6lyKWtf9SM1k2LMwH50NIyyhMDsMKmyIot5bVcxBLfBE
JTut9OQxbozyDooC9PwQkU8EIr58KxSLZ4K+vb1JxKS/OLXamThdrzTC824tuvpCCCFqpH4mEBRv
1HKIbKf2ZSkPVAmQQ5YKuQVQruq7MhkbxXQxCLCUR/Lb1HQnXWgEdmd/UwAT65o2MQZrb7TAsNeO
/WskGOYYWaNBW9l6brNB0B/d0taa/mg4pLfpYHChj7o5avs81gxyKZA+LljQVfKrSqf6kNYShAGO
e2ZhXrU3YAP4M/pl2KNR8iqiVH1ovJFfyVjmh06i+R4dYzlyuTP9QFn2yGKXFaEnLkWIM0a2Pztu
+4sZrhPK5AGewanLUG0xnicWJUfk893tH2aZGEtsCW9nEZkXTPHUBWs2gt2Bs3Oaqlj7o9ut/oNs
+wViyTzd1lFkHw3z0k/ABUBBWGQxDhHekh0mu60BmIqxOUwL8zcoFnNge6X5BrpO3IocNR5T2xhZ
Su75zUAaIm6NxvxpUp6emf8C6wZQ9OsfAjEwaQNJvK8XGp4kLqxX10DUElmIGjzSGF/dpiJUVf/b
Bd1o1W9KTaBFOssPbYzWYGxnyJ4jHM68M1sOCPxxTc/FGY3r725U9dX2SL7aTuUEChdfAHWRa5jt
YbDK4nWE4lgE3WgDc8RLhNtoSMWXNA2dQSjFxVmXI31IK5xrG5nyMmd29jKsHTxqqQ3fsFjSj5Wl
g/dYMkebdG6Ke23FF0F+1Q8LNV6oWcB52KbMbx1C8yKQwhAEzRB70FeN++YalRV4JdWulw4CS31c
7YauEEfH0xPScLr+bV6T+Wqhxr3HyeIiq4OU4iBJCeO0nd/+MVR5GeMhT+lO1LA1SREKC7eAxawh
6DHVNL+zRpi2bE+ogAbQCzqi9orxktWaP6m/5jBtB9CFgM0f2QGTfJIEAbzMU7zsVJqvE52Xyrf/
GHrgNYlZEM0cm+NTFqXmK1mJeeCacfbnbyHVf0uJ9/+pffUBRPs/a+2udTf9tfwv3tXHL/hPnZ1p
/PPBymVqZ1KRUUP9l87O+ifuLNS6unSIRXB5PP9LZ+fwi0zEBPjHMVLx9f8hspPOP9lCOborXFTS
TKTM/45tVQjz34Rvjo03yrFRBZsAJC3v35TWa511nbmQbi1WSqz2oCnj+j6bz9LlONySi2qoo+cd
AS00Xsjxs1txMpBmumcyT96bto+q8lCp4bBI/dA19IAVVhHaYiFDMgJ2uWMehnE90CAd7ONUNFcd
CLmdphdm0ufHAVUsAmnMfMwA3fTxuldP47M9Jgg1yltsg0iar9FcvtCICedi5gZdUHfDe3iLemTM
WuuPrI68tT7qDznFNB+sZTky0YeHzSZLHQvfRrvAW3WowWQtjB8U2SZSTkfUaZu6agOjegylf4JE
cOXOJZw5r81dFRk4zWfI7/nFIXZ63idhS8B5/pb4HmitaSUoeLqbwM/oWxwLJ19xbokLzYwC1X5x
yZrguTEPObC23oOPS0IEPpJy1OF7bMW0c1+rKjp4sOAc6Ted8gUbexdCdm3v5vukAV82n1NGWPj4
d53THbI5O5IYtYLI1twdaSeyTRE23YvePNu3MbRBPunmrxYK3ehvSP/ZzwiVY4x+bevu3dtZc/Un
0qjvTSXvE6KvXhFkQwz1UtehQoBS0YppeXNfg3XN3xvPebXM5sVR8aNf9JlbQuNfL1VmXxA13YoA
Ss+OnLNtH/Uv0P9era5915vyg8XupyJtlDXhCY/EDW3hhhwL5O9wg65dou2MnpTrcjqX4cpHZFWJ
n83YQnPKLCQ8w5KeexK+J2Wdmb+f01veJ4csObJ2PU7kojChV2lzxrxU9P270/ZvutO+cr1eZnVf
5bbAMjPO5W6xmjBZVKjrcXhPoCbWqrkMeXqen5A8iauCK5K4kk538nM61H85Av43slLxt5/5fzoQ
URZigsV3abOh5RXnJePl+xdVqdd2lGENmjN3NA8LQg6rPJ36I3P1M9KtC/SCEFVRqJFX71OPbo3b
Z/NpOVv7K3rTd5G++HZn++5ywOYYjHPs92J4brX41fLqN9nt05pn9L0g/47oCh/V0C7VAlzkeXMw
2zvjxGvmsZ/MXg1ZvYo/3nfDPiB9zuthv7jeHs3k/lE3sP8h/jvdMx3fMacTkqyLQA+skpAvVBZN
VfiGb1v33oZjMmhBPCAis7JAYiyYZieYmAYA8jd6w6/Tff9lqfGQPpAe7nRcvOiIF+amRL4xT/1l
ZbOX996lL+urKXfQcE6s9hL1PNjtszvnz8I5A7G7pL9Tt7ojXXjygrDLiX1f27N8Vq0djiulJ7II
a1AbG6VtpIeDY2DKsXex+yfLjX2y6AcIStRsm66l1/y2XhY5ngeDKnPL2Mb2P9JDZ3h7HZVk9BIf
jEkGvZxx0ftr3ZDlANxG07HtW2E5eiHRdTv9c3XVfhgMBG/GfqFKfmC8EtYcq37oKy0o9XG/eN3+
r+oarQObmuKgeR4dvLF/AEra6lI/yXg9RcN8Kl39GOMFNc+Ei5zMwj0x7LGdCyKlqIHso4xTqeOC
T5/JYX8pvtA+7ARmDEoTRB3ezlXxHkL+PmNLOUApT8Z8Pw/8vQinPvlwuv7975jVkSShbCtXLSBv
PAfs1atf02NwmfZ8hMg2omNlisP/47n/N/cvz71p6w7sUoF/Byar/m8M06SIMB47JV4q3dy5hAl6
8U6r5h0koP2DO4nNFS/lkzDycDleEmmTFr/pcueOl/SAmWQjMBw0M4uuRT+P+Z/eyrYtrw/gc82J
ccA9vsW7nhRPbUJbvoN9c5yhujk3FbrVFJoF5gj3gMz7BthoEuXR2dTvS5u/K0+9L6vzrizcY+YS
FqCG7KOfTNp9bk1wxnWrk3wGQnD1WHzKJyv5ZEFxaLP0CozprMM1y0/8yGZ8T8a6F2820LU2INoy
QGwfQGIKO2vEPmOF2qhxqxYAdm23ONNfkjpmBmlpn2XL82zRRrsoPmfFZEzja9Z5E/ljaTx37Cmj
k9qXO6XaI87tQzIth1RjNo5cxe/Ur0xO4ejkJ1ukx87NDsUJPepRsEnvQyRm9ttmV7C/ivKjHVmQ
1OydLP54I3sg9BiuHT3V9S1J9LNhNs8qIDnnwDbT52EO+esd6Ndduua7yXz2SJ6BlM46h1B0Z0uG
wBOBP3eTcdCkxn1NbMISBtbqnmtFy4A6uun6S7S2l2ajApvcwg6JKFP1vU4FChz6NV60e/5EoEe5
3BbjKcr1XUmGTkVh0I0EEy3Y9ebTWk9H9O2Hmt38U2kwl3TIbh/YzDbqMgOyrAd1i3BYjtPsy+ac
keqR+u04nczGOBmzdWKXesr4E6nLKU+Hk7uWJ9KoswcSFThGO29c9C9NnuMFdq/onutqj8CYG/mc
7NphDBuZoO3bqB/9nDyU1rv/+1tiPYq4f0EN/Odb4sFgZr7hAA+Rj9LsX24Hh5Fy6VVoC0ZjPLhv
jW/QcxioyaT9Ruu2FW6x4wGOGYhq9RPTlLulzc+Q5vcJ89U8T/DXEFFRma8ucVj29tLhB5W3Enib
HRSfdRP5ydl4GYimg8ixoW/YWEtF7gbda+7erbR+0apQpOOuaSe/SU+p86Mh4Drvo6AfI7RA6w4V
QqjfT7SRG9+2bZ/pul8HyPcvffXU2Px+KCIsw30CkPVcYtI2+6MSNkFv9ckVy0kc7TJIY3EapoG9
4b440B2+junydhmDz+FHhkwymm7NWKGr03BYeayJgg4gFo7VEKXSbF2SzLsWEAxHiKDD4IUEWSUc
ynp8WaNLqv8oNXPvyxdwKYdBC2Wqs5twCLlIAW204Vg/JfF6L+Nki3JnH2vpSyWGF6aMlR5QwAaD
3p7SSZ108L//Qdh57EiObVn2iwhQi6kZpZE05TJjQkRERlBrza+vZQ/oRlcNuvDgk4dMT3c38t4j
9l5bbXy118LDxd3OhCi5kADwkbG6rAzW7Kb5zGrxPGqFR4zwnRtcW9obs/XP5KFeprq5vlQ7pxeY
VlkSrzANT911D+rKSbRe05vNI/rBYyDigQAm6/rSJ6hRpJUJqunn/nBXV+KphY9XpDfNuo9zILDC
LNsuksiTDb6hK1w06BdOzmujq9dd7JiOyrc+tgohJpX4mgg+s2kvaaMVXa2YybEidnFJUMSmHM7z
8IVqvmvlzIs33mUGzJYYLcQitNeunOLtNHzlH80CGu10qgUNAFkRydscTtN9PihSXNBH7YG9Hbdw
cq/L8aFV+6ONJ2BkIllYIrHoB5FKMqluOsslg6lLvly2sbyQHZpInW/WQ4CSlZp09BNR89TAm4zS
eTKS1rleMaHMLHdsQZHP5PadSYd2tknjI63cMpfdjrDOWblKD/UNKvf8O0EpqM5orStHl0dXohjg
OnWx7Hu11nmjMXu7OyrlLZ0I8RRJLR2cJUnY34q3tFlvJAnedFm7julwrZ4K0UislYd/X/ZkWRMv
7ZJfJAdSt73twmlyWLXx7Wp8qJ/r9tUoClHjxs0k47oZqrvlWd5x1rLukeUVuPj8Dgc5AgoaMfI5
dBJ/RRbV84kV2AkCgrd07JOE6NhTe9d/VdvuR1bM9NHF5+Ga2uHmFCCT5Omg9YQLQoDQ7B/zMHpc
RSELHOaqb1ojvtF6OKJkS3MavGIptz5cC7zfybONNtIHDCE9R+JvthwQlVd4s8mb2GvvynCaWW0c
ssYy/OV5t26bU4PQFpKvPkK8lAiHh+TZaWvxxR+yAfZd2IDfQew9hI2+oRafm3wp1/lKu/qce/FJ
A4k+7NRcLayelhQR4WYvde1BP/Ys5OFKLblzv7hGg7RkEJye5q/wm3KzB3yxSuksqm7n5U5QLRnA
C1bIOrHrrnEUaXXGWgXZDNX7IDK+6N2u3V0DT3DVkMZD+o3oI4TsxUejlE9hkJ7lSiRL34byqDwx
GKCXv8PbfQ7C8rDA8soPn4/i+DWGozQCsEt8cR+wJpzSw/JANdbtdF3MPfr/n/vSf1rq/9YVqKaB
80cyNN3kf+KLofP/nPuZLHf0Cgy39L2LjtsktJTckBwRUSJiP7rNk+nvkD74AvP1EQ9E57fG4gtH
y3Trj4JcstcsrEtp0OR5AD0hkAjiOq/UolCUL6SwBnKCVqgLcXp6yLS8qmFzb+zuDxcn2bWnwuht
nv7z0lZRVxsXBIzifhEKzKojdrfCTTRynCQ8CPptr837segPo1yehYvsgavnhBzE5KciH3PPLnLR
ISghKLHk8N/7CzDYS1HRYg6uYrq6VHwtWvoJrRaE/F1Bwo8Qi9b0kiN/bk+s/+0Zf1W9x8QWhAzl
2HwemR6y73/TG5QVVwOe6t20F9T4GVbjXugcE4OzxLJqdmbFRBs4uFo8Z62rnggmT42HOepvXzAm
uzd1XN+bgo6FF1hr/hRJ+2k9FDV5WlnxZp5E10qXoH5fdMETObHXjq6E93RSQcuxDDjAPBykh/W6
6jbsiyVSwRoWXTRk3e4ghMMRzY+2HJzv56nT7SNOhekyZEs4nH1MhUFzwa98MPsogFSQ6ZTNNOYf
TZE6a18GpjUGTM8DaEJB5xU/1Io91NJEjHUjZRmjFSGfkDtS+odMv8DEHJI1To0PwWrOw6hfx7K+
mtkUm/0WmRDtEUqnxkka8K05Ly5yddfb/GpQGhuU4pWNedCGfXFvFl9Ubpn3QI+ASR1O9alngswa
SxGC9NeYpaEl/W+pGhyR/7Po0aTXyEkUKXnQFqv/w9YJ1HFNGkvrzwNGc3kfL7i2B0oAJcgT08tM
D8yCyDXiSG8a5evWNMycy6iailj1QiVZQ1ntIouwk9EplOSuzCYKp1Btqqt4KNd87G9iMgfq8pN1
rthJKJgLLn4hRk0HIj9S0z4yvjdW3IIQlhNhQuYeKnofHmKP0ej72Gc8GelFpvmd3iGmBrLS+6Aa
vHTJvEMPENfB5GVnMRS+uOn+ithA8VWppQlUAm0ltVn33hFAtU2QNnrgVu62Sm+lU439pzpOX3pd
fY8y0UPtmwI2NoXxmxjdd2puX/0hfZpBVuTvRcUI7lp6Rc99Z+n280kent9MKgO10TORoG8IlwPL
2XLzaoxdzMUaLQw18uIXzFBbfv8zWttlHZSL/EbS3IKpI/BUfGXKbKHxAib3Zhn8tSPxbRQSJx1e
MkPFlZvca5Vzp1ThcVFvpcoDKuOWGKt37g7lgbbxrTpF1pIGEccO8rK6lt+MRxmM6uATACwS5dZ9
ZldFafwDXBDFg08KxGliZ4GDM9BH3AHT6A3VgFSi9YyLREjyX9JqZHcr9xuzIXIIlU/cg/3+YXZZ
KAz7iV3w2zQzFavUm66acV80IbKk1kVK63zovljTfBCWJdF8pZ7qD0gtCR/XcO+sFXtC5ixvg6dL
zaUVZrb807madL9OxXekQR87BN9d5eHTPP9vYuLbzKuwMgHXTCrrLEpYaAGJ26VM9jsHVVEVCwyy
1nW6pjupoeIa1yg0xtEfWdkvDJ+mOe6G1e79zANt5wDmc2YWcyZuZn1DJG3PVNlXyycjTukCEzV6
G/Lw2AMDMCrwCZ6UCOllzv4XLpchidZ/58PRdrBPNmR81XwUKsvq/9Gc5wqKswr8EIU2TrHlS0Zf
PI2MIMFbTeS3S5OzXsTHQg2O7VJIPfYT3sa6G1Gd35gf2B7sxOTBx6K2qo6ZjsFontmeqF1tVwvm
nRx5OZKygsnaIJrn8YVVam0pIOB7iLIOd4W2Or1jTwbuQ/rTT7ILzp/p57BLEa8/DQySEzBEEwNN
hWoI9ZO72EVgLZpvJVlAqn1Q8pKDKDnNh/FOBX/OGTkvZv1RDO8oNfp68v+DPcDXmy1cj5ZWf/bd
/gEP6X1r9zfV2j3yFIkthbr1V6APwtzqsvVE/fwtlpJXHYVvWXHNr8NAqOEnILrBHZ2BBqSB4yXw
IRaWeMva6eYz3ESjKRN62llzfExWtJI2CFYoXaZLX8Ix7JoLRGqe/lNfTM6sEiIH/43HErckiU27
P18G1xD/sJsdmf9a2UaCQB0cuRbkn2Lf+zaAi41iUBdc0sgbdXLGYgWuIXtrQawCSogBJU465f5i
izlbz/y48yQwMmHJFUB+PBv3v/VBPvx3LeEm/mteZ19CVsHDrQnDpR6yi5Ri/K6YtJ7tZT0J0Yr2
a+fONaYdhe65GiqbTuY5WjonCdUaB1E12OIm2uHEjM6tWC5ik2AXFxTGfipnBp8AkgtdD8t6osw1
I1NtY91666TmKRCJUiN1UFrxqdf7EwF9UBO/2e2ZjXYtUPQm2ErmdKvpS+hwBgrcRbnML9IeiPid
4jhxiWdCJpDd2dSe1m3yMv4gKnl4Mmhj4lmGfPNHLazoDAzmq9tvJMqcdJJyuPzziuYeTeNl+uyN
uuKVOWUf3fXB3I9j/1LTLiBHObfd16xd2nJydCdcNgRvNMhi9j7u0+mTuqOD6obYU+f7dhoDxwDj
CH6OGz78OTviySRcYvmj/eMrfR5ZhRQSZpmZjadNqadfDVuuTxJ0IhNRvCHSfODqpMhhsDkqqzua
pGmN1OAWzGlbd7Cfyj0op3/qsNCOQERBjozkpmsl49ssyFIoWJZ0qSL50ZGEp83crjkcJD65A9PG
hsS0/Lue82N0Dt7wqiWQfBtcvcKtmLoHb9uRf+Rg5+A0u/lP/VHupNJbup9PRQADJ4DiV52IuD2N
3K1tes9l8TqDM3TJ93PrlG6sJrtQzZ1NZWnyWhsg28O+8XJWD6WjG2dODTcjOXJfJw9lh92k4rnG
oSZCKKybr7a2O+mV/0KYdJnxyZgnl2ZcK3G41jfte/wcCp7HdPHN1pGX2pv5kZJwSKzrQgvZ6uSF
G4xPdzvpTD4Jkk+INRYIDMqF3dlSJuRWTRftNKNlN7xTepYhOoUYZZEG/D7Umdv0m2uw7zrq0Sug
ukFuhNVY+vLLrk4ghlD66RU0zSJechEXB6EBH0clntLrd79aVMzdHXViXC9FoPNF+jxenTTI1M+D
KVh78JHPHoHonopPW2Hd3BI2se3JJSHKbDdCjiFdkO1PZjGKdDcRjSQJlfkcJoqLS6ggXQYUOx/o
EFFjb3Dnm5GJW9pcUfXfOA/I+wwafiDldxNBT/qa6/pbxu2L3JsN3cke58PZsA52vwU9RfEj21b/
PfRTgEj2onpFlFEErOi7XsVW+UlwRgx99ZpNm9cinkAifpOn/la2863s5pu+9rf5U2Z9pEOyOraL
0BwvxN5Nc6dAxeqexKOzSkRZXRAmo7NlOn0ujuaZHebTOOE1yxe7/5wdlMjxKE7e2P6hoQBaudsw
Bs+z1cZEcEZFIr3icSKF1IYi6Ns7ft5AvEz0Kjee+Hzy0do41n7dFcsHMkTuw2nWxzMEtlc2dFu+
MQBjjf4Pnnm77xNbjwfX3BHp1eiZjdKv9eSMVvS0YUnGqly1p3B8DU95iaS+iIujv4poBRlY5/TU
+1w90d/r03Pcf5hN6pY/97PB0Hmpm3shyHeoZBABBW+zv1uYBZqsO0sfH0YZaEoTWElMeoB7uO1P
Qcgf4rkk+6QMTU5KIX2bqvUpuW4ijGdCqXzFbJ793J4XOdqofOfCUT1cHlzAQ/6DJJv/3NtaIzsp
rvBFr1wm6huXBYbv07ZmfjiV6oUbimM1JcW5jqyhjyfb2ImeqfkFq8hQyqArxvO8YM9OIdOiWM+8
iVxly+xd8oEwQDCMwZYW5IZ0qXMN3KkeVaOztWxwrZ/1nods5KKxCfsmTNcCRNDolY3kgQX0suVk
xp2RnEyBRFjmGF1k16WfZVlYJseVX/mW8EjpYPFmyRf5snLR75Xd71is9OCOrROdg4f4TtQGlzfZ
2GJiYqJsSyjUSLH5Z5cF70AYZ+SdL3237R9mjBQjHpqPkzD9syMylTnFd5rOpv7Z+k1Xu4Ikw4UT
Ln2KYLjT4ybDJgJLIIm338QGxf2kx9v30XVvfZG9b+v6PpjWOzK1cWZh9p5Sxq50jtqasDEms3ly
ht161VORBiRv6DMci2hbCSk01qCWdb+h3d/W8jzs+sWYlXBhymlapS+Yr15ffWQ1syQ9f8D+OAlv
ACwC5UbA3VV+xGhO9otaWg+NtrY+TXbHv/ONQ85frJ/phHsYU2AtFRdGkhfK5Uuzi5dqQYy+eglf
+Aw9Vd09Yco99VIIM3UqdzjSFaVzhoCIkRD3FW6fLDyOmdWBFeSKtxdfbNrCwdTDdKsj+p+TkO1O
v35IgPKOmV22XWgyjisoWBeVoKt/dq51O55EUq1gDObMQJnRevoo8SZYCMsz+nvDXU1KCjOGIhMb
+m+5l5xW9HdRZwu2xPJSxZ0gRUIGuxMMwmF4o+qSnfGkQkzy4GB9jwei6ZHnAbPx21Cb51Bu+4vl
F+esX7weTdXOOr8IoIudRW+pZGdD1aC8qXEDysGQz1q+R5vE4PTRWQKh1kI8TNqV9wsleMQ1p/Ud
YGmMGAvlsBS7Sdf7kuCunCTWQwTv8w2kzqmX+oSUKTrmIjZENX7VY2yDxPqSIZc8IREkRsu6EUhe
I/vG3PoXwh582VtlyPfx7yRJ19ncbgi2WBD3uU+S7BmAwklgwcI15ncsRK/UfzM38rFTpZ6Ft77S
OE191FGfZE8xRsL+o+mdJ5U/TM4FjRh70IlBe6IYjq31qyjzi8WjgLPKBu/3m4Xtdxy2AppB5i08
TqbWvRtIClRnasebxbnMf3TXzTcwum+oDShxDG/hi4HN96T24WaLKKREhNotU3gQLnMC4hw+yY/9
kysMrxo/laLG/ac2FO8dC2gwG/Me5UZ4AIz4rGvQK9VJuC15ZRMahVaDUalsRhrxS0WDRp2xaXEX
9u2S6NTbVAbZO1xTCryt0rxq3VyiBldO1+K9r1eqvtXTvsW/FjS+rBDPJu8nvolXa0gqav9Jjh59
wLrzvYdP4D6fEyJ84b4yFUIA7qplyVVTBxU8zG3q3pTvFGIy++FbN2qYpCAMpE597H4CkKQtk1P7
97PtmfaI6SvN5STqtiROTk+q3CqWeN0pDKlzsL+76dp6OcV6/lP6LXE22OJlP6fachLporgHAcu5
xk2Rylv7Of+1jvv8t2K/wZ/vu1gztnKnJkL37BdCFsQGpuMsBD8TrqLmTPyy88bLGclogbVvIg93
6ZH+TGhQmSZuW6z8fh0TlZttDPnp1GibuuEI+s9pZRzFe2pp4GN0NSZeJAZuozmwV85NhI51/Ypp
DWN8ixpVkkCiOlUFB0qEtFXIRFsqZQcXer/i53PzhVksmyZJP7xtR5zM0VSOyknUOvSsU1Dy+2ow
9ATBXXiuUW37xa75s6D7JNpyb+OCMixGBoRo/V4dshKRychevxJjgpLIgIbBeshODfPLKpJPlalc
uuMfbTreieGEX85b69RNrbedf57ST2Exfk/rnX6KokpilGIgo+EpM0PTOqKXXrzPkrjXv7mzVNnX
Vu2K/+OWUmS2bH8suQkqSQkVakvoraGUshjIHBP0i4FgtOEZLJTPQUTVtxQ0iWGflA/gKES7T48m
bx6D5liGGmsE28xY6Lo0rvs/7UT4kV2vg72Z6nmw0xJkSt145rHTvOneINF2dsq5DtU2d5g8zeiP
ZTzhr5jJdgNKaOluQdNS56v3XbHAfeVYzYg8vsUjtUl8oZTNfYozv6wmPyNGqxadhT97dXLli2Qs
H4u9jYwf5/wD89Z5SamFydzpAiSdtEQMRM03QeXUZVZYq/C0UKBwIziYP0pKIYKPBprSWewuA2l8
a/vvsV+BY9KBAWnEqOAYWuklW+sBuvE4fUie9HJoP2txFeb5uqfiNVGUaycTtkd+kSX9NZPaVXCn
4xlyltGROOI6vKlEFfEi6KXX7623sPQQ+DIpDl9v+sAIiZF33GXPwXzJIQIwLeTUgCJ821CwWkvh
ErQD1FWDzs46Ox28nEqEuAhe5Mzv2n9W9iovQGyU/hwFi1P8Qz6ya6VyGpNw01xr4bham3ZV+wns
qq1jbN815Zqo47W3drtAq9Fe52qx4/yT+MHLnp0NiDqoSDqe84HDVljNJ5mZgI5o0J8iOz+piFCw
xUtvorDHKr1HmH4HoAcMFpP40zp05pBlUH1ULcExmvCUxPY5JMujNre7SaKO9Fgk5tPa8X+3E6/W
E2CBw3XuNqbOh1lECS5iqf5H3BJ3aEZvWmQv/RmawGBY9fyoemJ/UYbpD44JCZqHekKf6PTWteMD
IabgxsbhrEAOudWGyAdrq6hO4g6UWYoOGebbYj5TULM7f26Las8w1I8MkfGekYhH837dWSycSuE+
irGZfCnmR7y5YwcKEtFsAjjfULxafgy5+V3/FNhl19TJiQUH6+/Mt+Sf4txjhJKdoabZ3G/a9sUi
DqBzExi/edtN2UJXUDIzp+LSQ/NVlrQt1sgp4krJ7vICs5QpSc4kWdu9iUqHUaVtdle8OZ42Bkf2
UVlEf54VEKL9XRTEx2jtZBC9wGPb2+wolRAUTXWhHF3sxQySxxCJOyuwgCG/bn3uxfG1OvVJpENl
w7QrdGU1UUMmcNHS09jtNKpvGbIvU8DiZPLV6rKCzTWhU+AX9C3AHVsxXNHX34ngpAlcvKxOvWZe
3JzOVS3J6+RYCUElMO7Ej5ooKEnyNx0QoQV1prL3PZ45ePcelfS5+TakfydXOZXFEcPzeZMLyeHo
cfV1cFVLdGXCL+Wl9TDnudu3sAKYSR0rH+6HBUhXqB9LNrDE1lLylwyN6ST5d1sR1Irm4OaioLVO
jcCISLEuzPXDfFsjUW5jOKfMpdKzgXGOaAyif1XqwfKiCPkFUs8lN2ck3SsYgj/Twh+o+5AI7OBo
VYxoOOSoWt+BdvtZ8VmUR9Sb77WFL176mGU5FBmcbeBF5Mw95liWuqvJtRkX6GAaSNsWJTwaS6li
cWW+PikjKNnjqal22qfr0Hc38lhYOeVngkHxBp778BNm3VycDWYruWwwK2+i3VQvRzdEqO5qQDMd
iO1zs0kUlhNOGdjGh2egeCW9wLHl1+L9HyUBWZ5iMOUaWxhSdJUrvGFvYLvNt8zfM6aNPIKi5IjT
H3MZMAggb/xP5nEZSwgdZvx+WJjLaY1e2I1V9eQ1hfVNXyb+XCxyoiyoUrh+6Tn2XzOr5+xTn7Hy
Ik9zBJd0wuRf5Z0ZcTpsTq6zWdiu0nCDSHXG2DYw7Oixjb+Y5UNyZo9pKLagZ7bI9HkuDpZaC01U
74uPEpjsNlCNXNjxXcSpjjY+TqxQG6f+L2RV3JOlgqdY/lSN6yB+anLl5s3VqLcL07j9OZegnhjt
djaMXKggijeQXct/DFciISyTbqvcEyZr4x09iMA3X14oiBI1HQ249LZ7KPKsbfAZe2YNEmDlrP6Y
GU3JlFELo6mJbISdPWmKxodnuee0nyUEiTJGFfFNSWIYQ49m+i55eVepe7afaAmitJuiGWu7JXYO
0XERA2TYlZWdPoVbezJSks5hQ5QuktNc2pyKFfIq0CwYmZc5OaOhJFjy+gIKLcY19rHvUZaPD2ia
bmKhamXkQjrtuUnXu87wtFI8BnWeSQTwWAtuzZIbya/p2ILMwp2BtUbUzrWbForAEk+p5u6o70op
ZWJ2OK1RO8OqOxN2PFHHr8iWsWq8KloVxTNaYmiRyFWrGaWGHC/fIFootX5q9OkmNamCxEFA4pDN
myeloHUyhK/Ij3mLV+db1JMnQ+MnuEZSQgkvuGT/gi0LD7Yq5YbGAhlCMwtB34+BOas+yfNZ6UsS
N0b1yrKl4R6Ei4CMz6zdWVa8DWhSQoZG+bdSXzRWjPWvWX3dK27NEA03IdoUccN8Zu130SwfNUpj
aT5z12lcgiXlpiRKZ5lh8Iy1bO+qWDSWOGWcFVn5taG4OLLyVPO+7rO743VFCReVO/ZpKxzLGIa5
b5RIHat/5o5NGNIi3qWS8mg9SveQGaUMbj+WBBj1XlpLnjWfRry+HyuFcXod5OilBiLigzRym7lb
tOAVhn0TVwZy0phhsyGAactgPOh+j66zwpttFWW4fL/W8Rbr+G7q7UL587p9BPkTWMgpU/srImh1
Ut8mBfoBhJu0esxp/44yTSCOujo3+8vreBllPrE09cT029TqUM4kTjwjknYr0jYrAt/qatYrWFiO
UqWPUoKbm7O6zoxkk6v+1J9wCIBtVWhGhvuWI6ym1WVcdgpfMPkUvuJ0SRF5ygor65HJlL+pO8oW
NZJTRj0T7fhjf5QLIJ4RVc/uDZzklPj9L2loAdKYPoEnPvTsbWcXbJcTm3pvPklzbKLkyThqhVMl
iOE+ERI8sh9dZT/ZxKCfd6LEnYrlLK4TFX3jssW92V7l3ri2n9/oKBFMZux2EAKZftGRk3n9RtLu
l4gDR/5AFnj0TS980+TKT05pU3q70LFnvW4s3pjCEFtsPsdwIfSTgTThC8W58EaKZDjUA2KESmBo
K7rJGSw6Yoncl4J/odzYbXHYmjLFqKI+GhSoqVn6bar6xtwHZvx/qucRbKBqFJRiiVdxw68o10Sz
wJ44oXgrImh/EcuEsuPp616iYV9bat/cT1OkSTIXt7vNbMvSxUuoLywMoWKDuwpcXyNB2cBiemZw
CO6Sz6jsYkKjI9lhnNw3MAMjseVuYuig0zHcbvnUO3T6TpuQ11yyUzi5rSD6Bm8ctQNQk2CRoHTf
GtRt1P0FC6A/k6q97cRGWPJ1Y5/ZiPxkI4PWM/nHp/acMbuqQpWFZuqciqwJsqoM0P76a8MSdPiR
QpZjqQfs9QxdweEJZ9oisjLuUCOp6x1/1HOb9TdTuqQJh56XFFAVkSAyWyuIVq+V3dM4fTpOn3SQ
vFfdpfBVt6tnwb4q/06I8gSGk9jftgKmDOZDdFQ0w0TnInm0XOX35nZJejPy9aahqGKFeaOUWxnr
JFP4mjeY8qUXtmDBA2aqg1sr2DdMf0VdPXSdTwiotzSoq+z+ZLU46sbFJVeE3pAoTeFXywpSgI2+
HtdyWe9JMz0rG4KKv+yfUyHYLvKbtnh5tV0NOK++oyL7xTXjlzXjpCkLakArk/5yP34ZlDcp0VPt
vfZIwmkIE63ER3LnBcg1ews3H2rBNTDv6E76erkIjP1VWXAWEXWtuX6whjqN1Rwo5eMFeJJqXk8z
CeW7fFeG8PnHa8qRtVs8p7AIybcWDPJeqx+TQZmUGN7u1LorshNvy5nLuCFlCwuM7jaW7pClTUD4
a2VLqSnm6xuQFUsfos1SwqFJLnrKAP4lsSeLxvruDY053OwsKnobjV1tu9Iey3guAbmgae6mwelc
MJBOiaq5KTb8P4p7sHfXG0CV8HCVLLlImnJZP1EOCG0cF/929Y9cLTy5kUMXrQt7e5HBvwlpCVDu
aen5s+sN21N7AkuVQMLY2EpJt/xral9xu7StuXjRyByYDvlc8SuKQ+vq8GuN9ae486BYNfXZz/5w
u1F8I7j92XbNA7nQTXF+YrAKBRXv5vyb1sv4Oa0rwwjFeyUprYgu6z4gIEard2QJWUD68+mYGhto
SdCdz7kCB0M/63N9z0r1nub5o837x+6bRv8l3OW5+ZYMlrpMzrldzTzOyiUuBSXO3a6S341Cfk9F
jDD7oxbss/5VDRs7GD2YPvSFPXctMEI1QhpU8u0EIK2CBluQUBBB+qEMdzhL7Mdmu7VrqjziB6Z3
sVDDvUT3Yh6OmC0kTiK17dim2emehke1h5pVRXMhRan8y2oXZEa0bUUbt/LKL/jZebB00X7epByH
9IC2pUu/UYTB1jnCs3VHXeRPVON1VvjygKEgftT5fH/hC0qTVNakcBS58y3KGIF036mk0Cl5239x
AcF26w2a2QCHCtqlIgvScXaLwpHQN6x0pGDNFv0Cl4lT/4j72riC7rL1Taa3mWlW90ehfW2d9Gzi
5kMQ/OZP9timIZA6vCO9AwvAqL0J4/5IsXdIVmDW1YXxh2NZBCchH5qmEy5If+5EJgDdEyfmawlQ
Gnd9Z4Bu1be5A4OU9R6QthjpVKiMx6W1020KGZbG6W9BG+JUye9qqBwsT6fF54zzLaUKwKi3w/Hc
lY8BOCUfr0fUrA+1hFjzx8ArXQJtT7f8+XJ37hoLnSyUE+3SFOGB7Un4RwjIavehpZ/XXwUGjPT2
d1mhRABqXMVfCTfbqOOnjhP+ToJnpy4rQfZN75s0v6VMPicyfh3zqeZAJao0LMVTi+xMy0n6YXyX
636i575CU9f0ZHSNkTk8tZYZG9e2aTFdaG/8v3eoCajX2NhMa1gOE/hXAAsTjwTL1gP8ishjkNpy
o9P7do+5/wItQAGaXOVUuRkFZFfwbgXS7rx9+Pnb1u2XsZy4GDsEk3VoBWgEcpJZitNaCxFWxWjp
ciBUW2hbd6mCQqSfDv4kmeXvIBFpcf3kPLVudQY1pTexIi1RLclhm5iX/Bc5Mw1megFqsBQAVGkR
5KTOa+HZGbY4sNM3oTlpdHApyjv4MGTzcdCeztuVEa9jtJszAY3Jz5ckVHreWr9y9nw594OTNgWk
msmpMwaWmDQ0CZMGuPWK40z2hUbAftD4M24CvcalNzO5rGW/GXSmb4Zf9Ghdfslr4o5z6xWZkt2b
TpWQZUEE1SrpvEtbRR3A9kwm1fIEBG+4FoPfImp3B4IiScXK6eIXSoDqFUaFkladU+3XlIDRTkjq
6oDwvqJHNF20m6xTwk7O63M+5NUVqQt9DDjBaJJT7tCtBO6PbCaxtglJIusgQ1cuioyMdEny86SA
Xyl4eaZhUSlGFAIU86Owx/pPWvS8PGDk7aqfEzunOcP72YVDBxtJXxBhtqMlXDPIB5qUOsem9dEu
7/J5L9DAMgshOKsa/DF7pd+WdDDy0W+nbQTmWJtWF3bY/gFI8+5lvLtIwNrf1vxBorUnomiVSkLG
yKhOz1teUh1ZRTg9SybAJyk32TYhwWLlETTYJXxJ3BBc7cQjyCqjaJ7J7Vxg67OT/6LpvHYbx5ot
/EQEmMMtk3KWbdk3hK22mXPm0/+f5uCgB0b3tNuSSO69q1atcB0/MujCwjZ4MORim7Zz39hG13JD
g2Vyr3PK4XPdVHb9L5vscddNPSEBL7ECz+JYZCZ0hOIXX81dGk5feUnW1WyHHca82Frga7OK3X4n
4q/V+4w+E7v8kM7Sv/RHcw03cP5yX3bB+olmYBN+uf6Idu6GDpMDkc7/hD+emtv1zrhVT460Y/8X
v+c7NOpDQikLymznt2jdvWffEBEwdBFWIKROs2JLCByhItQATSL7kPEP742PpbKxnMYg+6VUnK/a
uSDqWL7iJYHoAoWUu6DnaOE6fejeWDnShlYfKxT+69ckF5MTcEQUQTmfbC1XKeD/WOeWOZkBskZf
yrBsV21jPzy9jIJpe43NuK7XuFaQa1w40WFcG3QQy82EUPTFYoFRUnrWXj2mTMMJ5faYcNx4hZt1
klflOv8p1/Kl/YuP+p/83r4vkKWkk3IKDiF+NbC7gkPCKLP08LVzLVc+0JI1+9mDZbGGsxrZ7UF3
hLW20T5N/mGyYZAPu4vtDqdZIFUaOcQdcORkyBz76VM/ap1rqbSgu9q6SwCO7Ywsz202w6nBpfOe
XgGI3ondU5M1P0Rkqp87ytoCePtp3yASkLPBqIioMGQD+/oyYvX8IKleJI+UWCl//gswfsQBeRUg
QdgRaBd8Gjvp3r5hflnFJ6gHAtRZ41oYFwiOYoKW1iH5VdQJM3TQ9DdPiXtqOflPeMpd/ak/iAsT
EVIDRpCb4Sy8Tzjstn5hFDX+SU/5j5ZCOcmHUPWJ7qg1O/xDYgPjieAyk9qZrWRlPK0YxrvPLII5
WipwINpphLnXWmbHfFMZZgIlPNOj5FIqXGt+GT/pl+XL7wyoVXR2r5gkBy0Ng535Tysx5bGJUQvz
rRKCq2N14CJiYVBWMuXoHdKr0IAymfomsKoh0THxrOu00zp7EBzVi86vAfNfxCNxM6YPkBbFWpF/
yKTlj7UVfDfzAzbxUf7t8D7MPcG27PnQ/k7rfhVurWvmg7UhfuPg9cyv5aE95z9uVYujCbCDixMO
rVOx77clFDlGUCw9lhLYdGUb/6J9ts/RuCk2jqykJx6Zsm7VL+MWHutvwmPzPx6zhsSO0dbccV36
ATN1N1qlWHqGtpw4wj6yWF38MHy4HJ0Ejk940cWqvdFjknE/eO2P8plK3jTaNN8sZeWzlBysxMdd
tco/G+otO/YniqzxQ5H87A3PbOM8COtxjev7NvTHAPqGXRzkDyxpU59x4ko4J6UTn9hsbsWlPQ3H
7gJj9cAzS0Nf8xExbnRMz3K3DMhX8lVK2NJtRIC1/YrWWC+fgiuuYZtIjvDv9TqN0ziMnjf9Gv/V
0Od09QmkY7nnPrv9Sr9iJmu8dsv+B4NT6GbCHgqJE7DQcWo7sKf89OuOqbZoy0gMsMb9SLhOQCL8
wgBzpR6NTbQK/eKZ8I60De3brnMKjwQWZwD9y3fIU688MTtrL+zyn+ET7MxBreWj1N2LXnvsAnvy
u4f6NW8Zw7rKfnHxqlX8wq9/c08a7Piq7alp9qy5bf4HwdBh5OdkG07W27xdHukRCEBywT1aQPj4
m6LUvCjr4l6d66/mE1lwMawQZ42H5jx+A9v/AGGh08wxBiMi0DYhzee2+Tsfp02wteCRFeRaHXFu
uYB2XoUP8kv2PMoT/Jpn/KFeJDu+KEzdxy08e7dcq0d6Ezw4jkRiGCM7ZrmezhwRGmWQdkmOcA+/
8DnmdpQ3uWNXDjkj8D7wdQ+k1jUjdlpwUh9mPwVOtGH/dNjRHeuTQmamLwhv4m55109YIntHhot2
5Cn2DC009IVzR27lTsGrftt+cIcjJzXAaO2RvRQaAuPjqndKTz1i/+ywJ7nAPTaW3b7Bt7BlrpQN
LmJxesN4cRcg4JxgdNWgBA3MGhurUS74FrIT/sc8ff5JXT2+MH+37/evL9ytoCvD7GFUxc+kdWSE
PfgUkcTJwXbY4DPgmm/w6fadK0Hw6SUEhhy6Si5SDc2gskv/Oyj/tETbSFCgZoaEL3c9rv/iKLA6
QdQ0R7zm6QX+GzGdOrRbfnK9A33iSGog/44ep1vstjtWMcOob3KAkPBAB2BI2jnCjibgBfCLK5Oh
CJkrOKm15l80wz9acoyiFfGtnd/gW3TGKeTMDcllV1BtrOZsG0YH0TpOyxkojIIkblgfS4NCq3BE
GqrMaXgsbrFXNS3CAV9YXFTYdNYlfGCIwuAYZWUnxKShrLQ7EMFZAgpl+rNB3dfGGzMGV9twbCkF
HbQdoM7Kd6i/itCTF7uGuV5vMLTD+ovBTrKXpP0y7PTClaM7HBW8uybGScw4MHmnveJM2pEmUooI
bBkTaOzyMMzDFPrrPRnPfb1nSj+RmoHExoXDIlgquBZQD8w9YnhsCunBaaH/QXpNNpBYBKbTY3qT
pUtQ4tp9SKxNgDYdp/utKj1y/VaiU5TQ8O4xwDS7q9IyREGmTmHGn8zl9PobUJIJe7FNo6QucVJ2
pH/XrGpzvmPxyNfGQMiKpwIMy62eHdPoZoAFk1HeOHPxei9YQOjJhywTrnfRHsHf+KtzVOByyea2
UxWMPuzp0j7F0MNqSHFxvhZP46dx5XKHX6AhxTp+qyQ7fxuQDEO6cQPGses69erJCTEg2OTfr3XN
Tj+veq+7cURlPoJVMCjxb4RbZCt77UFWzjWpD0bodivYhbuWycW2RGzs8wzwHCVEV5NpS5QdgKj3
olOJPG12/47yqnUQemOhfQIvTX+aZ3ROvxLTnt/q92RP0zwceESVu3aK1/Uh/1323aMqHPMQrpV1
cup4qkKHd5Oj0dTUVcdUpbPHt+FuXkTyi9ge4XPOkh0Rd+mMUG+QaREHA2pjm6saQeIH1wTR93hO
E9zC7OEjXbNxnuPFhQm+TvYVny9es8ag+JbU/24WuMmp3ib3cctw5l9MiM9RveTffJo9GDkQQ2zn
hVsjXIjXEVjQP8DT7F9Ou8gIFs/eg6bZ9TNo3VR1hx8yYmGyrHmXFqTbVYGkefKFJ8/bGkXFNQUv
tAA/EFNhAumgu+9+wl/6Dyw5D6+7+ItAFCPPdXApV+pZPDV/Y7ClZTUcdZP/FsRefNRHeSvcYGAC
5j4B9m0JspQje3D6AVTjbURGol39oJ9vNsUGhPQjMrbD4ITwcMWVHkokPNgintN/ce2w2cO0fJVf
CSo88SjsjX/6Md/NK5wxXtQkyG1+/t2+V1Sp7bG458f5u9oIN+3E8wHxHRZXFFHmLIoDW2hdNw5k
1604uvm7doI8cg8u0lM4hWvdiS+La8HwKvbVZj4SU1uvhs6e8RpD1eUyJW+wniMg1BmETa5BUZMv
5lf8DXkgPxZ+AJhoXbWrHR7QPO/SCyDiuucZqpiCHrn4L9FuhMjsozjpTggtsdnrWxMuXrXXL/Uf
NFZIb7QrkPZ7O3iDGsr/EiIbYPbR/1Ech99YXN6o+aybelFuUOxgM+DcAWMAl8KqcauN5adXg7IS
zs6bYaqG15DEmoSzqwbxrh3abB1jdFrCtcSoZ6/TzlaHQt4L4w7YP8dYpPBwgYWx4qvRoZpvvfDR
pF8FtWn5L8Z8HelPcZrqw8TIZHLjKrBrnoH51ijvegSsr2/CUXfF2aNibxqsdB32rRK5tA/j4LCs
lwdjzK2+IpcDAVm0Ylm+ipxshXWEN8CyrWmcaI8c+cBnd2obvwQP4rmd/CciMJG6t1tUA1uwekhu
E0pnNCSu5Mc7br9Ddb9j2AW+iwGwg3TNg8oo2/EfnrtefFR8we49/pGf/6G+XlHd++DsnwgzMdq3
szu0FNfy2QpgxHgTtA+qS5cAiE37Pf4tD2LDo7PmMxX4tp7BysSJotkXd4Ba45QFhLBSIJXH7D6/
mys09dtpz13jqZGe6Tei2I3K9MDm3nsqZEBoRBTGiABdyRZs5kHOzwiSO+zFP7ZC+V3fNnd+M3/D
60N0EZIxRSmGeuS6YCKuMOpg5UsPHcUdSjIn/h4gKq3z7/rY7HvIWO8IMx6S28NG5WjK34MvfYvO
e/gui/6EQ9q7+G5hF88sDyXDq86bHiMuPtgO/lGMs8fpW0Z6We5A7RgeCPPCI84cj/wdJ/7RpYWo
HsWd3MSHueKE+isP3HIYil9R9wBz45/PNm+DzGs8i8a/HK2xU7/DooG8CBUKgj7zjwGjTrw/UZ4w
+2c3GF4dzSDD1bPz7xyvCZ75XOeAcmhdAv4JbKfFfoVz381DtO/2RBGt6YPoz9K1ceLYXfCRZV/h
SG325hEj8hffwidQjDrZgVoVusk/q3OSu04N8TXsqY7YEngAuH2Dw08WIDVFjnYL/7ST6PHXJgUM
qTP9Oy8SrKBvacZGXF5H9bAHz7XJALQ7ErGt6KeKvnBrM0tHCfeStkbvGaL/Q2E2O+07ndRhmF0c
7Ut9BwqzmMRYHI1gC/09QdnrFJ1Lq6tfZsNJf+QDpZSZIGjZDsbrxTiAowLcG3kNypg1kV/K8G+Z
nov2hQcDdnJl/UboSlQc+mVFXZcYp3m+k3SC1V02/2tjqusGKy5OBZHLLiIrNu/dcrXUkwXfc9qM
0zrR4d9tdYad8UmMzxUc+egkJQeZOf9+rqtN8qrQGnokE4JyMGK7DquH7nk+ZNKzDOe7FabXshSu
LWVhx20VsP6rAqbw79QWkeKp3zA9Hrx+9IxSMhJhJ/lL4JZfoR5eW0l2sIv5lpZpFZvS4PRR/1Yp
NRWt9YD2CguZ9f+OHHzVesqpdwz7DkkVZQIV9ppdGykfbmhuSQnwL1ilOWUUvtjkxgtwWjxtQi6P
QZPTY9GTo2SAyKy3PiN2PBsNbRWdwhTq0U5T1wVk8M7HF5ZVmW1OuXN6yKuvwL2nq9PiRv9o8G3G
TcfqXv+xilu3jbe4qPQESStbUVlRYgpswSYc/nPT3IfIK+n0S3YtOLR7qNiTC2bGwHHao128wo0D
ssTbiLQxz5Kgnib75ole6MBzeOQwgmoB5rAmww1JD7Mg/2Wemzu6gWjHidq1MGO0cZGCkzbdZg5q
6dKVAMOHMd18ARzU1JSg8hnDNt9qPfyxazuiyEQQaLDvToLfzT5L08KniCbvCAeuvzQbxdfZIlUH
2NsB2lHZiKs9k7sTsxsAAQrA7ANNn9fafBz3B2+0lWUj5bIXG4sfygjeKh0idwdXAHY4y47foUWz
MmF6OCc20JXscTztB15A8qnq+Q7POrF38MfXxlWuv9oVEzEHBMr74eXdwRXw3+l2Z2lF/eqoq6/6
IFAEiBdwJpqfH2kHsvD6Luy6URVBsPhih+EpoR7xRqAZfNvc/k9+vSfeW7sVTu22937MFett0+2M
073bqfNp6PLfBoahg8spwhT8V19kOpxR2JG6n9x4VM1dks7lsI9BzU1bruR2o1TNR6gTAFOLEsYR
t2CB8m8cI0V5VBa8kRk3iFAvwbezxA5KIyLnMrSFGbBAGsgn1HPNb3Ep9RsNcSy2347ohTtjLXJ4
sJ638sW6xUfSj8Lv+h1Ph3edCo4h217ecj75UJHvnFF4A/GAKQ+DPgaVlborLW9Ks0+RvQK3YLuW
Gf/Mk51hSnWa5BdcgbBHLWs7bwk9sgpzr76pxllJ+3yl9xg8p9XV1FXksJcpBnJg6NMkKoZcEVk8
7TyZpO5KxKQlLVywOQWOIGI8XsCMk2Z4zj3UtMDseapjVxxS3AIr4tckuLkF8ocZ3qpjmtUdFhca
u1zbN924yQKR9RFigQck70UkmxKsFHDRBOE9L7FaH/vqu5/BnNWQe2sF60ElVAAfUpNUpbx1RNnK
3Ib+B7V9+dP1HEziOStpOIQiu8kVUQjkwmlyV3i6kPzgTfzVLVLg62qOVcIcbnJdlre0sUlEPAAx
RViHnqL6s4qvBapGIgEmv458YEuUp8oewh6HdcsGgAEW8hBngSYYI5m3S/iINDQJRE4NuMC4a4D4
iuAs2xCywLjS/5UrvyOHhFq4cos1co38bVwc6ckXJXZZkYVsl8fUU3l8Sbbjs7EgUhha++mWxk57
5CSdv5XHeCWFLRZRHzkL9IzMk364UGiVRlKK0d4eufecrDStQBPGI3u2i7PEtCG7F+0yWMuUKlr7
Krnrv3Rn9O8hbn8k8Bg+bVMgrOhHEQEmOb4K/x3ebAHRkcNybP1R2lB+yBV2SC7nHxl5GMwp/mtu
TYkl2bq0wS09Jq/QWNWmN01nQSA/XotJ3bRD3cXpNG7tVvQCNuwzrh4Weo59NB6V8KuPLmxW8zeA
44gq3a1LB9/oaqOZ9gAZCupjAfuY0sqHmowznkQSF+ztNyHYjdKufaFKzCjcgehcvfGs5AKZio9F
r0IC7ThiOSKukbBM+wb0JXQy5lwEMGT3QnhVwnp7Ja9dg89+J6nB6IF0yUGBsQoXBYYa4IBj/i5o
XCqbGip6LB8o6SzzAlebGcrMMcuMsne7YNft5O4E6sLEldYxHGHh2gvdIntx6nTCZ87S68+9cls4
wAoolMknGl3zpcofd3OFqYebcb0szBe2rYExMUpHGl1P/5ZUkhs8WVphzrk8g0axlQ5kGpbuDKG/
U/6058g5jfOYXbbPaflQi5vGAYRnL8ZOePqafCpSSK8c1Q1i3fpWwumRiGSykQy1uTuTiwv1BZw9
gheC8+GMKvL/r/f4JU+O1Z0lCxm9OxerAGAUeue06dW70K2bZLRJdunU/fz6SR89ZmyaYxjH58jk
RPbl1qZvD2FkIP77SqODnlPrwSpZNY1H4A0ayusjirxmcWOPZNFN/T2lTjUCMjr6aMsjBk8+xoUC
JLPax7RcS05QhM3f+Ou/G4oRSsZfpe70U5PM5UNAiYjcXmwF/6rPdgXFIaMEx6aQyerMbhLXAD6h
0xgHlYQivA3EI4chn47MBsh90jEmWPMqlQ9SlRRjazJZmlY1pAQN6/LTiwLvWBgsqatKtLEnqw24
Wiz2Y4eyiIoHjrZj/UBk0u8qIMCaqQqm58D1oV3tXt8TvxzkNMnDWWHTY7GnrjgNjPjO3Yliv9MO
tPUKaT3Da10amOYdtHXIZMQ1JI/J43iofuiwxU3/lJ+Vx6vjiMjDDiyOinOxqw8mP7/DT/nbrS3G
RDi271W3PUiI99lhtolvQWbbjZz0gQNkFaIB2AWf4dbUsYg0z/o/cxN6M7oqUh2gFtmsm6HdxSSS
4M/Wu/K4CYorezWLWk7PhJEiYAQN/U0nRyFWFN5D1OHYekCUv3Tn7vWEJ5aNTYo9gvCoAzWjeUli
n0UKG8ccvCZF8A94t00LOqMKyBhcreW+apIDxNed8vQIzlIeghpmGwZ+Ts1ZxsCUWiE+avup8pg/
XJpTeODb4v4AWAVsGBKrt5+Fid2JYe5blT3IrePmNd1Zjc/Yhyfu7P0krn6WP5uPYUe+t0cq7A7p
Jhwt6SNyuaAqTX/6JnASQCXilhZUux3k6F1u7EPElR+JC03Flj8tGBDgP/oelPEfFldUln/KRTwZ
b90Wv6yisbHYRonaOSR5G/JGK9wPuiKbgs9PN/0j3lQe1DaMxR1zY5E9YBc/mO4c5bN4Hke7Watu
5f3mB55jN8WwC+nNpvPwGXSrn8EAl9PvuD+4yNe9bqcdBZplIui8eJUfBAd70E+ws9UzXCH/56z1
VBu2JGVa4HLxXd3F8/KMbMQZtk9SPtxf+nnnqf7T+F+QojakObvxSvPEW+yYLu2qTWvGa2N213/2
/ugvK/2WvSurJ95xdr6vJdd6m64oGnmLqhtuluOwDfzluhwrTzYPsnwM4/PAnWDKiUuZiFrOjx0V
910G8YG7SA4TEFD+YPCG7DIMfwhyrqUS/WsTirKMEbIHKTGqt6UJsXItISyfnCvjBjDXTAZ4RyCn
OP03PaZJ5Y6fhPg5PbXQjaz5Alwc3ZmpJZyFTCuJukcRT2OZ/40ZcK2Lb3f2puH/sU5UbH4IjP3o
cYiV6J2VZ3vQcD91UBdajTfCfv2ONErk6i4vhxFhAvZLPtiUiFHjmVyq7glIrx/S9+U1Y6NyQEn4
Gg+e4r/4TwFa/pug+UZ2iAj6MG9N+Gwc0O/xN6NZJn9s8u0f8PPypEOaX0IIMAdGh8wdED4y2+P+
tx5pg+ol5Cg7he/dg46zeXQP49S2PiNZ6Unzkb8bN769ovg+LE+QN7wyEZhxm1hu39JDeYIVxPIW
QBbyrHUyTsUeaToeIFumHMOze4gX/CZqjxKZuXDHz2+6lf4lrxaf8hVTutNPSCODNbA3z6+xJpS1
qD6gTObSLQxtOFK5mqV108BXaVrAD6gtljWoAHIKcjuZU6yCPzBo6WFY32ha4QC38hbuhmGs8dRV
VK+KvHA9vykQixHwwvrAaYoihhAADHds2H6lXzDU+m1ucLYJX8IGzx51Bw7/gbBJXYeRjpTPzwR3
2JBnhjMZdBCWfbMDW2/c6B6x9a4ZLSsf1Qs0T/CEC6m23IDxi3oT0zOtP/RXrGWj9tCG2E7fRmhp
ZPtWudNf6Zjz1kdRnS7rSIXU7o/0Cb5AXbJmyImeoAFbnNeYdEgF0pi3ZNwOUO4TKBBOpsCncXuQ
gsQlE6osN9aEbGit55sgZ+y1mskSwWrsJMzHF/ExOA/macpPRnTEfTDE/Eagrob5jwxr28LjeD0X
nkbmkEugZJw43BeuPReeUgmgmdXF/PCCqAo2sxY+Y4WY1B89/ydJvwRFLAbSOwpJnSEG9gvMiOg7
Szguyh4bfgaBFp2J4klETr+I6PmhnnDH9plS4Hmm09AKOB1geY7GN3IIo3XaCuRkqp164PoieSKQ
Xv5HpKZqUq1cFXmPM3it76zqMC4HqMyd9J4mH5n5Nlq3lhXDvENnHL3Qr9bZtCuXiuZCBxGA/L5s
xm3zhUMtPrzxmZkfFIIdptMwzOiFRPqO76gWC/iahBanuGXE8OTHl8HoUDC1jkuwX4Z1gXaJBmOC
7INhVTHpMPvMhdGyAb9UMvA8CwJ3nNI/U+qw6RpRt2jzTTF0c41/vJ3r6Jz0rOd3UbXLxoyJdR5s
sqmJvTrCVHGBoocXwM8rehSQ7RWZxRwh72Xn9Vvr2AphuzOyVHRjIxGcAslYTgz1RY3weCdcnWva
CfiJ6DI8RZLmXLI3YQnN2jEb58TO+zh1pZeyAqdYN5mReKBPGGhxm3dhVo0D9vZcwb4G8RJw9Kgm
Y1jpKgZEhAcyRSm9V8WMfoJMmpUEqm7OrqAYyFyaaZ0fwUM2dYFQf3mapkHqLxl+yHKnrg8hw8f1
aZGKXVrA1TBxvMtnnE9STfiVByBa2i7djvP+qswLCyXOoXIwAkuk9FlnpXUg3t034DLMC1glEcOY
wCJFH0PE8IZ5EpUo22gts+OmVdEMg8jUWrsuRmu7WIB6dYgtsyIXkAOU4RaWZX+QShVSgIYVlZj5
Gu/K61FU9Ty5avCSEs2VtFFjySdZJdxYckQyXs3GW5WivMcu8JFgbr8iMdyTi2Z0CRz1tBSyV2i0
mzF4pAEp8aqCC5kRsfRTKHB5aRgO6fU5A9aCgMoM+SZxKTfBVOSNJELtIkmS6Q770GhWwVscimcB
bGEY5XpdaRkT3pCC2Ej8QbFa1OYQDnSq5iAoDrMl0xji0U+Pzx7baY6uKNPnIMN/VZrVUrb1Iylf
d6wswVrxb44j5Yn7W77r42KNwQCbo9wpuy4MPzvLbDZaXf+gjDymeSb6+kKjVUIGv84Dx2pxGLpR
PYRjd09Khefot7TS3OmW/qzEtEdC2NNdFyYyEvU9nB21R6NBDA2WkW4hL8tGKtca8+09SX8tfSDR
p1ujA5xMiSFbxR0CrvKV6lIm8PuSHFRcy94qbB9tMl1gq50UXNnqaiFBrn6DJsYxw5wS42iYpNXG
qLtbTJ6PXWTydzoFOK7hkUshMhKXaxlox8ogXQ16dyBcCU/yjGFqB/Jg5YrTQrIHDmDK3tHRxlJb
HPBDYqqwiMiTk+S6KMLiq+RV24Ywz1D/02g3VeQChVL1no+ZsG1mM9iOqviNGbyen6GJe2ov0EfT
WCht5HKSpz3TY6nAMKMNqI/pf+IQF6YoA+xpQTYGKKIdqezQff28fc+iIuG5proM2xoVKDE0W8mw
EHMimS2TDoy4/o7k5k0f0WuNxCi/3g10hTLIr+lifuR6/Qr82zaWJe74GScjw5VW1aKDavWbAuO7
u4W5FpQATMCUecTzsRXBAUhfXXcJpMaOmSdZqM7SB+o6zoff1sT4LID3jQfmBxamcHWYKKJfGTik
uo2ioG1L1EpzarmIzlH+qAecdVM15hCfu7Uy6uhX2Ga2GOgw7uqWboum4NtS5PFaq9E/IUf4N1Wc
XRwRWU/2NbsWMxnhVySO8DvstWsqLbCVi/xMVCB+GmPDEYPnIgFm5O6BesxGvjWjrPFKIaVpmqxu
Iy2jcM8LZdUZtwKB4HZJxn7bdkW/TfI0gxaWMXgq4E4VkQVrS2tUB+hufgX8FmuitzgD4tIrW715
K5Nn3xLs1+hG5WUSmH2vgRbwAG/1kcOialSNyoW2OloY6aP7xaB2GBjiy7Fhy1Nu7Yxx0D2rF38w
RmBlErZ6ngPrt4SJC/k4u7MIJIwHx0s563TBAxHIcQbooEjiP0T7dDvx5GZi3hx1mgFYr7KcGUdB
Rt6aDaTfpXgl+dkAlTzUlL1ViAiFJ4yzjGsjCdJWq5RzS7pHhq8rxOppR5bjyy6zOnIdAdpws1/H
CT56Pac8GKVQbkjjowwiU8nGOHAnNhYVGNJ4UnARSGRAjvAq0GwK7Upd6OgysaEcFM1DbenkTE8N
W4E4f04yO3w65e1lMAfsUJRSsRe9c/p2XBlzG5yyApqekcpYS4kWdiIDCvi2R3JpTB1RiWXwTvA2
9U9Qin4rBsveyvqLZibzo4ywzdSBYgDvCkTYcF+jTDikOq6eAaFrrz3Bcg2hS71RBO0a1BlWZIpv
pGJpTyVGENe+aIENPH3MoTtvSiQIlL0abZC6YkM2MsSfQN+0j6Xoz1kiIklvpmirYnRcIkvTp/ZZ
5RVcukyq7XhM13UfjodAy7p9UWSpqwv41S6SljumHq0NbQHvSq2APYLpnSJ8tQlmkOVEGkEBmNH1
kWF3Jb2hoYoMbSwcUhHOg2lOs+FpFVlUZla9q2NTPTAru4ZCrqyNn0jizEuMIV41YkKgvSW2WE4b
O63KohuHkif2JXnrBIpjKZbaRaDBPQ+Ct6xFTIspqOWYhD7v8hqSgjIlhwiT802YygH9fFJT5mnS
bjZSA7FxT9gTngyv0qlnjb5ZIqYjoMGQi2FNlZrBqLjEfmImVE0xJhfCsF9KKl4urfFbKUSVNaqB
m3wLQzCejY/aIEaN6HHxiPVe6aUIYUSxNg5jzbwDyS1sCqFf9sFoPuNFehvzWMd9LWdABU2z1MYB
yFbv1m1/Eq2s2QYVYIsSE2BDMhdxLb3w6P/jRMEyiMKheKtGXE5JB/TI4SrZra14peQ0SFfdkLJj
N1UVvImi/5qFM1ixwyosdgS4rYcGwrY2sPAgQpN2g5PcOE7jSogAShsNrF/ox8OivAsd/YQRiPkx
MFTZH1K1I4BbOemZhhQoGKRLXjLimlsYt3KtXs0SK5ta/yhqeUOqRfYAip4m3HkDcw59rdNwjIoW
CBKVPvpFm4++XKkvjDBVdkKtibwCYeSW0h0Rr656DVUCfjxvUnXXCWfgEjE0QjbAFt8uZzLyJsyu
hEueAUXpUaHeRRmtzdjQp8TmuJmEvD6Y86nEAD+Isw8xDPe5hQO+1kyan/Sxuqq1F6OnFxe3aVAJ
VfhsVJYsfCEA1FI+exF22joRo9QPYMkpKSZ1c6w42UTWUGSi8yiCv7DlqGqlUHeGMZRfA7KRQcMx
57kVI3baRCiec/EnqSERErECDFgwCR3nqmJMynknw5u3s6BH66pbyse0KK6JMUGOh+0zjk0UYVZH
t5TBox0JWNoMy0gwoRIqNjGv8zaX8OyIqN0dc9F+234St2kn06ckKSG8U40cBgGNRwEgvfz6uGXE
V5C7jdtjKE2rvquWC7HpyyXLoAPNLwXTgMcmtZ4o+mZiaWh/Km2Pfxl6ahHGWiYI6j6e4dakVkmS
A38SQxwV2ygHZ7Aixspd0j3CKWLM9d8/DUx1U+U4jM3hZ6KiTREV4Vjnbbj/vy8yT3U4KKGvm+2r
PCvXYtglUBfUCSleLPi9bpi7/740WWbt1AY/Zzl82WCU0CdJjN3990UyFP5SU7xEjPWNgKhw/9+X
ctGrff7SSswCLsAsgVUdtV9xYhLooANr1GJX75dWPU1xSLA27n0HCu7ioL2+NLP0iVEdujgTRuA8
5plT4/80GsUh+e+LCO9IWoodsxb4s/QkKNjC/NCVIIdWqCMP7fv4TFqA24+kD+jsc1fYhhJOcLOE
gcBo9HTTJPLBIm3mA2YtgC4NNXFdoeljr0L9JQAYtMuwkWvIiIEOuhiwxp1GUIFKo+pY1Qil61xN
7wthEM6YSi/BJWIIsZAJjBpgHObTuB57Dq4QRUnfycTvErXuU7vCE5AD+dAaeGBAqJG0UjmIizQx
Xi7uQsJBTCAOthV4RCxJs2+jHmeO1mxXsRVjwClaNPbLyxEtAyUVSBIsK2O5RDhfvK4khlKwgZSw
xSU3zg59Dg8YbcTCKK5PD7OspodBfcFI6P4w6DVwFRored1NhAZ2JBlmCQFaMr3kuTFNt+CVjsKo
/4+p81hyXEmW6BfBDFpsIag1WSyxgZWE1hpfPwdtz97MhrdvdXc1CwQyIyPcj1dbGN0gfRtjhA6X
1DTnZfmCk+Q6zTXyW22nj7NxUceMcYqqVkg3Rv0y1UiM8pRielb78xzggFgyMmnXzaE706xRGqN4
NUs5t8UZr0VVBL+1id+9GdLq0Uc5n2qTUxGRmtL1YX4OquFkdBxPu7wYn3rFozXLSL+F8reJJ/g3
WrsiZohjSFYVntTuGpXE0SoaEOiUbenpKrHJswEZXg/aq9C8wenrvkkdPJDup7/VY3wzY9C/kA+l
IyCRASvCKNiJKT/ZMDj5mqTNZE2CX66vt2VAMlhi4CgjoGnX5HRccuJ8PdpNgajQjQnN7lLNk2Uv
sBOJJPc3uWj2OLuXtX5AbtlN7K1dHFLFjQy8B/2otwQvhNmSBqvIDOyUHI1CwjwEI+ex1kkaE6wq
3MAZbBmeBFjbpPEZttuyWbb6TAHI3KX07od53LShiVS+wOEwFP5BH/Fb1pyaV3mRp+tJronp1gVw
CXMKwNzXfM76VuA1Qr0Vi7Z6UWoWYqsxgpUZlcPBjPmYWrPEgalbmivyL9pEttQDfeaqFPd9Eh5m
fUgBuagP2VA2Y5CQQR5XE+z4/K9VifskFIw8epwKOqw4KUf2jtNpQwxyviol9UmXh+EfKgwTdINX
9tFTSscffeaALIeFthZbodm1/XwtpLg+p1FFBMFjCIIQwCgHp64dst1AI7ghoUGxNUNdcRcCnekE
eZ9P8XA2CyaC/iQnnqC16r4a8NWHJa28cpCdzm8wchm1duBI9Cn0w3jSc0Czle9rbLoIlCo0b2M2
zqs06xQ6uWLuzpUg28GE6ifV/GmjR+CdRJ3zukn9vc1n/arXTbyKW6cl88yde6E+1kJ0HHJ6VsHI
6dCSSXOymJ8lTMFtUfI/JKsednMwUqlKvWsNEhrKpmFqhTtoJ4XMfczKsnb/fZnFZyVFJIENH/++
KLFzeRk5S3MrWlAKmElocwqTyecjnGoeCAYkKgzhneKLIGnF8SVilL+TtIFA65xBeBOXLGujmmIq
nDRPE7urQfdHUFCT5NISGVDRVBI1iC7/Xv79xtgGX0beKpu5GX6aMlG3gSDXF9/nRRGJgQVP86Xo
E0o1Lfi/rwtEXYMSog1RLdQoUR0PPW084rt8dZ6OWjr2F3/2mYNPJfbaKedcaEQqkDVse6rZtk5l
VM1qb0UhOLr/f4FMWWIDsgKpxkTG5GPq6v3oVz4ZaSTU4AKHntjOGBEz1bX8or9xCEu8uhNBU4F8
l6cGO13HMVvSFkctWSaukh3jRtGevdSxANAVQblYI6rPYv+1m7GSceR268Y36KeFDz0XEBt0ECfF
nt5GnhXYSdk1ihy0SaZ0n/MsmQcprb/6okWVMXb1PZqKrz7JGkoahOQJLsNRN6NbbX2OWU2rAuFg
Z8XNNUcrcR24ZaUEC4E1KmRg0PtBwK5+YwxN1zy0w0udac/CkAqPToS675XhNRKKK9T78hykyiMb
kcgZAxklVsuKWpW0i3IcxbYmTH9REGffggVOHVoG6noJ2lGRFRw1KrTVwfxNFy06ASBpc2CdQ9N+
GaHMeN4Mi2MHVknNOrqvYvEWLctpzpHw3ZDw8guYVSq1NW+JH9E+7mtIeKN+JGVe34CxKrasi9Vp
pOXj1LR6c81oHgRLwZUxUbj2uIwFI2oeUqijvtaD9xFuSlm243kGABJKbbeI9cJMix5scYSaG5dJ
YJXUa+YNSsNAX09gV4yZQHEWTvuuqu8VMO7Cz2fet55fw1AP1rhyXVMJrstxnzZYcCjTIQLMVPKh
ZH5EihnsezH9kwcmN7qkPPoJBo8+tea2UnXkA5hulAGukxmaLp8zToaSOUs8mU7dIPIou4ax17QW
fNOH/NSUmBUY0cySsQmsWj0rslm4iYVKXuXjtJtAC22RTsm7kCL07gOobbVJtJnfiA5Nw3DNjcNM
sBCNY8V748Edu6+WYbw4JjdBo1PiKw2nR6Nl1jarMpDDtrmnOn0G2d/JwM4+yyEYbNUfpks+hIiv
s2SV4JrnBD7aWVRYrtmiUazEnlniTPtMIYnzYARjhQ5NyNDzlBnyeYysdVff4jDBq77839xAFpDo
kHpZrIz71BBpzwrT2ujqZB/1WB+S5cVKBcPOiANzhQKNjOiHGGIEiumisKo959vRpYRAO9KpX5EY
1J/F1MA1SyoLumFlOUY7tltTChdANys8Ln2Rc8jSKFNAbeQAkBxBHxKv0OtpnyJdspV8rndVQLp2
psps3jChXLIsUF8SAukZpox02kfoaaTSRdTLV7PN76qajY+GgQgf+zPKS6gWYJUPBtCEtCJZbLT6
+qioA3ACkZS5JSIKhipJrO2wGpXRPyR+wdVUZDrSWrNCuNBlDSOVuP4SkSjpSqPuprSXzwNTDURW
ydWSjYY2L3ewTPPEb7roVOdqfZ17Q6L5p42bKQDMH0lY+wNLoTE9Eb2usu2g+kmPYYWtWQ6z/vJv
Ha0T2bJLnSYlGWEPOSWlUFTl4yxylkUCUvwITUeuUcS0XF9wGP9eqILCrWaQL8W7SEfR/0TK/TNZ
jVPkwXQpMzi7qoFJYxyNn0gux4tcA/xkYMAwbRaxAo3IyOmHKARumM1p1sgYH0CL+6Nx6KK5PrWt
VZ/YqeyopC80lSSrWBNCRSn7/vdbg5o3tCCHN7rW0qbXnDBup1M+K4QtzBMyFD+cTwWd0KMRPjVr
ACAfBToCtYZBsWFFx7TDmzDnzUXgsq3bBXjhw2YXo7I+BlbRXhTN4jchk3GpLQSUYkSBx5f6QGwv
Vdq1lBbqafZhaCSJ0F4mCURNMmKcCSyNeKOgA3c3NeV60kE9ESXhA4/sd/rypa40hiW6IGoJyayj
Hu1HK0GKUaSbMYnPiMQnM66BPIXrIh9lol9Gu5XN3zATK6YHScUwmgBRvppJjfmTKcEuTGqg46mK
6bEEwSVWXXovh3xPMSfYpSb5jkpXdFMubQFDuyk6z3NLAIhYlju6OTwBBHu2eTu6hAM0HCE8aVTk
81hIGIAabHUN/jLCgtQmghsgpr+qqg4QnBOyNS39obbTl6lCTg9C8a0TUoD3lfJsSv+7VgCP0MBj
EoITDFld6AYBDs+2b0EH/cHZUFZTzTPXdCISkwBcji+lxxQwlW5krDR+ObfHfy/aPCTMvdOIGpV6
cNCDQ9AIzXGsZX/b9AGpuVp/zBMTi8LQkeengGlD+1fZflbfx76VGZri/ywg2KP5i2WntoJplRIP
2Ie+v2cC8ytggN9hqW9xkYxfCghjN66p1pzBN0KHnUqJ0myTQbm8kTLS3VroMAGa26g3JUedZmlX
apW0kwpAc/MooLBNZGPX8kh4qVG9BOQo1J1s2kKCViANOnn374VgKn8bLu1DUnJQqyPhq6FlFhlx
4//+QJf5GQS3rV9yT1sZarVCyOApTT3ylAavYamPx6FJi501RFsLWtMxaNTpKCQ0d+qicZWhTJCW
RDO8V9Y0VOoRiaMgJkyNw3vcmHaSDLFrQmFy//1Nv+avT0WFgT0sPjlS0JFIRRW9jpJS5gzIEcSe
T0Aqte00BuIxNePcNXI0h+Lyv3IjvOVjZ5F1x8JNPvaxnqv/fYnVCK90DOqhYUhuarKxLxLT3MPr
YF4Qq8eh05QjDUQVjmb0WUE8ccnqeQmkFppt2n761KzQr+APR8uXIjPUjp3UJo5Vya8+qOyp6rFX
B4L42jXhTRbNxhmChc/WLB1vTca2auXzejY62FxYtnstGe+FmVg3n/SCBm9drBlkzNWM4dWcFayi
MkrrMNu0UZjelV7H090KkEobojb7Eg5OY2VYpFmJzdz464CcYdzjDdhzoeQniVQWrOEKPnwvK1Ed
FUKTnyIDkCsd569s+b8ZAaynByFWAivaBNoIfkur2PDFRkHQEtJ1Lxkw5bnkBgWsHBoq5UUVdW0f
duNRodnBdBlQedHg9EszCMqdqRVuFQHCszK13nflU4qr+sG02LRVrcVaz9b4oitagCaAvDhKVg0q
mTa9oPgrYJ6Bf86gbsaxsZrkIXJnoa6uI4srreEOC3YiHXRg1Fj92mBj6IyXWxmhlN6J1S2BDV5J
FYcDif7dbFnVShT0yIl9tqEx0PVNmCIwFUOkgayxD7WpPjoDsGCv04S2EHaAPUT7UKoR2E1dxTvQ
o9ms5u6edVyjoghvYceineX6c4wMnLAW4V49rXsjHYSXREgzmI4DPSVL/tY6fImFL4lOrcnytgnG
8hzp+UuloX4BvkHMnKFdsnYeiGeks5uVXbDrFHxE7YsE/RI0PGyWTkJTOHBwWVlT+AxLuLD/XlK0
8mbZTNshhtfR6h2aEVrloDtaoghnBEpcbSrAWVR3YZWRs7f8SjPnl1lDBMtNuZj6EIXlfoSun/nR
7t+vanGJNQaMQEetJho3jMT4BhTrL0nRDzJPWkP1IuePLMuVqa6SoA7cgoihVRu9+DLTymyIStiL
87a32vAGGcdO6Q/bQox6puD802hpfc7NpxHMhxACjU8YRSLXXiNjik8Jt5Dl7tsKjUGz+zR5TB3O
kroUiKRtxm+QnyNmkna04wluY1VpsmpXYc+EStLWRp9C6fGnl8lgnQjSgbz35QUjrKSiJkzA5RFf
m9wkswNtMVEfVX2EL7uOGqS+aPYKS39F0Gjg5ti0iTpdjTEWtmMaPgcDTbkWY7KRTaJbKz9HfitR
NMe+GF6tqX+th/m9N/TxlSieZlL2luXTsw0UrKTDTHtS2Bi0LK5qZzCu1J5JgD9WpIKS+ri7+7QK
9+Gc/2VEgRilacHEbqJLAzQK4VV+q5EdwrTgzCkUw8PqsdDK8YD4romhjqTDjofmpcoy2Um6mCiK
tIwZY0WkduYSPqXM9xFb5tEb4L/iYER1caCg1IHJasuSHx2CmRDzKbfI/UWrZu3z5YtEecSHYlPJ
oKYsOdbxYZJbIgs481slIjq0pWbkJu/6wNoKYooReoS/EoznKpP4xnXSYjKpbmNdfMqRldED08R9
FJGzpcToLJJOfh3lCcD5nCLKSfDazE0bk64jIFob4j+ZEFgbhUiJCraVXhI+Q61ZvFu1ph20vGgu
SRldYpmoUs3EVlpWExzkAfMDGydKbT+JNoMPxh+qNosh1N+gKhhnGYa80gCJr1CN7OhTpF6q1MyP
lEHaVQg+SXGCoKuHGkbPmTi0suOYrWel28E8BcAox1499eRGtYP0lgeZpy5/QZ1Cmr9W09nwYDs7
oKtZIZtOlPDUYFjodDJJ5vg0CHTEBsTlQxIIb5UVEbZL1ueqGJ5SgbksHUtCu5CCWXXzIqAHN9L+
OkoREjirAp4ghdKp0dBy18TzOn4i/4Y14jpA1AjRRYFuBk1H1GNvSRCi7vPRmNdCEq/LOWnXbZ3O
q7iHJyCainTkIcumFH1PisLSSjh0VHLVeKYx8521QvGKcnFy1bN4/vdSS4AKLKRTUaN4Al81GjU7
KVLIRNY2qjLbFQHiGjjo+MVzL6fAsAU5RWRsjSsjFrk8AL+Gebhby1+Mxuow9NQRfQ8khcN7uhaq
pFqXCY6CYMmckIYaMiwvev5tBR3a5lqodv9+L2l4f+QffkSKjAxgeTGi+GYYVrOqpRQesTkjcRPW
k8S/AjVro0/mU+tE9UXoCEoSM8OORcRtmppPHoBObUXTlAmHqV6bjiGSRBrtSgrrmAAcOHfBUN4y
Oj9dC55Yqf33nqbIMjtMzv0Eaz9MYx2gt53rX0bPyghQv3hmOCGrFjGNJeArFbTXqdb7barMCzZl
yYjJFGJJBYx3ScsARi9KuAw+pl2oc5i1gooyJZJ2urpv6zZ0miZMXAgQ5jQ76aJzQrzb60xES9Ja
m2RgUph3fJwS39AoxYXGyg8Nm8WUbVW1vnyxg2JtWPUzm9qXCYnWz5C81qJKBY5KnaN5gtCIQDGZ
6bnRxeZKCWrjddZlm1SLoGI8pLZxuk1EjPrJTCetaVG96iGKurbxGf62DSg5Q7nUVq7vy6nSnMGg
BiEUHgFdV2norRlHhEn4tFQQbfWHUkn0htk/9/k4/f0jU5lBMRz+/coK2LnDEFSWOorBQS5R3+sp
BAUD3+eQle+JqY0rsTWnNWGsJTsgyQ7lEkodyAbMgYqsHlkdGKXpmrr3ES4Ns0+WIHNPnbiZrIZ2
oqqoBeKkOiRiAfFDKZ/pAG89KSXSirI43htAXrRlydTbtnG7yqhZwEvg6MyobUMCqcpGLBFhlwHO
s3hplP43kabzBFUUbWQo7Yvut1CIxv33Qn72hxEjEptI2JwBsi6Pl4CQACyoRDPaF8+IWphoaONl
pK90NGKCi9kQPd3kabSWIZjebEO9xfVnJnhsBmNb1TGezAnxQBS9G6qinTvOvau8DAFwDBGgUmJZ
OfKw2vZq17PFgXod2WxHaUUDgQkP0LhcuCH9ig+WwNaFRPFXXKOvU8CzwOw1X0SoUaanHievPACG
PMz35Ev9wAwWnPQjKdcJdJxyy3GJxOc9smZCWQ9Yw8Ea7ZNP7LA4Guz0jTjMU/YcdsrFAIPP7WHD
JQIRGjwZ3TgFkAbLKXH4AyyziboKbWBr1j1/G1cf48bUDzpgzO4mL7ltwdc/k15y/cA0zXeC676a
rop9bdeozGGWMNNZo3CFX+P/wnWqVUx/gz3fe7pLf/lW3Ikeaun8IJ3VK+HCRGtfZvwDmAS+cfGv
0m//0h4gTXT2jAEffP2JZELudexCh9TF4Pw57nOXWB4i074ZBJ3C9b1z1TNuqAX/8xJ9TWvxOr9h
+rhGz3Hh0hKh1W+NhfU6/OHIEr35HH1lf8K9+SSU3iuOwjnxgp3/gipFXoP4QXagOcpZcZnRr/BE
sTp5pvNDXe8+GQIcwkPhZXvAY/bXgEzweJ7Qeid/JFGRrHKv1oMz3weD0HWUsuZLeKi3y7+DQQUS
DdHG3+OleKUJcwELxi2UG554U7aSo99o62VePtjBWXuPvrSH+KHONut89xpJPHy2dKcqnYEtjDf1
h1EIFwkYwG+3I1XjWfwRYNjtrDtO6F37Nl+ky3jBlWNchFX9Nq+mG073DEWvU2+FG9s8GdSP7A+s
AMc0dPgEu/EBzDA87JQVL3/kWAbzbbw6c0cVHrNuphCOccjf5h/fie2NcukcIiNcc8C+CZ/Hsqn0
1yiGn/APHTQ4I2FCX8mvtmHgwxkJJ/8rk4z5NIE3wur5q1502Keoz3bTU9yh4AY8EEL88Ao4YSGO
lUMP4/xkejxsy+URDtoD+1IkHOTrTPRu6g7X4EvbIod9RSsin8Q12ytnK667fEodD2XUH7wxYNB4
d3QGqbtqxHxqHj/0LWw7L1vDmT6CMKFRsn7C3t4KNlLFjXJafg/3am2rt/a9dqmYEcgezzTNvGYH
ieeo/YiOv/V/CL8bHPkDs/Foy+/pV4DB0rpX6opDIp5wkmnIubahIB7lHf6/7RGxfEFpY2MJ9HBF
YJmoPW0HlxMrBSAzyGVMDE4an6RxmG7yh/YDH+YMRuJhbh/wKtotjJuSUxrRqf4NtWi7ILZBRK3Y
FU7iDRgNz7nLvazcG3AG1SmyjVO5qdzX4dC4U4kZZMYcG9xYZ/C1IsTgTwKmX1tb6Z0UTQtwCqJZ
t+E4/SUotvWjbEHIOdga8t4jh8MdndFh61ofXjjvoJ+g/3gCmwtDrsEFjN7jKDEjccFrfHM/2JAI
KC4FO3jtNopzDV9Y547lgWSl4A+dNLQtnqTxLbETe3zvHLV0xpW2qV8xdt8/sBfdQggGcFe2jMLB
G/9J22GDZ9K4sBw98qu+Et4BJv9WWD/4Y+aavrCr3HCn4d9Vj/4Hl/vKus1dRXWse8CFWCNBsfKw
hw9o17v0Lft6cpOTkwdHLXQQeV+Zd6+rvbCy7oCBj9TYPwrPBe2gc2br6xlyQgfgC1OFO9kvxkVc
xc+OXy6tJIoc4hwrTzivMIVDwOOWEU/JH0/Fn/LA3QCpgVWFk55b7/F3Ke4IzAvoBbk8/Zt85dE4
9ZLzYZw7MARPYLSsL2wXV99y5gsv/q/mEhRzkguPtA5bJCIqtV8GuGLaFtRQ5XKqZtdyhW1uH8Qf
bFyApQ/vCIS2RH9+yZw31u0qJQdyeaIJGLhhRVtD0j9gJ1ruJZMfDtf8GwGTEur++kg3HxrxF6ys
lErgUh0idoo/cQWI/r04sx03trBBvX6CPJapRBS5/RGW6FP91t/MuwQLK30BkXiCVgvtAozsN3wS
DDD1tv0mTMZTV+nRePTfTLWITz+3L90hTe3oYW54s/oN7OJk2NfPyvUPdHid913AHdvsSpenI+Qz
ZaoH0jG3Mc2iGN4H9u07fKr78gjZCTfhBQdwdIF+njvLLaKdCz4jzRFWpmcx1/GWlQOJPEbxHRgD
Ireqj+j3Y+I+lI9QZVZTRs4rN0yABsijL4q/f63DG9DexR0QB9w5Zxo2/AGQgPV38GeAVkTHs8lW
zdZYt97Ov+Ei+EGfcAdyL5FeJp7oai8jUHBr9Uq6lLHbg8CbbJHoJx4YMliUVWT/Ro7wgvf2ByaC
w3KCpEnYVEsu+F3+JkFo5Xs9n6vAQPeKgxpjN88J6+h93uBx48IILmkX2GPKw5kqASMhizK8jCUZ
TYYch8HoFHtA2d8F0X2z7G29ny6Cs0U9wzMHsc4pve+EOxb2iifsOyfKXLw8PHgnbMPRtjXW2V6/
waSHXWDBR2GWeMIqf9U/qFFW+yfZYATkKhfx46c4E1BMKN+elhu83GuxAUhMbNhM1YCf6y95/Umd
zeioZ+CALk+Xo9yDr+VvtAcYH7Jz0w9EaTnGbQbqMJ/7ko35I9odIUvtwrWP9w1DnHxGwgkxT/yo
PFbZfOGnnL6CG13iw0OFDpO+CZELe37YcNuyjXcQH8jTFFbVBtio95m9Es/7VrMjOuxJXPbBg1kQ
2RgGWeIJwSyepDmQaEAhULvpG5g+F9X2Vvgo7Wv0ulAOYBYoTvuWbj/AJVM5+M4929b8J4Aih/fz
EjFRto27uV6QMoAYb1DL2LQZYb/N9xiAwo+icE3MF/kKEPLR/BEIuayky9vB34yzD1niakaK4XTO
U7mzy9fYaHFbAbKx542+Fd/l9/61WJ/plyhve+zr7gdgCyCJoPdovlNfVTtUPLc+YPMONnxuNx8j
nrHrn/i0T1wbGy3Ne/E23iDNbmrKT3NLJCQsFX7ArxnLlvzAN+E/hHP2t8xaL1i0uK2yo/xurBiJ
7rQ1tmIaur8+TCXrFp3CCzfGqXstv7V7+MCIA92BicQ6+RURgDnKB8cSRzgj/9nW31QehJM6855Y
2j8qnfaQ7disZCpXyhf5Id7Ng78Nbsobu1doZ69UdSdqF1y9HqzSvwYp5CopXP0jfwsvygqEBFMF
gKx89KdgZ/df2OyjD9QMf+XK3yUf6Xtwg7hBNjE0MBZe8JHweUASox2nYEmd4Y/6rvvntMK4wnAa
rCrEF/b66BlumWbuEidaE3Z/L7fyB0/D2/hGVwLfnPyBlY+4lcWWtPByqMp5ZKAEflBs853JHZZ7
V/oJIJDsq+30HSOIwuRFFXDoXkmhZ8XBYxD8kRjD3UtrmLYGqk7Uvxh2xy+UMLRsD/CSYkbBzQH4
b0KlV7kwHlQGizzGPBuDza3FEiO9+7d8x+nrwLra/1Ek1ScAsni6cjRx9PhARz2ZLkPC6QOXn6CU
3e5Fe8XyyNoyWtxGDlQG7ix+Dh+RCg5+ZgA4hcnGdRbeFKc3eBSUo/x4WKGoXM0RpSmeQ8DLFxAh
uc0bMhkzOKQbwMwq3RjNGlUl9z5pFW8yB+/anrA8iHaJKA4QY+ZxuXEnYVbsbsnN/+COF2/Trcg8
4veGj/KMJxE6KTHIrMVSTbrlgWVevmluvOZqEROunwLk1VSrqF1e+wEQaPihwoVZzV4X2TvBNfyN
H9JvIUcE76mwXQSs4w3ED20G21rr5909JCGGxeIvc3v8qiq2Vv1C1bdWPpTrvPPtxAUAdIrXBjk/
g9M60Oc2zUbZskMaj5E5LM7t13xnvC/ljErpdRb2hvsXvC28Xq6/cuHQCKSUYnv6En7kesmJMgi7
J7fDqw763mAZr735jj4XyDEmqVeR1VYdUTk6jAC53PzUwSugrTpet1xVacF7j56wNoCYYZXE9sz4
HHNk29g5YMwErSukOJ1JUmiHP+PDAFbhkRT2GW2idcNlYr1FGvSubhnu2Y1dbtW1dMaQGP2ZRxRw
7Esi3iXcKw7ytW/iPOz6q+AryhsPMjU6Z9aAQiP7a8hXYO1ebKDKCrSJ469KVjWv3QinyIPvs4NB
C6/YN1Zs7S6H4E3/HcqugMsUmNkPQxyMiNwh4odARvcI68jOfykRYgox6nF1Vwt2TCVIhC8VJU8Y
WlVuYP1pfVNYBLLHDdydmheYGejtWEsWU2NNL9KRAbdt29eJB+9a4R+0Q5jPrwpsMTTSXAM8Pf5C
rWqetKCEe3cifCEFdw5M4WRy6IU84cgvdLzXlPscFnIEIUhsdrSvF0EYWyK4OQ7QhNf1dCqh/QKe
xcRJV2mpJ6gw4H/w2XKfcGVj48U0HKVd83MUn+UFchXfg57jYiWhkfXP3KsMeyO8VfFWuxeRk+KU
horDpwjh1MCtaccXJhT8GPKP/yAPgDWcLyZPaBiYgGNEkQD7iLX0wDKueoKCrsle2/c/HRY5piuO
9c1l5/FM3/B8suWzZYj/+Ft168yv7Jn7xPQS9HCcSR6WCRhhcTU3xWV5/PcsAyZuXDtq7Ha8Y6Zm
YdEIjk/ZcskVydnKqO9FXCEOQVpRfEdm0ioEyy4/Zae9CdYx7BzBPAvl4gJuyyM0okRd6TQPjA3r
DGsP2C/+URYEIoNYYIIIKofdD06s05u1ETuOoIRpRbA1ag7LyERyxZJR8tFwwK3cgkEtN0dwRTj9
rRDAxXGaquWzw+VegoH4mvfgOzvQyP2Wg4F0Hs/Gg0ME+D36CgJbNhw0CFy4w7gKe2I6v9Fw0dHN
ltWTd8+6FLOc/i4TFGvFa4jbFf4IbYwhXNZSri6is3bkgVtCybsIFIvLq7UQ4ljLrG9jb1LetG4Y
Ue94OJfh35vjGqQEgyRYOjplCRKYT5mjP7Y/oNPomBUHJ2YxL5ALzjnCKxQEg+nWDySOjlxO6DIg
RVi0EZuVdMuQlWC+O/X5Vqd9WSJu2JnWn5YRsQdkZ6cjnoMDnK2YgEgWMtqVJXP5HuAU2Oef9EUV
8NHRm/Q6UlWzm1+Fb7yQ8dvMGYeNkecLjzkYPI2ko/Cn/WpgWvouRiq9WC0sFkjxyQE8dpGB/I6Y
mvzyhmheWgtQ3s5+C+fRX8y1MtE2c1HWBsRMOtNnQk8ruoXs+BAzPfGo7Kuj/y6SJJ4cQVOOX+3Z
Z4T+VezoIPHtsbPP2+6l+kUWSJwPO8I6I8t8lZ7hLqpedQq/pa/y3pvgx5A7AccpfsuvjBMlS3Nu
KzxIqi0txlVMpOfmxoanfvIHKVJw1XYVAzdnWUHZ2Ig3ZvsEBfPTfh/TS3Ll675JoemUAuILCBVO
hT38+wh/dvLGe7MGLkKrbUu2d7m2RK9mvkqUJ63FeF8hnllb30dyYgcarHj+B0+hTQPKoiCXgGXG
1WQ+Nx4c6CAMSNeoI5GTl9AXIPwFSBg3JLmCrUHLykeHtDZ+lxHtpgezPCn6baQHy1mSkxtSwCwj
q3eP8A5nMYQmzPzBGqtt91T/YlJuugMxQG23Q6YQBi+jdNNp/FQyBBY8CufpA0I4l0TOGYnsguhQ
LbGdW5wXWLPY2hUCB3fAWsAKzLAyKNWqFd2j9rW+P6w3Fkh4lUFxKZGNdTuVhif5KOZWAo9NZ05c
95pHIGrSg3JX1RNsWvgvsIyYHy+xyxrC1Y0s7oppY7A5oNSpniTEExGsvKOiRYNc6x7fQmh3rfEd
lu+59SnnP2nCILp9VNWXWLJocF/MIdrKNZBqEgoTHeYNYYd73OVETgQWeAnwwTej2JDVoJkrS11H
GDg/M7aX32IX/OYKsKN9TDxJdtOzA7GkJQpim8eYoz6ANuurox6JyAuB7edJkMw1V+pIrL73aMGL
m0TLUbzMpHSOW0HbjkuE7ENptvondrHGxuME/shAjRIRdeHJzyN37/TJdBWggT44q+kj26gvZe+0
8D1oZi3BD2iZVwLndP+loIjWT725ZsHPTQSxu9w6TzMmEKcmuQIkpr88kNyOFszYX96yrrnV6Irx
Nv7BuEVUIdfAAIN5Kyw8kRvAPVZwYHmRdUfWLnL3rhgPHTxgesQqoFDG1LAsSbv890AY5lpvb0G6
s8jBEbx8OoGZW7KfareX3fqdNXLFNxqC3YBz6wSligvBPcvNviBfoICadnED7Grskdoemhs4SEHx
RnQGhKNghzEw6WACW3UD6UREIFGBeiN5LrTt8AmM2/CHckIc7fKH2BME0jIQktil7iaxMMlcDYqD
6hDFSrGuLfiMc+NfzHwP/LQH4AYpqbmBURr/HYQrgEULyczBQ6ETew5t1KRdvs+iXd5tivrkkzCJ
z3NCaXzUwnMCKxbgyQ3BFbTKAaAtQcGIsRrU09vEckRr2R1Qk4AhM+nECExpUbR6sJR0plUJknCC
bkWiCzG4o7gC1Id9xdhaiuOvp0993igYZSY3t16Scq/4zI3tIVqX1bott2a4IdqZNQGeppCdEZPL
5qk4UR5or+GdpYOcBJZXBeA0sd8RhIYNT0CqLu+EKNbyHQ95EWxUykhrX/QejUoYOtNfDFgWaGDt
yljLJ4+/D8OayL5bkbt5toK45ess4y6bDc9p98L2SIt3JooNzlD8Gll3ln3zr2wWqhPXlQqfQ8d/
SDqv3ciRLIh+EQH6JF/Le19SSS+ETIueTHrz9Xs4C0zPArPdLamqmHlNxAkVkRPTIfIvH8pG303X
CeXuRPRtkh2ZVyTx8T4HFqm7jCHm5pf9hh6x6uhz5i690gS7WrpywrvCdGq0NWEulbdEusXNbbGO
Zxw8451WiGMoV5G/Ro3S/XF4Addi2ZB6S9YvSI0oL0BwNIwj6OIJGGvWINWYoPPnVMJMQmIEiIFf
6ebUv/XQPwmPnMEpbsYjPR2ZJDlXjsLVIL5itFvhOgBIwynzg6ZMAnCd06lBe5H6Qa1uqndB+MXb
RTg3ewqhHSgAeUhhovBiALo2/aMLU6PRjjaJveMJeq4u+PC+BcGtTT8CHSSH8zWl6kC8n441GsKE
rsmrn2N7VzQdo/lBsOKSVyu/Gs55iO5KsYiH5WCuWAlJ1j76vJ40pZQCe354jhq9mrEiR2jKtxHp
02Hb/8Iy4yQLnG1dUiRgVFy61Y7HpIjfeTnDeMdMur7Z5ir1j7jegXPI/l2JDujhzOSO+hC+YPZr
ko3w01wzZou8aG8q51sxz2MOA7xJJzvdkyRNMvWo/Wtd/GvyLRMg9t13Xl8SjDN5jT0wJkseYbAN
lXzjy2DnnbRdxEhTRiN6pmEB4sCcBTUeKeXpxl6iwiF2aSDpk4wUDSrWAmgOP5DyrTEseBPUmmJD
NrtWbsLqxoqKcFieQAfgjYJgZ8aZkmBxDoj5mQ2fApYfwFh10dIst3NBEDLiSPhn1YH8jHEKwQEp
tUiade/tBvRxBk/FnO+lbDZwefpDwcBfm1c9BRaXDTUQApb9ABmCpT2PjLtNyqOXn/iBRf4gBarG
1JHxs3EPrbkVuC26fq4a7/wlMahaxGVTJ7gijaNileRsJfN+9j20FI++Ig53VwLeNvgkhMARbnyn
hOX6bwnYIbH2knV55s2GUVd6Myo2w50KZGkuydLk42hmp5rxZQv6ZvoZXes7AYFkURzZ5EzZ9B7I
ZWaV9YrTv6za4G+WrE+6/YQYyk4yOiT93W6+yv7e6m8+I97sg2XqbGxxaHUMrHVmVT2+a8ecD16D
w+ctlHcr+eqDZ6vzeSN/JbtkDua9H49Vcn7iw5YPy5LuDW5ofTLhgpqzKfuMrWqy9Jj/CVKYaO0M
+9vWgFZpfzqNiTR4uwtmLhpnQ8ngpjoU5bdT4h9gWMMnDE20HF49tRVPAe99umcp6ypbmmrwdQPY
6n05rgztT+Hb9enaau1fosEFtL81eQ30A0SZJl1rgh35ko9oVm74BDbZiYMikkdV21GwYF6U1Ybk
3Jo/wqKBIhD40Uhwwlm6Z6t8GTGWdIyLPPJJhdpb/pQ2QoqjN17t+qvpP3My6RExig0hBZ5z8r1L
r70FzNRjUMlg7buRLY7P8k47KpNjj6LWuPTGBZa6F985VKfbTz+IZDVUh1yjj3OxJWJTBEGnUTEw
J9CHTcQPNmGZ5JzN5GhveDfL8VTLjzo+CJDtOEL4HehFC2Pf+0ta10b9SIzfLPoszZ+QhxHxEKNz
f54M5RJdzMJEUmHxyukdE6yC6ENWQYBtZuiI+IKQPgCsFg8qZJwmgOvwQ8RHIcBJrMm/EtmG+ppU
ACdaAp9u8Mkbm1rggnzHOk7T8BYxy7W8eYqYVSvdhcdYwMCUjLK5CM96gf3jPoLKCDJkHcG7SFtu
ps+jO16a9C8mB3dM1VXRMe4J3pP0Y9Ch89E98ZgDK15Lm6KB+5Gx0+hb7GvVYKbDxUm0mFuhWZud
sTUc2M5c6GZX8NZHyxyuY+f6wAmcmwX3XzaMWNhgacZyFDTEOChlKMg4oHgkejZeBcm3yn8kue27
bLwdpBZCKFgLwzxnElpZZIQH7D+mfS/KjCQy1lM6tEbKTDaNCUKxdOuP0H0ERrWA67Ew6H/7jzSu
l1UXnUf8A+ARIFKC81PYLtCDRgo9Jv+Qt0qoK6wrmBKCTN/8OTT/7ODhKPbJKFk8kBoW5MU6LKAi
6OwF6LvDlOQ+/V2mfGu5v/S5PIPP2ACIx1wldd/JEl2mf9OHRJHuymbl3do/Rgs9vYmWJjG/NdpF
PCUbzCizzB3nbYWY5w+lOmbfCXb5UxSXns/NkIYzFxN8ddDVjexWxnc7/Cosmgd5AD9aMv3tuSJU
JpNJ6dBimSjvIc6BPM28K0Gk3XAmkopjphFcAS6AFwhlXNuT+GKM27nunvLqu0Uhr9nPloEpODZz
3HL20GrTCufZtxCEnOxQ+FNf+3ObkCyFWpn5Vit+czj92sm1CZbzzlF+rpFiFgw1aoakDY2IWlwC
5YrUE//3RFanXCuQxuemSwtPj+A1vjv3de7pUY1pv+wDrl7GJ7BOZb8RA8vc/imhjNG7YSrAr2v/
Um96/rWS+yD60spmVxZXJEO4G+emezG5INmm8QQCYGcp2Mzb4BaCIpM0yKX94xr/AlOfcdZwf6f6
NXO3OY11yeyo3TntM0I0JXgwBb2nrUDe49Hdue0fKOwhANi7rChmLA14c7OrH3EL8HunxS+koMLa
aFxtrbvtGFZ1aDy9v4bmJn6OqKp5S0PiEG3qiU7t5xntrIgoLLxz8WUMewhgkfFXTWNj9XPobmm9
qpWdxcimjhSee3PjYPlZWGwdGNgoyie2Wwyk9a/C/5KDSIuugFQa1qWy738J+GUUw5kMVJPWTuNT
0qFZ8gVGrNI9q9qHmjLTiOCcaJj2zl70ws2EpPuIX1OYN2/0t05SY02gKWfJUOx9OoquqI65hacy
XTbtV8Y7HNl/gXpPHvyeqnuC2yZUxY1uRfpW9desfE87wPMw1TZBQUA3goQIS7A+YypkAT+vZwlL
phqCXF3vpUrWxp52VDVPsGvwAwVzjaRxQRSyjF518kcgZw4maDLkqpiXC9a5krGcp8xmea+uDMdd
Oybjc4DllHQpU38R08uQ43y3aeqAllK9qem/CvJGxVxD0hOp3l03oIrgkWNrkbzF5bMw90K9iOzD
NBFw/NTZR9C/GxZt1zzEYNv8q62dqqz75Fi5b6O5VQH8OvfCARa41GqmGltVO8Ol8kKYMe0SoWcM
sUbng1FRglCFPTOSRjM3mEx+YDi6q91SHg0eBsJ9oQEJGeGnFs+RpMVH4D5q5noVLCgf8333EaPU
yePxFOK/ijTyU7c5octQC+XV4WpRZbuvxXM/st3htVPmVbw3hp9p/EQjuVcZbWHHtInxO/BzB9lL
uNfKOWCNEwSpZwsIpZn7MYSXhqVvv2jDhWY+jfou6iseC170X9i7xJZdIu1SWv6sRAKeQA09MZVl
fGkOc5+HuoajOv6oJKCxM/2q0weAf/jJ3ZurPStGr3AIfHQvwsYR321AwEZM4ORqzLa+A9MKwLOe
IdlkabcipXykwEWVknbfDkOVECvBVc3/4v7L60Dr/wv4cCeCsHjuylrncMtRYP1rxs/M5PoKQfVR
vgb2FgQ9b3hX/2rJZxup82jc44BKoo9kJes778XM9u4UxYX2cMhiF9lZVz9UQIvmeHTAFXYBA85H
MW2qbUSAxspwkfuoq85auPW+hUirsFi05KaVHwafGAer3kZzr5z//GO25JAf6zLg+KN4Jd+xWzE/
050l/NmSBTVtfB4twnwVhj9V+4gxPY6opCsLP9eFrpJauRs/OSlgJHni3Rl44LOrN+4GMnsF1ryl
LNNFwF+lZqwgG0Y/+jOKHo7OmJv5mw4p1q8xfEA3j1gQti9VefcZYmTl2XQuavnT9ndI1ciUw7oH
IMl0pLVnsg4vefAvaHcB8Bh9DzfaBZquoI2PPlpmqszHA6ueATYqWqpN48vLvsLsi7W7+myZ/nDX
m3tFHC31W61wtSn1tU6bdcsvTQ1fPVqYnqQY5RTVBG2bS2/8tBqJVeRaZBTSv63+7Ixda7wZmMBq
/ybtZ60S4epP42tBBydSdATMfiyXlCNewlp/i5AlqEoLsYIQteoVJxsf9Ro2fuiQCo87RYTebifp
ZZPPbRQyA/FT1TPJXnrHFLW9uLjHYr5OMY+zf3Q3gCK4TtEP2HLuILuqrV9AgHijZbmOhkPFTtLE
B1JxbmXaUnUYik2uMN5p2F2yWHrES9krgggkO0tun7IE14sgZ0poqrea8ab5iMSI0SvmfOCq6gci
yAwKAFV8vdTUQ/6vh4lpbEAVZA5JTir7E+ROsC7nuOq8jzTv4ZG7+NDuWBZWrWjm43DgdIzVpahe
TfpemdhPzw0qG+XITd3E77hmYu0jGKBUsmVg9IpBYe74LHWiFxAW2lvEPYh785y4IgQizMGr2lkI
CzEJVBF3LRVYHJ83w5x21oC/GbiN5JiQfY6yo1BZQY1rwTSP3UniQdCNHxke6IGEk+ScODcjz3nd
38xdDPGy9+pZRPuuUyLGnPBlQulM7gvtjM5LobKNFkxt0UOC0zMYrGjcGp58dhweiaAB5kn4NEii
5Gx3DZzIvbfKKMGj/t4FVOlrH7qA9zbUn5Ilq3A/+sCfe+2ZjAp4e1byquxpOaJcOhZkLRAUEBOu
eSDqwb5xLKj1t2b80nt7DiUtdaOnXiVIyli/+iHyDJZU1DpR9zKTC/CnTrkZDYDaoGaE/pS2PnfN
z5SlIHEakHhxOqz5eDHKLIrobhZcaMPd4aMYuR7OZVQASUVPajOzeRbFjyw3DRLAgMoKZh2eMp2k
KflviN7rDLyc/+OExtISZHXyKlX2StB5FZBIfYBxD1oR4k8EH/WOWyaODZbTzF9Aaw/NzeYZiSs2
ceDN7DSfS9bdbkV+R6EscpIMOrcBmBlzJnA5MXgu01VUb5p+S6r1LO0Bzu/MGi13sI2gJrffgKaW
jYXIqOuwd6AIq5BHoFotIaLGWI8rBfgloxp7/KhUCnqUcNkzxUqVMcoPE8TgPmtMqDgUzQtrhMzM
yWkYVMD87Ey0GEaiXW6KvdOeU0RIwcLBupD5KE8IYWApxNTW9F+D8RhH7vVpRUloGGO+DUP2sllm
BIehlY5fIvvBLj2TLL6N/oAtpEMaE5Ac9oUNgjOXXTRufN27QPLtI0oCus+b1P5qHbkP/w9orFlF
hwSkxlKjVV78NlwcpA7F295hANKz3hcsq8o/ob2JXFKbb5l8BUQZMNsgq1qyYq2QHpo/Zn4qJclS
F+Cpy1Bl52Y/Mxum1IlsRJzWYXWpzY10rmP5bmjfEUl1ufzS2hbM5KQJXCqMAN2ROaqpLU0fISX3
FCB7ipOmI354PbK3pYSYnKat6mCyBH+XpZve1XYK6ynBWozTq3glfAhaUNzBKSvuMuYIZuXAoDHM
blEHzcff1crV91AgpevpZ285eyHgQLgyUFBCHFtNHlafVYjNdMAemdT+9Wq/DNKjGr6NKvM4RpCo
jMHWKS9DhLDWs1ebOMs24u5nc8/RQsefzbL61A63sfPYHI90EZexQyGnofqjsbejeOEVxjKjZbAd
oDvY3LV+uo5IDuCzXKGysIs3nltd/ewJ8XVwOXH81BYaA1Ci+fjSLZo4BX4Anj3gHfdMh+rL+AJr
ykoSKmA6TFRrdq0F2enwRliSIoyfh+Bt0owhDBtEGxWC7b5CkyWZbS8ryTKfTicXjKasaxIiaUEz
EdaYDSHUtYwb6qzCdrJQNAr0ku6KGD3FhSGa831EQBMYscVnCou55GivlLcixm5LjlwDVRN0c8A4
LSvZLjoIP8BIKB43GmdW1jU8IXxqmEI5PIsxq5ECT6He5R9gL1aBqPeBdx676BSO8TLxzmCJlj7m
AhuhSJ+gKMBEXmqbTsvXcdWQx4gov02XdYaoM8uHg4Lpo7fwbI7MC+h8nUVCZZg4QLXTnd82y1Tc
GYK6EJ2UeNl07nJwna/eT9H2RTpxfUz0IeuEc69LDhn5SzVpPeRRWm+iOFpZsiuDap31b0VwzWkc
scAuNKbBvlIdgqDfDI2+CHLqnymJLR2+Bsf9yrC4JE5zDfvPyrnbIllnvMJWwcKZqXwLjlin45Yj
2/lEarPIPSe69t0n+UqlRi/QvrtoB4vgJjxQKfGqJo4AC8u71kCcbrxDFxMdCQBNrH2Yax0IwPxX
2Ap2UN4pwjGk+Ww6EkCivaPcCCb0KS0aspT8OdOZ0TWJHobS+Si8ZC/IrsTri5IY+qGvrTrtMTAc
l3xFb4CWHkJfDtiQsZtKihYTufExqiri9i6TW5LO19oLByGn78kZd6Neo9GCzqCZZz0EYCWURcE8
KveSXTT8juz6aNrdAZQ/6DaN2ndsQTOzL6zIBzCURwl1KCIv13deJVKNmhdnKHvKECS9ZfQFY2QJ
IUv6h9h+yOTmDNfRZp3uUcu0KfULvONSUArYH2bJ0CACu0D1VLfYhWA+GGaCvGaQp5rpSc00Scq7
EY8EcVHZKERY4U9vmT+HSb6UfOzCPCbpY2DhW66xUK7VYkRZ5aNKbehbDIQj/lK1MV3IBIsKuSsd
EPZgPNYF3v/011Z3w6CsTVMeCMhiTK+yIaQ4k5m44BufB+Z4JiG0QSTU6xmPr7Fxol+QcDQBBITV
6aHj0+IxEhGZvs0r9V+Qczl56lpVaYSN+Gr4PczH4NX64xUe1pOPZa98SXGr6STy1iRRlUOnJNc6
XCudZN/GV2cA3wCot3USJf0J6Nwx6SI/m09lBWCk/Z2c6doUlxIYJNcBgh91wBnBNhNoJDhpvf4W
JcjVNfImpo2PwLusZ3jWy91oAZtv3EU3Xa5Azzv3PUATNgyoQQcQz2k9MblmhSFZuXPGSGcjdIhE
xp8/MIyt0LcGTwcMfcNSE7riYgBCLSRAS4ptoyJsGAd5Andfh/8XNbXC4z6eAogCqbxDditZSfpH
hwFl2wFYAjIzNAYMpkPCIdhFjPBtFBKsnVV2uCbgMsAJbBzqPVzoh9WHVwcxlG8rb5kzFbzshwKa
tBDpUcoOsLGAkHVn/HP5oCwbkw8n13K66lP8+Ew2I+sXPGsfH2pD3/gdLnu/givIxHi0d1EZHfus
/lQM/RWBWu54DUK7pz0W87F4DwYU9/JXgcrYVRDQ+4y8uSdmQt4oxLputPGIthQ0DpJSdJh2KfgA
MitaauDq4d0timlkSA8QoAviUJuLJFmoPkpe2uDe2emZvjCsgDPePHgKdxyB22TYKM6vlRIU5tFX
2L9lE64haJI4JFcG8MKh7PgQIqtOFrYGt57vuWEr24GtzdkhG267aGP1GXQZezxGDtbWpUTLKESM
n6bEKUoUVCVZXuXuuXbiuzbY80YHw8GEsTEa5IP5MtDap927MDOzrQcPefrlQ6+omRNLhUwLQ92a
vIvQfbjL8G1YZM80+hxSPAMUFtbuuEmQFfbPFiFaQbGgM0jNGF1UpU2hjk8MNb7FONEInlz4dMfu
0hXfEeFDKMEqWvf/GDP5h47qKa8c3ocfM8g/eqbQAYHOJgD8iBu+d2NKLpXt28oHZe469kUAAMS6
OgtR8HWKz8KImgutqsJrH7X10qiO6BpS/+VdMxNFMu93L/p71PRrm11VbKqLQSS3TDCsp8torHdN
2DsN5E2IAMo/pNZJNeQmt/pvZ2sqLEJ51xr6WKNHtBJziyE29dat+G6oeAJOdkX/7WrrbKlETlLV
qp1xGnrj1DL/d9BPqdEmBRnrMqYzCdgBpcippa9rP9jYGcteLlCm4POOvw3vHBO+UP+g+Hsfqa51
QKepyyiogfgfY7ICtCVRPejAKTL7T9WwvwgmhZADG3qizPhLR6Rxyzp6hvhrMuRNOvPjuEBioTBs
U6iKWvYZOXOsmr1KE8ltxmKF9cMRTua2o7lT4n5XoOoxev0ifWKXQgGxpb+0rXaSFuFl7fBnx/Gz
b/fJkF6nCXfMVL/B8RgCJFmiU4HP9FGn+lJpnc+qrNGfs6VUNapNjP12yKhYHci6onJQLhXCMWhC
K/rKS+NXx2pI9lZRAAEg2YA7b4hXfQRbhvMyc48j++0UJ/1MAplIPWRfrDi83t24YA3UONqXhrPk
HODunsQQHBehtvT0kMUkfhoaLXMAgdiuejZkg+YfAkFxFCjZP4/EIGYAvAibBPlcPH4X/aGpw5M0
s+s4Mrwxg1Uc7WwpgPW3TwfABUOUfNtGuIjRbzXRxukzyNHQl00qDy2yZqpDiFLuQfP1oa656buu
atTDXC8VQQgoeYjiAOTFvly5itg6paFgB8lbEzDqCT37L5LBgRG75p91OFtZA5omd5DrBUy7wV0k
9VLyc5nckX7/67WXhnk1JyJhfE16EN3RUoigQYwdHnt5sfqtHPS5lVsMr797tWU/P+47HVErM6iG
aCpFZYmZheY1YV7kWeZ7HHV7qxX4astLwJsSmiRDkYRD0PToXDrM+7Oco9Mr5BcqcdOj9jaMteAI
wQe9kmG7irVro+GkRl/Pu6U70B4UHfXLm52eEq189KO7KyQXsAGRd3BJPwLJaOpbMeVeo5rjUkyQ
gfce/PHARlmdLfD8zkStH7Ic9b4vyD5nODiIjUFvHbL2NJz+3eX/C2T9rzEQhKC6WKkRcAifcEJm
XTYpStDRznFmk+FsPdnp8Crmlk++I+25yOY95bTDbDb2FkXTHwJM8T1TgAohrBcWs2LyG3v5XAd0
09vMElPtgzGQkAC/0+poaMmvl2Odqm4mN0Rv1scg9j4CUf6otkFRNBMs4hppzzRyVVqHybXREASG
B86AGgZ47cdXw30u0EZQajihuxZVhpQlvSR6Ql+09JUIjkRsvWyAUqjdG+RQkvWJH+YfWDKaQT6s
odwYmXWKJalNNPBTARIwqMlEe+5M/1P41rbR22Pb1oQ9/Bp6extHJL5egnqTpIc4sfM5LnLI7orx
PYAXJn81PxU6lUoY79Opis68cS3ZYGFDnsUhQgDRrmjWdAsZixRQNTJSKox7nWZzzSzX9P0g0Tiy
mbcUwW+LNsodbl4UPxhXrDW2ACODodjw5n0YbKAIECUPE1xnzBSRBpD7EcoAP30ZNZimOxfzIuOX
QnJjkFcHgAObZCRmlGzRGIVViqzZi499IH7bsjx4BkNUuJW1E/z5DbIuqgEEm73yjMDDEzUBTwRN
k2sOxZxKR5QImDPmPOVooLJ2GRww/TAtHw+kyeoHxmQ6zONISdDeQUNNmZX4A3dLky8txudgLPZh
zzop9TaZlv8hs1DG4a6BMa/calNq7a0ae8JpgEh3ByqEs+EET1O1ViPAAJVtgk0ydexBeY7faSFS
a1hVOWpE8L5Dba/pS1bFaK+FCv4K7Yzl4n9KIjQaHhZTdd37uEDR6vSl/2OJ7DHCViYQz5ESjQ4/
c+j/5DXk6IYczRQTDUb7AOmR0P7l9CKhbl6SxjzmhXGyVWVfGc4lH4geQxvQB0wnnH9OY/2jEHkr
w4PToNkfs2M6pVBK55ZlNbolal2VMNbGc66Z3RPs1pwc1pntMMWb/A0Fbts417aQdTd1Et+aobvr
1NFdB69a+4KFvbVs8A4tNCgIzA1cwFZb2RILG8IvA+UcBIB1a5wSO1uryvguOKfiFKShXrx6RpgW
3b9wOuJl/eV/sz8nPQVevomcgsOWYYX+T9ceVqECpWRlYTfbzhI0q+EeKMYPCAZKHfbGbYZAHXhG
yWzWiNS9WYSrKGQb2lW7aMId5fohKK2NMsLSTlklGzwLwj06sQT5Fa0zYn6n+xfdtuRjKBJ1L3ME
hr5yVT2aIO63UoUN245fqpHvw4AvHOr2xjdXFiiGmDAbeLL7MkeVmlX9cTyn/LHS17cG14HBrGUY
0GTzNEfhZymLxcifclA0OlKsA7Rjtsvs3vB4FaoqfQcOB6zZxTTRlCmds0nWGsEDneaxDe8rdWHm
Sj+vNLRjAzIZkKcHAE/Fjj7wH7TrXxdQ0SluabsSZyDWSg2P0ESVi1dkr0Rnu5agKGxi6T80ayi2
QQH/JE4Za9R166JuLLH8Tf+q7LhDkgTbRY6+RqSwwD3jt5vB7q9OUGqnvtNYIjfbAXdOboxMDbXG
m5WqVeycQl0GBgTtLLWRPAmtXqk6jWOfgfBioLaTsCvgQA3dke9ULsqKI0VpW3zNtXn2DSaJSoyt
x/LIdeE3vEgLYlKX52O4yaEMyPTxH0NMa4tkFVIQz5IJKdZViiSnU+IemCBcicbcIwUcObeU0jrq
GYMjJwM0N6b+1szFTY9066hO//J1uU09v97995+GYaHXcX1s0y+bvKBDontEfE3/0tGoFmWMGUox
JiT3UB7lBPvOlYCYqJarxa676thYUAKjqHqqOmBOHmV7EYzsonPRnTIQtQMxHGd7/EkAzMxG0xr2
WdYgmEeIn3hvndWic9YaegoiZtDAAkwpoGChfO5YELh2jr7EIWAN+0TSVsrS76V5sAdtO/3mDEDq
XRmdc0bKipnfWi/QvvMu+2xC0mhiPX/ZVsMYh2uYoNhS5YdM+C5RNsEYtiqKm6FmimSMarKN2BVE
FXKt3Bheuseku1Zq5xSFgT9LQqc58kg5VsgsKVXbew67wAEnr+W+2EstLkC0cqd1pvNpGUDXk94t
HkOmoeGzMSP58JW6zJSPqHe8q4SKlqdoYVGNiGU2/VbpddegV7vTaBMtaNq2vkUPkCziMDYQdclD
Sed7HsKo244u6YplLbQTeSfAEg1loXBBbDiN0BQ3JYgbA5XtcCot7qw+GRkUNbm8y0QclBbSpYmR
0el+E3/k+LcjFUaVCx0lmtR1Fkng7oQecJhiaw59iZB6vMsDB6u+M7BEK9lcEFFUz6uQTasCEXpz
VfygRAmuI/uiy3HqFn2qJH2LfKNT4MZ7pRvxFY7QzjQqZdHA4gmUvVVl3+DasEYbFKKthhSCUp5L
tUw2ud06H6PYqHm6NQiMurSA4J8ODBjA07PUIorYBrWL5qC9q66bAHwyGQcrTvHeVVCyujo65j7d
otLSerUrnrnWm7vptrd2yH5Rg5PZmMKgoT/W5mSHNlcTPWO2rOINk7XSXSNlZ9WFyLmN0P4gJGRk
OSkXjQqh2A7LMClGBRDS4VhjoJvEnSubmTdCLAz8wBWsG0o9A32Eay5NbZ3CrK42ob7WUSgjoElX
5ric3B6MFwAvRSvDPtYovm2+ltGcioE+vKFsOHVA2Ah0zFmkMCChhSBmeg4Av9COCTNkP7nm8KrQ
CfB5YhqO1UDoCzSiIbZiXiCxqFHSEiSO5cRfI6ap7FcwcSJ/CX5z6lvu3WnvvJTJyo4onEa7giVC
TWMMJzr6zF9z1XvWytIXyGrxpbBSxY7isAZuFpm1LscbTEFMEDs7+U5IkapQQx4bZdNZFz/49cI3
UleinB+cF47hGiPwGc4Itj7sMSbdHkK87MzQB9mr1A4pVmsq89Ek8tH61sV9UB+9cdOMWwuiQP0Y
0AJqDn8YWanYDDt0wVPSbc05t50kpdXuhXiPxQRQAkDHQbLCj8QSBEkvtXncLYpy1ZLrXq7U5pnQ
NOVIDT36zISLMsAZj6+QYca8A2eRLCDKGmeLbEQSD4EoqHMXn1A1L9bJqjj61+KJGYHcTPjqJq4Z
m13TWf9vpYE4AYhu0U/OEMIUED2Hcv7wiNFcIq0BuriDw7/tt3z3y245rohTX4No+fE+JyPZK3yz
P+3P8gcBC65MXHY5RjhcnzqE3flw1c7ypV6jQ3RI/8S9fbl3+5od8I+NxtzWH3W/Z5Hh3/wbo5Dm
LXnkJ9iEp+wB0OMtvZWPVfcVczC06yo8Nja3FVH26x6DoMfEfJGk1GBQnHFo2ZOFACtWvib9hoeh
vhco4iSDqRmfRwDM3cao3pUeMRrkqVU6rs0Yeodpsxpd8F4june/lffhSIDYoTjJR3qjBuveCL+6
VG/RIz6JH4RkKQFuww4U/ZQb2UD2IWeQXmrGNJah26An24qXsg2LhW6ddDDS1oI4DecfEzpCn3q+
NWy/BGEyAEGvBIOG7e/WQ8ePi3K85EB4PJhYB+SutnII4AtFWwWkfrFgcckRy8C3wXvGb3aP+BZw
FyPdRClKeA6WcT6j3V/FwIOq6Ga+ie/xWzmZcFCQtisbAnG9/NkbG5YmUvAA7cv4zIzLpc2z3hWx
+/9bz5qPqo5cNsXfNxic/D2tMGtFfzPqrAFW6qQeX1fx1jEeCROUfuGWV1Cnonh03j1N7+aAH2aX
g/8ezzahv/EGP0pQPKLoOY3jcCJg3y/mWPr47JNgyoAasdnA8h326eR5w3vBITmdk+ScEl6DvxwT
HnP3GQh/4V9G+41vkqO9cpdOx0nE9g+VMh7dDIeJg4gP59PPoGzq9p9C4pyPqz/7shBADi4bThTJ
dcLX52/kF88avl2kuikeBr9dGup8uGg3aGss5x5+tIRwStlTZLS58wtwNDD+LPSRSDrdmh1ExmWR
L4BsY9gEi9ZkB5/nK1gB4hLlPrB3qJpVBp/efqxPOnEucC4idiAr30H6SoDHyif6DKNQzz/0CGwn
ZgzCydVrwexj2w83RvNuUM66BHijQu0OoViFEH6KM1hYbvEdqS5gsgxBjNEhG5zloHYLldK1do5m
d3PYQfVkAHmUwYH/rRsPET0N7ysLlm1xFPpbi3QmtlaQxLuU93Lh7SIiFfuqvZQAr134XRb4OgJe
s3uq3IfuK1K+TGSHQ8AQXv/wonfMntKBUskN5nyVgmOPDiJmzS5ra2EzKGcsw4fdQJHNZoHVLL3B
VqhvYxOtYtbiYcdsPNuDek1jpomIi/5THTcYOZ1mO8oH5ycOxx7VVisZyFx99wS8mK6sK36wPHj/
gQOYtJsJP8ASAgsGTZpMALvwSHZa9mBNbyEc0OcolgP4Nd6IYMGiFv4NWOszzyN5b97nPIwMG13t
Dzw+qvXJ2hWxcK7x7bbRtKV9ifzI3IXWLcFQmp16scV3yTdCxi0fegwgbEHYljHZkYjym1nIRtdl
pzATL4ak7xVQwWe/zR6IGgv22ZNbnW8X2QNXcu3uAp5vdNLurMMZb2NiXNEQ9ehW0KD3Pwj+I/bY
/hJNeUA+qnOuyTsiAxhXu4r6HsMZ03eGlvMIPgRjR0oj2KlTtjC7W+suX+Yni+YIYR0vkTWL/6Cn
QJj9H03ntdyo0q7hK6KKLDgVGQmhnE4oyx4DQoighHT1/9Nee5dnZq3x2DKC7v7SG5R13Z9unwRG
D4RZSEtC/ZL3R2ugFua+tMlB4tIegZIoBtUMA6BiklD+PFFtWqM79S9flavz0aR0rbDuGWOtl0pz
oUs7qbSwRYLhTlmc3Gs9Hj3oqAby231K4xGiUBRnG3nXrSrIYTv91P6zBFwc9Cl7LnydFx91V+O/
JF2WmgIOIeluc5vhDc2v6zzrcepbC97KiDurLm6Avy/6t90hUcIS/PDMMlDJMj/qRuB8keZJb4YW
FAoXiOP6o/MebJ6P5avFGp3jK66tzGbaY2UCi9vVUJZxOgEpwsCh7+jLHzMUXuyks3evz9UlFdDf
0YRruSpT63nsrX/NeX9VVjR9NQuBy6SRFy8aTje6wnLnX+FJY1sCYAXQtIomk2CF+rAtPrKvXjzy
L9jMXDuRE28fQH2IFjAipOnz4la2jbw1dLSIETN4/7F+OPEx2UYSBFqr4hJRSUJr6wnP69Tcp0/4
ZxZRna4SXWMH+hLLZoRYlIbGAcm0ixrN9U9EBkHXwXAUg9nWrAEp0MOQRNTtR0ZDgP4i084f4wet
hTLj1MbEBLA+c2DBPkYrC1w/mCdMrGnXd7ACKD7F7hlFTwbrZnTuohvQe9mDS20BW7f8AU2BD6h6
TgQsYVy75TTjuPigk1Y5RgVs0rlz7zyqgws9F2tRvBLpPJHajfZMmHzm0sTJ6J+epX/5a3u2t6Vx
vIKTU7k0sGNPC9kwWNu0TZCsAHnRWWMN4qvGJMDsyB15FoX29AwUcC+P1rvmFnp1uCdRM8kPpAqA
zzQoDN+aLWwIqT7ITMWtWQGMuWpmbAgE9h21ByWUa3u6lPDKb/TyGxCvGYRSxIBrvhnY+EUBCTGV
S/DR2BBVEGiTz2sC9QOmaW3dfcH7KGADPK9pJ9thN0AU0UEaYlz7YZI9GhDIt1k2pZurN+9Wg4UD
d5qbtaNnu9FnbhvfZiNyCix50ZcGX3e7/prZrkQ8/801dGAFRhxpLJAKnAd2IXQCDk8dThKV0t9b
k8qjdf8qejSl6Es8gJxoQtsF+6WSq6kwELhzNU/zdKXl8x4cowQ08ucw8L5I/zI+8yw45yp12ZV4
d1K9dTka20EuRyNIeo9ghLCF6t4Gt4A4BQv55TcDHGrzFT575rPEUI+2XGe5EJVeVLclygif2+xh
kYF0EE4FW+2CHQgdVXpPk3cCygzCF9hBQcDjOmlIk1Fl6CMw4d6DT8LCopIj5I+evUsc5Fx+vzCg
pqYQqQeRClgS9uJoIWaJvaq2TzLY4ZsxGEX7CMpwaaGs4FeW09gzQgvUPW1/XV/mPqD45LL6TJ67
OsiiJiDEu9HaX6dpNz7ClRuzAvi9F/wehGO2DGeFNhoSCMitoXqDHNWFVij+Dr7BNa/bXGf2cIQh
wIEC/RGs+HOi1elnmFn3jVXsbvJ6lG+MUarff8SUXh7NbqOVkW/w7qmHlK/Q5dgYBbIJ4xYmboCU
Bh7oEEvu17RGRsEKLEYrRFSbn3E9EIoEDYf0/OLIzEb/tFdo4HKik60z2L/XadcvVaxvOh/hPA4x
tKc7mu1iD5sEV4AG/tCFVJKKxFhq8aonL9LPMtIG3zBDo/JVGLR0jbyu4vnB8A5Q9X5UoS4nMg3Z
Ry04+mizwLhiaZ/JABG0yd2eqcvIr2lqMTsBmpufvztgDH0LkuCrXbdzZkCr6+qza5CO/qdBOT0V
37eltFd/md9V16AdhaN7AC8U6qCN5YC8UOoD2BS4jd86mkqPzQtFCTBaA52zAPoUVEkwyQ8GO5cs
0ZUYX6O9cQ/edYBWBHUxh6X5lynIgfWOykHD+Hf/us57O7kr22e+xLjJNkPYmZaE+9BEV9bwoBk1
6LrPXwvG3p0B6Fj/vmMs3AKFyYYjcrP4jPhv8YdaU2LDjRdpuwwFAM0lNOJsYNPkEVyH1/12Qi6I
9B+5t4s46J/7F6nO8bmnTKRGhB2JKy31IkbrHQbktykVA2/wAxVsIJcQZ35vY+0bN2BRDTqytNfI
NMkPpGkuTSGXEQmsizehYiP0IMw2KCgLBP3o66n8iEd/m59H24/1T7sDz58UOInYy891o9/mGruw
nHVGrL+md3Oqt4H1wmZzloHQzFgkNuRC+99FXV3KudEer/avcj/wj6/RuniGEs1JPakHoPKzqkxR
zXkhU/WMelJwRYqgkdaNK6NpSU86RIIIkgjUMQSMADm2VwfUPqkN6SUnvdBC+QXdxaVnG/VIV4Pk
iR0hZUXcMQ6Ayw974OIRUlnn5FbiPfbAc8fXb4ahCD0SKj4/+S77kpfyrAnRugRYrYNEcODAWDKo
ZjdXiKzep/zuaSUw025cYqUKVuyRaOVE0ed3KO9wcmbvKnlo6ZkIXEcFkuPIMf19d45vOyxVwCSs
3QN/dACeCK4h2OOQaPdMbqvOzyaWf55oKPKdx8RyDxwRH4PXRS931iAE13PEF3h+O9evVzmGPRio
CMQRUYNrXKfFsUwvG1KlG5xwQYxybics6eXGBaQ0Otx29jxP6aEncniO69UDAQW4o0m7QQz98Did
/yFQiJIMoYervyk4QHvglcgNyAF4CMMB5iu1RHbDg2YsAy0YGJ5eCNkvCFjMutcVgEutmDMoQE6q
HpNJ4+nOwzJKl+NDmgCAQqyItx2gqrghGR2BDHTgF5PpUNvSLumxHx4/v8/0On6rrb6AQYyGjPBl
Qp30+Y1kFoxkvg5sLv0GWNBg4n/JROBKowbDL3R8WBdkKPx8AP/5iQu3EBkTPP4tmaRKZ4RfvQOk
Le8nPVAjySUta84xSoUoH6IJyjWR0/AL91JxTop+hldA61Vc2jFQQG0r/bQLQGacdWw4WPjsxREh
6Ywc2Xv2yOYU7p82Ueykfa1GIKixzoirQqFVKQM6J9yaF3r40NrMx3tdG0NqIoFyuy0xsOKeba+c
GReqqRwiGj06+tiDSUYHuR1nUJwbOGHf9Hdl5FegAPP7ClqrpGr8CLhNzySW/167RZ+BtO+ldHQ+
3uDJy4mO54OBwv9pQFeddrxA2akDum7ZIwJeqPBeJcNEXOEyPivWsobQc1mN9J9ydtG2AgTS28yy
bJqT0iewIXf18KQgPtYUwk3JREL7p3SLD7U+QuxPiZHOVMZoBobNJ22blB+s8Qybvnd0agBUBq1A
f+VRDyRHE6AKRHWJ+AqtkRExoQCx8wC5U9cmHEngUfZn1YGKy0ls6ufmeT088IzJu+97/nXGs/uy
emZJ2UzMKgann+WJRisRLG/p4u58RR3q5QHzedp+g3uiPrMYaMtg/etH2lSzi464QkADU6uTHG9e
M7immDCdb/iIiV4iTX7wSjRwaEfABgK4+GlSyK+AetBPsJEaejgXjFbRMM19TE7g1tCyww4X6RRN
+yd1i+y+VOR5qQFTwetkYkiuae7KEVymNizLmElY3k+lelPd5u09ycxV8dhd+3hkRFURwaqiJScI
L4i34fbov8AEmzS3gUogPWCUHEyM2BWgbqBcDCyii72qr6UW1YjZIM9kObzYomXz0g63IjGy1DDR
WVQXivmt36c3GcI+OqfauuSZywnNgE4luThdmkPfJaXBDolIYIssGd3ivg/RsRhZaQG7/j1XX0eD
nIyWZ91swT2wUdBiV6WpmOznLjzy7Dh8m6wttm1tLJiFCm6JNeIMOUfUxuWXtCq/hv3nu9qKbIzI
BXGokZiEIjKA3DoFBodFA1cacaTCMZhAIZSZu0yq2fQcMZw4NUwSFGyhozHtqit8bCYKelbB2XAI
bcQJBKQ4NHgpYiM8Y0FDpoBig79cAjIFFFQ80pNLBUwkS5jIQF8Ham9AxDF+rv1akRIpDzBdkgxY
KSgqBbm5tqyJhuxbALUx+3i17ZDuIjRBskN/hbVxluIPqOEzo4ZzuUSMpkIh+hKCv2XgXiFIXbl6
5Sqdh9XYG13IUdy93ziCRXUFUA7MVwBsj5b/+x/dOSjEJWLpCMvcAU97KFOQcZNuI+1RK0EDputz
PdiUE1WIIycyPBifmI9lp8WgIcYN6q+sGyUcpBMWxuU7rAbPBvj68p6tO4IZ2IKN9KoilIafFo5w
WQX6tRaIbvyO6caB73qhyB+jA5LhxmAGj6drDq6lBoikdIIhF+NTgkHS4xKS8nOdEuR5ESQCGCCv
IuxeYW7OS+n3Svgym83dOpiVub1QzA2f0+0c0JzUFKzUoGqHd2uR0+gd4ILd8ncoXVh0/F1nCTwB
D/Uoy4HkCozO0wdBy7gO8462PZiGjzXu3ovHQHcW6SDgX6hTgXoTnUFzjj4PZQ7L79IUsfmD1uQM
COoOWMPzBPUmh/cA78gC+ApUZgxO3AdtpW8+a0Qbst9+/ZyacRZcI0qNJ+BFcEj0O+mRUX4xlIFZ
jrDT5J72q9e/279OCOBIyOG8IvBgXqdOBA+ocSicwPYVV0dMvYC18WDBpXECIIXzBv/cTvNiNZDq
XOuF+Q4yiITIkFaEjaiVfSWLzi8i7fh1pMt9rBbKjndHbkwnkS7/87U1EMBCD9904LN2/6pFn9oT
iCbbKyJC+/uKi6NMzZkVIsDZg+cX/A9MzXGJcj4NSmJxXW0NpHEyoxtrz3ltrD4qHCY6WuyxMVf/
IvOq169XuaD8hO09eObn43/0iYz3UxlJr/Q5+jzcWoaUf3/7w733cbnzbrnNPS1b8Ot3ZYKzKdpC
hbtVDVQplDtkyusLGCNonaYuQ0R52v66tF8VE3MQCJ/80DGLqVUKKl2FgDI8t32OV9DQrIubCWjv
qadmzZmvAvjj9Ng/baCLQ/ujvzIEpfTsu3mjqGMWvnJ75pSt+6z+HNru/GsaHBtNrOXk1ZXUkRTe
lMj6PFCgVttjm2ezwhgmVf+o3OrD0JJPvBDtawE7XZq32+CMXaGndlWtn+tLQkPuzhidKV5OtdsD
kUJbjcaJ3fMUG4RvpJxRi3Kl04UYaYY8d/ag/8BI8vbpllZm/GRvAKF6ThFRAIgFvhQ+ZbDv74Gz
8t7FNvFKNY15gfT7vUed4H1JoSRP3/eBMTQrsvmgGqUPpwuJbP6YP4q+9J/D+4se+U4uNbcudMKO
eTYm3e78YKhwM7i+x/N6rLGnsEDxk5ygsFH9vh73k/bqd5cP++5uIWt7URgKvjt6ix8SafyPXbOn
taQZVBFaGbzlLBkMqw/gb8T9i4d/kZ+LvDijwvlYtKoVle1lowFVHutK9a80UDdqa59IbrmySRKV
gabGY/rsP/tm+ZY+yecRPg80b5KnKztHhLjHp+R4pM6mjB4DB/UR8fDonSDNTD62BsPhFUgTM3Vx
QBS5jcfhytfuRY3+8vb7vbvfTraIKYuvER8M2ALx34ZoIc8GSHNnR7wmwHqXBqFzR5MHSJSzH433
Cfnr9uFAEHWF5LOEYo6vrMgdGX69FtgToplsT9WlPUU3PoJc5dE+5INeOHrmXElcbkkRPFSYuWZY
gDEUG/SZEKxHHNueKpES1ZP7gS4988uW78LDyEVDcJx5mUPs+fueIW2/QVdz/8mAWwRszWNXOOTG
8gJd2MXdZ7CUXvbv4O/Nx3hCcBNuMTMgjyELAzy6HBgcBEJ7HuoYHxim08sVWsTiriBHh2w3cqqB
jmj+g8+bXkdpNMzZFtzln0vADtjl7mv8+1uMvyAXOV9xzCySVX8OCgTATW6vuHRxA8VVyOJB8ZnW
5Qzi5QHd4o84fx7kJRmbN+LnGpG+tDwem8FvrK5xY+AO9D7j5bkdykdzA3r172nd/fP07m+J5p7F
xwjFZi1S+WYoJXy30OXuQgt5ZvHWxCWLNyBuH5BX/r+ZjKZdqNNOQYeb97VWDl1YBObfRYvLFuup
RcBdw8RCSf9/dUASQnu0HquJzY2EpshtLabtHhCNHCBp0+7bff9NXx2RzbNC0y1Uj8pKmpB9Ha/f
5CqfFQqQiPKXO1hO8WeFF1j2T0UHXImYOp9cpFhRm30HgN8mLMBQvO3eB13OnSsi4TtAPzG+TvUA
WjiPjsURI1LAkpD87Qinv7EdKisuoJje4h+ko5vQDvGFTsX6r8fH/ZFQRJEFNff4pAsFQJal37Hs
rQ1FGToUIWYTPicBt0s8xCL40Bem4j6NfjpEaNWZ6SkRGvRL7kAoL+sJteEHfwiT1xhNycXE5Yi/
bh+F/zx8+OHAdk8cG2+qa+rGHjrNEpMBXgzTBIZIf2K19UldgsTU5t3kEd5O9uF1It/lGSp8pjlZ
ywL9tsR2mQriM4AENBXIWqwRHDC5Q6wBnrtYsui5jFlKkT5DAvZzEM/Uxg9LXBHL5O9suIVMa4Ii
wQZUrB3xpxbZU3uan56HevLfF9tT0GvMY0OxG8QKJAj/0xM94YYvtBWtr1jMecTHx9djMW+nruU3
A07+RDLZUzkeWCXsfCHg/RjzXm6hqy4bPbCnjMDYTIjw/nx+lEj6U6sVO0ZFLN5k1Yol2PCuxMnA
jMQz1iq9iQY6PMsZo4QaiLY7moKN5NlPWKgYbHxS/UgLUOo9BXYpt6oQBS1PlfyYYU3J4rLownOP
tLk+Y8mxK5F9mL5jtBd5e+I8Q1h+UUQIojjHE+XzGDrvcrS0otrhOY+ZoPEm1eAypQbXUtHpZKw9
lsbHZMRiouEaPDhswJeUf9rXCRYtaRbIngxygMm4R+NG6MBzyfKME+e9ZFUsgBFYx3wLn8G+UtOj
Sr7BPGZKVjpVPUDL6X1X/cNLAyTCm1d5+mbyisVKHXEbxYIpVzRHcyIjph35TlMdugADTCeOY3mm
Lusd/yiOFA6eCOsF0NXI0RNbAEpcp1LY7rfcpxbHF7Hd810z+SCiIDYXRg4iAshHO6RPSkeA4562
KX3c7leU5r+8Eg3IevaOzSMBgH8uKVBQNRaXT50S8ubj5/4BT8CGb++Z1EFZIqw81BjCVUxng14H
L0Wnz05BeK/Ph49rcYPvvp48DwaLA/NOLpL2g4smsuQB/R+f3p5BkYQDBHMLVITr7Z2Dx9rc9yoE
QJd2IVr+U5Mmy5AOc065D+f2m8cLZ3Bqp3Rk2KePuPP44fReJCRB3+LQymwPrGamBTpidEiWM/1a
XejQllNGUIJuLoovRj7GCs+21Qh/HTQkImAa04Hh9Ir3gZvjr5ZiSBCZs2KjRZf9hGKNW0MzCCnq
ltQIjPj8uqf3ey03jBRhFGEp1CGAhyvuy2VVLSiPAXqjB/AN+Ot+aL9RO+YCc5T9UBW6ubAM7BBV
HAIYMHlOwrv7xhHkzcl4jtqp9k3b6L/dKM49cfJVf7+ZgxMUh1Scjg+CobISC7+I5EC80J3AyKgQ
GgDmr2MrFoiN/fuKrzstMb/rQIJUyyPNRWfEJhAf4jtuHmgQhPcFwuXFa4rfyO1MCc0igIhA8maP
KtFnzklor+H+jh/f1urtQlyB8rccUp4AK8oMskDxUZ9OsXzBhV50dhnzDcjLLcplFcKuiNp9tmFS
ARrpTlMcye243gq7CHa6GmBENDb2XO0olRc01RgFgMNR0guBivkOiqZ7m+QcbSuqcs2ly0lvjBMZ
O6i94oOmSj5TsDjNV/312ZsBtc2dMIAGSe2C0KDDxfQZbXRqesbBNMJMNrsSozNIy5sWWKkEXDHN
ahSvIXFIPnAOtDkZTVpAO0CQMFd5ifY/epcWI2nYSx1K3AA/UMoRAxwyPDg7iNsBgwUMJP8yd4mk
FFXpL1a5aA/kXyMGNkyy7/uq97sao1avAmX3DnmDvT1mgs2vcxZfXxOGkcBiYBHVb3S2kAtBwggB
Gtyf9tIKfeUt0vqMgdgnkdiQ7/jGgV1EYjGITS+yJJEQio/X4n7AR+sv0rCJJiIMFFOEfIwJ5NKz
2Bz4NczNen6nOw/bRm1Bj0gso2GW1ZNhtOHyOBIejpgqISUMQIe3Ti9zjtOAxwhgd15VMTAR1hQi
mR5q//QWEUlxRuANFzzd+7e9uv3CLtE9zpKzLlwAZA59tMwP0o80JQqLzuyXCAV4ga3oH0qpghcT
nIfJ2cfa27MCVliCuEAzBgBRwPInSRSbqHUrNRQTnvjO2SxyZQ5kdlT8fynvaEza+/dL7KQXeSP9
TBS02DRox3Goiw+xGS5AIQDCouzpSN90HWZQ5JjD09j8snfdTPrGs4ZPSKNINUha0cg/O3BxevJ3
ES0ZlnGKvJh1/7IM5S0YrVk/1RecDuCd6jOI250JDNyOlfKoIOWUM4l1OLm1lbpg7OEzu31/0YIW
lC7K8G0Z/rlyHbrA5IIJXghjy2BkaAQ59plpyw3QhdMjFI/W06JedAtjguazunkf0VidK9Mslvb1
8jktfhDtrE3Yd6hJM3i8jJ/T1/a97Wb39bC2tkwGUYLWJsrunA4TiEBNR23PTkblfNIFSqiFbK/A
mNBUi23/VE7a+W12/rF+zd/bl/TNNfOytIzQam0kDxsCgyFUc0BtpUViuP6Hxg8T3eCjiP1FE+32
K7bP12iPzs710B8eaJN5zQK58VSa2cvRzFi+r1PrZwAuzAZ/0akY5/HZhxqO15PDPG7ToLLPRQgL
8cFF+9XRXLoFDlz+Mbi0MU1NB3agE5lrdS7P1YhmV9CHegQb0aOES87uOb2vSoBvP9wglO353m5B
z8sCt/gRKDcVyNGvThTU/xV7xP4iFWsl+ib4BqHO7TCppZ354tmYQMv6yP7mWLPVqcZh1Ed0xp2H
gC4G5aJc3BJmdUm7qmMjfAQt65kw5Bh+i+jzB8+aG1BHHiv5CkSeMaZYAXjSceekoG08kXHcffEn
MukzhN62CG3wzIDj1csSgdwQuU6Ul1WPvy7P82rG0jGFDPtlnS+t2PBporuUoxNoe6fLzoxof0Wf
EIGyNaSBglKmG9N6DnUsUwAyfSgQqNvoBsBXBneCwNkNsQ+cncbn3ePMCHh83fF1KMxcbggUIDw5
HuVApXC+ue60pfkjz611ttYP1SaPGXY2R/vU/8ELWzrR2CILoFtae/g38mbIHIi77Cj6soj7xgDB
/Cv2V7ozuNkie26yxTHxj/46H2M/s6wDOg2e5VquxC2KomV6ShJZlLYiroHBZCs/uFMXPBp0Njjl
WzykrwVjEkyo+ITY9ZwNaYXjmrV4QZniXDKTfFv+tt9XAtQjJuY0eD66cHfeDHJwcIjbPbmRlhaR
vhilzbYlD6HVy0h8+0RHGqFQWhCMI0DmoWE2BYzGajSdk+nwWN0X2aMVWIt2Wn61JFaqk7J1XcwP
3CHKYvUy7tf05tF+P8LDN18AoMafSSWyzi/VIoCNu8UdzwjVEz3IDWaBQ4B42y0w/OcUWdNyPPrG
0GHECP/rPM9ixrFBF3xCa27NS8CONLHHxUqb6J7hq04WQ92J+gh06HleLh9bsJzmm+YTIQv7KfSk
U/eiui/0A7fZgnSMRA1BaAa+RKAOgadSOLaAl8mOdwxe2ilpH+sdNxsHL1b6PkjFbJrFK3gdr/ge
wx+GzMV6/OU6P9SB82Yme4ACXZCT7I/zqk64vtFojPo7pFaOm6vPmvZxB3Cxv8E6TppVG9pI+gFG
AhO/HQOBSR6Lg6mKObfCiy82WpHSH8V5TcjqeSZRAF81MwGLV/LS2+Y2fn3lLGTQHF/nnx5pZxb2
e/JQg7YIFPId9H3qUAkztwpGWP5Eqc9cgmKh86rfIsq3FkGWKNhHQD0pgVbttAVT/EgeyXtjn5BF
WnB2MUadFCsOT+SVkponIQ4J1RGbHEarR8LpPzwST/IUNPKTfEZawRoUykfYyrAolDCPrTlY+izC
RZLr0bgdGKj6ygQYtEBWvjfalCx7asX1TATFi0gAeBTP73bPhIFpA84ZJMbD93PP5pJSlLQml5Sz
n14u+tvXlRbKG2kH1FTd0GqWdgCYQs33uy/FBwaEthiwzPo2fq6NKd4BnGC1EAtlCRH46SdfVuIi
uwAYiVsnVWLPyn8aURYWsuL09G8VxyINMB0xb4MT+K89QHO62Y68RQ0bQPowrZZXcTZxnNqpyc5Q
9uWsnIldAhqXSKe4p/SC6WCD21PhElI4t0czkzJOwpiLLjfHfOWdri6tNg/PxvCJd6f4Mj2ypupP
8xoPDBcRYfv6zNSf807/4UjTCCy2VwVItLJW6c9iETDHGNPXeRElrJPnBMLPG4E95txQZ99A03zO
Pn3dTlCcDP87cs7uSfUwtfi7sn6C4ADteAKViaoOhcnDLzL3/QwR4YbV45XL0d7C8tPwR34Tv4gI
Z94OsiehjdwQ8mDIZvDN+KW0u3wzUMxrEFRZ41WS4TXzGZ9E1+/tfHwpvdsBsunnucIm1vngSbjK
7sLGNnb4K9yO743Y4c0MDA1bjO3FEQMu48CJzXFel9PBdJGfuoYtNr4aMuPCmZGf/iBvt12IA4Ue
GXQmgF5tHontK9Pn+rZghLDqgi4ZTjljDlZhGd8c8mhH3LQyxmiNLzBOxgQtaQAt0l7eUurOzvNi
Xn9hdMCQjFMQVCpxqAwvc04eTMzgY/NZmZBKhCP4leMlDf+gZE0BlSKOF7h0ildAd9pkVdP0WYM8
jz/U1CSRwS2oYgWvb0xXYU1bvvyM8JIlP9sbaElMgNHAx08A3lFXo+2kRxcIqpk77K6A/Gnc8Dw+
0zdHMRUuXQEgUP7pmK6lcZomFElMrNmuSFjQcS1npGM6rWIVeranI+pseDBULj89+W+HAAbEf8eK
ihSugquRIr2WH1YVu56aTHRK1eC9oOoE3klgGqXMGfwMk0bxzVk0WuaJOofdkyejWT9BzLX8lx1u
qMvHbdpsCK5MfFgS2Y/O0vgLv4h6XHZirPQXkQ/w+NafxbCQNj2ds997PCzec8NrQ3UOgJtz9ASA
U7zDBHTYTI0xGItaPq5rxT9Wyzx8RrcxuxUDny5oAqbjPGjmu6ceHOxCOcGTZ0lwqNr0mUiYUlYl
wyIyIxDBU9sfhTcGNHJiT15LFOFvi1fCd97+8SpnlvvFF8Huv3OwjeRfdE6pHez9g2OY/O++VrcF
Ay0yF1FAAnlTzlPoxgJoVHu5EoBCYGBCl4DQqu1JXtGLmt6OaAeRtzQL24fZkGoglX+FMesAbWXc
Q3bWhYI1M5E7U6Oze+dE0MhrUPuGmwntHbHwMS0CDkyBTqWD88ZhmfSUodNY/73OcXEPyvi5a3fI
lw01ohjrhjvgoIyw47BJyspFXoFsliZGG1Wz89oUrJK9laACd6GPbW2Al1qbWywcFOsJHDo6kAjg
SXCTHZuapwtxGabhL8wVq5O91peoxkbnIPMeE9yrnVUx3ggcDTAKh5o1IIE53UArRHlaeJe4dmu/
8K7B+R+cAJRHMJO/4PzzcrKrC2zlDHIqd4FjX/9gUXfuTz8G0CnrE4scGNMhOh7MQOib/A5TEnxK
A+jcQs4T8Yhx23oNXTQqtJ30JUeXyR02/m+zv07uTNoAGHEheJEIhwVYSA2SfxO02EiGGZ3710j7
xthvX35hD6EuyBlIkmRggwoC2wIxLsO5L8QvUE0P2g+icqUVdxmLCmvRT5lvk2EzZ+KYLb0Cp6zG
4Uid5f/yf/edRWL5ORFcSDbubdj6pJJkCQQAx3LNaDTTlvdQqZIywCslocrmEFRIp0TmDWyck0Vz
RbWguX60BjkcAguaNJj0NYgnZrgxX1Mw1KtRKBJ7VO9pyRBHSX5Q7ILIQv6D9RLUQ4xQRd9UXCoX
yhYrRcYS0DA4VP8GSqe2YBuReIf2sj3Z/UQS9E/X6FYKVnVa2FDgYkG7zIN/NYkPJdLVR3upIwVc
S9R7EdAkdi7BSBuDi2hAN0VylPnY2rAQxUftZIxJQVK5IkrQnPyjNomWzs0rIjWwqJeFV6PoLLE4
fTk2SRj+wu747aFmwMfFvbhohISi+hABF/UdKqeaW1k5tsdjRqLtMsGnzAOs6ivBw4fxumr2ajpK
em+I7aPC3Vh94tHCTOtIid++xlinDozg/PUkQ0bF0HL0PcLDv5fZ03u55hgxIo8ub2Cbrj1ynmC7
6RdM5ei/dwb/lYL2n8kOplc6xM8Th2C5yX7yDQ+TU0oEB80FM7AEc00U/5QCPfvYSnsoDzzs4dQi
lIJnVbthbscQGEN2RuheixhE49/hFHUUZK8EVtrq7Heb/DjcmZ77z13hU19M7BlLbUPl2Z7u4R0P
OIBWlI5lYGAjLO4JYdRF+tSBmeTQoXaVwEjOv8YR97yQv49JLsfCI/jt371sxbTZF/bG4gPP8Uhf
5QxXabVO73EefQKeafgJDM/wMj/zLe6DGmVTbSYKVliigVjW8I152jzvKI/zeJgQ95rgM16nR85A
nn3zhYl3MTfjpFqKso+MnPDz2Vt0n4wL6s9wb8awk2itMjqDsIdTGUri7M+HR/V0JLMfpycsE8OU
STOh/TOOxM3IKBZHS24FeU4G2OB6+i8EKQyNX475w30hyNwpNYYTKSK7EPNzkeBInoSrHbK3EY9z
kkXEYW6vS33LPzz5h/tEbNV+kiftBGDGHOmcgwm6R2yE8+51OO9w3oMwSLCDmYRQuqoh1QW3ysHh
iih5RqP87BDbuRXDrtmQ2Z7Rudj3c3olOdF7+/pq54To0JgYbHG+7K1DK0JMIBqpYV/ATEGbYoLK
IfsOhnoHavPpWVlYWD50KK5EYyiCoTtu63jKvKGouP3FNfAKw2D7+Npbabk2STfcO6AR0BQzA44K
9dHVM2kwYuNA1wwgOsgerhl3h7cLEfqsp7CpIii6N7Y/eFpyKbyQ7O376RnQ3KhvVsOPhB8ARp5Z
XIaodLl91G0x+cLIhLY1drB768jIlDYex/prYawJMDt9KWMisqR9N/qpTxUImTFskXLHVPZNk5ax
34WpGT7Wf2NXWuavFqI2Sjoe0EViIAXd8D3g2SrH5Qx8MFMP2JdkuaL+EvH/QKlPkZ9v8s11J8+V
5Xv+ONAX+My0Y0Xz8nsgBxltXvPbgbYBYYKc841LNScsLdWTOjeWS6rRA3WCDfkeGh9ATWWSA6W/
CX8x6a+EMOd5wsszwrtixCIOvSsIbcBPABzof/fOsLxd0dOEHTC2fsibWQf3vzxQAT6IGzcYooIa
B+Yg6unYKbD5QcKW6ePs9q1HXENgkUSdFYTeZbUZwiLN478cxW9JZVqaTBUtmyI9W+PPrqJjA69s
qfnVUv+lOuLEOf/cI9YQ3bm/mowvpfDUSQTIYje8OtxnUjX0M275aNzrQaW7JNlV40sMEJCyersj
LUV/njBbbZ67YafstEkdnmQPK4+oWt6nuCyQn8HV/y0wC81nt19zgY33L3EHAL6WNr9CHIeyf9W7
o9UdN1lmYJz3kC1VmqT5lx4IDP9ojN+vB+IASU/nvkavajxEJWGKcz5ge07EcSrOfsDp7kmUGTgT
+GICIBrECA4vJYa4z0N56tmTZ7epEtbVwZ7WJ4x3EZHJHBR6GU6h1ulOFq8xmsN+7sMRmZhL+8de
ixmpeAk7fDDElULzqKXPffObf5mLfAZwjjY2V5kcfT8VkQfb6nXE/4s5HeMzOrL8c3qJ4AABLacT
KzovH1/U0GJUco6s5PI3tygi84h5WCKQEA9ma3aoiYHjBN3DSPsBwu+Id6RiJA7y2n1+j1ZaKgIi
MiLMPwd+S9+id/ZfSITMx4coQ8rFmQsTTTnSI/IL1PM8Y6lCloeqMy4TiXKyCp4h40WvoF69jVNo
RRGG54y7Jnu68D7WvEAa/jpR9PEoKJ4u5yyctBRQV75ATo3eBYnYpox5jTSbS8u88u4ny3AQKaW4
qZJiVf+DO4DpJFkWBR8weGVC24OkOhWtQ4yxYtERMHx++BzxwxGNbXiI9GQpCNb91CDZhmgCY11g
v8CsxmKbi1uYHUth/C7IJAP3Fa1J+NFPSp+/kugEVEVsCbFy0B+kMIfbJRC9TPN1breY5zzI3p7+
mckDPpxpdhRMlCNPhYSOnh4fvKojXlNU9tL4lIo7Kxq0dWBGeWL3TiGPIfRwvF/pTZYBCsOOCLD/
hVjx5/9IOq/ltpEsDD8RqpDDLQMA5igq3KAsWUbOGU+/X8+W7ZlZryyTBNB9+o86vcGrq/Sy3mgL
/MuSw8Lwf0Ay+q6NdStBCmxKScCWHUdwAOI1S65yN870hHkCOZDO3PBQyBg+xcEqBZ1Ff8lgp9/g
E4QjmXfPBEQrqbqjKBPvJVQdPxFc6l9ItLkh2NI/2n8d8t+XClgDSEF1YeyDaa+GXeib++ZISo1X
vmKe1+CGavnH3tt7MhCljxgo5/822ZH0MazpqPrqlThmvYtDtX/v2Ae1c0BfIEoWAV6UiBaMtXau
DjbYreO6oY9O6kdQvz8EI8CvYe7R2i25BeIhH9nFxRX6FidpsB+6BUgoxW7PAgwBLgbn5j1+UxOB
UKjJFm8W4G3KbCHO22Syrr5hwb8vygowaPXcPZ/h6hcvb7sG2akZmg4oGVdMhGtrax6Xu7zTToEb
HhdPTIQN09yyH12ystYt01C463/0C7azS7qbXcMLoDp+iBJ+BY/WuUSERuKV5P/Ld+lOzIHhrv7J
qVBcz3/HK+HHvroLPaCcp/00qYQU80S4FSb49sTMI7Yk8ZqfT17uN1o6kGRCf9zosz4DW4XhSlAf
JdD3CQ7nWoOFCKRB/DCpFc122S48i6VFPPdEODPng9MCpyYM04xWzCzDIX5DaxlpvsEUNPh0g8Mj
kIEjr7P3immQu8SvmIqJbGBuq7ZkYK7Fj2lvnaZ9u+m28s+yV/bdv+w1/zT/CLnyYt6r+BqcdSsW
D27y/9qTwYJozuFacDU464gTCzPeNt6DrnCwEcOuuMfmLXmxxBeobM+2l57rP84P52jAW+mHO/lJ
IzRQP9MO+elA1SAgjLduLAbiA+Unl/wtNtewOy6W5S29CRAQ1FWtxWbA07jeIS8lI4qg0XXCi/N4
NJlAT9l79m3z1nlA2WuZg5naOjDSiHmUK8BtI9ZquiFoVc921kX5yUmHF48KdyrE71m6SBeBfeJu
pWN5OYo3I/BptpwLB67kklzY++M9+nF7lX6Bce7L0wQYF10mn2cj3EcXMYjG1KiDAbMqMs4Djzbf
1TtBO5/i5YgVONgEG4LmeT+CKdMprRcbCKQakMu8tx7wcLfsqF3UW/NhPMKXclEe8b/w38AIhL30
SwhT/mpPdE1MNAB6n4QYo6khw8AjccejZHBHrc+GIdKvfuNHVq4DVkIaJ4O1dbXv9tn4dJ5MXu/K
1XrOALUb7Yno5TQCBGgP4yEOYYI4+v9+A2UFYC5wTtbv1beAOhG+//epii1FnL94+iZ+kxwQ3lG7
/hbMVikuExZ6kKLKpuJxzWBu/63e9at55dG2mK+YsMBKOVfxqFY+qXQ79Wkfs8Nyll6MUfJD3xhb
8YCJH8FRBzHlfONL4qpbzmYeV/8h7WKxYHi/itMzB43DcogZksChNwUnZxBlt2PNm7fVrjkK6Na+
EbEEua3fsHIROH9KX7i8uBFMGr4/RBjFsusuXN0v6A2VsK1k4zEOMXPXhHki1eYwERNzjL3SHaw1
S4GVrowv48v5Qok6zKsJ7QYliPfsTouMW170bxmU4i37JSSKeu/xO32QpkdmTosqZKv78tH4h9do
JpABuSdYxxfHVfT3YIiE5rCqmDsj8wgPYqFVhGZkwzZEVrJx16/OWZxiBNRZn8CFQfHrvUBWYdzU
VwyXspa3AIVfly+TiR+W4NXh0/YqQj/ojIPOIVy/opY1gBBaZzgu/jG880FwBGNoM0RMQ+fxr/Ql
7JvKD0kRIIzVjnviCJhGIzW7xT7/lc7SfTikp+5QvSswCyQ1dCv+gxTZO2cflvE2OVvTUSd+AtiQ
ug5OQzq2E3dZNkjJRdnm2/gGGIfz8yLmDPFwBZ/TgYifA0cwvzvEnnXWdytzVx1UzmAJ5axkg/IO
qA5D/wsrJ67NdJf+jFdgxjOfXrc3TsM+PqbH/kO7Gbfk9YnnguWuetXHclfviHn3EROcu3Xp5pvG
m2xMymvMSweI+m25QZK31V2yI7a4zM7dv/GDspiL8yVf5MuwH6/TTX/O7ANM+bwCdnUKCvS/yTfn
iBa8iZcGRfmJtZRuqEP65pzT3/SNA2YkrcM9mwSPPzATj36F2hBiBHIVoQKfboY5nVmnmF22UGiX
TXW0LuO/zcRVo9/7R1B0gooA8DlSO8kSQm/oPthP7CfUBnBAoKcELCkkhInZnc2VMZ5nMPjLheEn
kNi7euUXCUvmDfQMmBYuuzmIp1KcgyfAcjFOaew7RG/s9D184H8+XbQlQ7cHf8Rc8h8Hl567Y3lO
7/OLNqflaML4CrWFOHQsfsAOJa6fIDyosNuGnnk0j0Aoj/rHOElv0kT8tKeS04g9dmNzIdCPoJcU
SdT4TlbiSrLPHv5PbPw3wx4GcRK6hTdgTW77A3MFt7nmmvvyD/y4/C+GrxEkHyp6ln6xGEWMBdV3
8Q6HMTAQfwNald1GL1yzvxExsuD+M482nZ/BIU6/xZPF3wTkHbP/MFiwaS80ogL26Otv1jeBQLGs
sgpCUbOQif8S+zyBc4Irda3DeKL2dv1MIQ9V9nRamV4NDE4I9SAYNjbH/wje5aI9lItQ2XXCcsfk
Zj2In4HRZTgdPvQbSGOMSEi6tK/yHLP/a4BgGefAQDTGc44TY9N/lDYndqkXIJx8CQZQIrUdzpp+
6SAZlMDYi6cTSwyJcGvBhjE0hSvmJ3GZMjYj8THdmVeed4GqRZtfGCZBQL2JHQsHzub3vylL7MBi
BBMii+Ehb7NnfAeT3SxiG3zYSN3AEYKYk8QqbMm275co2xpJoO/kvMOb0td7Ihu9aK73oZYdo00A
PUEOV0Q0wdQFF6svCMVozsRBnIqpPo4lc43lzkpMxM1ITmMEYOLN+rWO8Jk4YPtXNT53QUx4Aece
Rl6uYFQ/KuUtB5TrRp8xu8RTNY0NY7WJNx0/fuXaheN23Z+Kg/VyQ5GIjhM1BkWfDajafkjaw8R5
3uQwOSelS1fDNqccsCU5mdIOpSBVFZ1M/FeWxrdiQt85tSBeElm9daocnH7aGsFhmKtT1E7HsdIP
QWPtSUpDlc8lUlMCaAIMxWud+IsK01TXYgLEDD1tQ8YzlvoB4xNGiYz29PbT1mizdZti2hi536vn
bPoZ7eCglDhYSce0HTfo6C0tSV3+jGJ3jIMzB3bDmC/Fdx8q90ZVrhomNm76mSAVfBvenLFINsT1
zgDF3avm4whyPliyvRvD9HuMHX+XiZB6zGYZ8owOEAbUh3IfEnjJuPc6vBldhkSevEt5KUkdxrVb
vvctYIFP2C1dsiAA3M9DCyBD2UJHBjcA5xQdcBi2C+GIZKzN6qMH2TFkKHjm/dnxYqP1lnsZpq4e
nVlFZXjYltUh1Odz0Z411CrE0nbqZahYXwwOE1jNqt5XlXRXjocQai32StFZQY4EUQzZ+BMQ2ssZ
TMb7JzsEK8MsaD8DhrWSTKci/ExJJepieFKuEcu3WrzZRuFF1TbA30HRbDiEntWYbhrO7pC2rrlr
A8e1wZIps8AbxDBMo7e4vwzNVdvPuNJXq956NSws011lsw7Ct8oZVxXsSavR43iURRVPs7XlV9IA
9uZebVO+AMLJxz206vq9Nr6tAhvo5DX2Q5p38kPDX1yUP2oeeH18jPrOa2XL60Gjo8GdCetM262R
EQW6bEvnr5pw1KPapE1bry0Cj2s4Fa98vtoELPGh14CILfly7X273AYD1269Gvl+U8CfXpHtx58u
14xgGsp0WJgm/jRHIvHpUNE0APMiRcSgS75DXnek/7ESnSQrSMdhedHJVvcXmfTFkuVnLLpLEYYX
JXnOSkRvhOUpOmFqyMFCq/CK71gp3Vb4hMiF0pnvRK/WQHVX6ZHHTyB546VjzYyz9BxXcAGnwkYa
9Ccrw/T4mQbSI8q1e2ZWLqVhc9mckv5X3JRG99uGfzkM6DhSF+2Szh/hCXCrs0GXTd2vqM6pvgkl
30iMZ6a1tYfnoP7pqBDup30o02eHNq4INFczRrdi3lOjH8lyM3J00/qrnmRfyjmQ6S3pwmig2msU
uS1tmE6Gr2nVfo4j9yq8273QT3FNulQ5Uom1VUnbgdSOEsq2X7UFVLrisBZhso97r0t4kw2VXaUn
T5T8FhAGwSqRP/WyI9ealqCJnrkkPWS9fSCWrNiDWapGtI0djQFyW5IP+0mW6i53gl3rInmeKmST
7WFoAtHRtjg8NBWeXbJ+WGzSoNheexDTQkznxZu4iedaBo9QVGL7EbC26JtAZgJXTVEIYPJ1APHA
p5PsHxHHeAJtUrZJ5UtD2i5Ippi2UmNuZKS0tf2b5M3GIH06tt5EFLSDO1VXcW19iclswLw5PEZS
FNNwcJXbQEquTjXXBA51y3sCNMgLxp6jtfyv7jHDBozdo1fZeCXTpW1qNbYGwOS9kU8zGog42oY5
x+fIp5rtBU9SRm9S7VmW844kzyH1wM41Tx4Gb1AaT4U9/J3wcNUye3WCP4LsbttQdw6N0jEjF1h4
YqFZARKjXkJmpVB4DBZS0XHUvplHhTC2Rmy5uAGnZlt+NId+8nIiLeImg31pZ+ugOfa+yxGwEa88
3Qld3iT0FsfR27DmG67oAa2VXR+a2O8AuhLbX1lru3vKRHHytZM+briEBv+so+0wAcmFy9YZja2T
heAY5OWmD7DcKu1OlmIdlxmrdNmviu+CtTljbY7hCKDGCuQaBc8Hz0LxjcuASAXbLTPlIDfpOX5r
iminSYov+nrPYbgf7Wjrhb8lPNUc/rVVEss8jto6PKrZQyYjBvr7ayfEj86NR/ozEWy9K40/QlwC
6MDZW6Vvy+pZSULGyupdldhe72pnuflUuk5+Xnp1886Rau4Yn5K+d+s4ddGz6Emzm3Gg2bELz9Er
D08qMdhhzprpAbfdlj8uR19tSKMfIcdV/0YEsW2B1xFQ5wS1J2UKb1xMuqSz71Uz208jYgvb9vW/
Fjf+cuCMwMtslmUflcFOubNyVwcmwoavq2M2voTqmeTi8QTzswSxo20GB7Z94fVmhXMIupb2pWnN
Y9vpJ3ifuEYLRDNwjf98sqmzY/4Jdp2K5pzUD54djeQYHgKltjcNQVZJj9OLp9j6unpTQr0ZGzCV
3TW+6bX6mNHsG18LOchZexzDe66tta/Zqq99tg6P5Lpu7fwiB5RV6BxBQEXyxbWJCvzOI3SzFbVh
jEINXNyEGsBYJ6ruO2NGRzogHuor15sRUccEGTxC1D3FZmni04CSMY39wg+PZQPvnW2uC9GPgD/q
kz7G7VASwMRBiR6/GVJ8ANdvPyR6ldMjo8ZB+uqG0uvYSdkbkvfCJuQVCCFXL7FPYKNuoowH781K
TGHrSIm9pR/cgk28jUY3xTRcCTEYrWUS28MM/73q6vnKx3qj0+xOj48nA3Om+fJISfrBrt/qFrTk
8gh2me54Q8i5eWCDIrqRGUR8fzrZwDbkBdJCGILkP5nzz16/JOJU6JFn3tKKNx+v7La2oRE3pa9y
3OpYRXNrdUDO3m2pY42b/NDurSc/0P4lixtRYhj3MaUg1daUsNagTCC3R2RcJSYEADYCoq7q4oxY
gNxxsiS8OX63x6+hhSCTPysnPETs1xrtyRjio6E5dkzIBhFlZLHAP8C09KeQCMt+AMUI0oMhHp/2
WLeIhL5bxbjaHVMC9xoIUMutJn91dNa5SVgeHFna9aiD1AFDJ8A/8J3cuvTchBrFZTSQOUROlLeQ
dr9CV7cWSiaoM8wWbb7js6SGVUe00pxeJVp6SiSyArmjifQH89UEhs83/2PTRljPO7szdyXrGOYj
guBn3u92nqSDZv2Jm4PCNhSomzAFgaEFQIJ/rCiboE5NoEvzUJ56JAJ8bZn4/KTFPlLoQ5P3luBm
hooynkcdhN5A302ZbWwFC8feaJAs4AgKdo38ShcW52DwaNEcjAAX+K+K4za0UNTjTyCfKdbX0E8o
cPq1ejK1k0Lsm24cnOjLMndj99bx3fQOf6MqFN5+198W8u5ncupsfoObOOzR3mMXrBkE4Il5q05o
n9J/OUtwnJFdOHoD41UESq/brQ852SlH0bSjTLRF/KrGLehZPvizWu3TTUCEW4NOiXNVZTPcVwQV
uKYZnHVOeVGnbyvKVUQaCTdFBlWI0r6e/U6W1gj34QgTFotQmy6tSR2v8UHsYLiRWUhe6b92Ly10
cIkgPji1PtyzoosO+x4sMKwIevkX1N+mU3tp/0fDDpFVT6veEbESKp9zqnhJ9cT4Uqx6RAxq7iU4
0JvULyIKaTPNi05qd7ZEwo4trXRQLYNBGYdiWBTHyYCZpKJXy/Y8K1Gy4aGrCJaaVTADB3VO8aNl
fySM8rAUiTVtuzxy1fww9LpbZYU308Ahl7FPLAQJWKX8LFFWcAlSPiYiJFrGBbM+1PkhwebvBJRQ
wLmWNAp1Gy26Jsl3FvMpoJ6gY5mQXuia7jQpj1D6iEw08oCdmVdh6lbYPRZuYJkQf64bwqKXU44b
yTiqUraL6YmQa0zFSgMIilYKJ9FPMGcHsrIoMPcTa/EjDfBf1iCMQtv0zVttDn7aaVtYvv5fBW0G
TMbJvevYa1Bnylw6Q/VxmPvKQvi7bPh5qfu0HWBQ66bJw4FgOY1P+O42yYnL2W5ig0W6af3o1GkW
dkFro3f/6vmeGsxgIDzSfHzRshM/9TM4L0+vetfPVdTvUop6Q91TOGWV71DqymdiDddbzbm5Iigp
kTcE8AwaylabXIPS76gzj4srnWN+lC44Rqp9CwwZgWrbRIq3NMd28mue7XdW4I9wSD4VJLCdAuZf
yNuusD+GKP0AEGrivQ0wmZbtrjZRiSjkLejoviM/njEeYy8stMqLZQonnQsGmUJ9mck+ni/6f0my
MK0dRjs6+nA+RaBXiS/N5l5FQoGdqNKkE5NiR1A51TjyxGP7zeMY/8MI9DfExdKZnKaKI8GgKhB1
DsKxeNz0eLsMdZ12CDkd99BkrWcL0qHudl0U71NJ2dtR5Jnpo4nztcZ7zhXgCkJx6dhUY8fr29gH
9I6L07DUp0auT5XCv9Xk1MfWsWpRxIRo0XTIWYI+u73VtRtZEm2u7U4S9Au5gyT5eyoijITgTd10
EeTm3EngvJO9bJPF3iqkinMmAya819kvZQh2FW87hT4q4ztr9xqJd92fIKWwk7N6rh0lmu5DYLWT
wh3XkdsrEsqIc7ZDb5LNA5GYiqTTaOuCN87+WLx0trJRHV0KSpWWOkiZy0F633R2WiwF8KdsrGtS
fdbLo2PIzD4GNq2qfGaQi7gu4/gdqSFsYmF8jzxsGQ4iVkXW75D+onA0OVkQ6bbw2VieZS9eYD+a
yT42ISey0j5xBJHk6xSQ+SahMg+Tm0mnjz2ztvMYhxcS+9PoGaCYnZN7IFVPqU+eY/aOvjDXRhca
gmsYgY/Y5ZbQd4Djj9D6xC6sl0d1WY3YDRf7F2NiWsQbg91Fk9k+yPPidNwZ36QpMWJ0W/NkqJiF
xViIkDInsSV9Kbr+RmXU+5jwJ9rziJ6NeXOgEbB32fjlmGAt56qDFrK1Yq+mKY4QPpNTxVZO9od6
qPAhCw+U5bgT0aLEZ8websd8J9d8B9AA9Db4KMlsIClQ/XI6ivUYnaZ6Xjv5pSWGSgyFNJthknOQ
bliZt8j/agLZO3d0aLSlbmnmbMXwj6zMM+yLCMWFD8IsDjDcgyBkvD992OQdKNF81YEDtK/uc3bi
Lfc5URvUTSIWqTV/BImNTcqpqW3VUv1QV2vDZMLFrdFcJhoouTWOjKuiE42Tm1fLzdqK5I3Be1jI
I6Q3aAyBKgt5ry4SPdhUx1LlUmx6gqKrxD5xHoE0B6SkP4i7KsXkkavybkrivaGQm9Ty1NDDhnZJ
n7+ScvLTemR3BE0ZN1BMpbDGx0Bja41kvZioLhHTNTimCNrLIpWeCzSg/VPS+LKrnNz68WeCupBT
6wSgVOX3wg68hSklfK/L9yh+xZUJ+HIeiDBX+p0N7WFR6dffDE7GGvBYaOx7xgCrmk5Fy5lYdWO0
oHn+yzhLrHtOFVeaY6gNFfg2U70SWQXMbe07I9uTrDcCDN1HzswLR/kIywY4KnolOQQn5nFTg2Pb
/mPF3vOozMTrjLMf9do+yuXDks9051AucSAZElYlwowXWISfyTj/sY627HkVwI9ssWttuVsSHulY
an2kTs5kopJNVpu4+MuXToCQA12PThMd7RMFLxiA0Z+MPw57XCoO8RyzOWipnNsXp3ezDDBMOs7M
IjgkTQqccHB2HyM23O6PNLwnzUdfviJEeDw02iPLbZ8pyiHsEytrFd6FY7n2F/a9U7bEu8pSd8qV
ri13ji5zr5NHB0hc8469mBOElX0OgbWLWMvjeUsxK3AjRkt+1fZyRMKrMOVoM4Yj5zpzTsJTGjjs
06PGDXOe9Huf/2YB5W3aX4op3Dw8QdCW524wNl2gr1MCgyi68IoM+RHMOS+OqlYwQ9rZPBsT3bin
qLJBzGveFPufY+mALRzOsu2ibSlL7DiP4STKaOmY17693JgCukhGZDyS1r0NpISMBwY4sv/XtnWW
i5djkCZivikieWistzajoMq7QRbMGkyF3ESodkHmXIOJi5zM48IQW9S7EqnRPPNRp67MJy8aqXXS
k+nXIeCyyzEOCHEPYdPMbxRfLo5PmDaof6QtF54oNcvoqMApw5mwmzRSBqSLFsxXs0Opgn6zvknR
gFdzk4baqTB1GkiA0SlCJKLZmaTbUgy3JdeuIFcuRT33cVBuiZZcKYouG6ivQj2qGqHSnboZouTc
A/oVFyxceeJlgOtmaHq0wJMs2K8Arg518+s2H/nBCnqff5JLQshwUYo0DmPTWC8+2YbnS6GWtITD
Z/thgCqK4oAgxY2OosqLRgWiDoys2aevU24MflbZvmKkOxLJIZpxzk0WmptLRLhQhQ1+fkhoqDo8
X2OEhwThQCP9mSX21IEQT/MgxGU0UZZ9Tmfv9GaBUzGVxanuu4UokFLUo0PVZtbY/hTGu7DOd7b3
UY3JNjKZfYLkw+LmKuAg1SR7D4jhNB+lYd51ai6sGUW9Gm9LMYeX8Slq0LjH2vESsZku3qikvgna
1eXPQCl3ja7QWJ7uO4skhoz7fqvWCu/ePKSWdQgNPHWWsp0C9Hrwg7puHYyJXNuogxPL3zhSHovY
hM8yWmtnRtOOAWvnWM/cdjYEQm26pCI0n+tGtcjolPv4FA7YBa9wJhPeGo4oBg99CEbjmNr2eqe/
91j5nsMj2VIBaq2Vc8aazzbIyEJtEhXFdenZ8Gs5x65Yeenaj3wJj9VA8MutgYNQH0w2PTbhjXwR
vDYbP9muZlds9YeT8lbE8QrfHlRy3m6QWVNnmul4XtVDj4PGcag08TJdgnSo75FV3Yw4v5q7u3od
rZaekckrtbOlyMfkWwnH1U9IhrHqVlAegssdZXvd0zKnEtt4VM7YOkGsjyG4cAKYnSrHqZBI8fFz
iyhYGshV2dyPyNPs+SrEy2BJHHY3uZJeQAXhx7Ju2La97cWF4dJ6JNNJrVXbiANw4Fyrgh1/9Cdf
jyU+svcCXSki3cmqzuVsnEhXwnIPxyAfRwnLPDcYl7Y8cTa5JdAlQ3oOo5bDY3RLMSHr7c4hzHM0
JZYW2R+W3JPHlUV7eT9/SBAcrRl7E0RPajorg9unolZuwQKYemDJXnhqyBhMNJvj08TlatnHFmcj
Ry/LoPe+veoWp0SyqgR5VKNxK98sKnDQbOqSh92D63IUNFKsKVQAdyfVGC4TLcNwbytFx8H/KTFo
IKuo4Ey4x1GYrnsVAZZypA44Q0P7KBtSwTwm5pi8r3rrTJdc+Q1U9ME5TzBEGyGLgXaPlmpP7qxN
VGpbuyYjiswBdmWMyxY4zJk0kgtRlV4H1defBfBCg0I/UFfXbgVCHrSb2OGoS4Ac7wHMVu6g1Xyg
mrEAsTa2SxQcO3U5D0F5rSLj1hHdnc7nrWd99T8h1QF9uNVuk+7aMHC2p5DmKVMg3VGNPLBpUMbg
zh+xQp5B5tAT4nUVjo/ET4nTxYShE0lvmuFBBnFhzJKNYUtxI2psWUvPZpBd0PrqC5n7Ai5fznUT
nMu2u5g6IvFhJN97ubA7XpqmuWgD7REqdivooYkGcRrkn7MePVr2g6y5DFpM+DBeJXLQzF7mxLuq
gZxQKGjmM6JsEKDihsZWtpWT3WdcLI3MfvaONZe90xRP0oONqW2gA0w6u4sFni3Ag9P9p3GXuqut
DEdKHg6yMDWAyrZ24emfgl11GP7G4J8VuVV666t5oxbDWZrGU/Acz9pUeWEcUxRAVSnfs0i8lFah
Drlxnh2muvGdUvUtOfDTBYXE2lG+5WL2qCaatbujx2e9v1SUcukGW2AdP1F8gsc5ufKYwvRR2P0d
zmjd6u/j3CO8f0aJ5ZExyohao/E3paudpVcL6DenDEZewnMf/bTJNuHWTgfZK9LTnPVbJ/fNHI28
2R50Od7Xvd81d7SGQYCEk2SC4CjDOkzY5ObupAfZer4sdr9pGIyTHDmXXHkDOf6UuNY6h14dicAF
zGVFtzOikDlw1iYxDG4ihk7qQzTE8ka/K+Zwj+jdQgSS7psSRWRxcSx4NyoKCH6UNZokK5j1p9O5
hUVW97RVwSU6JtJY2hWE1CgQu+Xe1vDuNZd5as7TUJ2S78jStnMMQQelWz8oEmqtZj/Jf6ouEKUn
7YwDhb4EWcNSjWgKpmi6dyXey5msDGLHI9X1JGCxFqAD1ChoanccuscwX4A7mdDaiiCb75Q07cWB
W4bhZ4O/y13rk+q2ow1rN5KfZ9IRptyCkjBR62lmmEYJekLbPyqcFUjWqTd5f+tlEzLzOCTLxioQ
2gNdyb23QEZoxasoUM9O5k6zzy0Hrx4IDLJxoGqdMTQ36Tz2m+ZeA5RSrzxfkxCXjXWmIpdDOsAW
J5fi0nYyo+7kZajlKCYA0tSMG+p73RB3t2sC9jgsdTngEo5q+580eHo8HYs22M9pflRD84RVrkI9
Ws+uHLZnaIM1UYAkrfQuS68rIxiY7MjLvzIzP6hz7gbxX7NSDuakH8IvrMW13nOnEwPnPBO7gpDO
DrFKGZC67G12WdsykMBMPSXew8Bg020NO0YAMG5NmTM/r78zcTNIWIgFOi4YUpdGd87xCsvXJddQ
6hOq/VfsW1MbQa5uEuWPYE+CwVdMB+w9f3T+UOzmuHvWFSsPiTC6N1rlfurmndGTXpERHfG04cRs
0bjl9rjrHevTsImLB1DBHNOOT7XDBYmsgkQ/3ARkyiFMRmFRpuWht19t8DvxnEW8ZSPYKiNJ6AWt
FNHkKsSajKQSSrYb8SuxCB9j+uRvgaIew/IkSwWTBnKuQjqWi3psw+qY4Jzg7Ex6Phn22qmJ4V8t
4P8iObDPLAYO61jemPkxHfeZqJVDd9lRvVHlNuso3IH9yiLpWCFnZ28Dz19VSeWNNMbrsKCB+p51
51IqrtIin5V7jIlTRfhwxReNOFgHxE3x/4Ay+lT3yfJBoS/Zhr+0SpP31Lo9dfMI3TttpyPaIlVW
4S+TTRpXI6IYgI9hgTlTyqm8aa1o0yAWVtLFbbFZ6RzpSE/cGsWexfFuIm3KOYY/QyH+WyVF4HP5
accjPSl6mJ9mrKE00Q9ti53owPxViV7fadg587dWEdOkdD7w/GohRyTTmICi5oItJ24vZdDtkEpj
EAmUd3D4tdnsQyOC1bU8s/aDkOoeQA9x41Pa10A6NAxGlvnU1B3PqqyDvyangRjQDDmaBbtZvGz9
O0JqIV9TLBxLQshwexg/JR5fSnSGbqOE3caBcMugnFR/kauzja1faTYktEBxNQZ5vxCIQpwB49Zw
zN1Jmpc7f9u89mSK5mJqgBIIRxLx7cmN2mNMa31mIXP56rW/LS3ngsU2R6oJbN6DwYyGRUdQdRxA
dcB2DQrbHA6W9Zjgc+vvqZT2RvljwCeZhKbOkP4WyYALOiMAegQLJkAOw0pt7YRM0vDHegfPzEVH
er4b42NqvSlpdJXy+gK5NBLAHdG+l+X902QqVd150V2d6tlCDVjbJtCrd0C6ixksl4QFOaatqVqr
yCuDLy0nuDdGnHpYAOOj7FpKeJ/jNxkZuMQR+t1U0520aLtW43rQ5Vv+1UJ1v/TSvpZrKqfng1MR
7ckwPR1kfXHretxVyEJjXGij9Q19vVVmlM1BSmmPmzWMOEAJ85xhhsh02x8bwJ7wTa7zvd6KZSim
44BGVRvhot6dcbLMxFIk6L2WmsIX49Gmkleb9rqbjcdkj4//Zu0pv9O5YRa3OdkGRn/SJZaW8jAM
4ymHsKwQp+NEes/agzbfVUxMJZlU6dqGIVVgPqWRvGJuZN0iVgItJYhYT7hv+9lTpS6r/ZHldZWl
oavIEOqsQ+u48Xvpy7KeVNDTRU5hWdSDKVhuALcfT94IlV5IHySdvZJ3ljYHTHp2fjEoS0O6MZ/F
e85D2BOMRQSwQYp0gGCqOAgdQsB36cajoXk8BhGe5mFt6fvGhxtBwfRbzsmGc/lWNTnwohOUXyg6
NmVL6hx4HWrLAOcdTQ3xLp3M/dTYh+ilq8G12y4AEjo1ku2l/mDxVwD5DeeqktZV1n5q9EfzkSqb
RB32gubMwCh1t4O+sd5CCVMvn/hODnRvoUA5KV8SD10Ait7N+T7D9QloRQXUsOkIDKBFwVgjY1u9
h5FxBPDoNcTT0rH9KCREbAhslsKPTHkNA7cWvzVOQJ2CH3x11KfsOuC/ODa8lGgtyTjQ5AvgQQ/B
m9z4DBUrxVMBFE0EoqjWdNKIxonw+VXcAqU1HyNYa0PvBF9oC/lPx1DFMYOpIzXI/rUfY9Ry0CEV
u9xGUHiM+NHs+MYi79KjJh1HviphElIUToJvFshkMoOx+lZ96FhI5uArwZ6p55ec3NLYYFN0/sfS
eSxHqmxr+ImIwJupqgooyksqSd0Tore6hbcJJPD09+PEHSiO3d2SCjLX+u2rs5UEqTJCNfBok+4+
hImHsCjP7shze9fddCr0upVo2HpioLbCbu1v8N3Zc+CNJH1xpGmyDvv6Tp/ry0uFhUsCpnjpJxBz
+O1Apg4TIj7rTVPyN0frXslFKvoDM+5kur7CSV7sFmREDfdwyT2MhObgMEFzkK8WlweA5txTlLj7
npGB78x9zI70V25Ta7OHFKdZjiC2dA5tfnsOPx9bgWj33y4FaWDxCQH2pBXvFBsaz4rPVjeeoKgE
ZuMcyARQwLJvFlnhvZajNyS3p8IgxMoppBYh2ByUs2O3FyiRi6Tg3XBk0Og4cV0DDcECmo5UkCyO
gyXFW2XLp5Zm78bckVBUeaRRzHjdxmMD52W18yFPGV/7Gh3IwU4+rAF+AGFqS051DYpLbAorf6tv
WxeGkHeEdWsd30puoYGHxI6/O0AX3BtEi4jy9s3lvcUnEayurH96ccezmH6WEN2VtXM09O4Iy9SN
dcr/s5x2H4+PbiP6ENUNKaEjw1M3Dnn7GddGGNT8/3Ve0BVb0Xu8Yi6uQxMZvSyHV6+Y37KD6oyn
srFPjp2ctYSK2pG8FRvjgPVJUNjeEupn2avYb5NM3rOWVcFdQL9wReWBnd1did+oJM+mGmHwaL2e
p72d8Z9BUmLu5BINoFclNF1KkrZDD9EhgbE2qp+OWUlTq6BIsC4bum+hO7ERqkiTajP+UP0tN397
iskBtdJCzBSt6igKkKLbtLCYPmrkjvoqtHMESLeUGWrLf05DXvkxM66W8uX0kJzoCbhTcZvWqh8n
BFuSWPKL1tJ929Ew15WHnH+uosiRd1j+XraqbYeeGDL/EOcM5b+KRSf2Ih2MkM1AFPQBHkpgQgtN
2axBiDWBRWJExv7ddZXv0SozgqIusE6kr9a8M0x1AJTQ5ipLFF+utAltB2jWUZS3xaVzmzPcJOOF
Sfb2xP5JJgOLDLMj/TAkhscQsJT3cYq6av6ZeNbTZHgrPXdvAjO5v9y7p+BK9z6Ep71vbYsV6Bu/
T7ch3w7xCaPZuCnuKAVBY3UhfCQh/w2RpOp8GLAMQj3lekZAYZAyeuikTk5eaHtp5D3XLTYDjmRG
w59r/1PFpp8d9Y/DLA7Vl0v4G0xvAtSNuF/QHI+tFKU8mY4KJ6GvwuPyMmuw7Z37MxCyhQ0Nnbd6
YvqysBTZCggTfWcdIw94sQ1vIZhRpvpjYYUCy703BZk42O64pop/3Lbb28T0XnvZOfFUUjmvq0Oo
ID/Y8lWIamcDidZng+bdRogzMR810sbNuG0i+VhBuDk+6vqYqsrrYk8P4zqiiBnMQAfzMmhmk8V/
ZfIrZ3acRHb1VHLF4/qUxGED+RR3UCFMrFADm3xOlIQ5nqwDq9JsaaFI9KPVnxPy7secZXK9bPAO
fTPtGw+4ClmTnkwihIdij+TKGYGUeP4ShGwtsvnReM3lcpJwCYsmfJQrpIVGNmdIO9S+6gKBoEnt
dvhdVIPkDqq92fCBvvbCi2BWgjWYwazLf5bz1qBZMnTSUbsZHRh92uK10dBpQyno3FFSsV+ofiGo
FMouRa/8t1O6COTu1B4AUpkXVAR0Q8spMjg7dP8WlRhQMoj2OU2cEl+/shHpQcMZzpHmOdcuoXew
OiiZhoSWA5kL1ufbWWBHe76BohJEw7hBqm6nT+lv7zJZbrsUREirT8iT9j1bZbocEq66leE5Jn3Y
fdNM9+506atqspSzFQ2whyhcjCIwxHkhErCKJwooWBaIadE3gpG/aCTJhjrQ7/PUAE9Vdw0cwfV4
keSpdOWdePmd8jSBU/nmpHvr8xCBVQJp4LLMSxA4peOv6o8ia6L+kNVjlKvLiVD2s65r5yRLLhRq
XxbjR+VOosajRLvTDvR+Hyq6W5CF8cdoqCnKuAjzeQkRmYQTpBJiCSdT31boNmoKrcndd5b8pAxC
IfGwBv8q4OZWwwsHaIXUxXA4Md2XUUq13phZHzV2mCR5xiPhZh42rQwdUnoumyu4W0POaYII6ncC
OJF1VVgDv7tQNMw15FG9qPrZ1T8kgUIZ5mZreiqV8/RsUn/KqNNIu2+XqyNZ7C4tVreWOYbto1xh
nd3yxDFzyov2BHVy8gKG2qNUimPeyqBAjm9oRCTBYenjUfvNxLc+miFgbNtWFCYD6/dmfNgC9/d1
6EFE9OlwTvDJyqAXFOuyK7QdNyQDG3T0btyyS8cxhFcPF1+jPhsyFPQKxgkqzwXb7BNvQ/dC6TsJ
IaEPgxxWyhzNPsSChY6l5/aXNCUjIPAe+RqujtybUInma5nWbwv9JOb/sNIS4ZCO2CdOQRZ0jGDt
N0rFxRpOeotukqodq5E++LXbKQ8tI6mfsAakljpNA4gMccB68b041iS2q+m1J13H4udIewAu5AtU
rJg48co57LEJ1oAMGL0nh2sHKQakVasfBmH4TYF4Uf9l0etcIL0wgHem4iAb9Khf3dmAxt26EfCu
qc77VCRPRSfH24GcWx8adGB1shzKle66YA13OdnF8lyn9N2teOOX/t7QjD0EcYdzZWguZtLcrL55
aMsDdRpgAwO9DZC4WXTtl05paTKnPGAAfXMWXyIDSjhuGXm0+r4QuLDG3aGuxJWnjo6CF2l/S9RC
jof3gNjkTtOD2tlIDJOMLvVW3Bd0B0N5tZPkmrmQYom8yBaWh8oSJa32mu0SNk3OmoqX8RDTAVr0
zl9HR+Wkkv/sQSbQvWuP6UGfCZ7wLDJeDExLlXbJnPpnUZY7dTW/BgJiYoxTpfrmSPPNqdW3ETWl
RvxEM92nxYN6Sx/kNLW43ryXNQWKW8Ns4qJch2AqZcDOGIwpKeB8zQdT1IGzvJip/DBz65n3nLwU
1TBuG7T10spUyZxVhZMT8n3NAJq0lhdBgSCXxyrDjToA/mOQRaLEfvdqcqLkIJrwSTECf8+mnN7U
/bor4BqXYzGNBEx9r1UT1tj6NHG1wU2aFkkUalBW6b1EmW7HRYTOFCGh98cmVtEZwSqS5GAC1rgI
m/s8ORXbcKPE8XkenXMJU6Fsh6NhR9VEB2LnYlWsQlfLI2H5Y45OU4zRGE/RJOfIVqYoH/rIqFpY
ckLDYpG+esa6VwsEjr16ovHjVJo2YUFDFpp8NWOGrioPDeL6PKG/JZZ3xEtwH+rpXhjeTajdzelW
6sRKLT86tQ08aFkHRRxzFfcDt0dFiLGd2f5qdr43YF+u8Y7M+Aopna1SjReoR+GbimDSyX9WaV6z
px3yseNEQxC+jGimTiq31oMx02jL90TuoHPIqXbrsuQh0oLijebhqP9pAnPXUtLOCMgYQ4tBBGoS
zwvg1faVI1lD/GhSjAXvVMFOzVh3iPl4kMJVrutttZcHuc+OUT0St3mS0CD1J7qYj9SQn63q3LKa
ixUmlo8XYW/LXbKU+9w5ZutlC0iJbHTpDpw1reWNTaMGl5hEaemO7V4Xryr6QJkH4zxQwDgH3WgH
mjiYfFK62SJYgL+9VXRBj7pxbBUC77BaVwYRbwaac78z2qherzZHSK7RrzUrUVHHW0tchSWAQzXe
JAaNubVG6H/1JZy+NfWnTKHs0c9DaZoJ+d2xcibbx0ST5ZTFqVuwZMQEuTt4ySuiDDlfyYaeXMZ6
sn2zZyOtm2u5dxVZWCLeebgW/n5yROeOdsvuoi7bXIzgS70YNslx3HtG93Dg0ZhDFrgs+p1RhN+R
GMQxIz+UkuQGWC2y6S3LV96sun+iEvtg2f3QcfTGnThhcqVxMe0teC5f6dDnmKjUE8L49J8VfikX
koj7RTofLgFhyidE9xNhk5emN84zq+WlyxF5UFxfMi0MlFfVy3kQh2bANdFl2PXbMJdj2CAZrNBk
Dt17CTu9JE5ofcWcvFWx5fdw7dUrQAWchjw7lXXmXWqNjzIuf1UJJSguPfe9QXym8knC6t9WYmI0
dcSVPbBaTRJwVZYgMN5zsloQavqq+Ykm5U9WLTezo7PeOem55Fo+igZ3W1WGWpVil85z+Zw6snz1
6pAu6uvSW/eMchZsS7mRHmJX52cjF/dWgcJM92rmIfvt6bZvV00gMxKw1yLs7ds8zcTIYc8Egxar
SossaSrD/4B6/f+BepO3JTvkNrAqn7tXYKfNiDDwVEIFTXgRm3qjVqwfYomfNpM1xO5YgVvQb0Ew
iZs6iFSoyFDiIJsBqKyo/VSp/YnPREYwb5fLea7om0tjv+7fCrt+VvxjYw+Cq4nXanpo/XoybCb1
CmsmTE3eYIVYX5iPoM1/JRyZ7MoS+oYjcnBxLfck/5bk2YCGdOjmbF7s3A6lW4VJUFTkojHv6bpF
kbz7AuyS4Y8TrnnA4N4TIRyfdBlHspsCVwZaSu5ZjugWfkS4L1DzO/PvUsMvraiTvJ9S0H1ZY5oE
Cv6XL69pQ/Zlt54U+12zcBTkO/fdQTlX5aiwyVEEUEFcsS+6o4J9ZYqA9UA3X5rYDdUOjaliBwou
H75PnMCOve+YzkGXi/Fh73s25lpptl1y4gJd0mABhRfs/fxNkjvfoSMbiAEqCTb6gLXm0H3xEKt/
4LWUPxZ0UcZOJvja/A+AcYrJPc7uAkTA9OS6P2rt80PPEF3eimq1qRjaCJm2bd80Xrc/gIUQyRQn
gx/TB4iXgnOM7iR37UPQZ0HD+iAX7h19b9ER0zxljQhjJfmMGHUgywwIPae0A2+d90+jlSvT3zKi
Lm3zGBd/B/e1/qWZIxZ5WeLVa4dA47RXep1C3e646g52HOBN+pQrOyrKa7Oi0evaQOtHLJO0xRgq
Ghk9wC8T6AifY4RePZrHfyaZLq70qIRSzz3jjV6cMrc8O+p8Vg1muMI+N6zZZAnFHyTnECnlqd6O
uxaz/XQePvPyoYzmMcnnYyFg6xQXMJxpboU85tCs6WzHk6htAP4Tr01W9qDtWkiYTGdYx7UmLYaS
R35/qfqcetohib/QoVOLtgy6RvUHBPl687vMH574N24lBugPMtgfk/C0GiZsxJPeoOsecIpSUYCy
ZOFRnLJ3Ac1FqllL2VfnkYaPO0K7FpCHQEUrgh8V/Sgi1zg2XhSWEsOWtLTZNN1h7ML9AS81sp1J
lF8CBYOdnviY6CZwdzrrt45Gsg5LF32yhVV8vo61PEoNFHTj6IJc2IER3+3m0WzxCyyU6q3FguUi
uKoNJB3cY+5bR/eR1kZewYuvZiebDkCPuVhxxM5avWNVNVE3MV1275Ok+ILBtytc9FfveZIfsvFm
tuyc7bpP6oUWrS5SXeU4hdKqn8nsvNWbirO9lfZwN/+2trv3oFbQy5A26AGSddQfmnC2Jg99YkLn
iO4E42Tujd8uDLWHvHf7vglY4+ASs4/dJ1iaR87+0pNQFBthTPc8HLXNLim1vWXPt8Jd7iv+6OlZ
GJhntX8r8HurRR0jX8PI5wiigxxqMNXsYs46ExihT8XDw8Tl7kekQ0p/2sinjrr7fODk4P+OLGMx
Yn75F8U1wsqm0pVgvJW0NTcJNRAowsu+IIJTvmEH1jnZsORt9MQql/sQQvLTwvGBlDGvxMV6FPQx
d4VydPntJu8t07I909DQWJGdP4sKrLa1ok4cJ1JE2cHg3OYrfu07lBBbkNqC22KhPvQw6dpyK6wi
EFYbKMsQGPoSoNeqm7Nt/q0d9w1nE9+f1hCrgcwBC6eD8Syu/liudQLRWjItGi1amVt8JP/Dbhby
UjhZMuO1BanQ8IfhWCpfIU5igDxcrq3tXXhXljkPp6jbwwPuMsQDzEs6wDDtgdI9m4UX1sC0ZCEt
uRfmukOUQcMrrrkIggw0F/fUr03kiNgJLfpMdcXze1RZfROtqH42T2vMCzPxirl7DTj6u17+m0AI
0/yRrh/tXO2RkPuIF9/0cXivRffkcgaT1V6rpXsbuuo+Y4SbujeHUMHUJvCEGyMG0PdqFgm8+Sn+
YvRhQvUXlXYW1L9K/igLuWnMIgkQmRB7NoQNHiITlcukk2WRa1HdmEQCTVxiWVdSEX5tsdGZCidk
dcs3sTNSbSw1sDxkyErKq+icqwq/RALQY+4Uy737AsOCQO3cnhiFm5PgZxh/6SpsFeCogFsqTTOs
VIKH4ENrltm5D4CSOuWvTqBk7RB6ahOGo/wwhc2hzj/HMlzxK3wxcEFL1G75ABwFD1+b7VEw869I
9+ljbOvQwb1YO+95XUfKH95gHS9OgtxgTUjpVFEjKQ+8GIyd5PB22pta4WDnMYjr97ib0S0bGJ7E
DQoOzHOoXxMrfgvaKvGnrD2uhno0eaqrqoxoViBkK66B/1iSXUIZnDHweDgTARiO9GDVA41tVKWH
tmAb5ZAdP+ZYEI6wNNDRJp40YlWMr0Yj3nLIWQhWBHBJaJicLqg9SepNl3PdIfPB5qdK46bA5RQp
/VsgdJOSnY28vHi4ZIT+z12LG2zJPl7k5+J2DzbK11gjvnwtwDdslY6Us1H9lUIPEAqGYrDC2euP
ONv+xrJ+NxzEGUjVU3s+dpV1NDRi0Qd57M5xw/G41ofY+PFqQNFpDlproSsYEm8UQRdj5FBoJ02T
wFEsTtHbWBE3OP5nd6Tk9crRnN3QGN1oW/DzQQt68idoF1prAgLMPNDialdP/601esVk8K3qEz86
wZgIRRZwmeTkpmNU4XbKAYeN/DKPYPRlfSpr4zy43sUluxJ8Pm7JGEWiPzSfEsx2RmKtT5+V3vi1
cF6l2T/ADS5ZvjekcUFG0nBtrQVfy14dx/2Mx81z2QwTqqf1xOe4fC0RU6i9iuhh8OF3/AkbK6U5
CkD+ymu6jVcDF2vfuocyfy8y2lhNgoZ6fJS1CBNMRjVbQo1jUSt3ylxseofhmoxJkNlZJBR5nCaE
AcC8CuKmabvKMyOYN2MsKTgpCVgu+s3YOlQAvVbR+h40XoM2s8Gj7/G2AY2uOvmB8gwCddH15Dbw
ce9KqGuBUtvhTOOReEta6x25ozkh01f9FC39XP60MYkQ8NYS0W3H4aYP5Ji95FZ5GmGqh2rTxr1L
zn41eXVRlY/YnHpzPg5rEq2miNzViDrPi0jBRWysotq3Y/cweOyvxHblbvPRGD8xiAlOEnM5rZ11
GnoLZEA/2RPqjIUKEnYmx85OhUKUHwsesaQGwWxzH4m63XXpR8JMrONYLJtvhdJRfnpNnaLaJhUH
nIvrIRm7ozV7x9qaoiRJT544l5h2elZWqDfu0QmcmDYKsnEV874qRLsO6JUUFF+5cZ+b4T5azi02
mps3y6tHHBf1p4eCBFWWm8qjk9oiJtGi8LBWwvkwV8MdXu3e6t5tXrubql6ByMxvNgMKtmunPOku
c2BzOzQltQ7VfDL5ipXhFC/1KRMJFDEBfra41hW8XnJVFC+cZX5OKzifpYyavDki+u8JWF7sP/Y8
Bkrx15a+kMNhrHACesjpbdI/nq5eY1nCpZwx0GhM8Nyv694qvk2yA0yrB0YjmCwdALGnIG7GQOok
i2bw4VUbPPqnPSIHXb3zAvCQea4/zN65oNUibvbK3sw7Pj3jmf7TiAau/6jaYdF4ClHhGMexsB+a
ZdwHR966pLpukiLAKpkGeEgwkyGzoHxNRZfImUharN4+jKK9LeKOimNXUu+ADBgm6aSSXyqwIOMM
TIUJEUoYE3g++dFs4YQoWJzuqiqOUjohmtIwaSIT+hKgaxN6U0fH6rZVFoqa4YvZiBxAa17eDyYo
sDrn/jjQRG9THS/BvRjmv6kEzpTDYfnOQUCrag5VaYUdlb9QnwjcUASaHiiv+jX0ZBbbX95kByNW
L4QcF4dnt/1DawHQR/7leny9DB86R/tBA22ErwkGwEsmJkqnFQkoNfWRie4W4hVapUOY3jH1Dttw
SpyBLbE5Mpwql7UnZJyWpHgNe7xmw08BakFj9ccEzgrMRXQHD3Hxu3KKoOoZ8YnXmloSEFrjYTgu
uu46lHn+qOr1rivFDbHv7F21gR4t5Wk55gszlbQ+VvDHEf0n8+KgJkdnAtN/reNrYRCrzsU2TM8S
pyQM2yHJn1zxvlkXp0rraIU4DsX6SeeEgUl96kJ7va729FK8u339WVrZSScRWClaJhb4LfnaVgAV
jv26dPXDWscbDlU1269E1U8mwwUSvd5dLkqT3bqluq/aV94C6icYIPwsVd9RVLAjG/tGfZ2XaIEz
0NHSZWfFu3vNd6m967Vys0qqeB8v6mLv8iKKkWuSHgQ/hMZ3XU4ZJiMT/kGeNp3v3BC1uL1578Wk
YPUh02Fwb1PhXnnDiSMQ0CU/oH8+19ehPjkgd7FvvwuX20+bQ0nMBtkW5tTt5vxNfGfwOhXzeEx8
xIwPbTMpxUGlI3gBjCI8ZPmGsT1XSKXNTQTo9wfRd3sY2aLQ/ZdEeL7X7kpPOw1TdW665dzyuC2+
SxJg+2FE0wTUkcMlcVWRnkXTh0qQg71z0puOw1zonzk0gmsz2g2R+KVPxe4uISblsXe0SHnCDRL8
gQF6zT7hpQ8OspzFAUOgslGzo7X3p4UszmK8SR5twGBAvbxq74PyudTu0TO842x6TMtUS92rcSW7
SB5jkKLJxMnJ1fHSHD0URq+Nq525ZWy7+jB27A+8bMD0Z1q0W9O71UV+0w5Kq93l9AUKexw8Mm2V
CrF+cupV7D4pohr7T9GtN8RWcfWql/ObfsKVTOoWKryXs3qzXOI0ZoiXkjjR+vby0phe1MZ30TGE
IOOz4/69WZkxu4ecO65eyb5hHfWK773ePKgzgyOuZqyAiNbT5RZ7yr5O8rAmZkZV5oBPJlAJ65m5
gJNnK/ETT3jGFZvAwepiYNJBfDciT6afwxRuYKGebkv6w/IisNDiW6b0BxRR6fLasltN8jtF1r2Q
UURCCTMeFvEhh+nXfYni2OsYcXP1pYJODHYdzsO1pBRCVQKj55dxhLggox8YdEBLB7+fC3e/RUzp
0C4Sw6yATJpBB+edJ92TI6tzpoznNFfPLinwCPcW6+qu1rXM1atjiityZsKL0/xWWuW7WqZvUkyP
yaN1MkX60P8zEevFRX7hzZmdA58xpoWVeCie0II8y6gt8yDH7RPT+ObOxCd3U2ikoJEDVSxKoAKt
KPTIW5oGlQrDWF9X1TngEHScgieU8iR753pWUNdO4LJdoW+TaSQV5Zgp7tEYnePKb7iIIRDgwecX
JyuOBlrJBC9n2tylkd5Ugc6N3ShWVVZVdpqS1ATiuaY/HkZcpcdPkWGmwuMwriBpo7ZA1NM0lKmh
sUDhJI+xAfzZ+HuQy2EhMhhK1IKgglrjYiTqbHR9OUtftng2FXp6i4lWlrImj2s3ZPUJJcDZq7ur
2746XXzKsWg7zL0ac69XUP1CgN7qwaZjP5ESiyVyUag497yo1klMeuS0PNIWKwhlXnrmI2ceZiSU
q5+9Zvn46jUoO5rYOajW8LT691QCU0/ilKaETUmuvJ2yrkc9i7HCE+5FFLpQSAQiosyu470xomnL
CJCrMj9TB9JP+DaMJJio3cWiIHRYbM059lodZWKJhgLFW/wLUViXu4cWF/JCHp5B++1oH+T6jmfd
K/hkhm4/re4ZE/Sl+yCfVyBnkzhrx/pQbcJOIFbLi4SRXjJXv8xTfk2xYChrdwR59lqPVFd9venF
J3jtPlcuqjYE6yBwe7cQenVAeEVgNZO/witNRorOhkEF1cQUY0ncYmiA8bTNW8Lz5tAE2cqjAq5R
xpeOjxx8PXfte0FQ/ejMIAHWox+Vhz54D0Doh1f0D8um/xQ+Up2fgzr7w0I1h5dEikHyETwPWQwj
2QtxaSKP/lj5hDL0D4NBjactgPQjUpt2wwpsn/F+uk1Y4cEjY4EGih6Ty4yfpAehUOiZFsqemCA/
YcLwyB0S8A5ZVgVtRwgrN3fT/u3H7YmBSDG52JqfVCkRRh28iZyuhcqr1gpsJgcBfz3AeTI7BCoy
oMDN9Vtrsquq9b3KkD7rR6GowHlyr3qIPEg1acqDwWRoUuIzYJ1xm96/iWBe/tF7IArfyjq/cxk2
MrKRuj/YLv0cNbe9Au5mOSltBzMBn1vIrs91QmpzX8+Mo52rx4ovu5i5CMQx3k8qjMOA32MwCFet
0xS48dMhQ6hXUyzjGmGiAiMjoZAoo2YwYDebwVUxsqzEOxBohs7lx3tmhk2wTX7W9qYZY81vEcjF
LhJpVTkD81xlat26OnnIbj6aiFonA5VS16vkVu2THE6Qsc/m+YBCyKAQDA3j0jx/6Q12I8uJXI1s
SkoQiodWQ5rH09lqEWqy4oKtJkVLMoVkyZBRahCLlxqnziNfMNfO2vxBgllgtTThzP0FHaBCzwGG
nipvrpWdXCEe2Bivnk7lOyvhvNB2wFCO3hbpTtbjMQLIRmC4ieEsJOSpy0jHjU3uAPZz9Sq1hH/+
7z8p8G7GIZFCVZ8QlTIFioeAAGIhIVAq4ZJATdSx9y1ZcdV+C6O6jHboopAWvoN/3cQKxSMDPgRc
5tFJSmKH9igX5DxbBnZzR3Yxys+kfV9LcUFClpE2X/gLc7C2LvzSYJzsk8BcDhgu24sx/FmyszNZ
ByS2BNmii/B1JMoBk/NLRe5mu4YN8IZiuv8TaUGCjnZzzlUzJGbPfCdUa6TPqrMRBa8srs5OEIW1
RSYq61NTiiv6m8BSzZeJ64P/JTnqrG2tQ2XwoPmafrTdOUL5f8oUZIJUj0BFpB89Dug4rMhsMGYE
n7x4XT8c58jjMjQgeMnsUjCTz+KMBttN9qZ8m8TZxvhli0jwVuZ0iq+Uj2A6G5A3JLywYEpqTQLe
cjWBSDUKBQT7moZk9In4k62yDj/zjxbab2yIa1sOJtuwPtIokCvhmceaXELfmOPXARvRCNU94Dja
LRQweah6m3TcvjNtdd+Wsn+Cdr3Uy28jWNGI8pGQKC5whyB5UZrQCOybUby1kKsD3wB2m17891nO
5r5+4TDM+ZxGJESqT5YqiXwQ/5kSjt5NmZcwo5jL/uq9N2niy2vEvsGNOOr/KsRLqgUazh9opR6z
aA7nQq5JOu2X7mIiAIApz7vv5UvDrJT+wd4Rrsthkx/UbAC7nhyEgkhEjRZd/hLvQgJcUeq+6I8l
C8EKaj9MJzuOemBzUTZ+zNTqVYe8Tj5l984Apq7diWQhHshNVICfUDOSh7NeKgexkF//2OUKhbST
5mtB7owOe12claeB6kZTyPdYYUtLuiYLPkr2SXpUOHaXm33z8jBJmQwxl90GBr5OsFR+gQOk66GX
+4yqyZbPQ5pUIvLyaILGG0s5xUgNPLJXUqAIo/ohNtlFK+WsR9PEIo8baaCiCfnLSvPSKv7LZmwi
8Gv8acIJ7Sndy5HyEqSay8PgF7qQrIHcaV5+zzsr6OG9lfhQHDuS4HAoCdQgCq1WxBnw39iYjYcF
WIuCZUvgIEJdn1LxUgeJvndz8v3y38PyojbtWy6HD68GH8HePA2QqQVmjXWfws5o7xak/BTfK6XY
N/p5QhG08hq6qXYx3OZqM2CXw55f08y/pOyvCaiS/lI5/1UDt9cr/8blKOAiHw2ivR6TpjzzRiN9
A9Cz+I39+q1dbylIUVm8lbz8Lg8zB56/6ZMYdEu0RaNB1Y7F8AsIO+Wfduc9E/OvVSX8uCjtMHP2
qFeEAkTbudGs0aVLoRGfCvrRQRpnS2OSmSMcy8QR7dTvVVPJE0PLoX3mlAOrHJZXwqDu8D+acXJz
Hgy4l8ILyusBwL1RjoOZnTw9mhe6bOj+SkzgumMeN8ekviUeS/m5xMyn1N8W0u3MAbm8Gf25WIbd
ht0YKK2/xja/4Je5qiJS1EeJFcNVzoQ44mfBJD1QL42isPuq+RUoOb5Vvj/4DFfnRjNfm6/0p4ew
Epy60/+v7hkJg/XPZ6mMe8v0Kz6In9WZb8j6KCoDAvx2b4UO0ZmgN1y63VChPp/Z9Pm1ue17b3+p
PDM10II5xMHM4MrIELp8pYzUnYyD2ibv9CjRVNnEUk/k8NivM0/b0j+zli6ybGf7rTHuEjKJHHbr
PyYkWUYsBu4aWd1iqGJMA2SzWvlbhW+gc9Gy1R8qQdp5DqaMnwFCWlEjYSM8AkErkROo2lXhl+Lw
U9lvHiGVv5Oj8ejJuC3Qu+U8AVrt4ouMhDhsD6P0ViAmF2se25KfGKRhqziq4NNharkY8pXeHGcf
J38WQMJaz06d8WGxe4JqJBNxQjukjsRDc0SZPAkM/WU7voM7lbo85/SuKmvxRIxoSEodgJqdqn3a
hfYuZv3NBRMatEtPspJKF3oxRR6XC43LYBvIeWFoLVaEBA1P5/yYxO6W4YKrSlW9l8NQ4SzP0LJJ
mlRVa6928ymz/xFEtWsGdCxIetr1oA75PunTm4d9CNyIdOAVJj8jsKu5d3H3GKlViPWLx89LpKQ4
b2K5EtmWxpdlnyzU2wpJm0lg8NAle55drf7x0C4B/k+ULg7nkQxRa3jN3YnheL5U1G2jh8I/chuN
+aKnANLsQQrCmYXcJiZZiZwODRPZi1DITKAHomUHtQvnmNVnUwcfECWGi0HDVv3LIlEmIYWVat1P
vfrVYhdJsItYSEDV+led0Iri16rHeFBFGueWA3dG6lGgdnXQOAyhOZSVgzj/b7uJY7z5UJLXwZAB
PuQP+adn/2qd/6PpvHbjxrIo+kUEmMNrJYYqVlSVJL8QCjZzzvz6WWxggPF0o90t2yry3hP2Xlul
FsVx7uAT+zWH4RCzpK/hzyTpuIJFsb8gZm/jP3UPYKWMdznnFw/PIeVhAkKDp+WPwi3ITWswrQMo
Py7u8qNdDG3a6bdd2H431qXD37QZuaMrEdLx2NnGwCYl2haG5cXDl2qLPZnk8r8SVapYHJPOA4it
iAW5NctPxz4E/eFuOhjc41IFjp6jeIruGudixuh2lN94ztgOM0FF4pQDR0mB5SpEcxOdKPprWiep
hVJCxf6FFmgzmO56bLh5h0uN7XR0tdrkag7RtVHQXd3zsxgNbqLwUvUf+oRJzLKcBUydLy+Jq47d
qbOUY9NGRzlMvVgDLiVCROydKg1shg5it7JKL2WtXvMSwnOOZ3FX/8ktEcMnLMLgLTsYRmOr+Wwb
ooq/z0DFY9EWM/fTwGuJ/S6vn26SbpOqPeCe6xgRtp0vzIbfz+kZ+NEZg2uWbvuWrIo/UMsxg89B
4g20mYb2ggG2W4Pm2uo86fNJDqxTaeoMrUcn0fngJvXGnjoaHlrMfoDxYrg2fbMriZI7zCp/Ja/F
mgqvkogAzOGLuXUZsDKW6XDfhvArRpoaM+zkc1cufaPbLdVXQoch/6WULoN3MeAbmmNG/At0zFz8
SWeGVhb2h3EJZ4LlVGplkj+jaqvjkCLsMv4KIPutDzUrEXKtkIjpnLb6TZVuCPRYwgH0JC/rv+RN
6B/scIox2vGuPCFcv+JAfqn1/NK030Ih9TEWrgTLCvPGpLyO9o10TfR70RXvlYLHsDOeea+8zXPx
KMR3MSJNIkBemOF730eS5pqJ4MVRRT2F8qgafCOXUERLl6mcr2VW3uptOqRXrWSMap369g9+Rk+N
xCsM1ECJXbQFTnTgCGOJdjUAhsx6dmRVKFn6cUkRGqHyZ/HVKm5TiwfZ+KyqYgPlEVrVKgNGqLSM
HrPifaEbu5qYtpDCaJNYi9tX62SwdjJWoT0QsBe5V8H4UxEnlzMto9xGCpLhO5DYTjYs0swCoRNJ
nUB6cceOECsRolmCee7N9hqINtSn/h0aV/hdyJMDjPEYsQyOa1BZK6iPghiOnAlSqJN2FTqieQ/E
jTWGPSkLdmicUQpj43KjUajnfGylRkXAlnZntLVLMmXcECcKxKU5oIDKcIlnyVXW4C0e0uwf9zoV
15/mByEKVL56XxZn/tpgYh+w6OVANbav6gP0Yc7Oi4BQfjIEyx7PpK3Vewm9Yb1vQJMwHPlQgCgB
TYR1Rq9VE4u7ySGfA22c6LiSkwA/UegPAc4B3YePGLkQPNf/ZvR0Wb0OhxG2l/yb//sY5sQZSdaW
kG58IGsejuKtptnqwv3LHEJMX0eLSjBdt+fgN6cBHyok//xTpUuaGctkYL6j4iLxE/y5dWMbyiEw
Ef4hrws0sjwuHnqovKl2cTJnCMl2SRcDBKzqPTlLTlqAF7OdCWbvsu0RUts0vAc0VChHRQKk0HOj
w2SKbkEZ3lYdUO5HUde0hjSWW2gujWzHmB3Z9KAYxRgF60aLygNKyV5nyFxFd0jt425GTMyyYncs
jXEfueJtCJb7wBp5+pjyxjNmhJ8ICHdTX17Qjpq4ytd41kD70G/xVwIv0Rd1BoamO30otAgy1mF8
w6KP/K0ViSKigO4l+wDd+z4qwZ10A7S4+QUD7m6c4YnCzEw9lUs5EjxuA71IX0aGo5IlOlJPPUb/
QeEtKPRGLrwW2+LHYLKp5jatmnDLYUqUA74NyuaI8V2hIpH15HJ+WnJ5WSnTOKtISV2KIxffOJ5V
VffFBNpPnmGp2aiSwiSvPihoHFF5pfQ+x4ELQ4qNixxu2wWnAml7beQU2Vc7gNYvCWfPEHOaRAsp
hjsOlIrpLpBaOBYV4sG/1RC5K1Ej0gc3TRU+at3NJlJ0iRMkDUEbC09MXsFgcR/DklgRuYdAOgj3
KJYhcE4OaE1HFyOg5ezO0ZsY8GJadIlzzHbnN8Rv3WNowRFfx8cO1HH0PrEk6T9REnSwXFOHxVKz
TdbiEfxLtYLzpztEoBT6FdNdC36g9kcBkY6KTnqNgLkZJQjUAO8yqJDil2cWV0WML4ciHcXuYmwn
EIZrBgdEAAaWIJ8x7s587CCSpgNrHXW+NuQpbHv2GofOW2riIz/E3lH7fRyfo++AA3VV20pslowv
PDNwWATDFy/8qkmZgxxY/Pi0ketdXdc7gcn5CMS8R0ZVAoChd2Uxin1IrRix9baCOpEwnhXQhYfM
G8C7dXh4EKXFDNQZVGL4LRmIIP4Rgu5iN81GAGZY0Y0XyTubHX7HmSZeF14D+gQShBFPM01WmP6a
XjFDnY4leBYVusMHe+FtF9SuPnZO3uPmHVPXwMTLYIQEqFGxmwXBY88dHIhOi9UhPdWGfCrMyi8L
spYCQgUx09TBS7LeciRHrdqcox02kbvSEuczp5VnFsjlVUy11eyVdukn80C4GKrxF/keZ1n4y4Q4
7bR7aQRvM1RSUT6ng+aXRDQjcZDZoSJa4Tu5fI+iyESTZChelYzKXottA+4fCVUS0cWI+gd3bsOr
mnUXUxT2DR25tSIUAMpNkDmu6z6mirxoaV29JDccsyhWcSxfTAXN6PqDrJ0rfSTjYbkDJCltoCY5
ylIKCtQ3LQCLh1kBRktwN1nvjRVu7RxbMnfIavcl6ahDjAY8f9+G95ZJTgY/so0P6wow0mw80fqD
AAniytRLIpBe8SPZw9rbbtiiQIbHp7LXGXAwYSnGXQTtcT7UIpcr+uQ6cRejp0jZ/DUk1YE+wwbh
DT5HB1Hc4rHNUVzk9YfwF9a7qpdOzHXGkarg2ATlvldQYEg4toDvt8yxfBniAB1kTweJSnGkHaBF
PwXE1UDG5fFiInBMqLlKS9v1uODH0RNlKLmMlJ1FCXzG2ieNkHEUIaHIChlUknXKc4ZrBkqjKXSm
+Vc0mrMSSmdx0s+FpJ5NVT7rA6DWjVke3EClxMvQnm4EKCOpeGOwdRzG13BsetYIYIkEZrh1Ojh6
lTosGuwo7W0T/NQwAPy5ynxMJpR/CDbVUQEwgYlAQzWjwaaCPnQm3hD3ZieOdoMEmIXkSqkx6RfE
X5Dg7CowZAIdC34HhAMqNGwIEzgm+c9LOHBQ3jhSyNaGzUOLq+yxsgATF7qnMgoUtv05ww7IS6my
M/+/UpS7gji39ED0sAxwgTEMml1xOwbiMc6/LLDOEc7xcbSHeXJ14aYydS5jmQUufcRep4GRmdlP
dC8qM45pcRkS9g2mrZiVQXlsVz7hTurMZ7kaljyhh/1umMxVuV1El9dohsgy4SqfmWoLKqfRvvpu
+08i9cDi9+m3+F8264BbFx/v5yJbV0EEPTIBKavpIjTEdJORIFThqgalB7TY4BmCS5sBmqh9scZE
xTnmjnXiR4QZjcF9kLzVDLYaFEOVVBHMCDqrK6m6DyUasjI9rgjaishyxCaJvoF7pWHsYfiWgjnk
nUCThyk5DRxgIGtYzQlG1D607g3RJlnsquDJ4+BkKj/xIgPVb+D0/pN5bFlTHuYfhKg6OiPdQHX6
N2NIXMjCsccBCHrkmo27/sfsmpMAi5AZwIwoDZ+VAVEtCHy9bvzOWRd69aMnFCU3Mq8rd27FvqCX
AWvaVV/B+QuOEJsEAEPIumCeGCtvIOG3SPZTVyj7xWAnT/VGdAtLDRA+KKGY7763fEfKGN3hDakx
AOHJAm6SPAd6O2ZsqavhJwSbhO5etug48KBte765P9NgXfq0uQq38tSxPGX/HSDZi2jaLSZplBMI
D7Ziswvr4lrO/dmQvSHu4SMatxFltNFXV00VvDE7lWV4jnJngxp+r2rCDqtTGziJhd8juxPDpu5C
XyfDJkM5w6yffwt9MiArntki0P87AYUv3q8Q+GgBhEUfpF3D9YP3G86INEd+K8e3Abn2bLkZ8BKp
Ezy0KMcKrrrxbTWwRzj3dItpEUrgcvYkdD1yQiqXcNas/s6k/SZLBxO6U1A+ySZWJfVC6nHez74Y
zOc5tvye2K44P4e+ek2g0S0kQrQ5p3SGVH3XotLhSFGa4Y3s1p5AkDt9e5OgrRkGppucMWPMOZP7
YQgcpgaaL1bHUS29PmMt/DLlHxTQhfhkCZIouTvVIdng5U83XcoPuLREkwQOqHN19tpMPA4AQAOr
88fD344hDs4e5hsjOvSZ88Nc+XVg6QJn2CoxPk6tI5+z8zLQBBnP+dLc0f2KwyM/KSzH656VNgNk
NUalpV1yBlylr2OSRdp9GrgTQuhEERg6YfB1ufbLZgDcNu0wgWfZrR2LaxBll5qP2Ezlk9r0u0LE
VQAHrQlsTKspE0+ZeqLSaOva6IqE7poUe8Vb9++Tqpz32RnJLT7WbMTzmXHxogBCHzkLxRtGi7vV
dDczVS9Dv2wlmQHXzgiFQ1ZT9KL1jnZJgbJgNVAtzA0Zy5TofpSFS5MKVsQPqHnpTJjEHnVwpAWH
pcEiif6CHQhbbNqRpjzkenKILX2f4OAfrYbJAaI8UnZkcxeHiLOWhlibeFcfKpF4kUZZ+3evb0kw
NWBF1tWpDgh6G0Tf7FDe7RkLLhURDE7cGPQbBcUm3dN27DpWMJojf/fkqU7mzZyUO2vghzUoj3Ws
qQzEFgwun6GKBk2pGzcQcrdgwFBhsrYggiVUrvX7eKwX9VyP3RkoG/xPoa0uI8+YglUeeWT/CYRA
+9QEbSczHanW2SMNApVmDoxsfvKJYy0NDirj5TrT7BllID6Xr/2Yl6eaMKToo566jykcP5Il+qg2
5/6kxpSRQXqRaAZEW9R/Q3M/KXzTO9JjBPRiMB2lIydaHicvvZveEG6YYOd6bP3NBOCemLPyMLOF
KCjWp9hF4bBJgNdUzbHu36yw4eiekKpua2qoCmA0q420IBdA89tC8pbhNWXhcVD4JDgIit7NKiYH
GQs6r0+O0Fu2A28tCTt3rBPBrhZXs8tmtoASMFk0MASGXhqzOCoFVCaXiilv/6/NFFuQRxqbTWPx
HmMPHPYWUmyBUCVlOi0BGVJfQfCv0KrjMoyOBYD5CliPRdIANk87KvdeTm5mVl2Y80HFL5H1Jf/J
XMkqbe1QErYtA/aWDhq8dlEjD4E6k/eaEyJPSdgAGagbdpGZOe3SOqW2G1oIDM3s1U+9jj9LMzxr
vSe2qqNWR6MAeYgAYtO/rAu9wzkPxXPhWqXmWjW1BLN1gKyokPp4cDVUSBI3lySe43TaC3KPIIIQ
EU22S720+5GCLe4OWS8gQuGdZjCMgLfcaygkVBQShgbSo2e/KmVoRHvbkFVqRx1tLpYX9DvIW2od
QoKANp1JAuEEooxfbOTcgpI8OQHxuQq6dEQe6GFYoA3ugpConkVbbWqbPFNtFbrNGzprty0al1Ql
vspuKUN2eJNtUlYT7HMQW1LikewJC/JW4qTQfw+e4i8kGgUAOyDT01VQ5RFGphFhv8WOsKdyGOnO
oeokNDDghBhVjocVXli0rBmLS/Qy3S6MnnOQPawtQe6fYVkezZBtGJjIEFFQ55sD5xnJcMRvZpTq
ZYsMjgmHaudg6eocPVj9YVkK64jFbWEc6auGB1ZBsAKMsQRNC3k+EDaYgUb/hL8mUECUBNdN9q9d
gdPSv2ZdRjPQ5TDY8ORHVukmY+71CIoA0FiAFv8rxmYsHiY5mqoss735ZdRNSBElC51Uckp7wq6L
9qKJmDqL4qr/tOs2J0YGh/owzoiCxZKWR3Y45oCR1zwn3MMGpula3WL0D+xLdM3kBlFUApY/OKIg
2y4dUHwU57N4yUzFQ0XJuyO5KC3kyQ4M9nWpyKEZQ3wMt5n0WCyiHxMFwURuo8J9H+r81mvaHWla
KV6l4sNUyHInF07P79mo3OsofkRp+lDi9CEWODQAZMd3Y/qJwe9VmS8F3VWOu8ucwOeHAuQQgzQx
xV/lh13qS3itFKplTb7U1j2rVLv/vPajt9wXYk8oIwFrs4/Q9oALYoeeqYrQALb478ZjE7tEsgWU
1AaMA7LaWjrxNPA6QBMxqhleyWtjnhEKQcslN6+n7wrxZ1EN04REOGyZpgzM9m/EeKRG9QHU8H0S
qleg17ucmWznGGPsN2OIzx4oFO8QfiZgMjbwu5SzjXOP0aVtlTyVJAPUkOOyI3inNaaTRn3goRGr
Gm8l9S7X3zne2khjyCFBLHAkPMlaZ6IYw4C2jocVcekmOejEAtLNdOBKPljMG2HuWRRKao4hApo+
o6t6t1n16sgTEEupYO8fSvlTodn5KVrlXDJbuNLB69Z4HH+yo5nOgID26cJi78HIfD8NzYEvQJJS
ALxYUIDe1cD4KRyt3FeTP3HPVB6gdlsc9Vo8ZrOJ5SCBYV2elCAApg7Ks8aDJKSn5mtP8d1TUf3U
qA3aDzKKRc/MPmXS8Xrma8k/nnS05sNdIaws8c0Hy3Cg5DVI8w+jL21rmW1TNlDbZRwYjTMXePsy
1ZlnzQHYzRVFuZu4TQCZTZM3K3LEYhki+DMVVjyIL/UHZIQJVGg9EJBINGgZLIAWFngKAblzO/TY
GCUHVCWr3xKCdoU0qzG1Q611D1CnA1R8+c4o7vB/EANiKbtQSjTNZS5cmcGwFS2AK8nnse/9nOWX
zFEfQ4iZANAb458VEKbHfyZMKlkAoqdWH0i/zPymb0R0GD0hPioSeY4V64vV1X6ZzOOwF9vcqRNc
orzcU945s9GgdGgcA2HzlGWOYLOQzoabBpKkBl8nBA8zX7BqWxeWYEtyxWJ/FgzdT4Xm9EWvAF6I
2Lt6JhqGxpmmMPfHzNjJOlJIv0C6gd7WR23r9+bav2wUC/UDEA4jfGtFvjbe7xwMixeeoncJRwmd
eZ4UPNQBgk4CgN/lN2lQ3EVQvewfzyHiEiiE87bevYNtQARR4U3ktOmlpxWxDBxaMNPaI6Z/ljfV
t3FOBv2i3TtZPP+/DZJKFmyds6jHkviBVB8ugzdhc1gsFHTgv63ltCGC/QZVmyGdl9WoV6Y/kSS6
YKQ91BoSCRY91enA81N1taOwyqp0EZjsVgxFLKKyM5I2I9L6Zm91IjwEYXjEBqVoZl2Le1dY1y6T
L0lTnb1zr2g7zuaOJdUkuPWw6vPbDbmX6AtV2c0W1UGwjVoyC52OpEJSLeG1FdCphocEcgcPvwW8
9o1mJpZXWUrsRC+NFr36MfPPkUZEMm6Vzg6HhE2q2ZwAOXMh8p0SBRXFzVpRyffsXblPMKNnlrsV
8FAdTwFdLDt2fNKmuBz48uyd6APYQN9qMXVVAqCYvlQI21h2/bSsGeoGOBqtpvzPIFAyxUg20CGH
+nEEgQpHXYgYGSJbllMsqEUBFTJkeSXjwYfGQqiVmu+NQyQhdBLm/zLJRBnoz8xCCoYhGj+onwwg
gBiQn3BsmhDonnnJC/Ea5u0t3k8IrxHXuG16XujGItSvaMTBxTVh79WGeqzryM9VlFLqBDJur31r
VQj+NLwt5Xyr7daUkfKbZ6nlB2e4II2ePPgSdXKnm4eQWjA1ocayuCa+Y75IikhG4oxjQdnOPRUi
YPuwqFyV1fIUpG6Uxkj/sQ4T2pWvHv6ycloL2UGsoujubFBOG52SGj0G3UNzqHK0yL/TigXeVYG0
qxtyRYhiSaYOhSzmnCxGASGB6GQ0hkJ3Up/mTHXS4tZMO9tkS9k2FKRsKTu2lEqwM8PZmVXRiflR
NYszOQRs0A6EJcGIREso8lduynA5Uq8CURKmPZxuogEI6kUpCKDEjHQnLE45+7KGFMyVkw1kuJ3O
AdVoeFLDJ34FDHIAQ010IqflvKoQGRzrRDIQjdbjS0lX7yp6F7ymE09DckJ0d+I7CMm9K60jd3SY
2Apcbqsg4RlwqThWTnCQznI77wm36PpVSpwSyuJJRDkk5DfM2reCoA5Wp3iTzfwMdGm5tZq5LyFI
WX+qPdYUu2OCYYCwjjjlStPRL8Z24HEOghXyjLKR6Q0jZu2PzFsDLCxloJ+Mv70FAPyXBGlKTbnD
zaMXeG6NQ44mjQ/4gDyR68vu8ZsJX+TTDjU4Tew4P9LdQIzZMpiLt9q+51hSNmWjeJArFfRS5W0N
8DNkxuEAGxlths7qOE43SOaVIffMKD2OMhl+wDjy04yCJ1LseCtN94LEQFlJj8YsHNt1DTkPpyC6
yr/iVXUHxgBoaQmGw7TjjiQ7d57IKQJiHWgl9sNMaB35gjcUIEC51UDWJarC9CVxIhau3FcaOCX9
0v1DCYmiZBGENyQ/N7lxYxENsn7Mi5wvwDTbeZfstuWa/geAclGni7pGEgzdV7nGcUvOOLJUjZ7d
rLthiQIY0FeOvk8BHSqurTwAmvBtoNEe9ZRc08KeUmcYOT2QP8gtCTxIloFjsMrZMmhp5xfG6qcB
1NTqxEdoJlxxKfsVrEgdIKqaZDwZ23vzPaAUngBkZihnXlLLRdVsmAXHk+JpAdPGnYYRh+QF2vxJ
QUujKJdhsi7YZ8GK6HjPyyx+ZZr8zNT0ySK6hfnP+QQsomtws93IKK6NnYXVAwXdWX3IEpxk5uAw
zONZ9ckEOcsJqt45OYxZcZUs9ToJCFcInYgaFG3VbV2Jih+DGH0o/fdMF2wuyRuaac3I3lAC4sft
rrlYnAHJQDyeQTqPBsF2M+AqYXBblfW+bniD1R+lwDiKDgFfTYZ5S3tPM20XpxQ6s3bHvnQnG0KX
L0UMc2EqLjTXZ+MqKJupYXWC6g9JMUqh3gG2hUip2OnYJTupImCIy2zcmOueYt6F4qY+mkDf41Nk
Ey+hniclvEKTjsThHC/BLdpPYmiPqtPElhvOqRdFicdwyhvC3IsEiuBAcMND/x2k9RM1lmEI16xU
VkDuHWppDA3rHfPZDI8/ARgDE2FNC7oD9M1FdRunpHQiQYYH4HV8sZnxMK0ycwyIqErrap+TRWfX
6IcxAk9RA8vHyOo2iUaqJdlNUojomixAFVWPXTOofmmUFbLMy5Mc63dSXOLyquNjk7UAi6p6Eu+7
JFe9qY9dy5H9GvOyaLqzrZANFNvFx/JY8uQcYzB4r+TiFc7m25SAztwYa7yJvCVaad8J6+afgEWG
yVtHHmI/z6wj5yAgFUww+VfC/4rTsQcBDkmOnd5ec0OY2DoAj3eBybamyPuXtLrm+b4iCEjoLJZ9
z5nSgGbozfcaDgAjOlbrBeJ9sf5mwRyT29scRGyuyHi/AF40+bbcW6cWdVq//c1RnphbaDFd7GP8
0xRc9eT9PBl/gW0Mo70CKI0AjFRU4eh8dgFTopiauIf3z48hzdbur9Sx8BiCjRDfVrAU4x2wTZVw
yAWjLnM2XT0UeU/wJThbA91CNnJRJ/tQ13a8pjvtL0Jypm6xlIMKNIgKL28485lcKY/0kSfTQ695
TBbpWcDJSe2F60BVI9ZHRHWzGx+d/jvr60db0fhl+bXk8YQUjGBqzk4F859JP4kr0RIH8/H4q54X
eMsWbpmyGZ1BAA9CahgfLRTFSXyR57kdyWNSSTBBbPW3W8M2FN1pfixzPBLn+Bg48GbF3MwIJPGf
q4NnqgdmIonb7YzmI7QedCa7fDMcBpbpwLj23c6vGMl3ebyNzT/6kF/TNLha+XjTTNQwRuWsgvjQ
crVQd/8VPmk5dq3kNn8y/pwJdmCWysSrOiIgZ6VOnRnj063DMRUmFdDy9xHAacxTM0ag9FeMGGJa
3ked6fl407uXQJBSj2adX2VF9ebHsFg/f0hU6ogebm/kkzdO8xGfIYyZPrGHn3ovc5EyK0aaRRwm
I9C8sNE0BKwvcCku/KajKXk2xLT2ivnGtGkTVuGxJ1cGTdOk+Vmd+qFBOh3LzGxCXM8Z+SvoqKZt
LvnNPLwkRUMCEJ4IT5TUa99hYrV2KpBW/nQSpq+g3USJnUtPCfh0rUSb7p+aE6Y9DMeMAJuRE3SB
ZKVETDc6XO265cRr8i7CnRGfFhxHnNLGn27xS1nf6PxRVMvXVf2aWOepqR2plrDxYDJFGYwkJ8oq
tx+xpPSjq/IjO6dt8xJVgoCaXdKfZuJPfq2SBXolshp4lNIV6zklhNv3jDBQ5S7pix35m4Gotxsv
5W+q/ktS/JqZA8b8v1dEQfGgYDgU7CFlLVANN8J/rmqcXfBwyrx6KAZ1HPSwHtFMyT9wvmj3+djq
/aAbjtXCPSmzD2OgC982bW8TIG+rtWLPGLuSBxkdgxrfsTYbVv8kffGVGeaLyleqPgt8FO3Q+GGn
ctWYL0AoUHvYgoJfPBrV8gp5QsWNjJxhgW2T+sUg0fpzNJrzg+SEEll9KF85NtljGoL0YSab4Vsw
KreWYxcY8iJ/WcG2VCJw+vLenOz7uDCKCxkFwRBE/1GNR+FOfg+VDe/Gdzg6HakVqoGkf8KBwkC3
22nBdgb5tBII3/l7OTnfo4NUQYpLSZmb5ZNSkSXZL0fCA9Auxf1Jqq0jXA0NjGJlHccRULqILjOU
ifNJw6MNTinvObq2fM2eRHdoa8JWBiSgfsqfYXfpwMdtSPHZxL6MEUOJHjVYD8p2DBaNUxGBl5Jd
itFr3I7x1dpjr2X2TB01r4Q6xKgNyqviMOUmG8Z9RRJ7/8nwes6+dfgYE5UyWSZBAs88cxKKxqlc
iJMHp8iCh1zPA1qYSa0OsckCumAh30HQ2g2aF7LKL4k6MIgtGUiypuFKAf5ZX/BhUoJc4T0XCMf6
TxUQmb7rh+Pq0GHMx2zSKlYSNoToG5ZU8B68hs1xFHrIK5ob2817MuqXvtLPyFUNDJMj92LdN+yh
bLUgf3aRDzWtm9NDG9QSvwOJ3DL2nlCSSQuE5IQJMsfaAlvU8gfOiYncohD7L57UVWkywPTC7u4H
y3C6GyRO/ckY0OOrJftYlGKPp6rjjK3RqG6uxAhwNvdHqt6E695o3eW76WN4LUQGPPsgeMNm+JZv
pSB5hH9bC75BcM87sghFqlNFuqryOxOHnUGWipUCIGd6Mn5eR3U+M2/ZVOhxkp9oJ/fpWc4tPx5m
P25T36DEwTuqGwWTs12uo28PST5PP6Ju03VkQ66dBzuF4FcTYv6/Zv5Wxi+eFGwd8GPANNEPNmJ4
yPigNe32w0p90T8JTxtJSkoRq0GEiL5jTPzAr0IgFFP0lpF2qMHi9mRAjd2m/hHddkp2tf6sEZAj
Ot7LD5avAgSJK9+N1PptP0lBl6I3C9oH0xqgP0VzJyvna77+xCDGe4hEqAD4Kf4h2GC+GoEGeMb5
17dXYsymYfF003DFBqvR4q8bY9biI9M85TxVklvokqOPH+tYW911nmWpnrohrFH31c01MzYZ0WzJ
hy5T8andIWZu3PWd/XM1d/Ukn/O88cdPS4Ybz46w4mFFX1TgVHqioKc0gBCZ/itaAjJ94W8ghZdh
e01zeT9smUAG9YcCJHMTuumMvi9xMiKksGuvrFYlRj8wPCP8HQSsCAjUGkoVjupT+Ja0RJpOui8H
AhqwwEeavpU6VPH/IMokUvc0Zn0X9nhoKB+34SQ+gw+ifAcc9Xj8ciwVTIKYmP30+JMN4CqWTOBt
hb/zY4Zaas6HYT/RA0x9dGUQzfNE8PK7PrEM1Dcm6brmhtN4iqerlExXhTuBma9FQpVKQtX7RuMC
Yns8KOcgvHPLHaRgv6occFyoQbcRE5bFexZQFGsn8WdWGrTlC+gR1REzwUGVvkaFpZtPXGKCl00c
/57kTdZCKuw3bm6HccFqFnQZcyPw+ZRZSGYio0GWkcC8CVekf0JKZ84WDnAhKw7U7JJwa5fcKWcJ
sYL432ypj6xTE3wgHTkYOP+MXmdAV1ikm9V8Ekt3aBGm2+pMOjksa84yEZWHsUcTxsah/SEwQLwZ
NeollORIIRDgnDjQm9JZ+ba0cezFYtGAXP+iUXaY9mZXiYimTM1eZZC8ZxY8ergYy1F6j0X9bR6T
Z3K4C3F/A6BfSPk9RJAS0/IzbE9PeKVitXzrtauKI6YmkjXfIgtE/Zcrj7pJ77gaUrMAtQ9KnDFs
hmyceCl2MQhP8KXIEFmH1kvzvaTglmX8jd4o0yAZxwjgB4IsB/YAWLA1apHyqs1wjRflKBooa2fW
F/JbwQVdh9NeoW0Tt+hdbk3whxkO+k1F3qp+FJ/gsu5Svk+5eLMM0c/CO7mEShWd8k7eVuRNMKaZ
yUJUEMXlq99muoeR+NAbWs9tbqY3EPBoSJku4ez8SkfdHnHg7CAP9KzJx2Hx2YyzhRRXf94Jme6Y
dbcuNa5USAXfm+xevZWlRSA4alEs1bPG6ASOT4dhJYaCyAlM1Lum7nktOYbyFEjMoO/1Bs3W1p0K
BVLDloXcbv1Bl3O21OBSgDwB4q5JTKeNg0lr14OANOLD+OwCQnZJYBOs0adwGyEPSTC36tyX44HE
09m3atFflHLbhynWtc4XlUeTNE7Adl841elC4g87IaU6avdolUgKG/kzndYMrR1XVsIA9wCPC6lE
emSHrgTPpjWf8Sg9jTR6pk8SxlyECfuw+VNx5fUZFkQA+Cjg6Pt0MtTw0i7q6Cv80oP81MftIo+E
zMf+bEU7E/YVCB1oFkStyDKyGEboTJg23MTSeAqwmntzzg4T7RV8IeGFgGxV8QT0uohHQIP3LHoi
mFAWGdigs/dguIizkS/Wc+SGjKDAQcOoiPaA+Z+Sx4s88K9FGcV4pxdCH8b/dVHky6zyKIbIofYT
bXhi2OHwKWxVLXqIqXmLjeGKrv2c8rvXPIHjcKY9E1gDm/GOF4maAwywyYDDTr47BlD2vTU1VEaE
r/rp0h9RRUmsm1aJo0idE+5HdGhWuOmFe6WiWIFYv83K/Ez9J+azJwy115sxuTmSW32zsiY4wDqj
W7upqEvU1tpT5V1SnUnYKSHAiHgfb7oHfG+if1xalB0dsio9lN0Ib90F1FHfq4f/cXQeO3JjWxD8
IgL0ZluOLJqy7TeEuqWm955fP8FZDPCgmSe1qsh7j8mMbC0emuDWY28sUP8Vm3UEv7ZIYBYnoLTg
XZk1OAHRmY6zIXighlLUicohHkkal0xvio/9W88iIkpFm0AJlo0jy0YtUu1opcNgO6LS0oO/0FD9
JVTa2eTMUeTEFo6bcm/8kiN8HTvhkkd0o6elu6dEst9qy3zi8VGS+C7q5oPItkeUHP4g3lvF5EKt
ajHdbFWf79fPW8pP9ghcfoRrpVqwUsolsOQkgjuqVt0lPAP4Y2jGWlDI4w6xDIVuqrQ2OnjuHgKI
IZvqn1NqN6sBMI5+AxKVgxooSkg6GT51SpuQSt4kcXkIHxWsKylGqo9e2DDB6FfvRg63YRKPg3yB
9Fys2XnQ/s9pYiTiT8aZWEkL7KDplevZahWiOgEQlNrLiu3QGo03nTYWynwVg2UA0ZAt8aGizZnZ
Ytv1W1uoDntwm2LwX2l8QgDSsfWO2CNCN5IOiJjrMSGJKkPi+4VVKsiZtMecE6TyYRdRr3M93AYV
82ZOrOKrHC9eZdcra+0JZEeOgs3Q7HomQA1JO0w1tpCgQ73dEM8P0Fec81wBftMk5Jyu8MaAChlQ
/1SGkoTtCcC3yHVuWFcm1i8hCgC+sKEwF9X3YA74MUsUH+k35bPTVaONanorXcnPhIidEQjEH+N0
Jx7Z/8OjpjB7sk93RVJH53dSh+IWretsK5DjelMB3XAaFraHsGpwy+PF2bKgdyRlKMrwICYOw4cL
iDPCDVCRuIs6e0ZfKfbKwQDNOI01zFU2ORiYRJANN8mmWjMC2hX+fCNgj/5FrCGoRCBwKviWXB9g
bgDLzsHbSnb+luCYyd8KC7GQazI/IJAchVN2ryYTQ8NJj6SrTix3kS9gqaJb2yc3TSQeSlqPWTxf
GzFHoDNeQhYFya0V02uGUxP6bEaiYe3cFJTnWsnbXoNXzpwmDB3xKRcldnx8bpoL9OCoT9goOg3y
fgOLT9jEmimbw/YXN5PuGPdafslpUVeZWNZ7dsZnu8OOG/V8qB+WGd25f+5EL93D5aQQ+b2woMvT
jim+dYiEPxkyS1En/3NOzzX2rCKUGXEwkj/0o2Qb9a9SGCTXxX5rCO6f/jGi0FpYgGhDz2VLvt+I
33l4AsM9WjXiEm05gqXS8zMDxXNeFC6AVLcaI6+PGZusTp4sXljoHqVSrrCG/CpDzGiW4GiJ5eyt
bXW6Y686bjF5mqvkC4pzEJGGec7m7V8CZKfan0QbP7czQOgC48AqLkJ0a8EoX5/5hzDg+DavOjzB
pfmeKHBVix0wI+HuKN/FYg10jK/QtOEzXzvpvrjaLhtfVftNZvSu96QKIM9mjORTgFytZ3+Yc5kl
W4GVaHRR/7uNcJt+RwYUwhTMYnYRE+miac2OB4n99kKi9wqFd50mn9jqnD2GytjMnd0+gp+6Iylq
yCp3Aw9ZTXMtFuMqouyY0vG2Us6qde4abCkGd2YZ3751i/hqCfVjNjXXopJMPRi5J3MdT3FJHkdp
HulI0bK2CkkuQo72uAwIzCLrSeDfS/Hpn3BcwsKZO9U2iR6kUUdlBVekfk+zO7f9fmi+Eg68Jhr2
/abFpmPkKldIFtFwwdvQXl+x2L4WtjoG3H5nY5LOGo15AqeJlw1hcgYhFKUPY+GTFu3ELnvoZ1m5
oNvluDLNzHvE4o76fk0bxnCrjUgQpOiJ+nGlHg+dXSUPQZlaHh4F7U4DhtMighQmI+MfQ7B/I/i2
PePYTflOOq9B7My0cCjjKSR+vVJ/RL5e1OwjkIAZrDip8zRQ2nK2GGK1vUsjocAObGWCaOc92nV2
PUjWCyTrMspq9FdoKonYHS6lKNgtARPjgo8t8/Ra9BjsjtZljIJkP0icJMAh5epeQkCoqq3d7joO
8A/IKoTHdkt3Cg1YJfws4D85Wwz0HHioiXuJzrN+2LLXVPSv4vVn48oyCOa/SWvBZcAc6M8aSd9Y
xQQ0U7zUsJqwhNRIMZIKjSF06QpO8HjqZNQn3wgOz3nc33QzuXPs3T+3eIdLj/IXgc8xjpZrBP/e
wLbZ5Re1LC99V5zb4lmYaqBFUyAT+DAUoz/OCN2A0SGKbLC6RhVZ4HjWxFM3OrK+PEXdT0iaJeeO
qzXj22QcoxW8kHYuq85sJI7pT8j5cJOqxTkcawcTPOLMya6dljLu9E+q8KaiMS5j1MxbphzAKlbC
kK8rCFSfEiqas8kWj6eVPKA4L/fhC/r9RRgChbAv5H0hUt2asvFhNjBpmDQlkhfPjM1ZXKYQk1If
d4InfjYKCt74tkQK9x3SENxUJmbifUgiLZJDY2T8ieXBrIIWTp9jwedCbVRvAV4iKZYYumBPo9nX
wQER3pOiul71gy6R11di46D8StNbDgegR6SCvAQth4HqIT8VKDoGqIsdwMgIf+JIKEP2vzympuq3
qxGAmnxIZnjDvW9oi93+sSvCLlLMbT9j+0CV8jnor5S2KJk6dWVnDEYGtYWan2jfkSXh0iWmx4pU
pwIRYeA6Gw6kbucEmjkzNnBLHdlvs59WiEtkljaLy5mkuUNeNDsNdo3YA/8WtwXGdd4xeWT7bAsi
9tnPTBpxkfJoza5AQKuRMDJZDkJ8bXlXa6YtK1iWabOx8DaxHEfHV3+Bq4Uk3tfUvOgN/bV+cmqG
+pE3jngpZnFd6VuWJz10mZEm4PZkz8U3psJp5ElCtZXJZPjgFYEJX43vMRU8lOEsW3yESimrWj5d
SBD2yqFckTwDgKj9NTPtTG7JrsbtJjaDaySo0kvNNckBQwCN2Q5F+kE0ySDo/TLvmF2gn1Sic/4o
39KNDGGZyIAVPxRNXzDiALS1Ep4+zfk5oYdupNZHsLBblYbBX+qjksrooFX1xO8UQysMO0iF9SmG
XdUyZSybFS3lvlg8FalZy/A7XSQHISNCLwpSppctROmG9VGRsFuy1xUZRfEtzeG1S4GbCCVU8/ka
HnpruXKCjV6WVbfQmq5WDAG6WYKtIQNeEHaBblgXMm79UUht7WjCeyZXgP0NujLJoLo/aASrVUfy
sPGBEPpBW+SsiOUi9Px2biRH5cFG78IXk+0rcDuV/M5cTH9h2J2iBYPD0Dp21DOFvGms9OHRK/mR
pGasEn1PauO4eLfqw+bsXOmweSlWBg/yc9v8C6EjJT2JkH3Hl3fiDFbSzmtVwQMJyJJtekcY3CNb
pQjuy+g0DcSOn+RCf0cJ+9HL2geI84+hO8e1+Fyb9V3NxKsyvxZi8lriAy3PujYEXFn0QgPE2JLl
oqExNtFqCFnHQjqhK+0zVoXwHmAO5VmzX4zZrgjHBC564uxFI243wJN2gvnOsEgczjET44KUXP6i
4UnBui+gK+WiscC1aV98kuDi1ZHFVOFM40u70lSqG8EHjdSF57pvPfWvKsT8BanmG0ftqEmqo9L/
DU8cmBYfacQ1jlRxRdu2DEfAQVuYO/8rZQYu17CYmVHWeEnQOGSIbk78PYiOQQHJL5O3ayanf40s
8yB6QG1NJLx/sHyzDTsufwdAepountB+U1xPY4CMoSDVB75prLyaQoxCSKdU8kaU5jHdT4wjIqX7
gdFyKoBlqb5ipX6bs1MTWJfkqJR3azhdOlUjepQsqVzx8eFkCJxpn8c99V3MkFkfn8yaRj6sJRDK
N11DTmbNl8wnlHD6QZwz0YSTD46dFw2hjDmtaR203xhtCaQmXmBGhG324lvbx4+R0cReYmkxmuTY
7FCKBNh8tEx+4L5H2kisSiuhf/wTJ+t7I1UfNUrLO3lKzwIEM+KgU2khsppBIfU1WESaP0Z33I8s
+HHhRcZtiI2bma03PGg3PXuFoOiSjoJhS2ImV0RaoHdRQFqfV9ShS9/P3A+kef1h6sa5Z/hXHGJV
ZctNCx+12NbICUW6ICx88PKJvFEkXf1lzNdLcpiMCVLEYiNChWg8EYPVIatubOsM7J/M+sugZp/m
cMO48xgM/cPIow/BCt9qbXo11eWa0om+W0RdZO8H4y+7QsKza7q7UAQBhPZ3VR7RID2H1p4iFIoa
vtjnQZpVt5QMtxInhwiVuMFFmmhAYQ03HVS3ZZiA3dJlK1iaFzMtLuZUB13CDDtujqQ9eiLlo0WY
cwNVcGDEwi52UgBVc6OMZ3ZvbzGmODmKDwTHZap0q6WYQB0sjTtWgIeZFAXQ8Qp4T2rvmfVIDM/s
a5CdBYtXj04wVE7K30FzZw7E1DjGhNVLnFtUOEelChIqJBwdlvhbWrSzXLBizU6UQL6MD7g7rTBC
O+hVxQ4/RlaFPrzBoDcc4zMNpk3oL7V2Eh5C3EbjKjrqQwGEYo67pZ+dP/NeRDKFygSly0gH3CaH
ynwNGf6OnKjw3x01Aeye9w7cA3AOGD3gwVhAF6cU7hvjXYIIMJMYyqdorAdZGvgPgTNY+2VdfLEw
vGTZ0nggib5c5h7IZKj4o0QlnGnXLWOdVjJNDkJDLu+ueepi+f8D1Ocj83KiFGamnjgXl4aDXsa1
iDtfqhR7csT1EDJFqPhHHHkkIzB0kCHXcNPLM86luVsNByjipAWMWoIQLXIuxZ5g/a1wav4VmewP
6CrEAuM/aS9mjBeHWWjlonb1qo62BrUuzPHPiOwLYuRICvYBddBX2uXGFFCcCRmEyrcGlT8NVQRV
h78mSzYLBDUPM2hccpIxlF3V6iiR2MJRvLAmvPX9YRzxCFgPpF40cGSO6PSF5m80RH7h4V7LxQFP
Z8iwzK4lfwRPwIAWIKwSf/H3pwKM2KVVRLKg2ygWYBCFJ8mWm0m8hF8j2hCsAAPDOv07gVMXnz1+
IT6bMhqmmo0yoj2ylKzlbsjR00qUO0CMvEpeGevyQ6vMAV/bdkZCYocUIzpe0PGW6ZjEpOc8is4I
DLImD2unYbmO8RP12KBzYK3huTSvPYUKQAbm0RoXnPjbc60kTNOGEAjbfOI3VdXhDGzZJX8TBgLO
TMC1y1GngBnJJsuz9q0EH7EcFbAAUa65JVRhhWBsPAtwN7OVlF4morFiQm9jxdrxYqtBtShMbXEC
yE49HgGGXMTWi7lXiNJVzMIRFckWLzh5vIFrOmt3BXHBPW6YNTAn+PvTYeM19h9CcjQyqIA4ZiiA
V6wTW+IzvapANzSxnBX8kRFIC1+OtPqzgkZMMLDWMzzfRWxx/qwTWg0K0JHAR3xjhxWdfaAQMkgd
ieZmQEjaIiStQb8PO9gDcX306DRY+J1rbPcJ/rbqta0bWz+iNWU+ZDJ4RdxvUpPDclxvqkGp5AKQ
A/vuAEwx+gBJzEjke0NGb9uQOXNdQdE9jCl2eOt3rSoF81Wg4TC5vyNtE1PA8M0Ht2VTRzfMk0zu
NNWuWF2qKL9FC3GC63VgLgzxIs5Km0ANjh6OnTk7hYiYExr3GgEkeSLBvN7iFlyFSLqe2y27BBgD
UDdtC4vcmXd5UHwyIQJsOJu6SGLbgqUCFu6I1KlL91SqRH0um7HDkZCFtDq1P/oeHEKH+VZx/C71
BU3oQt4F/ImUwIf0kIhI4KjbAZHT6kbkXwADhdqFHbINkb5z+yT2zBCU6AyJPZJeXkgywRdW7SVE
iHz3BgGNKe5nONxok9ErRyrDMWVxDQVw/LXDHRAPpr9Gxzmhqy3SG6ggWXL5yQ+iKxYTiVNHQXca
qTxkTAMXJAqSo8oWWRIlzwO7DI1G8JREJv40w+9pbN+V9qpGEpt+GbbzriCvRZZGV61Hb8UXiyjW
hP3S2bHaYXGJyDZ65hnsqtF4mXv+dMh0xiS+sZ8ZIP8QwveUqVnYhe+j6d/v5GV5dsYzTfX3LTG1
1IbOKeOS6Wns8OLMhm+wjwqP2qfSNfYC7oGb5ZSPZ5lzTLmNRon/n9tDguVP0yE92+iAEwtXF5cU
kEvLk5HIVvN1DBHTYjFkXtSTfBJypvCzq/FkU62LS0sW3nxKQUdavXUal5P6KCkPRwZTZJdIXG6C
hh6YVxj5qYksZtVOMtPLpLk2TAy2XLUBvO202xqX1m2hjSN/jpHHFgiCzC5CJSefF83rPzLoYFZg
zsTbVF6UpP54Kt4jFHnsbE6GOl1X7jphHaCyYG6TOCKZE3TSTsIvRdPE5xyldzKXSFNwrCCF8Ngp
bLGI6uwzhtTW4Legt8iGsuYHe64nJqJYdhPwZNNAnaxyMYylhwnVW5QGhtdPbpD5sHBYF+JffSQC
CnNLG9FdDjAZddSY6vi+5GQVmwx2Ii5vVj+nUBNO6jUkDiVzxelJdqEZAvptGDChdibjQRB0u7T0
f1kcY51BNr86FM8tVQkI2CM6uhar/SbYrVOENpaK3vc8A+VolluHSJgt2U9jjFelRnbSweipK0at
4KqrdN34HbdaQEQGsLz5gZwxjV5t3ZarRs8ST8spbU9Ckgdk0KNHPimIrFAOQbiatStIhxvw/f0t
py3S78DhkfRsnBoJDW13nFThgIhCt2A5sZTPFDTw1Lvk4GY+UdUiW/ZNpUFRvvyN8AdygpNQjJkC
G4y61nZBB0IICfpmXdHJQ8CYD8EJiKkCIwGDqSUfcm8yS7/cBl2ygL0nT4lq4CqKuEDQs6PbHt8T
nhwlWGilhRKCSTpgz2KzRXnec8EqqWTv0t+Ys52avbVuJpszncyuA4QBEc2syPRLM/ZEv5LDsDU/
zG7Zy5TwttcadLIfq7VfIoTa7L6TqJKJ1Fzii1zvDB1L6N+EHzVmJaHByiGRNVn3qCMEvoHeRVdB
Ky3i7MmuZA1bCruekpilPVKvGdIi1Kqz3+sE6gys9sgz/16Ux4BRXX5SvQBbybAhKZVyquTMjnn/
rC91p/M5LT8/MhtlqXBuPGrSOyaIuZiBPgLboyhFuS2DGebnMi+4xR1ILAUDG1GQ79AyRWLsrTK/
yKadIc0DShhlgpNEdIYrjn/4dvpzbvVgRTMM0wRGgLFD54P3Sfd3JmTXoRptuuJy2ccAYKT2kRTs
9LEDQJXCiqYm7NXA212MNvIz3QFHwhTlXcaOAUB2tS2eU4GZXxR6ZH/6JH7Nj7F/HbA6wZUyaKtH
RFdMQeY2Q1DYH0MaqA7+bMOeHAwQJn/G7RyYduYn6dfsdj99i7+MoDiaVCTgETLHumn3s4wyks0o
TEFjus37+hdHgXpldVafw+hgBArxk6BOh+JqJuUtG+CakHsgdfEj/ZNi7ppM/gTLZtTWsDPZWAAv
wEMZZoZ4cbCSct5iuwYVHwepkeJf1c5k7eCwy8/Rp/Vroloi7r7N06teAgeoDYKgUEhlpTsao51Y
rhLS3rBOE7cDs/uVy62wDYQ33EeTW1qHuXl2mnzUsMYxkz5W3J0RPivdlw3rxBhKSLDPAWIiGk0x
BIRCrwbC3Cp+k8nVAMgRTuiw+T/2aLvIq9wRIBCzXZ7xzpBBGY8EN7JwyUgLV4HxNvTAVWNXEV/O
cGSQyS+QhSOkOsa0M/775TtjX4vQhnol1dwlZ6c/f1dAmNhIoaXBUZQ/ZJRP22tKyUijP4VfMQHr
2sC+4iibQVaVO2vqXPY6XgdGqgi/mvHJF37p6eGVDfe77N5jsdp3aIN0vIkoGfj2NyzA6WahnWTm
YmIkXDEK2KrONbzsJipoQKQIekD3wYboThrvls5LpBzJOUZnCqeMmQYNqZga+0T8mBkIAOUBPP4x
ksSeD/ppiGtfL41jh0B9VO3kX4MHZRSyo/WQBY1cyLFBM5i+MCCdTKoPdAKCfk9YB9Lxsz7DG29W
vho6LBWZfDHQ7TLxoCk0XEUWFGxhB6gQDJtSpFDoznJMioKJYX6eMUHCO167ms4TcWxQ4PhKNscX
pk38F+zyccDDHJ2t95yx5oDmmL7fi/S9Br1Fa94jM4Yc0F9QnmDiPq8zGNrZRXS3LTlaMpaN+d6D
+V0eeB/PBQpHIHBpOO8NvttoRN3JDhOhGR+5VLlAQG+sBs8st1YEmqEZKEPjyy8yJaZB0cuZv17I
2KR/y+lwWbbDqzxgWz3Md7J2DqzoVvKHoo7p4G7Cq/hIpj0aUVehNFex9HW3nqwOmPWbhWZSaHww
ezTQzGg1LN5/Y4SCtWLahn5At0NMvRxhktybRbSfmf5WywXNE23JdJgz616m5dMa/uSjTvecsElx
kS2brJ1jMYIIaRwANGC3YIFhQn+giRnOVSmfi/XSD6+MlGeKQbFlZdWBOxBdFigRTBGw2TUUVDKO
zISAyCjQ2IWKbELDZ4tDo0LFEVdYLUrrEjdvJG6fC/O7wFGXs7nSvQXgKxlSUJNNEr00L2vQQNuS
gF3NwMh0+m7Rbe2IuZQnOpK9JLDyXT77Kj6clkCae5Av0qU8aVbxooT8mOv6ZmFHyNrVXzT5vbSs
91QvWFC1ly4S3lRhR3oCE0gdjvM0OTAVnN4JP0td9kaN6SBhadADO31XkKeoDMWLlikPVWKHh2Sg
yDAvTfbjn2m+mcw6Jmn0/4V/Szi9UAMoV6wTSEy+NP0Q/hVxk4dSeY+/MeFa9CTKBcWmuZ71v+YB
xgILC4J9u+PCJkEceEpjL8pYLxInrd7Cc5zGB6ZdVgGeYzcLyLTmv2w5zwL7NAPnRHgQHqSIORWl
WfKv/16b+D2bwlcZjaSCl4Lh9gN2FWuNNTmH8EYU2QXNjvoAP+ly7JnhCH+MbYPRlvrpR31hyYKq
ap/zYNUbTwUeD4avOpOOA4YvFXWlEaRvcPqYEokuVCb8KueS1ViJAi5io3BnaPmcqt38i9kOsdro
Lu2hOps/g2w+zDz2MInzN54e8WzdYY62+RPaNed3t49erLtWaZ7GHsRaiLkZFQb/P0gFG97zCEwl
xstcaZ9hL+K0XcbMm8vVXUOi1pQZ/bWrJgqKXYQ6ecMaMrdx+hosP3XmfCYUN3NikqAFc0psUMpM
r9uWnULQiVoAqjzErKA8Zaa0Yxl5Bd+CTMzY2M/HpXqtFIFEUSL19tu8OxlHv2KuuZ1GePUH/Uyz
jjTJYWtAN6iukr9QOIRxefFJuUO1/5FDfIsP0go8GGRo8asq0LuOe1I+/Amx2rq37iawjeVU+Qny
Ran5jofenqpwU4M5TWLu8JiG5S5jc7iwDOTKF3FMJbrTp+t+VL7WdmLi0Xpl8m41MF01wGAUDxSU
FhuK9nULAa6WBlJdC0FuoueBJNdI0Fm/ucOqOwF0u+w4T8UtQa3AEvMuytkjOjYs/JAlBFYi3wCd
Bc2K7j2sTqqUXSDpCr0ACGi3juoLGDDkgLk0kbFMbz2TxN2oO6hKBY5kqAB6zDAAncCErtZBx0aU
ny8V80WPqoukYv9LikBjCaPXqkdMxF6B34hMJMpuhB1deCr1oj+DCHajc8Ea7bqSmlGfUv6iDfVj
rFUekoVeIeBMIhA8fIjgKXdK3T6T+NEY0XUGANspfhSVwZRJgZSGQa9xaSSvjPKObZEdNIPE8Uyn
NmCNnXPmDPlNsKO/C1DDyYcdtGGPSI2/zysFM/7yojMdTbMwBg9M6lm44YeOL6QC9VBagZq6Bm5x
676BjjUDB4FlJ+RWjDkBQEJQV6ojjJJTRxxBFgq7BIF4He1CUlZkljLV/2YYW0TWY1TSSVfI41r/
UHKGqXE3n9gqJYstA5pv7MKDeehhQ1cmo5j+ZrVQmBLQIEJ4K6P4vhF11uoapvGVtPJLm9eXUv0s
GU42GLmFvPE1SKzKcRpY3hsV6D6GBR2gswKVvTmcRpPfRkYsfVhE1FMAM6kowiRFJIgjCHpgeixo
MAzsdWYTs4Fkz44g4AcOmd/SwVKGW4nmUnsF2SDtVqaHYhWMeoUIAlEouaa4DUmjB7JMCoEYzZ6g
nlQ9uQ8Lkg8Sbuv2JG/KXITWb8jOo+FFVgV/66IqnY9deltzAuq/BDbWhV3obCTzg96zytbMmwI+
U/Bzi+6Quw30ehX9GRP4FxFiIU+vGIgZGfsnI0iUykdYg4aAcueIoiBpPgYw6Fb3h9DsFkSMEqA1
R/NdUmFM2YlMMlcfFOKTJVC/DJ8kYLTYZVVS8HjM4ou5qYCezNIDIPoyKawJhPo5Csa1RzMw/U+8
buJNVSXC2cWHDBUoTfaNUb60gvkU7K1+dNp4QhLHWH+D6qwcCXtsOZ6ulN6c9e5YLOfq00JoqBpb
SB3BV0B0hb7219dRRpRVsbSUjGC0CHMMUZ3/01iadEPklXgNI8WtA5ShYuPSwpFH4mQduRWgjJKw
eKnrhzT2165SSbTD4NFGH4szNfpdK9V7Fmq3ybGmdG/BtFKT5pYYyzVf5Ysp8jqfVyZ3AHtMIt0V
sgV4alTKl0h3cnnZt2A0uhpDMrEDCOyBZV5rzHmxQPIpuv1uX2jBBE4i0VQnJFRKMKAFWfKVt+Oq
sw3NCIyVEfwLs5v0ljfmElam3nqrcV2NER0qKM9Q31CF1t4o/+gSlld2C9EkBeIsBSUZkdGUHkRA
7vJOzi3m0emBZKFNe7at29isx5SUjCnErWI3A0mGxygKAUJxIQsJBa3xxarEPzKZotFJ3ZZiXMWg
uy6lAws/ohpqj7Dxi1bkQscCtUOVCPKSiTndufwc8uESSsx80TpXkNNlAq1U1G06raxweKf6YJIq
MndRTaT5sBf0Koh0yU8vJshz1tAiV6FqPjJQDXUYdL1yz0vt1graFYX4xcrrAPlAiyuyIQENfbyN
UhiMR9Uphw4XusRiMXyv3baKXLHWSYAcd2qeHwFKc0iafgJLU4R73cLSTE6iJXtzJcFjIM1ksXU9
4RqTvOg6OZpARybqtvGbEBSUWpEri8SEsHY0motkHkoB/0Ij0q0Ha6K+5+YhpAjAmFsUJy3mXcDl
3e/jfOKUxE2DB3j6IwzVZxmKH3WRPhvrXOniW8mESgBIwT55GWcU+KlD9LatN9fOcipdOYDdzn0V
rTQUYD1ndaD0xMwldijsNewOM6aYLbudVWuvHQl4KS+RiNVMDP3+xWwQNKu8UGKLdqwnF6txkA+Y
JXQ4BXsJA9N88q1FDCzrVAiI9PKLhcBaqQ27KGS4rwxHge9W6AX9yGRCi6ZfGBIbCnaUqtSf4tsX
5V8n4OneFuCXukpYoT4NUeCnAk4fM7kAoHIWdqXaXeW6DupEu/SYg/RWAKIzyB/dnnVvdolAiVkC
Pjou6xDYATF193z+N/YRo/TxEZfrA8eX1oV3NRVR+01BikAnGm5rdlcxVNXf/7tyboU5XeUbAca0
aBEKsc24P8K4xYAWJXt0sAWeMIkNEnJOLCQIFhXyR5hKNOjbmJojE5KqSwSDWhoWp4QHowJwFk2O
DyIq/ZZ0cdjA5tCesy+Una70babiLY3124jGHMvAEIm3TfsCHuUcuXgPn6I2PCkNCj5O0qD3m5k5
PJ6TeWe14v/ScF5NP35KBdUVfH1gF0Z+H6LuFkfjtW+htmLObUCMqdARIwRRExPWTjuOQ3vqDP3U
M6fN0BelyhdTg/lRO0sT7iENFjjEeSn/CRYLwtxLsgTC0jeHiDs0I+hA1ZWL3KOnMhL9pmk2TytH
2v4x6Op1kEW7Kb6b7KhJ+lUBQiRcCpa543f2z6TfoPdceunVCL2QYfOWZY3jZdfPP4IIfOMwv5dj
/qZPlEqWFd+LoG5Un+ql9pFJeEoxeUqDYbnHwrjjy92Z6Y2yrEFKrpwZjDZELc3f0X1JIZ2jgpQy
zBK96hbAa3jDshNJTHsFg/I/BhkVIJZ/wqOJWEC/jh6G1o3QhjkfWJocWeQms9CwkN01xnlM99Vr
mqA22id3cvduYyzf4kMhIfOTwQ6LnNw5dx62gElBxostwMgCvRx2dEA9u96CJxsfIr3EnFrIawhG
yGQb+b5j1JBzK2CT+ntW4uckQHwY1V2DGxn5FUlM+54ghgJNYonVBq7YoEHw/wczCOyrPRfI7XE7
RxVjc3aAI10uCuWpVGyIzptoCaU+H9MRIFPNV3Xo5eEt4RtgNvRiGOlTuyBRlfQa1E9yepC3cuxR
KIcDTuc2aHLVG8U9Pbt2xJfry9E/4Cc2kqh6oUYq9X1Ljqoc5V7Ih0WSgz48RjW/Z2Z80HTeSuZO
AW0k0klpX2cfvQEOdKFgVggMrs96TLC75K9kO0HkWT5LNWCa8LN8RpAxYN2jJCsdFtLcbHi9EUEi
mzFrONnJrkbRuKb3HnMJ6tJDFw/nEuRuV+4fsfRaoxsSBVtGIJXgPOe2P7KANQlGEM94+W7irWEZ
a/qI3NaHgfzTMhHzsMnjwsN+dmYSxWQWbaKAlxouz9qxAgdPZ3yBD+t+rFe1J6QI0Y58HRgiExvc
HYZT3bbP/K3DgvX0zemJdoeJ9KyhKsgfWsGAh9lBWO31lh5tPArGZZyvJFkcrfaBtmIbn/9kEMgR
jlA2IYWNmALvswUNaOHvFNL+igEVPIPb5DgKRCzjKUZmxBL58tPBzhL7HETsQPTdlqeks9lntYWi
8tCmH0b3b37cYpRj0H2JVJvIXi1fJrz3OlIagsT+bQU3xxoYxbXlL3sk7WeSLqqy3JCfsLjQGEOF
u5oPQhnrByIlfo3Iwp5Uml0oyZTLdMiX7pP1VQ5LBBNqcxI5ZUzLlefTLOu+ZrFKYUQptshI46C3
boPyo/cI3/kx4l+IXyuSpxpI8VF87kr2SXsKUD3+WtpmpyNKl+jCtSDyexy7V6bc4zYQfjXAfo57
9alCV+yuNSCjmGFO0qUPxtNnaVrBteyFrxYlRL8FmUj3iogZ7nfMzROJfcsumtWjkso7yhum3EXo
4WXyGyriX0bLqPZfuhZnWe2bFgOZXVOIj04Cd2TLUAXxUVZ4TYrDvimr3TFH2fRAnr+D+5SDLwhr
4VBFLEAotkEznJH6Cq/SFxU0xJ4hxAmhOyJ+G2K4yfxDpyu9vFeMonuk9MyTNioi+mQJmxYifERy
wMqOCUMmK5CWM19a9YJphU9vUs5sznWZUgJd2U5+5sDIMpglEKUQSxENqT7ZysDsuFV+fWRpk/+O
bN81wV8kFBNsFZdUPGp3NMX4YmH0pegRZ0yA9S9TDoK1Ssbk10LS3QK4b06faFZvelm+o0EaiD9M
wQBA2xL5R+PhmlDNKb+QsUhuUBAOA3M8bPFKpK0RZgaimZ0IUVO23BFDimesFW7DUHotCOJxHr1x
a0BZu1TkXZtq41lC7lUEetdIuGtegF0r1L6BJlbZZIaJ4f1H03ksN45lQfSLEAFvtiABEKAXSVHq
DUJSSfDe4+vncDERXeO6psUiwfeuyTw51fNeHbDXNzI60m6HeCbaxG29Fwp8Q0rJ4UNlDdSjyk2P
WeaurtF29Mg3cAziQm83xVQcxbw5qXtkEsU23RO60zHoWFEkSr4FlUQ8RIbsQfREIFrVj7Dt7q9M
nQ6R0XIYG3lfvwSzerUdRNlHn8/QN/UTPQsAsXY8cXnj42mLemRSIBqtMJjiZi8LMosdVECkVPDY
6E9oxX4isfDbS2kU1IoR1MQ46I+lbN4TfXjHhPhuXdqIpMI+C0ia8NhVxSjTi2hLKgU8ukMy9YHJ
pXWVDMdAkoIRTiHUq3RGdZux/fvupM0EezKK8UbYho+OMpwXHMQ7FOa0OluDhKMQ4KHOxpdpJQYh
9vHAieT4xjFdWPttlkR7NAZddzIh7K7ICwoEAFwSOym1Y9zrfd0dIkbdYv1kwdtxWv8zthFMS6Jo
iZrZ9KrmFSiPqu8FP07Ubahl8ZFzB4nYhWCAONpd+1dIX8YdbsTZ7MAybxKj3lJrXIf0qqF46AR5
O9jJM9PSg7i8PvhX/s8lFf8W84l2ZzG7HXrKjwrmByfC8z23fnvsEYY9floHo+brhsTRggXmJBP4
FZvZT7HPyHOTBlBeUG31/RZGV8yK+FfE+rTJcZOQTLpKpJk1HyRaTMsG5AaOkG2qsEst3A43BO5M
8a+VEIGHkZfWV4kJ9YFVg9Rsp28zkj/y31qBUTYbL2BiIPdl0DxH8MpGU/nEGSrl4FjsAFJ9OpsT
4wh8+lya4wu2KEGHjugSM9iJef8ZfcPPSZOTRLreVoSDnK5bS29csOol+SmcGWwhqmfe4vlVDbp9
CVY5QqXlUqKOzv72hAO7Wi/Y7eYkKVeBYUiYxbd00a6xhOKDet1ea4kDnY6V/WCiqw4KdMeoB6j9
UIaE1i+YiQPFNk39sgjNdamQvt5swtr4+wKhCE99gqDelnsNdVQ4XEvbLm1UGTaxfEZ4obnriuQh
HAlRGiqGA/W/AXmZJKynDghyDAQZLNxJ66dT1ZQnAbXMLiQxdxZgt2mkIvDfOxUkoQDEhZcYkdFT
C6FrvBOBDRBojdZgMcdHd9A8VBn3ptPuA4OuxSwe+UkxDQdTT5xs0uZffmpeQm8U5Ca2cfwKjeAL
puKLLOfUOPdrQLMmpwv0L0H3jaH2FXOPndsRCtVb/DYYsdLKB4uE3UUpdiUI84xvsh4HyU871GR7
iUeRt1qQVfYZ/T7Tz6/oOBIER1K5YnE7cHfOxb4isXJYZrtlPYmydXBR3uY6uq/4wY2AFpQ2Y/gJ
AYSMIbLqGHUDEYsxAhvYvEhLYhoPL8JtroXPFuBIhh8Ra1FdDmfGzec6RS49EwCWxeeuWQhnqmxV
yLxWKw7ZP91VjMVdZFCTPW2pxcB1yzyU9XuFfCiit9QYy1Q7eUD2Tv0EanoxVG+esDvUhGWRSCJb
9BO/DVeC3gdGHHDeksqRAdFYbVrndcG6IowHS5UPnZ4ciU4+lpul24jVrp47ILz1LjfxsEdeZETu
X5++esrKfTlVAW0QdL1vRPPeQ9+3pjdVq6+JCDMdQSCBZjO31leaK3cs9tu0azc40uN0eeih+qA9
XXq/a6+VjLacZASLIKeB5rRZSA+VSCTGNy6NAlTOiYBxJswrUxvsSUMTnjotP8d8QtHGbx5xLz7V
FG/7gslUb56zQNpCShNQOwIUH3D17MlUrgS4xEUhBSk7Nhhr8oW1iDmqZ2sj8G54/FWs9a5BbjRi
zZlsG0RH/2kSd9Ws+9/8aYEleMml9asYv3dRD5izO4r/xM+2/2MdpbwpL7E2f/aiHT2tZfhNKV1H
pCJ/wGt46VC0e5HNmN1+NOZIDc6c6LRa34r2OwtfVOuvcKrE/NCDtMHBYH50PO7mZAY9amFwkStf
e+3NxGc5yMiWm5kLcdjxfxVnRHoGEwhGFJi7DuwLceC+/BlFhxHNtCm+TiTmpPW8SyWSAxOJdfdX
pyR7GZcBjphtBPNgwJE+EzkgQJDHkQqbZ6hPTTnR4ZPnBgMhH0pPCDNv0kN3LNgJ7xmhX4sEC7Ts
heNwlsPuhGAsWrdU/NpGJa5vODVAJNqYSIgKiPrrrEZN3KaXns+v/zaU1oEnFOBvUMNxF5b9TixY
D6HEYiASWJhJw/Zn6csbOSstRrICnRQjnTr6Zs0Ed9ru8KxmfqEga1spGuKrBTtUqAElNydjZm7K
k2U3euQbvdMPCHnEZKcLqAkZq5ATWI9bvAtbsL8k7Wo2OCkk5WDBplPTsIRSEDt0upPXqauAZa8H
SFQ6CfBHHabcWrUsinP0QhqHhkwjGOJWHbkVW7TNC+sEC6j06Mq6wbbO2jP8aCvhAEAVH+IhV5F/
zEHLsu9NlRWYMAx7G3JIQPNGj7w/0WYpUs810gXotJaJxzH9iWZEWojMCT8MSY8jRW5Fv5eCQRoq
vJbGTc1Rk9GlxoZ5rwAh6JN+79b53gCVXGizEeYFQw+nPGTlJn6gQFIzdgK/BkLp7pYzkupmmy6+
M6jkphbbBhipITvO+1zCLj4olG2IjDE3jfmHZn6OS31ElzNHVhDe62LddtNVao0jPeVxmORDY4X7
FpczNX5rnhH+KpiKJ1QNGCsR/5L0vTPx9CmD21PM4dOXwNkk0Ac7gVFOR+Iz+XGuiiF6gMLQKfFe
/9ehorVKw5feVni0Ol3oSv514kjVK9X230tqRC8DQLke4pPxn4i8oGisLQIYAVELc1fRKc0JmTN/
PEjEZM/FeBswy6KGpZG0uJzR1bATD3t85ChNKNcRAsBqFadnqgFVJ5qX0x3t3LkXCNCykqsej9dX
TmrG26ooQcivUfkUsN8kl4l554UMyLlCci24hdqDko+Z2k0HOY6OtD0iawluJVgGOElNZ6J658cv
y6lbdfR3XCTI9HAyA7SfNmrNLkCc7ZLUhpr06mUxXB0OkQyezvz3WvEuoO5WnUxuvqMsVvyZbAIV
lRSSdfg8dIKXKQFxDGgw/4NZLxNsM5OrY/w3kl6Jdg8ZLxlHDerqbiIL678MrzR6nh5YGdXjSybD
fddWyW5GapYh0WOtMaLWqfiPadQCDllZ6O1rXCNsGVMr37akZLYFapfQycmrDVkrcTBBt+JPYXmS
5PUZ5aqvpeuzaPQnx1KW/xfNliunzF9G8SFMCu4Xhmi0kcO9K5ebFYyin7CRmIQj/JpTyQEQqsTC
imdRaHfjvC3fRt0OrA5/jVkHNa+bZlJPvtpQZ7lOSNHQbLuOxXfri2Rsky7MNiSRpifz0o9VuFSA
fYXnbNAgmzHRTAWKmCr4BFHJje44S/poQLjgnFEnFMQ9NOmTaces8KqVfJbsUDGVJ4VRe8uEAhpN
vllfGiQD5Vj9L4y/8DNSSmbJsFEgTmhIU8JZ9Apcc+ZWxvahkQc2TUfQIge8t46ZfFNlrVZQi/UB
HIBtZjCsLfVAL/oCSFp0i6V0HxuCGDsMCjbZtfAq00Dgo7WO03JCUmmP5CcP2EDB3cm/4xq+GXF8
j+4H4M3DQAxyRh/Zx6EjvKK+BLYCY+To803VAcr37Qa82SxMDkmpeEhoIkAHyIBTShiVr1BoXSaE
MvU7NIBli/kAXyfrLJ3Bf3wKsXSabNliCkERBNlK/l5c70d+SBN+VVaIgMlJlIM84fkhlDVH1Fm3
FkkbgchY8J5wfbEzspG5g3JnjafRrGjOpGXngiVixro3RAlmAbDQ3sDYoIrGemAxX5UOVbEZZotc
Fyx1wuh0PAbWTBAO1V56q1BPY6HBSnnXRwXZL8E8K3arP8w423Yhxx0luVFvnnxSKabF8k83Vvwi
CfPCDYE8bauwMPZ69IVh0W1VWBQl7yX8ZpHEUv0VnZs8qrWCkutYRF2aSHPCJVDxX5cqmCu4PEkW
g07716JLeZ951sIc86f6G+lvhfaPgeWJ0zthpzKhUCjFhICXzVAiFs9Y0bnslqPVPeVzs2sNfB1M
3dSbJGDqXYwrsreLshG7uwjsjcaZ57wPcGtK45clHFTDNxn1exLiuoktaGHs6HCWpb8VlOeZeLGa
/DSZPuUXUstR6v21SNiN+VWdbVWR4YKOdUl3ahPIKB9ANXXHWvtjPIUVT9nPo220DH7A1hcJV5mJ
j5+98gnE8q6OTW/GZSl+ZZpxWseSMcq8z6bSTufOzWqKRRILLceUcxJT0MzWgmeSq9dIyi6MI3+p
Nso3qMqT9DG34p7WYz9Zwl6uMBgIKDWaEBuBxqU77w3SKKnSed+K+i8eN7ysibGCouwzY9nDv5kK
C1aZjmxOpWSbPLzdWGZ6R3FZak7yrbFRXvK/S4buNPP2qP+lo7fKNueGoZyyoj651akuxN0wEwbJ
RRMFFccAkoiNMBBQkpof0B/o3joPpd9r697BHnPWJgSjzbgy6i+rdW6AwP6keWXHUGR1hnw4W1Ru
qtHZGudVH7yk2QACrdlJT/z5iW/eVkRT48RIXr0FNdixlOXdMD6GWLpGJxmT/+AQI6lf40x7l5QN
gV0wshcsnfTkHYIlrF9s6bqPidGcqRLgfKX2MYdrbI1vhvzX1umFvRWvZezmIENoNOdvkdidckjl
fqyt2+UPjVeDoi6/TZyTHc9uzvBNmWeyCuIjWWzUrtVfi+XI+JoI8U58nkAxUJAyxxRmgDFHBrAq
OCj6lIFs1cRRSfIUE19mbPYetztZWwKd55zLZ/5ZgCj2wONq+1824JtYxk1WRjvFeotXuhLGHppO
GGlBssJGFZdtyr2vL74Myl5nrqun+VE2b9XCdBWcAUQKz+S+0vDeRDgsybxmRpS3DN45UIbUF5TS
F4vaL33OcVlkVT7a/A7ZMi+ZkF0T2hSNLnhIdmsGRIaYb3RoGFHaeVekxq4Qbm3DwRISlYAKeAJS
PCdehjK5G6+xIZzjsj2V5PGOFxheYZnAwm3cZtJcGlqE+1sjy2DWu2s6nYuvDFmyVgcSWcFgbdaj
0H3w7E+NO7KFY2L9DtKE+OLwWsjToWRuPtKvsI41zrNknOF/xwbG1WZHrknvFjiUh0f90QJgQAnH
tGiEVQTNh2k+VOuWtSHWvfo68Gp1xoUTqsTlEpmb3gWJBhd//kSlhb9aPo39pwE2Xi29WJRdSoBa
iV0dgNrKMLnCx0GWkSjb2+WqDdKhabsTXAulNc58Eww42gRhoZn1dWYUSWG60s9enXsP7V0xLegg
FJK97Uz7kK/KOT6orG2E6qox/ZGkQ/+jDgDjXrYXjdcbzf/B45KAbeurl+NpGFh7A+5f2nE/qxz6
6GwwByIvRIhJNUuwqKSDmiJcFCgRYXGtN/Ar5FfO1JQcJ961iaqtP7QaN49p7fKxO3NFk1wvbuYO
lLI5sxCVD7Gg7F/pmwqryVee3zGMrM3rTeVcpDVYRL9lCowdcIxGd6+c9Zqbjp0JKVKKr0HRSEcy
YcRkH5bdXkjnvSm/nE8snGAEoYwqGLlrvpJ1T4W84jjXHs063AuBlo8RAcKaq9CIZ9mRyZOY0wzV
DiEXxhNQkWMMlEpGtcHdQNZthqlCw4GsKeu5KfdlYz2sEvmCdtai8ZKsZ+hi7yaMinuUykGJkqgj
eHlQXGG+db0ZWD8RSRHG+4Ds3iAHeouNftCPudqcWtNXsAjFd8KbAZKFRwCSLCvMzELkKgbRqeAo
ir5oSf0FZzxzwBhfDwiAj23JdhZ/nw8YOGp+6qXZVFPBw/OKmyczYvAiODqAkM8oDzWBGQVKqelP
qtkWGuNDYKZksG2BLrOv4Aj3qLWKrdUkQXVa3QwbZIkNMq+F3QomP5klnp2By4WNFrKVcFVcg+GD
VnkDoREaor3YSvFkQ8IPG0docGO42pAd4MnV8FFW1tvtdF0UCrvQuPVzechKBOp6/lh32bxpp/gZ
aukTshU2Wkh2OumuFYtXLQfo3eeeHoV8Yro76pPLB1hr8C2OkdRte7AMSHn1cPLTb+3EdGVDr05K
dlA1uPcAXw566nTANCnyCxldWmbLmmUbBNOYXQduO9lVDxyxax0Yi3aDsSoN5QfNfTmq/iqO/lvB
Pt6OtxGzhGOB1YpQ15pssSH3UHOyR5SzzwzdnGy+45jih4gAOjDDw3RtZ/WkNhlcEXuEAxop/LYM
d8wdE0UN1xKM6/xdG9Yz6avnGDXvfRw/QLT/Cup/cvhmqUdJgdUt2JJiuh1Vlnipn41BenuHb6EW
EdnngFSkk5XlrqngN933WbRDBbZbPU7vdQPrTjEaQL6/WAcUJ1LyV/oMm7tmK56n5dKzETO17wZ7
FUGhAeJH/lKMjZOZ0NbyklkrupdoVJiwJABjWUXjaJSn24wjFwICX2Se2bU7xRFRVHdix5HCjsXk
6SMYuGnGF3cSKCHxOHgv+G6l/fZK6oV2JeiBlk7B0gOIKEZ/Es3drDS7jpC5pb9OZeSRlbWs28pV
WErmTgx8aISQEfIb6j5DE4bAu0i2wzmrNX4X9pwgnsgpk3nrh+I4iQaelf7UyA6r80Ou55gecT1s
49le9kRgRckZQvhZ8OexuY2S9WZ8RoCD4AcRfa6kTz4tEOKrjf1C3kudeNWf4o6f2ddBnox7fd//
ZxrHMrB+JWk99Bl4pdi+yXRoraPK/xjrc4iCQi4m14JDGaNTW/EjN5npd4il2dIkufaOzS1VURmx
heLDZ1fNLJAtlOVVfsLqCGkK+bib/KRNCl+IwesT5Z3EIqeBCT87+M/znWYQeX8HKwcuo/dOKynT
AkIL2g6Cp40JnBUYBdcosSUU2GddhoILY1IWRgVGDvyQRAQH1bF5pHXzWIBKd0P6IDrn/iacSqHe
9t9kPxjx3upPmRGfe/Neqi9yLz/59IKxPqD2CwAnDKnf/RL3hMz31480GdbAmyQku+RIBBwrq2hX
E66uF1/4DFCeftYGQL0qC8JDUjee8bIVxReTuSpgHyI2xFtM5RFXlwXgHXJtvHIq8bgAjt7kf+mz
RbIR8SfrUwwlvXaLV3YwM+O5MBibMij7xf+RL2IzbaVqRo94ytiJtqjzE7biIvTbFYQkcuYoDxg6
ntHEN1joDPTRHVmjBcmaoFGrpApYIFLqSxiVfkxyVaYeSgSSQQkCXY0id3RC0ilYc4fb+VsStIsQ
ITDMmkuoiWcbtBwIJW8Y8QzMWzmWN/jnDgCULWvbgWmK4dOb6Ldr7Coe4QRJTV43JpcWpurgCgbz
dDseS1cSN/B3phLbCukpxE+GOernhkuC6Gx3IlawBfunHMmdYF/zyz+fSkM2/bF6NsTtmthUnkOo
XBOPfCtZLY/ltyHhX2ve8NGfJKQ0R/aLJ+bDpwKGFLfJQfXNFBHkP/IuTNRDGj8tnX5aeXKHUXC8
l+uLotHSrOMSbZ8A5TYGpiAsOn49x6xcLpZV+v8VAzM6jm4NOQNOrhgOIcycnHC6bI7IOl8dRjKS
zG7pzQhnvOzMYQHR6013bSeXfsmLjWNUqtsZeRYzda7WcmcyKbSYFKqok9d9lVm72ZbVxEc076sm
TDGeWmP8NWJ512qkTiMi7HeCw7X6/WtibKguatvREmWgZMvTBDbIcHgws5MnOBo4IZGsAN7kmjIZ
ff0Q6zvZJ0+kWgmsWNklwAV6Y1pT2l35oBj2seAFKGpHDtOEOmHE6RYCHmVSpLyMsCWCwdYx1vGW
sXpWSsmrhtRRlvoZnhc3ZBQ2V79pyG9Nx2uVtldQgASw97pxb3qg0ZitYd68beKmvnaZelZL1Z4N
hVecBwmmWQ1HxAiaU1CVh4ZKB6fjPcsc+DASspuMKDZSN9nSMi7lRm8I0xgecgp8i9qV7LFrmbhJ
We0lrFkGDlnIzKjl7FTaqBc0RaQ53M2quamXqWPnmODJkxwlbh3ZZwuAh1Oytvk3u1e2MD8dXmf9
LohOhHoL2QyzzQAvo9NT9sjnSHiJfhf9MIp3E0mElUUsvCK7Q3FcJaIDnWtL0m4m7osXWgKm84ml
LPYZbjMhAvGCbBwtYrgjSXDJ98SBXJrM7cEoRo7xYOU/Qb+BTZFQVC9CSnNTuhWcvKkOSBScZnfE
iTuX/wBe0hjDljGDlW4OtmxS1zfAV5fJAICh3Re9ePTvKGxjssEkzWUvMcoB/9ocChAj8BbX/iGU
1kYCfE/670MwsMiFHdg2eBhU+gUDJdx82TGH0bl2F5X6PmlUZ0XnbpWK2/10nDahMm8BYTGNqmLT
b9S3/6uPe0WEXkTeBgAohabulWiM3mFdjzEZ7FFn4QYkIQ4btapYd/O8fMzS4knET7wL5NPBT8me
CyhF0kcPcR8eDH5NinmoGixd2nTILo2fRISgX9g61ox3/xA5CF19GYfhXGKr7rG8S/J6HKP5UMXt
vpb9Ej22bgJfv64qWTsK1ccGuXfhKDPkLLdOdEioFdtnzOy3lEn7nET+ulZ+Xc94m3WfiCk/y5j8
GceR6EuhV21lpXW4IwpT8Y9vUGWbJBe8nAOQ6moswjm5UrTDMnBU6AVrjDJj9n5Rz/V16EOD/50Y
hI/A7foYzpGk0EfxwNbM1vHY7sULmmibKxwTmiS70huIboVsyDLcQfu8x/w7ZO91XDfEU0gWISsg
s4kbtmPgJrajGl/VBxnqOfGSC/r05iP9G6FNsL5kqAyvZgSbgxm+NeazJHQXZNGvid8bhe1lqBsg
9nc1kQl3STz9Viw4nAskEuSWNdZ4Jm/lok57/bYk2OfO2EHXjmKdQoGot8vysQZl87OaHZEEacKO
GTzfXw6YGjKxD0syOJBPNfc3TQc6TEkPpvbBcDSESDYXh5o5IHt6NYZaTafHB4er+tBttAJFG5+Y
zCfWpAiVJMvRJkrH+K+IOrswb/2PxndR4rtoEROuvFqR9puH+d2g8dFmZU8XEoICVKX4BMX4RITu
SQ1orkPcwoLpaCMjRdQtAmvoWH2ft8VADe7hFcgvZWiXTOC6OdmRlUNpj5k/arDrxxQRkivUzJxS
QitejjtfAWUQiuCYkwKnZuQrmkorV4PmNLb6VO1zFxxNMPV4SFRQGT3siWHaz9K6x9fGRIP9nmYx
cz7Nu+ooCqXHk+HVqP8skm0JXC+F/job2sU6KVP+CKFtCck9OoIWxsyIeqXpA22p/fkaJQfv5wVo
L0UPIQgx7v+JGR7+/6Tk6XnYt858fTvMlyG+RWLtvUwbvOKg2lqPjxdII5Qo3EPIME9p15wXaz3H
Omab+LKGCMYIQSKwxiTwizXn8tMlrRsNLWDQaB/L4IEf83NYc6CkZJaN4U4u9R1BDkgiufUhZ5L4
RZPhdZxyizXvZm67GRZknDNY1C5pkvnGyYR+bhwU7rV2HzGXR0pJnguRm91wlFnbSBO7t4gHL81d
FUq66kfNsMMTMQYVfnUVetbTThZKuJLxzkMys12MywNFfyoyySHfK+YtbSQWBC6WcLesCmQNjS8Y
sz/qImNHu2CVqBJ6pGIJaUxujWij0LizKNrjqeFSG7bZaItEMU4McFAF6l4vjztOBRZMoKNcjDxM
fRsaORaXGyzXjVKyXmcn3W+shtjICQIq4sbPV1kCDr156QKZkpEln2Fj0f5T/svjbv86ZkTDk+pm
56DRI+9N+C8NibWOQL8wtl5i0nAqSk0mhosV+zUCEb7yOHEYamBIFQfERDKtaBbjj64ncyu6n4C7
Y1xwxfIWGspZxIC2CFerAA5eSlA95bMiKCfJEcT8WAnfxSS7eowIOcI62OlB02eHDFFtiGdcYQA+
wujMy8PymfbFvgVDENdIaeRz7Cq6ciT+CsMtra/1noFewSAhW7dhrF7pqBOJGImF8MG4v3iGqPb5
tgjowXiL1sdsRjAPDcJBui3lIAqvzSX+NnCuT8PVQnuEE1JdZJf+WGIEIwEYo2U4d6F8NZr2lr4v
gGv0RQlov5zcvI3iJ4stvZv5bm+QuYAITnn+2EiD2bcWGrQUcQLZTzJb5+y7TO8FqVZd23givspO
ll3ksWh1VVINkc4Z9kQ+Ei7NbcqxrG5fR3i2yZ/YudHnYOgehGHHEYSYodupwOLmgwr4YBEF6jke
HfhT2rH6sWSs1H/rSRWtoIocEZdH/pcBDsa8i/n2bda0QIRJyGXHTV8OO6ogv8631BowikN3+Vdm
fwR54G90OfpHOB+s/WICA3K+3DZ1GXc3eAChK860xslh5dugm2eVSd+a45k8Qr3DzPVy5MamfLQr
7EpUIF36Or3gOA1seCb0T6s/ch627IfGkIw0AUiRyVr+8Qq4YVUhPBbmcQAS4JaaGJYJkGcP2cJD
tabFC4lrkAigJkxw+JLYJDJk2XWpsOv/9Gr1c8nyY1IVqqoKwvOKbgbcuZmTSBI7GzgyEeMoA2Z+
NB2NMT8af0Z0xWV7jGssJiJg608NVduvyZhFRT+DyjWHhRTtqkn0JvWSwpzqGiNAHZ8aJlbNbVmi
jHOjdd2CiouYH08QHMCUObjbnQLBp3KNC2krw5WGtrpPHsR/kzsUuVE8+6HF1h4Y1dxPOwjeM50Q
aqGtaoH/wWctQbISbwRZbUR53rY9uYsbMTd3vTz7tdQ5Uvs9oOsUiJNbq5MSc+gb2WGt+pe9rzWD
jD1RyXJ0wbEqbXjHWCiiUX0Z4zzltdyKEXPDbsEIQ3uNPMOrEBOdkn98x6/6SGjce+cDFvQW5tBy
ynaFyS5gcqEq6d5MopoWXCq5E23WLrSlI0IqIzyELfPv6DHO3QX/3FvqVF0GAkW8sy95KNlPasmn
iqUcC1Ec7O4YIkHeG4bmtfxakb8XLV0jbJXiedU+OzyVosY37WIFB8RebOdjovhMbKMzlVIngSDg
tJLZHXa4sDQT6VromDkVNZgwA+mnzUpnJB11iIMiZJYoyP5vgfIpvIvICWJ0ksaJWj+ja6epctO8
c03g5+2+1dObBRuw2CUZZy/Dj4bhhwkcYwD5nObqMWorHNt9rEBiGS70a4u1717L8ox6hhyzaepI
GOro65vDGmcEUVt7zoYeOrO8MQ3ZSdLwZLfIOqEaGzULB9RWucGgnIpZ2c1zvtPvtSZvROstAfUi
m+ax3aUdfHmmxJwehWZtpbeYyi9WsV31UGjZOVlBP4u+ZYB7+mCA7VhW4RqvWUyjuMA1GHE2JwHY
UlOwdJavRP/dtKsR4eYJ53N0506AgSFqxHvK4HnL3YBGWNQZPjOdaSaBk+xavMJ5Nbfulve4Nx4V
1jYd1miZX1ub3Mtmjz5dJwYlxBXeoP+MSVauG+asBp49LJiVjzswGNsvcrqgs5yj5JV14WCaZHPe
nKI4Ow+CTPz3csRrKBfDRUvEy5CwVIgBZQ+ZTD45H/0rqEzfVMuEJqTboWDfZS2d65rZbYfRme3O
yFh3nPeYbYJqKwI7IPgMloQW1BXQrYJppvVIVrBI01da/iGQDuqCyKfkKcbds0g7CK3Rc3wvwumZ
CcqZxVk9b801ofsdbuqiXKWUl58ux0AcOXGdssTUUOaYdTpHoLIE/rBJmIVN+mFIQuRRxCiOuJji
myIOJC0zvn2uZf1OUtm9UXu/XIBstSXA7vxcJNlRnqIzopM8dl5+uRCaLDIjpWKXHqEmFzGfzQwU
+tWtckwugslgQXDrEufKEqQwEaXFGXkcSRlio0jM10tnN0w7+XOm4XvLv5Gdu4IyudNnCDq0ATNC
HVEmvdMobx2mQdVezvCMDo05I5qgfrp3AAW/FDyAbfcW4lKbxxQRYe9hOfafhQJwUwTvtR1XeEcm
NML5VkrLvZyzx9CBEKN64LHfKCzKmjx5x55plwOi/BKgZR0f4w6744zNLxo9GbXowJEUsxRqmbvr
EvJ2Dp9+jCi3zklVo+ckflBO8CQyJ5GHzcqmMu8UIl6xHbAUWlFq/4yoll2JJTHKSHVbNwnfMDro
WsguU8UG/F3H6FADcKfO/RAyhNESo9+Er6ECIUmtr01PsnKD0YMqSqv0N3oWyOvxy5tswS8iWx5h
TLfN8dSuxOmBxOQfQlGureaNySeiCDCnLAjgrv/x8YgvQOh2gnQx12/6oN9iliYReMgJU0K0qWY2
F3LAFKN9MxRSp/L8pjQl/ZLd40IM08XRTeVcKRUANPCFAkwKdIh5cURo8VmOyVsojFfL/DTx/69t
eA7Vi86xMjT/yZ8jpOMJr9hrjBHpMV4a7MX4ApetYQxbCdNodNAPcQs1hfp9ggwG2nC1XnOjZVPL
1KSCfGqQ5htBRuvB9wqsy7IHrOSUUmZbEkO68LMqpX3bTHs2DUQ9612NiVk8yYl1xEu1sriYh98w
oXKq7VblZGKYL2h8akCmrC99HTxS4ezXC/DsCmjumQkT3/MyverMNniJL6sKn6licuhi73FsKZWc
ix2/0Elrz8r8e82g/aG60KmuGXqwcdQIbI69EKBHgaxwztjQr71X2qup8Ewu8VctRn6PfCKejFOu
K6fxPWJJpYUidEOKRGJfQSS17oLeA/mG2/7JNbkfvLiu3Ivma878G59sg8IZAqy/bky1eAii/OiK
5RTVnz3wIMANPIa9sq8G8zAgw58ZZ1C0T+pwqIb5OE370HgQ5PtDSTkZj7l6Z2LtS3IHyMEKcvGo
T7JnXOVV4TbiWjdwcIloV83a7ptur4f9fmB4PnTZ3my3JlOhtZKDzk9QVQgsHVrqdqM9zDjlO4GK
dtH8nCSmCnLrwCzeyv2yTgMOeaXmiIntgIFpfYWE33VXVYgOVv7DZNGa73Ots0mT3s2weSYMivJD
N5SHXXSrANYoZYREl1IaV+T/WDqv5caxbIl+ESLgzSsJEpZWoky9IMrCe4+vvwt9J2I0M93VXSUD
nLNN5kpdZFcvmrYvjtOh+lVRIhMI0fZsRA0Gx6jhiSVV+uukm3bF83QwsYRpWMIAEUtmedJ4PIeD
iiYxOWTjx0ZRBKnt3usR0KnIucdOInf2AYySkm3nEj/D3gUOs99z0xYVfzYy5uQyI1GTaU+x1uSY
ESEfwq+c9uL9wByIWlgUOB/U3mSAxM6hsMFoX2La1zy6GGz9B6ZM6JnWjThhFUYe4wbR/NSa8ouj
i7JI/0yezc9yBXi42ulABabM9p0sms+1on/5bkhjHpjxqTTwPNvrDQqSpTKzE/kXjhlJxWWL/smr
d3mUsm87m2P2AU8LihYWSmK73zQhdjCyOxme1B40eO6tv8e88DMk+aOtS5kbo7/XcvAU9eIC5nGT
keI4Fdnviq7mJ5QTFkJX/cEqVufdHyiabeLCVvGkkqU9fk8gygWsq0yBmRhzH4/ICR49ht3ppGVv
E86M5Sq8yLy5mhxgLMzXKHY/V8S8P2L0AkD+o53rMZRQK2RGKdE+ShnwhgwtmkuSQ26TVPorCHOp
1HxyjXy12BPgf8nUqgrKiF2ll0R+q51yC5f4OGAai0MUUEEEOya56kZ2ybb0uEabnSuJvUBQNqrt
pWJOQYB4MXWONvFJbeh30ADMcvIRJkZMyHs+UuYGJYkbbC8JhkLFYWMvbWIuzgE/GFUYiiiF3E32
Bvr0GPhsDizW+wkhEZMJdgVToLUbpTIr5gO/ydy8kpXUcIVJPuIPaYxuagFpIHbN6RG38X0eeFP2
C906yew6JA7dCHxcTY8akwIYYYLMS5bb3t7FpSN6MnxnEfktmBJPFd67UhEuusi0CZ+IdTvN35LE
1vEUkcCUS0eYhBrQLs0GViVZThRhysrIkMptjmPSVRPFTbZfqmnYdcb0hIudJxYwcjx6Uwm/07jq
+mkWWuijr1jESKAyConZvDSQ1cWzEnNe5rxP3RuwkPc0o9CLb3HdfXCo6hukO+DxUzeEOXZCbBl2
HxfhgrXCkKYgBm1DaA0r6b+GMYQc5sF21fkxWdZdjOc71lYc3TFdPa4jaSrf6b1g7rkgp8+rgYzo
KBFTNKh4MahbVtyRpbRvgs5VQa1d9PfoLpLTRlDGf6Mh/Rt8i9MOvduweBsJeRXZFvewUBgkipnN
znSUziktRCe9kOpeNqRNORchRyQNdyE13tBiLyMChWBr7PwdeyR4e22FeJcUOfRkRm4T2243olNj
/lCR4BxGiM2IOiXMQJEVFAgKBocwkibB86Ja/to8ALhshIJvimcB91liSuotxYLVB1lM+DNpsuiR
g9NmwmlcEHjN9ECgtO8KEtaSrqrkkZAufVVdoq/ToprBNPVBXUQ+TCN/pe5+qMQRFoR0c/SrjRYO
H0qqXKprlrZhO2AgzwjoVgQfsTI0e4B09PUFY7UJz7ytYg/irtqV1OOZo/lpMTfDS5v+nSTlNSr9
0ySDlHTSXO0emzHe1mK9tFV2gSygGnMAJB1bjqvqLiXUitCRTb2ZBsSaWAisySgzLrMeX/qCIZ9x
KOtXDOx4FrwodFJSk9K4DvI9mdMC+DzZM6tFdvQ9aNqUURc+RvPTeNEZK1RHNbi7S1vGz0Uo0Ncd
0HODYhX/MEg/Zsi6l4U0Vlslc7gDxzrt0rBdmNQQItJByGPXWZo+uRVsHdT4uXIqqIy8uHBzYmoW
NESQA9Gy7lANeOGkCuCDIAzLtyi+ovRmVMJ1oyjAdiGS/sVCX2n/xHPqpKXBtUF0aTuB3KMzpjgV
WNVIpyKKzmp0GBS3KS7JNvsiAec5youcvLgFqpU5+6q6uCmTSL4gJGYjL4Xe4P1q7kq6nRPG+txM
zUEcjWB5oh/2id0KTVjOjRVdT9KDolKl3sFbgFMVPupd3Lon6gvGwHbswWNjg9KyQ2NioOEzHfoI
1Bkgy/8S6Lu+deNqcY1cdTVUzvJXhTgBVEe/hi1WGiKmFSjXJ2Wr2clPpnYW+8oBUek0cuaIaHWz
npQfzLI4cCYdtILALDjFUNgKp41vgRqPUDEYciFgaOGnKOcK1atmnetKIF36QyET2kxW32gcY2Ed
onOWW5lH9pfRR6fDs6VZ6Wp/rlVfqSIPl6ZJ6sCVHCyZZciSXw74RMXksW7JDVw6ly4NGy5z+T/H
8eCjZDs51ovvgczo1ORYnTbRBgAncy3lYRyhBWDURdA9aWAbGgUDWccqqMd4U2wsatd4BmCfMCgR
3qZVfdP14U3sPQkZJ+XCIyqFuwGoRABUIttaBwIkR5SIdp3hN97AnYmpf7fx71T8F40tIw8Yncu5
wVwINKr9NXKKONrFDJNPac/+ptLNLd6235YiBeVggmeJm8uKu4j5rgbCS7CCucsuU8fbnLlpX99A
1G/w7gltZpFXnC31XIZyRWQDV/ZprxgdPGZmhnl5aS4iZYLK3TahQ2NJeGh+5UZoMYTAkzA/I7V6
aIzfN858Vkb6Hw3nvfRUnve+fJqYkQyuZExQ8ByRwZ0aiOUkFsGsrLIvOAOTBXif+EeOCyawXHAd
QQ6LiImC21b18DqvCPk6kHsyieaxZ43KdfEPbWUCoIK9LTMpqL4zqoMGufOo6vCDqW/TJsiu9diA
dqzeWG1GbIpTnzuxQBLQ30zKFOXRZesz6WQ8VWg7kYS1zgyHoMFpmSD/7DDyV9SsdlTjSwPPw1S/
M6xTHMKj3adqFQ9INmHgQdzQVzet/hgRmEW9dgUXJXQKrYZ1rpD/RU3lEB1atMcJwtNiQQNB14as
RFZ88dww0TRjri2kCVHYJEbYz2tYERMgcGz3ZhukiUFPTl6r+ZtY5Z7Zg5mdB4ApGcoxURHsrYo5
tZASU/+gDBb/jAkiPWMLeKd+0XNwUM6+7KbaFqgVBwEYJriZSH1SsoIE0tgSaDUqsxxQVy/iPB9y
rT/6/ji7RD6dt5jvffKYgag02l0yBE+/ggjl80jFN3PRPPmQDUz8FhzGxbGFDquK56SuHUYcjlUh
xW3aQ9FaLopPr5cMryhKP3tUOYtypynUuwzz0OLPJ+g+zh9gveEzuWNkf8Zx/64q5YuIRcVs3mHs
TcT9ZVg+9KOqT44Q73Wr5oqtzCv8Ny0tr8KBOJQ8BXuT6TYWC6GVdVsfo0COQZsE9aVHABWzRv+B
dkcbvwAcLBOt4YQ7CmBquSHrbYEACYEi9AGBCv5qdb4KSgtXDKKWqmHabj35UQX5cSVXjQg8Z+eh
7huhGV33njRDnV+iHD0wPEUuVh2MVDrloJ4H5h8RQjEpKpxIHR1RNpxdiQatFqkVNEylJXj6jD2u
EV+a0+tMMrreGUR4eNbo7M8LCRbvU2mbv0vGIGT5aOXHoA6vQljfzWgAkZo8r+Lc3dtIu4pxfhmO
0yg4aaW5srg5OaAzgYchb4OavmwzZIRY7PtcIIjhlPLdEYE9KK61rpCx/jUkyM3lMX3T6i0Uqi0s
RrY4chEq87EYpJc0Le/6VX8uORExF+W7MsLc2uckyJYse5IZzU4jjqobKSVAQ8EcQXkNojzyApHN
dpk9lPdxmZ1u30agb+jWO1kTKJRvFkCMhlZgRt+5nAdIZQ1rkgVWVErcLGTuzAMCmuUBph3Af9jJ
KN+4mQpuprhQXdu6zYatQgVba8POawQdZK/JFuXE9jEmULfH/qxzpokRmASoLVbCCJkbRZwc0ZVZ
rJNyXFOdd/XfnGMSWj4GHKtBAxQrlyWaLtvYXwwhYboG0kQtQ1O6Sz9UC4hgGLbMT3uOdMALO7g9
Y06LsRz4Vc++E8Tm7vQShZz6OuRxvkKn2M9gZgwcch180pU7dcrXj2lrPiXJ/AT/+Mnbf45ZfcKx
bH7Ce/jEkEEYyYKsnoFZa74mDMEi/i2T8waDtjgKN6Fs7hkDXy8rFUie8UuolfdieRV1dIn/DLFw
VEYS1WHap/PMzryGU3fG+VUp9yVH6gdSfkudfpLPmUzOHKD9sWQDDlELhNNJllBpqfx1vJvDYbWf
j61i2HO22tZKDV88Z4pfMB2EcIp2DBMHDesJ+ltKbo2NvbCYTcQdkMlRNi3/6RKO4joQUWSi/upw
UtBinXV+UK0hnc1JYBCnnQvyqwhL6xUnqQRHLzIkxzCeFtMBMo2duKsn0Ka9m/ChqQ2rcyIRxF+k
0qjZbWqm6zBrl2rqjxv5iB1PYc2IYHsiMdt5uBHbsr/xS2XEmBG9Ot0Y9l657UiAMu7FJwCk7ZcM
RHxhMmq2qi91ld/T4csLlNG6d/sYEg83Rv99hxxLvCu4Fp0Ui17nK2dBV85YU2QUU2/w6VixxQHr
ICVLXVHIYF6M3N4yKT3ITUMMo2yUASDGp5matKEmzfoUfQ4eKHNiPKffc5wczAKOKvfadm/KHs2H
EmRzepZZa2RATLIrj7LyW7yhqBFCmUzzTIofFTNZWG04r/pDhOdR1RhsHKU28pSy8spS8SbhKJlx
mJ6AgZwLg5cjJaViKZx5RsaLNECc2PYhD1gCkmLnv4s74qua22fZWJ7Qr+Ts5U+WEaL5Grryc804
8zm2tJq94nvr4zlBbdWBYrPmgfhBFfmzeOnjmRcRRkPUOSIEFUHbA+ALmmtSaQ2D+AKQKn7Us/gd
Es+CqjmaJC1V3hA13jT/xUW9k1v+W/4vTeL1CTkM9cZjMLjwjlBmpxjrcVjlGF0MTHnesDsZv8Xv
QqGbOUgbPZRpnenGgd33h0H10noPyB7tacIzgd3WlP22nFzmAMXc+r0peA3/1BAgl4PMmQKwijyT
Z6j61bkwM3lsWTBjk0XmVTCqQrRl43e3Rw68BGAMjiN7TcMyRgb6j39ygThjiO8Q1+EVKSddKI6f
A7ybLENKBbcceZuLo81TnNibmwc2VCd0YhKkU26STCLLfmzP2KvEWXOrNcaPXVIAE4BHLkZ6MGYl
LIr4Nc/au5S273W50qID/RVvUTs9hLm5Y6me0dr2RLhpml0SHFcfuo8sK9zplDMPiptbg+G0Evge
iIRnrHg9jMztAXcqx/Y9YrLcEzEzXuPN5Pv9bKBuTbjbcGTDfJxxQjZUM5Xl62rkmyhcQcepGP6n
WMeptvlRjBWZzY/4mHXl3iFb11MSEaAgSuuvGNE6TDoSFJ00hS5pUQF2jb1u7B3Weypg1yoaFo3K
WT38burWFWPBFevZW9PUT3TySIs3Do5zxHx/xP+AeMW2kt6TYZcWQvxIk+oxJ8IdXGfYCfjnPQ1f
uozpzMh18MZE1SfoyGndiISjmbOZPSYkEqnjZcsrblPTb8B1YKtNoppqku8LP9+EzQGK75OEVHYj
bLMfipOS5nYv/zWm2EsK67hI3638AX+BLmObSIG0hkvPFHEpOSBrP4+BWymfbP/DRpKDKTJBLApe
PaWeig9jqPNDg9A+q2BfYtxEdHmacXFLeud11qfYZNcFu62AiEM0CKyL5scCiB23hEUUBkAK6d2E
2WEuZFdoACFrfzCacEjEcLEA7+fxpfasPf5i76PQKi0xfV4ch4banuSEkI50REUu+OC9/Tr61W+t
HRMQqq/wBDPJmxrDrUm0jYt9zkTzaIErKUDw2JOAQaCPb/NS3kF+PeY1esjiId+jb7vxMMrGU6vL
NyrcevWjbfCrtPenOuwZZE05oiqZWv0Ux/lN5HRXrwbeeFXrEOgwQ9twOjMUaAPhXyTcxFC5GMZV
a+g0zALwC6BZljWRdexIapNM61SyuGEYaqjypfk3/1aY2W/45zCMQbcEn0rqaYxLtUY/qG2eincI
qUKWEFuOId70WpMsScGZ08RNrhL75IZ1c3ImNZRvmwdi4CRCRMXD7M/SX+ah9NdMgqhePP4fOjtx
vLCaFBYhWPGvJlCM+yMRISddjO6QL6t/XnNWmuje9iRPi9N1y299Kbxbs/nqzPGjydUPuPJ1Nj9w
XlSTq2X4n2FjmyQWdTUZVk7+mrcCGggJdJaEMObfhEli4lOgA41bonCZMKIhyGmI270eY6mjot9q
7fS4ZG/yFIA0W5Fc9A4h5E6mTC7ePU8vATtvmd82o7/1v7Ka97l22paRBvCYjTjyiStdXozTAuei
sodW9xtYB936T+pHqib0i4mKLaK9RqZ8jZro6hVvVRHftvy9j1FAEq2pDcalfOF/hWuwELitiKyb
9CWIKc9HJLgzWPFqn9JQoNOtMXQrqBwtAmvg47CgYglzVHocaNTh865XJDKijPk6LcAqdW8+23Z+
L/T6IzL0O0r+Jw6QiKzXKkfFGfTsRN+K2stuIy3SKpgYjv+BHfsayvUxluJjQR6XaZ/xiHjcNO5W
eutWjG8KQlr1eIiaQ49Mo0/O3VLfRpWgtwm0yW8AbleV9CpqxBl+h9F+t/3wHUnR1xTmBOtg/pyJ
/kD1ItwiGp+1cjY8j1gP0Bp0JMiicf2idmmTIYwKAqwuXw0krxS/vMU6wOJW+JLXo2roLouyja0T
V0BC4uq44GOVHP5gxi1+9NBK00uVmKUfoyxuOoC0I6q8yi2oXhYWmFMJJe6RrQabPncApai+oTt/
Ee9UhNjLtDepWRyjAe/MSsjmc2hGiHLs1lp0+sTGx0hf8KnLzMNIUDL1+KFA68gxYokS2onhS6/Q
2tGJEHWOMx2ZWUksS4JXiwSXlchOGoFSMXCUuwNVs1rjlTpknsEWYUwHN8Eli+RX7P2GhoAdWSBr
DUFca1VcImYzLI5RNO42rVr00E350ZwGNKbiGvsrbfehmCucZIPQvVvK9MrE8oOzRvstp92X0a9f
3IBsVlAGZxjIN/Zm25ZdpBL271Kc0gHTxYS3p9PCRe3CGNFDdDYF7Wz+63+SNAYoRcimUNhoY7S/
ZikzuyRtknp70kRfB+HOPtITZclNg2FDkuihzMfUJ7v5ANzu+KPGpDJN/PDJXil0NHWnbq59hVny
TLhGnPg4ZzzrTCaKiL6hoNgvSFU+ypvgqC0GIYh35jGDU9QJ4FZSN1EwvKI+zEAP1IxSUuK7mV1Y
F11KbxFG7ak66f3TmD/jn2Mq07xC/mmP5DPhE+3gbd0jGaFsUV0ngxVD2lxTLSXcEVElSy8iZDEJ
GkASTF/TiFX5RvGUDH4eWV4Kb0keVZc+34W6etTyn0CPz1uaOvMPbN7DDiE2Y69S7OqPjFfOnJAZ
MGkYn3q1nIZJZAtMmCVTrZa+AwJ62l6wRHC95UdDh1tVxo96VAmBYARV5viFx7cM6u+PiP61K0Cm
KpdOE541Xx/gTz2XngX0fa5XDV5yhNM3W35X0EGQf0EDQYyxxYxS/qf6Ley8VHBAoK8mx9xEkaRE
2U3vhtuaLzDWp5uBXKiy3hObrsYxvzWUJZhjaPXJ21ZIFTHIJhBhwVMX0kNBuEQ/6em2PKdeUtZu
RysM9HauaLvq8wwPc0BSoQvbacA5g1L5OfL38fiSddigYIpcsIgdamtq+7M1MiTovmrCWxqx4ldJ
h0LhJpJDppRckk5Pa7DinQQXJ1bcXbzxSQU58gBFf2j+QNcnsaPa6bbA34wRbR9cKvQvXzm9+ICo
H/n9KS/EgKAJO1/ao87qWZVYDYJZHKYg41hR1VPxken4Cw8t+b7ktaKyPalvDJ/PFVpt4cdIlaHf
+BRYZ7cx6nrjWIAJBMhkGyRlRsPRE1EdoNGl4t9jqmCRKK5EbrYMwc3kcWkJ1AaJMJL0hEaOISJs
GQa4LJNYOVJ61IO3bCzNyUZklCop0AZRQJLWB4D8jAWJ/0i8+YRI+FNjQscpAr6eIXJ6xqNSWoAn
qNyNj5xzjzufKq5IXKBZxoMbTfiQiZNFUhUZNCzld2OK52XMHBW8ijioJ8SdtXIMWb0fMlG0ZUK9
5qpClo3FjyV8v8LazcXGYfIuMxhoseq2+Keqf6jQp/MAtYL91gBYtgYsS9C3F+njRZCh/Ci3djUC
U9S4ez3rCDhB2C6yEpEDH+GfLhC8QJG9MBdCZb06av1uko658+WtH6iXVkLRNebWGp+JyWdyIggr
DkZtCESYAY38rlRDKPn7vYmdY3qha2YGrr1yE7utwuoBeR4QEVeytOP2kTT3krEhQRc4K9FnV7r4
hd/4a6g4M6eCQPQRdluxZd68mK6SzjRiLJLPGykBMfDB7bTJNcbVzKMFOjGbiw59OtFhVk7BS68s
qAuKna+nnoh7OWkK2lQZSb/Upa5V/8ma+drJyrUajWs1oRRX0WpQo2fjfJ3mAk/fZMovOO9NpBE7
JDyVtngg8/pTyuoJAjdD9ga8aC39VRmPb0vJ1JAOpbiue11lm/JffPrEgluKdSd34cauoV0nUu12
UDoCYBoDBPPRl7zwnvI8xImMBYSFxyCzFKh5fEQEG2jKVfbw56VV3za2FNBEV4Zg5Jc9d8VRzcEq
di5+Hk4CTNisFDqSIMlb+5wN6JeQFLOexEISkhh9mKaj1GySjS1MPtKwX6WQF0ROqvsBvtD/u4MO
WaM7CkLwfb8tDPDP5ftEkvsMs6HFLoOoHEKJ29IwxQABe15shW6p+JcU25GZwOeIrWZtLgpXNVUv
XULEAAeCaE10F9X0t7gYTrrym8HlJKym52DYoT4XZtpOgeqpoPhIptqJu8VRJF9HlwS47yxCDVhi
lFv8kOAAT6z1szBB6o5q2us+NMey0jdmVtBPFqxGuE8J8VM0ILIEhc8/iqVyxekTKslNpS1IUj8l
qrZTiyCL4LAPi8+X1ZIjrzmpRgBJpYUz/GUtGOFvGJkcdOIUYK8sjzszyXIUzfIAJtH6CMZ0GQCk
JFXj5TO6JqK1haH8Epwk9xF2Vf8Y4Zm1cCMSbOHrIibeaXScZED3LBa09TXCmaaSjZsuozvVf2m2
qJoXvtv4KGCnqXysJYC7kqePJhkJqqO06GYokgFtR9jP0vwJrf/IZFFbjgnygGq67/bU87h17kwH
m1JipyBqcnL3jO0aNhF2y+gwGl5b3Tp+cj3rmhaCk6wLZ2aBoBTyaHONjGF5e5xpTsTOGzfksCoG
aQZ0xRKI6AggNqgI8NN6vkE1u3EJ4jTWVvpjnqgD/yU2NpHt6wobyO2wxo7Jl9ln77yjcXRoQ5Hx
NBWB0zKaLqSBkvHEWdhqj24BIY6mRTrKkuivY+ej7hFRkPJQsKbWwHxQzQuYmhkF0sW/9fF2iOTB
U2vhvk7zrYj0SyNlIbvgpbJLQiny9ZC1rKFQNI5tc0qk+SQXrDFVFpjIGTl2SDEgV1ZSySd8LPkJ
chHZ2tG5RTk3MiliBWmd03OenET0I1Fk+azo0FetsJKKCL55c0tYtY2b6Uz/c03quCbXBlcFrsmS
Dx7rkj5J/Yxromvbzqu2nNEy6UoG3ANQynWOM4vVFYlaxSQd39HjMj6Qc9eIAHX0rx4b0VqCootF
3zDKPe8oQJ2HbP/MHvA5iu2bMV4V8pt6tjJKm76vWfxe9srbOrRvTbo9oTxb06OtfgrEJM11c2sF
82LMkN4u2ScFPgKodE6wA3SlfjYKZ60Fe4C3LfEGMVtA4RyM5RoOGKuSmOz3A/6GXL9ymyAaJc+n
3cePu8/DQFqkoj7ncKKnPsTG+lCQ9NQxuPJzMtvmkoPvBO6LXA9tbJCNWTApLny/1KT1H6uDAk6e
3FJ2I3TFVeXe+NVUuRYp5ueSQJ3lr7kpbrscMxqKhUsfwVxfcQ7e+pUzXpWdUUdAifYjy0os2dgP
JYsxzS+DKXd2w1d5KZL6Jjc1EdF+3RVwedCQzclrlfsPaxY/0V8wzZ/M2SkV0SFNlsmsds7gfkuI
MfjYtJkH0ptb5hrEu03TcC0XEpFI42HrmW3Cc5WrRxOsTNQM5cdANlkDt3EjXZVhrhoZFz0X4FY7
mdW74n7vtrgfhkNdZ9d4POaYoZW91VhvMFkCS0SO9AYoTCIfBGJhCqqw0M4lIbFru3mbyq2e4a1I
nBoMR6fpXmEoXj9uHqLWsYeHb630DszqtQ+RfXlN9Z6YIp/P5uUTT2DfuHIIAFlN01BuFZ9cp3Bd
gGrULHJBByMky8MJYvbIYVKA9RlGhjZf1o+aAGihGN9r9Y+Agy5h+WZZ9YdGuOQIvurEnTmb4jtL
THS9OWaePXQyISI4qZLnytJPOwIy0ZgDU9tCXzCq36nyewOrSwXWg/EjTxbfYOm1ynqUnm2kHy39
XZJmLsNwnWgSqvuQGtde0u/Z8gN7YE1WC3xs4i/b3rBRzcpAXCLhB3hxHI2nlkJrt0nscRKq+K7Q
uevWTTZLLETll3lYzyO7dHSaxc8cvkK/yY7JR4+NQecDjZmTohY2qsQRnDGMQIYqH4tVMtAFY553
wedvY+Cn5ZIrwKafd4CovRH3gK481co8HngH+pDqiN+uc/mLj1hn5E1An8CKuEEI9XlIKCoUQGmo
HWyMrOO5RpQlcLEWh0/CAJ5cbTruoAZb1zBQDygOhjN9pKjKLGfGpRzxoYD+GcP1P0at4chnctpe
svLULMKW0djhsKF4Xa7GS30XWqCydw48u2R6EzN4rIAcyXva4WtI56shSrd6POLjOEAJF9hew28j
3BKnJEmyiNFcU24c09wVDTmNQ7vgSLuEedERLHNoYa8kqRhCkcSVcARNXJtulTbeXGL1JkDPlGxB
Fl5JtX5g0ubJJHSxJpMJlaWxfxEtj7SFv4BveQMfvMXbo8YeKYCaep5RaEsfLJXBWXHhKMJDmYZ7
Te0nzYw1eyOkT3mO+YQYvggtX1NqR6cbzkTlPGItESHuHXL9rzqycMFIs/Im5vouQ+a9PtaIO1UT
kDGn8iwHMsbadfFwq+yUyOP20Dj48owplkxU54VxFz6cmAes+kfd09BM8INsEc5pQfaR8A6jJhDH
Au81miAJj/qSEEKZ4N4DhcerQNWcjJe4JdHIy71mTI8nErKgnaepyFb476z9WonK2Vc5dGyk5ZjL
maxKpm8JmAceNZkgJ3RKRSacAd0dOYG7pLxWBDc347njXWjr+URMg95QG8OglsXhRFqdRfm5hww1
Fq0o7YjNRtk4LxPf+3iPfCX0G2UR8ij+Vfr3Codm39rSgi09H2wZDXXUf1uq5MfmTTRzvEwHpPGn
/jeRtEXEAsvto/IOqgMju8ladfqUdnZ878cZv4MCjE93ChrPzAA7wuCvvwMRtZg7Q7Y03yBmFwfC
Lk6g3UbNtfgjV5kt/EiumaR7wwkd2xl3UEtit5lE5+eTf+QiDhY7pT6s6X/FPWTi2ajSXR6KGw4X
UEiNG4OKiHzkeVifiXGCD1nR86V20epoiXPa2/kUOsKQIh4ZCRLNFQRS687GUQjA5cv4nSHxjiic
VNavMRLv6iNazafYN29yvL6l6foW/d6BLDm6liPb80syhuTvdLN9EBP8R3zJW3SP25JlyOoiTgjh
q7yXdNPC5vSF5nx3SMVLXmZLRQ6YJa7A+1DC8ZLg5HU44Kd884mKYa6X+gNWjb1Vv4YROp9W+oc7
YBOPzfhnvie1fVchV/ADbHRs1jOTBXnPb9U1jsJwUyQnWRKGJviCCPHOsj27eObpSOjDO7hQMs0m
j+i+kj3qb7x9uPhQ4NhNhfPMskeI43L8u5z9Vnorgt+iyt+jgFgebdL5uTQEOoJzrQcbzcIdo4qm
3rfKejQEhtZZ8Sa3lwU0i2zMR1kZ3tZoZIYZM6lnegwMrAiFUQsilgXKymyIUC86aTufNa9RMsy6
g4uNfpqdnB6/0cDcC6gb9Z8wu1xx2PWFKpOx1s/t0dRvagQzbGaXy6Rb/loG5i8xICuSsAsKfIgC
ZjViSKZYsQpqHfaI3aGTYXJzVDBAY5i4RwQLhV3yhVN1cM0t3K7URjlhZgO5xzC1E+ghQOl6bp22
sz9BAacwAsQv3DGRud0GPMn4vsSvgh9wXSJ24AcqBpm+BgYfcTwGApOx70ECNQqeg8p6ZsUOh7dj
K6CXYQ9/aCoGfyV1CYGAmA8oHWCjNkh2bBFwYqpEXr5rDvm8BAnkjI5oU+V/OXmy7RRBao2anvHT
fKupAQiW+kFEGGHeKL8cnUZ+WIcXn9OrKUFiIyrQ9MBwZntWPnqk01sdZKsSEmfRNsij6IqMdETc
hrIr97YOVzK70pUoI5p27IdpMCOynjrNj9AmF35z8GXamXZbHATqtDUc7fjS+wSkp0r+9yydjtqx
awPWzUR9bUFRg7fX82tx2iIRn5jF8Uxki+aaykj8uYQjUj+vZuK8TVnmwFRBkjE6GZlbPFMYnCH0
9Rt+OX8TEqS+sxOf+xEHsLX7LWQvS5nO8SnrJda+cnOTnXWQ8qMJ7Bm/ErkFJvJIE8ENKXFQSd4W
JmvV13KfuRaaDgKjRGIcg8sMhfOFrhn36CqyicZewqrSZOOhOh8rQLG0LD0UFD+TbvHx12tx4yol
yY7yt6VsdteZrnXbNINVoY1hzLvgChruPYaaidlP8VSU6tmJ2XOxmxyWd1uF2p3a14861ZOa2lst
yW1dVkjmbaqOCzyuziT7la7xvpT8siMwGKG7JTeNVRatI+tSVddonXQQ+26R1YHmrfBwDIYJpQ4I
KWb9JAKnRudzLM0oJAbc0VkbEq8s6C/xEb3Wujuir/9eNuGUOGIxnKrpUdQDTreU74J0ElE2y6JB
aE7YtfR2WBAUTJP5P9GJWZD9kgbzBuY5lue32JIeBu8GJ7MiSxdWUlbkLfgvsJ13rqLgUToE6whT
n2R2yM4VqrGiWEOUPvoPiWF4c4w6lA68Ez2DPtXRVbynwP+kP5a8uMRKIAjakxxGEF0JMgkSO7Pk
Hkf3OtH8TJiDkfvFAMbQEntioupCKe0MZMppZMpxrsrraQXY/C9hZ0HpXRK3q80z4h8TJ/YOA+bi
rlGTQTEdzrufpUqmoMrnsGRDwbdjQaDiJzUsGuxzlrKbr6DY8MxWRI1qC5ZttpAl9bLcjFTzo1PF
XPVj60ixa8TlqS+xp7WHeE2vHYwzeZXQHVr/x9F5NTeOXkH0F6EKObwSIEgCYJREUXpBzWhWyDnj
1/vAZU95be+ONCLC/fp2nw7SBWcVpSJtg8lhoQIXUvNwnW/Np2bG7jii3xG2S2tcL4LLy1XHqp4J
rBVs5aujLIs1mTfk67GebCEaTnADvoQW9nJG/JPSURIFfIwS8ziVP+vhJhdXhXkHr/AinPHaYNIl
mZF5QxJE0i+9RM1P2/9BbCdqEsWdXe/hSM3WoZPBMEKimSaqO0ihUMGOanzLoVG82mjyrT8hAMkU
aguOBlDxykWnV6gaNGcjRZVC9E5A2+zu6GGrh5D/Xj4JhsvtvkOTMtjg6ws89F9dBZW549vY1O3B
OjPcBBw9hNFpHO3bpElJZDvE9oZpI2fFV1Y/yJu9VzD6joy+ISl01ox29bNt4UF3aVt+R6D7V8aU
itgktg+TGB0QHRZP5T/9jSXOFrhL2vRimRfGQ4Ya16LvFIybDpXExLePP4PLskBt6akY6hgarAJf
A0xTRqzfHg+fhoePdENDcwhUhzNnOvJ/ZpEctohfmnlmy4wJNdmW2Tir1tlgcDKFaqMU7mad+i3y
75RQN44e85AE3IARm6V4bpfo41TWGzuJc5bwrKS38ngYlP6MhreHh03qkucQJ6pbbTGL8TfJ5DRu
Ed7bXD7KEHmXqxn9NLD9tGZ0lopA7mYUB1sO34/2w6L0cd1ALE4x4bGxDrfG3Q73Q4g5DA9czVsU
yzzMU/TTaUB438qjWjRH+uOkHZ1/Pos+X441oOPSOcQgTR/RNVM3uuMOCU1/s8guJkBlOywRsPRt
FRfvzIFYAdEiEvCJ3tV4vIlJeSZNTKciqNnY6bBZc74AmADIUyA4Fb0vuYAuk5zqpmAqYOekAYvt
ipMleyOTGqIykGKyZYcBx0ZtvggmEx6VXGuc4CSlO9Ys7NkhXG/ZxRFnrhOZ8z7FByAzJVIT5BLb
g48rUbR+hNY+MCDGgGd6jNTFHjNEwpnZUuv3fuw/iBM5bScdOWTIPwXff3zJVEqhJN1ukAVXa2RH
iTuN+oEJPbCvsCNd5gibJ960AZPS6GsJwApYEAAgqojWsmgnrFFA8Fg3KTxTbzW5NmKRLFfHE23r
LVl4Qz4ONX63Rj0UanLgjOcKlL0IsECQtPB1cTCDPN0TYbPgacE6WgovFAlPTW8D2yENwu+a1icV
LqwEzwLbyvzAD6VPEanxA6DpYYeaUNjIJC7WJRyf1duy8k4aYXDFb0wgD7BCd2CNQtlerSK5KYZw
GQHzzPuMs5dKkT1Bfefw0CBRgt8lAEPKOkaiEg/aJV1WT6vxh6y0CesVohWRLXBPE9sR9GScZBp4
K30SuFnhx/U11Bduzs4LFxLlxRcRvDSLPY1sXKmvWB/M80JmliXo7AnPhJUQ3O6dDp6GB8RB/Joh
3MmGeUyn/GgN7QHzfKkSjB2xAHK4md0DV4SAaBHyGBKvgFQKkFN0o+nY7/FZu53CMEI3VsPNqkNd
UWvTVvghtqvsWKLsk+fgAhnYreceq7QFNK0mExsv0lPw02D/TX9XDMDYYjmGZAcjng6wU3Q+iso2
vwiGSTTsqdZmVYqevS+F9ESoQS7uUP2U6BI2La4NLciZEirVsfapggOMdI254j9aZVBXgEESjLdC
R4Jcv7fQNtkfajOjOrWfZlQhGXCD46E9xGGCs5sVQPo3RC5KPyWl80WGn7pHo+N9ThtXYp4519F2
RMsZRdNM0MUrNS8rEofJbPND+w73TVVZ/LY8DajXBpz/PWBuyX9Zc55ZtLENo5BnX4CIATwTASns
EeGJ4xDh1cGv9Enn9pu8g0WSc4diEfMO5nnktbQTGMPU5LvmlV4D1+3SKuh1PQjfyl054fp60cVZ
+OKbvG5AWfGeMtfWs3eYeag0rkZ6t9+OduqjgqBjXsHV+QVAeQm+8owRX+LHuKww/eFnJJ2JEpos
JBodi65UTTXZH/Ce5rpfiDDgO6DsmksTthblJjnb38IEzvcuNxBEkzAArKZJIxdReUpAGZUbBJer
hc7e4yreWaA6IKh3hhXZw498NdndzFi46kNdSNjYrUMa5ce9cJYE4R0VCe3NLLTnKGSflIPUmkf1
h9frKWfFinPipZTg5uFG68aE/krTtYfCrsjDJRiT6cEoy5Mccp1vHmOmEv2OJIW1VcesPrG7A7Mm
No8Onz3KGE2XVLr8R9RNSYyD2FYnmsxMdEwxGY/JYYUxUljhYcHwFg2Gm2n2Q33nrQeJDHCnI4KT
GDDamLQZqdroyK3mKLSBVlK/tzCsHsqjnjjqO3n32O34gMV9/Cl2g89zxN68e+v2MuGRkr4lNtfT
wK23buWI5JkkvSOixUOJhi7yHqL6Q+/DThybUxGEkZOYH1P5pUk1P0jd4+1LQLYOg536xrUbt381
dHbA0mxJ2onjbx5R8lq5wDhc9iNNVt4YP7gu9egxvGYaar6i9iQM3YVbEjAi4ocXr+C2lQuZGG6I
SfrdOP3yUPJ8YD8ZeSJoL8YEjfqDej3+UA7SiQ3RnP1owMQlBhh/wsLC/Z/7ErausFfPcOHvsKX2
8tt6F0nHrhzMRwLyWXEyzpXyT1OH/fAa8bfIPdACrIooIG76R01L+rQLahDQRQ3HrOiUHGYWABB6
+R/QWbnWFvmA+1JuU7TBnIMpVDQIFTNJq3rdZ6vLxotDpIgqt1Oj9qaWrGXYpBba3VDqh1Bsd6kw
FNc4qWmzTmgH0+6ow/WT5Aq21Awq1rZEWNijt8eFaEt0CmUuNeaccOpPcTSeRHeR2qA2Fp/ccJsG
ZmL4FqlOqVLtfKhsWRW9FMdL9c+o82NiyAc1xU7c4Nz4p+8C6p/pHKnD6bay5o1U+oxy5W7izkzV
wqOh7NHK+aMerTsJ3Xt3AiBSD51fLMXRtPgBQBmzIi/5EuoW+EDofpR/yk5+sEGlzlx28fLZFgAK
HvFozVnlE9jnoUaMkewRP3BwZvyF1quHsCMFwAUx7c1/ysC6rXgsWgeE1XyvK+MUV2RA8sfAqE6P
MahiYpktwRPOAIxvY8uqKTya8W5sik3JpuR0+npsgEeFtyHnMsJGuRPweLaiKxnPHWOb1Nr6Oyt9
Htx/eTYa6b3tb0NOU1tq9ym9qyFNxs5C1u2m/6sBnE4paVeHUrzTgX+s2s8LiMdtneGlgysS2v2B
Q1qL9UVvZFCGmU+WgMfUZiQekYCYm4cmPSfVcNHftm2r1irBXHbnhk62lRYHORbtlVI2zhSXZiVL
4mbUQJlUrfDwAVd0wH16aE4YHSlcC4kymdPs6QjVWuUDcPEGBIIOri6vQdySbirQdasMRzlM8fxi
Zk6cLyP7VHriNsV1FJKrBGYR+ABGyAvlZqQNUMHH3S3AbE/EwqELU0GJSg7p/5fk5ABitxC4gGLf
xFgqFM0R/Fo1HyqLQ6ii3xKk6Q4RFDwLHgxBoH74HinGYWCgG5yAy9bXY16xDe1dKnUoVaYcavCK
A4YGGVS0XDOC7RoNSZU+zfKarCWFv3sjRrvic+WRUNlZk1ELHK8JXD/5nKfFuaFkOvv/o9h4tH8B
CuOq2nwcY0dzmJAy3I1Heu0PBMukcMNV1EcwnJU0+wBU8txAbUZRDcJSu4zahPOTzP962ZpYNroH
20VaGJsT0pprgEUn0qnlm6vVHiaIY8DqFiMAUp6xBCVyPNIhi+w6DMwkXwoR8LBoYH4JbKs4HPHK
jlpAIDzbbj8Lo1XO0YsGujds4qetuT1BJI/A5lcQ0hyMzfutJQhfK4ANUq8a4n9baj5xzECDHjXu
LQJ14aA+xFp8WDF0FhaOr146a+JJZrXedo6ShftaVt8iWX1oTX8XnbLvQROxkkf3jJ2MLFljF1Zx
j5uUwldu+s66VyviP/L4kzEEgX76FOkvJU3m8hveQ1W+5YUF/NbZZ4jvpFw+o/cKS6P82iGJ5So7
VlQ58ixMs5ajYQsAhUOgfL6OAEzjeL6NAvkuEFGau2aeYOYO1SrWH3RSMpR48QjaU7gHdjhl8zi7
HedS2BwGAv72TcCC4CeUUMECpgCKR0cyulaUU7krisQTQYrFeu1Bptxc1R5S2o7awkMMN6vE5In0
eZhWAMaIg0PzpeNR0KXGlTAHUdTWBsrC9NVRmdhetD/cy/lbIgn3L/78d2KGDZTLvn2z0k+hlPZj
86OMAunC3F9GJkHwcFBMADoQvFheeZ1fsFjwokw23tfklIb8VGuQI1LklKs9/8pLuZd0v0CiVvm1
gRV6Hd4pzSU5zSV9zx7ZZoJ+aKt175cE11hLBHe4ak/JK3gF9GoFmYCNSjbfw4z6iTS/r0pEiIJ9
kBjfRhPFwU7V+/xHIdm5ySeYyHZFrO5oCs6MuznsGsRz5E1MJ6SN50LzMc6sonXi8E5mYD9TFtOZ
sxMlOVS+GAlAs6NyuSiwQJa6JFuDcjd1ZyLIUfWOZWwn8EpYmvIuT9M1QyB0DZyIQ8SgE7LSRxnu
F6LgCJwcWd+zcHdj170LQdaNA7D+VyxZ6Pvt5uKxMwnUJ5hwgMQW9UXEzWDbH1dOfg0lc414g+57
HHoTCZwTyikUteMEetyK1E9dTT7XNXtGsvZeryWI4TNvkqBriV4kyxloyaIcEpoTUVJPb0ppnY79
96JY/pKYwZKq54U1Hy5H2Vek7iNzRmo3CHK2WA1KM7yQBekS4150026i6KEIPnEf/X+IgDbgDm5W
dgcJbMkGALFaPPjUF1krtTt43+vJbYvhmmjKdQ/WJ3yIGGF6ijLJjXX56LbP5L1oEd+2QLdZHxbi
3OlCR2P0Kkl0F7wHTEDWC5XmxlWhoDoX8SUl7SXO6nNebRCz1I/T8ISnSazufSUA1xB8gXQ54hRS
EE9qLboiFOhM9B7bqupHTNFVyqfawomjfrOjs+AkXis6XgihQbvaUzoBTInOAzYdIj8KOqFo6QCs
Ddbdt0Bg1K1+Vgnjtjw3+NeyxznE9lovzsPaUHN868ua/Bx2vPKrTdRj/kxYUE63UlwQeTS73696
crXk5SDSIIYQwgYrzRzonajo6sz1oF5jiQAa2q+K9jsTh5+ac/lc+Ud0ZjHT2t1UcTh01IgYKh5s
qrJyDNtDdOIbaauW+CKA118ky8A6E4IDPWR9Cx8ZFrJ4w/m2LjH/Nxztco4EkH4L1kQEh2DgAHkJ
4zb7Hy+rMz+aSl/lV3RTsoKkMbkmfg18JOmjguTbv0xaQJmmKWZGkZGsj1LLPkzaZqr1JoDbVAdI
Q+grYCRsapSTOSjkzG+UyIfFH0Q/YYjzPsRDvHwpYXzs+/FIzdwxV/OTro+8JKgw5pHZvVioXUs2
jAON8WBXrsK8vsLHdIwI96T/yUvxAGkGk6b7wvb/FTlyJZ6XMSaNkR1M2eDgd1hJkhZ4K6BYon9o
DRRjAo+5KlCfhvmaLH/9pvwjAktUW407d0Qe0PNxr38Ufl8ofASIGkAZ7dSEKkO6r/9SOzLbHPRJ
L1ZdemhZvkLpOEa6fjSIA1lOgxvGaGavjJglyNAV84r/FdF9jgMw4EELr6R7AkerkvQtbs9m0b5M
kFYwk7uB9StbCC5+wPJH6V+f8zY3dtoS+yF8D/Mjf2XiPaEuUGswMrikjLOAnZOf/jfkCHir9bBy
807phSeP/wDnXy1OlxNrvFT40bPUR3tYKzQjOoix/tgUjXh6Q5L/2r7GH+2t7udzKkmXUtuqVorT
0KP8sCKe2ccYJIZ/KtoioZrgKdB+Jj5DYN+X9tVMuLFDySOFdpIj9H7Go1B6F1Dqqpi3MTMSwtGx
HMmbNvc1Eo+ivcA0WvLwTPaADTKMoGqkJmo/I7YKjsiMbaXxNZe1iyQ0l4FaIoyf0ZLTY9kHSj/7
wi5PzIORAt8KVTc2I6RN2trlnkgja9yWHpMGry0WLOmhWMV7eZVRDK4wc53V4bhz1zCWS6p5LsWn
hUe9dxjbKPRxs2fYEbG6Rn907O0Jj+X5VWcaCjsMDEoBZ7RCw6DBE61QQiucQa0iAe1IA4oUg9Ky
5s21cGKxxf/V4wuXQ83l7cjMxfcU5Ve5qi/dpaSaqnY7QB05NmcdhJxEclMhaLrT2LT32Bq6Geez
/TdNVG9pI6+sSO9vQXdhdDtbaMYHBb7vi/Si3kjZgduCh3EwPzSZ+w7BmiXO2VxKZ0yCMgQEZt3k
VeQ15eFkB8Qg3+WzAqhkvR5NWiCypTsZbENyhuC8OcWNGbgjPBD29qOyzYvNwZJp+obrPF+ka+En
dDmU4uoaPFs1QT1sVUchnpHkswU4gw+h+ds667ALAdqiPBeo5COum8SkMvrapZrXL41fMPGlFM4a
f00eQzjBAxVXiIbjUqq0oD6ZhxcH27OBsivxHDzwF2x2Tx0zII4FaK5zSVCK44C5f1lX0n4n69qz
kDOOIq/RFbDNQA0R0ICIjeBWpR1DI14jpzX6M0mNEFkpXZVrbVBV4Rna+Bya4bMNFgz8H01yQhyA
/su9Ekm0FrWBjuRPACr8MLD5tkZxTvKdH44WafLwJAn4KaSn2Jn+S3trGuuanlonhMKjLEQmpd9M
y+4i9lUIm455r53amPcCd1e2c+THXNqUsgI+cqZi1xxp7q58E8+GDg1LXyO3h4SFac0InJqpOyTT
i9mktty+6A7YUA91XRzbfD7yNbdABvcuDv7TeWGLTVEuWD9Oh7TCRrYhYbbdyUQBU0zJLWVSfcPx
C+Nl2nUHPfukygALzzeWBltym1wMhieuSxrCzTt1bhn+9mkcfaKkLDLbogooe9RoQlh+F6JH5GdG
PD0Vp4BlVwaUvynYxST1HOHygVBoLTeCIvBcvcYcPRLcdJBgoKQpuBbWawiaRQvTV/OHj7FFL+I7
S5gTurLbyfcRUZUH+d3soUGA/VII7PQ97ULVja85t9ZHzjhqVe9GTmZxoAAM29p+BkrSpCeRl2xM
94uBThFdKK7T5dJRfsy7Ek/XlnA7Qq0of9SC+oGgOsXUnkqeQe/4YpMaiiPaP2ZET7kipU8currr
tXWXEFeoCB/vSm3cX9Wz033Ruqg86tbsW0fGHx3SRBbuZVmHp8cOoug4AJAfIP4zhXqwircxvI7W
P9Oy9f45lPpBFL3Bo4MskigA9ChlbMmNRij33+smBy6A+PAiJL3gnbs9ddmwjfdCAt0BZIHFRx9K
d6F+Lyn4/f+rqi/jADcnN2jr1IQE24f+zfG+owQkY9+n4j7o7ZqJgV2FBF6yat0aZCL9akLUetaG
MURb5brvV3zaUX0qFutEAYA7LumxzHhgBGEY0em9kwXzUONkUspr8ytdO/KpzV57K2MD8HEayJq/
bN61DgMAY6M0DEfKBtcMNYIa03xuoUHwIBgOBkYXi4mHaZ1+a1si2Zbsi6d+ZyvYDbqz/ix3BA8e
RSM1MtQ27/SaVHrhDx5P/LOKOW2y0ZgHf317OstDAytZWhU0JmCOOC9bb+CAa1tDeVr5uTaoyxDO
WxZyxU65hoD38IryUhJprSDNVAGFMa6wyNk3iRa+TM2vrEtV9EHEZq6ru/NCsx2NYx1YDYVmVCl1
ZRqYWvwqFROSzvHMQuAwiTGkmJSt16w+SYPrvw0GTDEu/GYlRaifJbU5p/+MwriJTyZgkNAYmkId
F+dDHP92HPKW6AH8BFbnbkm4FETjkf8nziriLbhSgMUZMaHuL4PQUHoGzYmho5B/Xur9IlsH4Z+R
68donNgKJSy9OWheCKxchTS7RJ8ZaEk3YRsrXpZHFEsUj0KVVGxlN9gU1kGBMCi9+R5SOJkxRQ1A
pwc809I+YtjiFA64eMZ9GncoHVRsjUCEQ9upABXFFGi2JpIag83AJ6Hh4sIru6FH3kpGkZaADS9q
g0hAfOLNtZXB0lA6ZdfcPJBemrncuBWJhvv9ArNyB6qO1bvKEr7A/fJjrMUTTKIt8yjJ6uhTEaxn
y9ZIYi5jAixxu1ogXLuQ9UH7r4LimkOR1oTVpnKDdBMuOVcZZYLkjM+1cBczduSh4ZSmxlF6Og4G
TiLSr0K6H3AlC5C0jBRtIGG0JUJiJN6Cpqa3HFGTGy2Pd0rIejZWCYe7mlJiFdzukXpRx9L3gjXw
+0ynYqtHRtUFU1hA1Q+5VTLI+0jsvZvqMJks2KbjsfrtWez0GrVTKZ2MC/VZjG9tceyk0DWaaV/5
FUtP3dARPgYWRjvtXaQWR6bXDg79FvjaLCkIDdwbQqMdY2KMvNhKIB12iKWt5UDU5vai464bykep
hW9rLrsmRwOYoPIvj2ot2hdIGNlz4k1S2XGQSeZNoalw5Qtb80MltgC5iKNsj/WJ4kaiDDxajwsE
yB4CZBqLpCzhhOKs12Wuv23I44B4TrX/sqI+WLeca7cMmpieT7X2cygYsfCP481Zsv5rTMVtN9fJ
9GPm7LotO+t+OxVJhaaCnPbbzRWw/aBBrmRvS504r/hUJKotYOsV8WuFhH7KyTWQmmK071bLDgPD
bLFSI4X5KrkQSeGFgolY+Qz7oDJIl9CrXdO41u1NPK6rpt94ff4ImNugvHENsL3lV0lXJfUiu679
W+rjQ+QKxbNX6SxdCUqIfA0e/2KfniQE7SEBNjT3J+uHeBlJz2p3zqzxPOcD3jDY87SOCXJ6tgh9
DmkTDJZ+6mbIJzwbdt9dF55jMz03u8IyfT1RyTihcsFSXZ2ITlxOizKnRUKlabZcJO2vic/SwPNQ
Tp+gEm24rRQ+cUNjRsAKrVZ3+dArHQ1kFCX99sIupgwgNZ9SizOz5zsh1cB2XGwposuQFXsHf83E
I5Yy++vKfy0gTSRN6FTreWoTuymQ2wI9rG4YGO8Iy2J2zVblwugz3PQ+vFr0+naZlx6W1NpVLZQ9
fXqYsnTDVXvJGGkmnac6w9l0Z12joJC+4wxk2VgeBD06SgSETJVz3G/GG+Y82SMe1jxSydmq7jaB
STKpUpIEEuOaheRDqCY2R7LGve3T4sHOeedIyV98EuL6hRHGYLOrsqiq8AWX0MpTQpYcTkfF335M
xhD0Y3p+Vdp4tsb0wuuKYIoEcqIkmKLwK+TpHvFkJ/Ovgt1HY6+pG8EWiE8aBuBSkoRujgN7gWmz
b78mzC0hRnflDfYD5dtgiBiGNYZhiw6ighIdaz/T7aLqdaBGYlAHkY65GjtgclFyey7Tm1CzObUy
V522JRqMvnjrveExqSSIextRJ4SLb6JzC8R5DNKgqd+QUKK5ETUanf1oKNVJ960ixVi345V4lKf4
pE0bQ0vljhGcOsbBLIKf0SbvGN9bAhTqKp3KjzijYwknMZkwdhTDB3HSfnwvu+ihwczU4zeibw+Z
oTWPfAy4njCcKm7bRq1d0I9MtyNmYHahMR9Vx3maixt6Jnj1/DbntmL+cSBIEdCWMfdOCPkVzmcr
w9/NxjV+CG+vkTR9IgofKTFysGwKvbeN9ckXHXNmh4LfabjS0RX3fFjgjxb+HqB4JTNdaL0t2XEG
EhpSOwhRkgVZh3M1p/RbI06R0EBFUlteqV3Z+7UQeyu5y5qlXIY/O5ungN9XWS7Wm/5hVVw/XCAT
hgiyfngOuFEYziuepj3j4IDQA71UeZtLd77hwyJAjROS51TBo77ANHCzlIqM6E7Uv1jl2MV2Vx2a
SA34K2monFkf6TeLbQE5Ht+1Gz0hyNPmUIUs3V0SzpQVzw+ZTiAEsftCBwjhD/DGsJGeaYlONXBy
Qd7kTVkjKLCnp2DWCGI8vh2kAqM6R+zU65hvgj9lY7YnChTACh1DhK7c+hNxWv8lPqHnTh8T9SUs
59amGrQ/KVbtmq8T6387SkdGR0wBi9UZtTT7aMvW89VDldohQQjyE0bDo3nnkc5rwOCnTnvKemO1
vl1CA0Yzvf+vs4r9sLMCSCq3+ZbD/VVwB6dcDoqzSIktAaFV8MpZ0YGoSecl1g2JLw7kyKR6fTxM
Np1PmA7h4EQ91EwiRmxWhB5jTXQwSAfzB3FV7AynWi7uGAFrrHmtuscRO6jAW8FvLzv9HLEpbQqu
TAY/GZbKSIgLpFyz0ALEMUyBq8WzNx1ZIK9u1CtEcy1+2eOLokosWeTpGO5A3cPwkxxcO+RAYR4M
7EajUSNgu5PPfNr+fKsWB+TVgNXa0eUaVqe2F445XAODVcBMcpdUOhemfhaJPS7EHpctW8ubvzDt
6NdiTqL8gMJhu2hd8FRL57Q8dHIQ5EUL34Ppi0p4pMxQPKetdokb4Zo254wpdXbD84BzIVFUtBu2
0X+0briMKH+tgAbuZhbsR2EKZFn05d2shkHWsOBBrqPwnnBoQTh/6a9SLeKUl+8Ra0cz9LLroGPs
Bi8v1ZJv6Yaf06ERwSBJJxWhXfI11ekHbNche72KwClJYaKYmXGIOHPBwzMvgr6tJa+5Nn2Y1gYH
8cq8PdEtjNW/PBh9hE/gjdQiRsJLMQyu9i/DR4qPA0DiuB+/RpxnKevPcdTJH+2oN3ETDDG0UO3Q
zw0M65hEM1HwG4rgl5ZomrTnwt7rUoYMwYhw9jmhIQik/FQqZpsT4mhywo63W8R7StoZDoTEf3Tm
G+cbXl5hqHqghDxOdGclw2EtEYmjwPaXTvPEZP9/WyRPyFy328fRH5CGz5mdUbGZUar9WdvV/E3j
a7Itzk5xe9Kua2rceUZ5FiEG/V6J+mkAPrm+5potZyKz3bY8WU78TiHWQ4NK80fjWGGu31Fu4uVa
g7TED269txxDLfKu2Qc190/rinK+Zlxr8ujUGGCj/DxyxrEEXMheiqWpgOvA7hV+1Zy6KcOARZh9
4SqBLnTo4uIwTypEYUfPpkP8rmfgQb6Xe/0jzcah/an5wYCxOmDVOMvAJ0Dloi5ZxK14HvHv1pHv
XIW7VfhWkcUtzu3V9nsDMuC4TsyRUniepLL0PoASyOGNnBvZQpQsqRfs9nL9XNh4cbQOOduh6ag0
WVVEe+tVO64saiVG2exXCdUg1Gkd5fqTdj1/EFi9P3EoUHKjn8/Zs1IT2IywEUxcH6sZNBl1w/IN
MgiPZIUnzr5kdVUQOh+J+cYITuk7WhDFsXmQJNo9Q7eXOLtLP8WvsZ1ieWYRvJO34N154wdO3KMj
ZC1ZPEU0DM3MDJ0XQ9+79jgZDISqmbIhne985Y5vnbNwTSTZSd/1GYseqOSw7Xw9r/2GBugdghQj
DAQRocQyXYlcNxinpH4nZKyn7ZSmF3NPkdIoioS8/xUs7aFXNOBwKJjqgDKK67FDujMAVx5NyJWZ
zBAAW1ixDJ89S0NZ7N8CwB0SDvnnCiBBxeTII2jkGQdzvAOj4ZRZ/9k23bNqouMChbw0lje2uuOy
H1M+GmwpArddnO5xHha+sms1QFFBKEsQW2hR6Z81q9+JHJHBQ0mS+Jp3saaKm+O1Q3EMQqui/zUy
smdpUMOGkhiJR7adCyQ2mNRhVPsla9t4/zonBtRMwt0a8LkJWZDCFAxxXDnJaSBnMJtSMNGbjThP
QwLt5uxKMXGUb43e7IuHMvJ+T6TTXHNL03daEJ1a2eMK3bUTEld9dMd/Wc8ZWGEIHyDPZKrXtwo4
6/HQxh+EkUxIOJnEmC7ru4KPOuVaGDmIRbJwiC7qXYecpiJhYMmwJB8gJ5scmBHROeUt0fRgkyE4
V2bC4qK6ivgSqGZfLAyHfdCyW0w48/dxQeSMrkfDDFpQVHq0+tQsZQtOUj32DRo9cohd1d8YtCoZ
7iqU3PEbG7crauphkngVeMZUvInz7xKZgbiY8LJptg9lV/xUFtYd/eRX3eSPwuzfyfCRsSXafeAa
OsQTrpTms8KOaorwgQZU81BxtVPzuUSwnMdTZn7pEw+Msr5mn+aEmcHOWCWM8a3Cexc3ryj/z8qK
I8mB7xjzfsTTV/+evGRMfOAT7mr+CZm4NO4nnfD7CsNUb+69OT6moX2LhD06vlcHA+MJ/nYFktGU
v9N99J5FzXvzR0rK+9DipSezOlGOWSXytXg0RDnlI2S+Bae96Vu8OhZaRsoyiKzOz3CB6rhAn//I
vaW0PLip/a/BmdiTiBPJNdmaqOBFpFsljU8ZlBSp4scAJpahgZvBrbf5oD6ntKO0pWIPSnZfPMoj
cC/Oc3YNv6Uk9JtwDVTV2EuKvMkx5yasLpIIK5l6yUW7yGAkVE9dSZ2DTR/L4bxwdTKsFup9KfR7
Y+R3VlJz0zOJQnygZDxL6CigihvuI8des0kuXD/ae4cigztxV5kszMlOqef8VfBdli8JXgndGmZ+
oODyCMYB7YzbPMtf5aFL2QIjsXX0ow0qRyBhv+3FiNj6jaV5mll5mq6dUrs7RvBjaMmLiDlI78ZN
Bm2YyH9aCeoLPg3AXnDMA+kWUTubA2RejacJZFJrebBS/LKz5B/2YDk6nCYRS8DUjSdx8oRjNxWe
YUa++a1cJ0hxEzEX7VpiTo1pSEOxCWBceMuyz6TUS9Ta09rBKxfRo7eLFXr6yAn897wYJxMLcsLA
bL1Gif152n/Kbf6sTbyKluEIwb+8Jjvbrf7CaxubytPcUz5Yd/1O2XavyfJQRfMh0cCqpx/0jclE
b5EflgJPuG4GEzh6he0IYbmFUyw+lUyj42Sc7Jo2Y3Pa1RYnAsNkU/PVicbb2Hy2GwdKe1CiFBmQ
2grOUGhcBt5Tmnm35IYo0yqxnlhHFcA8gFIAH7EtRT/WnJ7QtyJI94QKO0RJqgDTYvTj33gRnWTi
Z2oBSvCGYTdzYozwh6RMtJwi7Er9sc6c5HEfxpRZpLj64pVYP2hogAGuhJw9WhdTqw8CbqzNhlyr
r2m+bNnqrNsltkjYcuWAAsJG+57gzy0T3DQsJy2dtukTHwPdcXQlhV4MkQfbvs4TvGJUzn/1SDhF
vQjV5LcyniV3GV5Tjrtr+dR5+ejWuUq6K+7c0piAxmt3dTIfyWaihM8B9FdSLrDvBZySGiWdHLdK
vmuDwMOnfm3ZRMSA7yI2EelCEneX6T9yy+3Xmd4gWF4RUcVhAmFWFU9f8Faytsx5BdpK/0fnxE8V
0oKL0SKGGRl/uSQ34xXEIvDZGsI/wLbTkmsnup9JCRKvLXHHfGNKcMjXIZhU3LBYUgzMJmI92jKZ
EOl3iv/Aajl1FU3ueBpwg+RDj4uE/oLjpNj/o+m8ehy3wiT6iwgwh1eREimJyh3nhRj3eHiZc/z1
e+jdfWgMDNjunhZ5Q31Vp9YZeikcSrk5yy0RvSubzb7zsrCCwhzRCxijBeGTCqxHrjmBwISkw6n7
oE/rJOz8LGjJoQRC49Yowg3UvIU8OCB0jBjVCoIBVn9JcMmhlcHIPitBiOShSslDnaXbjLlpwKnf
05D1FvsYiMH3a0Q0bH4+CHXAYohA77JkCWW7uHbqesucW9zznfYtHI8OeIlJ3DCr7wvHITlKHqwM
j1IAtOqMcxk/6Cq5TT1pN6hrIih3gL19h5TpiH3H/Cq+os7P2YO5vYxQ2WSs6HSYHu4grlBhRg3o
J14w0MRjkxH6fbc0fr30Yhg0sVflk/H83azr2xA9Fdbhibi/zLLHppoVSCbE0/rumpgW8/yJZMl5
ckDqPAiCMopsqE/fcIHLch+JILsNRYcINZSYG/jN4kOEVbvC67q9FfIP6ulh+ZoOKjBBI6fqhfyz
OSnez+iCl2PQxntCOfZiWF6LGsqrt9WZTk4wxAb+kNj2IePHTKyFKF9Sb70pbeKRAjiGszuQ8R30
msEOtJIKr8Vg+q1xGE1rvwBtXHtGx2/fCWcVemy9Sme6X8FeGRHDax0ELZfmpg9UOw0ImdeMvbTx
TH86dowM3Bf6JnteJZ8wMatsBOwZ5BQ5LlmQqzSMmU1vHaR+wWA3gTXVKM5c8tg1w58yfUVkG6ZI
nPpTx6F/o0kRZKj0J/UDFLEi3EHTzHCt3MkEgeyBWghdojOGR7ze6RyCwLAWTGbFYWY/X1k7VLU/
07gZ5tFnxo43HZjmhqsJa2x3X/E4je2hyawHyWw0N99UvJwPEwNHZTofcQHoY70qNFYY+LBKYoNO
foavjAUwOVi/+u0yxgVEMMJQlDA75tMC01PAdd9J87Dr+IbgZ0imYTvoSD0/pmw80NCUocDknzaZ
MAmVibqGSrWPgLO36iB6aAlrRxTQyuS6tggOxbVmy9RgtMMEnTouR9dWm2sVricxZHQNvdPrDGrB
eWDVksVyLSiZ0aT5xv6Eejq5jbpbJxO7qOl/77t4AECTmNTxwYqt3rauminJz5Jiv41BTY/nEv1t
1DqQE+eSz8kFX7ySxtyq8QboxbHIBqpdzlHH3Wmir95ylxK6P5gtsmh7k+Gc1fVclGM6fxWURC9L
f/VcNHnpCAIk+JhdWti1S8LI2UnsQ2u/BrCTA0JZGl9GjNUUIu5GpX6mv3MIBYICIb2Qjt9NXW1d
ImWCT9lLwVOJcK1hJ4FfHWbJy22SYfV85lh6Vi1t60Zy59nayV4EtEPZmwd6TQlHYbxVI3/uWp/1
UvEGOm2dqfRmv4CODlJudS5EHTHv6Pfcyp7m/G+k/vk0LgWm+xKdimTj8BtmYWjVHIr+QiLi04bh
3OK6J1G+lkeTWgxsvx1z3XhyB49PZbHyA5G2Frt5fNFQZ7Ef2rd80EKQwHpbv6JafeUssKUeiJFk
qV7CwaDMsmAHqmsclDSEy9LwWF029cnrDABWLaCMaoO1ofyiYGqPydNnSMVtMDNUFyiLRbg+VIJm
e46YZ4irKwNCp2xuPO0l+++4AkaoP2Zo6eroAEFDjUMvNjjR6vbgA7XzrytD3O4iUPwlvshjXLbN
BsJcopDrwdmsm4xP5F+WAGXGGx3nW7ksJzBodXFxSvhSIwpqEmZXNUYt5Sjk8ShBZrJQPYnvqB16
unW36vIGO4eIoDPkAJvJYhLZu8PF0ibif7uSeB2ebQATs8I4+7CgiMloT+pt0FQkqhbUDI5oPgYN
epdFu/Rm7lvx6GOJdQ28QON2yaHeVqPetsREX+NFJZrHXqbIOPWwddul4RsRw0VFZb9Y/Gv6zCA6
R3Pkb7ESoHTIuT5AqN+2nL5ZAx5fXvAqOrUiOvY2wln+G1ZjkEY5JpQNpJYQpkbDeWVp+xyBHulv
VDG+6/P6UZTF52Q3n/n71NrvRb162vgsEi/JJvrRwE4qNLyYtKi0g5dS2dYhyCZO71GQqRMKwXSw
jAQEHm6uazQ5V0c9eFGO3Gc7FE16kmaFLD2X3HTh/iwVZmgjKnZQK8oOp9t0nzpwv4uPxYF70daL
yL5IKjd9X9v4aZv5I00qRF9xA+7vJlzvR+oLyI0PFoZ4eO1MgsaGCro7gaKUz7p1l3QNNq3UeDP3
JrQJsZ9s3cMP1iEaouYSWaF1RT5nf426P1Z4ALXbkhgnTe/PiNRjTdYI0DiDdSNv360bNgJLdu1H
v+lg7zrujvw44lfAEP6gWwdbcLxXRoae21jO0HcrQQjWKTA9C5RDRmrqY8ZgstLNzEUokbJgqis3
wnmg4AtNj4s7o9Q3zrUbi3Bu8RX2gUJnwkRnAvwHrHoWxNCVstUfAgFiAOLN17SHuYqVAcmkkfDO
bNc5NqFSJv1iX1RcMNM+V65Zk+P4Uojl5X4ncZZHO4/+TTh3jmzisYCWhbUWVaboQpG1J7whEDOc
C3XeEC+PzKhMn3nMWJBXYbI2Dj2yjsxJxjwmmLMk+DGynXJpQNhnW2eHHttT3cz3oZ9uzVReKwPe
WWMHhqPfodRUJEgcDGB63Z6mbjiNlBN1YfZmYt9Gj5C79tRxr5fglkbVcEl4jVXzT543ocO1PiN4
oM0nzKFHXQV2gxNc6lbmYczEzAj/IGH9aTmNF4WKt2jmqHR7mXGon1Hy7nRtE7DgFrteQLykyjcS
BSEfd4TSYnHgxX2OmIzdtfGcaHT1l4ELFuhM979UI7FB+w4KvR034k8VydN803OGt6H8VhC7QXMe
DLQ2ZprTQGqefFBOWCOajev6N6m0R6m9zbrxZZx03Q7rUg5p6jwlHAItdoyS0foCdEkmY4CAbQla
CRMo/CC9VfukL8wYyC7mnPNjbic2ObEJi4eOj3DcJyNGyfouk/gQGOjwXO/SbXgEmDQt7D3oGoP4
E9nkjkl2AovKa7bTMBQS4mGj/KiYj+R9fPyPa0Jx6yKuKSXC2wGXAzr32BOGfzL54spabyxebX6N
pvaZTP0XO/qEFXMQ9JH9jds3AWZOq3SeejnoVM2Ts3fUy2AoRSC3HD7gSSbftayAX8P4RJmOxQpn
pz5n9tokJJvilGXYtjBsG0sexEcGbqMeF9yA+bm/zA4XK3s4OzroNazPVhx2iDNQQsYyNA0eEg0Y
0fcI9sxxZnROUCRxGcQRFVY0BRYMK4Y7R90F4CyIvGcvLdeRxDfwJsg3aUc/gvjRjPzkUT5AqkhP
xNHcK8fJya/bNCrWfkkWexXtPmXf4E+g+bngogwYvHTuBO8Tt+J3PD8qMvsJe10CkUriYuHsnfJu
J/mpGuQTVW2EsDlCHXRMnTZIXww8jsBzZPVP1lluZ80Odes1mR1wL3KQs3SqUK7rVYKX3x1ryPdQ
/FSChyuNsyQMdsxLC/v3DiHyPd/5dsxayS5PFz2v6L1iwNdDEaKXJUcpBpVjaQQNGqYmnLix8PdJ
4ZvsuDMONlYBf/1bHBWONxmkCGe9OQ+yTEW4s3xu3iEWkTHi0WN4Wp9YX05JgxVY7BcRvTnO4uU1
UXjDfJZ8xCp8i0wqqPmCzTZ6Js8tZ7BdwR2BiQPOU8evM3W3S/gtWZc+/7vVxeHDtmlqGQufnz3S
x6eNSU04V4XMDSzFGPdZQm2b9QVS6FI2F13vTvAk2OEe6Ozo3Pg+gfe60k2pqnCseVPJaaOmy2eP
Gx5zfhqVgrH1dPhuCRymuBveZi20uu7mpLhkkUaZG8OIG2Q4pkV8FRFk3G7X2iKcB3F2eB1NplS0
XDgN5WTTeaZwbanOqrFcVEjwHFtvtRrdCLmVE1kYgOXxiyPXQ5PEY1X73WgDD5fW+1BllCRMN7Kt
8fqsjfrxb/paDftN0AMjNmrAG9WV7K9pfxYKzlBLnGdTPekSvwNLOi7xjGobJHV/UO+JKihAAgmE
JgZd8FBPuI4lfU+ZAbFkukt4Yt6sbrpYcURkeZeW9xCC37DXNXs/cYupRtqVcYUpoTlq3sAdvPO4
8KhQqlNV383AcwEbrQHwhB5XK0QbIDJKHbbVh0IhmeJzssZPUIA5r/82/9VxJfpec3Kf84+vPQg+
AT0ZdllL2oEmFarMaatbQGW20D86ADK7joOHcQRTkHAnNLYwdstmqT0ocN0NXyFDVEp56J7CXOMq
TJ4n6H6CUWHahU6JxbaRGKPENLPyhuycX/JtQHwZ+e7D1z3hMdIM9D31KaOfyj+MI/jLUsMViSN9
LcLkl6l4EakEpq+VmR0rxg8x44c9A+GdcsLPJl2IaZFnZUO3ONzK/OzlBNV4DnBbt1n5WsgcUVvu
oiOtoofLvZW3kMH5ElyHiDfZlAl8YHr/b5lFEwduVFxKoFcKlosehyOwK4r9MjT7YQalvUNkpe3B
OhYdhJft6KlKZ4pJLgp+wO2ISUhuV8hfWllc5kDBVRCL+K3pmlehQ9Q264dFTF0LMiQCATelbnWo
4JCJ/6nz6CgX/XHUltOwoZ8ZwAq3lhriKczkGuegQp9b18XXG5gsFXHT5Wfm+KLjkISkFWDmxC67
K1JI2F3iFSI5mlz4PBx/e3vs9iMdMnGRYL1Fo7WUA4ekQ9lhV5LheJyrkfubNgVlCVa9cIKU/piI
LdcpuEXyFWGvilhYDN54MX9IAwWvpXxR1BXHEoN/cevk+BpHXL5nXImlDnrMznAqDGjsIxVEGXoi
Jn8iRCZ8ma6+DHnqWZeSDLkHMKAM2UUvn7SzgtpLFyAoNlMJGiYH18JZ3YKXCgXz3vDbnuhrgvsq
ktNWP4Evn0QKSL7Ok8aOIttoF5PjKM6mLc5tK7mVErtlhOer5bqEedCCIJdEV9Upr51eXsa5oa9j
R75NY9odndMETTcJMpoQJ4NWI+BzdBdLEj1DXKaJti6VO8a4XCIdH6N9SnBYvcOO2Ob9X92PNNZP
VENb+Wvj349HEfiwRpfjqFOgvrgdunIcwqNGgnK7g5qXZ5I5KW0LQgaixDjXYHdqog2ty+x0v30p
K9XAl6E9gpxicqH4FU1jCY+Oxs0yCsAJ0IRD8Ldg1uaxA9GXu+40I3JVMwAp7mYhIkXit/vxVHDT
rvAWRYZN7SF+Rfy2Pvq8zs4MvjSxkBd+qvRXVwPJxWAWjq6GfwVfxmkDH3/eh1Q9DKRFNUyF6kHz
p0NvjKcZO1yL233EJK3beHIeVSiswi0/6BnwzaYjaZAi0JRuN8CQmHc2QlsPUajZKxKoMH4a/soL
pe8FuomEeNswP8sY3EoXFXPg3rwtX0v+Pd2LAg3HYCazxQwPA+89pU1dNwRVsin0jApBpfSsRtKi
UpMHZm1858oDBxNvgvod8/ICaBya7lZXw43qnlohN/V/Mlb/fzJWjtdpLHO8wY2/hNUdG2E+HHKm
4EMG2QFNFu4h9JeJ0GZl8YZ1gzfd1n7xzYBBCemi7KjYqcfons4vZuucljK6Bc2lDNVPiW49c6Vd
dwIHwrWrz8hULf5M9W5eVnfoC7hniD72t+Yfnhq2W7qvNC7/eXKPO/0qPyuj4HT4mzY2wkHcGNxx
avczrguyIPF+ACfULa5FzAu2xiRl+7m/MXuNRPO+2tIrVbrnqGp3IkCkp030Sn3xgI74Nb45HJhO
DS0YUAvNL1z74dhTyUjFS5yR16nDycVHoLlxZPvF34IGBfYyCdkSk1yYsAZeqKQQNsAkt48V0jDT
9asgoh2aBXQ/ArwcsxRduVo7iCEnmes5sQ8V0cieA7upglniLFNyU0hYmEgwUWAFXcvwzN5CARGB
BQjcQaqpXVNH17V3Z8JDY5/dpIDgKnQS63eLNpZgORE8phxnDz2wIu8ys2taL2ihBw2qhC4Vh3Zw
Y/PLJjox060xWzcdBFm1i68p5qpGJdeVyaSaBja8vGRUdoh/xwzIinynI/On2C4lsPDDfsY3fvCk
V8T0p6YvCM+XgwXZ3unI3ZUG5BPZ3SilI6bkJ5E0TyONEHGvizKczyPhQw4HzRkQ3ikZ2METM1gt
ehvfCrmls2E/jOQUVmIzKhWC1nuvsE3Zr4iYevEX5wb7vqCEdWUap3Fnpyg1/7tFClqMwMkHnmbD
W07xBzycGw9wQf5HNuBw4OhcAI7XNg4Rhag7BfbmpYBEYtHhujCNUaN9RQHAkhnADs1jygQ7nc8W
QwZKfjhn3yysNKaUXC2sNBMrT94Q0MFOs1auJMd+v0x4vMyPKWo+u07+3PxZ7XRO7PocPf9KYoah
OR26SNpFpnzdfhdxjjN4PqnlSJrSepIeG5Q+qIXmf6waVqBSPhggmqSEuni8UrTOt7IFjtt06clB
oiYGVt0lOHrFq1ScZ0WabnD6h/ZtVmWI2E+BGZ0fjGWg3+m8SNDjLX28a2K8Au6IP7vTem+joLC+
N3ZYLsGABd6RMXrFrWU1QZ/agfJygrJumFYaHu+LaitBX7rqdSVMx2pdCPq5xLGhKrekGUjGj1y9
xQYn/BpFoyCnJ6aT3VWndf+t05kwlo5fadS9g2Yx6xvAQh2jSOYmC104MWt0Rws2B3dLpY5Hs7w5
kr1KxRYmIwnJH+r6d5Bn7JnMivJkX1PHkRtYcw6TlFwmhSi4+o9sw1WHDJze7HS9sfDctvInPuG7
M2HMCCScvyCTV/hcMdIgfHkWdIUFnYOX8SsOmfOpDEIj5gcgym+Crpp4NU8I1NaWKvlpyHarOGMW
Nmt4phxM5lMPPRIt5GATsZ2rCcLeenAM47DgIsgwlyUqd2vH1TV3Oaix7GNYYuiEYuzmq0wf378p
E1mZWubl1o4Ft7TmbBEjZobn8LhbUJpwj58GXIFT/BsKl0NqptgnVnzLcUvmH9ZDRw3vWnHQ6/RO
uYQorHcSqhQGfAvOMqSCur5jyW39hRwDgv9+dIqjLHHptJ4KS5oF3G+61EF0z6iKakZmUww5Izze
fXbSZ67F+xoQnfNM/m3y4Vgm2THptGBouwBoH4yB3jZoIOd87vCckCasA6IxLR8sax1Ul3hdPZu8
o/OeMbYUzA3S7CXJjz2DzoJX5a6/OtwEEfGVLEQR1wYYT3RdmfYeJ8XW1yswwuWDSa6H3Pw/rX7T
BZpzFx2L9Lz02TOl3V0ls8CCeeQaQgtjzuoietjTVTB92zzyGCHUQQ4Ejs+09DLtGWc0hP/GtaX4
07LnJuIXZNTQw3zmtwqS4fxauTMmwAzi5kNKPoq2oj8FDhl9pgtLdqLZh+yfKvsSvkAvZXaMStON
nl2eNmPCMFPxso2z0hMGbItDQMz233peygmgrurdZNLS3YJnQACsEQDNBwgQ6sTVDqYbm5ruQ+s2
IVcT42gmPLX2UQFR0bE64bSnlW845Yp+GOV7DmyjS9ZTBe3Ywt3UdWdSjaeBSPZbgvOCSfBN5z5p
Ox2CMWE8186Sy7pE50GzuUSqR43LFl1NyP8FM3O9e18pYtSg32ErxlNxZil3nYTVn+jDVEaHas19
fWn8uWIGXkH9XpBOwWrVyPF+bpIZNRyqTbm141Z5xhS4OD5TSiRdCiLLOKNHTjk3eXVudVxyxF0d
CM1SNe8adgQTp3HvEAXXLh2uHqnuXUHU+sN5Up9uqadWnk6MaebkaqzTRcJamGX8FyUTmeHYD8iv
MVUEWJ3UIbAZ5N+J/cv12dB+OSPtZowR8vSBYefcFtalK8M0XQ9mDPVv5TPEdgvhoUtk2ANI7GTQ
ycn1nFX1Fw+1+NQ908unH/p39iVqr7pwfAnGXWlKaB8hJpl92u6UKsIn6sIU2LdpfBjdO3EkHF6W
T0kHh+zxBAYB8uzYk0YYX3yXReq9BEu0G1OvoAQy8jDKKWzBxTEPA7K+M/W+/MNZdaMBiv53Jv3S
5hq70/rUUAJn7kEmVPssGLe1h2MfMu7O3JEC25XbbJPJDPqVy60W/Oed6+OPaMVzVqJnV6kvOPNv
5e9qoK2gU/dCTF/FxAA5GvbNf5CJ0g1lqtywbA3hbDpHfJAfrWG92TOeO1evqP7+msvhCRnjioI/
qN2tWZXLKpwzt/udWnCxGFix0K6GnZb8zXisnAj5i2eq4ZmqeaaWlIY4k/Nq7fc63LnkrhZIZol8
H5LlPgXUrBN2ZpCE6G+N1l6fwUrinhhWJlizF+noWZv6z2y/rf0IVixt1j7/s6Z4dWr30iSat/vC
E1NxiGdunHCcZU5VPdG5GPiixjmq8yxFXCpuwSPnnm2Q2KjZLWSAFQG/6awrdGFyYhJfDE1U+QAS
3o39exQm2H+46oT3URzsyad4wlR9+gVm+9jKr6KqL4WVbECF4/ILX61eKTejLh7JojzlJn7LD5mC
gQtlsTEBTZZfYmPd8j9aMl4tiz/TBVz0uRsh15C7SaVkz6im1Vh6xmPbjG/O0L1EkzxNfb0n/r89
2G3YL1FMHit6wr/j5iH29+OEWZtqazSTnrN2A3JZs+7mcVfHxX0yhTcTHkG2FcwtSg5jLKGujHU+
Yw03rFePYQAa08EkkZyvGeb6FQ4GYB2dMVx+7LM1UJ47YFLnTGfjZxJFaL1g6i+IIBZb0IgS2vZg
M9gWY+pDCU0T/KPE1tc8vyw/WdHddqGsmPuIusSJqADa+wHm764SKT/Ig1+L22J+K5JgEO/0Q8W8
VG3cB4D4A0fQ9vqh34pYe9STZzOELLF6RNofFMVtnKoCQVbN8V2o6ru9kx5GJGF29sDiOd20Xeiv
chJfB+VOUuDYHVPwkP1EDsLE4M0JBQ3G0z70GJuDmnIkQDojQ6kfha0FpglaLJFOav9ZlymFAlKo
2QYkvtxT1calISUt3ydZfWW2cGV0UCeio8CzPnKoRwRNznAm8WZm16RgCIBSsCKP53gDp1R+W7Pk
RSlMu3YfdBdvMlAmYZKe99O3STyywolEvil2rCMuof9fdaDMuS3mSQBCY78EPci5laGI8lch61a/
YnzHkBxfYsyfPRNQd6J/gLVRV8gRzCandlfFnjEc9N1m0SixaIBc3dwiqtIdPuPjwP3fi4iVCtzI
88n5xbgZqPO1kZaHIlzxG4XLGh61ND8rAHfNf5qeeqvrn8HZScyjGkIxTIdVSvw2NJOFc8Ak2cEs
7V5b8YNn7VHwSNEisdKoZXFgVgzsx24DcmRWUn8AbDHTIMDdXC3CIXqvJP6dEWQDKXl1bk/LrB57
aOIykV2cC2tBe0/2e8RhsGLGtB3lMGtY3EfN7+WMK8Ia1G7SVF5UpmB+qg/1Uw5aVXmv/01o97WE
v8G64mYPhEq0KqfAGUylVc/7knyGXV1oZMPFkct+z5BLKbb0OBMnNjbAEGZ54Lp8kBgE4v+I1YV2
2r1RSG7GKWlGMGkgu26pONIm60NB0ejLj8S+zVMZYJIQyBKbkNKW196kzV6tw2Y6l+uxomHLudOZ
gm9M8hfrOEzaSfrV8Es1bwlTN+Mrzg8mCcmiJfHEsseML+xmTMrqo9QRvwZw6w2fYFEfKfL5F0MS
LTJGOYdyDdIj8Zw2oVXiUG4xGA6vZKX2pDMv/JC8zI3dX6af+9w+DaAaTvY3TRgjT+QxbglBuOnc
pz1AE8A6STYHFpEzRB4TLQejsmc8Wo7OlbffsaFC1S11AOEWrk/oRTCqdTIlvPW2MZ1XKjejLpCh
SbaFuM8jtz6sKngv9Ka62S+kje+JbVUDogIly1nB9KAGc4qakXQYsF2SzLnGtKYtkHtqCXw+CL1V
ZUoM/HEEWqbSx5BlhRvfKcluf1Y0nJKgvf61T3jcmorXE1tg3H06feJZtOXBlc/qc//RhUiHu+oY
3+USyi3+RJ7445KFvFgXrHMhRaBh2i07Y01INRRnZZ8kuR9ZOvhB9ncw9Ws1M8ihRJqUrjm8TJke
a1Ef5gQ7L4mvumDHiU0MkyIo6pZWutaN8mknB9Kavsv9jqLzkOqGAq3RNN8V5253zu6TMAPh9ff/
Z5WytOLfH3wxNO8VjYiySqxSfAJUCReacityqOVHXKYfkzO9x9hJk3eDwUCSYidBjub8Gxke+0Ue
13sd90L0BmRqnh130e89wSBUuYC9T74LXeFqK3yLRpeZmlXMbOzf85zcZKV4ZHSaR8uMMkfrGAvB
SijbJvk3lKmntATBs/zU7xPhQa89LgMiOOO/rjSOK662qCo/G4Nc5NHQcTDgNUzlgIIXjIlMqQfy
L3szXV6qEK9SqgG19Y9uAG7YiNui3qdSdmX6WrKJWZUFzY/bf3IsxYou2AKh5x/isQ2pqAtZB4no
EMm3EZzxiQQTVYmA1CugWKEBXbelUyTzNMN+qbF2HwoLv8XILt64dpGftW3sIpazXRFuWNdzUyrn
USCtt8PelrKNeepRmt5ll9SSQ3nNQysntd9b+HjTY/5PV1bMVoZAubILg61Zn6qjH5HRmPqcOTqV
/Go3ui8LQjQ2rqz9xHCCVEZ++DRJVOIEHNxE+/MZ8Xpq6yUn9a5sk5DDmHc7gkcKQcp2ZwNX4sJo
vzgO8qeGoFIxeZ3y8q4wM19dB86BAueg40FK63MbW3gSlTCppH03cZP/EuQzOnbpAfCfQp2b8GfW
6j4t0MGhuEfXgpeHk5LZJ++6Mr2pufRymv6eAGtz86p+sD/ea6Ffm3G4zNciJlhJwZ+pPnPF3iUK
iYlmV5KOUIftSAfT8mHsNa7JY3nH9SbpZtDaDL/qR8WzhAagbw1EW3XNxIpn3njzMS7UWnXpFIVS
B52DXHVlDTCxhRz5JOv6D8GsblPB4jHs4WWX+hQm9/3MRUr03XmNi3MUgUk+ODDeW/93MjN/oeAg
6phxI9wzeXh9MsDn4QlJ9YawxNl3wemt1HgSndjsUgu+UkuXuXEzMEl2c2o81FR+Mm9RPxBMNL/7
EQvBb9qAaoKvi48PO1BsDAQeRayvmUAZIPdB+yOgmUo0z6Up9emaW+TVwb6huyIg0+irEWfruLMi
aLdYchssuTHz3K43diXjVQAFFXd7IOLhNlPVojqECDXS1baVc0SIBBkkPzkLNxSdbsE4oKZEaFDa
oKcuJOQVA5JPc5018zJOfVjcka9CcPeMKAFQ/mcBmjNqSNMimAY6WHuJPOv/eoBaHHjOuVa7sM+d
k6NbYVysoUbZAfPg8wLqyY6oOJh3iJ+n3D7UQgprZAUQZqwx0PJJOMh7u873nxYZMgzLZB5THoBh
V1J0JEOc5ZJUELfr5L8Z/gJlMPbwVsmEtmt94o7/M43lkwsREGgOr5vBombPRNSFrysjqK8QDMXv
VeA+YKaRcXVIZePFdOplivVlD+i8fQW6pnuSpeZSwypD1WhEH5ex3idF3LTWNbZT83kkf2bsKH0n
wPmPYb4ZPesTNys0hjdNlGH1kzH1TOTuQPT/YDkI74QzTV7VhuObSq57rJtb2wg6pFRQKyV2s3kC
EpSqp8E0T/tvM7EOM5zp9DfJeK+GUOU4r2qkF9BPxqNZGwcb072U8teE8tHHgUShWUsIODJwbZwh
hqvE1KXorI5vUiEdLMuAd/UdN8vFAm9sq1hdAXDDvdS5F5seVWLcydmdOIVtZ7Zd1qi+9K+E6zOm
lrDFwaGnqAgPdO9qm7VG9SWbNQ4zJglZEeBu3yibNEeBeLNjLHzmrlea/Wr/ibiMepIm9kpDtshZ
UUmkfTvC6q+wUUYCAEeP38zYJQnVxbTH1Wh8lHBQjt4Bh6WSpABLsGAAgxoUn1RAY3YRXVdlOsnj
pcmavQPlqGbnwcDPGNbt9gSWl2x1PQ8XHHiy04ZQIb6+4lqYTb5JhIGHAauypgG2ClBfLZKEHiRI
yCaEdAs5Vr9IKoqk9QZES8/l1zTrL+VgAZPZDiat6+zq41zRZKn/S+mdcsDHvWqhXcjh7AEPUar4
slRymP7pTcLNKlTglLNWDNHvgzhATDcmkW/4WKO86XnyYWwBvqyUx/oxi2FJaq6+WZV5t9jQy2Wi
8yPGM0SfXEb7wfBwTIyslXgXh8qwYCgpZ2RNwlmg5FO3mKxTSe0vFuhjDeHD/sMYktMvCq0gnBhx
PSHk/Q2BNF3q8C6v0kXfRYFR/KFgLMpJpsbGAzUbLVTBPYz56LaeYsDkADcOpqoG2/Eu6ZuL8VgN
+x6nTN8d9TLHl1ZKGFKP+6o0PobI+YAi+xbBDh4S2pMOJnz/wm6ZyALAzZlIFbDhI8sfB4V0cO9F
NbhIIZTjoGdutmH+JvA17TXNuJVRGaOnoHCF224igA3EjPINqSb6Xyne2MACxu/Bo4PFI8BbHyhn
yOX+uptXgliGCCr9v2roSRfBzAszDLZfmYZvpjsMkERHseDx+uumFIwxJJ2OB9Dt4GpL5Nfq6MgB
EdsKcDtrT7tdHvNv7WxdYBNW4YQcNMv2EYRqnWy78nfW6YPlj+G93Vdfoh7PG2MdPwByLa+RArpm
pdDNGCjUwMtKSKKhz9K+JPZ4m3X9zgwf72tOYePmZN05l9TmfFFQ+zoEmm0GI2lG0DHEiYfjYFEB
iPONCgJXwq9LnyRHfW+k4tSYUr5fcsRVHVAe1ZTXOteIKcYXuJ5tKJ0Gu7moSxU6Apl1RX68VPFw
Wi8O99zRcsIqSq4vHXrsEBiKFuROcpy74Zio6NbzBLnMOcqzYA7A9hGYE5QyvuzG/ysV87GLi4ce
CWh4xn04W7T12IjMSEx48Ud/7Bq/UuDeoeytLSUsW+tAgXED/kyxkPZi2teI9z6u3ks6eaynma3P
jsl3Nc17nKkqPJIhiAr72tbZda2yi03JLKAS5peHqDwpJR8g6HuGfinBhBoCW1WcLWBcsKVKHRdz
O9DFIYdVgiSiH+NJCsQCSmM+TGrnJ7buC/BuKXxOLFknPKepkoQ52ZAye4xR9axi3shifSl5/Mb2
cin1lzyVJ1nXdpJnONZ9kOa7OZu3Qk2JlWLeIp7aqySZkVDSHQsNGg/GZoWm6BmLlKUdwDgdFM3Z
NdhGyl/YuQFp0M980oiE/A9J57XkNnoG0SdCFXK4JQiCIMA4JGekG5Q0kpBzxtP7YH1Bl3dthSHB
P3zdfTqBqdNtdTbsFfBSyP4n0t280kqr4iGOns72TEwLJSTd5KVEWhmEpXH60QMxVIXoY66WR0mk
Jf8UaLMIOcoX4qXLo0tn0G4PiKa46qm2FXzvQ2yVraSdOkT2UfBXcznbNl/J/qekRbcCQuloBbWN
4Uzcx7sjQAownQZfa+LBNR0D1l1Lda9YQi8iNRqn9QmCaCZ6hKvDJvILXlavnspiOS18cStTtkkE
74pp8SSGpGOPbZl8h154Jl+4HqY+gllDonFm4K5lx+Qfc0um5gJC0OhupT5yekQOJJ8DjGA6+RWI
flb9K/Eip5obZ2YSG+JEqE23BfzY5pmv1aIfkV/tmVEwPI0pLpgNhHW46YD/FdEnmyndyCuGaaBy
dAey1R076qFJsfUdfCojYRQPazncyeIcUO7XJs9ELp5ylTxTMpB99ECm+tg4RPgCq/Vb6DmtkOzA
+uZBCgwWEZbnKngaWTIxSfdlKpz0LqOSqjpXc3EBU75SoM20c44JZxDQkFIaLovFlRrs26xqamG4
lHfxnyqD+IqXUirusYI0hb+LnAfsA3hP5uXImdKYj3zGx+2RM215ZDZvf8tEgRdqIlj2DYWb8UIx
OuufIUjHNvohDX/FKojYl8ND6LV67UcScEIIUDsdGFXGb52cTQvAXDb5Ft5osEtzvpKlWS7qs6Rk
yzATzB1gHMaGr42/28LchltTodfOC5SmbL+12fGnmjkBfR4FaMNgRUbvEb2Sc62Jl4x8Bt2sS9xf
t4KCIrtgFAv0Ceo2mKt6WPzV3UZgO5fOITvCFJMSZGKHZFDCQ6cC0UOLxfHr5XOgTZjkeYWTK8n0
eXV5wPSfRoK6MfczPuVOesvxC3GuhktXElfatkAqjA/WefhKRYXZI+tsMuCseUqjGkh9jhkOP7eW
nGOBvB//XQL1O0yQM1Y5QNQotEPWc8qS8KEZ9UGw9VvBx2DKHB1oFrdyJ0XE3QSKNM8PkR7U03Rs
Y+tkFCvTNSpFGu6FT5M8WQJLXKkxsCqJyydykJPZLphyYVCWzM9dDwFP/FsfNRQKqLxJCMEgJSHB
Ehj5C5YkmeraUVZv7ier7dfMJSTWvmoMShRbEm05TpyRCTN1fAPWQ/tv+Q4R3eE97yagu3ljXGi+
2DIdLA3XXQhfAjNKSQ9TbbyoALLVMPMsVBn+IgLnuPyjW1Q43gU4lReG0o4CSZoiCql3DJoi4HYf
pHufg6cnxkC/wwbt94SfcjT7a0K8vvuaWO2koqOAKXMYZKB0gw6tLDRsIuexSQtJ9SWOn6bi3Aqm
/Gs5+tuDTPWxcU6CDN2xJBsVM3Zq6rukT3e4twtovpaZWrX7RBh9wj/Yws5r/0G1zLPIumcC90Nn
bds2Vj49AR8CYE9mESLY0Kql3omzXgPTEh/K8o7b5VU++neE+r0sHx37bCdr4L+G46XDZLZy8Avx
Jyed5hLW4iyduFvzt0htvZyf05n0pe60KjztLOY6tJwHybyoEsrI0UAxkVPC07K0sasph5nfOvYD
PKCfQjh/rkr6OSqsXr3hYQBb6/NemHjmqiSYCFrvUzenEG9lzTPtumjPYom7Sj7KlTNKmvd+m+bo
zkZ1pLmimXb+NnVnvELfe7v7sp6JSH3DpQROu5cvU+FVvt+wrNFfNyCKjRgSUq5g4qHupaACFTMu
I48ucRYkhz6E5k/VxiuH4a8R9kUeTZrEUSlXb7TWNdXWNaLehQfl5rzM0KZi252G2yLU++MiFVtf
DUs9wSmV2a84HvSpPJiOMJ007y6TJTY17UQAH7P5vD1vR+uIRdbW0fbIADsDhLL4JBFvLlrhZHxQ
dMP54lSn7XndOD4k+Fk9euBqFq0cBpq1UsXAQJTlvljJpWZ3FdGsZo0SjnK5WQXTREfLpzs7WLZQ
uZDUtCqVeKmBIvScf0LNG5Rjv6JmtJVX/W4+p4IBu00t6bOV4w9LKu8Km1icrTsmx4UB04b3RdUm
J6EfZMTkw7ljI5NCXFrZ0Drph0GDWchEqZMPGGs+AU98U4kkDUHz3XyTo/TTf7eIG83AxsfTkfT7
G3kky7Jdak6F9BBvYXnH+qX8NOMlmMSV5vdd8x0RS19GDvw4yjcRNNvQ/hLHj3Ff9RQwAN/zM0aP
C5BAC+PLKaEK7hO7QIAtQqSvpeMv60LWPrrNVxRVkLd31AZpjNtkAg3YpWsIshGUuhXYd4+1T5y4
nCAABBJ2HYWArtCgfxLbIN/LeetRWiGlvazWTDBoDXAr70dnFK9E+BXnnyltJJsd00QWLVRf/pMz
LdNwpC8LpX2glpDdsd/Ylhodxd466rXuRapKMHnw5Xb2mJAQtdWZy7dwEFHfYkx7EZuoSkf4um2i
YARXIvhOWa+vZtKfyeLybtfmy1ryV/vb9Gahv3UWljhjl5W/Rv5CKpUwrb8b1vqYYnlVWBnXQ8JF
Gr3QpKZ3SqrXiskjZCoArUxOvpS+OkZphXQcf3qj34c4eQzplrYGcZ8furFcMsqvBtZ7dOWu+lS6
/J0v5nNNq4/y90oncKTsaax2cj1EoUBWcqxFDCZM3CjQgHXoBRwajGvH/kRXFoFVB6jMaVAZxRiS
3+1vQW9V1LfG2/gsjalaOThMcalQ5LPj0jzbuxGnYhxBRB3+MQbC792o+WkVYWgU3fE7sVPxlXE4
VdTJKcbPUhgv6vhBiOYUYYpW6tZWY6Tyac+JaibmERrNfYgfkDNuJD2I8zMTPJZdCObF3IrvvtSv
lhSgNhs8PAxwCsQH06OFjMqm3WeAMWLLwVZi+2BnX4r0pt0DIv84ocj0tQdluYrwJUuBSI78Q6si
1olzkYx3J70YPEklU6+MiZfIi4IVpvNZfy8vltsbxOLad91J3N0UT2eHgkLIHxp5zI+PkwinN+ND
JVvdMKZjLCgyqefSgHbLpLKFQgFqverdWTZd6W/JIqhjPq4zlF0u68VV5knTzU09eKM97HVoLri5
2spn/oDlrPVFXGMDhnsDw32I4V407qIxQWCq2hm799daZyyiKldTCKWcDipOB8PwHmWsv1Pj0scD
SRTbX4ln9PfwSeta9St81JjQuONe+3q8hKbG4kFCMVeYGaa7DhvF2iP9sYwOluYvlnmS/hilwn2c
pIQWHTNubfCjNYxRLZaVGdZvxSdLTyyzd5OhhzUZl7FZP6mcXIiWxqoblcahfFD0y/DOPMwzYkCN
90+gzJF3MGQd93UdS3I3B9Vq+HoPPbOe9w1Gszm6LNMIe3jXIkETxlHW8RQK92ZQ9jpZ9vyvDsty
RSZczxzHPrWyso2fDU4twgM+46cdURg7zqComr5ZLrBZXl38yAHU6EZyp4PgJBjjaW2+1Yo3tydA
RweruWPijDu2DlN7MTs849DP1O4ym/Gl0edz8yQDjAG6hdg++/HMDciCDEoZuWLuu0hk42BuWMJ0
J7pA6HcE4GrVldP/FKD3ixw+Kooh+wlOdvWKm+ydmvKbd3JGajIrzWOk0L9Xm/xsHPSkerVTLuCE
ZCKyGmiAU3K0WTXT0evinOaYBlnUXhQsLvIuFilIqvCW0Z8kTvJBLQq+ARJeKw26kBRNB3GnKMWh
mlbQdNh3ehynOgFs0XRlhiJDgnrwKf/uGZNTZhQzccihT0WP/v919atq3jS+XB3lgHP3u1wYGcfD
uX6rcXke0uEsRGeVDBj1RvCYL51FzldhMoTwaLwqOWC9p0NmuLQUGyZ0Ja9EB1f8LCRsjYXDXshg
2jxX6j9TlFly9dPUlDuUPY7lDPU4m9TXODeYOzA8TTEiGhzplxVrB+A4ZViOqszhclXI1SLohZ/o
PYeWkaOOpT7o/41z/jAAichfhcfEn8djWKt9z3VbQA4safnj/PbVijQPrVzHFWjZ07WdGmYtzL65
x/bYgZl7p6p+Vg80KQa/gH2U8UfVlvfZ9Nvkq483AwfN518hAdWk0fZWkTg6JqrtYhxxZWQdyAF2
LQkxf4IIFQlBQdDc3IyP8lyxBJBam8xXK+WeSa1k4tWYuyc8Xxj5acI0J/EEJ+GX/A2ocG5qasBa
klMSxI1tU1wqcnfdSeE1kGOc2opLcnRqICvVF8GyjnVbe4xNyuaZLeIjAo4+c1ETZetSOsavCZul
zNVz5knuBXp4MIPltb5PKgCzy+BI1e+5XUlAaTT67lFOEghtKEb6t0RKFL35PnIOJn18CnkN4PMB
F4TVf4QWxQBON4Q+1ymrttzOZHOhBRNH9oyXf+2d7dSQ/nPpb3Ao09lzUUnw1jHG1YDvsPoiVO64
K0NqpOGYXiGq6lFXeLThQ8p39UOYU0p1thr7wha5u9eh5HPR4yC1kDPdimgd6lKpCiR8q4q9TxZ8
5ta/IsQYC3VAHhkZJp/g59tb/gZUEGRzeu5N27iHVXqTTtZZgxLLUWVsN3F5aGMnrH+SUnFKLBga
pzVWqhvKFYslb1ZiYSXEO9aQXadUQshuSNFEEOn2nI/cyFoV1XfD/wiBsWnqU4klDM/YXZ+Vq66G
t0Bx875/UYHWm8mHkMRP9XuHnOiYGK0VaNUm+z0f6x0PYchXzFON8jIoERRr1Sdk6d0oFFdoNu0x
ipQH3VoCAxtOfzJshu9uDEFGQkw3SegNh/itQTOdDlhVCjYyUqSgk5bNeolnIwSWxGUo590tApp+
g0QlPSiPrwalE0Ftc5atdrnLALGB8w8mwpQiLbcAEsjJk5Xvu7N2im5dR5qZaWNMUQzgF+MrJ31Q
1uGZ1eIcmXTaZPl/q2pniDAzut2aFXsmfVbj9ErEjVAH/10483n+adT1XgSoRF0nxylBoc8Vn0rm
VszZixBSiVXzsDOZ+0nVgjquLqwa11oZBBFfsFyiydLEosfMbbR8NdP9iOOsznk0hvmbw8ub+tmN
oMhUZIs6wgnJc9pvQ2tNfi6co04dmA12sZtwx+NzlSVOZrV84OQwg1dRQNEIApCuDBOIikNB62lu
+C2Bre509QClLwWL6Q3wV9/t5TWUta2ND1NRHVB9jgYVO5Qx0SYYZvlKDjPjkn0ZU65BDGFOmcyp
2UnQkYnDwcepeUJlk+U5QHg9Y9TI4TavbOeCbHdWz9bRH/FnMH3rjxXBtzQhj3qYLdOT58U7QvH3
TOzhwkKfB7ZbOd1zKOZ21Y8RZhLjkHJ3JUAiPOOmvorquWPOLWunMYGFa3Ep+pPDXUtaP8wqbljh
35Q7iwa0A96bRn4Pd6KFmbmX9jTacwCSDxmeuqJTSGbtv8avSs4OGqZpgcBF/CAYyAWN+is+hoq9
QY7OOSCWAhCLzGuho+OQPjOjfpTS1mTTnU0YkAM9JPG9uoCPVdNL/ey6/rZMw7UcT+qZ7vfXTFBg
uQsBdh4fAPBpnIBSQPtATe7x/+Iusex6Ib8Onau0dhbDEP3cOAYpVuWj/Ar7ymmLH10e7/YGcab2
e+pTV8LBGSUnA6OJt1qlq8p4lKLw0NDcjQ0Abh5uEZrTRYNJxp7fCj9Mrjf7dDKYGeFUxjPXunKW
uatgHYp8PRABRnu9ESC7KF70W0xtdVwgfKVMHdUFUGvBgKYvIJSwxP6qstDzzUeVn7uVgD5lGQTQ
IcMPK6qJxsykpluc/rKKn1SYviaq5fADnRcdXcy8dviEBLqTgOT36mP+NtKN4AYmSXznaJIWmiSN
4UdRHbxsBjxyX7AvJzKTbMSwQhV8kZQI5xNdVmFPw5PYf4EQB7F67QdYzUnEtwx+0qyi3U8Y0nZY
JiXczClxmJ4kCZCqs5a8FnuvsOxl3AyBCgRlbhKwo7qmIXDZuuKJx6LAnapV3VXPTs27BAMWGV9p
vwSgGIiiJIxjROPJQ3Hh6snOH3Gm+8JoM8rNheRKFfdEqPYxR7yisfX12LwbvkFFfp55mOXwc4wf
bGggpw2zuZvl3xHLrNli2u8f06w/tkoXDrnWN+t9pSoX0piX4oI8lrd3BRjEQSU5MhgQq/0FDBvl
Co6+bIWOKDf4YB7qpZCcgSEwlg72HSZvCGRC6nYG/Jsgb3IH7YG9j5KGrv8lHM2Xan5CwYFDKpxy
tsdWOsBOw/9OfhGasvKaU91Vj2o33Osq+dDGnuiw9Eop0Misu1jTZ0KOYZyrz8FoPofP3ipfRI7o
VhXX6QnBliKt9gYqBeOSZ3bFcYObAgEq/3FYYXC5o8zCqUVltxVSptjXGD2XJgMi5RsA6r4SfhYk
MwkYu9q44ixVd4lArBXvDNKyVxFIkzizGJTHaNUtFrp7offOaNT0upPf5BE3CWyRvRdjmnxx1grR
NQGtSFdgSS3dwpNiuIVWPtcqfqIHncXloxZBPUrBp3RvyZ4qRRgEkqt+kGOdDM/A0ahZjCuFebY/
efdhvVJ0SkkGufgQwhRrHkXlHFYHzEYqjh7TvBIvhZsmpNY9rS79QsADeinPqRY6ujkELbfeilQh
nAiBIzolS+9EFN+YUFsYGxavMproF22PNGxCfqSi9FTQX2j2670pfyKlUe64W2sjaJOYCCLznOKU
CWAhifyYwVzzBo2cf/FIQ4woRbayWcDDn92iZrjPDKO5ACVgVi7AwK08vyu4e5A7/+DbwdzjbfiU
+K5R9Fqn0/G/cz88bxGBpiOkkTmRRp17TkzGrHCRZjs6q3saMNQIJAbH3SgZb+WuhwIGHI0yMEYC
oWobVvJh3QfdeqKqvDA4v+pftc4YPoltJZl3y5beWXUMRjvKRMbElTqTKMAWq8WHhEFWJcIjs4nR
lL6fvOYW2X1cHYtGZEpnHarCOojS6kYKqQjqm9TIjaZL23MUsksFIWVNsE/Pwcou1rT9We/Ec65o
oDL2kyn7LMwS7KGadjDczgVsTXjvYOpHu3+bHDWzGx7uMb9kI4x3ygLrqObA9k4l3bVOmsrWUmu3
vkqvVuVeCk09R5V07t81rAgVd14tOjUfachH2nnFLH+M3fJAgUxkPI8NaIYQpj7o86xAhf87eUNW
nq1YAYY0nyV76LW3Zsqvoe+enQpxAI57s4i7sXFGpT89k5Oa0y6tTqfKncTcyyaRqVf8GmL5GXXZ
kxQkX+TiUSr1ZUodV7OGq7X9P04bB8hgZy1mSmGOxkw+oSFGq/0GC8mFma2jo3itsicZ0bCevPof
rDKpO7UdpIZthMbPgyg47JmARieCgEw8ufPiIeHX2rImcwC7ZDEfES9BZaylLW5y41Y77sQWVB3h
RZtCRtdBnJyWLyFRPyNdfIf4mEOyjejHDRMsXqGEuaXmNsnwsOzbg9SFUIIqQFhIN4CxpnKGl/Gi
fXzfbSTEWtz3yXDPhPIOvfSWJN2tlOWrAjOgs0rbeCTz8EGjw732JVIcEXGzlYIlYscELUIzdLkV
8K0B/rQLDT4k6pXSoT1ozi2p5kNvkDD/J6NbtSYHxNmR7jdj/aHCk9awgJi93VOBkYNiDyU+JkpY
+fY3tDCMCxpueqL7kvLRwk6sq0qqc+Ou5PRMDSQrxTW7tmXOSdmhQfOdpzxB5PcLQbUTyjX5UoYb
RhXvFvPT4xR9gyExpfygRvKh2ZuAQPvdbCZYdyRHELkpYIiPNI7s/Sk1GHTHAHxSUv+yW2LeH5VT
345ooUWwpFqQTM25x0cxOv0Wc6GUQJU3CpT007KnlF9JoIipODJ63gUjmTITu6lW75F41H0DD1LL
kG84neHGx/0cCCAjGZCixMKJVACRqh+JSpWmBwfwMN8NQT3J0b6X4QYlPMXsFUC+Fs5rKqXZK2s1
PUUgrHbCz8zLsI4PNKr3/5iNhwt58x0X77ZFJ3bLHUY1jfLqhkCcyiuipLOcXoC/cdKaGLzQANC7
q5M25Bi0OBOoo4YfHM5GOuP9Ybz3zf8ciN+st2kxXQjR72rcWr0CASgjBImN17yaV0Il1Cft6ULc
gJWydg3076VbQKMDdx8Te8TuUGieDEU4K5PTjkuuwFzQuHSi7qt1w2lKulTJa1TH08Lvg6LX4EbF
vI7gM3FHksuO+QCHIQhB12AGICFgoE40/hXOihAIgcCfoZCyjmr2c0mDcmmWsa90hPprXykLInim
BzHUo3v+mCrNsRgJcezWXPJoSIPEgttxHbx15G/AYFyM20DESyUbySW/k50/mXnpxQ6zVKrNanAj
KOlCTHvfXgVD005dkLNCxb+aLPblhop7nQG7MDrxaLLR1S4+UD0hGEQUSiL5KLpyVfrpSiNveePj
ZQWB/pn2+kM6lT4E47YAUl/swsP6iOik0SliNcC0L7fIWu1PegxIIyNbU41jEjJmSA4qliCGjqF3
68AlP4gXaMATpAEIX5kXAcDu6buBB01iPFiib8AFsjeBQ1QoDJiLP1pR2VUnwxLdGa+Wh7DblLxC
xvQXHfiVcmqeTciHH/IH3Oi99pMh+p+Efiw57q7SfbQnXKKxPPIVJM0pTphnZ6o5zVv8Fl5bZ3sS
dF+f1Vx66Wx5KucB2Yi93QDVHUjuCLxILCGaeAnycH9vj9g410PD8D4d4FDh2+ut27AwWMKs4940
AE4D5r0aGXGoiqOIJhrhk9YxKwoxpmLWr/xTtpR9RyBl5TgKyD6hJMIyqHEmtK5sFdpkrnF3Isdl
m+5Lo3VCGrzSbENDFUPSxPuwU6lTmugR6OFCUtZiV9/c3+ydCFmJM7cY2nGn28sAsKyzeehPW4gW
wK9WQCcfuIStPiYsP5p36ap9JArecdLIwu/VKlzlCOFhxThBrchAlSf3SA/kKRVSo5EfY3V1uozf
JT6mh+Se3Fcui81fHAm0jcTscRmOSg3FL0o+Zh8Mfxv5NR6OajFOhkIbOGkJhNx9mumOyQVCAI0/
EBU6GsWuTNDTH1wJYnWfjOeCCiqN29BOsOvfBj4d8hMLfF7tkeFefBMqctNQ85UHJWoALKThgEPC
aUj2pzn8NWJM+YDZxArdMgFIhlzSp8JBnUgkKkxOczoa1gMFInSegxem9zpDrDKtk7oD0AQnDCqF
+Qe0KL56FtPYybadp5z3Bfkaw2aQ1/8lGqWSuPnvn0Br5Ltv5sBVU0B3Q3MpjgUfc0bAdMIwJnR4
Mzf0g+p3zZdi4R5dOJXKnizGjLXekIj0AD58/ZttizZMSFNFwHSqpUlCjEbCsN2hKbD1lpdxFfeA
vkF8nKx18YusChhwUtSM6UryRTrWhmPJpp/raJrxJu559Rspndq/qblni+x2XMlNXvhANZzN+uIr
/9rPv/Mu6nO3R0vt5+9ZTbhSs/qXOXBBpHSe4i3vIt5Sgu78fPZQ/Pq7/KhhbxeEWaipF8FvC8Py
X+N6wVdCjzWvZP1knsAdgdnlHrORbQjDvtCFcyDQ/1mi61lmhTwEnkxHJDwJKBkmm1eH4VQjRNN3
tmVzFD2Ow/+BKipAFeQVUQqaL1fdEfNmJwUZyybYxQqHcAwfFEIwiMNkkhjGXp9coZkdVc8dsaKC
BRmQibEI5IekOp/9z0Y/zqBWWSVW3lYRFjvf8v1NzhiCHJYrW4v9sC5K3B5zSPoJbfAT5jD5Rq2B
6YTxO8fJgNebFfuq770a8HPzMzI0jNWyr1zo/5rFa2+t5wFU48CfvoomMQTCdiQgBi6ynN+nCHhH
AX1BRho+RtlPSmuCzhSfZDXTXzgpxn/Y6jdYvQJSpqV2afyo61tCSFPd41nhIRQ/WDGlnww/vqat
n4WQtYqpSWSRYc0uwFgg/8bURukf/KAk7bhwMI9A2uWnBMDyn/8Z7slo8QBT87CC5IXUtVCilKox
YZZ/hQEEc9dX+U1Le8KY861OJJRkwaH01x46ZLtQuUZCdl3QNRR2sds0SGeZsfcsxBduL/nLgt1b
tUuQ/6rV8DFPL1F1AtIfHGgqzqdlAlNsvWUcDWQqLXV4/Mq/kNQH+3MSju+K+1f8YAszYIz+skDR
5figRQwRsukXGjifZ2UWiGnZS1vD/dKMB6j9O60i1DO3t36VXKpbmbzjFiTCwzFlq5mMyoN1R/4a
+jfagdnZnB9wQ44HYbFjgR2AvsBcc5sA7udx5H4aQ7FYmvlYI8oYJLBgISdchCkNdBPq7KDnSARR
JXLqnE5Z7thydKCu6vVb1IZAxA870HBEl4ATw3REhUhX85PxWmGpLyummBPzhUaTEaylMrz1pCMj
+mOW7zQPCeDZnOaUuYc+bOcxl/beLtgTJ+wyZJkVVLJ62U+1sc86uJkKFpKTwW1hFN2siQMpzc+q
UFxIvsJD7faMg1T80N0jhmlNWACTEwgLhqryTZDu6RJ5M5jtXve1uPMQMXAvvPkLeaKVecLEnmS9
ajnC+OhMm6XFkgFXTMcVkowq8/GQMOdMBCyldenOcrV30sY0FlKSERFljc84K851l2NmSc96u19i
Z7tXQ6INZLUNUs30ox+lTlEOsUudsj99hvbiUBEtgsaC4PxkSCYol5VgS8/sdAk4VfiDmZ2irnZy
7NXtXVC7o77E3txQK6GUJ3uuwkNmFmi+iKZjfugEO+Vezq1jyG5qWoLSRABpCXXTv1L3z2gcn5lY
PCXJ+GiARvU6NT3lceVBbcMMtNFEJG+5QPmZah0TWH9IJGoAtny5Y6CsKdiI5fTVnmU/Fqj3mklo
XD+S8bKQmC8atqCFzLu6h6TptrJfZnoQjTdx0T4U0gYaAKrJeIhz8QjBKvbg1rK0oIv+rnnqLB0q
OhoZLs0NZYZ0M3YtY7gW2Rwi9jo8O+jKFBYqZCL6tvHLrxLdNDd/xRxUwoF7GSM3HQtbUfxboHgp
MAYaqz8YVyNub4uZ3emi0+bmPIrzORtW/HnrWfsiWVeMYSCiiFpfocDqsKwUXlp4nLH95NkYqB1Y
nJIfeMp8TDQnA7GxFF2JEhLZtZAmI0xUmLsAs1K2ZFDGdwLnpOCxgc83kxWcTsW/EpcA2n7dNzsf
NySGwAiCzHnbwOSz1gyX3It+TWuJ5smXjMb6Ue72S2in1BD5uGMYqELbO9TMDoRqdy8+a2Uj6P8e
RdLmnMiyz8kC20/OgHxGFl8nzrMla2eFiEQOQOWDbmhQVYrK1y3tFNp8hQsqu5ZrTFckwimyZrUn
nUQ8IrpM6hLUNcSBkdAXjJhiL8LjhcMgj0ibsY79FDpABv9GN0go5F5hdV77CqfqyBW/FmRuvP8f
1CtT99+g3qJPr+5hEJRHlSyQML0NfXp1SfI0reXRMO0lB+AwwDTJWjdwqdUSTKlyKPw31fQndey8
UReZffur8qgAEJjM4dckA14t8IaiT7ZemNPj2XM5EHySaDhUl0M0KkGCZj4OF5wnwHsETDXdKUZM
1LFfqNW/fM3RhSL4h4qXZWRN+JrTaIh7csdN6MMy04dqR8W5g+WrpVD7qkeXQsjRhRsVF7cVr+0G
dhq6nclBe+CgvfKt2dqCAclMBX5E2g3yTsOle8XUzGHswA3qUKuPdMivgniIgHWLxmGs0Jt2CIBk
mfRQc9j7K1wuzOn3MwpfOC6+FO0lVsYZJQvf25yZZ1qFDG3ec3AnV4K1y3qFWfSpfFvXtsOGGKUf
6TO5FGZ8Vmuq1/bGd9Obp4VouGEde5XmgnQ9KTGsiwlzRetSru4WiDoCLr5aJXTUWL6yIJ8QpNE6
okKjio1m8KAFy2EY1N3gb5wc+JSs4mR8OrIAhqdQ1A14QKC7RHUJtQNAiag86aLY7UC9hT9NIbyY
20y1/FFq3YFhI1u1Dr3NZj+5QqW+JjVih1gBpDtKK8yIQ8h5sNgdupWjqHFhbFzlCObMFClTwkMv
46FfLA7boxePpJu3v6J5KNIPs0ocvmz6VJ3NXrkIUXnTKJWHDzu/kz+Z1NOHAZi6VeFzDcf2khC+
sLAdiFVhzyMfSIEbzL7IS3Iqs9R7EVk2AHc3KpPkyBFalDzC2qCwxIl+hDJYRiFgGAZL8CTm46MR
hIeVrx8iQ9EocsamxK5Iim26qXlzy3iEN3QG5CVJXcmrQiUwKT8XP7ADdD9ET34ieO6x6gEsqL60
lowpVpVS5x6k9L6EaNGhXG6c3BTVJNehj0PxGP2AaXgsVOByYeLvVNWBft1864O0m/9hlUoXhpKS
U5SRvZAzVpPyRrFWrtXPRileWmxLFF3NskUkhRqVyWTclZwmJPBYi04ZfiV8pwSypMaOHz/gOoRW
FshhFmiC4I8rrK9HZnJkE74tkfJrVAK/TiJfgpxblMzdux8Nt9aO5tLtWy0NJAzJ9064WVvyS1yO
QhFKogVyqqFMGe4qg14Oyfx7UhPNOvjtJw4AFz8a5h2A8gamikQ7KJxrr9IjOmfL1+ZxaZrTOFAX
RJw9HreaiL3IQTIpIpRam56QYKedc/Mjor8ZoqXBLUmmYGZs9YMqUHCi1wfD1PcNnHdVdhhACXHk
rxAelZrAlBWfqsgpIN2vpF7G4RUAzKgYCDMUXGayjxDyy38lUkrGbKkwGJvBWJJ2Jn+8FE7EYiRX
gtBBdIyOIfmG+kHyhp//gAf1wPfO2Q76OBPD8Pv7G504J92PB437cW36ygysffeNm33irQoZmxoc
ddHjZaYU6RvVmvrtEu297HUqqQ89gU5RqI4rBnSJkYVOp1lbEUfvHxJ013rEf6f+iXABJ/mx18qj
yWkcpPwxnvexrl3VDDsB+j0KPr0lYQo7ufsiu7AqJ6A0fhzJ/jo0SK/+tAdsi2EM4w5VHWLKbHNs
jjJM8ZhcSiH2NkZjPkwuB1wUzL73apUiMuDtOBMoW/I46DCu5l9Hozftydi2Pu0AqsDm1EoemT1/
ww6EKs5VGAuYK1o13HMIor1u4rS3z7ipdhP9NQYntuqsUQ9DdJjQEvZckIA06fLWX0QDgVazHPc7
TbvdN80EkUo4kiEu96ipcXROocCbyS/RFGGv7VZKnHEN8yjmsdNcciasBIn8NtPU/lQJS5M/pN1F
vnZ4O+HH4ecm2xmMW4kKo8KaMbUpB+b/aDqv3cbRttleEQHmcEoxKJAKlmz1+ITocU8z58yr34sf
/n3QMxhg4JYpku8TqlY16D0FtzCmsC2lsGdo3+pqaDQbvinQzjK+JCx0W0zeR/2nJSoU90wFXRvG
8L3Il/vs6HH0teafeireynT+7Mr2VRn6h9hWjyhVOGqZpoEj2L41AThUjVl46I5GEZ8MSkZzwBwN
U2bTjHMv0563hw0JPBM6fPNgVLTq3Bxp8tT8AhEoXwnDYICBYFjB5Ekap0h8b476KYfRihythXkw
s1ckoZC7Qrdd+Mx+RV/cWODmBTiI5oyj7tAVBYEL8WN0iBJTNqSWvFXIWIMtJfNs7+MgAT/Zor8U
C/HOJhwGAKpElV0yRQ+UIkbp/yzWW/tLZcc1wpgSWOAiaJel9spY+mY8dDvFeNxay7Nss9e8zC+t
46NFK506Oc6X0oBoCQw+XS7LPpblixA6XH1MrVKkpPK5NkqHpyg7bvjmVwa1AeRWRok0rRG4EPDK
rkZt2UWWywmsLsA3KF6beB8Vk020W5RbLMr8gqyCjRRSlCKwGk6PCRv+Qe5QHbiy9YnBy2lGxTOB
L9GA6Q3+FBowCX6XSY5EPTBqa47pwsQFvaEKkIaVLsi6ub9MxEhviwyIFAhphYKAtEHmkbX12yKv
EOlfuEy8GXyGc/VX1Yxv6YxhhnozN44SFEB4ygRKri23uWdQMEwgTdhZ96X8PyDNRng3jCJbGbCM
9RBIMLtXvyVuvLju7ttQ3EUL/IVXan8XZgsx5heQ7olMwydtLzCaz00qHlHAl+0l1KH3nIBXQjRJ
8ka6S0QMeA+/Kf1CevXCd4B8CYixjFdZ8XlquBMJXjkkcOtk3TpD3byYGyILdyk1YFBksc8yHdlZ
j80w+1sY/R26fRYhYmKVADWc2sdW/LeOFhvvLkhRffFwrCPR5oF0/j+T1Qh53QJm0JLm1FF/LOx0
35iRZbz/aKMgYWDhPMU8moyW+f2bCntmRDNX+UMO2MDDD/KJ++qz6JWXyk4tGdaPhnTjFjpKHyr9
eusz0+9VhPeOPaMSWYHag66xAbGGBEC5+y+trCCPULsTfNFiMDw3lfXoKvljLUkJoUzDy/Pc2PRM
wQwEPtY6VyGJe+z4SQkn5SJeurq5yJl2SBuSg2S7mnabM1NLrNLKhAIpJjBVd2KCiop4cJTt1aho
qkqBR6FxZQWaxMpRDGs3us5cuJUd4FIM562mk2PnSj8uz/mpJTMSlqwVPzduUXkbHa2fXsOkPRdz
7xJvlNokASpgzljxIXK1h/ZpwR5jWKwIu+JZsFFGHtSZXS18uRXpOalBmB7oO2O/myVSYtDb2+CU
iXMUUOgW05eRgHXNz2Ly1ZotJ7VXAcOz0dCSmWguSApK2Ci7g+JLuxr94maIUcrdmi2n58mErTFj
8tO6k/ys6AnF1mk53BVmQlKN5CbGjiGetTW9zF7xFfOsduzRU7RRKYZSSX5F4+jgdIWU3iWbZ1RO
0phOy6TLjEUXoSxwbPYBysSK5Ffy9ZZVgWIZdTIxPUSVgaBWrvtSeoZZyPjHrhVe77h5uIMoB/G1
jq+5ST97Y/qM74GmmDCl8WQQ9jkK4isQLeuF+E9BpLnVwjWP5euyFNf2lQqko2a/Y+lqsqfmnX+t
kyLIJu3CFxvwciWbTT6tWgsVE0cnhexqMqaX2ArBZLQ6qDip20KfpA2nSQJeyN4Qxp1Fs5MV5/1s
163uBWuPdwQ23Oj5JpADniWVz5h9mDf2XhrJBS3+GDjVGjuiSrOA3jNhqfRDPexm/5Q9DAv07d+k
V09ZBrgC2bBkSUe1zI9MHuUYFvcFmAtARQ1jYw7/vzBHR+mox9jZcfaC73AteIKUMlIqfzRdwWdC
Tf7kBID4fMFdCrJpQ6FRhmRbhfOONNB87OB+oQr+sr9wx5TBZnIc86CQMOnM6LZduflnrvevJf0a
Je2F3xcKosy75j/e6LetSK9mLwUc0keWTWR2Ke7aYiYhzAEmZyrpOO0L36wkRmDyESjMo2rIzjMg
ysucMMQYAGmfmG3lzLYWTfF5ejBlcSisinxcf+UnmamwtpW3rBpvfA0dLRnkYkO3jiva7Cw1EDoT
nE0delZJZpTiNKxMqB15HIhO/xra5lI0pEKR01Fi/ZvTHJiejHsIkakIqx+Ryn+LL2YodIoF0R+R
rKVbb0RZMDAFUTFRfhARPk0OjJbhoNG8KJLikdIcoyEBgpxdlitDM7t2dH72OmTHlvyP52xIQHIw
snXDZVY/9e2XZeLA6NnFKsdol9G5J3MtbuvaXfv4j4J/z3JBMlL/V9wBFOPECeG13GJCK8dQTn2V
KLXY/8Eh6ZlUYbDKZ6E9s7GUQOmwqDaZ9OrcBpCLXIimOSF6CmU0nSE9Lk/tLmGJeLjQeyAA4CG7
cYe6bn6KgaczwDkhqdx13id2wnZVEyOFqAslE5sF81JdZc8kTpnxSvfsOYuMXnyKef8RHzpBP00r
UupisYGKs6XSfdJsaezwMCJurk8baKnOhPK2BQlGBRzrZH0rcxzEEqGormUVV7h57myY4RJNV9Yx
BTVEjamSuDQCPAHQkHG4SsKBTYhAJCV0/4U0GGtfL44aYSsL6Up/Fg0DD9GAEhdjgYjJTAjMwlVi
hT+kXHvyZvmsQd1oPPiXnpl1MrJKn2Crl4GpKxdaQr2ZHjOIIB1EUKoF6wL5tW2DujLO2iZdePpD
zPKUhS2+PYOJuAC2xjw3JWSYSruMjl6IrsLKGv5ah0IVV6jclEcL7PCGPIAxb753G7HhadQNLTxY
NN22uDz3HMGCp1KYZVLPz0w6iqG4CtnwkNPswUL4zgNMxx0p2jFN9qEAijAe6Kj7nRmRK7wbLyIw
QfyUmNMqpRSU1RRWU3lF3mWct0I/p2JzwxZN4KB+qw+pan2An/noIiiNtfnQDGyzqqPBtrfapzEu
mAWiY68vR+06L/DTcPcwuLjUIImb49AjgDXJMPovTyKv6kn3ali8zhcTOiuHmkzyd5p+JRs9ieGS
4O5qG3Fy1gWTnGNSIIuk3Qy7FMqYLwmUnCovrtXfHFGYRI6YFQpYgiQGFtGz4l0/5MqrQjZmSkS2
UoLSm2NPSgUEEhyM2zKHqX9iI7hkh4bccTVnphWkEZpUksU565HMMmR49uzn6gXdBxBaZLKMHHVn
oT3Z5d+wTVMJTayhH9+9U/1V/Lu8L3L74P0WhPpUNT+WElMvv2NzJeJ+fhRy85EQvES2xu9gpqK0
EAgI6A47dIfrL4Yd3RZGDT4G2UZf5peEL+JZCVoltgV01d2JJIcdZ7c0/WUtlgumSMKSNTfaOCkB
jHQQr2KIV5qsQLtaMuBrzWGXV3dF9cSs/JxL8UNDgz5oL+kvlu6Rp/7FTmFGmgUMUiZFPFpoDNlg
5YA6+YTCFK5VFfaCBKVMcizCw+p+uZA8RiGUn6UJV8BpBjKSAhlJZ+nQV6+uGXyHurX3KGG8OILl
tG5+1gh0xqzgzTsxrS7O1e7QbwzSsZSYs+BtxB6x2PAXEC3qWh/b/DDidGr8XMDS58R4HOIShlbH
4o3lm9Dox4E/hiySWm39o2rt2yzhpxyRYl1pfoi//pyTzIu6BB/MdsowquCoUL9Joznlw3ycV4sJ
CTN7sHMUciDBVvC78hNDEoKZGJzxE6EQBKGiDnZlziZfEw3GMketypxClmOcK8xDDJfFmItS2RUG
zdWZPozyRpg68HSWOwVbBU2/m7XwEJBF5NECwUQewRlio2WyRBJooWMTshg22Qr96VbY5k82mucJ
S2mqAsCU7vpQ3cV2vhURupQjCqsE3DRHboX7T2FGgkjjn7xTCO4U/JIViKgkgdkuoFOTi+iIgKaQ
xCdS6g7X5qOXFh9Cro/ba+VHbRo+R+m4zHRaaOvm6SiamAuzOSinIWR92p6L/C3+EiZiahOZT6xd
OhZo5o+q8AaUwRKHi3oy5q91jg4RBfnYk6P7PQ/aB9yLYd4up4gU1fScY2OdQcjoeFgj80vO/9WU
4fhBvs30wM5+gAl0joXyHPU48oXVmU6b0+q1j8yAyZHZUlox/STPjXvfAfValV5m8mJPUvy8DAYJ
EIC7sSULEaymPyrQotjgwhVRJhjmE494KZ5qBC/tZ+qW6KoVrDRMNyMiT5nZfKxwzYrkK7HMr1WX
33PUOgK/GWRu9arF5IGo6cnjSGOq7YmGiB6yuY0S9mU5vppOGWaJ9t7jP6XxGf831EAH++ySaveF
VO2N2j0Hw7wEyC4vVm9HZY3YB8TKpTpqFXvI4hAhLpDQUWnfFLenjronW5dDzfwNmHUROSPtb/fW
zZS5l4ESmmEsE6zUn3vLZbnhbmgo9SBbNnQE8dHCeJ3z2IkmNA/Rs9AQULwn44yL4z8FSfim4otC
KcgmUPJ0DtafdMJaisKtyI9mgF45ri8gsmrmPBPCk5/lY6rfwvBnvlu/MQL4evSjd7fGctTX9sGW
kTf0Xfgt/tmrDLkjlOVH/oNR39/poiWrGeuPGGUXcBvXkrEhogGkOfuKWbw1FKIVLhJ4KrRv+jMP
4Df39zZRHqrkGMRTV2R31bxe1VjAYj4zA1GfQ8RNTEI9kwKTFjRl+tB3J4HJm7KdJiiVg4tWQbiM
zcqWGCrToyBmQ6aK3aYEF0DxQQqwm6gEVYxXxp93ZCmOuI+IdLDkPTiqZT6JI5iQM3Gq10VvUcB7
JdVLMzLdMMXzjOxKj5HeyB14bb5A0U4azZmMJcA+G+rtduUuvNX16scxRQ5eLY33GEYodDFrsh4z
FvdJIR/rsIxkd8lfeML8fuo/Jan4FD5OuinckV/dBTcjnXZOf4krjTWT47SCxVhj3p9h52vMWglc
Gzqc8CvFBJb/OPGUaLObNbHlZfD4e7yiwGu6/Vga5+ol1paXBeRp6w+nGNMFeJWcCjljWVHWjij8
FQz1aDXEBWvDMVaaY+4v9qiDQSQJRh3Dqq9uiuUMDDCdNJT1jjqdc+3fKBOdvP7UFMkX1RSZ7uTN
9/RAdhnfkewae6g1b8fea2K0FLwjJcW8V+j2lqEDQIVuu+Zv0o2gKYnaWNTz9s6/63IjplmHn2xe
TbpjacFFzKgc6qDIgnpGQYIdglxbW0zoRMlNtgRmZhwMRvcoWh/qPmXIekYiuCoQQAxIQY54L7k3
I45DhQF5p5dcHI08XXJVcX6p6EOMpYD0vwWVaYUAAvVyPL/pcpsHRowJvkhenlJ8iSZtnX5zVzG/
9TNffslMcbM7jM3QFu0Na0MVycS6wkATZAAW+FnL+7z1cHGR92DgEm/bg/q1A4XT0drH1Sk2BXiz
hHggO5ROldyfMmorggyP3UVw6161VwvxvASxlMFLPnyWi0LLXx8Fyzhq1nQCsoiZ3DgUTtLlp8FA
L8iT0mQsH1NK+RSLskj619aeLXE4w+7EBTgZ77EY3kiNOYMH/hbpszApuggaIS7yY5OSR1l0IRA3
QvEojH4+NPQpcZldYQXeTUYxY7kceDig263GMw1Pg+RS6dm2l6QNjjeuCbM7Xl96pvE+YmqIEWiJ
SYIokLIShElPNd81iYnkllNfA4ZtcYr/ug/wrOb/Nc9v6jECnRbmOSmBvBb/K/IrSYydDbE3hm1e
yrI/xh/qeh+jxS24JHssMSF69aKFuS9w4qS7/zlT/Khp/e6405dzt8OyiwCL9Zw7a5m7/ikqxW2M
0hMqxauYJSFlJe76kHPzchQoFHi84MWYIwP3ByBC6DCE26uMaAWVWpsFNEsmQeJCI5q250U8U9Ul
/4fJzYBnMSD02nolNVN9jmTvbLwpTOGSFOe2N4+KzmLUwiQewdjj9oUkfp5wJEUV8G34TyYgSqAD
gApsrC8wC1AKW+MuuDusHekgyML0koS5rL2p7Lr2CQ26RW8jqZF8C8BLDI61GVn3A+YnBOwZOWYc
f1ikBTFQI8bIJYUBiO6GPORNX5KVfzfEpz/Zl/SgWOPmo1xaL/LYBVNN6ZwhdJ6yaz+ObPCAPssY
dghWBw/ZFJRZhO4NK00xzrZmDKbVdNCnsaNkpTJj1sTpjYjc2wy031PsjezRMrrlCF+/UTsqloTK
3ZvwDWLW3oH3uNigMZzzhdUI+PYuKqCuqgE1mCUQeeeuTN8tauQ8WC9khIJ2Fwe7CYelPqWePHkI
2GhQCGfLG2eVyLteHJZOwHxmj1VPze43Z/crMUdUKwIqIYTiBO0Z8WrYkq0waLbVVwDLKNE94mtP
LP2owcfafTE8tkrPJGbVjpZCcHL+LcXGcQyUc0ROKtWdKPG9jPM1SuNrsW2h2lJAERI6SuJlAPCD
ZaCkiwR3eaVRC4xUD83EuCl5d8j7HZiBt+1kZIT4sQ1fmCJSIs+MQCzbZz2qjwTNFw5ScMVKg4Fc
OVEie5M9Ky45DIkqpZCB6QYJrWKdS3X0B7JD7eWBl90mD22yiWhujzwwZnvkIV9rpn8hXgprdO5p
YEn/o5O6U/pmxMxcFol8A6AUPrPEO9Fi9DcC542UjwmRCJZTjJBKgYusVrz4xEDZnts21ElEJIlE
+mKejE3RnN5kJ7KzK7PuzGv90C5oJUvfAOLD1NQIO2IVB6S3AvYE9mPAGkY9feiYcleTtY+m4YIJ
QFUTnkv6TpyOYQKdOVW+JrgNDXDmiY0S0aP86c3GJ6uY6TgEVgvbJ1O+eLOQKxLDXbzpkr1R6L0o
LT0RU4okIjehLmqx6cuOvGonQWYoVvxuh1BZ2SscI5HsN2s4C2p36bomkNlLDyF0z+VvK8zwU8ur
JepXY2tuzDNurSnfJFW9lbp8s04TajSVSAIhhY8jqbdlK251tlwRZSJmVQPoIZfW+GeXBuGnnLvJ
kanEcmSL4neHiDEvSLyLZbaIXlPk90Hy5lZH+2nXe6qDjW9Frui1sPZFrATZX4tBR7XoVn+b/Ant
9meC54iJx5jis8TdgZhAvpH9qTzQ8Ju5x+oJGbv/Nr73yX61i32qP7KBdmMJY1xyVGcTy56+XYMA
HhIzlJVmtecNsPwtxfYksGOUsv7E/wuJqDqNQo7w85eyMTQn9ld0djZjp0EuSqjlaghpmGZUpuRd
yhYWIspUP02vjTJPKxWUGoWnkdiAFEuH1hvDVkwm+aDivSD7cMdHKeA6YBPrc/WBI/nRCfnRYIvz
pd/GXwXvKeFb+B4xiu6gw0ISPreVkZxyQ/N4r7Pp3mXLfSuHezJolykJdcRpKr0VwjTUiZLADAIX
fMaO2eiHo9JZfiz2PnpGZK2fptZ6u4rKOi2k3Zuego6szq2TdOyxsctBlCUhSmcRj60EF2a7FOTy
bQXeHKt10v671vZjFbFPAmwO0viIvCa5nJC8LHzBLXCHromPSyGw9Ldc1gzmn1qpQk3Lgp/d6486
UKZPXcgor49a7Ubej8QgnSDwxlKOTH2jdglHjwGbMB8X3YGPy7sElrVdXFAYTnBnc+IQNM4+hZX0
lZHr9AOY34oy/4eWQYIvrkDjNj7vssF4xrD2OMxSgnhg5HacyycmiSZQAl6LklQds98KwGL9Ziya
G7z73RhKUr0xUGlg/yUMAAwLDQn6NTv7wtkC34bsSvFg605ZJB4x9JhIyEVHSGez6LvORnFehoUo
54n5HcTFyUQ4JoQx/L9iuERTfi0NQhUrK2ynNfwg2Xlcok+ti04TJQAY8sn8By9afO57if4Eg4IQ
OUT2sCXmJk3hLFuXFtppO6msLueLTLx3i1JmSTloQol0jPKQ+6um3FkvMG+5cacbM297crd+vHLM
P9CO0spOdPMSatTixls+3FIL3/B00NSCBk4ITS7YwlwIFEADn3MmMUTlFIEs6qSoS8qmIViheiVX
KAfdiBbEVn/o304ldRXjdtQCCntOpl/HkUSc8V8LbrmAcbyoLH+IcTGAQk7ATO8h8kZMfoW5euMA
aVV9JHN90LrN1X7LBQ7wZj1BoMR2o1wioz7E5mLLm4x0goeMSlghGLiW/0gW0ZK7pO5Jo6yUju0i
7PaW81ub9VMenXOasRR/DydmEO3fZX3F/sQwsXmOuvhS4vWTteZXGyia+MvajK+FJhSnveoKBgXf
cGT0RmN6nn+1GKCFwwLmHpUlV7pUjbuozzek+8cKaTYWGTQJbNdWjN3WJYsLaGkEWCEumQCx9c5d
aP/lECGJMWIhWFvTrdbl+zTTURFwBSGNgx3XhjWeVm/Fxs47+SSTYzAS0zYBnTOG5M4ehK8uu8+K
caPPJCIrtiu0qQwgzew4YAnsxcVvl8qXXN3Txv2f5Oukhb9ET31unvULgKawfbenaTuwZRg0ECAS
nKKDVGp3LdJu9EHXrZzD6UrwaKeel4zdXzn5xm+FIN/VKj/lRXtpI51tM/tpXzzZyKmQNOOGC+LI
gXI4F4xF1oYctsMaZVfIF8FQ3osUEWysXUsnekvopXL2jzLN4GTSPpKVI9EIqqNwSIqrEckeDBHh
IBnWR9Pk3tCQTaujvEwRVlVBA6aikMoDzmJruwwLibJgc2lpG1raaRpumRjf43K9KyvOfhJiCMVx
2UNfVFMJNRQhSYmeLivPT8BI5fzIex2QfvToOvNBb5ZNM/PUzwqRa83MioKsKoEspF/c2jnUXtNC
tbnHYLAWnLOPpS79XrI87SBpCgcs7R72Ty0Kprm5tBHGTz2/dvBF+m3zyzp9YAwFTLMUP2MGdaWP
rv3c3VpLvmVNIIpkscs6D6HKARwTxo2UalQvIhaTSAFJAXev3cRPeMZe2RGx1BId0TWPDBcCjeJM
6uxq+BkCfEimRLgD7KZatud7HzuoHO7o9RBTTzIhHMR9oOIy48t0kB6JjtbSF28zjtpCC6Nc8xJE
wNvKyE+BCE2hsrv9OzQHPNgzrLJAQ6vRwxZo6R5HqnrpOxlS8oHjfA3o+8D1G6FxMHgTp3v0GWmj
KpLy9Z9NlM8t1DqwGKBXMraxiqvzqSLSVC1ZtCkOzXo4LWtz7jp+jQQX6Ht5yEy4NSbc2d+06J2a
+p+qDtEWtYnaJVx3Ez6t/S7F7CilZIDwbkdVmbOaqBkTSRuGiJO1EiqAWMoSwrIEh7Xhbs+9lW6U
hM07y11ClG/4G6ihDmPG7Y+RPNNJRiB/zfrPYmzQxbmv0dmqEOKiPPWV72H4TdLtkXiSi9X+m8i7
YTw9VFQuEqqxwkQMdI//B6BUHXz359W8VcQXqFgWyNU79r/QtPFdCbi5RjjUcOZQvhHBVmXXZdBu
o2dL1b2bKRl19VD/uuc0t01DoyI7ZvypseKmkD7rkIseGhDIpuYevOWTginqXLLkNgFbEgJdzaXd
S41/d3WduRuVsJ98xd1wihLhhJ7LbuotZOgh74jpCXaWbcCTmkYlmPQkREsSihvM674PWaSH7NtZ
nG0NlleR1gM8z281qoKY9MoG5EOHg41dsQpYwPUXtj89edAu0zMwIYLXqw0Km7dU4LBwWLNX/1jo
HHV7rtnQ+9yLPTsMyAXF32jmC1muCbcwgoVnUfotthA9WQMB6W8clwdwfxpOAC4YrA/ESMwczne4
iL6U4TPG5C+yTbY+Qc3ZjIKDiTjxVEDl4BgA9DOWbhSPwxKBYm99Ax6nRX1QBvNMm863OyH7qeUS
LWV2FgrzTLJtzGmSjgzXfiWoRkqERFhZpLMa/9bxjMJly1hHqy8Liw/59TlQWAGitKpdsEMt4nYl
0+4OzRClNpoXOJyEHZL3Z/cjjgK8P9Eef93pXLRBrx/GVHzspo1OFh0pE2FUJAia5A/zB/z5C8nt
s8WmsFOcEQHM2qWWySBObQVr0tFabEWQ7Lse5FaExTo9ACXCdLi/E1hquzO71ZbdKvIAH1+Haxz6
H24+Y2YaiOd64YopQOhoLvfQah7lUEOFUzOB0hlvYATeT0H5H0TkE5uLseX6sdibKk9EtAiXZ4V2
vZHt1x3MqLq00jPCJ9/iXtxo4ETgPPIN5hyp4lar2MXfnsvRapm9IA8kuGOW/7MhWCkXDBtohmvC
XnuK0RS/ai66qfZTfBGFFuSU9ugMYRTl8ztDg8XOMKu/0kYFfIGQW3Lq3EuR7rUsufBwpphNk5pe
9ySgrWbyHnZQQyTMLEYXOXtiisk1aMZPBEanBKNXTXY6kBlbV0ty07Trctbp/qzhPymrDixXtGq4
rqRmF817Une8JcTg8ncjokoWqJHUuxI3zP8PSty5a03XJoMeSvEkLQAqOxSGpDJ/p7S+U4NeySSt
KUbn+3tYrOOyMGZXpnNhMWDJogsprJDdUjIxAhVKNlon1xwLtJsF+7iwHRyY7BKzFtP4Yk4fqt14
WSQNP+ozi/CZrveoJf0lEkO0OVdxNNBy7IIn6P9Zdo84WatbhJpY476Tle4j1+MnWswJDJcBhqv7
shYQ7ICxOsyTZLUk10pA9UziMHGHlhiqanwzo/ZO9lc6va3y3vGsceTE6beC7duYaDYs8hEQam0a
mb8j1tkmxciGTELbFnJ2iCMiIFoakGeaVNGJyBBaPGaMvLvmDlprZac5uAJclgjzbcLCGfMtK7oE
fJNs58GM1H1bbHZaBT+zkQQ/T9jtrt+aTuQmcP28CDXVS1HO1eb6aLd7TaOYtmHG2EAuCYbBo8fw
qFIJ7ONO7PorgSyx9GWhe/ixPn9a5g9Ciz8YDuiPSg1FlKcJiEBBS2ahJUN/bP9vRQ44ucByQk+G
HdzwTHOleIVmzPHTUIBZmIXaAAkTdn3SgRHGCmhtxwmhLFpqaPiwRtD+uML83aXvPVG0BaLBCc15
OKyio8h4tpBDmlbL6lZ8qNn3UCZ2ZdTU5bCDDe4UHvonsowOCKVpWK+Js5LZQjr05FZ2XJzaT6Mc
3XTmW+2fbiwOjcDYk5GL7EdAIdtYC9vIDJg6XwQZRQA5cA2C509ZN05Z8Qdzgz2VuVsj0kAxWmMB
ttrJ6eTbNotsORBz1YwA8UMc/ifREv8xkOanueHiFEaaSEj6GyuUg8GU0ZDwX9IPnMxcgBvO6ClR
DxOvdngGySae8EqcJbm4ZF/vjbENYHB3/skV3LL5+cBfla5EZJCGjq1VxqrK7N6dqIhH4yKqMTw0
eA8YrmG/5Kwtocw2qg6rjbkrpw43oWQOXjD/VGnGor4tuzMf1NoriJy5tuIN7sDgvx5pg1EXNYhu
Ewgi9dB9qtA5EEQCyOpfcbU+4QDwFObpxFLY/Gjb7KHptOYLJEE4N+K8gCtjCt9G99JbUwhFJu2Z
WMJVwpdIllvcoqwal7s0iFdpEYPJpGl0xMk6x/qp02Lsm7L/Ax/TVdBT1r/2SgmOrYonrmXCHsXZ
qYISTwpcS2Wm5KFSC2EryNdUam5xodgRwzlrSu99zh5CHJ0MpXlpEWBABrApn4ldOlux3ULQYtB0
SgTFY99KDu1xRjcxWOlxnUS/SQB8OgVedTOQiAUlP1vXHYGWfxk+F4axnc53dFNCgw8ZB1hu09Zu
qkcus8MGC9hkXiNX53qWYN9HZ7WvLxmxrHxKbbzksAXsjW0PA8weuNludCXxgDzFaEIbwxkDwMuQ
E9+kHWOVMhDhtW0dNNLuIJcxVrfpatMYFPGlii4GGmcmZ2wU0kuXtJfTyUr/KTdAkYRYLSl5rRF9
Lu15rRLRkA2XxKRHSIoLMnhh/lgz9aGhoYz5xP+yQJjaxbanizq9EisK09kCGFmhm1hvHPMbRGj7
pGG3KqErGwM5tUcKSrw5ECzxY7+XNGY7x9yKAikFMuRqoVFsYZ1971LU3pmr3t+LICy5SXPPNURW
/KekTE9ayxd8TDA6mpvk8SfKGaZAc1fdaUJvPH62iEdR2QwuYcaYoQ1Tiy17sEjI15imC11kZwo1
nOqMTFKSTnWkKnfXLbFjrHPcRXP9kiCHq7YkkYYlfE//VxHVE842KiL8LUdd7T02I0uuHsdCOIpA
Y6j3nYKlgajSuIKF6NwF7MQinsaWkGEs3sLwO9bHYCSTBDXviilrodNN2i2kIe7RPrvcNy8k4p8S
oJJCecSMudiE1qf3qgh0IYSK86Ju1I/y9LY24ZMdBdINvHsCmS9lw5sU717e3izZvEuPFpVSABcz
/pzq3OYkd5RQb9B5atKl3KRgkWH2nYt490laEJrFiLKRRGTpHGE/EjXIRpV2nqsb44++Fi8IqoMq
prxCFDw6oJPlbQlnoXzoSYeLsHnQCgnSrRC/RwPHgqlcm7VgvNYTUS/ifBZpOFUALqHxjZDDbml/
ijR3rEh+0SJ/KfH21pv1l65AycI2sabbfc7wQDH7oAbodOmstSbl14Q6L0ES5uQlMASdPZSYXNTX
xNkbX5WPJbaLiv12kpx+WOpRaYBcVa6GddFHHKVXoY9t1LWHVhhO2TocM9GvkFtG8Mkp5WrZOmMi
4M7M9GinznaUwkP+VJE1GK10Sg2TbXoUsFmmpmXyjQUchjmEXYLYRRb9NXd6kBB0MOsMARU8OhqN
OKDmkRBGdXQnYWY3+2+EU2KCiRftPpjdiMzwaTdM9sxB/rXM636I7pSuFNG9DJdZHjROs4FY0ylK
n5M+PZOZpgmhZ4PCn2A8A9L+9DXCKdJz+uYB5pcWiKQRMhPdxzhb4+QvDVw5eHAI2c1b7rUvazA+
ZyNlGTgF5I2Gi3SGbTLVjZefpjH1FI5srTS9ZQ8Y65C/U/oI/EE0Eq/PMl2fRfyrIewIJamWYJ/W
i4+tHh7T1DA+QdfJ/s4uFrKyZB3Eo2EowV5dKLQrOSHgKSNsaa9nLSyhaKYF5sqybT6FbytE8o6n
YsVTEQETVIAJTgADF2hxGNZ9VeB12B4OA4I6nTsVBh1BGnihGnC8WrXLgzjj2QWF1VCEyl+LEQHN
E/6VErp7tnSEbTuN9DDhcRZ8DTJfQ0zuJT5r/g26jnKqINyOPSBx6xHSN5FVDWZBDDXxOfkNU4Kp
6HKQe/IHSNrrVM2biCrAru3Xbc/2YvSbkgLgkc5HwXxFyGk6Q7x2RXk1T8KVfuuJ/KRMsy9zWF5F
+f9oOq/dxrFti34RAebwKlFiUpZtueqFqNDFnMMm+fV36AAXaPd5ONUuS6b2XmHOMYu9vgCc5knV
W0CJ8cHC6OQwxqWb04x7GSXeRj6gWQtMz8TyrrULyKDpcDEBp8+rQKR2UEIdwfEJWgBHThNi5srQ
03VbtxdUhV0DsydDI4+UyQjTi9M5d12tH4leP1Q5fwhXT5OLaj7eXK20KdymYWStaidpyk9V3DFo
3aj3jUClB3/p6HUlxpq5XvgVmtge2Dq2GdhTfYRTR6mZV3gUeoR5URAVykmPEQrAPyHXYLHOUL0u
rZ1cRgfudeepIy4EXO60woyQdZwWrDndTWlfdja8tj55gQL8Wt1Mw7tT2TTmPdl61VEnHn3JvPbB
U84/0j9Zpnq3jEtei7MSV6fFm/pvNM//JgWDD/MTftntUoWG45yd8xK2h3WwT6PeXIgYpUo4Oba4
iW+ovASX6jsNiyhvsYiPsAO8BM+kEM8NpQ/eLWK8pZOe4VjK6wsfGz6ltK8MJT/qafw0WG4pqHLr
icWwjbe/ZJeJdKUXl+LDtFlmsdCqCbRV+EIjlX10qn36Ye5WJsmdvbg945i5UEMIJzveioT4ZeK7
nOFq91cmd64MoR08sMhr4l6YlropBZ3i3TSKdXYDbPz6mH6Kpk1iTTzvGxN0S38w+IRRrO7NYgrf
PCB2doCCrwZNiE6yYBLD6tqoZd4hG55yYQzuT6gBaDX4HB7Ifd/p8r9SrEj+3xtADnJM/4Bv3viU
OgKC376k/BvjkF8mE3BKrA3qsJu678ruMFtrAUtM4nHlbsN5gwUkoawi3SIj28ZcIVma4CCJ46sJ
mK8TpgCSgkJM9oyY/7VOWwL1gJBDDSBjTH6TW9VIC0lRslA+GOxcYoHIxCTmEqiONv5HxiQVy24m
ZHZBZNURMjtCa3v7K96BsyoQhR7qJ90VRdrOoCubUwMlKrBkdafdgwzwHFkzn0UC0QgAi/4jXedg
RJUY9/J+amuS/GJPbnkT4koPO10NWjZ8sA/E7ZbB4dqZJ/P0Z9lVrUEGEAsXnqiNwaJgn4wXjyXh
iF51YJpnYsMEG85RCGCRBMbu7PXDo5x+WWfYIUBVddT0tci9dySkwVxs9PY2MVPL2c7qS01kuQlj
cT2mdXvTq5670zoOiMaamQk5JqWqTc4SnGOinlqDHJ79mmh+R396aZr2f1DiwbV+CixR/27kfZFx
0R6nGRkSG2OCF98FmZgQ1pXcVbr6n868IjHj3fTHOCv5kyEam9Fl5zFHQrUA6OYX6jO85bgZdMai
OtIzGc+cQaqYdGiHR5YNyHn/vOaOfMnauiwppiR7NJ9ZIA8On1GSRTnsVRM/o/FH5rxvbc3LUb9K
A2JUVtWJxaeRrxyxQo1YQeYmz5nCt1i2TanAJ7bS36ZCcHtMexzrZv6rY5KWoVhY7ZR2u/Q1NYsa
rNlg36CXTRkPGmA89IDeAECr5yCcCVac0D2Iyjq+pdkpugdWlUe5QMnWrPAVOEJUyUWHv9M4V3Qd
FCM3NV7jMqN10vj4H9dAa9qzvW4c7ShB33tkAX5+d7MlUt77/rT709LJDkfkg51bEb+e9Qj881AD
dt8edtOgHzourpaLC5BdihuvJzdz1QtvaAfPICBUCZlkHuVv5AEgjkh0IEjyjgD3UX7lqcM+Zf0D
yKoj7KbIqfEYB3SMF/QZOvfenC1XNPO+XUzCm2O48AQ/4paQCUI2bNx8XDPMlmv/XSSVjB/NucW0
fJU4eMhCOLKKDsGIwBzQZeUkS+M5a+zzwbbKI0UtbVK41f+ZDHbXU1MZp9FKz/ZGEamdWNUHaYwR
X7dPulhPEB5y69RQtsR4bgQj/WwpooFg4GJGQEY4ML6/YUz94hul7tEYGM/NCrcKgcDc/Br+VWqi
xaiCiiwBzjClo8fAO9lNEEXm40OHRAdgi1/MDHR6jGqEdga8Dr1EsO/JVnM02/GVJOsr7hGl59cx
li/alIZsIBCsXZay9VhRQvb/C9gkR3AnyURUaqC8CG9rXxMNdu7Av2sYeDhUUClSwOmD6gdeuMJ6
lvBZgSeYoO92QGSxMqQ6gwbp4odKO7mSRCY+JIVd/lS65Wr52bmFAZK043GMsyPJ0IeNPKB0OAoh
HYhtJWkedSFioexYYuMdIRaTevpG1GiJYFApsW4Tf2Ic0BVzlPh/kbmq/ich+1jR0jMxDufKls6M
drdt9OZSeBUSfzsZGBCQOCfwxkJENU86aaz0vtP4g2iQN/+qEWGWjLveGlCcW+dNhiJphptElyjh
UO9/F9sthgC5MFCoQG5nNBkSfFg9eVjlAULNjskT+/P/L8z464513bJjtZn+MsZ20/nTgm/ZkzEk
m4EJ8Bna1TvLQcpULI42AmQntIHfwac8OtILqpdDpVCW7Zc0PWIDvdEMS00xAGJbt2LNb7VBC9N4
izNQYA/n0qlOEnGHih6azu8327J94rdxO4QNpiCrdJAvpb/NgmhPlGUWKih7dJeK4Z/pixT/pZry
Jshh4Rp547UFJQThCktseFb1e1zfUK2Tnm9XR7Gv/wqsGWLMbmR0OEjSjbNooPspaQzZ68cg3s9V
jnN92KEh3KvQPvRy5nCzIUy3RxUucPH+MxqedTRftd9osV8dVYdvWpmsU+V7InWPPE4u5nqqSCaa
u4mZd3oc6nYHkZN2zydDEjpQFlgJibX5k4i5h7RPeg0x6Y6W3kFwF//tX6RAY4gKV5yKyNpkTQWh
O5AxhsYkNQ8KtguDkRV0NKoSFZFmLbG9Afanf4zLQ36LCvO3fk+WLdJFiqgXCIrNN2UPy3fAaETa
ExZ/lRDnq4Z6MKThDKWHSKBnrzE/p99jpUlq61Ez+4B0sgdkwKgD2Sgzcu6AF3IaQpBGYuMvmwPg
pAkrIYcA20GfvTlODoaMTb13EJZaQ/JWFG0SyrZR54+Q0XfsGFHRkz7bVX1Q2UBQ/Zfq6c3o5Uvd
8IHThqhxEwtKSaPt+s3Yf/6y22Hf13RxaZSsRKmWsZ+UsJKuKoxc82BVX5PTQCVjyCcm/nLbk9SB
R8fE5lcHBeJbHGfX5I+y2QQR3KVP0htuy35BIoXO0eDuk+j45pj9FSantciAXC57wah0NRAR8fIa
B3YdJTwJf4nszVxZHfkZM9fWwpWFCNTc9EOr8RlWG0/J0dp/SSb2nU075tyBaFl2UExxm0gYxABe
cUqQt3nRr+nXhnFcZTmmbB0jEnQe223kSmmqOKJWPgkJGWCOxwrY8HibwZIxtVUsFAcm+TW/AOr+
r0CA1dA1tl+sRxO/H1IeDHnMOd7uqfQXezG62aYZOACJISgoljkfJLKuJ5AJUg0Pb5yjHM2Cbid+
wveyU9TjnPzGnTCAUqfmJyu5VtqQArZvU6p8nvoYN6cD2L6kluUO6vsQADYvThmh2f+o5dWv9fUj
x838vajtqyVFqk61L5OEe+RHHzSnk/ysqA2kcbmpSEKmi0CRR1O9X9vvDkQEOSuMKfu7IF4hTU+E
g52B93U5omf7WH/pE3mvNH01jrtCMMVMZF//Q96myFu/g9GQdDRiZhVaxGoXnRQothYgZT+q7RWw
bt3e54zabwOsVOVXqQU1/GNWjCjvRNi42Cjzyid3EMoTM1o8zcVxlpgWEOsi0BLWeHDI1vWsmru5
Rl62gFGBKd0vgMUNdOIjElfSrzdgxENVoEzAgqkHE8yhscTMPVxiWWf6C6Aju/feZFl+12HLhFvE
zM6NyRfIf6Z3lZRh4C730ojDbPtTIwzgu4wYslSNdQuakh+1J/BmUDKZx6XneUAixi7dYXeJqtgz
7i/EeYyuq1BCB1xL/wPAcefsNvhjlUwOpmLuD/ofEOkPzYgf2AohoQkWFov1Xn78MrPho8Pm/apq
+VGp9mNgvwEaf9/SPsW79PGu27qFrVkgF7KPdxlYYu0jLoespnpK29NaGLh/9pA4j92cc+PixrUP
Iwn0K3N7WZkPqkyuXIPnjzYuZaggg8E9DMCdFOumnRdqMZPlWQu/jWleQTku4WpoeNhPO1Wlp+Bm
3DiXSmrX9BcaGkYfuls2Bo59deVHHtqn3KnPxvFUxbqWlypfn+bCndMSRMn+YZ6Ne9VoN52fOFvE
DurzRYIubuyFoGab07e7xDMYQ1fx0bER4moWLSHh12oe9R4IZF/Isa/glRFTujftIUgdZ6fEX0uB
sBY2Tc2DyG3HujqS/RLFmwnX02hmHlNM3+Lcfo6l+Zmr8WdcB2qJKqf61sr8q0M2J+mvZpu+qnFX
qs1xtlL64v2APa8DN6NB0LzTsBrrxXYYj0XWqZqSU+4sISJcX0aw+6UEs4TWCWF3ejFw6sW/hrC0
60ObEcR4fOtdkBQTSKBMuBULV4Ttd6LZlFPQFE6OD6L1PB7b74kyp1fAR1mbN7C5H121o+BiQtQ4
F+fkTLBKUojYDLrIpKX/mPZE4jh/5/en/d4Lk98zSVbJUXbYF01HmdYd+spU/iuY6aRB79px4n1r
uw7odjYlAWcFrw+m245kp4v2YeTDKdExc6Q4El2SAJc3dJTek7IGvY6OTsF6DqGJ5hdrYo1N3u1y
ZjYzhDtzZHO703+qWs3ms3kYe9ZLxn6+qDb/76Ye8D7PDZEMWowTHYBaWE5SVC3VOU2Hi5wZvk0/
K/XDzSiKO6uNe/GUX+iOwcMA4TFbv5o4mPuHvI5PXJasUbfgxIrwZ0Z3zyR3QvUeUwmOCY44nuJS
CnL6lqTrwzSeQzGiY3MNqT3V5BYYSUL+AkHE7X9Nxj6iPPX2Sp3DfT5JQQ/jQ4O6Y4RODPSMuWxv
AaJSAQEuvkIaeHMCRAkZ9NUSqoisLw63vjqZdnWWfppPxrj4JvHuVWhCe1TZCCcItLgYuYTWuoGN
ywZ5xvP/r2nkg7PRWHmckiDNgTICEs3rGi97Sxxvh/IAxxh/8/L4U75TPHi7RY3zSyEW7Qj825TP
tbZAxN8VOVTH4cHcGjXaOkLvfdJes4oVbHs1j78qaozipLMMZj5J0hXTfdbYy0P/6Mr1rGvjWb4q
aIVq6bRK+qnuj3iReh4TQ1sCBy+BJd/sTLsXhIbmX7tTHOON+CYsnV2agVV7dJ6Iodc//WTh4l+/
NR6TfB3CRbAk0R54F3jiyNHF2gRhnTHVEs4h2JWtyYNyC8rCICgOa7Ozy9IlGgHDvoN2BTIDquP+
zbojWHIhAoimjRGJeaI1NwvoaRh+jy072gm1fI51eS6effNiuCPPCrAyIBCMSE/Op0P8b2Xre4Xl
4IqOaEEK02Q71PY2KZ7oJr8X1jBgvT4IyCnyNFrbAtkkI8q+iHS+1DQOG+SR8WfqrK4jDaHkAWbA
CWD4NUEGU5v6+QLhCUqgYpK+XaFIwVPulcznf4dhgVmw+K7ohI2ZiIE3oaOtD4oiDm3L0DXZD4TA
K4jkgPW3cRyuQkRKLUX2PB9I89pZc+EbzJccyYoc4cvxEJSqcwKOumYnaR1Ova6eOtt6JzVnzIrn
Jhg3kriWeLdwp43SgyUKZS5SJ0X22W740l+Z4Y8EtHlKLI8MNG/gl2YOHsFWMW95SxxtBosqkiKx
Qr0FlrBglUFisbGs0/ibU4Ye5u/5mEJ1+uL9FthNDcaJxVdZ2efJxjTVd1dsu1dWJ0HfuwlMHDah
A67STe4uzgRybG+xs4A/SNZV7yVwANHe4yTXj90h6rrfhnQHy7XTMGnY9U5u591mu9I6nvgwfHQ3
oTiudhAZ8MefiMNtaqyVeu1QnRIeJOq1gQ5t7WARMDROyBmTaAhJOmWQzTiEVv3vVFR7PrIjP3Cr
YEicziTjnNtdmxH01JmQieYhWlY7XE3FxXG5i2eD04UEsXXBEaVjY12VJmxGM4QqzDZjhB0zn5fP
CoNYd+kr5To16q0S5j3e3Dn1O30MUWmf0xBPCGLIMG7Hs2RiL8QBjcEW2eBbJ3XhMmKyytxTVCxC
grUhsPJjzlB+wZWr+vOStxenic/Fbf7KSaIierBJ3Spg/hjTrHwhTbinlfromoHLhHmy3RIEhaSq
v0t3AANDuVcXUGSr+daG2tAMZpwQKBjmSNW7SAWZnTT5vppslq3gQqYmtBwz4EgJYkh0pgwKyQpm
Hc3dl4l8tJco06sLdNWZcESZGm8ALYNM4jAsk8dlPdyc5KND213Ti+QM3wzSGZXAhjkx412wf5NB
38NrVwxqYkjeVpYE0tYERYuIgix0bnNjusqSdh51oATLwS+ebWaDy7oltnIgMnY/9NJZksrrMpMo
c0TUY2cpElQvs1gIWj1kOCBR1Z1VvZ/k1X2N5GjuVpYKSpgLPexnnfw3NHzGs2qbpzUyo+7HI8ER
d3ByW3Lq4Fm1Ei0JbijNUAP1MqXXfB9N+Z0YdxvQvHETdnzWx5tjzbc7mBBCTuVh4PsdxhU7/QTz
2Trwn1iBM/RRhbgqPadvgdkP47bFPfQkIyiWk17k7FELAn0c1rF6b/tTJfnZ+trm5DAWvBSoDixk
UzC27Q4YjEXsTCc/ax2P92rdU7KkGQYA6o+V9USbHzkMN6xfNlJdIkROHZDR7Gp1kC2OaBUEJC6P
LbOJd009PIcG+kKHO7whLCnSZD1Kp+nAGHswRoA9WsioK2rT5JD2E7amNJQMjgE1cwfnsakV7MKe
ZC/eXJRWjEAyNkoZ0WElhaRWefIfJ95OSvO3oRae4uTKvO96msD0/tBCDbbA9k9K2q/KGJ89GAED
oW6bfCp7K9wriv68WP9MNLpxZ3jyhgxQb7zNBvDfwI5EaF5AuURmklc78q79ho3SNoL3NghnTck2
qJ1ALCjM6RtFE7V8x+IsUv0sRp7dVLnM+DxNOabeooTqRhRkMtME++K4U+GEKr5+sYyhbv9ocSbu
9qoM+9NibMRmqUBsTLRQ39wQi8FeKb7wvZTYA9hWwZItA4KBD7OFaA1fb4K6CBLZ0n+xfj0Nw0ZQ
Tts4t3h6RzfGLKnGk6aCaVbjvTQmbvVu3g910h7XGXQgHriFRFbOAnJeiKbK/psUfc80LcNjOW6a
b+fqrSMoEYPv+nt9zYZC3MfyFc/ll2GLTydIm9rVX3Oy9+01IRGeJUjV3Wd2u2vprfyuLTLner6K
etcpDEa18qrF6dUp4wshbAnBu4c9+61ZD7jydBZbE2Qn8WA0MOTSaaKSEfYQ9Q5p1dZBZxmBfgLv
Epdmpdhn1a01auIANsxaRDaAZSy61GfYGpHbUz+3x1kYx1oDI6rrngGGNiUPYHQY93MwlKIPeq8y
tsOeJIDBObeenps3Oavu/upPjIr6gjWqTH9+5HoIMKKFE091wVPNfn7cTmZL72ieW5Z3Q5LsO93X
4AC+NeptzUyFGeqo43Dc8Jmb4ExbgpYFu1x7V+bzOVlSEi3xNqfdXdPyt9riOGzuvzEpDtXy1yJk
eTIEsU29N5KvNvkEvR+gBsmmc5v6+NobzvvxPC416qzlB9OZk7nqH8hNt5qNs3qaLLBAa39Of5Kf
EwdLZuIvynfSjdXe5Z90i0UeaZKDZpTo6pIpikTFij5QPRdydrZ5w+YyELru+9PuHa+kOOsxV382
cH9A1AC8ld1GhS8gE7xRI04Wm7vWlou17WAPKAD3Fhikhj+EmTdTYgDxA7gi1kAbKokk6tH02Mhq
1shnUofy1T6stM31fyXAU3q2a1tQ69vZZXxvl7NTmsBIqcxTjzuA/j3n0owGkb4cp/32U5W1YpWf
NKclSqttL/IsuRjnPYevAqqTsC2WZdMBJjYybgR2o2f963DKbcV0HOuaRWZypKPqbTuyTCmsKmOf
Y1AupSSQVSBWoxwI4El5s0bIUTuVN3RCuggGTZnGjxLDeHEtebjq8lvP1e/1N/Fe++Sa3jFVkyEa
ZMOTS3fGW9LJ2SXGYTYVTJesYJ0VPkh9QNwmga+APFylUCJptuAuQ10eiXeHq7CHDUfbZTHWslM3
pVpLf9Ylr82EAJkdRJ77yZQwh058oTveJLBn4WV9wWKljfZXaQj60gycHI1yVhykNNv58Ssz9MC0
xlBlPCXeNNaTnSunmQyq1lO77tZYP+XfGBDuWiHuErZ1iMBUmsPdEjsUTPcxCQ1ivNqftgZm01Bw
pDTM81gjeUvG5JfN5fsIIKXRk1xVJ1aR59/gAadv5xrH1EJ3n9Hk0ihNxIEpkMOgPGTfFiTC8a7U
eAKNDIGZfFAZtGdSv2+aM5tak2yqPvfRNTJco1at4QOXVajGW4hC0mX/tePsbSyP1/HbspWvemte
JPAZFW4hTYQiqhMzWLcxfP8aeJ7CWrcJTAcBqeJU9xxMUIXU3nImJ1Z2cDLUIkBd1Gi/ljzqL/u1
NohEJ8xUE2Hpmu7RmFepyxyTQjD9rIixtZz6K02a8zbjJvqu4fEKyeK3YIfvyFXIHCb94Ksh+gC3
VNCbC50RdDJdZf0E0tReAh1s5UjhhkOVbLYFK2K/IzjFvbBulJ5FXz5xlsB9O5k1AHzEBU/lILt5
69wWo7smm3Km8dlnU1DmY9gy090iqYPhXK+BLS9wu/axRq61dZXl+ZA4a1CZXRgvSbSUK5mnZG/w
NBABwseeH400ZKeLL5VaX9dhL+vtmVSysy2vwVwuwVZPQWa3weT7cz9fZj25dJV87kk+sVOiXyi2
dzxhcag4ZPMyJyuXDMLFzs5pV1v2xByFli77NQFc7UASjsz1DJZiFb4xDX6n4hbzTWe8p1t/cYpX
ZZggRKHS35ypJLEIiYaBoRMjcgUxxnCMIz4wWuti7kMG/ZSeYrQDs0LWxFRpwxXZg5stdZKHSn9J
Ng9/Cah25tbkFAddgpZBKw9IxtyGWGttw8q01K4CrGIAVpFUvC3AKvYjtAobg9LU5Mea3svi09qq
bh4mLEAHgr75YHFYxkkBZuDKCscXnJObimheDLdK3VudfDNf8k4Zlr28C+1V7E1mXKxH2UaoDOS0
5jlOuN5Ee9xUUtJtUlC2PaxKVQRWY/mlluG/JOAqxYbgcieit9JZiWQZhvV69XtmgdneSDVuiuSu
pf9SwwqdInsWmgF/pPmQ1OXDnuYP8VtTlS8JyyBuATfVu526lp95W3ywk47JWMMEf6lEdikWgOIj
ioH1sGBDabXLzA5EI7GkLfKdpX6Icr3ICq8fDwP1Lyza3oZebX3PqnPtxHAFj8SgzriOg3QB7iOr
T4SCMald6sWs9nWbowQgVFtagMnXpXFNNfu+/Tck+JsVtF3oCPCL4SvLURkaPBv0T/ZlVlg9q5B5
m+5uWtWDZTSQJ8nV51ur0I15e6D8N6UStxTHZKMxINv0vb5NR+kG4dVQLxjlL2iRFR1wEs8bq3n+
vSZvrTpNWrsxzEUQTD/VE8apq9jeuJD5dJQWJtX1kBqd274/193IDyF2Sv/L0nkT02Cy1oCoV4CJ
Djm7MFvz/K5XCPlO7QUjpaoydq3cTf5JeXgciRDY3rDGC9/4f5MBEeeoa1FZdhUqy+0AnniWW6Zm
+mHE+dCTEjljAK7uNeZtY/lhq/OHPrDpQeQKBbSsyCPIKuiPOjBXtq5o6IWBygI3AAEhwPaCkpEq
5jOw2td6BWIK31D7NJyVs7biXFDaNrSKLJJGJXKckhvCDDKAW1QYA7FVmbGPbWo1hAxbTyooYSuJ
Xt13+IXM7Jkb7cc2j59D86McrAtgOYi702R8YBzXwryUn3ASZGSNPLffbdF+VlP2+YYMHGfER4VY
gWhpWO/C1nKCHgezJqg42IPLq+0DefKJ9/BHafUK8OsqCsj27Bgdu5eXnuaXBO5ARVqoJDmPzq4+
1vVv54hz8STUh94JU7pAGdkqUb7o4OyUSF63qMso8eQqotyyyU1NqXXXlhnFfJA2HItrfIibsB4H
/2/3IleApwKni40xyC33ydvProxsTVPPfAhcY9UFh0XuTbth+SPkB0IzwlNmv+Vr0+cjAxJBOnFS
9P4UCX+cSi/P/2xwYq1b+t9GMWCUTQTMeacK81qncFjJG+iZafA0yWV2n1p3rsvoX6ikGcqfXXkX
8MZWYw3KeybhvNf5BQ63NtdveZrcV1QouPdLR77WOSS5mAxzPb+S2e7YiPCIiSDPwr7QM0g2UyJq
RFDFeQsowiHaEA6lhLkw2+UZMraIQhpwL/qcAS1tPOEZi88VB3EvsLaGl2lDn6g+liH5TIGAIpEk
DKWnkBRlBSjKAA5i7gzxYL/ISQmxhWNkPjNG95Dkvj/c50mNo8+1yEEQHohhfyWl+Lowdm8R4TkC
4J0WTTFuKMdjHRAY+Ya/qQ9HmduoxJFx3X61TU3/LRHU4JeCawixs2PijhPhSJ+J8xuQbxdZsgAN
B06jgYvPyzNwX1Zmfa2eQ7rrDeUzPUxPIy4eeAdCseFFAHqF3H4cxF22rAflRjL5eFd9mQ1T07oN
/c+U14EZt7QaDSHAm588Eyx4xU5IMETt+pr3lLrZf/PIAOHQMqhQCCNoCy2IFyuQEocql3BWYSGz
JzIP08l/hL7cJoYSnVdv8afYyk+2Dh/lXrId96/5SMlmUSG85SRWO+CcjJQQb/z2GqlS89YcnVP2
gply6Umin/A7kk3b4p9At4y0v622U9LXJ7xZDA0ZbbLlllo91DuU+I27deKgPqwEEJDb+YskR0qm
hErgxgZx1m/rkhdDk8tQDRsIYqweRU7yYKhOtbeTRyYxzGkdZTewD4LgcDzjlSCR/mfzxuB6aUHa
NFtDvWhv03vybrB+S3jqglY3EMHAMep8W49ah+sboE3llAgTNczsvECMpwS4mEgqRgzo84B/xA6r
LwnsXU3oUkywR8pZyEsiFkOAn9md+WME18T3bjXP35pEKBck+pkwefXLVMevngDQt1S2lQ8iqaJs
sUONmFvxS7rOaXodEXta47uMjYnCFPx3GPHd9Xc2v7mH7P7S1fzY5OVD1VjPzfzSpfVpPxxETI/E
4Flcu/PhR9Fi8bKIK33/pZNAmyuf8lj6HKp9uU0vEnFZyYLAjq2rPR5+XVQuyu5mHrevlo5FwPYA
hJiXQe6sTI5i77ORucjq11yM0LFRvTS09/3BhE5LgcFiLCbpDjeuZ7+XoyVkpxV5oyb8fjR9LUkI
ZSMMk/xsolkg7/v1MvjwknyVo0kdG7+d5CP5pGTBGritlLBPhlCxJGxyW8AgFgoqSWBTdtEfulSe
O4gDK8rHPdRjnbngntEvsnAFWfgc1+E6r4TdWG7JYwrnaD8Ma8CscgTWr5YEyh+gk+KqGQ4ryHcV
G7EzsFkkNS63lkvvoiTfj+9dagpdyFuROzeXeK6uNc7GCfUWeNSEESUtncjHU/MPtWQgtjzUTUDt
oJzL5mrVRSRlaTS7VrFEssHPAy8JpZYuTuWH+i9xCE5KFgJPDpPj1vZyVILVK8V8RO1R0JrhHVCR
eyiWiDoctRKxjAo5H6KL8iKONnsCIsiM+yCrNQDe4ZwSJiShUqBTiEB6cr/PrsaS09bBslHGs344
jcxuU2gt6kmalYMEMlAGGbiaX4pS7aQJ65CyMCuwXRzlB2KyMtK9FXwa+ht9QE72LvUzzXBDY34s
U8sySqJGbKkRiYf18L8g+NXg+doUr1IsHxbV4ZtfyZQ9mh+9ZPCOcyaQJZMZiBjnlwFOKCHxGgIN
43zyBUib3zpP5H8rufjQK/VjXfLPzc9Yp+uO5Bd8jYrl65Pm12Xj5iu5fANbMDoG2lvzZo/0g/vk
cwWNkMuI3zgMfCXhPmMPq+g+Mq5kOuvYxZwY+xnRubqO9xTmmsVmae0u0xG5DmI7lkLd1AWokTPM
yZvFEarA7n4uk+nS49xHxYFMjkeOhFRVBjWUq7uJHWb/6hX71XfV91BKr8IRL13lcRuLqJHlz2kQ
16WNSCgYJV8quI4Hx5Ny85hHkqYdwY8xhjSPpKcgftr1ScZ4kO6ZHhQhRAcIWE/2TpH/b6A3axY3
Rc5oYyf7jr58LIxfMuVmhQsoMSnAexKsbkcl4yhztBbpUz/K7rTJtC9ZFO/Ccf0EwhsxR7lJw9+K
uXc2zaf6oOH5UrTilunxfQWPt7CQloCmS+XnqAxfXcJrHJJvKUgGak8EDmoJX5sdjmO/8dG4Rvnt
EIBDdauofEK97nePVWoC8jiiBlxFfZx2yDIZqhtINI29iTtLmojzmk3UMAUAnuVsATYjLmIW0Xd+
stS/CFI9OTFA99bPjVImqd6QVxxawDwQIA2z6WUMnq34PBJ+m+v/LbBhm189uOXiU8hBqaie+m9x
JdyHKs7D+mNh1xGHi2OG47aE6l4qmGH+zr3ZOqRwkLkth9I1nP86qUF2Z7D1kAh4XU6mgwFGIjGO
3Swx4rte1d133PIe5ZWrY4LHcGyyHIiZB2qmV21IeDUe8U0cG7bhFGy7WRcw74up25+kurwdJiSl
L1P9r5TjI/vYVmPvPsKPn/DC1E+xXVJlYG+x00BIEwjoralrLfwUpCaVpJLAppdemzB5y11JfZOa
K+ynb/VLxZC8DFsOPkPW3d4yEaGtwcBzocwj684O04ocCVi1PSKNtqYbta+mwhGqMz3kN9GkLBCs
6zqtECqKJyjVfBhueAvogGLNeiTrX2smnE8SzykWz3UbnnbFc+osfvyOVjtob+Ld//F0Hstta9sW
/SGhCjl0iUQwk5Io2R2UZVnIOePr78CpV6/hzr2nZIsE9l5hzjFzWtPlhq/wgeyW5/SfStpu5tl6
aL7FevheLt2zyNSnwVWXaZi25/ypWr+Gr7zY+Argqgc6hcapJKKtRp3wU0zTdkLrox4XpcQ1qB4W
ozhm0+yIJQ9jwVZgKk/cMCeyMGE3mjKswOoRwkxsEhIERevEwX9OQojWEC5MOknywrThtWiq1xow
a9Inj4xsYYmRD9r3jMNGnCaywTCdMNDOEVEufLf9QRKqgzSlNmPbqgoaCB+iVR91XHyixNYQsQaj
h+0O5xeao39RbDlod/SzqhP8i+dP5r8MU1tRPwTjtI2MSvbl6HF3NbIY1TEik5gN3+SehNuPNAix
pjFb7jADT5K+EC3W9FPrXl5ObVafBE3a/WhIwmW8svJWs+zVddqnUwDp5Tp8AWqxyM+toL3+5GN2
rvT17TsTthEfK1z1gzUVDQbNl1koTsuoYUVimSKxXIsFa4PmK+pr1hFXLuH1mZPTUKjPHAZxWx3Z
3o4FOeOchaYbddMxKSUnEh8hmHIGcRxJWCeuSYEhwbzXY3scqz9aIt5TIdrVEqnChozRpWe/dTBT
RCegKvjwy5X/B1f5Ah67+wrLFW0dMx+mmoh/gkXnFQl/BtYYMcxCNJINggbyWnbbhJMErmTsdvR4
QarTDtcfM8MEiLB6CylbpHf+ChEuq6Seob1bRLfkLBqepZm7Qv5YdI33uz8QW9fMbMQBRSvYVn/Y
evbGH7mBt5MrNlCYv6TjlhOK3daJtdhh8uNEEttSTLDvKXqIDvmJKmI5gapJgnBdfa1EAQvdSDOm
7xOkX/nYBkVdIgDAJZYiVUPto6tXEC1Xc3o2jHpj1uXFoMMROKfRiKsWkgbKgAVMCk4TEoC8WWl2
E+5QXnBvA5mRezAT7Gul1F7WvwR8SLM3BMgaqasWQVcZQYaDmYRimKFYzNDgm50/twxQcVjqOgQM
cC5YmSfEz2JJIg1l9AoqS2KezQaVbdV8rvCoJviGbwS1uUVOeW1I1IIyI/mJ1DHc2Aw+jUPfV8Rz
7Ag5xLkLM5Vu2DCO+DbN6m0euOcnfFlC+tqgkiXLIxxGZ1oJ931z6jm/AjDvlt7Jk6c10DUm1W02
XGXJT0bdHrVicKf+R63UoMXsaoS+VBBOb+3m63c04reGQ42olwEOsgz8XadNMIDjynui3lZJr2Rm
qr0u9y6aLlVY3bTdqv5lHOeWs3IoT4wx4P+tkRuW38brPjXLcyloJyOgcRXemCD/CRkTAjVZgpK/
JLm0LONKXllZV85YJs4UAacwGk41qtwSVS5lagzSESDhV8RXUCUx2pJs3xMiab5HP5FS21DR903e
24uf2mIsuXVD35k6HQKsGgGW7Gd4Ip363GY3YYoe0BoeWS7tktppy+JVBjScuapZXxaDhdkMOENh
x0n4kYiIuowcfelerU57zEm/Gz4aUllxO2fhpRXbC2KLhzAQ8GLgQomLMwaFQrIxj1ug6EdW4wQB
89YNRYxYeN6rCzAiXban5UuDFBsR4z1hPu4OvTV4U8ecG8QIlo+R6I0rzZh009vjutYsmQM1Zgi3
YtxH1UBQLTgQ9SQnw8kUyTAop2Me7QWmAdP6pVTv43RnRQ8TzQbbyiBm8GOz9LcgSnK/PQvVf8Vi
MZZfWWOs3eQM6DYRw3f7ekQtKbO3bpBXqTc2c1Aj1HMW9ecsZzJMrAtOQFap9iih/CMpYhqArl7R
1nH+SIzphSixu4bfRPTSaK/gCMBEoML7iM8KKzJmlzyfFR4ok0G+gHxU/Z0kV5rqfUtsaAStrmTi
GvuF8abSaZQkm1pvYTRfaqqLsQupGt774k8OHnXA4UflJQKwKYKWXby+TpvWJZ+RsYiIHPDDGABx
mXlzpe2sqHYakyVWf4m3JBolMGVUTpj3OD6Y57MJZMyLVpN6RgZmtTEdhu9u/Mbod4HgckrTL4ZT
qdDbFeuRFS2rIwiO3v3MpEY0dKWgawTpO8/BghloWhRnJO97IvebLmynEn1WCZ/L9q51pKQQ+tha
3G3f5SSfsgUJG1t/EhgTnRyLN5GeK5+B68bSbliAjpvg+DT4lR0m8uQWTR1vGheT1wNY1qghdejK
Ook9IUAb6djmI9rCap8wJR4zxY+5KllWRWrkTdBdNC29g1TqL60pOB2AQCifXNpT/tksxTFEDkWQ
VInQgMIOOrNVtWcl/muMA34/siUYisyHeZRPBC5FWcABodE0k9XM8ZfxD2/HAB1dd1QjQigijDe6
G/HUKP2vDoSI+GhJFFGsn9zCJicijDV+JVlya1amr4O7GjMCu0PRgPAhAZCV6hpDxQRhJaMnAhgk
UPJzORBTtmKDRcavw1Fg6Eyj0ergLGs/NTNb1NedqAR5DCMHEe3K2kWs6M8XR9BZPnDVaUgwY9Ld
dbLZS146yVlA5TytfR/+lhRrt37X/FOGon1Lc95ZJncarQ6cwFKKWPviXPw3RURVtcN/G7Xk1Rbi
8bzf17qdOKNuHCfwf1WmH8OZpPt3IVC1c6enV4WopZA32ACkqtdHs4ygh60HAxph0UvBZBSBTpCq
ShhXDqPgZpW5z7/E07AB9oQ2JVFzc9JzVMW0w4C+yxXbzlNaUZPSjFGUR5j4KPWxhW1mq55MC/KR
TIr+TDf8VkTf+lGV0jmPeaQUOoehI88mOifLckoR5RXrIVXH4/D2R0GRT/mNaMxy55a9KVoXo3I7
MN2mVhJY7ZVwCXicaL8K/U8Vp1zm8l5bAPCB9Ezr7sAqyxGI2ZL1AmyuBL+t4UvMGVk1td8wk1tZ
SJoG8X/gIwxKxJ4/EQiJ4auqENPuSgIaqyBfckAUfEaQRB5MepnIY9wSTwMPs0KvZPAcb+1cOWsP
TfiJ439CuWLb5PODvUh1fZRifrZ60WfVRkkYTBzLHSTpCd3TQUc0bLBBSWnjXjk0zZaAreRvrn7U
Y4RHgCCr6NA33SnMPof51Ibmnq96r15yTtKGBz6GY0YBRpwDeUpV58U9MbJg/qJ/SgzbP2QK2IVX
jcuZk1MI9+k5VqVdDxy/cjq+v0KBn2kGmQg28mbiAEieUc0hIxAwcypT8ByJj0jZm+R9Ge5zY/bF
hWHCDK7Z8iwJFzfGWs10zaKGk2XT/tU492uSvLvQ6QiMq5nD5Ui7gONS2NBo9J1xqBUBKeiDEUBQ
C1iU00+xu8F4D5RbryJNkvHZ8NrVGs8SiT8wS7xisesmZ0xBDWVHlI0tKY8piWChyb3CibnAlRVA
CMu1vovSe6nxisMXCc2PLn2NmBMgxvg/VbRqXtDUjJA/wWa6G7K2i50Qy4454FSQQEK3si33ulfF
/TFCrSWR6IGrYKA1wHpGJeX1hruHQeQkJhIq7oJuNk6tNB9jYwrmq2qp4CISHMDdmZOZ/EG1gy2P
ZRHlUgyOSGLJEbpyeJOpc/VJfs+DmDmLIIKpAT/lZgSYZnVrLxO6FkI6c/LooYJlWe9gKPc14EsY
tQ0CiX7Yu+yaRbWHoxV0JpKQ7iivxl7kBVUkPBacrkXOzXbRgmITacZ4WJCr5xwTloC7H1S6dQPG
pCrvnZi/GzJWm4gJbl69Nh963J9ncTyRMetYbw1grvesv4AI5lDvEJV6oZ7sOT7xH8JEEDUvfP9v
3DsGDU4odIqSBYapFMjvxMl1S5nmTEzwiHPg30r9MayIiMmUBXogCP/0+Zm3YNBbX1M0NgeTW8a5
3RlU6ygqFMRQaz7dxlilnLJV3BQNf/J3RunDF7HaHr+HpxFdNR11xDIaYplugz0/83/70tYq6cGM
lcA8/Y4K5245rVURV8NggwlCWb0v3JzSDQN2abqsH0VIHm1xFKGiaQB1xJ9nfGJti9Ro9LRpx9it
BJByLgsN1ZHkJYkCG8Wrvqxf0RAG5kCMyE2hUrvH7+liPVpsp9jHrOSSm4z4J7yMc+E7XL1628DB
XnBW6/uMYmq+KW8FybEqhMb1dVERxwCmo68x69CRuwLD2eB2SPElRLMz8KjP5WCouDURsIdnwZBv
vTDcAQBofKbxYaCW5kGb/wKmXHRbviOVauo0mLqHWfzTSfJUNf6u9rXBQZjLu8/EUG95vN4J8kPB
8kHDLSF8bZTObcv2KS476ge0YndNbR/mPdTAZwh765rDjRq4pq5yGvRi5QxujSR0ILQaB6Jon9cK
TUddneJb38rcjnucJb4Q9f4iSZ7ZUniyQAHTpEz91ZCytzYX3hqkjpxdvrnmz9LOxmq/DNVe1SU3
RvWWpADxY6AQxLitdG3D6MfvqO2UzZWLL5NiXiVdVTVhOq7ekNrzLF/ksDs3RFJR/3iaoy0VhvBT
Hg77+fpMQJ+EsHiGw7PKpb1OuYE8poCoteAvD0HP89pCnOuVzitAf8y8ycVTRMVo+RJuYSAv+85k
medJhXJfpve2kQOhc8WGoKQKVGFW3lN+BtZ6wnHTKxoI869JbLiMYboP0QiUM2EuhbslIqRQ6dQY
KxXoUI4Gi5jg0TpXLtE1jKEZP1YicC5KTeQyZAv1yGy4J02szDobNiTeY81SZC+kMJr7bD8zMpLG
X2GHe8xj5EdvUSXrQ/juvjqjDqqUaupimBrqNjpctnxDBfNl2jsF4y7tRh7XFfRSlwcyLHXHOuUE
svW/rJN4YUI4/pVYBtQUl2jpqK2RQeCOl+Gkp1BsDGB9dIX2HOE0eeMYAsYpinjWnGhpUdgA17kN
u+xr2xwkA4aTDam1XT4zvYCIfJw0zw5YAt++X0d/twNDxv1IuDlpvF/bMckBEazmjNAkvpUGa9Qa
xroCDwkJLWRKw4Pn4zXGtEnwaEx+DVXOcshyZZnJOn3ptsfSBNj5/a8Mza7VUfEyUoB9WDWZm3Yb
jMgzQT4jTxq5Oszt8cyPWazfQkG76YJ0a9PutjBAt9r6mtAdk5nXfFTYsYKJK6L6aLbst4f1BvvM
G7m8dczPqyK7I2FHRym4d8Tc9JSWleVsdWAMDBdp14kQhcZwYhbqPJQj2M/wnXRZHv/XbuwPI0At
xPbZ18yoZBglbxhKj2ccNgpIUYR6qm/t1TM4NI9JSUIQ5UxbCUCf+Nppns6pnZcZ7c9MiJLg9Xnv
vZhWSl1gRJ2tzX8jFYGayk4QlISR+Ob3mpos0rMdV/FBKcozl/1pzceTDLmRpWKIKlOUHxWRIePO
LEPSFlGfCbcWiaoMurN1FKzwCBYPg7gcjfI6T+Zj/Zw9WZWuaew2ApG/WYByuM5vA6CGEENlthQ7
pUvtriB5sEEvn5N/R96EyyjibK3I+aqbiBVTRS0hiDc2pLck4gddNF/YeMnNXSSPopnjU70QdQd+
c8RUV9ffMZEGQHLkdvnEGv4p2eRmiasEuiX56Fd3DMNH3dTva2q9rmnzyIHdvEASIzczmTtqj92y
tUnDWf+O3mue2wXxS3vsUzLA6sIzQF5qtIQfhW3QY4WMQNjs6RSquXqfScBJetPvhf5WRuPVuJhc
QprFoUPqZUw3CWLkkskf9fA0OHcbwETmIQMMKzJxx50QoUjsw6s1l5jCYWvSK5kQ1Ml5xHWhMEPB
BWXhPhttOZAm5QxMQ/xOh+8l+rshJ0ZxAVRASWKd11g7GmQtldSudi8PzINOWYSikeg58put6K70
Bythyw7GyojLO9rRe4pm5be87NSiR5oPodNuRp4qgyilDirLO43noScvY9kOLcOX7QheYNndB2VD
By58no4pJMxoCRzmCNdyNDqYoPh8Er7+x9BEMAP6/UhrkXNVrjU7XoPkKY5r5nfsmMjT+C0YmPLF
p0RZiEjOxaGjr9BrKE4HbkfU9AIyYEZHLjCaXY4ZrS9CP9bXPQFZAQZfEHGIPwkMqX7M33LW8bkC
zTKcqsbIOBVXazKuIBuX+iNhURTWxSeAgk/RBjEk/FmmNIBKk+dwAxIY9UidUUUoMvwnpIJAyxW4
OytpZYow3Aa3eBo4psIqP8tqzZx6D6j62I122zL+Wdlrm1BPK+WoJs2ZX4dhcTNgpZAS4nyBJysI
i8mRU/JjosKrZ/EhIzwnf3HRHi1u43FSTqWg83RnlUQc+M78W1Y/E8ZuNQK2barnOZrOC4Nx88yy
GRJH6UmbaoKtUtjFrLWTQ8xOESTa0KjucpXfRC3a03fvlHS1WecENR4wsimBr4pycYf59hB+U4wX
p/gZS78saKrwn16EPBJRVG76TMCbcOxj4ifWy8yUK16TC9/fvCJAAkOv/iK96CPFgv6lGPw1XO4Q
qt6nSX/T8/5NFXYAH3ZEgB7gqNkMLzb8yCt+rjehDZS8vUmR9NaL01vFYoxNP8MGd8VDDcfZ7X/D
vRL4H1osqnr2K5+uefrT2lEcsi+CTmHW16xJ7pWsPAqreIOqaO4GBOBm9/oSZpZcqW0ODDUwDxXc
edFYvF5uvE6hZCVfaRjO02WNW5wMQU1gALtflj3KSVWqs7FLFJHsvQgxJAYRvgqFrKU+y448Wfod
BSF3fYau/iKe8L6oBXMTEiGeIGgV5FH8mhVh54NTqM2FKM3ejbH5bYJSwsbHZ6t5qaDvRfwbVSns
df5IODeI7d2/TEMijzFSDltft1maJ/VOc6w7AijkBgIYVn2VkLnXlyJjrRan9WCnonEW0+QqaXhk
m2UnZFhQus7hsSl9q2dwNybo9i1v4vXV9cUT2WPjxPUA3vIGPuLhM1NNUgX3NcZfRKI+ZlGzidym
+NcC4GVlQNodTAFN2wIR2F2snatDfZNxcmhc4Zz5ZvjW6Nd+RU9ZfaIFPIsZJx8p9P3RoERQxYfU
eir7285IsLrD+lrzBxNfMYjmPljBzMus6mNtguYGWAx7QjbZpMpwLaHtI1eBq1vi6gYzAprpKV5R
jlNMvxSppIlznLLHHrAYGXaCq2KJOSkSWGf8+Ax5k12wDiBZCePQj0EQIf/MQBjMnclD3DDgXFSN
hgxU/a4cgAyg6qRnW58vjdGTn5OGzIaoq5BC1W8LjOz+M0QKNH0um6hDUZzPZuLLQ+OR2fCOTqFw
MukTMxVruYk4KCX6dpP7YDeQmZb03bnjzs3n8LS6szt0EWofu6gb54XEd1VsKpJnEK4KCkWHG97L
ktWyEh1gxkvF6DWaFXDrXAbmj2PFxvknfUsk463Lo/cClvfTCHOvAZOnd9MlvrFw6lyK9VO4QKWD
zBP5cWrcKlwzJOHsJBk3KSPqlbRSRvnDZ8dx0tTIOjhOEOYdMHjhGabBiV3MB+500M+9NaGqAxsD
uU4F7WmB3zeuTDHpzHlq71ggm5YJ4DeGTIjumFq6KVAJCTWBfGosW1RsvBUSgehbyMi8UE3cfqlt
6rhKBsEThzigI4/UMwW5E7USxoD4oCQZwwCnbhDnI3BlbhlqXqtzRMLOM42gZB+c0TedLd28ifQ9
Btj9Xa/0j4TAR5a5bWDi/8uxHoosEEJk2TCUwcMpy1tZKvjg2CEzKx+PcHbQaCv86fqVfyz/UHNx
om/9KoBn0PypY7zftkjWVn5kyAlPIWx9sNi6jSaR3Y1b55JLXE07L0ei6DtHsj7wT3Cz1UGXmKyC
hsOYaeRT4POdLvmCyoXx2378SZ8hvw3rA/BTYMEOTQHL7sfacMUvGKgklA5b+0IiwDoG2Fdh/WIz
txvhe2QzVCI2EUAqia+rM5OOqpbu+DeUtc0fjFTHFaxzmYweYePeANWBLNfNMuvT6vUKJqHWFwC4
ZRcdBoaciSeefJvtkGNo33WGDBN7LsY4NZRZyssHiBwHJni/EA0Kli0v2Dq0a/4M+/Qh16WfW7gd
/uYiQqb5Q9COv5a/SStcT0nQgn9eYDMJNSB46NIlaRm96ei7LCg5Nns3sYYTVjwbCBbR2obzUtZz
NBZmb7HXrmwWamJ/1pMCq5p805N/uZIeyxUNB8+RBcNm8p93fMW75GsOu6vYTed2KGHeXrduI7I+
NAnTrhD5yRqgpPZ1LKrx4mnXyWbtVIkA/UjQy4nYCQ8i3JXuRzeR1JEtvT3KCxZho9D36G6CRKuD
NSMMffZNV8P/19VsxlNgLg0SLDz0UcGobHBDuGjlcBg+2cbhp5/JM1BhsatEeuF9TqD2azl8NJQv
cwHFC/5Y7PhkBc3JMasJ4HL11wFJn06xGOn6sf0hYhw/ec2nJZzjP8jEtfFp9hL1TfXJ3wlMESco
uYEaoykFGed/9Ly+vGlEQEDbCpvmfONnQdqKgo+Etu5FKcV1mMqc927ud8R6Dat20P+MWJTJoThq
8bNFGd6iOjSoiaOvDTXSULX3T6NengkqJdQOLwuXT7vkg2VDeMwsjYmqevq7WQNWu/DjKMNtb0sz
2ogxDgzr3552jaHk0XLSiDvGd1bSSQrcBa8JDpPlQ3BeorgU6mIRCTym/ypxL60lSGl0vPJHkjzR
nk+IT76K5Ba2JAsK+S2q3gsazrF+nUnvDbfFjrEXbOPBQoVooQVp978tYBmLSccWitRRcTOPYndY
aaBB7AeMlvYbrkiyewnG2vBLNhitlg9hDHc9q3YRoXzmr5l4XsnDWmlr+gFGFzp6XxT4ZbmY2PxP
jPrxpn7XLGBajXQ5dF6dxFz4qRTwhOcLamy20aJquh8dBv6N7V0rAAlySJ4FuyT0iySVoINSoOGR
xyNYEtsA1Py47+UqdYwzr8ROWsm75GBVcgJcofoWEBwogn1jJoCncMfqqem5o1hY4/mvSi6qlsIr
VYmdhYkw8zjLseDrbPdSJqiaVNktcmhh/huPP6IZnet+PiXsUiN2qRRMKetJlRZbgIVogS2LMzIq
mfyxy1N/tzogXWbCGw0Mc9rKVmwgTpVQHSpDlWKJHNiJZouhw6mrfxuR4hRNtzdFzV9100nbHpO7
b+qW11FopD0vH1msjd6fc2oH448xx+eivn+kkITqkMm79K8Ajpt2syuZhYuLDrW2eoA4tuviiNFe
tsNNBJzzgYcKZV7mboEovU1EL3MF0TbXDT4yIjpoTwV0fWE3gLHcdKRiC+wAvGSpdP4QS765FT1p
t1v4kcz3VukbFwFpfwqViIhJ+LVr2IDl2I1YGtPpJMzR9d8wX0sgYNHwlOevySC5zYvIC2gWh10/
2DebfCOtoiCNMieD0mEikgdHxxKJLYLiotnBt3AtjibKBilhL6P6CwMUNcM1xEYehwvEqPZvk9Ak
T8o1WzBTKkFFqvjiGgmq6+nVoEmPQA6VeUg0Oy0BCQ96eRtT9pOmP9kWAD7mUQXBoQxFGCaKsIqZ
+7fcQ0aqBaJ0V+9pLAE3Hi7dj0gsZKp+T9FZLw9UmWP4TQAXm1FkyUes+gwnSF1SI3cej6JyZsYS
AQQXkA8329PAbLUFcI2AOU6eRIXbiwEUubxAr5sMgQ/vl2CqBPn5aQ1Za7GZljlhbTrDQZDtFNKD
oLiDSjeOuY2Rv6qzPDVsYqYxf58tZTtMGUbyu4kaKEoiRFsYoB4wsMMCj4efdND1/Fh1jJqQmegx
67TqLFCfmVrnyjTODLBJ9D4IfKnW1Dg59jUS/k5x0HSPVuYERG3Z9FCXk0Nhkt4awclChzhVFzZ5
hODUN4uZIG4hwC6JSJFs2K1KSQP7FaV0ohVUqbVDjHzKpFeV3mbC6ohc48AfWASo2meJzpWDpczH
3fy5NsBXeMmosjfJtYzWn3oGhRa++nhEQj+Mx0Z+q4RbwbG2tDuS3Ht+N5liWOTnq+N/5qaSJN51
6NzyMNX6QdbXY41POKo+TQRQ2F0YX4bklZGsnOBjs+Rji9ypkrDn5/pxMeSjrstHZCqcaNF8TSym
ZE1EBZlixKBMDRsvVqNzXKrHNETXR1Z8gYYs3B27w0T1ak+AItjipfF7/LuNflgFuTJe1dQ8TV14
r5LlXpvp3WSGIhBZEDndmu2GavUltEMTG+PlE/d7ikCrIshSE0WUPN0+Yu5A84os0T7BnBpDMnjv
rauypLGGd/nXOGUOnXAvq/sRyVEEw9RkG5uw2hf7wUGl5yjohmYu5KIv3ZxVkRYXwQwurjGutTHd
OQcf5oDGdLbjZ0hLrdxzeiAYJTitGTl0fzME8OhH2B/Vyz5j1kZgGcpd0wVy4ZXb27+AW1RIeLRW
zD6cRsSHsBi+9eUhV89pCwKunvaGWRFCXh12L9UStzSEaea0w7eWbNDm/cQCWljAPRu3lo+BR7+W
5UNXnkbUHJMFX0fDExWLjrDe9RPGQkAry/xpMjQJCYFqlg5JmWQXyKktV6ASonxt4WtBQckhzEUE
LcXqo2MyTvnDmYDuzaD5rJeLtpNrjpqh8qdc8o0w2oNr3Xc/7eJF6IZJBHUTXrJ03Nz1zw3rp7fN
3cyi1+Y1SrFg9OWu3ymRar8YglrGcW+Sxo6lRZZdXQLHHZ5mRT3VqgHc7tK+epUFIN5OdpGI6AOD
GzWHP5XExK40sgsxALj75gjREZJ236rg6sURUCjQ1TxxVgxynshVxDDNQnwqoo5lH8HsR3elYp8J
2XCZ6ISyc05sDUHU+pZpMMAbBBfOzSFIMrQwAkNOix9P+mGW8EQDkkrd+ncVFe+ZtD5jV4UVsfT6
PU0L12KnUql7YpURCqj2zOQqmyG+MyKfdPQ6yyFRehfRdc8naVb77m9FyYcIac5/kuRSbmUP03kS
fJXRXQGQRmSR1HTfSKE1pg/IEl8GYOptNvUcEAsCWUW9SL15SaLkuhiar46whNgaj8c6rO+4Bt0k
QpT6HmIgEs8YDtNXiVo9RFwavybVimJxOAluzPuMPhNFu1clI0LO5CAhHCiGPChrN+d4lugU8X6U
CPX4DPCBcxMZzLIjxqzEXZ0WqFM7ladCJyjA5KmYi3lv3oufStFPBLydz72zsBOVJCfR+4fql3w5
mDw4X0l5v86RiEiMMXb1lir60RjM0+glz0xlMwtVE/ePB+uN1VrvVybL8eIuawTvYvpy5AieiYDH
d0eKOua0jpq2UdbLVKxneI6R0d27n35WnOhP+5llr0MFCrd8k8mNUKME8PrD2F4votgbgRHirO01
1dqj+LWW381kvcvrJdlAihJpGu194ykaHUmEG/GAul46m0pzLnrtFAJvrbudqjfMarX9GDH3Sj5L
Az9KliOUgEpUAsvtAKxT/wjE3a1vL5FKKkElCqVTjmRAfs0feIaDWe2CXkC0AzBEnv1MeRVV4EsF
sYFMYU1/Ht1MfkdWsVtlHIsWzFOS2nRt8kxMNSGbwRRhTdx+l8BYJLylL7KkxcJiFgMqhD+UtNdF
zC9dnpw1T9jldPbNg3gSEH6S6cRYcGtctFLiDw/lhOCcmHTMpUmC9UT2azThtWx3Ze8zsw7MPD2U
Xos9fMQeDhkDoSXMdkAsklYAhGQeKcKnaSjje6LWmbmw20UUCnQWH9xYkKSOfDJi27p9IfFI2EF8
SMclEBXmYI5i/ErFiu4D6hFBS20xuv8qlj3aFiA/0EcBgsHbGGgfni6qG4HmWKWMB8gJfFv3BU74
bCZXk7qX62tN9AP8LGYGSKHABlqF4fe6Rcdn+hWJnKZvZQZwbYoXKIlXwKkCyS2QavrNYByfvYKl
JPN3c7fUjgZYBfDczGlZ1adUk1EYWjTc2Zlpgi4hDBHVyzzgruKKxWpYaH73ZQWyur5Jkx2XM+T7
k8T3Wjf6xfpeypUZdukn0h8BpGhZYnXCa4tSRyRoTltISJ+9XMzACUSHqsO5RPVBwHI6YDxWESmo
46nqAZ5OWDla7/83YdlnBLUb8CLQHi/2nwP6i7hq/DW+yWMXxPBol3vOxGJsVbdrUUA4Rlx5lDlp
ARi7oWwFvpnXF2bVPsX6kVySex/nd4NeJB6R5NRBFuV0b7gxyF8CPV1IiBoknvX4jtPbfgc9qgpX
3bt0K6Gtsu6zj5KXjl6MRjQ46Ab2Hl4RzYZq5oVzByVD8PSE5aKU7RPkPwydmYp3PekcjRtCERuZ
tcZd7BsYDbvbYEpox9uDbL4PVnLvptkjarfbmEbyM7cmJyEMFSLhCy/5Io48q5Tb+SHTzGOONkY8
xVN4DLPiGJlMdalJ8186PsLV2rcsaVkpe8rMYzoYPuIN9JN552eIMZbVpe3Y5I8qlFgTLEgSLGK/
byPFV4BR5ZHstZ4W/mb+3EjdFZ/DmQpdzakIUDl2iqMaq01ssMSUuylVl96zhpJDRaXpN+buMkO0
DzJNzemO0JbEWdlbTD8dBAZFILZFHggzLncv4RpLUdNRxEgZgdILk1Y3F8HajqZrtfOl55JI6hBO
enwNgprzHy32AaTkqD0WbQhKvaGQId40anezOb8iP0nITW0B0EMnqyKnjYQ3Bi3CGHRvy2gGU/Bn
7khpfoxrfZPX8tLVu+LvtK6M6jL7JRPWGRFEODoiK76yvXPI6znDq+qpir+U15USjYYk+5FxeX0u
n62p3oy7q2cC4Ct995IXGAPiqZydYn7LMvbciAPYPji9Aav4/Fn2cLEBuooHHrsMVIk+XEyYwS9i
0wxpPIxQrrD1Z9UAhsxpG7BVBNISX9+rD5JmXyQx1+cxLFiVVUgUrXqvyBRdgKQDZcaErcJWT0SE
KPGuIs925UF21zx/LQW2y3XjKuSKyknjzPAma/pmxRCOurVzGY4EevQn7AUnIiJMSg86ER0vWi4P
s5kTbdAnXvavGbu9hjGnYj8W4mQYEH6XIpjOcp+TA8CiS/gd0i0qyuqlATPwvaYPgERWUtd3PXV6
GE4oAqYx91bCWYsAgNaqei+tEaXkT9WL05MpJTiKaPk5bG6yZvyUFXLC3i5emQfbDYii3KdNXwFy
5XtlZgzwP5rOa8dxLG22L5QE6M0tKRqJ8lKayhsiuwy993z6f2kODtDVDcx0Zaskau/PRKzwnoJp
3AlElEGcQI8W5vHQm9mBpNkI6cwPlRQ7oxpSpdIGL6rjgqw+2YsI43FSlM2IaN2wrV9UeSX+20rW
QmShh8bswHi9G9WnxSQwCbC11GAHm5i+y08V960si8kSZ141m0zSryJu5zwhS1becMwtx4FtTGvr
EcNY9WKgxhd2ZdSc5bo8A9Q/6eZzoVe0EuO8+S39YMccr1zPb4LBDgiQJXYcrbIbg40/9B0WpCDq
MAfG6p6BtfeW90gwB2NkObgomEe/4RUDTut81SGRVE+uaZmedUcdCA1vuVZ+6zDdZUL3KkxIqUc0
PTImSCakLCvrmTFDy+zjNexQ/FDXNnuyALOREAHAjoKb8z7+zcLdq6CzYsFL0J52BamEe+xbM9hx
zISDP0wPIehpQ+QyJLtCerQzGXlfjfK7h2tjXrhA+a+5MQ1uwglDM9k4QqDgxpVrnof6gx9Zmg80
Mc30XlbdYdwUCIxs4EeC2thLsTE1qo+ZDXvLxG84aOi7pOWymLQD7wJbHikLVCyB7ZYF2k3vkdSo
MF110ANs7KLmBIlo0Ib7Qp4oA3Adfce8G5vEmxmZxEvIrOZoCdjkVk40OzImnAOqo33n8ot8Fbtv
UpEvuowxwxWmg7J9mhlDnpXHiwFvLriSET+UoXkIl0IUP9DwfxSS9Z7OUOuMmYQOyd4ghXZbR3DK
pek7T88tD+Gkr4xIt7zNslxISmQ13gR1uLtolak4i7J61OVkH2FMAuBVOJOa6o8p/X0r03lsMmPA
/01/iJ5NetTZPSPW9y3NgG0sFnZKddoLrqr2d01/1dUbqIA/aqWj19ypCMfb4ZdyLqufTU5uWtpd
9KfaGAAd37Vm4U23yUKFwCmgqhx29VQ6QmeFubmELLVZCemBDvWXGo6MB6TDCjAIMhosUgHJhwwA
a/F7mUxOZeC1P7KonxZq0bJBp1e9MrCO287os933cozF6IiRz+YywOSRkBgwk+N366CMVBrr8xWJ
kLraWKNs2HPvgzW9xxWgxSzdV8/Jko56+ZDY6xtDFNbKFCoFI2+CH3rrIRrDveGD6fhg8mgKBJYp
M/RjkQDYOHmwSVNIcht36mk0JHQ1UriuzjrNx5G4rdI+hSLI2o5Ie2C/waLl+9FFfbrAbZvh7IM/
xlQvpUxsG22vokvobmta3Ij0uTIfvrZIiGkB1RVL8j0u7D8xWcRYZrCTGMo12tTg9o82JSRsPUSY
EuqDFQoMqquXTresQwMTs447u6ruoz7eTWiWqinYYk70k7dl6JaSYMoUDBQIpGTTwzJQl6jyR9r7
mIE+O3OL/FSMbV0v+6T9ZaROgfDdHkT3EXxBoYao69PSCHSaIAhP2aFvMSsau8zCNuq9fIzPHhOC
yWmlwpkZsaug/OJq8CXA3wt01jjRbdIfHHCXkhxArWAjidavn0hvFgdHXRP8xB6xLViwrYthUzXd
ao0GmlEbceIsKMaDyjsETyP9T4ABTC+51IgamI2aVqgX7kDGRgbPlH6fMSrU/yMicOWhEZogXVI+
nx7VoERSsMZaVsdWW8EWJE3IMTYJHkAVDLnq91nrFzhlZY0VKbr+1XArV2ay1LQIv8DmaMR618R6
J6gZxjhBEeWJsKzQE5JAI9WA9S9VSC85F3kAfMOPh53W/8h7lC2j2vudphC6AffHkb5j7T/tFHPe
1qxoyN9ky3VqvzYUC8u661G7s7+13IYQVxSdgzgxpa/308F6b38z+dZ6+k109Th429NnPz90MiNH
7ygu9U5Buj1C+sOXggnHY2GnM5pqu0fzz+Tdh3IXCQvlLljtSt5rCRC/Cl2leEdreU9n5iMwgCb4
yEMHkhWXPMOi+TAONYh5c49tZG9WKYwn8Dz3tsdQPr2cXUExzX7cG9y9fi7+ay26HZ2++CzJpVNH
0V4u5z3x8B3qgOywRcSSZYFMpW3BWVqfOnGANR+/ZAsFqX1du2NT4ZaW6iTl5qhAsMiq30gxyzKq
gpl6kfhZJP8UyqDa0YH6YweIHl2JtmGYA286VX5DZbal28GCz1VRr22MA4oVAELtl8rC6mc9R4sZ
6H8KbGhyQlxfzConYZ7/iuhSSbjDcDaefBq+HMdh+53Qg+pM1SQUfgqZvIam7xbj0S+LHTHXsIhc
Tp0YGK/EGNM4yY+celCMsf/3Z+PE9sG4Td1rRktOwEp9i7brkSfVWbQgSzB4fa0+22Usl8SCT9Wn
vuj0sXad4tI2gcGRMGrP8OZUZpUCixzxslmhRQEgs2/p5AlX0r1Eaqd9tyyiq483U0xhXpQzHvuF
aS9gvY3iTowfRmzSkkQX9PfX+q8KBl2cO6/MH31//JBywRa8j3X8I/K2wqTdBOQeL0MFQZyUEgwB
JdrwjAyQ2WOKlOKvVy7aQ50R2EB27euLvLEIp1fEhqpoaDvV4hIb2aUoozOmMNkUj1aXszMUT/34
jxO7cEUu/ELD4EEyFZtlCBmWwX3+3ucTD7ExYklkE/SdVJhj5+8lZ1P5Ws6j4Kl2L83PCwIE6Cia
IXm1DiXmd718ifSYBs7qZgEZsysoPGLyIF+B8a9w6I2Ucgprk3i7AQRGorK7KT/apnmPNjwsrRYq
mgr0YKTmWT0D98fMwgRdy0U0etTJmo0nnAVZUDPLMQsanlOsq1cFUjRS5sHUr1VGab1HhYEe+UBj
q3Y2idGySiWMg+lFVzvJVXHOSuuMSs8t2NcI8hENA05sMokspJLFWa7+LNHiClDPMRIzjDW/WQYg
DWUTpbnAhBy80+XIuyUc54oSxZasg4E5rpQCekS7oRRLXhxusm/EsKP9jYf0QHq4VLTHcVhCXtHG
GiJaKYArZg1MLKfOZZA3VFJA3cTYVzTGq/Ddix2uiR4Jmcc34TkBRqLeaDaQ9syvuaTOVQkUq0Fo
2VyJPT5bzVlAyNbrwYSrnYASpxT2cyQ5Ka6HJXneS4El3rZXn4uR7UcRCMQUXnGhzcce56CRkciK
jxKjMTkInmFR3O3GYmQzCQaQKpOT0PqJ+ealyu+yV8JiS06UNc6bVFHMzDFhexLTjNJWl2yv/5Pn
NEArFnA1BaWAWz6BItdYviUufpcWvprCU+dKK9vItUpSfHkbOB4NGjqV5TBRPsMlaaKrWQz3st0e
Az5lARykEv0SV8QEcPZnOPsJdVB/FNMGhEZ6VAc1XAYQDJXg3XXsdXLbnVT8YFJlhfIcHfBiHDaT
aFuEF6bgL/TvpD8Rohm53e6VT/4iI+415u8a6eDchcPX5O1gv+y/RtJdoR1rl6+1sS4pnI1tJ/vJ
3uqSo0wI8PSl3liRaZf10FQXzT41QnmtOFRbCjeJqC9+Gn/llJ92sSL+tL/YozHB9V9I8gllIXcs
N0u2ZJ4BxXZjDcDAPYWmC5/sg2njR2hK6cUSYFEb9S2ai7tcy/cmLx7s+uGkLXgeI8SAHwMxkVqw
mXKQ3r8LPKpiWfpkGrOUeI5696iuEQpb+a7LRA6IZpA4L5Sfxt+FDtbCAJCoh3ALFaa3xVO5KP6G
2rBGGQdXn9U6puAiPnTmfNi4ezocVKgSEX5N5Ht0IK82uy/9l9KsOJLgSED4VmRXQ0tvcCbuaUs5
r2B16YIYGUfUS0FfqkTRaEEhaoHEL3WiTtgpcCyZCmk9G0aCncoIxV3ZMJgFEzVfuBtJP2xPnrZF
obfsdVRmrAE187AtzKI1A1uthhsS9nwjX9d2vhGGrRn3ZJAeqVuX2xl1yLlnLJHHMcWGee6yC+qW
r0azPms0XIP8UzFQqLyW5qak/yQXBNF0XeMhtlz2qVvFhKlw2HAmTQGNyRtGu5sZnQm2Sp3E6mBk
sFbh4rMYfU4E6XBsWDBO3jNpR9xT8RJwhDX2M5+FFookYzgmaORFQFLF14xb8pNdCisDZ+LOy1Ap
NPemmwJFBylNmRuZN423uliVIPmGNqrPp16bTxUonzkcRXZdEjowAog16aU4mQ9mXx1K3OQCWmIC
Godt8hojweO1X7mTmwLsspv28yEa2/8B2KUH4/q9eFPsFQsPLxbmpk8JSojLMa4/alq8hgAWixoN
U9fKzCHH0SWzIo1nJ9tHp/Wg9aQ7RXVoPShhdKqN7FjAtKZMJWTmYiBWTnROlES75daZ7uNsCd1T
q7p36yI8dCJtO6qNtJ29dcx+zZA2kuZD8iws5H29vs+68TQTmgr1mbA8yNvmJjF3y5SP6EZ0xOjQ
Bm/GjwVhhmaU/GLtFXhTesM6eDlafJOLWf8krdbpIZG+qN9iUGM57qaTsETnlUH4Z6VggZPqPd/C
fQ2BmVUN9OXGNB4FTEQFyZiAhbsUtYemaralAgOJuYPHh5GXjxTrvjBdp029RFACcVvP4xwwdLIz
nK0TiWXy3eIJU5ZrjL/BnLNLaDzbBXUIvrY+L7wPi3ik6K+8nnKblacE0lAvgPsxG2AyiqcK+50N
OmkbT/WAENC6qiz9lZ4OY0e8C6oArULyYs1OYTUH2TOFH/52yWpy89aj4W8KXJA1Ow8DyRtogQuJ
PMF4PlmQ6c152wOAYhIB83b5SYn1YovoNTVwaAabFYTlBvsyMzEfMI+OCLuVZE8xPI1lfYqXi9Qt
SB/lDpQKMtgIQ13GcOD/LzE5d2nW57IMypJ4NdWNyp4uZna1LLCiPNjSIUh+aJ3xL9dHuOVAT481
1CVGmr9fMwIZf6ko7oqPZt61VKltjWdSOGEPaSvjppnshxjVuZ8Yw72mVzxWrgP6tGTNfOOWQQLe
kJvsUpYh3SLYuQi/USFcWpGDSSHypPqnZ+OuKJr9Og/7tHQQJDACHrLkmZGJXG/dsQbFKqVAQuQ2
ROjnu+OXIUjweAjVBuXPSyfDYxjP6aKdz9IBWIRuBMsCCro23hlbliQmLhrffwH1BfJUZIeAphw4
nISuz0i1C2E6md1O/rKS9UI2U/8/tTpOBAqlqYk9mswjVu4llUO4RWG7l2qLltP5laHKbH5+Y1zA
goqjv7rAvHXspMQ1w9e2/lhEcS9m9UGU9IPdEi/6QzAPSgWdXMXNh+o/M0hEptxRq8Yrg98FBONL
OSQsqJ2hV4/8SkgIjJlykWu06A8tU55dFSPwD2YLCacmB63O2L1SgxEOmkzx1i1BKY7BrNNBgVal
LRlqyy9V2S8XDsmdTESkjJTa2Ryat8AEfKZVPT0KDSSxJdZqH/GmvSZDiTBfTTPFbrDcOgJL4T6u
AwNOUKIyOQt63x3MDqCLHhOyMe8EWhKYqXvVyyflprfb1RAIWO5Iljdrn02dCvXXwh2G7iNT5JNV
XVPlbgBqV7dgwOlFZyGhprMz8jxbInFV/R0IkDuzeYVK7Lb65gO5fkU5LghIVgmF9XZpRwpAlgFU
dVgx7Kz6k0kHs7yILYFViWPM7GCg+xV23rf2m2KlvZVqQun+jdtvxSDWY89200Vk6Zbis/rC9Hwk
gwbByEnz38qBY3kEBu3y7dPEGS3XRrllG0VxaPX+oIx44VfxENOZCZt4kBCfiEuLn+faodywsA5n
CqompQtlChDpMcwMrRifLsRhim4sUEaWdrtLgF8ldiqGKYL0CFNFJP+m0zaTb4N608AqMvFnQ+fE
d/yNQCyrZw+MRLQbdzLMshwzsRpK+n9NzdQ9Rs6SdXT8XonNnUBz2e/k3Dd5yvcW36Sl7Zlm9SHL
v+j31pre2xy3qrg10uLy03J222SXsiHIC2TNHUdoT9Kvy7Zvv6bivmTtaSg9zW+6jxJE/g1GP8VO
jfHEjuzYhYLD0EowkM9wrBnZQzsPwfAy6voNSiqX2QPZdLcrcFnzF7J3r8fAnhNqtLTIOp7yyJL4
OpsprK3lMIxI0vhTEUCxk45z3R5R8SwU3WVgCi+u+y6uDix89zprTqRLy0AqigqWJ4Mi3nueqUJb
yFGcJb42cJaVtdd+AK3xe7p2ocvO6k2OLd8Uchr+MVBz1Erjo+j6d3JDkX6jIVExLaQAqbf0mgkf
1NcHOW9vBmFj6hjdGHLnOJQrG5RPSXRit5oshcD4b4wCjORinjHaGE32roK9YNLop2N5Tg7ranD/
4c3Qu3OKqCYpeaZ2Erm5kogHnvni8I+MdsRDMufx4K51djUvMpQ8qWahBSMvXh9Khlca5XNirGEe
jyGlW4huPRntN/hjShNPlDoa4PL/975PLrEQoGKsZrHXjO7eS3JCnheDoOIF2TnGEBIvUVY0L2UF
4aRwmpDAJZ/rVcZKysaSlAA8JLtJUU7d56sFYi2CxwcIAJMGE8ht1cG4OPUEYdem/J7I7ClLvqqp
cN+OpHyW6BxL7YpcJ2WBEytBIXEzqRUQOb65qJQccYyCNZEDXrTpiQKiIEXYof0ZAb3lv1uE2LQz
RhbWcNaKJr+xEgAu3AwjKQTqK4nBiaD/6xvZkjJJZ0DnG3qFOXgzpGrWFuOlo0GxaKA8pLyLW+DK
xvda/mcJqY1YSSyZ9nC5QZh10sbVMChORu/3yiVtTjznRpXhd9DpXFSnQLX5RjiVJI8Rs50NYBE/
ZOOVL/Uhi3adMvvkeOA22PHIF2iHgJ7M4mG5JKLiiHfKAebbB9R9bgKuQrq+rfKoqowcVZfqRQEd
wp9owE/EnGdQfaWJyAgD9AQsEApSPdl1JDoZyLomBps7u/DtOzT8ys8G2T1Ch6pM4GvH3ZvSaZup
6IrlzixUhS7H1O7KpmmrWuvGydfGDOz1icDKsOOISITXpzL/98WSlzqcdihNLupsnMm9PKdWcm7m
njQxIHtbdFz1kq9kpwuXxRjPjagBaUuQCJFLJwnHpSEsayuvZsfIDuAxRHzSGGZyuCFdFgBaX5/C
qCPzr/K9AR1v6QX4f4OX1a8MNu2zqoNpsA3yYGaHfJHD3pqqA68JHTs+2WWFy17vBYsMv+wppxTu
qJdZytujAKN4RIKB6a48G8w69cUMPSQeiNG9ZVE9XjzaPjarEKtJcebVs3tj/cT0EloGsIsF9aeI
vs8ZKx7nzfjIWu0jTifakMipVkg0kupmGqxxYXhYRnYX2VjWFG7qTHvPh1XTbBhHWMHmyB6vg52k
QDemPmkJqSUP5joxytaIEIB1G2aFdEg0bT+1E9AFZ4wZ0umIGMbuZTFG4MFGBsQG9tyiR91JqBLP
pgaQJY3CZP3C+/hi5AABYdTk5gqjTh4yWcTrp5j7YvilEUVsxftULam+0OctUyC31X7kxFPW2u4f
zYYpgHuqa4QwVaB9D8JR/GwR8S9MjlAYmmCim/JRr+NZqUjxMAH+AofL2mMxa2gZiVaHYD3jXNCj
/5KJboYtpjRetAY6vRida6h2JcAQjMd4MIVARcOhacSKaphtaHCdmiBtAHHviSq8G0L90QvTx5gf
Zfq2vtXQmXnCzEhaohZTzFCxOPQk0uFbSGgj3L5U2gvVwyze+SwICqwdmdBKsPtLc+RRbyMQbbyp
I3P01BmxVvfKPWc6F2HubTrmLxrRtmhWe+YUIpdyw5k3SYbbwH4QLSApiJmkX7KwMY2JTdzMraG5
8brTHSn+iAjeYFgbvOYqJnpJxlBneAnCoRBf2XmwHmDxWT5uZ3spQdCruvNmSYBLcksHLTEI6F+k
/dZwo7K0lZBYzGehwu7jyG4uSaGRtSfmjEp6XObylOVtONCvRcXF+A9QAYkWbnlD0I5vO6I5eFWM
rffqBHe5bt3nOIUCuQUazc20IqbXCW1nGimwR1OSe0Mc7aAZfgK7WVdRniP137J7Nws31vrnTASO
BS5ptee1vZiHk5JPx3bIjrXuzVJ7ybIOb2FLijMDPD5y0RQOi8jH1YF7SVG3eUCMWoaxKchO4akB
dcNS/FL6+piAg8EsArKmggqN56afk9XY90gJZjfWrDsy1bxOf+kZ8+3u3OBerGP5NGQl5u7Tss6H
5jNL8j21GWFgQY8CEul6KCsEvpnUpsb2YmAE43iDULJbsIfhdg/wSuwlv/d+54KfycEIRSXFBrKh
aStKX+3JYu4GnAcWzKDxkCE8Xhxl4avTPrkULacKi0rdr3+QvfvsWcgcV6ybTlM22ltzyo760DAk
Iq+IA1glmggzrDm+a6sE8LT0erQ48p9y6byZSEgldrvmObysxPToOVOsECWnQK9W9S6WkNNahQxr
dxLeEdQb+EFcYBhFe5OYtsd6uFms+71Mtw4iSyg1cqdZC04AflwRhysDqOwAyCz+URqZ+Uug35h3
eZgKEEeIYTMi11MHV0B7Tfmz10nVooXjHjB2/b/VwMsKv4KXvV5EprlrP9gDNjq5c+GwY6Wcoc8t
3xbfiCVhZrQSiZV588YhyE/Rs8+5/d3G6L3ok0dHLCynVVRGNwyDlps+JHeTpxsPQy/Sh1XZMVsQ
3kJz7N0SdUZS/2pnMAyrXX6ozQfcpN0AVlqQwq+cfxmc8jEmAjJBsYSwl2tjt+DdnMOV8kmgz8iU
v1qMdbmHKza2GCimAC9SwJI3ELdLci3GhX+vcWNK+4dhXBSh8mBsS/q7ITsRMv46mnzFOphtipPK
ctvxXSJ/upJptSmFNkJYN+nvxgHST5rLEBq5OAfYrmcsPh+yTATooeNkuW0q7FRsVjn9L6bWB+9a
wpteEmlMjSp4cukbyL8jjp+IpybCI7nF9xkx/KriJ6rCxPqZNZKtUKhq5GMn93Ui/UMj99acXIPO
uq4GQi/3xoUEw6CB+1EkPxub6Q79eTI37pKyfGXqubH3561r4oj7BOMdXrIiNvi8t0G49NlwhcuN
C3wQjFP+GtvhoxRvCGNNYimN13bt3GvhxNw2zw99f08JZZvRMXHKQy1BE99Vvxi71qTzCa2vvF4g
dhx3sWwLPegrdZU2Vpd+RQQnFNq+Gy1kc3h+//EQU5vtjAv3qfpSKaRov9kgtXwc/PS8TKisjpo+
HtUVT1bh1i+LokQrjfIhasEk1aTTYRfoSAKGXjrXbrQujmGrBqYSzbSdfmAcWV+XBb6p9GtNwSet
nI93iWHzKDS7sq8Do8X1D90RqBVTbMwQjb+ipk3zjXaW+REeCPgLAswN5njqVU3g6gFnyhbktPFO
/BYYIs0geNJ/UT8fUXWUrCs16a+RdQfirkJ1O7EIsSDHaSx4STfnTclWJLspYJEUc0jnwzaE+8WI
S+WPPCHNHhQHc+bqRuhviVdceKBXtCjGsmtxLvCFHkptL7W3NWnCWReRWBKTR8MzHLJeBhyQEWiK
4Ts7tgACerot5hiF9mQl0/2a95Lbk4EM3NKr/4wGzWtCil2HUaIodxr8vmTliWQyZvLNkKGNj1CP
iFshhOtA7SeU9+pm1cLT6GDx1Tqew/VzDTEDwF3tTtkN5iuXs80dA+0fLtu3qJXh2LROYZhgeOkE
DL/5uwYr/0xmk3eb5ohf8F1F+R2CVvFX7wTHUh6TwPujsBoFI1IgPwWOBH9i8EbQC8Q56OgxcaL4
AxRMnGC/2k+l/WYWWCYgpaBqqdRbojSgGgCIYexTMJIDtBn1nsQygtMeVI11Xv25gx9Xwu7E1YPj
36MAoHpmQwgAgGhT80WHI0mTKIadgngAsdouxeu1EpXLEQyDi1BDRs8b35SbrMzXrAYsBJbuixnU
ylyXs+kgXYYEH+q6MuX7k0SfWY/9JeNpeVdQnDWcXTL2SpGdlzH+iLkJ1bi1m5qCCwcQI8d7If0q
iICDYRXBGrK0rwmdDwYJ+lniGGTPKMu9eVEA8Uss6iqoAg9hGj4q4doqcGGXTyxVwnpd9HD5Nyoc
crx1qeWjE08H0A/0hcdFFnc5uj2a36NVADk395P8jNXfPQyjLPqUFSZDZF8Z4z4afPaoZyUfL/yJ
pp+itW59++yAELWcwUklMU6MVCrXpLOz7dQuvKjTsiHRigDfcSn1zVO/YGXYYuVJbJoLGdt/haMj
r2qjY760p5QKlN+q1EQOLB58dS+hgpdzmVt7chTta0USVrys9b1M+2hP2aNG8JY3twTxAVTVcIAN
sGB2SKQDCm47GcqLponXfjeiJa4uHY13bASDFvaM2PFyjvzsNlFtidGxdTJBa+gkAc4ClgKJdL0K
thKpEBiTKEEPWWse0rEKM9IMeqZ2/yZuvWQ8jXyR8eoxVq+ET4sh7NSZB5koWjKCQotfZpGEM0zt
rULkvz7MDX7arhT0QwO8GjVJwpec9U4k/c2Kv2qdsX0fZqo7FqYW3qk1C/SXeRdpsSSRpoEx0Fid
IVWe3BLvJf7KjdBFAG2bs9bFgUJkHvE+K62b3CNDBnIsBW2/BMraBvCWrTV1DTHIyEYX4TI0GPM6
8jd3w/gjtG2QtFJQUAP1tJMxD5JmjXsoeP/zyKcY2Qts4erXpvbOZECkN+JAY1urLrkzV7HT8bE2
dz6yR0TZwiSnSaJTUc9nnKhQf40iVA7zL+tHSJ6j9BCEiXIOnD9QkRZTjlwxfGETKQ6uxVpn2Ssi
NKAGx0BgsPfiUfxcxh+wE8lHyZnapLMvdsT0Qrbnglyq+ZzxDg/4PY5yXFCEHZhrwrkhPnhmyWj5
M6vhl31gzFl5bNgIMukpeznpRSqjTBXOUmjykyKkRMVfJmOT1jsGIh8qTV04FrjpV6qCgd1ixwK7
5JYl98ZTfB2I1vRIdfUdGuOEJVQ8rSK5nkn8rqzDe9Wh2BROS/RIGJwyTx2PaZvtkrQ5qwTGLhyU
WuRFueEp9PlojTXilRX8cm+KTi5RZfAfKuJrlJjuCLRqBlolE421PSvUNi2GwISt34zIv/scxZkz
g/2KhjPk0uazzcAK/zdG2UH/0CzhSqfk4E01BIT+2hdKT7tgE8610ysOpYndaGE5PzLurRGmxpvU
pJm66qztJImk6PIPgdZYpDLvreoHsxJMsssbQqeYnQxb4g/5SbnX1uKzy+5BHZEyUTlZhkhWk9Hk
Y+lgcQhRn2Jzvqbo5ziqFFtrHkPLI4LsGXCTRn5IVOPyvAkKyW820xHqW7LOige2u2FgOZ0d8/tK
aygXtmzsGGA2TrTuYe0UsQDLHXMeXxSVOCENppMMg7q5x1H6sGr5oXwVgn7tmOz+lob1SK9wHD8g
XyuI+0v+51hin+TE/w01UR4zmo65CdblX4mRQv7s2c7O6o+Z4j2QWvpp7T5jX5mj3ZJZoBQZNJlq
kMhiAAOisRaYaQ2DEMEbkk9Zf2e0lPcHrEc4XNuJSfDL9s3XctF3fuwrQ74z1ANKgTb+naBIbSNU
WO3II8jbNGVfLAJnXUNH8BNPoJT4f9dZQkNC8ekIpFIghuGhRfp4TQmiYPGTlJKvdl9Fg+uGUSHP
CNARXrAnY/NQ4C2SMJDUwSDNpzyrr0MI4w5qZGQAH0LAixFL38d/5dE49C9nz6CiCQGLRaRL8lwl
P4X4xnozGIlMxquJvNpjeIDSFvkrn2sK+XG2A9PJEnk3MJfXrWwPBWv4VY4eweC0Gy1qEA0Xw3bq
mvaIw9J/02S1nouBU1W0/sg4gguspXH9XF9AyCv5eKe8JP2D8QcDoAhGmtAyMTMO24oijXr9w4S3
XtpE52hKd+uAC8D8irVDxee4MQwIedxIGEjSY5qSf2L4b7HWKTjYUwCL1kecoUrm/dS1KykkH2ov
vbOVw6BP6p1YwHK32GNSmuXgHBcLw535zM3kkgrrWaf973SvGf/F9VHIvwSgt4WIyXk7rj3Fbuws
+RgYA9ClGirI+nfsf3e6cVFbR/oy6iVoW+LHKTd6drlEBE2OOVPyKhxApO0st6mY6NOtdP6YPyCW
yOyT+gR+5Ur/37rqd412MF7dmKOpQp8QYVPXsanTY54wcJyzyjoXcwv+D3Tokp03VlOeYJTv2pC+
k4uG7EYMsNhg2CLKL+opB38rBXM3U4PrB3bkxAF3NFvpnGgTudw0e1Z+t2CpFpWAJSD5aBb9Yw2X
BnpiWu1by/rsZPmTlNVaaJ9jGJ1ViKtWduD3BSpXGrw6e2ZAp6Gyrlik5fNDRbyn7tJjK6O/aMSD
OighDrulA0LFg7ZeR9TXJVH3AmefgOFN4Ov9lqrdOmiNMKImJ9uD4pGMXVQBbc3DymgkH7mp8IYx
EeBAlK9vjAi3dE5Ukaofax2pXzjGcMTA+QM4IJaHiOY2H+46Y6sRToSliSe0SQI7rWj7VZGnri1n
JPG7uj/Tbo17YOo6CsLqfZ17G5H5M94xVtyPii2dae8S76UbAlSqcyOQk67jnF/RpBksu5ZiB+Yh
EmGi7JjVsBYMeuvAXzIkuYGVYwI5kiZUwK38VuflSqTrInpmNdopc9DZYphDu9ItWNEZCOrGLi5W
VIO86xXQ7u+GfRkRPPrrS8hcOsG51a8EmvRlKKQ3KdUdsouh4JVu1j4mXPqFcqlMagbSRumBUkND
CHJMYQ3q0KpsTYXaPRJjXpAtX+zzlJdMOlXPUSIDmMKxACGJR11fzj1JgQK9tUT8FLDHlXNP34Vq
f5Xli6VzYXvNPB1h1+C3/Z7Ev2Z2ktL//hgwL9fkOfe93cukNf/a/vSgR0kzsqw/DJxs+JUb1nxF
PsPtmf7kr5EoOLjAAGah5d0+malvcISKMiWZLysocKJdNuRPMMX7FJ6kYEqhkD9E+V8Xg5krOXPE
lnRmUE7I4NKM+SZURLeXahhzuGf3Ij8xH0/pSC1yzDXZ7ZSLzNj1BSOQH0uWXmcRXc1/Gd7XzE7Q
IVfe0DYOytIBSD3iJZvIa6azvjx/I395HUkDEQwa5Frgx5CtdAR2JeRXkftARgPN8Zc85el3Kf7E
wHL7eQNHznGqmP82oOf6wCiEbUm2fI0yh8BLRRwdsv+j7Ex35EbSLPsqhfzdrKZxMZKDrgLGNzp9
99hTf4hQpMR93/n0c5iT1ZOSCsrpBAJIKULhEe50o9n97j1X68+awmWIhId3kysi02B1BTv20/O0
/g+DCupQOOW8s4xiTegpYwtdfYZrjqKssMjV4ycc7YzNmTpcalKwUMZodHbKJm6wuLEp0J1zo2f8
iu16EI+ags+0P/7yt//85399jP8r+FLcinQKivxveZfdigiG8z9+MU3tl7/xjC5/7/32j1+k49hS
lSY+VV06huTNxec/3h+iPODLxX8MQx9NWVmQP0GhIGChYz0OmQJn7AdB48SZx+GKSUJ3yKboqObH
wdLOVVWsQdNvZ1Nc6sK55HDuETpn7Qs127JDgsZmwB4R+uKlYJdj1V6BD0CzBQhhcW2q3/rB2EmO
HQ7J1kXJcB67dQkGkDS3CE0veqmN8XFMaopZdkH6aJFfVYmozkRUHSKqAR2nFjlDE2CYqgbMqQIP
SiQiefHCbW6tYmvnpn1y+u440O3dcraGpjQrDL5Bj8ykw6f70hECXQJQBmTzkE91hr+xOIXq1nuJ
6dpZyrHLU8l6sYA4JaQIPP0mHIkoH3bGHZGBTPQ+qbEN3t8WFLTKjn6pDPAbMhJL7v9gfjC5CuCq
Rf6ZvfeFozOgKulJ5VYsOCqkSN8nItu9JEPtDni/zWQ8KLhisTEUPGLKdp9X5Wq1y2jAOdPDdikm
E4Afm5PmnKA3OcNjBrQvdYDAjlcnnnBaZhsVAkTEy1Wy3aTmMfJfS7Z4CfDEabXpgw23NRr8PH/I
DsnAK4uZr+Z42bCo9mF5qsjKz4Dq/HWj6Lsu4/6l0FDPmzVmRqIzI4EMSs/gotxk5PZ5LwqH8+2Z
tw75e4dnWEMl5L2Tre4qJSYazFc7jfaqc5uQ5CamA7HWbjcmhiAJ3YVzQE19tk11Sk9eQR7LU7dV
Hhn9H9TypR3rk822kq7Gx7zWHt8SQHX6LXoIQ/VqVxQZm9aV7FOnSpdJHmYPm8K79NxY2elTNTdH
Ra0PrVJ5UcwRahstBVOacaIzQuvV+6wWj5pvXBOd2Id41vLxZaiLI7DEdbxp2ecHBat/TqUlPZZU
RO7tOtk3YGKAgzA3oQjojBJK9HTQuDjY9IVQcW7cfyiaSkCG9y7c45mkrR/Qh9R8GvqB4wXoFZDq
hQ8vcBCeg0zJ7lJ/UKvgoTGVm+jklbivgwYKHXndGenBj3jBsmb/wVZWmABrxoMNohRH+UC6a3cr
YIgGtKQhxE/EYu5C/XWcWZJIz8KgI7SdnAFwToOyXbV78FhBhrcnUs/Ugy14znR2G2vBn5c761l/
iKwYKeHTPOLgOlIRVGmnj/A1G9+StcBPngAxMUqwTZwhK9QGrOi7yngIMhLJvrp7lasUv3Hk0brn
KKesW5tp5uV1xOpHpm0DWve9ZPO4WOKfQ0oUzXO0/kjr2M0L6eZEsMJxP7P+TKw/E+tPs4EZhmEl
xppEMvRfPhq6AzadbOjgMO8ME+8WwI+lqJOaBpx2zWw+hTQGQS8D9Z/vplOwJuO2ZZC3nWmhC+SL
Y6VuPRZnX2G7upjVW21tK/ODgDDCyqRz9G3Jsy2Kjp4cQLC+TjuOwBhVtDchj6k27SLjSxynexVz
k5jmNRlybLuVCI/YqnEwKvuFsZN+EUa6YcuhTs0uODFFJS9SOhwqiFSSKFSYlcCL2AUEzrDi6KAy
nPMpRLslaqTg4B4PgpV1uA/leWLwUW/ZgmLH5YCJDTFEMvIt+jV3ptGwp9Khdq3GtR2ZL10mXw0m
H/gbGmOBVgGUD7VjQYeXr1brEf9VzJ1lxugw0PHXMGpH2CT7LF0wV9je9gbK+6A1u0XEoUe9Qexu
SVyclE9pFLocrF3yt26MAlCau3ndm6rX6tILWehiwyHUSO0qsPGwWeUrkVIFWyPfyvLQW+VBl9mh
ZfUoZ7kR0DCCSyNxvNNzHTMFL7Cely1NxHIEHG8DYPD34qxH+CVabWMzghZNtQUw3mg3q58Oc8HZ
Z4yeiq56Zj+j1kerEsfQto4h8SgjTk5LEtawoo1Pi7xhINFLcFv0A3km1hsm0jTu9nvELzAeOBNX
MR5YYUdYveydnhAqqtwNIQcO1jROu7a6NUrhdQSwoFdXItr8z+/PlrBQznRTSKE7pv7t/bmteBfK
JsIoWAWe2sUHXPpBKRmJgYaW+zJ4YKklYwJwDaLUWm0yyBHT7yyS6mvBtTuifUKD3MzVG9Qkw5B7
gVpahcR6OTnaDhiAfDUo/WVgWKKjuTh8JNkXDX11znXGty8a2mIZmRDNDyaEo+Sxm6ent+A9s+cL
yI9gCckT4FO05Jp60YVs2kGt6e/R7nlZHAo64JoXjPJY6jQsdTpC2bj46YJhz/Rz38JgxKXEQLsI
BrdQbLen0MV4SE/HgRFOaOwVItgtZ9foeUrMuxZOD9z9BhvwbYcbGAidufAU6xUemQcurU2K12Cg
jm8ZvirXgJwP2Uk7EhgJvlrlKjxb1sCuOL/4zcqBFWvTCRJ8Dt0mCo4+m2uVFY9z81LlEs/WkU6d
1qBsRJQeM4a98KQQbonYXmN8UDU2aSRHjOoedvbCImKIFzKJV7EZItLSbqIyLkzLyLVWwXuAemu0
EjGNqh3ivp/guKwM9+wYHwZzUmzIGYcKn9sD0lam7YaB6Q/vrbalTUfyugXtPbpUeJQIa7yUjO+j
fNv2oyvUW0+9Kyb8bbcwGyuSMsZLJJQD5rQ58p9KpdkBpsrDI6aVg32wVEiMMyWffXGyg/lIBdah
u5yTwT+Lpj+1t50SI9NMm04fNjVUAnOCUsW2b2bg7iA+Mjh0etQHnQIJGlCZDlbMNeLWFXtRdDct
sm/Eru6BeUmz7gTj+05/5s0yiEnLa27umaKfdEFBbRY9xvi3yAqZofMUKxscv+eebY9hX802uz1x
cLpFdxlKTx8oQeHDVkwIQQzQ49ELlvfu4K+SiCLC18JOMdJ/cNa9NtZ0KTtqqvY0m5ErGS5q/hwE
NLOh+yrU/YRXv2Qz/vJK4S3m4E3PSjxbGJ3wR6BvsZ3QdCzCeE4p4E2Zewl8KAQFQaAtATbaA3DW
GqSFCRigRoaX8H2A1Qi78uDk2AED7WjmyCHvQemzByb+Y7/JfnpjAPSa229t213HdC9pikTkhP2T
q6epLU4VzqG06wkVMqkim1P3CV50xQt7g3w9XsGm8KSp7IPn0jYPCuXF+vAx0/IQ2OTUCFc4xJfA
os0YrgvQ0OUW6r5Kv7B9ASyyHw+c7gYs1yqyeEMvZxee1HI6zcwGhDquMY5uTKs/1y8sHDZssXeB
8KRKsFxQsdOcDxQMTTkkGYIbnkHHUtzG68rg3NvDqaewldaUtV6Vx/JBvNuCoZjcWU15dGofyb/f
OPQoWaCwy85AJ+7JPvdrwcDHX49z45EyirjrDOuqynb6xWLuCAQe+MnN3IalgRsBEyQHewduusuT
A8JRYOU8zBzap/bM1usYnYCCRl6VYMBD4GZ/1GB3VWERKf0myq/C1ULMA/vK8lb6WaRfeoS/XL3n
deFWH70cCO6t2T65lVDWUU1h4aPy/DrecRgwdmehX857ZOTwfRuh6SKT2w1VOliF0vXib5CaPCRt
DoplPEoVSHvhM5jxj46vHMGP6Hc1xEMuqnXOjW+IAYHrLZVJtTsN+DktH37HjZNOkAZnmw9YxKfs
qTLGs4VhUzLqEJikk+pkVrfSmdzYVA5k9w6ZbGFTNO2TqilM7Ry3aeM91EDGZ7o3DtMBbvyxH9d0
+qz9Qa5wQU32PZn0h97pHtloPrI580LZvfUx02nEoDlM3/pOPlHhUwjaOe27NMM7TIxbXciLXTPU
X2kBUtHngHJFvXO2hPlUDgwk1Xfk8o5jZK3MWxkaG0kVZ7dskWl2K9kiZ8yDBcQqTb2MVBW0Eygl
dT2yI28Vt+YSzhgt5kC7Sih38WpSG6LZ4WMTzw/hQkQ4+kDDlGYiSuickLdAaRLAb0961x05zyWc
qnrnQclgu66VIyyGn9+ZhS1+ODnDYbRMYav8Z0jV+fbOrISz3c8p1V5BNx03Z6FKHMgXhcIsyGHk
8tHSz7P/KSULw0q+lWckZH83YkEYaQzPGMsGu4CZxsRhUmUoUC0Wf4RXPdnNzB4tVn146uaoHhj3
rAY1fWjG8GHGQeSgU4vwVHTmcfcpasyDoOC3n6Lnqv4tIKpslSV+OAaQCeLhgokxFicqm8xpM7KD
Hh4U4spzaW6yPNnWFCV3PrZpFnV0NDrmMK41HfZv4ozgjGzcTwoJEz8sXIy17mxiOJiI81IKnD3O
UnmokeQ7Ap8Z554uejCd9j767W2IWpbg/IJ2XEJmq1NAmWp3Lvd4AezxkPM+LbdsBynUiOgJrbwb
dn0FsRUW23qliVNH/BLyc2FONz9T7vbjKSx+w5nZVUgNB92lDNzDq2YDYtTA+obMk6dVErh5mO/i
ziJFSXQJy4YDTKDosr3ko+pB8ID0V9NwX3md9fFr+65BuHd8k7RAhb8UZscmmHG+DOWu1qIdvjSi
B/NW9Rm2ljdgvJe4XGoAMbtp2SUxo1uhynsf9Y++MR9h/uOZcG2yNoFuPpZkbRxtfMqL9qkJ6idR
kTcHWuVQVNdQm27eWvBVA1r2RJdLzBF7lhhKfAPzcgcJgqzVe0JrNaFMfLetdvn5VawL88er2Dal
bguccULVvr+K02qahiEByzCiSWmEdcqRxNxW/YSyuaKF0vdPaYtunOXHTCtPQ9KcFfEVodMtuQem
uuVycnSEpLN5wm8bXt4w4uvrs7zPGXs/uz/EQj84pjw4zdagRDi3q0ubnODUrEaItvIjpCWaO5EX
q+YGDacon6u0esLZDfD0U1hTKMnQm+6XKIn3U0zWhQ9Fh1dA0WyOr0NBpRgiENEDIa9XIVkj6uiB
TsSWArAAq0IF8jCC34bDlAhrBFi1RbUlBLRwGUmzgdCBx7VNuE3M/FAZVJuPwKLLFSgJt02bvXba
WNfKLO5y2cM8aVbxIosbuIZHeHO4pjjT02AitOcom56jB6oUMH3jec0jDiTRIX0yDtjxjjVqj9Ik
jEiqrcbKLyN2lm2KjbXdw2cOldy74h6buAdgtM5mttUlgV+cH5a+wSi1zcmalgX+71WvcBcjZUpg
6qBkdxWCmzTxdFAKXF0aVV40Ko/bor/WIWtR1l+VAlFRBAQRwmuAEav3qUov4TmFx4YKPN7hh36l
/WoBgKh1fBq6F3EhqtRc9aykLc06f+SikCg3Y0shNccODN3Adwm+C5fTPxMze6t8qmD8DW/VRgHi
Y8J8TPBUJJR7MQFKrXuaaw/2NfHi/KuBklriYUgHGgVxeGiklWiV8Nqg99R+8AYNOD5WpTB5gwH8
ajDKT6svyMc7NaKHJJaHaBtf5xUFTVSKrjPqu0d/rwzwypgOmsJiMqijN420ijf7DGsZZdM1vVNI
dGFYbueBskzcwWEMX30sCeq07sKIFr2zJ0kcmbMridqwrfhgf+AjLrEbPLF6hZqHErIgDfE1aMp5
aChrDJ7gWZN6MEk9RKQeGm7g1UnByVBgUNB63j94BUTebsRXtXOxpe3nhOgni1Ey+u4AdkQlFWca
CyYudxV2AQq3tJajk06dNRUN0iBqBlyo16NtSttYtcNsvDWceRuC09PlxZxw/sLCsAlmNB0ddq1O
VyUnq4JIoH15BF+eykMfBttYqVeqQTn0iOhORoY7Sp5MyHzVrSqymyPVq1a9qvQBpmp6ql7tsTyP
+KNpGKGDj/bc3Dhow8nK9X0Jd6sWjz9fl4S0f1yXHEQYTVqq1HX6Eb69uzp+NcWZOWNao2GRAU1L
2bh6F8yq5JmHt9ddhBGEGnBupswor2NPftLGc8uJ6IVKrzf8SNB9elQLwsnrcr41qb1LXugYuQZE
sCAT3RsiWLnngLu1mDg4tJvmGTWaz7ZToLOGZ5sNeWFkp9jWj/Mm7WxPlo2XhajjKa88PAtHH11t
suGbUAkVNu5uJyqDftbCxVeqsO1tRbFPN8g1B9kXx7KSxwRaXtDMp2CujzAtJQdobRg2fZGdi3Va
B0db9w8J3LwuAy4fNLjOwgMXE1RF7KbtDWq3X8IPsC/azadqo9lOiLD2iUZUz8hxYLVUhv8mEKc1
dh6O+qS3+oXt5gDXyF38nuEtfHF4XzoITAXvyx5JLtWe5gNDs3SRs44DrUPziJCwvPfvXZDfh2h1
6evMoyC7bTEfYzjQMPZ9WN1wmeLg0kbDWe1M9HagBJD1c9h9FYqruTb6/ByClObPO+GfQMYoqgtH
i9U13kwSP0TBsa7pD0ocHZcbqJonJyZAvfGUMGaeSWXOSbJKbP15jOWzms/PKnV+qlNxL60ezdsU
r+ukOCpZdGpEeQwqWuc4JND7VATN7q8uy0Vu+XZcYjumbejwS1UVWea7y1KhzET4usBfH6pg5ldy
OsvW3JLD95KvKJExxtQBIXTmumsxlCFdGBArmqw9jbWHKVhxgusYDfBrzkM901Lin00mxE6WX/Q5
vuTD4DnqzbHbbZ/Cquqb86a4hE77SEadclCFgmTgONwwYvhGoAx26rhRK+QAXEaJyh1jbakCOHV1
scfmNg/4+fzL6qpn7Ke0+pyJ5NL52gUgUkLMrzIZk7y0EoJncuur7BbUyQ3cyVXE/VXG/oXe30Te
MxzOs1F6Xdhe4wb9gZdK2nuS8XtsL5YFiz8NOK95FljwmS4UoCNMQieceXpCtHkVGcmppklGGQs4
dzEsJ6KkeA4jEn5YuBgA19o2xuHGW83F9OkGIG3EtM/fZXEN7NId+KjJaNQfRp0ceRH4mWLyYu3N
KaarqdobI/M5LQ9nza9PgGZ4KkaHc5/WbxsM3o2Nv2Pc27GzG7XKNTvd5XZa5qzB0z4snL3Q6UOt
O6/HR+k3cJFnw4MyuxbcWYDoDfGzUPynpaw+DIIn8idU8KzDZ+uGOwy/wUoEzU3lSGPA0MeraZT+
dRLqRcOv8DmrhOdLsacZhcTo+ufXpGb9eE06AnHQICLORgtE6bdLZV4PWpTnc7dpEhojD0vHZQ0d
g/ZdeuMR9Qy6FfHEqS7GSZ2tdk9ukbGLEuS3Y/uW+uMlyr7msX+c1m/2OWKZ7N9iNbn29ESlkEx0
UtCr6N1BAHjrtk6JA9NttjEvo38+9oN+NK/OowmmhPunFnk4M2kbfJ+Rsg3ndSD2GhmjN3/0bxgR
zh1WWwyTzMoOSLUATUgdONfipd/karxTkP7orb2MlrikM5LfW6gkJ4uPAAtSRjrFWQEaqNaRY9KH
vOpPie5cBfzFqtWxYnwt+SYNE8dpto/1CWPkDLFV1fBIaa4gtJxdMGnw/es7/dNeK+JLoclzpRJx
MGFMJdapTdJTnXZHkz57ChuqqzU3bjXaO2aBO1gO2yEq6e2h9qsvl1W+kER9Ffp4MZpwnDsEwjjQ
3pdTEcuROnPVqWKJ7dwunQhcEHtP2HiRllIoj/5UGCnI5+Bk6xa4jOGYm+1+4Uw55mFuKyCB9EGf
ocISIHZciwmhFpi76dagXo0BnCSnd4u3otOvqWLcm81Nt3B+rOgjDAGspyNIAB0gBJl0A/LYcmYK
hvrUJfTHGww8UCcqzHtDwoAifEgcnO/ZdiCs1VqYvLCYt+9LHh8/oBoABNfpkd8wQbz4cr7OE4bw
ZRQezDfmsG6D6X2yFXKniKS0N82BB/3Hi7lpFB5vGBTaRL3xptjlhu5Vp+X/FBzWkqmEDhyfvJIb
hO/c57oASwFgjQKwxoyHtAOsUYOVVhyVEx7wpVuNckxfraaKV70NXvUgeLFz8RSi00Q4Z7aC2M8w
J0ecCodZCbxRIpjZ1UHUEINzufE/i3w66lpzCrXkbIcw2yJ2zQbMWjZCNPdCn4jdHs4Ug/BheaH4
gEjjMit3EbBIvVZsrsAGdVANiFzMzxYSFqFsrObBA1r4tcNFFtbez9/qBFB+uP04pmZaqiM11RTq
70vBn6b1foSi7+RIT0ZKognSGqbmiJmVLlYx5tWi4PCvJ+yiYXpU56L5rNCL4oCizqn3GWt7P3yd
voL5eiYb+mqJ6FUfkMjRjJMH5WNs8huk0kNdKV7ZmJSExbfR+TyeqM2ak5f4t7Ig6LiyDyHRDjXl
NVbA1S39mJuqTO9aM111nd72ID9lYj5xPqkwagW3uQXUds9sZcu66lgkFRrGcz3DRgj6xWjzd+B1
emJLnPCC7ZQ1N52NaJQXN18YVybRkO/JQgvtYlDsF5S8ZgSFFl4iDZiFcxLYhrCj90QogA/l3INa
cmbmhOmggCLALJLNj+ITZBI1kN4vBrmKcZnar8h7qTpb/Pa2JbJjR4+G4z9OcfNUQxTo6ZhKnugT
uxZqcdW/8kPmwfOsp08sBY+DjB+CteHoB1C5GGAQcHCTO5qb0lWEbrRVSY9KPd76y+GtlBsq/goQ
dqBHw8JaNR3Y4cB/iA/FtRhCT/UbDjzC06MARug6tst9AkhEA5UPmZsRtML4uR/8NV+8ypJ6Xxvl
Pn5mZMidWuFOLeb6wiH/HItjSvq41Ow10N0Jd8xYOcRUVlaVop2X+59fk5r9o4MEBLCh2qaxmEn0
77dEuQ7lbdLHelNp4hgwSJWf0AJrypB9YHt40l06Zp81bkIBLK1Gaa8qRRYd+D5Q6YpW73vi/21l
w++JPYcASwYJJoIAjmNtmxK5iIqQMdC6YIUQTDoyc4J+P7h117g5jCCQG8gtxPNs0ubU0eXzoWGk
GAIdz3vPWMvO2Ev26gnGei2VO3rAiUNMq75y4MDNbKRyL910OQPqY7Jt6ZvGQQ/nXmUhb6PqyIJ+
zB+fui8VpFwSZV6RYFyDEOwHDk8o0DrF9sre8oo1EbacYyec7aMZtCByVIoQ4E3e0MyTDMdCew6Y
3VrHjIE+cv560hQkCoZFXrP00k7zRpKA4KfdagjWdYsKjehhfCRTuVPfyyE6mLmxqu123Q0tMVfD
pYgSbr4FPYjBIA10uTGSsJbbqYVqM+PpZz4Thkwq3JTmEO1sO/UlfzQa59wO9bV2tKtmGld7Bq0i
tat/K5WIotvflllDi4Urpy8Is2XYfwGLRJf4CAsch0djuIRO3MS41QMpLBurY2htIeCauDykn1PL
MLP8dHsn/epXNKSqx63xWPtEMC3i15CLWb4Z5OtSnpBN6bGC5GqaOxsRqQIa3FDDNRMEcaYCsC66
eNO4vwYIhC3c2pbyEUZ++eNyD4jJxHDz6rL4Dkfs0PcPYBXWUsY7Dd+bhXCX6YwzSJW2T1bs731S
eZRpse9bFZjmmtIAA6etAX1vLImVvlhpuQVdlMEiDSGqRV+qSgYTRktMU261a23A/Iwsq4BmBPMx
Rh0tyIZGu0F2z20in/NRPIu2eS6skmz38zhbj9gSHspQX+GiwaJbG935NxsL6OxGEwY/82BDqpzw
adBwhhJcgJ6nrsDGbso2rmy9MAT2ZQycudp10rGKouES6/N53ZWq2I4UQ8bE0PUlNLU3dMuD7d1n
5xxFIAZqh9vmZsXGTYTBfQyLOy71Yebx5mPUWWeG5ucs/FXHzGIq7AsqbopoJC1xTzDIPgVec0Am
BaVML8x1YUv39/XjP7+xoDW/W9I+inKqoyBsv/vjP6/ll/yxrb98ac/v5X8t//S/v/Sf3/6Rf/nH
d968t+/f/IEzZcSNpPtSTw9fmi5t/2WDW77y//eTf/vy+3d5msov//jlo+jydvluQVTkv/zxqcU1
h9L/3ya75bv/8anLe8a/+t95UKTv3335l/em/ccvmvF31bYQW5e10mZmwDcaviyfEeLv0tZUy0Gg
FbZpGtYvf8tJxIb/+EUx/q4bJvh4h7GqgYFzsfDRiPf754T9d1V3dIsDgGNbusq/+9ev/Yf77/8+
1//eDcjXf7O/MC0NkpiwLEMYhqXiDPx+phG0NP2k/Wd+CuT+ousamhj7tvSJrvpOx/3eGKKq+ZJ2
1ZgVb1GaaZBK0yBSvralmmfjSp+xeLJNjEzCIsyNpWqSZRg1fV4PgZhStiyz3rQ7s7J8EzlySOPn
RjadZQ6bxLKRCg62UunmtFVCI3XiduVHZh7Qv9ImPPOrLDYHIVd22Fr4OFMf9vRbH1U07dIpN4z9
Sy5bGxwsFJvySSn7oXOBsJjTe815wieoJWrUiAK2fPYuwcvFNN9Mbb3nwIBtIbOpKl/6Vny8x5QY
V+hdzObyWl0rI3XLvxpB75SImHoTHyKtos9p8sXILbk0GtCS9MGQ9Uv6ZhjpKwcZiGWmNPxpFVG4
OVerxtSQG1aKHcI6ajIxmBc5K0tzbZQp0GgoeJrydB8Y1sgDj7XuHJvRmhaEh0GoqwVAstcLSwRu
rWWjgzFV66ul1sTR0+xaROrE82cwYKgclGABcQ2mmSbS9zyb/ArMm1QUOLNRpQbTudV0iMUf0dA3
LfW9VBLAAUvBHOmrIJiNwtWLPNHmo6/Nrb2GND8Zd78SWvyg5NSXv/mW1YJfMQJFIdnUJg53KiX+
GiSjsVjha+7ti0APLbSgE8qGp0/FeeAlVtYwLTfySBKuUcy6OnSWpCxICmWWb2E/V+IUaTosDO4m
0l7nQ52FmLiN3u72ypSa4ZFTeYjPVpvt8ZqNBiVwI+FnTlVm2ZIF10dqy3iSG6COSje9aW3tfGIq
Zr2NUU0zZOnYDA2CpliS0jKcNLZjLIbrTgcXtQlNjKebYlA6nEpNU3G4ByoAignBSa7x2jNI0Gyd
qABZR7TYcbB8Y+nMDGmZSFKMKFYR4Tga6qhh4mzFYtGMlW6kLHGKVApBRMkYOrOir8jBHXg+KUKO
tEVeKcAmnJmWqjEtgl2sLSwFpoamQTNOmWN0KgrjKaglhVYkSRihKLPhF2tzrpNxNVh6/zppZkiS
eh7n6NR1EQ0NvJtgLI2dxCSt+JnxZchqu1oZtZLlq6aIk6+1M7BDGBNz/qRT4FFstLonc2JyrC13
RUlKJCtXekChL/GtYSgHbpJDq/u7PFSWrJGi9jaiMzapa4KrY1qLjNED2wILqvAmTiOVLWqd+NPa
6kNavQsuk+CpCKrEOZtNqkqv98tMOfC6AWVvkzltn7RwDioo57qpAIvPC0W5DEnY4eGFccZxO4Sr
ElNlNtIoy+LQtzL81QmD0Bl5OiM9o7w3tn2gMoOam+hdNX1xIJkn53PBq1VBEghZCtmf1Km9QsKl
KSWOp0r1Yt6bZAZJUc8LMCSBmKYPNCTBYnJG1gYnLwNw77M/Brz9hnQ6+6EzmG+MODBUmBMbhFXV
xaODHhP5WXToFTXFFj2G1Ktqemz2XkV0OcdNZrP9ogJrjsL9kHLFQ+GrKrVdjVUEK3olmjglUV2Z
NWbpOLUieQgm8qtA1iY8ERtpphbcjqgA/fBQmlTgfR6aZCxx4lYEoZZrSZ/CfK1namoGm3BwsC/D
AKnEpi38DAdCojEyg2BCiZ+lyDGn+rHjEnuiBXtU2YQIfADFup2gpDKVF13watP8PLwlYJCqQ95M
zPGnqOkAu+sOk0ROZEanvPFXhvq51XWVuiwdvmPhMHDRR5pjozEEBDxUnGro56pTQpHcF8v0SfBs
JHRUaCwfGx96YrzmRxlRPQifKYdqlgmAt7wtpQlkw65842LHtIz06dBI+E2ddC5ZWxp0xhdTm1Fh
zql/MZyJASNLUvf518HUGl9blWlaY/cFwk/eWFUL0lJjPOM52vVJYwZgnHIE1YPIhGwvsYj9+TGz
DKe/m30YkqYPAk1qn0OHZqdL0VcyzOsjFvbeofUrLAe4K6z8iq5cNME6cE4zfsDdgBGVjviUzV9X
roZS9XWsrH1DnOdPm40/7ul/dvR/fwfXpb1sILBNGEKaQltcC39SCGTcDIFiaFdTGXL5lZ+3sfa8
wLNz/Z8+jqNrqmqroH5NiSbx7eO0xjRiGAwuSQxwgrys2X76+QP8/pP+P6ndtAgkfPMI38maThrK
0cIOGhMUtDfVpaKh7EvzbP9K/HtLAHfTE3+Xn2vwV1TGr8o16ce/0FbFst/5/mcwhW4QjGFHZBnf
yf1jF9hMoYpL8LX0si2LwCTX82v/WYWfCAD9kN/DI9GtbbQBCOn8hflT/PBaWmz20HQNTRPGj7sx
UpgxlKj8TLWYPDDe2gTb9ig33Sb5rUWUZtrwV7/vt2d5nvNvH1F8lwZJu6lS4Aue0Wz3HGHOwOW3
iHc7wubPyevPX2DxrZi1PJguDOxPFhthe9nFfnsJFVrRKXbWQXDQptV0UNfcStY4rdbgCLs1FIxt
sYPD5v78Yf/do1pcuI5mS+lI57tHjZyyV0utOOekBKLpqTDpDWgvRfhXyZrvrxx+OUujat1GrWOc
9t2VE/tOb9Rlcdad96ZewKY1gdxg9fPfRfz4eum6w9vcQRA0jR/cG22rI9TH5Tk/EYt/4+S+Tk72
Ctr6Gwaiv7gcv78aDd2Qy1uAt6Wjmbr13ROn0xhmdVjMy4iK77Ffd6n5F7/O9y/N74+AhqQJfpMf
vc6mY4fTZOMTV+tbkohzlwGAquPDgAjx8yfu3/0utqmbeNoc1bKN5Xn90yrZNJxr5sTytEJj3+RY
eEEC+y9WSPGtQcy0ll8HQczhVEZrvPPD4pFnMEo5jgvD/5X0RrnqwI+sSijyA5OIUeZXi3RKlkb3
qYJsNYZ/Ic0tl9ifF6/fH99SycpIkwvkdwPbn37JWettNWcL9H+oO48d17U0Sz8RE/RmSlI+FFKE
wk+IsPR+c9M8fX/sShSqMhsF1LAHiZyce8+VRG6z/rW+lRFNxSiyAuBlbYvAstjy/ufv898exP/4
u0x+Oab1XG3/5eI4jeYkC88+jMEULqHmG32QhDJAd9/nLhTC//mv0/91XTZNnTwo4E/Po5DMVv9l
l8tS6ly6yNm2DbNz8h5jkaQkUfLSpvckNor8xFtJXYsfi2U2YUUqWoSBMVJEDmwa7MlAWlVUgmxM
tkJp4lyNy3BUM0AN8J1gYfRWacx30mvpHlB1Lni6VUx7qA+gM2ieVSCAy7Y1cADINs0Dt8yksREq
PYdkRWc2ew6M7PHDYzaoM4SfBmEE1eA/dYX/x1b/b/sDsoDtsAB4hPfwImrrYPC//MBe5biOJ1DO
3poDk0pffgHH2cmA0vgAf2xo/ccK8L/Sas7pd1f39Z/478LMfxd4/r9TdBDG/8t3/2+aDj/GZ/Xz
XzWd//sP/Keqo/FLOK5t2XgCXIuH9Z+qjvmP9cV3WaFNy+Rax4L3T1XHMv8BHBLh3EUNsh3N5XTz
T1HH9P6hYsTTHEo51jWKf+p/oemwgf/3+bCDTd4kWelgVuAQYRruv7ybjqaYse16XpBG4qJMoBoI
Z2QuNQ/aTTZtGZjAH3SAaBXzlEjvj4Wb+sBjNw54IC3mIN79CBIkBpOlnFJbxSK+R434qgYjrlPU
/p7Z53giEHlIaWHIeo0gCW0hqCZ5ua9yA7Xxw9E+TYXRodxqOEFnKbacDQBfpEHGibgVYJwHIMUU
uM/6Z/mmUfg299CtifOP5jdcYB+tFe8TBSbzS7LAVs77u5xKPv4GA9+yiAM5tGFWfkwQnrj5bF2w
8+1rNWSPH2X8hDbpuwSLvFtKqEucjJlLjwf6UXOCxn2o+ns6222Cq3rPgApoIuqFrWeY1c9KA7Ce
yHMcKg4BUcuPlI+qOHscW+K8CRNy7xXx3dp5a/iX6sNF2o8epeRGmDaftUb2NAP0RO47DWsLKEUX
6CTKI+aZroqdNTl3yg6fmNGh+QKKU99z55TlTN67x2bxgjHLfEkQWDePUvtz+r1gBtA0068kPGso
xiMD3aOZnJOu28zgxqv+bpgo8qBMjAEb7e2bip6MzBxoPlFJ1gSWxo9maYEqbOGbfMYMf29pvFbk
TTv9XUeLAU4YxWS9KJ5ztyLtT7pzljpmPPM1Lb89jEtYdiwc76kH1bimalQZL8wN06UNODv4iQ4v
hbu4mLzDQlNuDzRHn9FcqOStqMIubCA6qg6ECyCw/lCaVLzRA+EQ8iMqmZkq4XEQ1PhOiqQNazcL
5X42buNavFMQmKR4t+uLM7iUoBoYbAPPU6Oza99mYhrkE0JpyTOCpW/nlNFguI2iR2+wIZUNMNAI
VcNjNENBVVh20LwU38kTjtzJeEaLvcpkeFiMC16fIGmqQMXwpRLVIIGayesSd7DZiGSn5WZpL80K
7sHdUi702HeKX7sLtsD6RyZbx2EizqT9JYPqD6k53nZYgMTOcD+A3pUu0kCFWkEAqOAVGTnluzjW
NRj0k0pSUXfpmmKyWDy7K8kkp5pgIq5M+SuWHvz7tIJ6CnYpgA5wHknm+knG9NPwgo6oGG3gXZNc
DSiBWrJsBmrU1RKuBonBPP50AOmgT+zmSJ6FGrbuSwbsyWzgYg+cQ6yOSfvLYsOVvqsaaDHvGDXu
k2kK9LTh4eV9pW5g8koa0rVdoX92y5+h49vl3zhfx27cRD3Zi1bb0bGJQbvE1rjKe37aI+QlYAFw
hwQkiSpILhg7+oYY2Dg+jeLH6G04OtNepq+uy5x7YsoOPbl2ulcFCnCJbifVY9KQl5wuafVpetWd
2j4xC6RFz0+BPaAqBAiwH1l+FM13snw5YBj0qPApUahS76swHpa5eJRAf2amKpRE+0jXW7t+jlKs
tgVtdpN5GlNMSSoddvHNchd/WP0cGtxm2PBFRfVWZso+UPD4nN2MEw7hjeNK6cNJI1mJSJsSCz4S
JFu9/1ujsQ5589U7zIzorXTNip51ueFcf4zl82hK0tEiVPWHTCWOZ1xKrLfTwlx5WDamBWiK5YK6
q51cjHPUOyB2Y9+EvpCSy1xofdNjm/gTRvsppaajW74ymo4H521J7Brf1ej6k0g+OaDYWdlusjUo
JiBJbITjUbWr2WuaMh+2OmKi7+A08nujSYixm9Ak0LMNLyfp1vTHRXPOljeW99wSnsapaXaY4Wzf
qudr1+WHqtFSDH+uDJblx1xAuuuzPZFZVbpzfVSUgMO2q7+pbfotU0gqluJuY29yjrqVvugMJ3ZZ
rHx7CQXYVlwcJ0WHHhY9A+DrdpXTVetg1KKMDmiDJBes3OY8S6HAYlxxjTisdIZ+cg12NST3zB6F
BYd1oE0ZjmF3+NXQYPy6BIjdELI/5J6bbmixpH9regCqyvthgAbrpf1WrygkHdGzEsk7AdLUN1Q3
53Omf3EG74ilvcSBmjdxUJHBgbQPtwvyPxxlRhITjBJ4IUUWQsQNcNUlVLlYNSvxILdKY08+fHTY
YpsE4iIm+aSaoBHB0rK6EuJdm/71bTB4ZoN7k3QvUrB6aO3sF6en4Btsm3QPLxjtd9ZXKZDAohDI
eK8iep80AwSToEJlLK5mRJoCh2cEMqH7mTdOp1DkmmTXZeaQWswebAds1kmm0ijett96Kh7G2fxK
zNh8wIdSY6yk32HoCNaNzjQch0b9hXjAiBaoTxNRjKbSl0zzwMZJYuhHWwTJ5n5onT8WNzI6GgBN
d2W2F8n4WKSt84hn9h69g0pqj44j0EMXjX7MndGf8RnPu1SHmFWUkCVqzKlmCiC/m7znfKraY+HM
H5kcv/S5nDbN4vLDSny9UuPzlk/9SNx5fTI63ZcRb7QoXxD7nhc1p9ypdR+T7k1MVKnYHsjf1Kj2
k8qaLJxk3s+sJNZo8nKYyWtbirDUay4vyyJ2MpPus8IwlokI74fXjQeHOAPQgeGUrdDo0dVfYsdJ
0GgchsuAFuZZfLdlTKODQZCGL8cvtYq03UilWpcFWo4cWdfFOWm1V1gU2HkZ4+iDBqC/pzceiNq8
ElziZAkSXYpwRJnauVNxz2Z4H5kxocUlsxAm7zvhan5bckDypvLTajGiuW79A8ZK3YwUyPoDz+hk
KEGHxLupEsbtBuAHG7jaRuTGeFFL8zbHtA3ZOCH91GB7IScR9DxTB6+wb2aCtSLrVHentub92AQd
rfHIbRnYIdFDhxndxELyNsxgECIPzGbcTxGspGFiP+aPzaHapfIuyuIXm1oZX9y5neOy5dlEpBgv
N24m7jv+MDsqc/VMQNLj03EGbOsjny7bZs6Pt+i0xqm00GZUUtpS3FmKwQXNG+9gfMuzrIFD6kRV
UXPyzPvsBqzRpgTTY1wL0YeGyOqtpvtgic3+6NJYNXIUbGou/mxGOsQG9iir2Gf4BUmU6jGRaTfQ
u4li9SHgaLmqj1HPMGBbcH+Py+WgYW9cKzRO9gDMZAFoxpyNFdMCqxjX7QVUQ5F8JNq3XZ8M7ReL
opfsOg4NBZ8g6W9ueVNSZ8uN4tL1Oh/yUsYHbFPe6ojJqW+5z0VzX1KUChl+01NB0+hADq5SO5KT
wxSQAI05NnG1le4tYhwzVmAFyOsJzfycLVje8XSUBjApsrt5Bf1fXYsuToVIPypRfipGBzqFhzff
ss74sSK2msT3OuJ+01679H0GWUv0V5WMDJdTr7SBw+8ra/iS7SNHaGckacvZVXhYnPH7tBO95Pe0
fB97X++ufZMzrFyClqcfwhMjgM0g33uaBxO6qpaEIkOCqiVYROjL2eLjPoBa5vmSI5U0TY7E12FQ
CTxMYT8mdw6E8pqOyeWRgSRjLn1jKurJVE+2Vj+ZGl5z9I8rzJsNmCk/1whCQBRq370GDIpmBJkV
wfbdLYqHPwzjj5zvM7pFU+2uhx+z8GJz9ql3jU7K0CLvmAd0urhlte00jhOedgKPf+CsTQ2k2Yhr
ykxE4x2qvCXsonMimqBcLhH4OUnVeYyqlHwlEzBDPlkH4Yd7xTS1MLwDHUekq5LWgTUzYGoiu9oR
gMpJTk6bid+qmAQ3GEw6c7hMP4wj/B6bLUM+Pxl+B5VhIAmlDHvQxC5mO2Nom37ubTIYR/EnrZFT
dFUbLIEcO4vzaiB38Xk67i63X/tdp3UcbR4W3DJwN4fhWaHyqtJQDLKXyFaCmBO/t4hNwVYXAVTP
sKMVaRa6+hqcwodHIayU98iZ9zPgsNLZMLDf99bMvQp1S3XiSwI0QJLRjUzizpRwvQwYetmXw8yM
if9gmY/sYAKO4tSHdqZeeiSaHPNfoQN0S+yNYMDG0QX/prQTQGH3FFtq9bUx2e2Uqxo/uuZVklyt
HfWQeMd21O689F2fKNBMu61q7AgFB6qNZDiZoSQV1ecu5u0fO72LHLpEugcEZ64u/K3RB8EiUmCD
35BKxdTAqTcPPMrRDFP4swLlWG0eZT7fbIw85nQ0NO6GoJCrvsFvUx1UN9ko/RQ2WLqFex7q4dVV
GJrjZ1VOTpKBO6XDTbyxe/kDVJDMvuIKZg+/B2hi0u+mkGAqVOOo6mdexsxeglziogOsgS1hn5Zv
c3VPWd+B+07tPKTDFK6NfF78sYbA29E6NdHnkHkBt01pX4wu4r9Pjbea89zGSSAkuB5uX60OdTXl
qXWBkRVvViefTdq1BsfY4pzXNcaAs+IbGNWrBjgW1wuajLvK3A7qOW65EI6ccxcqPkvApCSbJPG3
p4mTj5GMG8+iStreGwORPBpLltrrua0fBgFLtHrCRRUWiN4FKb2lWgmADMu75iYU8ynCTpsuX9Qg
3Ovc4Ce60VAVFm1bTSeajQJDe4lYJcwEG6DAhVw5lNAgJiJJTA3pzOmEUSGM5ePKdpLK99JjFhSr
+NbT0skNdvSAPVLlUyFBROm+0aAlZ862s4sWzAshOGPtyimv61QygkyS1JeqfB9dXKJxc1B4B9pY
v5Rj9lWnLO1a7Gzm2Llrq/I0HQwWLzj6sX5r3WXvJMPO6e+WJSIWYnObeG4o0VC6+DBb1p1+6IjN
euZCQpx2ZjuCyqkEBXf4Ug5cIZlFgj5Q2v5WLYWvUj2GOxCGWPGiJuDn7e6hYWM23PaubKswzl9m
FIWpPs1aDb2yCSyqo5+sniE43fVzSvBxnvM3L4tPRdJdhnyLbwgaXLOLCFN7CbturT+Q7AJOhjk9
ClSN/HrqmB+ly1dvkhhUzg5roxab20pxBHfG+SzTOozJE4Fz2bVeBtY2SC3rebJSHlbBaRJNKI4d
3y6NnwlUqDPwE/cvOjkpK25PSaT84A6HW45hnhR56iwPLlfIsqzxabxn6kPsdRur/pnsp3556zLj
mLk5599nO/orQIBCjWW1BztR90HD3N9oUyqqh5rcrYkb5K+VJFliRAtuCbE1fTeZuXHn+tAIeuGH
hI50h4Mstkp3En7ZDYycunMCXEFqsL3yHr13ep3dCfbHdoz7S5ESUeg6FAn55s7lZbF2mCR2k7c6
yMmvUEtmrb2uzoEZU2iYj2m5V0c1sNfHfSHGTGaSM4c0CPCax6JSwxfNnB9yHbh29Z55BDU5Kluk
LY3+d/Je50I9xVDupPknUI6q5lIbI3GDLOingz0dY3DCwtSPRT7zVSVbzPjIKWGrnqN5BxUzlIW7
ScsvBH+c+smdYlrvWoJVH5Bp7sS0CrKTTUCAjEf4UrStmveLtbccts6Jcwv1y7Rvbd0Y1hSIPKs6
q3/UZAYpPuqRY0ZcklQUcAye3YL6hiIPOnwsFkRgwoQqAVqlxmdg8xbr7dGhVkY6013teOxEZuBR
/Qo4gAUQw2vzi3nqja5tLfOOOR1qFNDcqTUGF25jIBJ60iZVkzxE89VIOhZYFlfj0kA5ryv9Vo/c
Fa/GUt8oVBF4pyma5a3glXtMoftNKttP9+Ulw5Opt4ExzqFo4J95f0OyB8LhQ6H7ksS2hiQKo5IB
IB6OVC23iq7f0vaZfbTLXiPva3C+EnFPsLTUAddgmyjJyJYDkC7Kofo7uw015W1pk9cU1aZbavaa
JTTaaR8bzCyXIpRlv62MsNXW8P4+g5vs3Vy8x6bvali2IZVmtLbdmVe7v9SYsyshgipGHqWxRZfH
br4V1J74/ViFK5l05jNqRJLhMPMZxn1p3Wtc7ojf7c2u4sbDjVRm57S0sAjpRwPePfcrDQsOcRoW
Dx3geZK+4GhnKnEtB91/WGrwD6lASHwSBRnnhvA7pV5jDKvx5CZgY7M3LzU306JjTh5JBPcHByoj
b4NvzD8x5dPChIPDy7l0/I91kMpmAq6HOuNH6VlY4gg+9nry2i79w0RvlYMLsLVbivYectqxdI4q
lep95/QtW/BVazgqM7T9RX3VwM8V4wz1+6/IlY1uHLlWwhE/ZSCRBwrFi/pUjfI0gXogXt+nv6o6
4Nin5A1Gh0Gex/JqGtejTanjH9CvhBv45iqQXgtbhEmB4rtjzWHioQGwrM4ojKJouE5f8hg3IAUH
WlWxpHpc6LKHx6UgI0x9SEytj9lwByJ2WOFs7ORwLAt0zvySGSC6yKFrA1NsXjfCBw84Cx/tFRLD
lbSk1zqWWfAtxAIVTwUsVIEtG7fIINzNVbrKPHKObVD/1ix9bEv9TIqApnkMXVL2B8kfHwCSQI1s
vHQL6SHwUACGArGUzqu+2KWUeAOMtRvOODGHOOp8a9sHYWSAYSuTc6VXgTtcxjk69vm9SdeR9EIz
3oL/wHSErEKHRof8g7UEUfM858Jvc4lDHkf2ePLGPPSggUkXBzFonRV5k6BCuj8utMR5QJmrRhTo
dmeW865bT1HNXzG9QuXdE/cPFULtAwpvRjmz4qV7dwgbFcITb+lA5qYTA8fF94VnuZu/887bkLbd
S/0z1nreDXLedgk2Zq8DgGGvpieWLpiC9rX2lfYxA4oxoCzCKAUHhPO4qIhwAFYAjkiMIakgv3xJ
508nlRQbY+lD9PU0lgvqoTnI8wqVnL5zbu3HitymS7zFIqEJbGs+juJugcXsOm84A/0MT1sd4xy7
CBtEMwmhFOf/yvSo6Ch6ycY5SEnXq+Ku5IjRkvq1zzrAAa9mC3YJPxCExfPNSboR0b4xX6r+EpH7
0ukyEdVTY3000qN4HZxCeg+EiM/eMR+RvlaeCV6pNKPEBRZVTpXFt5m+LON8cAxY5CIKkoGXoB/e
Kc+JF7CtcbbhKsNhZlfYjp/Rwag7d1lKFOu+rZsNA52FQSZ4I39AUsQPTb+FcijJKHC+c3CJ2zdp
HRvk2Rh2bqueWuVD6+CZsvo3R2FzEs++uzIP8yz+McRv4T31XKOG8rEZ512hfSYtLUlfUJF2Y85B
SDPgpGL5WnP505vtLUxh0z1x0hZOXmxvU9BGuRFTpQLSXlHu5ogsBrXCOmkWq6ELAA3BQalxwfa3
PhudzrqX8tyVMDusAF08sc4GuYCshsy3/GozuwAFJ7P2CYOUef02Vui9G/3Rgoety106Rc94FbeA
3zdSEx+UnlSr3KuY2xL1c1mgdZibwS2Y8HxXLOMGVlgFv1NMrcSSV2c7L9Yf39es/Aa/F9pFe5CM
zeDgJJy7YnjBkSih02695LMcScdQ8LNs4C1uda1hTAEucAxTZkBQ+QfcZ82a76HesMx+rGzeeC5t
XMq5aZ8mTjIMlMMpTvl+PhQrCYgpGm5DYeP9zBFVztfeGHeRCqSFqhckFfaM9lVa6829x803nXoJ
O7DpgtJjelNeZnd+dgRRAqzBxkKXepztERgHj1xTc7TyxvdcGtm19ySZOKfdEpJXMCSWMn0RPEtO
FIVF9dBo16p5Mqcv2daH3gX9lEKGVkYmeXZAoL0CgKuIP9D1czuC5TBaQMTIYjpV4NDNOhCi8egr
YEW1+W3BwuqEFNhpYLK+ndL35LSxrWon42fMr7fibenotqDXV9XJJMvnnDt1rqrXBoi31grk3rUv
7dUWDvR8sHdA2eLlc6REXtTuqe76O4mCmSsF1AIag6hBkCrfuDT8pqRGoNloC0ZDd+7eMXy/FAnq
mM2ebs20LvT7FjEo9jyE7feFNFxEQc7MVtvoChU5FjSCr4Xropm9zOMFRMOs2eGs09mlkYYqBJWM
MLqZQtnF+4gw5yReoBoS/hpdJrK/FZZ24pROPxK+zsamUlaMoV7cu052jFVnW+WU+ll3oEQ8N37B
th1YrItm9NpxJRgmym6ox0Ft5Nvv2LSp7nQqdG4Kwrh6Z0CiMrmpJi/kVhlWJfWZTOJq/KKDAxmZ
mkehj2Corln+5Db1pveQ6kZYlRh3gav5U0SPauc+JRU+cdXcJWp50pC9NRjjwn4zp4QDJFZWGMej
ltMt9LAIbsA18iWXP7WLtkmshJX7ZMP2ztz3on0diPTP3fRNMsYHI6yZgUE3C4ZOoyYPnnKOksdG
nJbSQaaugkJ/BlCyycWzdxJNchkS4EHtVYdaNtsnCUY7URlvR7dav6QaMKXCeI6WSvOxbvJWcqBD
DJZ/udNf+rzaJbQoZFK+RvztZKYe8JlvHeZg6iAOs2aEklrOpv3peyqJ3P7UcffBjnQSdpi4IMaq
7JSYjJPX5f+CU4/k0hSg8QfefCdkdLAs4Y+rPdJEy8ZFjtCNuHngd4B4Lo2OywhmfdT8WHtnI9zL
b1YCu3+MhzuVbJC8TN5Tat6SrcaGqwHflowZLvRpONQpde52aV+z4sHNrvNcBuJa1vQoE2l8bLCt
Q78g8/W81ndKIvH7nFq22e+9PGhBFLroH/ZnWyzfeakRReZkl5jbXjcCkkukqi3uRHYazgNaeEVe
E3OxP/9SBnq0U3KnNXjZIXvN2smvOTsxuUPSdR5G90pSYlPat6UcoCbS40PpD+u7WLJztfoImvkx
xUDQ9tknfZC+1dZbwUzGLPXQ0bSNVHT0x/tFtzfr4KNecpoHqk3GJL6VzSHnsMHc8KgycGhXfo3F
MYpCyc69VTwYhEN0Mwb+wFCXDb7qph3kxNCeKLGDnm5E78ryZ1d01C/EVLg493ryVsp8s1DNVrcM
RTWWAUpD4I6nwMoTNLmxZuQ4DYh614kG8ti5KV71aOoPprgzRzfMGXH3kNCoi0bNfXV7lIOClOuy
tQ390SEwk8/zznK+dG0/oNYLol199KvOb5zmQYI7r1TwBLH2oa5JhOFTH+WZtcBkmNws3Nzye5Fd
Ki4COmuUw4O30NbhVFoATo87O9fYZvxo8k87NcOkgFXYsNZjrY7BnztfQk+4BEs+7Ls0AdwB88tL
nV/lIXWfa41WbuwBG7koTLYA1828u/op/XCiGsghBxaKUAuskeVXbb1XI8n8MvlVWjbLMrp6sQzS
8QvyHHi9MNFfEkc9YyvfCZ5tRf8d11Jb7ZXTN/aSPuiV9MehZcyV7T5jSKtkSJoT0++EXd2EiUMN
Kdw3lQ2deSo1FvZL5TzHcAlMGEPRpUQOy435kgG4n9klzbWdubDpBe+5mz/WNhW99BSBD+wmrFBl
GXSFQgR3CRbz2236e3f0dnaU4Pecjy5MWuyoe3W4c+Uz/BKkA7QUznaj92qXf1bFd3B0U3eboQH3
BVG7JYBC1rfIambBQDPyO2AOVH/scKtszER5wonBCsASyc/CdW5sfMum2n7gUutooLptLP73DqB1
1nXaQuAq6ARCHHOk5lrC7odaVQduMV6lUL514W0wWx4XdUHNFDvRALWksFlTUfsYtIqy24AlM4UD
I6h4kl326wB0HbnYl3O5tZbfQu6S9j2j1IxCu4tKI1bf/Op4pV3uBi4jI2FOFwXOou2+WC5T7jyI
Qbhi46ceosW1GpEkeVAcc0th4ol/8NTkBSMZPsXrsDytFwZG8u/C5ruDoOHoK0HIlYhe1LUk3Or/
OEbtIYY9lx5oHIrJHocBKS+CImJ5P4RJiQCnu070OJGO/WTsx6Z/zivUKswH2fBawELKa+XXUbAS
ut6tbhgyqRlsGwickUpmel9z3DABjnJ00GlBbndikht1Lu8Q3k+apTxm+nzoqbKNkyKISTAKNIG6
0UgO71Tg67UzHMbkYvzUiL6Qvj4dRh58LXZ9r3acwHXtZsTDCUfAXTt0f3QoENgOosXeNa55SKD0
N3RSx25yqsFHMCSOk+acyJPOchYrsd9ooNAm5pIWqChjoAY4B7pMBVanb0EiH71JC1WHlcbyiAMB
rNOAJCTlogR0bfGnxM2dhm+D7plTDql9pJKxyR6Xjg2mqFDy2gfiNIfZQJIfvyIIzzajihGBkNnC
o5cPaTBXke92vofxYyiHR/wiG3JjO5WjhGEQwLDsQEekVnTtTSwULLJpkcF6cizDr3PcOor6yUCA
ugOHvLx2aPAOMZ0E7/0wQtQd0uYqtO7OcfBlqVCQaZk08ncX/g11FhDmO+qUFZ2Wi5nI8Mxp2o42
ccqFu6g3FlgZSZuEo09XBedGdG2pqAImjClskrc88d47N+bcO1Ij9awVJrob/qxh3KTxTwKDs+fh
r6l7T7k6tuapZK5YUVai6eJjKhUMKM8dh800g8rhtywBw16xmDJHG5vp3DL/TsvPoCgHTkzhXETb
pcLso5Pdopfw10xW3VscK70/9BzJlOTEsWTs+pdqffMSDnU9pXjOHwUv56qedh3JbXJFQLQg90OZ
IPu4KRzS21J/weQXGpEbTtj5GcI5V00COyEsk+8IiwRRLT5EXu+J64VEF3dqtmv6EWwnlZfVuyvY
mzrE6DhW9rJSgoFCcTSLkpMAg5KRh6Ma8TG1RKQfhEjO+Ux8hu/dNJn7crnuUVuwWkR0laRxuWlI
D0Vau1fWIVxM8zoiep1fbW2dO49geO4tGEwWrjOcF/Q5mfdaxMM9U+yi+EU6XOJo32tyG43OSSdR
RdZzr1Gl0vf0iyHRo4f4MUQxE0qUqbF5klTravB+enWJSjjOXy4P5IAzcB0VobRjC6rfqvpFGfVL
AfJE7ZEV0vGhSYvNiH/Lc9xHQuhhlKM0czOsbKJ5Dy3o5cGWvtMtkMUVvvfmlg0z9LMKAeHdNN/T
hYOow1VEDZ2RR2pJg0o/MWR4cTj8dtJBmzvnjgWkXj41oEQ7K/rWTd7iGhRcaspHJTfe9Z6jklHB
u0GDKVVKD2ZxpDxq1w7K/TRzKqpK1Kxlr1KboXNW8sdY3fSZHpoaX7zOLRz9Ahaz0xA479rxPiXh
bkzGQQFONbhU6nGLpO1auJzEczSE6CeNhm3JpazI42dlLXh1FtwvTXhtPYrYEiNwxXLMlp8cA9vU
y0DUxluUAS6yg9l8NZXfBiFlwsHoVW+uBlUlY9Ld/szGztC5HSQXwf4ZzT0pSEx0+pMyafuZbojU
SikmNffOkPkOxVM2YdTo0AKTyRh76/joRHnWpBHYSXbAah12eOPM+GZYH0t1KFW5bQf+H/x/1381
3k0Hgt1Q6hNRHMiYf1Ef4+ZRnz7HClGIkm+PewfW7JlvdtQwfBn9w7C4vyuCpmJn4CgrJl6S6rMm
Om9I65aU44nAoc/x8VynCr3rtImS0pMM1WlGvZtl/5Wq4zvJLV8bNaKfNQMYe68wKNE4CUIZUaiG
q0euAxhFWMyaRTxMA2cXm1Wf6ANKj3Y3pjT3jWCia9f7HZ3knYTgpl6Lk1JjOHcsfsMsuSdMH0vE
stB/1SXtFX2VnxlQ51Qqs6Ba1k1VqDzoNT1YJoFHRUZvhQnIklezvMccytMQ04xezNdhaW9tnYAB
M+jmIAPTq6fVzuiSE6N9U6rfEr22a47LUnz2E3CpJjIxeDer3t2x04BZUsHzwmvL9XKjLJb5irh7
ta0hPeWJGu8WyeXVntSX0TN/sLrfiSR5l31cv7rxtFlb2CvSe4BvLDjPSYJ6S4eCmdnzLgJZGc4V
PUsYqeJHS/Hw1OscfHmJOSP4dac0N3VkMtokG8MZgwo7qDSE9TGMJv16ZinPGj92uZB/KWwAXzmz
YlSF4r1yi61TZ1cqWtIt3ADG9CxzSxOjxy2odxNjKfLUVOaxGhDzXgGlDlcs8eMORCh60/UeCRSn
gedhYs0qHr/S/KpzNTlmAyVE7qD1lGM5f2zDNjRIsgBr561pamQDVm21mnr0nS7e5UXzmvD+5j06
oDWrGx0rgpeB9eI4CVWadvTlKKIX5U5LkP/MH0+/F2vKNXmLC2DI04mTz2a1X+g5iHh6pooeJZnZ
abme0PHw8C/ECWkGanZx2S+9eK87sNpjUuVQPWtdx3uWHfroVUzT1k6ag8p5trEPFYUsCcofk3ym
8cZJi+dbBATmBDsfqKiLKUUf1ReKKeWlfJlNNpsuy+7bibZsM2NeJZxvSRyeSgRzfC1sarAYbPlI
EF44KpTfRcl11BvuhoDPpnVFqAXFm7BSvBUdKbOKgeY0AGrK6DnBiUjAkyFXTTxaZmS0opzxzmSU
dhDP3IInoJMBHlSD4yUzdbvotrFxa7Ekt9qAvRFtfML5qONK0q6JSoev1k5f9PV2+7Hu0NMm4NQY
1pQnTcVhrhH2TRuHOUZONsyqjI1lX3oN70KTVE8Tzpc5vk8Z3VIpFwr5vaC5lZnKvB+3c4USxP7n
oa9Fy7xxifGqEyXeyGRAHk0I7RCb7AZBQzIVHOmD4CDksC4Y8v9wdV7bbStrl30ijFGIBdwSzKRE
KocbDMm2kAq5EJ++J3X+7tPdNxyyt70tMVR9Ya25uL6dW6QCN1nMVAgFg22tzeFH0Ye2BP8Nzosd
6/2ouZkdVH2PHbOuIP5u0Dn4vFqZ+2UUiiFPRnAz+ggy2khLSXyqgr/SZtULLq6O3XDu+duxv7qJ
2StQoIUx7bv0OLmfBQGJVQV2w/0zoMk2XHQ5wYuZobCHluJCD3ICHEtc/FDxnL3FCZ95O2g7jD7D
CfJXuWxNm+Y7rddqZE7Gns9gYO4776X7lTnsnvQ9F2xbPxf1m8/QaICTe9OxLjB7I4f13UOVAGsi
TMv2FUJjiljULulAIxmFRbO3LX4c0Z1TeebcrlnaFYTP5eJzFBgzzbeKoS1xGQwhka9Ez55o2di8
D+SWmlyOncfUYKFdmrjQHbUqeNY6tudpebLqH1oIGG24aDjdR0QHcM68i+S6sGV+aJMbuRC2r4fO
/Vgjw5mx37jjGKonJk4zPbA+i/TECMONLh6zegHYNNHRbgI2T6cv3c/BfKwlBLXMXSXz1mO1XcFQ
BTHVRAPt5yEwog1FfBj49a7ogtDgdnQYPSd/GYuGoBzRO3Dg4zsqT3n6N8lwzLPTIEE8yT+LGhVA
dYma+9sCyWDBgfy4ab6AZacl24uClZtQG7vvQhMavUuB5sKVmXhqrP4MTrzxAJbL94ARbp++1zw1
k8uf4VWpED+To9wP6ZrsVBwK80oCbfXfFobSRHHVXUZ+EXi+ARp6zQSxfs+6Q1PkoSawDKMHQ6ga
RtPwj9Dh+hqxtwVbjTz+bhLUkayQSPg2sFS4pxGngKZHr5dHQ6PdTshJaE8yerYQi0jO+xLQ9qSe
sT0dc1r0pH6ax43T/lkaZPTWtUn+NumxQ+SEzgjP1Rz8iwZmq3G9KhywA+PG54a1R7DNiyD34UPO
ew/xJKFIxb+gAxxx07jxIW7pzA1Xb73gx1OcLgtDTvD1rvdPJDSG40Yv/BS08MQgZE63Mp0XMe2g
x4Z9Qg5OBvnwlGYvpZ5WLm0oATZp/YMSdFX6tE37ykFYQ3oDCkGvxkg8hUQXsLWtGLklYMZdFMpk
f0wcJb14MJqNNFDTmBebloVc8xlhWvtuxt5pVH9iqtle+ysyyKbxJECnzwREQb3mrbOwZc9ogUQj
iLr/mnCCtFviCRnHHQMmm3Fsgoka5nJbWO9t/sNFi+Ns2MacljaJYwsw6j7rVkVDaQeJvzjY+fOC
H3ogJeDTRfDZ/K3SfF0FIfpTr3CgxL7YNUISt2nFXg7dEsqFMDXGBR2w46tfPUqY+nsTTgKF6fBn
HoGZVJbpHczZVQdJXsq6YlfbyJJmi05o60YqwRpDQEd7U88ZunogInHHkOUfpJkPQCZImOe0Zy3h
Rk+BexlpkoDMOa9GGqzrkVk7sT4ETDTz38Qt/NduoJOK4uadTAUPB0PFQqAXjGrYmlc+E2RYcdPk
37Padl96/WmVmdyUinyaEdaR8o2HxivjR0f9CaJBsUDjqDIgHa5tz5JUjsNPUc9vuB/JJEhvr+BD
pVAWpd5TF7X+Lum9LdyRDzh6HYxO0E8FnQLBmTmNJdFUVs+BbyTC3CTWGG8LAXQL1cwlNhugSi+C
j73DN2LLlE3Ig5nyYUA+EfDvsK5gcGuxkfaxRInvKRf7snyEbNsHM3JPFkz+j5/tpLjOVf48YyIi
b/3YWj/RLTBtBB88/mi5b8fnxjj76i/AjAdyT0M00ZJinrA4pK4exqd+09sM4pDSjN6wlr1eec5j
h5AkxqaUKOJO8zvSzDAj3wfBp4FvxyA0mcXi7XK0Ada1vrMhqPbcOvw0CVlw0FTQR8kRqv1Qri0a
WZ2KD9Va90vB/ly39MxLFOAiBZkV+xXHfIf+rfOAbpkrRd7jX8atO8ft8/MAFDFKlmuTdofEoOQp
ZMb96BUJyQeuC6gO7yU3/5s21p1qxovb2+TJL7w4cefts9wIdlTKMb4lYnry+3TgvENHxOVnks+4
5N6T0pResnGJ4BTTyqrr6RA0fEB0Qb9iNS76hTHDXCPkVRnZmbC9VQ0K557PgrmymDVuG3sOgUhM
W1ITX/16qO4sYlnJcvTHVb8o2Jw9owtW448wJ1hgPaYKJjW8V7Ljb4qthfg76iLLWRnau7QFs/Ki
GaswTT10hUdifkACj4kV3mTH3TTXd2pBfo48ep80+TfYJ+tWEEOZHNUhkN3CK7XuK+M5QSvs55c2
LiC80JVB7dZsmIpPcx5imszv2RUT49d8bXSwyru8YZ2dEzMGHgU9DrJMPrYsVPiGeDYw+ZivVeqO
vIeu/HDpjYIzMfBPt23E/d62iGe8HgFfahAlwtpz1fB00nTPLhWjSQCEZDVTMpCAV1IHpQYjlPhh
0MpbRigZs3EWM+QYgDO1tzBYtIeGhgToBFSKsSBBiI6aMPo8QYGRqCeMGHv0EtQRCD+XBmlCVXD1
t2b1AT76gDPwGDvcfHEyXOfJs8/Sg1U61hsjJgC6Lwt09PmKPlWym0UjvcRsprn7zBS5w9RAwxui
9PT7a6cRDuOI/GmecraDt4dcGdCBfr/8/c3fB+VKwuetUbOWvH35+5u6MVil2MMlAP1zpPkY3fD3
yxm5TUmINRZGr8rakIadSqZip9mJUhz728Mko+U/D7+/999f/v7X/+/3fv+r1uP//dfqckmOfnus
iFzkHubpP85DhJgFOky2NgzmGtLW18CMcSukFHwEONjgsBuR/c+XopBouwPR6gPYlLAnwv6E8rA6
/ec/mByvAreCr8iHqUe8ca7o5+N/HoaM1IuRWIHYwqbTzp48/n5V/5+v/vPL1K0hV1LuZENxSvL/
/WDbJrRbPzboLZ2cpOMiZzALDhtj2w5pdFTe8t4NA3vh7cHN2PXZt4f/7/eixiB8mjDEWmZwlfj8
nX6/oo9nDEWATUgAwNqhr1nNurTJmZ/catdm/ccIrFuvykTrc6/8G208KreVVWfAmPU16V3iAKY8
bSlfU5fd6+icjMz+f36dTKRjJW///QO/f+v3j/Yln5LI9KCai8k4M8P9n4d+qdvTv16yaIpEdvp9
GAObTui/v7Z5DtiP9gwOHPwLuykSX9pqyYxyS2w1vmwQtCr3aRn8t1pr9Az0JZbzYJSFeR8lzD+M
rL0fbLlZzKx7cGydHlnbflr4glCJoVBH2OLvRk0D4rZkCBMroO56KwAtbKJQxqOzGScUWSRYJWcv
s74Q6LjbzhHdCoMFg1YmmKffBwyeHVMgWHBGXzenKS18vjQ4QPsyAJwaRrIlPHrpvvM81qijEcug
leiiytjUcfwSQ1xiCZcT7MmCi4EVdXzpj3dR2xqbhAnjKkvx+Il6OLVAEu4bQzwug0e0u4R7X47I
CroJloCkRgsQmtbejBM5ZxxnJqSalfbO9RYEY6JpN1OsIFEyqcwipzqk47OX+AZZ49FnOdBVWIub
7CyLjg2teXSQQYrQNzN2A/vljb0EW9OY1pWNwhpAGb2ZTW+lDesS57j7hBAjmUhGcrToeldLznLB
nzX5w+K2y0gfy4CxWbdoBfKsoRorumt1t0htULSPySZ1mdKnJppGXzEma9rukihAwfzTbkcq9BIJ
91TWeBHGdHkuZ2yDc8RmytXDs2dgZ0Ga8vsH54YxukmzeSgBGa3sikg5VzFrHQImOjOmJJ9+ZjM0
acOSrwKM5kSIXdogC2tmTQ8jwi2q+eKjFRkxM+Q+EH1NCZrZhrcvvFJcS4PiFHxmscP/s1wDUG+4
bIdbNP3yIYJlfCDOT0k0bTngXzhL3TZZsp9KxciqTTO/VrW4G5bafuO1sDYQxGSYLKwmHbOOCdVE
PGF5GsmYyp/zauqQct60plH8U954CSCYA6gfDIeY/+dVd5fZs4EAe3p1i5asUzXMnyn+GFmX7TXW
+ePsF/6jyYSoTg3JLqGXj9qyh53F4KjmyU4m6xbe0ngPEuUtvaFdbP/7e012m0pbIINlP/WXviPC
JRb6Oizs7/G9V7uM0cj196ErEsJi+CctWyx4zmRy8RbrHFk312hFx9qVPE2dGUMbr4P2PKUkOpm6
Zazt6PhUmEZMznoCst/uJpbxTGwkF6FOzqr24jMVtrCJv/McFtNpcOtSGalZc7xzA1nfoZypQSxT
RVR1HWx61TJVodDednqyVtIqqvtG+yUOqFtO022k1rUNrO8ImBoLYwQxLvaVmGH5uu776UzBnx7s
TN3p27sxX9A+LwPiD7P30SpqWzeh18ffds7cLA5684RtEiPqZLGfLY27QZvd2cAYPjm9OPfa4cHq
BWvCntEMGbxcKSdlpvKamGxNI8R++w6JeoCh8CFXiQjrllS93/9XU1j+2nWcq26I1WlKp32wDC2v
pYs7yRCEJDvkis5yepf0TmxSJR+XF7fzEaV2pBc5FIBe1sur9NzuMZfRG5RZyWaKdQ//hvA16S5G
YpxSMmQ3Se9bTFIXckb71ERWzJq3ye6nPhGnoXvsWsWcqAj8+xjn60lo2Z3yaQY851XRZhZiuFdV
M9xPZvzgxfi5eamddTEn0b2dN/7GoiJc++Zgrg2UO3ufeCosit5DbAevMAoD7j7aOmvwrJduHIeN
45N5w9mMFn08sCN5tHuMpoHw7ioQH/tpHNvV3GQKfdH8PCDFPyuX4UcG6DBZiuWr9utn0ofRv2ai
IW2+yJ6DFoMNIxNe9vyFWqnYRFQRB0sAPjMJmzg0kJ5qFqhXsko6GT/7QQoJEQEtltTC3fUN6rnf
QypyGZoXdYaUIbEevaZz9tofaYGR/RHdBiSSTQzBsE3Bq91PcgTnnuYHJQjvM1EOuS1GQmeuEhgl
HW8uP8nJU/HYgQ2xdo45ggST+I/f95fExWNYY39k8ogCc5ySO22cAbNV/JUUHeAUNfXHuGTiYrvI
NsvhSUTsgIVm6Q89+dIks3H3+4YKcsZhAN6mtZvG6Z7y/DAOQX7i+uo2TS299xQt/U04Ve87Dq5L
a5rGrvTJGJtGU13yJIkv3lNcmaSIclhtzXQsQ7Dm/PL2ez61xd6ysD4EEeNi0+P6HGxb3uvbQ+KS
wZKki/jPJ3oenDu/spaD7hHRT9X97wduGVljZgX/W3/QGEGM7lwbFHYxODkkBAGjHiexuos5Fua+
5c25YhGGH0gMr1GWWxcaGOsCoIBqoATnmDTezlNOeq8jnaIvTbP/fNVpl0lujxiSsf8mniK2pS4P
68DI3+y5M1GKWfaapDDrAMJmHSetFU7gbLbFgEl9moZ3WGik4qSI2XymaLkNEgT3THrbsOT3kx4a
woz9nQ2zkoGrO1317P90icx2nq+iEyiLgayT7VzP/4KEoBSzs7dRJEjbtOHEpoti8CNzZyMMUqTR
Iu9ZgYGBN1iEzwJ3e0QIshNHLEBHLPZThVnKD/xT4zJcsb3+PQPfJ8sEVk+DwqdO7Zeh8LlQmOjO
+OBcHWV7/NrZUbmIlbvcxazF1R90CBIi5Lk76QzbuRgvk+WsSe88IN6l0JndK5aox6ZfyPuOwhHg
3tYSdH21Dh6XNH5WMB2m3YhU+piS5uoWRGGYHlKkVmVh1WwCcrOgkbRoGgtCOLyIbIYZD1rppIJT
hSCFtgU8SLJ010NLVIP7UFT1fvFLOj+0W6OzL92yoYQlBbNghVXYN1/AZLwVk76j/+zvyLJbW42P
Uceg5vfG6EKYx831g1hkOM+Tb63TzKlgXPgXp6YnF36qjyMszCODDDvnhmtIFZ1yzuH2yjAYsInG
hw5cAIQtWzKpLv1QUmbkf8DPxKeaULMw70tWZcUr0AuGcGoDI/LRIzEJbXCXhXkbf1mZssOyQUfg
lWRfDpa1N/zbtbN8D3F2EFAWQ2Eszbm3xzcTlGpYm8ud2YyfvqTb0p3mMHLQr/s9ultB7kimnebQ
CFaDDpLbfML8lrnuIyTZgBXTaISFlHeCTw0REJ51nCvCZtkoMWzIz8DrnwzIxMG0/LNSRu/MGhB7
JX0cZkaVbg31NnuQShArtKEQnXOKZ/skMB90nJEPdjWSEAHLNnbM+7gM2tdRDUg3Cn70uX4I/EWu
OO/cS6wZ5y1lxRQe5dhRITTlttZo04oBljFwAI8Mlg4qAHPGhIzstt+y5ripab1k3bvBR2KBbZnz
9hy4SXMfMUFHmGFtSrNn4BIZiCzbhzZTxofo0p3l6yeVWJe6bYmsLbqjgekPJ7a1rEXg8u2O2YVy
rd3jLjcOvRiPpSkgnxRgJUZ3eZ7UWD5JvIzkZ5qvvZ08/JZ/v0VfZOr8aPjWt2/XyE9GjwKWrG8W
EBMqIXvX34wGQkJ1n805RS2AJt1NexSpFdeen7HAKqq7CdkgayoS0MW8sbyh37Ju7cJFfQvdvHoJ
4IFIRhhBWr2Zhoco64arH8BUtCDN92qaeX0CTDV0oYPw4L3M85dIIvgqYvpGIoDv3wt0ONRRux6T
5jasxp1WAxga+b7R1fZU8FhsfMe19938xyQ9CaRR8cgT3jPXZ1vlBKO/6XhhWydDF46NcOd08ltW
jnsS09/Fd5FgzUdtW/UO4/aHKWJrTZCX+xt65Rrzqc/GD12S9iSaDIEZAdQEsvJ8Ww7G2LH9Z8Bi
II/HSEO/Q/SYPCwueq4UJSp+kWZYK4ZWYHiGp0nmy87oGS1n/RWjsLVSZvEOovjHdKS9UlltrwuL
4VYhEN5nSMKjEmX+wm6uR10Mhh9kkTbRkfP2O0EBsVkxgwl862giNjprGrKB9epvMF/LTv2pLLXv
JX4ucgsm1i7EBRWu2W7ajEWXguEcIiHfCqsV68Wv7ZXBMDGBR+RNDaF0Xv5pyVltnewjYKm6G/sO
SQDJI0FhIszRFRqEnua/M57rfGRJl6n33u1fkwoc7cy0FlT1U7eY7Jdh7ffc1Uq/i9b6ZxajOmvM
3oHFNSgoDOCKAOp1a7VzG7s/zYATehM0iBNtkly1G02UlTtk6cZGnaJl+bD05UfiskQfXASFY8zi
GpjpFh8lByD0jTDN0+Oss0eLsrStfmJpRLsyaxxSLMEMBPE/Oy/e0xkQhZ9gjmKKv096J97UAVSe
2Y9/nNGawiHHBu8Y5r/KSxgzj9OXKY2XciwRg5fsa2YqGc9KzjZ5j0MwOvdQFigLquqv07073jgh
LW++m4DiPZq5wQ2z/ZwjSh2TEAevr1CFoSuqbSriYRCoMxiCRQpYtuWfNSviCsLvBok3XuSFdFlz
uC8LkEvNqno2PDr0XrB/Kbt3Gh6sOjP3p7QfQWxE6we3zKCiNzh9Y8WEnwM+8sb3OLmZDnv5L64m
excrJk0Z7jNBFwkPxHw00z957D1r6e2cYXmdc5ZKTVfYTBZYEpoNyxTn4Mg8X2tvICQ6S16MXLK2
1BkVTPXl9iRFtBWyt8l3LzdrkRlZW9eZxKqM2ocMziXvp2aXph2Hi8+UNbihI7pyZoNiim1bY6Qf
+9v3lToHWWO38RXqgymxX52FwZjnTuvc+9PmhTwGt7XvUrOXpd33gRkoAmKcrnnNqEY30DB2VUnm
+zStwVODZeRkSG2UhABnUrumu2MB7Na22lJTsWf2GOfKGRuehUffzLE3dmOzRjz6lE3yFCMcHPwF
KkKkmb0NxBIjtDO4ALe5Mb/UDSb5NiEoLRv5B31vgfcwwyYEEw81hmSzm5rT+tLmUGBqlJ+5jahH
MhqYGsmclmFGzbdWROn7NOjnmasT8Iu39xPRbOJe7iqOLa+gL8KRD7zmhlgvrrkn7yoksSVNv8iu
vQ/xx694rbOSrq2o47+q5UPSyxrrhjg3uADAc6hjSlAC+1C5j8xHuDQiHG6JUoR8lg4Dg7p8GlsU
G0YZ9qYUezP5GyfTn4Kp08pJkbbTfYZlieScYw4Nq9l8BR2SM5OcoKWYj6UgCKss0+cUzehIE8Yz
CQG9HFVoR6QIlNxKoHqGVw0m75AwXeJjzHJWFGg4YIslm3kGdwI+5cTsyw6hdK+nXL04ZbtHqPop
xOOo6ycw22AS7NYJ/d4O0ZXfnhiUie08E7LD+RNFzl40ybDto6piS9A+OFny4eeBWLlcUquuK0+q
HYtNkX7NZe5tbBs4iztPDyLFsWBFA+pmQGvUo+1OZmpPVcUcmPu77cgp1RNPUiOdnZiIHxdwlowA
d5/Mn8rUwbZU6J3oh5zONVCHIiBm1/Ae6xr1iJ91/9JoXvU3NyGWMTSKBOL2GXZT1zY9ZHIPIx+B
qGzxZuTNH5UR1dw6PXSI6IktC96w6S5nLr4mw8HbN2NDkvjwkGF52Le352+QMG7MiUY0CbKjCLCz
mt5z4rvnXBMOSqvx0xQkO3smgQxR+Se/uf4AJTfhhIF4JWznzbK0vSrnMoHoYP3ttboindMMFmHb
zQloaJvBXrVkF7sWxN2QXGbE3hvf5MKGMHtXc1KATEJzMzvLHWA/5mW+ydSQD8Buqc21bDGw4vo9
yYA9KGwugPqoP7MERajrremiw/pW4QHxaVCwwJ5KTQK7erARswfZy3aoHSqJDqeqBLMRJAm1oVDG
jGg9c7ynUETeiHOYNqwOeCO3Ddk0VX1Qtd2ejJzdFdwDIMznmreTb3sjQa39OeCQshDEOaV8N6P+
xNF86uPghxRObw8SEZUb9KjZcp6YtAE6TGxu7vxzWfp2Fxf6XrXyLZcV6JZyl1XfsVHf8Vn9bH4R
PcwmS1w2GJoK3ma1OPmxdaey/jzH47WMrGaTUO+x2XQpFzHz8JPjPZYsUVwUVLhlepA/DTSwLgdU
LUfQQDW3KwCFT2xwjEcGs7wYtvdn7OqvYfZXPhvSrV0ioK6ci8zi8VgQ2Ob6mGDat5n1Ki+g95VJ
XnJrcbr11IuQjImNGRrcGNQEyr4fockso7nLGU3QBHbkJ99AFYCucDo5w/PS1S9ofIp12VH+J2Yj
VsHi62PHrU5h9on2DGhH7AA9YGx08vVEfLuA6cR3X2TBtbCTdTXiYiMEEqahJR8RDCMkQWmxMtL5
LcDq7HLQK30ZLfvVi/n5TUrjyGAxt/QAB3M+4fQpMypmA7kVEgzWaY9zZ+OaMAzQLLX4K8+kKHAC
q75cZ7nkAwRHZ70opyEtRL21E8t4eDAbcn1eSnrFOkuI6FKESI2AV6RKGeTamM7y7rQY1veCYUwT
38quNcdRk1D8L07MQX2reh8Lo+UskIqNidUgxi49M8ymRoWen6kNIJYE1V1OdwQMcXZgh4EN2y9j
8GiSsL7xDEmaSkcgc94x0a10B8OMxI+mQxjXMrXOmZ2Glsdf7oZg39gRwBaDlq7PLFAg/lthPpBZ
QY0IgmQlghztbvvm3yg+1hC9dl3/2TdIDDzN9FVV29zW5O3ZTx35DA+9yvE7mfxtMPuI451pN3Wa
8KxVpjzrvk3zUxRNqIz1nKzZw1zq2IzCaRSISVr1xxxtTlM/3oy+euPO4I0cBybCzIk3Y+udGFE2
GyfwyB/u7+wOdL9tQtYb1kE2oov3i208pJ9YvSj7zeoxYuBAzpi8629q3yqd2i200yddgUkKlI3U
M2IqPnfi3AFQjBDB7ILYQptWmJ/ZwkreltahGDjM+9o88CHkWMmsMEq8v3VSRdwCMdBEn8Nad/Eu
TkFW1kyslI95OfJaHGaRwTPsDjgc3LamUOOu9hf1yN4OG1CANcpQ1XNfRXQENvPIpYZ2Zcd/CsaC
1JSQTth/PDeTdalsxtUCozJhe+Z2YY7OlK/e+RYzYpHpGUfT0O44YbeBEQQEyc5QKTHxGw776Wga
8ztSy+66gM2n1xX1JZuordwOEbaf1u4+Y0KlYm72pO0xFwCNMlOcP7CQSaIoxT5qGMv3bFQXp//K
KkI11EODOy6kdsFkbeNgjK3sVKTTlt4vJ0/4qxQRolfS2SqL8Wu1gLGrRtAOQWStlWQhSaY02cwF
64+pgFERLdu2iF8VaoX8tl2Pyv6h4JImg7Iu0MDBG2PBfiqiIN90AxpUM1HPpU/XhiAVmRK2bkCN
chlOiYkBJZJwGIVXXnVu/BVFbeAbkVMY+/XDYlRnPZqfPWO0sIrSeZUF5vX3V5ACq3UJL5ohOMxb
ySpl1aUjoTscmZEt9MqXCLe6GbNjrGKOdI8nOhq3lgeZp1asxG2R/ehuBEEL165DUd+kyQ/oSaRu
lr/cyI979DbDS2/VR4q7cu8FCH4yF3ubVaNpSlKn3woP5awor32KnCkW6NXmLNsu2DFDS0IFHEzS
62/XVSp45foYj1TpjNtq0PdmOhzRRB4GI5+u6Tz9EH6Km862Q2lJ7swO70BEdBeTm+k051jGXE06
gQ2dFlEkkqCUi+n29oDdUoO1uXF2Kso9W+nPtNfTlpB6WuHJDHU+/KRL+TZETrGxjY2mQ+BjSn5Y
jx2utqjrRwdQpaMQe2SIeYLojlUR6wc/vWm0cUBwLA76nxDxawHx6dwt5aeq85m6ST/4k5efvLY8
R36D1A7iYJq3xR1bsrdGVGPoJgkEIWMV2YxSqV9Q6LT2snM8no2sMN4oNedz6ecsNRa6UNKj2Kbw
kavs+aQIaLxSVE6K6fA8RSbVWDnt6qHYU0afDA3xwVgEmaIkB635n9mI+3CHunttJvuKcVAHI4bP
PkimJZ12Wcr/2LWXdWZLfLdlvx5SZJZ1QeQIiG4kcLqIN8xYeIsUx0FIRjOJu/Z6OB3uzM/iAUho
e6CDEW6sQo4OWr4ZaXxjd+hMxJ+az2UijIRjl59DlO0T+arccGVFi4TAL6mX5CoUzpQFi3iM0Ilb
PuVUxTpQjK3PNUckkhGPhzmFM7RMPzMbz9XUd/7WY/9wEqZxVZkb36GzBZKTvY1Bam/z1CaM18E/
3sTQgvB3NN28HluHGruBFshyDeXYkO567B4dzph16qBBD5JkOtdE/uBxSR+TEeURLI4c1i3f+ohs
sqSsshF9tPXtwECtk9cFfz/DbNjEV1pCsuq85tmrTJudWLJzJo7mfpb3qoivhULQ4rDuA+NBq9qA
2erjTDEhqQ5t81lnn6LRLhzPaR0sgY+8wPqeK/fbifg5uhKiy5jciIluvrEd83Ny88eudPF3lv1L
6+EoX0oosTUQC/RDnNxMRHKFfC4Ivnw/QmVo3Xt5/gf9/asReduhyj5neotwsvzLGFUQRSacoTOZ
T6EUqBe6ZjzOFuxEc0CQVfbPqq/DrNIsChGrb+du6V8mpwPnXM0HPDN3SPYR9PeV3pBX6YW6RN7L
5HmVmxE3CbhBcrlhl/C+D7PYC11E86Nkxp7G2OoJbQI5eIuwxLSwUUuMYr0fdorVYEgwWUEL3N7E
Sbc/4eOxzONHcxBcrShB5W1k67cn1lXTCuMgp3qObNLS0J60+VO3KTpXFX0WaXJeGjwGADj/YFdA
WAq/VfQf7CDWyBSgHYve3Iy59z2r6QlBD97IZtt0SFqt+Umxx4e6/xAYx85mRKoihr2lKtFcV3UV
eoS5rlsFK68bhkMRRS7B7ZIBQOocEw4UlFka1wBS7KWgXzbbMpxjuA9uBxuSzUyQlh+FYGg6zNrg
CBqOy+hT7BvuuLF26VgnYdTk/r5BkC+yMtsFIvtkXlxDgoBjq93hr6zBaniY+sTYFTso4NFqgKAx
FXDYihKxfYOlCDk5PxKTfPTvTVr9SBUFMLyjZSfH/LVBhEyYFhd1CTgJPc4mHRKk1UCFRj9g0Kuv
eYVlcCG/q/AqhiwGo2uvxtlo8cIbgbkfTR+GG5I4XjBL8JLkXo6NNafBQH34lWIXoQe9qoQgyrl1
LqK03oYWMWfTWDwVMmhXSK1jJsjLpu1MD79UWSFxxXRA8iqn32hWVJB5mDKXXnmRS6lXYyQcXOZD
EW7hJEE1ZsWIZAz/ZotPzL9KVS8NLLHSMrJTb4EWwOnDq1B0KESmk4eaceU404cqc3wwTv7uOU17
cLr4S6Q4Kw06YaIzKwELp9X1sLdccR/Ncl+17bNpMZJmdQhAIb7raXcxGZV/6zaeAGL5H3YRfFW5
C9q2vgg/eyZwHiaO0ZQglFRIDbnrbNBbI7QO1kps5V2uVT7/fDQELiLMlSw8x+3gtbiHfJLGzDpD
wMA0SCCHqXMD4y7AXl+CRASFfHA0/uVhNKj6aLEDtsQY1QbOu9aGmzBdFo/QS9ZrD0aOEytHKWw6
zmurG58XVaowUd9G9E/lHmojaWIgYEoJJBD3byskCMcBx0qCJiseqpOe7Z/UG/7oAcFhUk99KKt6
y0YRVXSw6yBueobzyQbwKxZDxNsO0jkw40Iii42xx5QRpWjXfBtpfzTsKjig57l4cVufZk3ZVtrD
gzFg49MGY9r4HyKQUzZBmQvi9BsL0+tipYQ3M0U3avmBmoxOc24OBScHs1UHaS5blhZXSDhMhCmm
w2vwMYzOP4+wuVUy+FRXDETU5H1FlPDhgL4nX0Dx4q4guMyPdrlYkrAuWQ2NyKaxfU1bp+ODW7cD
MyrprHQy/Z5bL0VxI7Af/hdl57EkOZIm6VcZ6bu1wGCgh56DcxYenF4gwRKcw8Cefj/U7K5M94js
zojUoaoyMyLD3WHkV9VPMx6CoCdoPquQVmeW2QGQD+YDInfGxAJG4uEP1Ay4hXpEY8zVYxIgJOWM
9ul0qWCueGRJm48xIy8/2DSWScgsDj9CK0uyjwkwN2pZDrb9p/AntekCubZbfc64Pu7nKXjSnifP
NKOP8A5PrVntQEFFR7sbv8PGSRDVfJfBC62MbtQ/4qrHJTakl4yVefKTZl8P8jbVPhG8Cndmgzd3
7aTDSYAu67pH3XTUEpJ5tCzbRyZZQwFfJRiIcLLcMUs6UgoBSK+G/K2NdsmHwqyjzPvZb8gOdmJ4
yZj+wGPzby3HuE8tuDtN4H2xKjMLVjPGmInNq6VYEB7RKKj33XQtH5s5gDJQMUbi6EiA7hZA6vSp
4OpvEl2zErRw7QuhgzW6fXfg2MFcwLSijfKLr6LiC0TZS41eiqCJRSuOm7UWHcicoD5AT0xBl6en
uCfkmTILU3GNcaKvfzuGxMMgfwcBV61gFeVHQLdu2U/aCceN2fAZH2doE0RMHDp6J5uq9rphJN8Q
lRxQ0ZfhnqyB8Y1MrMpx2nkZmMy250gBW32LSnepPFZY7dwIfsaVanwic+G4t/Oy3A75aG9MTlpx
j3G+iDvwe4PxkTsjsH4QGBamsYLJDo2jGgBc7W2S0ds3MzidkgvGtkjEyzCxaM0OHAziN5AfmLl5
WC3KDsTXMOev87xP0vK3G9yTGfLdMlvtJ1BWfCPGr6GF8CeRssSMUtYFx0L4ZxkT/qI2euOHFB3S
u3lfjPBGJKadlQu4tDSKV84exnb0SCDh6Mix2nf9HKHNe0iKNup7+0wR9WODnQh4BSCnbmJCptUj
96u9VhIIfJ0v/IjizHWDoYqyt4LbD2MNklAjpisYK5dgnp9YadpVOtEdkLCiU2JtIPIsF+OUJILp
ZLtJsArYjX3sOYSvrcCDXwsHZ2WZ5X02nN0JrLYT3xoJYQ4qQMvofRTm0aInEEQFt+Si0Dx9lrqJ
mZpywALhT7E2ASZnLRQSzBijvqPT73y0Hp6b1NsuH46KrAxKVo6TYhxvovLdYIdcWyhO7Pv1m8l0
p3LICZbJ9BJnuluPmpVlsEo4/es4AqWfjD/8LS5Z7N4uIeBhbC9AuJ9rKn5Ax2/T2O8PcyFIgjLT
ziyAzXM4vLuNP62wvE2FSy6LYW0VuCVYW+Ou8W/7yAcaFLcvkQdX1H8souErha6/q97mhNNK1QHk
dSvnambRG4fOal2ajdxq640VlLIhd7ibO3EnQIdidmHsXF95CM/uaB+wsGuMgA4hGx9lfiiSn0qS
dsZnES5jBFGPu0hy1Z4VliPpM0cyTeipLiA/aahPJLONiGIU0bg4qIXNmn6NzFz3bUGxbDGQgOtp
RMIAuoyYhkOsawVca8+lCUqW6Xj72rbB+XYgimezoHZ8URo78SKzyic9wySIdtToKKrnLBtBk0Pt
NTkycYiCMqIQZVBx9kYD4zmZWUkM12IGKLszFambqSc7pYaQ3t96vPhh9hDm9p98PlN99ezzIY+Z
TK6byPeAAUFWdwYmtBHjHU7YZPtqpz1kuX9pJV3sREuXizrARab4Z8+zXo2ZRzwt6n6bON/CAuXn
2/V1kJKERqifIsW8oOqLFwzwRJsC1piZaeuqyYONsXSTuowjEQAGNCgXlWaATQ0f7dNK0ZfwH3x5
Iccm2xufMkZHlGb2CewCJvK2ZKrPMSvdaBeuLW92U98hSmAk8Kyf3JEXb/S9HTMeMhYNiecW6EI0
W5u5tj+dkGwiEVzqPm0uS4hQU8pQQhGFigvgSGOdgvz3Mtbemf8vWLJXw0GI6TdSzWsS2XsuNg8j
zSGVGZCNte54snu8VUxIIw94W2QzBic+6AV6g6DTY1zlyZPmIbR5kFyGJQVQ8zDOnVVWBGJPXYkH
+1Rtxry/U6lZ3wlNztGKmmOOxunkrd5nYX+VdRdv65KL8EDTvWdX3yMSgZiQrJLIxRSsCT1m/W1J
MIvL+wg+oKB4FL8Cmc9UHg2LeQ9kmiOnx43pM3F2W/MbN53Di8R6QIXBtp1R04Epik1ZJN/RKO6L
MntMrP51DrANMBP+Ln2z3HYczKrOPuC7+E4aPz1iZd9mZO1M1XQbwkTtwXecrTkC8aqiT1qBXHgz
xcUGo0qGLvCwQpJcl8QcoeZPq7wjvdLWgKZ9rPwIWTehMYuTtsQzppyvCFrlNhx66kxHNIDo2QB8
u9Y56Qz5OE8MCmxMHnNK12jVMRIYGLfNo8uIL8uA/WGfTav0NUg5ojeYa2lfku9mMzERKj7Y3133
pxibZ9VwVBcBlSVJe1cJfepSLiDlWHwkHrzFXL57Y5LySCLwp02ktrUdP/TqtTSyw0zz2AVT/loH
W0kEep0S6Opa0Pli+OyVfC+a7tZKrZdWcpDsY3XCag0ptNyMRFC5t38SmX6UDW6ftjfBiNrJVpV4
ZiVagutoLpLSuCIT9BuTmcs25oU1tFVirChuG7ZcMRYvU2dXJ3fgX5gNnaQz3MY1/m8dwsWncfsu
sYmPhwCViPJByJRj+qgNDy2V0ebYPdOTSFOEi/fYz9K3uqS7IqlqDmL0l4G4I/9d7XQDG4d4C8my
aWFKQAbus/jixDjYyQCxQDYjVAg4JDv71it6lPYllGHWJrBJq3zzLQYf0/Qa2qA4TaoeAcIUfD+r
3pr6znFpONKICDYx602yVN17UnKTn0JiuXrZQRl+0ZCMldbc+pPzQmsK3NyYoVH+huWx3vUG34mp
CO51nKM8P5bDLzvt+KeY0quf+/XKzKdrjwVsEzcJQ1z5haExP5s+QZeGsTsfT1gdyt5FKbH3oHBu
jTh7cR+ZCfoHsKYQkBPMi1RHeeVwW43d3Zw51c7jSK7Y7zhezkT/hX1UObJundwOzXK4mcKnXqX7
ru/V1YbT5JiEsD3NHm9E+OTsuDnKOvkjy/TQti9ZWn24URdB2dJ3ZcBfiZJgy3ffK8VyU2PVpOG2
WwbHFW+w8g+BKf8EAxKQWTcbOSTMtnIoSCFecYx1O0fbjwDoXyoNhwlM9KZwuFzRcr3tY/3hpDkD
lWG8dF1W7ArdmZu5w5Dsbunc1TvPs72NL9VbJcWGPmUOyF3/TN0lzBrqnzaiwuyq+wkC3IB7C/sn
sRu3IF2d/ySo9BsquM2dhYMpXax4Mp9+qELh4NGNTzqm2Bq3K+0DSp4z054XoCuJ5QUN5oIUm4xK
rqDNO/I59vDBMdo2Nspl+mxOCJZgE5buIHHs4KBjQ9gSrPsKqZKKA/fdtqAp9h6zhN57MRjV7ysH
6bGEnnUi91yUTkWZOj97U7YvVennOFpBRoQ63rgL3SHD4UwqFnfy5ENoFfWzXUMtIcqpLRgoOglO
ecS+bSSCXcmx3ZXHYSRQuFaDGOW3a/UhUeZXOExMthTcQUqWc0AcLthz5gbjfRwPhyHpGIAtFK8p
tmoS4tVHXbm8IUVNKUZq/4aD8zF7dOWUToy8x/U5kjlbhJ1ebkoE+XXWsQmUyv6e/PcE7IVJmGYD
VmsJkJlP4HqT9YhDaKPw8G9GYeCOcZfAlgk5LqfxqEMRHMGjbSh0IPS3lLV7UfSqLdfZsF0e2fWm
jQrFcW78B6GY8RLA8BtrD2dCrMIkvVRLrxnaBlH6zHtmpo/HsZv5aErBFHyoKSjhrNDqDBAiQFME
O46Ttfs7goSnr4euHkm0Dkkcnep5zAqOMAnc/xZoJ5PAzr7v1I9d6j82b8Suzx1vI9PvymOgT2vR
OsNJEQd4HbkY6rXfw+yicMvqnYxFqSB+Vho79pCAcy2eSk+OXJYsxyPlhqDQFlQ/hbgl8GGrXYcP
bC3CQuwmhXipTGNvlK2EMuHezX1t7mUIXaGc1brT49pS+Z0dvrlDewMa5ewA1EvqZxH8YbB4p8z8
kQtsDHOC2bKT2dvETp61jcbXVPEvmZI3k9okeImaugUpbZAqABD8ft5NEXpQHFfmwRDqmWqy0snP
bkmOpYoq1lezorOBj3PaLbzT+qPQrNoT/qzewT3nSuBWONLn8LMOsVC2k1MguEXPhW4PellQvPws
Gv0TmhP8a170MoFHg3dnZf94lfiUlXJ3fZz8sROz2vemgXHMSsFjzNy52Tpu8kY7V4acR5tc4Anj
KCHkwOD8bzF8rh0CrYxIbhDOWKR9LONZADw7erds8TZyg9g5ffmC3fOx9Y2OhNiDL9tmN5v6jzmS
Ba1TWjmsAitKxYctW8Ac+EGw/zhHz3W7IwLKzPvENx8fRpw/uaRPAF4jwlWoxiMzmB+sTdsi/GL5
AiO+YHCW9OTnvHT9De6yMT8saZcomV5nmWHkee+sAVEUUpZRHWPISVbu7KMQU1flnzFGYF4MqxPn
fP465UkTtiTXAoYUKLG1pkNg1umdz0Ki8THmMKXVssAT+5yDQ6PTQ+/n7zWngngMz9OcvsuZJUmM
u9J7b0yu5UMABUNFX6lgH/quC+dcxff1u12Fd1K+huqDJ+40sAtmMIDgM6IM+icsNVcORpukar4c
YBItzY7DK4FZCvx0/+z34w0y/abyFkMFf0W4yXoo3uqaV0FzHbBb2tITeP7ZOsd1wCbD6ZQ23A73
sNyqwt/5t2gjW9sGKZHJew4eH01vbb3gLmCU6YfWvQ2ppFAcGBZXgjMiQejgHGTgjOP8kQT36Oo/
oUIG7X01rQYafAZfHp0kOWgzerUrMA4cVDWvDDfS9xLXNcf4ldLmPnLHp7BNT0WKj7O+02b/Y8pn
Sd0Rq8mqiNNtkvJ4Qh21nIfJCLmjTKtIeFddXKeJK9BfJaP/o77VpzLnn/9n2ep/r5J1/1teP/Pf
9l+/1PK3+S5pv6SAtmv//a9fDn/LpQP1n/5ji+Grm+71bzM9/LJmdv+nlHT5nf/dX/y337++yhOY
/3/87RuedLd8tTAui38qVzXoHf+/TbjL1//ff275Af7xN5Sm4peu3P/4Wseff/yNImD+87Pt/vE3
4f7dUXBcKcUFNy8pxaWn+j/qWIW0/64cSr99U3oubclF2XQRf9r8u+OSbAB7h53dsE3+RFvq5Zfc
v0sfv7jvS/w9tuV69v+ki/WfW6c9g6EkFxDXkstX8+lk/ee+XmR2FUS6uCEHu2r8s8jc/09/+z8X
aP/Xb/AvhcChXVutcMub1p52coDkLM9OIQ7Qd3b/6QWn7ZaupOLfCp3flfj82n/8TRn/UsH8X7/X
8sP+p/LhGepHnBoOXg1Vs/vNRBFDG/N1EsY3UeLRdonmRDdxM7ePnsegf6Ar4ZjTx/Act6iAjDsr
SL9InaKEDlR4i8bjDPD3MxVs8LzYUA/bZkCGMNKDn/T+MzCZ8WDNuUlFUTA/OUFj3ubNEkSH8QD8
jG1DxjlEjLIySaYxYycx2LZrlRKBHRUzH0TDDKJdjmdhyCHZgN0VB8ZMHIqpuLAOyI7RRUOLfwxr
7hXeVDGiTCbuK22bVi+mIzjn0Lw4r7VNaULm+mNw5C5J3yeGsj9ITbD96I2h1EsqwlbEp7Q6zMyw
EaT4AF6yPOtPHScbDkND8mLpXL27Y0jro5bprQsG9TOIPLrJQmWAlEfSRtFKEqc/RQ79lfALg6fc
yZk2409cfCF9+FAl1TJOnTNFEJ0f7VybzXBosix6YYLQLwVrNn0CSMMMOrPsW7UCamGVs/Mm3mhf
sbbX74wHlg0F9m2rtPupRx4i0ksCDAkxCponk/nKBCrZZinHlLJsKyptDNgnNr0BqvfdE4FjsvVh
hJ8W5CkifDiF7NAAv041ksGZWFXyguEHmJk0Z/qb1OT8jm0h9zMfQt4Kp952ZowLXUv7UzaifRhw
A+UMk+kn68Oi+Yx8Cyw3eA0AnaX3YNaGubZzKOlmmCEGzjhOPyIshZepk/7F7nTNOIekNuOlHFis
X+CkqizFbZ6U75mnpH3yBstmOpcXZMc6kIkqZaRlCI+hS23fOOgkF2z9dA8NDC0zgcvKkVbM1j9+
j1ZGAWhJbmqO2UDQho0rn2f4DqFT3ddhwzymK4aPtG6tk6E4t8thMSNNYXyepor2otZyNnDBHDxF
dbYfHHv4yUfZ7GJOgFfHs9ViA/rFkB8/BRwBtmmv+1smQuHe9ZClO0rLcf6m74OYTtaQncORvoO+
YX5N32f60xMPOnRlnzNijxgVxXR2lLQqnbuAGqBQps6pW0w36H8THw7UKonlFS3j12vj+VYPCXJK
yiz6HLu93BpEa89NOowvVTCMx54ephQNxjT3jm4JwkVps6utsHjMlbApDnRKjQoXKO9iySaFC2sO
0xLQT1x2bNVP9KSNwzXXgf1HaKXvC8KAIDejCh7fAIgnGxv6VdHIIi5nK6Kp6mqYpFUFrUQEXy3j
ts2b7DPuyaj6Q917NERn3GobI7A2kqMThJM+b261NfhwD5oclk9ecE1Ka6mOdjIwbh68QcA/AXm8
gjDGq2KYRX4M2nm6dm0U3VfOjIlfDxJHQZNTG5JHHaVAuaADiciGc2fXYKbypoeAVfiUq7ptWf62
rcctsSBYT5wwgAnac5S5q3JvQcDDYjO4qo9Yl+Nq0jyyQ7CFiNC+aiO1TpaYp8dEFtO60aK+7WYJ
7J5XwJo2fiBaplFTitaWRDesHe3zOGXgnt1ufjNTCaazCbJTgZ/t3JYz3ZI4OIGOmG1wUs0y3Wn8
6pYspdgkUQxcx+EnKL0k2XslNoYmMJkSF7V/dtJGveIrdVY5eJYNkdAMnZwLkBVAuk78vr91qKLE
CK5pjM1lfyzzKdkrkjJffRLlGzee5p1wAmMHGC64t4RPhSuPxSqyuumWjuP6CYAhjUJuKS7kuym0
aGnn0svaCXcvio590pk3kcqjg19VuHRaG3O22XCayzHZU7dm9DeoDf7GdYG4+GY6fAkfmLhtRf69
U2TYt4hPWQ98FJ3nDjbBxquG/DRHowOkVyibNASLFTZJTHEbg0TRpa5n/1aPE/BG14dn0NsTbc1z
3z9McjYPfaKNbRGMFtFUl8B1q1OCohI4XAXZ/BNhC/4n4wKTnkjTU3tpAxFZzzyAZ8M0uq/CH5bG
lSSk/ihhrBqkIoU+FYHGE3F57hk6UsdRUPlbp6QNfDSdS5mI7EElYbGl2wUnVMWcBzQ5sgVcqc4V
MxgG1IM1r3T/QNHuEBOn6BhA9soMj2PphR9V7VF5Vkx5VsI096d3ATDktvFwXfa9cPc28UkOtZIm
nlVDpuqSdSDqY8PNT5iNaQTOjXm46ZTBKMzBLN5sPbt2/pjg2QFdh2n/lQzVvHUzWX4alht9qCBp
vvvBAdhUs3ySBB4AchbKuMycB4/YD9xzngFUCbGKnR3tuwLxqCk+8T3iQyDDCjCzTsLpktFh8aWa
ClRcH/YmMDgZTM+c0soD4NriEWml4KbuqRPFFvKOxgNlrd1gko+dmM1jzuDw0tVRcubAT4PnkALJ
NHuXPGhm9aAVp5DB6UDzWzz4zcPEYPGGxX58DhOUuVUEyfgU1m1pYw1w8u8kVzbXv3zIN1NZgwNC
v+1IAofFfVNZ9R1dscFz6Sc+hIreTE7SKrnW2247ni1Ig++N4g4CP9JICZvyniEb/aXTFC6i92Bc
TBNAWUxWbzNw5Pkdib49SpG7V5D9PhbAGfDjHGr9lQiGH57j1bfS9MnyBbU8GGzn5Kt0s2kd7ipU
5+IvQ3XaicHNyV0SVfciE09OFWvg/gMghhGZwOwwerYt1QSgT3lbklS6F+IeJYGL1oHFCn4bJnLs
qIdqMiRMgkn7Ac7DcWJXZZWC75JCDJ5Gqe+numTmlGSyuCY14GWip+2+sumDiATxhE63/ZZsPLJL
TezozCrL72lS48aYTBA7mTlta9+xyaqwR0WFMxyDmaIOwqRueKr7GLVszOxVLjLnGpTQ7FUVN9TV
UzdS9m1BZLRwN2oyypNsxSIH1fl7n4fOfbbYHXLQ2KswyNW+APZ19iYfdZdf4Q9rmZ0mu+s3eHUh
TSdGYe/r0ChfMqtTkNdlx1C8gB2wzWDcssN0M9g+ZDbrxZP8W+0HoCxgvM24DqzKP3l2kX+6recd
YTyYzF9z7zFBMzx1vg3hSrhIXoQOlzJJWd93whPXLGuzE/RrDP1x1jj72BbJdxH20dYtLHHAZxDx
coTpnnkalQEt6YfEhmrr53N3VDxDm4Sc3El5LCVJ0ktws7a5Rt5m+Z5thC8RKjT7TlfjlVPgfOM7
UXhTBK5Jlqz2d/jUyTQOgiu/wal7cPz0NZLAMW2oaOvMK+dbU9Oxw4tF8t5nROZYfX0/+EAC+loU
Jze3vPNgUmiuMCftWgPmVBi4xqPhTdZNVtX9Wy8CwOrEImjIGyMYHzwm+8YDb9kbPsXgwxzd4PrD
8aH8WnyhbZmQOjhnrtyZo/tq9kmvp42nL42n7D3QeeLlsGgKpiGUYGz9maKyWU7hq9kFPfeCxgOf
PTPWRdoDbK5EUW9SW85wR+yQwUJVOAD7Bd5OBlmt92smDNoGkg2A4Zp0YyNIvgccUHYQ78TTKKL+
AQx5ROScTOO+TkNv04myvzPmsuDY7U0Xq8FzSq5PEFsr7YvbLpZq11XoLk3qevfGbGYnDqLzTZRW
5dU1ypCKtCEa7miCUKcg7uZNnUEHUX6nj51Tc6qzjPiT7vF6U7YJYznSGA6FjPjgN1HkTz9zNsaM
iGLU9B2wl+aIyTQ/jm5Y3YihnVCBeoaffUOUNPdxTUi/vxi+tO8GL2a2XeGV+aS7TtAaQaQsE1N7
74cQBLOgjAjigJ0zUwOjVUfTLd+c2f+QQJQvMlxemiDz1oZMeHAaEf/qSvHWto7GgtUz9VSNDr8J
bCfVxmsjOJHY4WBKGBRatu5MysQECHeUgzZvI3O897MEk2cTtfHOMcv8xCwfAGsmUQ/6+tvgUjEN
4ta2rWbj5Q6zMqsl/ulF3XPqtwZ1CUb9h0+voQ/MUbHTdrPVqE3TKvzOqs7JBSxuzUAn3lYuLroV
gzdMkhHxyyNjVnsb+JXRc+OM5nc5eTGtd77Ozignsd4aaeg+F2Y8/GDUYSEnftC/GTHQ+ZXBafTW
8by+5UbVdbsMxMHOSyZMT/XkFTRftKnPyHmhiHvYs2m1hGjnxSNSBFvTXeXQ3sBB3HkVUciHlcuo
tZ+CHHlLBcRDZIOiFmLpOOcRNIKgdfzPxp2tQyMdta/d0f3GLGKiK7jFsuuH1b0biuRKfX16k+fA
E4Ar6/CC9RVBRziwS0LY/zr2WxB+uv71fSe7zuCF1kAI/uQT+ExiEuPWmUm+TjSoPYgijvZp4ZMI
M7piL6YCk3k61Wotpq57pSVDUuwwU/IqbSjJ/vyZ+xVCug7TjZXGxnsVm83WxUy/6QzrChTnXVX4
AOnBixX7bxMPv7bT6wMcTlJsBAQLfZKMUtF8gxyjZ8UYjiQcQpbKpP1Wm5rmh6KZNYY6dmAzc9XZ
6Jv82OJ6CtlNKGWgnml+G8hWXnKrL2Hp6vgmdaS5K62K9nCanx5qpXD7p1XmvIBS9m9SbtScJo3q
7BM2uamW5WUNhstemsdEftvWsNZN1+9gVhU19rDBTAxI+3pkrixK2La5MX0PtUDN6S3CSzlLOJqO
nYi1Rd/lwXKbvr2ZiaPQbikCrv9dMF+7ukWibafEPyqRGDyP4K3L2hCb2CetNohmqewTJW9pHX8L
ZJeXBn7VnsIYolYZEUr8cY25N+0OjbbjEGlKYhstlWWbqMytY+/X0PuiwX53zdK+chzEVt401dLj
oPtyXGtA+MPaqCHmYvJ2Dw177VdYqJpoTFtNX0W4rMPWzKEJ1wRdpCs+cNnDWM8eHkpOp91rXtKP
tzeCCO9rMFRQK5JxpnF+sDCKH0YR0zyWNFEh77K8RIsouCs3NCt6n25tM0b3rD9hBuitGMMb0VvZ
DhokjjDS/YxfrOTUZHSwpVGyD1w+jJAoko1dx5+DY7wNdvELYeUwi/ljLE2eKLXtuvo2BKQpjOAd
c94ejOy+lsWFs8lTwpSsw3BD6xpX0inIcDiFD0zE941G6fOtPdCNW6nt/LUZuItl4CUOE30meG4N
GhPoecljVhjRzz+WQwlW5KFo6DbjAifdT0pVGxT0/sYBAVEFzhOm9uQm0AvfMKEW1TBH2tC45lxi
w0NU6w38iC3I+gF6ILlPdCGunOfCJpIwDcZvppJ431bZq9RhtbKyiOjXRKttmjkwm2dnXHFm+CgE
P/Ws6YQER/EntrjdWDA8m5RAnZrnY+CjDXOBoR/Z3lWpcetG5bM7KrI8/nppqSIdeNJjfcijfm9D
0swUyTZM7ITOdsxVH0JOoEHKPEf39AVoCr8ii0k6qm3l+gS+zay7CGf0r2NlnAISoRAB6GLttBPv
8qH+6C17/OqriCRXBW3WgILD2s8O3PbNY0dt8Vprx/uchBUBoCV/wjNY3JBqA8bKfHA1NaQATYnT
sAznvwylBaMTF9ophfW0Z3uY6F1u1HVGaBQBc+8zTFvLAEtOhUa26R2JCdqFK2CmidjaRmbBuLXr
M7aealcPvsBW7D6mPRtmF+NTHzqsiGYBjG20o5sp70EoTEnL0R0NAnYerPkYZTGFeImvo5yvvLt/
zCxtTpymhl0XG8VeBwoQi+9ZO+YFFHX5dOU57hdMGHsPmBDL/kQYHpPaY6vFVxnVPa6ZmngJPQer
PMXYl+f5E1MsYtGK44qukTYMz/yRifEqObrRYmuZZNfcaVV7ePX4cOVUtSq1MSS+O/pOcG8ZyTcm
FcIRhnpTcfvu5f5HOS2KHFSJxqg9moMcMArYPTkKYZSvA4P6CGQW2SDxdXj6OfLjygA1sWFaYN9M
iUcAFLjegbu5s2bERgcSwBI/i984SRjrbsGvDjGqies76d4jy0vagfq5tNEagmhJBVc2goQK1b1s
UBgxsr9jILtTslN4gZBy0tyHq2mJdO8Ike0au/fwUk7NiykNzGERHsMod53zGJbJIRnFHTc6rDQa
O2fsOR9A1PioWRQxiSjqjtmA3DsT3dhM9fy+ePD72iXARuyI8+Yuqs3nYImq0KkE5D6vHoe6uHNb
DJ2W/zDZqljxSN8Hs3sQVvAc6e4QFYsupOJdloNyVN303HfmQ59Hb1bSHGN//Bl1Fay9vHydDBzL
LURROmmSP0PJxqljCL4xqdf+06PMAk+MdTuWyanvqP2ButzT2taaB46VG8ODgeB2DYuJvmCA3s9G
SXamu2mCsd+LLHwoOpb20EAdR+lt5QHqxUuWiF1BE/0kqvTANXrXAJQrF1q7xVmsivOHZooPphxv
kg6VJrjm1bjGypdsORPeZuRZwrQ64HVe9RaY9sFbAndJiOPALV4n8ttAm/tL5PmbrPpyI4NjtQz3
OrLOTd0d2Aj2lTkx13S716CacSjbgHPzGE6qU+XywaEnfgzwrGQTF8gchIUD1jAJhnOHxx3fHByJ
ft+7mEupEnqx7HYpafSp0bMdbjJOx96WFPeIwJupkhR3/syRe5aE/whPGMRntfjgHHljez6afOIa
LEfdSzj7ZKuZXmGU7sKl4uIlKMLXIBBPZMu5InI7xOy7YHVNFlvdyD9py24y2ddSV0BsfQbyxryt
zfgrnfytxzJXC8JxhVf9SOJiUnnPRqp/ZT1/0Erp8/yKq5fOvMj6cSTQYJYUysbRO6Ui4BJwZgoV
70dfSwxqBhMIOKW4JDalNWwybtBzDvjbFiU2GLN/pZrEI9BOzg7MkRYjM365MVX2mTHObBk4eILA
cavr2+Xe0qXeZ5T4O5dcxMrBSc2s4HOqq63ndW+twlngiGdJqRlPYSmZXnHGliUmtlZ3z3y2SGUm
FdT5ccqx0PhrCuY2FpQMAiaUfYztl+ycl0DgMHEC6661+AOuTc0qYdar3ZFutNjracTp1btFFZxy
skezXWQgzDYeHemWJN4haaFiPaHRLXRPOmXwfGroxDCD8Naia4IFIPntR3rUgSHc2SUFqmZATwov
y95yY14R5wqW+mwP6kBubU849NQtkoZRQZGsr7ZZnOcxPlVUKkv40+wij8WAe5t2NEhT9zmDBfo/
uKC1yUXO7tNoRhQIx/hkFn+xcXQq891uAPjhEhRVleAozegUAGzncXBooAyXyn9ODaYbLp6WEDx/
Hx/yGk80oyH948zXIbyPsz/W0K6ngKRj4jKc4QrBb28a8oNYi56rYXDXaILeakHluCLBlU1zUyN7
8u3A54yUbGte3qadd9HSobCdIyiX+nOV37VOdvCnYDO5x2KUWykRlKzHmsAt8vJIVlu3oGzMrTT2
rtvc0IbFaqJ4iNCyrtIZj4MVb7rYo9NHg1rSh869gl19Kkui0iX9KgsIaGS8bD6PNvh1D4q823M/
a/eKDTPocJWzt3GYX2M9uncc65tSLZoPKO+jxiHBtCK6VSdNOtnGl9GH3ywX/pVCcOmuXeGQqaVc
m61lrs3zyPiCpRL7kujJHsTf7f/i7Mx221a2rvtEBEhWsbuVRPWyZbmNb4g4Dfu+59N/g7n4TyIb
9n8OsJGbHYRiV6y11pxj6uGKJgiBrsiF7QPysOWcc+Aj4KsgO+Q4IAb0+vgjcSMspWW5TszjbY+3
imVs+BTfgZ9eWLb2UvrOLkeCUGbqU6vJdRpFS7XmmbCHbdqyQ6OmHF3RX4So7s04cIMAprwzEbNJ
6GmUL6NSPSrxSK6aiihBIyQk1vwDc6LlENf72m/5Z4jHZHOODtTeEYsE5snJCKG6D/ExEfJNqFEW
ctSpYC4QV89T6qxqx6NOKZ/jMXkdfOO5IdvDwHQHWfPWor0ZpBJtulUcBoubMahLGx1CGN4HIxjl
LXIf+AlsQ/CHIt7pcZQRNie/tTU7rueERogGlGtoLxE+m1RbsZF30ehwV1kUivx7zDX0G2WnN+VN
61fnfgYJhbsSOViZOw9KaLwZgfPcUFiDhMk3RhQgdc3qR7/X7lth34xD8Dgi5nEoPrSS4DmoSKSm
yZUOeM1rtIecnbtw0iMbbLcYomeLT0zKyRKlUINyKe50v1/y2V01wpwzs8hzGlb6kGzL0Ts1unJb
Tb+RkR2CqryL/HIzzMQYZNlL2zx4gtCkyk7x5WDlsNPsrjOSM/574nY0Giqs0ACTJ9vZzTuFcmSM
EGPl6Qm7143wqRtJQKXDEDXaT7WkuHHIMK1LjaQEZHFZzQA0sYlotZcpN3i0eo8cNJxjGPb4+LCZ
wXVhASaZxhj1lr7uVetZreu3XitP5C+YkDGr+0llKZ4tX4aNRmgYkagqzEbqIXAlMRZOL9Y5G2g/
ne2G067Kx4cUClVjPjvTbiKyvqhwqBao2syfRlashN2uNAujP/pDkutWg0F1l9K2C9tnnejBEIVX
V9yQ6oIh9GeftUjS/OcyiG8Cyzl7/EW74o+EKdUYPqKkWLXea5MFD2i71oONwE1E57hDapnjcGs8
6nVv7Zcecx2epKhnYGA3o5sq3rewwCjqjAc55TdMmzftoK7CHrUVdVqtOk+qDnNWDGutPvPSbWOp
ULBja27NS2lzLabomPmh25qqeVYHjdafCM4JHhOQOrOer/4h+po4+pr5dFjDg4wUzFJs2h+oYFw1
CM+RqoLwyPO30S/oJPpssZhQoO00lFuCX342lvbQK+0qZXmn9iU33jafoOrqK8yRmPGjOxLDDkat
7yaLRkMK0puZdqsmT2kgfogOBRO2C0kGp6MY+zzNTlrb3/uIgVXsfF5e3vmY/SzElPDkjQe7Ckju
7q0VPztcKCVEaGlG69o0v7fjAJ8qsm/QdmkbqeDnGZNJW0eDBiQrVdaUxeY3U9fQNZgGEsgMoBk3
KiS91qBeb5QOoVaJcDLSzRvMa5tJhkiRMQXde2zH2a5JitbprfZi4cY00xZIjd1pqDAOUSV7dnSj
FR4BX5nP3o3XPpnyHyV0QtDYa6PA1xa1K0Nlt4N/B52vp5ELnb52jnMJbP1J7ZtH0opm4gi7nOpi
W94qqu0LuH0GXZIcqIocJGCTz51JQoQzkPDTvEAP6oxsGTkxFFXybdLu0HTDxtbMfll23fOgPjkm
K49Q9kM4/cbDsB68aWu0uPQLcfD4Bo0aLtR6TrKjgGBv3hQZXaUW7nsHYtNTdmw8qKqdKXpOA2cF
L3HZFOpuUGnOK7gnOsxwQePP7j9ulIIzDMJoFQ37KdJv6As6Jho9T1mJfliBOEXTtabhSomrLA1x
7yDkyymC+ggOytzuh7Co8nWnM71V+XwTVrxwcn/fpLiABcRsYimNVGILt1eWp/C4CHsxxLcGOB2n
rm9CiAVVPqxSJXINjCHtmKyCap/ZOFAYP8ieIKH8IUNpXfnmEcohZK/FgIi5A64aYg0huQcM4o90
eInp3DtiQ1OEqcUPBG8LvcBPaBq7DJ1FpV2wbiBCZFtLF2w1WL9qrwEWBcHmWOBXTi3DbZSYUeTZ
Mn/26ne9OOtSWWQ8mV2KewoFtr+qMbMP5b7wD6lFJxHimukYywbOHr2nUj3UVGqRDQHB755MNHle
R/t5GDYoYGiPvyXBc85VAg3d9OFWlfrGwXgBJYGd5pvsBoCEzx0SGJXddj+gBxL3ReIq0FeAdtx2
mEb1seBCrqvi2OXNpjeQpsaPYFLZsa1ncmxusCV084a5elW7Sjq5WkD0KxJqq9RXXc1creubBS0W
eFBAHoAYmdG3yUBRIR9lUW7xNC8q7JsOD9eE2geCAEDndAnTZTu3nwJ24BYiFabxXO5X078E2ik1
jkYAYQjjecyAdgSZmyTKnRR4qrxLg/8pajdtEc0wWGCkVu1mzV3PRpqNADFD1i2RcUt1hpibYhHN
LBm0CaZnblWbsrbYjSoRLpBWfHOdoZBuSCVm3tvjqxiyh8YLAVCgnaZw946qv7WjvTU91MmjOq08
ebLSemupWNOeQiCd1Czo25dZ27GQupbke3bIqlPnrHPlJk8OaYXpaCSQIb5tynNj09fHtnqLOYd1
CugaBl9gTNgGovRHpdwY8d4pwpvQRJUM706oxUprZz8l8vaKxPVHQzzb01H13oI6OKJ4QMdCPIoO
eEUtV1o017MvTvCdfeSKzOhDZT5OXrAqyhOuhFVSB2xiDOxiJ2UQbAV+WdhrKl/Fl5+tG2tak7Pb
IXeW6Ax6UDEeWIMsXKhIRsvyBJbHHYwCa9xdS2YZ1Qzoz+gEP2Bfg9sR8yIynYGwMui5LeVPWnuo
qZDqerdO+ybydi1AFHnofVuM7uQd7R2usCWybYhrZtbZSu07X+tt3mnr0ka123Zu7qMvKMcbXZ/w
RevlfmiGnQmuPwtnVOeDQ5dtkGI/p1UFyqsGIy1IYmTcGDq8hxEILayTpS5+hoHqmvVLXZ+6/tuo
V+wNkl1GfJdNgpSR1M9on9fZRHVICmxJBdwgDy46lZc0dkMx7ZHlYElQ5o3PAkkTEwTVncIYzkez
9VJsWaZ9Z1TcXsNyaS7Q2oUKFy5rprKy+l1O9bHnBWCBxjpG3ng2gLNqFwjhlkIp4BOHLl5uasDg
IEdxqdBft6gATWBgraJs+6GkWQ1foM1vKGpWNjyTpq+Jbihee3mJbb5W6Q/HL5jLJxsr4amJleZO
ccy3XBluY5Hsah0iT6fafINSspK6p6S3mB2b+MgIJWOkTNdfu8kyHrzCVzDQGQB2gpp5Gh6uZliW
6DnXdcicgDE33QO4q9K4aGxmMqM6xlUFndhALhPNWL4WkMa4zHT9u2oSck4Hox5nu0lN+cZaO00u
grnCJtOt8JLbRmtuR8m/VBn4xwygqEUr91bjnEoANiDrux9WVDwIWvSF5eOaHBEkqtCc2UOwzACz
IFyJcPelmURHS9fgGYWnxvfvnCJBFRfJwQ3r9AX112M3ptpyMN4GaFQZXjN9ypdjhyeQ8rMlKqKO
wGTOlYNGT05nUwNNEcspswbFyH47cX7kS7XzW+WS0GHptCA9m1oxLIKMMtECgoDjxHlR+VJgnqia
c9vh+0ja4HcGcOZUDEwtNd/b9VP6BGkK8rVt30Q9Tm05giWs+gkC3IDhtyr9BystNwXOIFYHeiS6
BvW9CoEzJNVT2oY3FVjIRe1QPHepth8V8ig9ga6Edii4ZdW7i7z0nv516Q5h+pKmglZSS4/DZgY5
SVBlmmRGhxSSxEysCiNrQoTbj0+nLGEeZsm+puRbjG25R7rZusLJsUei+lPkuHEs7yfeE15ErZ3x
S96wNVTLxxrB8xM4HfHQdC6ZfqTWg+ZEyS7u6zejRSovHfk7rEaSCOYkBNkbz0OsXaLRA+EXnIOx
/RapGODNwlnZlVWC9SnJRdabS+HwSpZoL95gUnWXLD04frmnRvipjXwwU+Y0W9yNcGPFiE/Y8nPA
pVW5D00DoCJz2oxFK9dcJqrfTOynZKptGxNlT4y+MYOAMQXfIlmEj6XuxfRn9dY5ikwwa1JtYIJl
w0bUZNXH4NAHN53HN8q042BXCjQCkhZeUXdrOp9v7RjlGxFX36LZVxD02TnVEVX0veAba7wOQX1h
ukMij1G5ntfuao2uRo3aDisKPGXirZiZPiQ5gRIhRZ5HoHtCDEGbGt2qMWIIhzocxXJrJP4+K/ze
7Tp5yHWuewSebiSRxuiPGNbWDn4vI1FXDQl/Zg1fbsrnkTssx7x/bXxAsACGtqpjrrQuAF6Q2m/U
eme/7d6EMM8N86YOPwSB5HsN9VqLnx/EJM6MEE8suy/ce8ODJRkcGQKRrdgM2PPwpOymxGH6UmX7
glTHoqMLiCpyQWKksVBrgIUjLcWIfD1duDXpvXVKGllJIdJH1iz6emVOvk+oniyS1peJ7rtNjeeE
m1rK8rdVtDcoCzAYejd0rBijCGWndOI2GKXL9PJHKYmFk95bbQf3WQn7LhYz7P3ij85OE+ptmyFL
zKhktCmiUyz2gw0qyI4EpXHu5q19IwNsujJaR7Sz1OFbT5vXRMEw2sENgFJmgPr3Oi95NUgwmv1V
Dhs0k78axHdO/UtxXgyfAVFW51QZ+iXNvY0FSMqKy59Fk92yuXCbwNqaSXkSg7rm1cehEf2uguG2
xx+Ca/7Q6cZtoBCil6raphnVFQgf5SxCu1xYkc4XzDqWfdAygGhf8i6/1zMI7r747juwKxTwLDSO
+uJAN8zGxJbMIJhxrEeboaEEBJL0hqUuw1Gl74FCGgS/gTBop06atUZ02a6l3Ub5UZAOi2GvReG1
8ZLW+Y0URwtWkqmUBghmUs8yGIilVwtL2fhksaKurCJ2y3Sz8y167onZv9cgSBh1M+dCGVHtVtIh
Zoiu0SMEJZXOd+6D5c57LljSJY+Jh1IVTBdsUxv+0qqpWlidBOAdnaQkCq9kHuziT3SIcCDRCa0c
dNIbbNYFb0oQMkQqYufo1R2W1kj4gNLyTPPPZexYayNLale38ZkLu25uVSaPOnakNPhFSR3fULVk
v0u9HMB/TEK7ZccESUlvAOGqDhKsvsE25xe5haW+0FdjI+UmFYwaLEEEcJG10YEIDvE22bB4nUZa
L7NeWKNaC4ebxjRgqheR3Z38htuIHg/uTdUzfs+YbN3T5h6B97PHMVsAmkjY01UXs22tZVoTDiql
vMswBz7jr6yOCtqnlSSUa++DG6zpO3QwPGfmrDEw9x1LZ04HNtN70clhA7hApQDScSEv/JIZKarB
chVl9vBmous+W5MV7keoTsVSRQD4PS/Zwoa5H7ODCxBmkWGQ0Dbsao9BSKXTk4eQKk5JK+pL1uOy
3YSm9zNVh+mcqZGJmCbNM7mxewNsh5ETgCW2RJix1VKMLgfXVXUPYaSLQ5VnVYXtj3RoZJzFVrOI
VoiRIoHg1JOLKnbZSFXiMT0z4KM/avHEUEhO4z4BwLbhzLN1T+o8UDBDBiQBOf6dWunVIWuycZOq
jrpmpAVMujc756cl0LCZJUo9JTN8d+J3PGvdQIMpVQm0DVguUR3Au2qz8pf09PFQ4BzYeiNhOqx5
iX0Wgv1ClTQy4stZDycztAykcT6+ZnuqL7hFs4eEe7jq00C5jVHyH8Cu+sc8m/UtluVvU+JyNiaE
24U3+yGDTpvuAy0yiFkrwn0OfXetljX2RjafymbsRctmr5c/7L5FFTY5MAH6On2WvAoSlXg47Uuw
ESR96ndNCT+pt1PrUGXQ2uPer0PXF30gl3PyZLgcCjB1i8CWwRq0C592EYoBFvBk4XGUCN8StfuV
hr14G2017JYYFUHHgB4Y3VLrVqaiqqs0xJsFL0h/beRoEFVTGKiSknkMW9r9vu2HaWMrzfCk5qPt
FsqgU2L3+b5EFHwpEO+gneOBXgSomR6aTAkA/ynmwalj64khKIlKY0L3WspFEKjjsS8NAMyWqZ0k
49cLlxU+X6zQxJG5iQ09Ce1ljPHQLVrd/IW4r9jJlkHulHnmoQ66GGN3VW47rzGISw21S0H1rOPb
VeU3KWpkIW0MUjjVnxsdpTCRGkZzFs5QuUXUAOjQOn1niBHSQV1D3GByw/AjA5NLkixj2xD7/E8+
X71rFbiTaJ7GNCsQ6815mGHNtlz1CduUOEKRDo+x27bDBJDNKYjkTh2CYNBTTb9zkmPcrNXokiDq
OUZtZgHVi3LrTuCDZ79ad29B1elbrBHqr7bMGhBetHNtUcJQAz90CVQmW13fO6/9qDqXRiUqgqwa
JD+TqYbfsMR2ujtNHumAiCjrCzvB8KfuTNO+oBLzu3qlppvJiacLUwA+bbkH1NuverEL6ZGFDPs7
PhLwnhH+0fzfakr+LUyIeQe00RjPvW4F28bznVcMZAYbeuFNbJbs6Hbsg+YIkCw7KYKRasjYC2l+
095ojcZA0EZTs84HBoEB3R2161qEqJlpHaPc5x9vBxiGC3q2dFxJpwHZmkZEjxtVw9ZRwxmwRCgX
fxt6r7iEzaDcaoFPJQOWt1j3PoNBLhEpjFlYI1BsoY/4vm38risiMMpYz8+dZ/sQb3n4YwRXWoBX
qs50V/dMMlmHFhfcqiJD76mo8nLP1Ma6c8JqeMq1BioUFVW5s0luvtfaZAQjAKDddEpSyfVuRGlQ
QwO5s2OwCsBMy9ccv8pm4J16oR8as41Lhy5hDGRhThdIvXkorfbRL1XryUuy8BkaGkR/WVJ7yDl8
TxtMULEgSI0OedgYqd5PvlztSiDUeoiFJRFCwcHQA73YckN9xr6KfpHlaLkKD8bSIk2HPOwYdiO7
7Ute+M3aq3NIn6ETzKmk6J8XWQ7PAu6MTfBcRL32XAV6tLNQCbPFCnqXpZzmhEEz3cRxchtoQbn6
3AOHYRCkwOyMmy2HNgpJvHyGbeLZNqQ0tCuzndYYdDDVaj+0k9gbfm2scR1UWPtBj31+JKG/PxRS
C55Im+2sLc35p/zltQNlFWt2ZO775bT2tzEerCXfoVW3mlbSjVYAGZkIL6s3ueqWfB9WR+Kg1sae
cHXG2WvM6fmx3I7P1hdXQPvwd0nBIgdkyrRNjJN//64uB4phhfPv4oIvgiUQ/gPepI1wlW9fHcy8
NjdyvW1hCdSdhmFZ0rq63h6mFgIpFb6LvXdfSlH9gEt9BMDzFKRhesuuZK5SzHoZI/bbdmM3bugm
7ZNQoSFm2SaZfVSVIpG09YhGIz6+A2qu6vQ4SaWjWYterYL8vcITSYutkT9NQ+z1iazwrmieRyjf
bTZsyTyAzVirt3zizI0Q3kspiUxvAYsF4qnxUfUMirwQHVO66LxVFrvkVzoNP6iZ9efYbOQORBCU
ExUH2QT7Ed//W1XSNrUHZS/qZAPayjV63JGku+ICq59Nsw+WieadEPWHr7oqd0NNVEjNCGbhjLyV
dlASZoo70iXl5c82+lVl5vX5U/jR9Zcq4UC6kLaU2tXNTlXYzcGAcF63223ZlcUdv1Gu2q6SLwXi
py8eev2jh0vqmslr5GjS1K8eeq/SBJ/54BCifzlglFJ48+Hje2aH7GySuL1o9C6DtmuOTiuaB7UO
shXIeigRA3RelhfEmFWp3fmZkT74VVjeDkQfrNIqkj8tlYxuFXfZyoxkvJYZFv7PL9ef9/9qfbAl
bEtHcg6641w9r/R7EDKr/H4UdUAMFGYCNBEwRVTS7TTqxMAn9LSPMqZE9eTl1qomAA3rgGAz1Dbq
b5iTmfv5j/roHlqapRkav0rq1++QqY8kK8XGHg1Z9Gga6kiO+lAqUCibgYqe5NGnzw94bXmeX1pL
WJZpYX6W0r6yPHvTUBh1CcNOhHfEwb4ZWqAtPz/EB+vwP4eYn6O/FkfD6Bka58Yet9VOdid2mYsq
k18cRPvwyhn0fCzeelPoV3fT0MHVBJO5T3/TKDjHh/4x3VCSruQ6u/Ef4Giugn35/PmZabjYrz8x
NnKZ/3fQK4/1aJB5UglzXzUYV7U2fmU4+ZrCQM5mvoT0w3tQqlsbAyR+Df/x86N/eF3/Ovj8//+6
rmzrQRcq5l4h377NLmPyqFdfnOC8ZFy/IjZLrNA0g8t6/QmVMD4G5r57Q3uKy0tct25CdaCpEO+G
L5aTj87G1i3gePMKpkrn37PRS48Ak5rwbP/B9n6SDp2iV/j8gn34xvOJwt+v6gYv2dUzMrYaqKgC
NOQdHJinks+hsxQbBzHvMl4BgP8fnknHcITQefocmFRXx8t64Wug3w7avflqb+adgLLMDgGQMqqA
Vb/K3GzDUIeB4Rcnar+/b/8c+Oq5xJ6k1Z4T4KBexJBe77yNXCarfBNusm3yBGqGoAM+tct0Rcfx
i7P+4JlxTN1i06WqNoDjq5OWVDOKJsjUzjvCBos0Vo6D4U9HfGkS5001ije1S7zz56f8fh1jAdMN
R4M6pbOUXa1jCQ4nn6LwYDh5f1YAim39wVbfPj/I+8tqOazMrPBs8oR+vc0TQV1pSmPt+Th1a7PG
XNjmwwAmM1fibWLWMwUt0xAVjX189/mh32/ldENi+RSWwaUV9ED/fT/6oWm0ERiWXvW9a9TmtGvb
ciKFxI+f9azRv2FhaAuKKAcVXWWWxpKst2Jd9Gx++yxz7r/4Pe/e1z+/x9bp3LOLltfva6BZFtuy
5oAqjGKWNhj+7FXoEm24GEC9rhn+Rt2qfZu+uNHv7gHHpfLTNMeEI8Lt/vc62JT8c5jroRsaj4ac
GpE1lvonQ/XVbWWPZrEqqy4l3zhovrgF+rvVfj40ODW+ZrowHPNqicrxD/1Zokh6QKi7WnvTEsAi
WN8FqWwMLBfwKU7xGm78Lzp5q88v+EfX2zFo/joskjpP2L/nHZHalM4wtDyFJJAz04PZXj5+fgx9
fkv+We91489by7TYsm39eksXGHlj6YN6cEybPlU1WKz3JtCw1CGeuTUb4h6tcte3GmUMnfiF3RcN
6gVob12hFJs+B/MHdsdaEmqk30WxMRzwwuXrMmDDV+a6eKyDAeEvBCfjqwfyw99umJBQDE032NL8
e4G0xGSUaxmHsSpxVztGdJcjybmPLT1x+SaQhjiZNSOSlAYT6plllzB76JV6+uIifvCAGqopNPqo
pqq/W/R1rRjHphUHmnm2uvANtuB6q0gia2r10PglHb+RyelWpqm5//z+iXebIO6fMGlESs2mFPjD
hPlrSwA4fGwFbTu0ytkWc/jLVA/1ySnjYQF65kY6lL5MtxiWE14oMraU8QzSG4gCJudULEAFUsIG
g7UpzBRDEMkTVC47EgcfHQGBAngNUKZuRjtnAcMN+ezRgI0o9VF6iFe/mZsPJPdhZMqZmHsKTDmm
i0RTQZcipOfUWCWeZpqN68/P/E9xc/3kQgAyOGv8yryk/979NMlqJeyMA3ZeVNfA6txAqu0dl8gC
8tZ5GzpFpH40Ib+/gmTaNXUBJFe39O1YTabbztNEFMFIvLzKutECgrjHoP2v98J/btB/fub88Px1
gwyyXUHMW4e49I5SMkdXmuKxBEv7+eUwPlgteBD+c5yrpaonmMJrDXGwlBZdc3jTY67c8FWbUyip
b53wt8Amj5NJfx4DlXtepMjAqu9l2TaLyoBgZgCqRW3zjHDgjXbem94OO8WuLl2o4ePV6yc2nw8h
ChamJuisIWkgO5SPHjDSn1YXmivVEd+FL2pCQ2cLJLnMnu3t9Hnu6wzBzZAEm1YHo8a/weTF/60U
2Piz6dlsU+DTzJ2aPHvBfXZGwnEMHep52lDLHPfBcizw9dkw5WOAHC/EQLVHuDr1F/X0++0iN8ux
LVpHSN/Zll4tuYBIaS3RUg6yjIZGRDgGfpcRdTXJFCu4I8e6gurr2CAm82B0zRGivj7F5aFVUyKd
lZjAnS/u6wfr89+/aH7//3p8pjqoYuJtDiZNuQovfVwoO1P59l8fxKIcpiCmAJ1X+n8PouflNGSa
c6hjcCpIYgzUzKPzxSr50cW1WCQ1vqUOW/E/n6K/TsUXfqfByz3OrSltBZC3YO9AV2CtL0BSyi+3
pR8sy/8cT//3rFKvm5RAOFT7ZH30w3Oiou8zdYCYlNhltMFWffz8OooPvkicnWpijbdUPqlXL2FL
i9p26MKLW9rH4gW5oIFxwKhpjwzSJcx2nW4KNxpStzP50pbL5IAIyyCIjvHBC9oNJAXHYB0vSbF1
9VVzgsi7/Pw3vtusUweB37CAAOmaZHv571UpQBgLFTT2oGNTwm46AdUCRuMcHdkmOCZqexu1vvXF
lXm/OvFltIh/1+dhI+2Hf4+aoREIySU5IuGBL3mILbcX/3U9qf97jKuVtsm6RPZCHOl82Fv0zhEr
11htCVVVtp9fww/PxnZ0R513Z+9KDzIaykifuIaFDI4B2/O9OgTeE++o8l/fLc6Jh0ln68vFU68e
qBCga+jH8ZEUjWOQIOFu0y1OdFdVlIOmqLv//rwET67NPtsm6+LqaG1legywCWZv6o0+kFkizV0T
h1/Uqh9dPXxz7DaZoQrws/8+C35UhhkzpiPS/I65UmOh4ktbXHGBvvn8fLT37yOJijSSKRNtw5LX
ly+tHEXrC/2YyMQn7z02LDJaDWNfogU6KFbTn1XMOWuaz+pCLxlrOmGNxRW9/hdPzPtmFQ8nsEK6
AqQCzGXyvyedAQwjexqST2fXBxSvYlWQSHIbOAbZ4xVBBUPqmPdmYIMb7+scEJlaAR9l3jj0HY4F
CSc79WSyatXJobdd/A/fPlNlB2HOHEE+fte3RdQB6ohhOGIT3mjUddijNgDaNsMN4Qer/KsL8r60
4nA0f2a6Iwvmde+6ZCbOOsXGtG7E1hJl8k0p/PAVz4aGKholx3elCZKTIaPhZup6Ug/qiB7GFw/I
+9XQJAiB5oWh8ZRY17Ul7gHp9T7fdbd8egXigvShXs41beX656VHgt264uy9L17rD14BhkdcZR4I
631dKSbDtxnOncyk4XXG7aubO780vzjKB1tkJvlUR9LUaCSo171lEotNzeg0ligPSZyiqelrrZPs
4yBQID4gKZRjkOrDbrAlQmq+2EfTjO0dNtrpbFXSf6MlIpdjzoy8L5C0daVhg4uuESx8cSM+uiA8
CdxwzQSQdN3MMe1Br2Ny8CCS/GACTFq17REoZSjOF9dkhopeFbzzNfnPka52BZms7Qy91tH2Ayj1
uszQbQLaL9gpo5j/E99QeWsv7G47YtXGFBfP0LdnL+lOAlIPtvH6PpMQQYZo6JaMPoihtFqCRQv9
rY5xnrcyyDcJZL5V5jTnrCScA7YYmaPlOgmdfTaIZ+ygcAIKXnII1IUG4s+X/GHWyZsnp72R9W9B
UJ+R823zCAOMsLUHniNAaEQMaQGUdUtrt1nQnZlRPpSBclNkRHRDCWORczyafTizFhNxOzoKRpLe
iLrqwCFh7bC2ej7srcEcfrWUCO4otTfGdMUmno3pgd/+HIZ+clsLL2Su9TsZJNPK0nV/7RX+KbWq
i7QjsGbpWq0U0CKUHC7Dua+qmS9ukvh3tbS6Rk6FbR0l9JcnBK9cbeiYDyZspC82Ju+6iPT0pMqn
jqkI+Ffzel0ug7ydiuAUGvBjGDRfisF/+XyRsd+fjCE1nQ+rOXdzrkv0zCbkhDndqdUcRQHQgn1j
6pVgnWthfEe3Dufh0BnN97ZQsLZ9cez5k/1vlUxNaAqDWkaFlvtu0136pK8l4YnuzM6wGpSQ0b4v
rGXLLN8kTtGE2dSrawddnaPUa68iBCeuFhH+GQSrC+zDi84al0Z/Yle47q1+K6pXtvcLfei3tnoZ
HXiWCeSpBl27hMkloHyNoEBqHOu8YblW40xW7rEQxXgeJoU0uvbFs4IfvpwdPqNxSr382HWIMIr0
yQ9GHTdlfyFL4CQSYOCReUyUqKRHgZh6WlqjdQpmF1pNbEHYX1jZCBecQ4rIUonuOngG4TG1EEfi
n86PWYq7aCIJJOWva3QkRlJcYLkqKkBCBU37XZ99l9O5l3LtZL/6tt37EF7ibg7gaogZJdfTMHip
S/FLi6Nbh6BJkU1HxYdzHyPs+2J5msu5d7eLAZPJ48J/102NIgT/CHkQL0V8VPV8w5iZtADcUqL9
4sn48EiOCopPd/hH33W2ZxfcYEVQwGYiga+H9z7QHjcajcL1w6R4/eJB/ODE+MJKPkfzfvZ6d5Hl
VBdkiZ/w/CcXxzIVYi0GPkpm4jvfHMfvH3FVOC824s2vBoUfrPjsAlWbjTQvgHXdxB1q1YzwbZ9s
FUU1WQRT95ZFpfv5+X14EAocPAnoUCDxcv5/FbdhZul9n0QnzSwViJe23X5XmVDQEofP+T/soEEi
CXa0OmvXu85wE3tCD4fgBNhy0eCNU/y7JvyqFzJ/CK8eRRNJMz1NKgHkNNdnpER5NY3WUb9j+rDW
tngvlt79/98E6YPegPnPwa6+yuzMLK2HdGxPHCzUz41iugRHbPwUaaot974TAN5sH0Od2qfXz6Yv
btsJg9t/fxfhlKMOmBdqYOX/3kWmKnmGpfzUh/NK02/TiIyc5MsyS3zw1aFnawp0Myh1zOtrC+Kp
LT0T6zcWew+yXC2KS5yPixZEKQgAFCeG9hbC+ItvnWwHGRKrowoSFRSIvizM59ontIJEPT7y5Y6c
p0Vi3wr/O2nlHhkilfrUDAdOcRkSc2OgzNUFtLfwvmfnQJ9to8Y/k/7cP2UvZKfqRATQeWiq06Q8
DlhikOiVfAls+ny/MyCziIWH7xXLt4yfa4tfERG4pZy94TGIvzv9TW7eQDIls81ajv1IIDUEaFzM
juRukWqRbOL6SaGaIUHXj5YGoV6i8s5dVy0s4i/bpNuR9+F2Bb229ocaErxSAFSJicG1s0eLnQDW
UAVJarPW4rtB3AoSSbRV30D5dtsNwzg2bXZPTNLKbh+m3C1CZpCreEN+d3lnttsk3o7y10AusbG2
rWAJydiNfzsAFUNKwmUVP1XZG43GQJzM8qQG6rL/EbTnvsWVsc4c1otbAxxvdOcBZjHIojjxp6Wt
obfxC8ZuG2uufeeZ/0fdme02kmRb9ou84PPw6iNnUiQ1vjgUksLnefav78XMBjq7KlHZ97GBwkUV
bkRIpLuZHTtn77UxQQXaUU2f5XEvCG8mDovpFJMQx5pp/UgLjNiugPHID+qfU4p+1SkBdEFKx10s
AvrwWumpAqeRbI18t2bgvLDo9odGvQjrsayCTt9q2V6Znqbwnpa7kgCYbnBAJRAeHWJaTUWPRnz+
aYmemXzBwlj6XYYNPIFU62sQXcODWW4HAGbNWTNe+5Wmva3rO7VAGX/pTATcHhmTFpQimCeL396J
Px72EkGw+c2ATQulp9tVPdDDjVTfWjpZ2nlBCYi3X/cq3IYR9K8Aq4lm+A3qNx0MDgzVHemU2GV1
ZFvqRwSXNiMP77cOpqffDuJR63YEfpG7iHB3JnSFuHbrHspvmCqWbGuCmAUAroO96jzReAtb33ol
HWhZybvys8glQXw1SbgCuwtEaiL1XvAqy0Hcy1+VJNuYbqnuFFXhmiteHmiVCE9J2Y6jL2R06DXR
ODItqEUGfMDV3qU0x9pbjyMopOoy9LwSc3XL/qAwgYwBadEa20rTNoBD30a19eXBPHZ5vcElhH32
90LgzwJSYKxBUmSh4KMJI5WC3PLoFCu7RPmNLcqHqhOa2AKGDbAGU37JlXsNJqhZ9rF2HyhwBnLW
CINyDVgCIh0fokJONLIqjfLoYNXPrXor0nPaHFaZBGf1rApvBUulLz5b2o5I89Ajt16CxXjoX+fp
CLrSJBJDeJWLW5o9D8uH0c67xUQNuth9vSnKV3ggYnRGgARQIMxdVW8cffWVigGr7AF9tSRSNTzN
Qk9/7MXdQDoUq0OBoU525QFOkYBEOC021XpIE74WFzprwz1imjawJKBAwVUoBQdjOYZ1XKxAIkB+
SSf8EAluOfjLQBRx8Y4pgOx5j87GzmO/BWhAEYmXOs1Kj9AwyCCaG8anGIhWnls26gPghpkLIIJ9
QYHLjMl5EHUffEM27nQssd0sYCZtAwmp8WRyl1G3dXIbUQlX+PArUu/a8jYfo1a2xcpNBwJwJX8U
8AcgcRdgaDEVi3htUCbjxO2yazy6mOdgsSPW5o3s363mGcADt9d28aFE2ppIycplOQrRdw+eIfyo
etCIvoatl8+9wP9Z3gxja6ynVX2B8IcSnznlOBC97dW530nc0r3uV1v/kJCHrtaaf7WFl0rYO1RS
sEDQbrLlSU42cXYVIli4brLsmnk3NTDiVBJneOGEYwsvhBZOssumgCnLWu0VknoZJyBRXu5CTyLa
L9peQ7UZtlPlW8tmgqIW73olYB/Mw9OaHJN+L+tkySt7YhF1oDtK1wQV9mtVSqV/qEr/roySJQbu
koayVvz3hl2mmdxhq/g4t1SIirhAognN5EmdQ8gI//2s/9szGMkKmjpJIujhP8568iXJ4DnClgXy
Gs35nmTJ8Pzff8jffR4GlCbgh4du8t+77UUI8zM3uX7VFDTtUE57IGDKVlXU9B96t3/TydL/+pMe
H/cvBWgzLdzFRRZmqkx22sS/sKkC6RpbVJkLa40B8T98gX/32WibGXx7CgPof5cOkBEWdp1WwYsU
8HALvadHD8Ng+vXfv0KJBul/lqLGQ31DCU8n/D9mFlquS0Twxscm5OAcAS1loebkGDnJUz8I0pdF
dFHZ3a3VPEzIGGQy3Yb6q9M71pZur0RXDljS8Djqt6g1ODVXIlV7aIhbE4YvmwyeGb4k1VP/sHAv
uQ6f7RFtZPwswsymroyOJPY7EZwviW2NXzXtttckL6zgtgJ3nFZuxEOkbdMOg0hceGvZbuJqY9Q4
3a1jZf1us00knBMs2noAxLQFU9w0HPuBofmhEJ0RM+0nYXTH9VhIfmQSmPUdklxeJW8itAHIqQBB
EczZCokq4UWIsR5rNlYgvNNr6GIygiMqZpBpbMxrGqcEYKa82bVNYNVAkNzhJ/6ZMGrGu5j4GT0o
ypAT2YPBDly4Xp/11a2oUgbQyOa2XrEruWLoCA8ypsHViXgT602xPMoQFTouzqIWTr8L78RMN5y4
89AcHxzuVPsWltMwkTBM8gyqESME+5L8FNVNxGsv4Jp/jkA0qXy9yhR0L/NKXuW3NWaB2giBGr70
Peij4poDxoyyX8L8VWD0YZLjGMm7LGy18ruLP1O4HyHAvF5/o3HGR43jqw4OQDtPpa0ZCL9hD5yF
A0ehShLXcI4/e7JLdqXCIB4yZ7D2eyX2LIFjaWe9puLV1DDV8Ow8pcOQj2fgIdnjto+J3JpMG2YA
zv6lPsZwKSg/mvRSlc5sQK5INkCznVwp2FIpS3yCozEzFsIb8SKLBe7Hml1JIYme08J8p9ZluOrA
liDzWpz4/SyvrbHxKwdBOVQfafYUUkflEGBSA4TLCEYgiNJPDW5RLG1LXOlZ5+rtZgGARgeG82Bq
GVD/XimPGn8gaGNKXsEItOQjxvpGbeJLKb8M8Xket1xK4MB9tum+7kVnKKmdC0wLyk2zOBjlCmWE
4koF3cqpPRYVNfGo+gqmP9mct4p17h7JPlYf1HLpycYbXYmT0r+V6wn4DbyqxDEExSbmwIZv68im
5kmtuQVPhq30Zk1HrrJOIb038m5ofRXPLymEBgbtl3TdCoRVpDV0a4GTDIxhTEbpaHDozh2PNDO1
TQcKexg0TywfrOj1LcqW86SHzoxZvCg2rZFDoYHA8qRFBwIBNU406drVoL0P+PSSBT/TQv9NvYjq
S/pAaMNCgFoNDgMWSBXtUzxWc+T3SNnKWN+2Sg3Mn7cwaRr8/uAHMgx7OLHkS1ZMsgPt3q5liJmJ
ETlNMTgl3LR4IGmjTIfLIFL+pJjzh+xBm8BayuIDHnFK89dHhvks5yeizXF1H+ZoKwzHNgkSMdpJ
42uuXuA7u4+KYvltZHDEuePUzW+zfo+EY0yZRJhjH97GIXceIa5L6ptaoCVEDVXbGKAKDbr6NFqH
rtCcOLyZICtnbgqZLfDJqmNpUl3tsvFVACaRwRC7VBnSnfYbxGqsQffI3HjejeP7YL6Pza1Kv0Ri
XuLdxCegaNdE/FfbFACAKG3W9jj1V5CAeEMDIo5WwjrL17X9jjUqV1K0A4lwbuO3YvJwku8pvjXC
Txi9DNNdjPAuYRqFzljelmFbi78sdWuF+1zYaBNUlOHYYekWnotns/UKgvSaQ45CWJv8ZGVwHdQ4
nEe7xwlbgJ0xKfp3Zf4rIQJOgS9mt+tlNa4r1xjrd20d9XIPbsAb1nOv9l4jvM76d51rDoEVmzCi
vldhYR6W+kkCu4GLlLTKndXc1JGm9wVAJh9G0+iNbq3XIqf5Fynxd5porgC5oNAWXgOiZvp0whLx
kvT4TCrq1N4BpewZ/MUsiYKKl6WG5IEq2RWsDI1cYY893CBh8GSVU60snEmpvS6hMar/VORPRLys
ktt3LWqJS086xFqfWikoy834CIEQNoTD2zQ37enU1CcrPejmLY6I3dtXeGeAShYmjqPn4vE38w9s
Oi4JirbanMYEE2H/RQdws2rxAZaVjSOfAHnLl5pzncy7Dhac0t0pZP1qEE7GrNl4QhDBvqQx+1eo
eIi3t30sHHDd9/O5JSrXTKkhCfXRjI6TB5Im92uRUQTQoGLyDWgkTU2JPpB4DgIHZ489cgSJV7Vm
6gZfpf0y5o8cU3F30eeEzsbWsm5ZRml97eXjBLIoHLm5k3Z6HIYMw+p1jXouKScQKzsODrBgB9Xc
RtKFkHGrYnN/znVQfr4EWEmg7cxDfIa2kcyHsnpXUydSXL2+Y+pOC7f4Ntug2Arqhrso18UVYNMF
ymJbwioMEvUSjpuFu0T8mt6K5mmZfVBGtPpOav/WXxUOKMNNuruqHZJK575Ciqb1O4Wa+tXjf1Dh
Jt57ZB6jPf7ow4UxUBwz/uapf9btK6rKRQ7MhhwDiZcGP94hGTdCA0SMlJOKheoYPYrjHwDYHEu7
QnxKq2d9Pqv1yWiBbJ8xTyPSx8mHXRskOSyxJ2nxZ8Jf8atO7FEdIVJJ4c3hXZZ45Z8suL/R+AkA
diSWLDLsXG1csdwX4Ulrn8TmorLb53owqgH1Q22dsmTf6DfNoFV1DXP6QUX+Nla7olq3ubgEUZze
sQ4AqiXxAde/CdRWT59j8qOJhK8gCIZw2oCj6RG5Cf1NSzYNgItQ1+0u/QRGbUfCzoR/mGdb9uA+
zR16HSbqsVX4gZ3OAXOXOydSzx1+YzYeC7As8Mx9WDwp+lEyruSGJZKftE/s9XP0DqoT7k3U7MmI
I4OHRJIjtA5v7XtnfRqWfRbdNV7OsD6YNUlql3q5r/lu/JmYiZQXoR6dvK7Q6721HNW0AR3wLMmC
+9OL8gv2fIBf2g1xkTmJu0oCpzXDcUhGf8ixxEJTGVPribW9nRLlsrT3MYYatQbpcF6flSr0GgI6
1RhAasZcQrrIuR8Bx62PVlv7qfm26J4JBLZtfFiSuXCZq31dh2jkQKaOOGQhIdGrdHIc7MmqbQpY
zGHDEZrYqbR9UNqz7n3GwzYy9gDXbEvLZ9d69FdlySuFh3yTBbyZGYByQ2FjR7V3KZbrxMWOZPWa
GGpK5hX1Zwp3LpOfCppq8DnK9qNpdxYpWU3+kStn9Ot2WByy+imEvGq1X7kKXr4hoat8qsH6F1uz
3Se460jwhOpqSS9d/drD5GxO/eChAasyCuCA4WP7DmuPCNRLBLovCSBUiDn15EFvdlO3qVSvmAN2
BM5n6l7HhLrZ/4y4HBvWw0UJvQKCU2OCYfYmCF4Kf5maLpyfWuWiMIlS1twbGmwYpDVF6S2Xb431
vgw+4cC5te1pP+qgZlgmJuj29a213Hr56KSXIvMrYp4smaZAzEWqcFZS5BKWMY5Faf5UNX5p/ci3
igVgmg4i6L6feTzU3EQMJrMU8Wy5MhA1627kEwBapqZkMvxY7X4RfHJjH9/WWN6MDHSbsWvhuKUv
lLRm6lvg/w1iCnfUNnMfqNdwddcOBMcz+RElzTnm0YvHMIMwtLa5W7IXPfe0k5dbljtGw+ViO69X
ODGMIJbXhsWQunp1AHElQhsSvXT1elZh76WGo0lH2lxwUh4XKKjCFPzbVsRqTHUBziqYlm0oUbe6
fbTpUb4Tu2cQ0khZkZYISIlsu9fCjsZ0nVy08aZLO64IxDR45Zf+OF0grof3fDqRSEl8U6rtkvSi
pydz2VE5N9PoQG9VNlZz7KXXaDozqJFYfUmxe2TLEy2Llk6yaIV9Rem3lkh45O9NOt3hVSCk0/bp
CF2Pafs9quZPw8S9rvYrESijI/PladreulrUy7F5a4iosvMODMC0n6zdEP5el69uYnX9roXJlTnq
RaTtKyz1BeiFCMRqNS9qhKx4MmwJMkHqNqLbrh9SSCeanhrZP8Tq7kgr7tuTQoNIubTqfVqvheha
YKli3BLxOQ1Par4zR9rUflMGrUUHBazbHPQmL/SvRtzp9GinfdR6cuwK/XMuvHQdGGdEw233mgLH
tC4iiC5wVtEFaBCrggTCePLLfjOxRqXt1F114RIlVC4BpFxhJYCqY+KVb6P02pYfkIEDVL5reyP/
x4rcuX0y4/1jpVSXyfRTrtZdtq2SjdmBAbwu2b7oznP3RkmkaW7/Jjx+B5pUXkpi1ego94zSrbzi
b1IorecEkBBKNkYOIaXf0MIEfKQTjc6jIH+LaElKpxxYiwZsmsSIdV/mzZtVjIY3kjzlFdCcd3Id
h+4iyxV3t5reukx3GqdaQKLCL6O1GOVObb5nWsTPBJTxDwMg6W+G9bQaLO0hjxRRqf2bBI4EcXlp
uKB3O14+OgLZKdpYfu6SKeqghHu8D+xLX48xGEzpf/jpf9NR+esP1x6aqb/0cAojHDNFoaMy3wjC
s0NAneqfDan/UYDx/1s68bn+KW99+/PTHz/r/x8iilXlL42l/4govuXV+Jkln/9XSPHjr/wZUizL
/+ItwrPH5F3XELQwL/8zo1jS/2VieaK3ZigKIkyVztr/jilWrX8xWUZFi3NX/MMO3f0ZUqwa/zJQ
kyAtg0MF680w/ychxcqfTu7/M4w1RMr/hyrXYmD4aCX+4cz+y5tRr5Gxji0ViZzBqG7DttwS2xTM
5NCeaknEkJFawUDAxa4h0cUocvlU0FSOKA7irLdOijQJfg4DHY5XVoCPUu8AifXDNIxv7dIkXqWv
M7Hkq7kZBODGTdT1pw6LVzwv/Z5UGIZDZSIDv9ers8y/b6+jZHkrMJQdY5VA7PvkDmEHek/DKYTe
kjCDOTG3hNXQeKvHaku1vJrbZp4Oec5v0C70QgWmLEMPdLZslNUrFyV74Eb5+/pAloi8iFy6pxuW
g7VoREpwphn1SOiDsrCJhrtisX76gotJ1oAG7KVr3k26PbdLyzQtI2G93uRi9JKF5ZOapy8wbfhH
ckKG5V5zwOQ90iwYv80SlPVHgTnypz0t60HVUkpWPZO6Fp78MambQxRpoHmiJXaKZSZalo6GZoT2
kvXvUTp8UwD/jpTqCzOOBwzpiBdzU1apT77FUc77K0imfR7Pe+BKz8ZY0HQ0zZeIEr7mEmUZpEv0
GmkqhFTlea9BLp0jh27jKC4XeYEzwiCHtu78FibJtX00h8CmE2rYfM29eS0mt1alU9sk/MH5AeHo
k5CKd/RCCY3tvIB+tpBQZVdTHc4QS56HEjFP/UImY8sENjyPZnVvddOZI+M9XfTM0RoiBaow4vKK
pmbI6YQhmPnIwlXfjORw1EnCKMsAmp9APllr9UerJP3YCAItjPiWxTnExwXkujWvcGN0gfQtUgLt
QV9UJxv6oNBkZPkhbKgYWGgIuCVomxlgOc91anSRjBdab1GiCi4RmbBgQSz6Rhy5gPHu2rr0L2rb
v6+i4hrcVpJIuuVRDQOdtqPYUvyMPTI4GWrcYk4Ss+fCI+CRenYt9gCLBTuKQMDD1JRgUc4tXN7o
QYUHQlfX3XPeMPdNtT4h5Hj6gtvZkTpJ0Z0DOyHNuHGFoX6rAFMsk0lvrIdFyBA6kgo44I/mlc7N
yWqYoCwMYGDg7DH5c3iEnClFN/bUWMdEoBaUMlSBgGoOKgAKexJDxTHLiVq1Mj/M1DDdUFjIMBIV
vyx7C+ALkv1E1q+QGGithaTnznRLK27IBaTtICloB81mdC77gd8fJ5qtRCA7NaiHJAFsdfIqd2WY
/8SG/pQqiRAAg/0mBTra0BY4l8Ui2gtJE8sqWRSttJoV3DZdPVMsTjzXJmE0y0yhxGr10EPWs5+q
OKZ0/ghuQaRSiUXjBi6YR2CzQAVWv6OU55KyNJs8kQjWiUhpjUaLVAVR592p6YrOz4Dfv0cLuo9m
URprJoNtntqFP8gzycJP0yAdPAtxoMOC+2HQ0duT/FnGZvPok6KImPOzKLcIJQUFXZ1sbHJGeQFb
eQYA87WtetV9DN7k4m2mUU0XkQl+m2tspwKj7GyBrEpkLZ/j12DQuBvSguaPbHxKUzd7RjyhfSHe
akXX5PYGn2dIY9z3euxBMomdsWvmQKqV2M0UArtKOc8DMLp14pPiMcHryw4KF0rpkVs8CuNZWRGr
LUpvBrpB/HAStwwJev1hv9moVpgdgTd4s0Lb0WqPjc40dmETVRcAPQl9tWIpbylcQ4NbKeG8fP3g
1uiD8co2Ev1+ndybqeNVSsB/gySJMwiAGQlBJEe2aFJtnucJXFNt14vFhTntnFnqqcGtzrQFthCw
5Q/xB9v+tBzisDxl04c4dZrbMFis+z8uJdlTISUyw0oeURijH6kV85otSXxuOjPbYIMZd4sC4j1U
kFX3IjfkMqt3Iz+MGG4mJtxKo5xUeQhTaYOGwbCe1hUJTJQzgsysTa1lX8qqHoqaNZnIseqWWXeP
HwWxUhHzJRbleAmfrOgqp2m4WXED20pMZf4IwTDb165tQWvi0ejx/nVDyXA/Y3g+JVjf8uWkVeUl
N0sQ+kOq2MZac0ElQ8xXNopEjhWhjCbna8SjwujMgJv9M6cV5pANcsKQpthZLJ+XB75+Dg/zyt2F
Dk/B5WptTzXt/JRT1TVrKXNHocFv0DSMpqptZVSNnzG4j0XzmKrTN6F0RZpQX2Zx60j86zamdo7d
KD6b3J3XdeA6HhVyYITGVhMJptVm6btaFvrgEz0nKeddKlc9c0UjZuMnMcnvyOBsxOScwOPyapNG
oDmSixwTWFHQl3akKBs45jKaC1D8Yj5/SzFOSsoExjUa/aQouUNryRfwT0/u2sVt9RjyZq46DFK9
mSuFXQ41oRlrmW/Ant47Gb43AciwlVEqSTkyiV6vczJc1J8SM6ad9vQ3WXVObbSf65qTRK0mQRbp
n1Ev6b4Bzxq8pe6EPTqDmtvmqAgiIgSCeQu9rNyWUK6xGmG/g6O0QyN8ZHRFJ70zm307vapypz6t
5jNbrWXXDT8rHwkYylXWKuym2JNE+oQrighX4vXVM3bjjoC8AJcy/FzLdOUcgm9ctylz/QXqeDit
rlBQ8XMBQYI2JgzM+/X3A5EqYBZIctkzM4ZjGjxGNyU5ZU6wNqntANQIHxDoSfCFdR0t+5F8DrdL
BHq/dOe0bMIBJRFqAeQ2d4ve3DH1RGMuSvc27b4ThqpkyjzaUiqhHSDiT8Y430OdUTufXWHsAE1U
113uvHQ1re9hNmF4F+D1pTb51efiRwWo2G6zurskKyPGUHHBeFCidfXXkGiaY7RM/Mt++lVOJNoI
S5P6BK2SODZ/i5CaN4MkLedC03h1+5FmcYT+d+VSFua1GKg5HeV8zlhA6ylqO2h2uVxs1gz3v2qi
ARqGGq1wD6pfY2bWldFJqFVHqWVH6kHst9AwIu1ca8zKVl4TAXLCsU6N19xaHlnbGrDxxoJc1Wn3
RSkxLQyXuEw/M4Ev9WWxaNX2vJCrrHsj8rJNLfUfhsXsgrRhYMvYl8eILYKcIFdbOykokvSXnDAJ
n6w+9uUSyUMosahXi4AIbYJv0st0kwSFPnoTkWHScAnX4ulLRBhL0wdndaj9BgpFB184rbr6PEeg
bAUE3WTkrWjqm44jjXBOK+POTb6YrVifcmWUrmwplacbTw26fIfUoNzSaJWgu+4i3SY1/cFUMZ5U
nUqP6zZWgOmDHYg+SPwSWteFFp2kfMzma64/vtozZW5Ka1eOP2hy9OoxXr7q4qhp5yq//ErVX2n+
acZvU3tZC4jBbBtJGvQSk6uJ4AUKupSZcPNJphSaFwJD5K86eqmRw0m6N+Xfjcy07CyaLolSSuFL
NO7HTCXaxyVmj4V+mMl6EXNenLTgH4DbGhFh1xoX4uYCQWFGEDVMjtBjY+MV1y2RZpBX2xOJPxtj
0rZxRgfJeqOpSql1SnUPuRWpShWftmdlP2B8GU++4hyLnGgPSc8eSUcSR4YJcuP3MPGM9LNfIHbT
BRrl1EO+TMROQ0/hA93jDCc3+pUSBz9JHw8+jtU9WVruyMjgyCExxWNjjZtGOjdXRizU9jPSLjBi
DSTXBKVa5arh4vf1ZBvFc8kkTC1QVXI9sVDNiK8jlPCWcZouxFeeFEPClIyE7DjkgpNlveOvFvqv
09QSNztsUzq6zeN4SOy5eDYGAg9pJZjGG/nUjzEL69Vv6t8ifuZklq8JsyAFRL5VxhvGRirlTQ49
gX9sXwgjkq90lyPfL/t1m8Aw7SnyYsb1JoldpSg5aQhNWrgkdBmV5dZc5dXpL+rvilscusDBTb/q
lLyqzOungMlZNBzGgREDunJ3RT5XOiSAyAZTOsZXuU3eE7O4MCaegZ3pObSID3pUfYp0EHUXtRT/
l6PrwPA9/CBCObkSYk+pkg9BlwHMRjTpzZ1XEdWYHsyn8o0IcWzUk0AoyDmSjjpqzIRCrgyq1cvE
zSh8YviKxZOIYE/epaqD+DTdTvo+00aizrYje3bHQM/0BWM7plDIX2AfdtFxpPqkWumFgOuHHVK/
ifO1is/TclTwySTGneC+Yjo0fE9quRsbVBIo/PjyHU04UhCQYYNONtEhi7wWn7wsrW+Oz1p9Z2tt
cz/OUXIFTYbjYVMjQeBkcPWnMNtBvX+UilHPTZZkAgZsBwKmJga/q2+uZxHxZhSk5PjKAX1RsfOb
5ptcCUP9AbKNoy/tPR4Zqjc4r6HBXYKQmG1ypX7smWSvjkyY+OqhiW316yrbtebN5sTJcWgPzadM
W9UWbvllPKNTbN/ZWBMNRYvNVEMHkofwgWW7OKG515nqouVtHVqXaPssxAyiQxIf0lp2Xgt4polC
AFtyKvNtueoT7eSpAaG1MMrwZutoNJsuZqwV6OmG+Wm34jkirNtf0m21eEu200hBIE2PN2mC8izt
RBqFKveXZqW//zVV3+l7faadSMY3DefxskASftaYBJV31gjRIIwxPU31yvBIfJuEG3DaF9ZNzC2H
HxaJEfFmhOzCqf3FQGmaaMh+15zY7B0mlIObEkJ0LX9PPK/l8VutHRnrQD/lHW9d1h9UFNPk1mRE
3EkByglexP6iw7Au7eGjQzjScDfyef9YonGPlMRDl1Gk29knoE2LXLXYhyDYSbJYVF/gtyn300oO
Klo6F4k4otN0vhUnRrEoq5fstg52F16Q8pnanjldJAUZkUz8p4R97FpnDVUugVG2uYvoalLgME5H
iEoki0sJj17TkFx9dFvlSpu4Vdjg3yM4LLTZNTJYnOozhHsjkbTtVeLW7K/CV1bAannHsUPx95B+
N65yyedThJPGab8sawfXN+UFY6RCFEfoEf9GQDdGDw5oQrTgGyIBtXJHHz5Z50rvmLMXdzulPEtQ
jtuNQdBEQtyeg1aoBJq1HpMFhdB5RFGBgJskhK++QDyzIz5Mjs8ttt7RJaOzfUwMba7fDXXPG62T
5PdDaflSPNCwPqBkqLZ8MVG6bSYElywLR+hcAeEm2wtPP9lG3UEvT33iLp9MRoGXMlWzoOJKbO5z
96RZQdaj//UBRZDi4FNkWJpH0Fl14qPxbPXOFxCgyG6j+2QIDRAjhsNUBVW9Z7bs1Lz2wrNiBTTV
KFzHdoewQrS8RXtK6PQznc+DXrkUfOyIcKadRV6Q6BefPLis3tfk2PgMNbzsGs0u60hY/HIM1m4T
Uh6tvi7AWw0i4QahyiafYGEIOgpHI/ZotsuEpHQb8sXNMtDlXabsVisgQdUytyx3vT/I0tGk9R1U
GUNsEuUZBSEOu0rs1XFy5f1pmPUiwc+ZvMzzzVJeZPluGu6cLB4Q2233QhoUvXolO6hyIHIexAGU
cWxa2WN2duCEYJHSh8jIySYjwkKh7bbvon7KPsi+zJeXLGcuB0PcmQKmuGJHoIwriIy9fcLmBo6V
xVuRNKHuaQSPB2K8PminK1sqe5k9cVkLXW2jdHv+F9rx+Exeg05STMgUmh4VyEeJZC1ySexw2mUU
Vyr5SgyfncfIWd2wNBZ53yC3oRPAmAvGPru7ak8f8m/mC+QOY85inFvgoD5bTKVoalHyOhJ6LmQP
mVuLLvcEjZut4RfWd7+4eXpDKmcR4UqAC1Y0wRaRdL1m2CtV5aG0F5SNtLrMYpbjKLsG/qvVS6DZ
dEA/z3PvURV16K8Kf+l8Sf9G05GOQdf5fL0FAi/T9jl1Y5JbLkzNRGh2RDYgIVOrgI13ybf9JZO3
5uwQKY1hQnMtQiYbD0kvHxo1ImWK8NqsXh2eZXFjPDJedjGiJPX32G0HZVfkm0XzLcntpKcy9irp
iQqdYteto69EDVhmwgyIuESj5YWF24U3zp6OcxldJtibxqF3E7sWMZboGMWNWO05fAWOP2NvhUfy
bpuOr36bMnlKD0ybskO18v/3x3ZrmefsNRSf3H5gESKh2ZZbS/Gq6vS4VurrUdM3iMKoA8Z5z8cW
hKMooWnatQvbZ6CkzwhQYeBn3JK+WIr1ONko9PPCZ/6HERLJy/yqm3tgcdKd72Jutx3+G5DtCx4J
H2Y8H0jqvWj8RRCAwurSaaOhrNqwWysWUpx7lW1D+lsIGKVAJhIB9WXuT+OzBEgzOqoF5eZDz81H
Qnk2m0S72hU/onVblRXgEcirhWykR0SWNFBqoC5Br201xmewkhCbZOizvV59Roj+i5afsnLvd/Iv
zlzRcsCS8RDZetC6S/S/Cgef/50uDLsT64aDlhVChSBJXwohbLhCouVYy1eqWLvQb0J00Phv9CKG
PCjhY6f+PLzq0fZXa3LZdMZzjGPlkSzQ0+WOs3NebUftrJuHWt00H2J0e8i7kFU0BGf5UneL+eHZ
eVWeZe0U0W5g86Jz6i3KjmxG2jGUa19EIc7ESFgnyitqkxx/EaX0tGHhYH1GjWL+ROzEzQ/q1kra
DsfaVz8oTwQWGZzL4cDjDXdttG+1Q7qiKief8FhyeZS3qnAquJXT1CREQt3FqopnYINDZI4OuYk8
9VjlCNlvAsYGBZ+IxzuiLa+PmX1PFo1X6ITN0ZXmPvaYGpMDwTdqWEgVUJCw1T9KqHaxSDx2i5oR
vKvSgdsQGRUXH3HvARpVOE9wE80uJ2fymcJcKlEg2pL0ollHhdBxxeE9HpH3k4/Jwb8byqDINkja
khcVQ4rK5YJd2jO6Nypb/tRDY3blhGaaLIluDjYrY6hhIx/ld+S3g6iFAJJr/HSSX1R6sIfRzSaX
1639ouicpeU30QE1FaT6q2TNTNKO0vFhu8rpia+gi0WlJQ5R9iX1jKQT4hFjXS2/l39UJGb3v6g7
rx3NkfRM34qgc7Zogk5YDbC/d+l9nhBZaWgj6IL26vdhT6/Umt2BNIfCDNCY6aysrL/IiO977X36
MU18Pvzd3UfH7l4gklSb4Tl55ZsRaq63PB7eB01qTIJmvpH5anoynwGeT0F5BqPjTsyim/ra/5xp
L7+PSPQH/SR/qSOJZ3qiYVFz1F4zMrJklHsqdZcLZKwOXkkhOcSAT6Gre29xhswWesg83MV9cfQJ
bC47rAtljVqlPOZMClHaHh1EuHrb6ZRZq7GPo0ErAxpdF+lDeOeAdykLLdTUFlcK54xr3tpZe4yx
aNBdsOrCBRcmJ7xyva1hiCfmr3heW8eWFThceVdI2atXZ3iI5iPWIP7ysErcjxRafhWvail33tpX
JnaN58nCR4V+YaWCvc1UW6GrWk4MSXEtchv+ymiXfM3S++wtCjYsgj6TMMOsWp5MY2msQay0JsHH
Ezs3KUj8p7eXdzFiM7GPDgVjJBeFnDWIPzctSp3mpq+vwoc5WH6kICJMD83w7YDII7Nb9nk6AfsH
v38pwRvd2T749k+Xh3tbpOeRftW6e7L6bPfsOJ/hqBfN+Ta+xl5Pap2FNndRAJ+najuIm2C6n9HI
GNHd3L410BPmVcYTlWzG6MYASOkB/VCRqZ9AgkOBXtVor8sgWit2tszPV50LlxEX8oirsKNSG2GM
0V/qoLmOkIgLuk9iNGNmua4XjQLFShuGuXLtT9avLrweBv+xnvszdOgqMhkjb5riQg2e9rYTg2rq
WHcERSPL4vUx081Deh1VHUU5+YkIS+qPrY1vRWd3Jgys24JMHyk+usR1doNgeNW73cUdm3unWNdd
dnQ5rEcknn0kUdKuJdAli/+uvEYcbPH3M96bOvePqNlC39dHTZx+qxzorjlD5+lsXAWsQ2p+tXXG
yVrRfvoTWW2zK8Z7Tf3Drqij+1TK58kGCXNdgxq8N11EiiEnNC5mzLDN2N148AuwHciyIxrWMkW+
nS56cpS1d7Q9eNjYkFfVPOQY9phoBtvE6pTZZCSm2Y9dOf4urIwP7yvkrK0yW6/apSzQsjJskONX
FUgMT91t2SHqyJInPXkUCljZ0ir5Hgsu9VyZZ5LA2AsrXrmYE6d+LzTUDGchU6xdHWvwS2D+Zfzx
5BmXu2U4T1la2Yc5mQ2e+x5xuoEKiuzf8+wBVVIrka3LqYLjSb97l5jY3M2ecg/VDgoy7hJanoUt
HzyEqLHx02T1k5+tqwQrUNVhKXt1HXnbdRQElbNDdwVwTl/b+y70b62yta6J/d0zJ6INT5Sx63K/
XYs5W7x3sK1ahZQ8eYCLkQW97HXxSkSsn6nPMV+XS732kkrXI9BCwx71OtwSM9dxjrUZWn1m4ZDb
OkDqbRNkID0qaPkkIMm6n6T8SprUvWsTK8URhkicjiZMZflT4TAx6bRca7SHlKDkh7n2v/OkohaB
8A7UxDF86bAuaA9BOkfhVa6RIpVFghiuCJ6yCgS1VgiAE0Ykom8NUDwazk033cdiYzbhvT9QDWLN
E7u1PPakVzN1JS/h0vY0Qh6xJ04TmxaVsbnscdFlL/QGc17TiYZ7joxC/Pr5xpZOBoNjPrqtYPzu
XAG71FzP4VvluJ9Sm+NKFGxkNHBnl9AB9zYg5lZhBQSqsmEtIufdyt3vQtE40AC7oySr3udUcIWE
MQUtUcnrZZMbX/V3jqDqEOsAYC6kq0GmR7LMa479y401LmgSLGlEBTmwvBXOaVRQGXi2SjJK3Gi2
PvVg1UErd0WSP1tO+ZR6wXYIBF6YyR9J0ScQP046VrkIgLVcqjfK9jnIZbMuS24MwNJKS9K6PQyp
lsHjPATPQ8C2EDa8ZnXnvg1Bcowc85eZMk2gNaqr0jjmCGs7AzfGDMGzUwXW0STIzJXvWU/xrWcU
S1duzqxBnENkg9gmxHZRMGWeKSJGe53O1S7S46ObR2DDcvoqGipdXZ3jUvHtXW750yb25VdeWGrn
j4hzbaLcehqkdk1JGJHswAhUYGBGKvRTNDQB82LEJmO9EjUU4JSmFojuvUmPF9lpwu91QenQMF7c
5c/uj837jN3PX6LD7bJl+eCay3v57HfuwyidXRxy2ZeI9+whox5N1xs78e1rnKM/Xc32HiLzG31Y
ZW9QhLb6xMnEfFgRSgUD/mHiQPEShKruTPKP8WSX+YFD7sdLUXfSxIDZsZYYBDnZrZ4NLC4c2AZK
oonkHhvG5Ca7ERILRBx7RwvqfEsMFc/YiKYYVHpXDP1tUEw3Yw/IlPsAvVzcaUH8mnNnpcWzobwb
HJpovSYgmmjiR+qbkTbA7EgnmjyTb/xrylJMEDLhT2Zeu30MlDLl1347/gifm0OLeNt27b07Z+fG
99vNZKX1ThnylQakIITSjybvWdtbkaKSyEdG/SrnJEkg9Fc5Ng0qJ+Hj+4I0eBu02PeDnbPE+VBU
T5E8OJCfnsXCYsppeokoSjNqgjGzsUXgR+SIWTJZ4+CKzIh5DB1+P/IIeQ09rMSqXBTiRDnhuNJ5
TdF1Qx60rBgsEuzumzrfwXnSQQIzlLjJq+svp7bV1iuzap7mqdxr3ADmmD8YDsLyZDFz0CnE2+4G
nKoFDeg1d6DtoYaMPODYQT3P2q1O8aSe27IEFgSm6US5yxIuN+HF24EwTq5W8zogKQ7MNnU2ogR5
d7OtWeMNs5tJY6+xH4zQeNcMrxTAmhEjQZc6p7wO2pWbi+ey0TeDY70lukMeLk+0Kh7ckXkIH3Lv
uGuH9tZLZcLUOi+NCwLcJPSL1C46wjHIsJa9OdTUbKpRvXc5oCSSjRO64tsGw1GTU2GcVRXhAe7X
R2Cqd6uZYKmsN5WkMat5yDVb5S9jzsqvqnyjelTQgkGtiIGnUGOOsKz13sT/dhjvoskJNzQMZgxL
j6mpisuQ6leukHlrOOUv2YdPsV0bp67BOYMF2SxtgGuJINWjZWolCOKCfE+OxINRpyvxboe9upRO
6uPAe+9sv9y6DiCui9mqG6TeuIEkeYJeahTfx9ELfyk0rgfI2zJdGgCH5nOKBs3J3bNDIzPuw7th
ij/9PDY28CfWprYBdgciu0m+IzPAmT9lsvj6ymYjk6I7WiJ+bizEnFYfgQYJRWB7TggbMQ9r2d/k
XBi0tXGTxjN3AF7oS+hWn9QYLR31CI2JOt7KuL+mbrjbK14fIZLm6AsYvrSpby2lb2d6OHA2BSvX
sSnfo+EcSUTk8/yu4nbSa7+0Dil7kmyCHiexiyKC5GRqK3EcyiRAo43ahfdrErcUXuITlt57pIy7
3nH2uqle4nj+RlJhQ7BAWKCrCgqKleq8XtdOM65naB7PQvlTaFiPunhAPQNEkiNo6kP/Q45CbIx4
ANbDvOOWJk1PrBuQ7pfC9L8G+mVWFX+Set370IG0KuYbz3KHlfZxKOnEyQ7SjewNoWKPYQwtpYnm
GqgbWvn009WIi7YtCXyrdhq2NK+xMrVgua2MoNA53cYI70ilJsz4vXoufNMh9aF5FHUf70ajxBFd
ck/Wn6bKe1z5zApoBl9EI4j596BKrCxFiqa7s5ThpeZKO7iqMTDBK4JPkQz+vrsqM6UTffaxxSdc
iUb01AVnygx/IprC5nq8+E2A6MRPbHTfFUb69kz8NI6fuVuIXj2v+8TfC5DmAuLFceP3Qn1R9i6L
UZIk95S0ZXI06nrc2gVe18549nMwS9NWM1ct13bjuovjxAv2lNy7tLfiSwD6i8dDGRZqPST4NEq6
/5jSIOemKYn3xS/ReWThpuoQp6mxNq12g4b2I2DvtQ0r3Y4z766TLzqpOBigUIZdPKhqHSavoYVJ
vxzjr8rB+El6iwmBKLqtAuwzDJaaC50z5GLlTEuODm+joLv1w9iCC3kVVLJuIUbZLEX0ElTeda0x
15hZTV7jU6CAWxutf7l3YYfqu0vb5zlxyXaabgJ/AiO1y+082nDmJq2c88FxXZ7IUb/lQvFTRP7B
yaD/2trqDz4NQVMF3uQ0T/3YXugYfMtTH5thckGa9FXjch4IoS/UWSvQ2FqAlMRu/6y7Mt2hPsB2
Ur86AdMk+R24v7zXyu3R80Ca1sC36M8qYDgiJ9yeq9vI4t2U2my3wl/8oYvvlI+r5dXDdCFRITpX
peoIsDaBCtw+43037GOVvA3zq5X1WMUixF5V/pwoWlzlXTyZEHy+C/+v8RzSnnms3eWKL81iZ+Q5
PskcOjj1zHXP5JqrFhdvjBDdmOfHuRkv+RiSdV+xPGepeB89b0njQfCcVGdVYi3pHctEbzbtzc55
6KZ+L2fPx1IB1t+l9cM0tk+V9E+JzcqmBWQRvu2d2BYOoRuBKs0t7WovAf4qG2kVDwTJblY83UWx
6R2roNu4hFOiAwzOJHRGEC0TpfOAQYSyYZMYWCZCMli80dk7Fr7VLMuu+zbkrkpwCBrQMK4znXqj
ay7BsPT4+kZEX7F3kBYCGc3NsGmb8VPXfrRHBkwZRxTC0siqPdO6ylqmQ8JA/Pnbk606Rb57tJSN
x64pPuaesCpnqLe5ER1Nr3d3pqUA02XToM3js64bXCwicTF1jASpzU106fqkvvFIuFprp0uAIZLu
vIoQGrKfjdnZHOtjbuJfyrXCQjkfXYOGQDHhxDEGCrSHYtnDr1prBmHFqIXwsMJpkI6HpKuYFAZD
r1uvrDDoQj4MuX+JccIaKAxuRZepqwGULgglti2zxQSbIsjyBjCV0t1rVLhGncSnuoNqC7xPwjfi
UzHg4Mym4GxZbCGJGy5FxxEjwTw/hBLh/xgzcCcc6euKDGWUt+2hd+pwHY9Cn0qanle2yIt7qkS5
w5PUPCFJI1Q4rrpNLEbCCVN3Lg5e0G/7MksOMVBGOVTi3hNkLSE7zleydzbKV8aVQ+PuLgiBJYqU
/cdtOVAC0z2YDrrO0kY2lc15gZzYxvfp30QODD9E+J60u+mmWp7vmmOpKSl15byut23PqGhGGcuW
7ex//y3UGDY7N4WOZHl0djLHgC1m4Nesxppo5bu2JVumaK13ImTz66qtf3Q03iPQdDnXuJYyV/Y7
q8LFmBYY9Kn9QltVFylvJYeV7VkdiJOdw+igJjObbW+203GSeG8nMzwqvzlyVuJO6/DhdZO7Jimw
21R+xahT+NQG98FHHeGV78cs2qUVWkBqOclDT931bNG+S1hWT2d5f4iJbMddiZV7GOorlNk2oIwu
j06ffwRUfR9zS8Zbs0NhSnCAYWLlKcvoOnZnqMi8yXZ2maHCKJBC0cl78WVyHDJK7qnJRAewSHAn
7SBkrd+NEeHDREMW+sSJecSOrIMk4rocEnObt4SnpG047txKqa0xBQh4C9oO1QiN5qXCf3SBD6Qf
nog20x9tl+6xpO69zvA+PGfpJ7DFh4McQTZoxlovHeiQy+SZ9HXNR6T2vZWLc1+0KNacDv4aeKmQ
ZDxT/rB2fCBe+q2p5GgxTA5zwP+XOo/TaPYPKTVx6PSZWgskL7zHP/Qm4Krxf2wU6QehD6ZcHCWZ
/uUZ4Uu4tMLTIj2hq3Ye+9r5xJqyy7EzV8L0z+4YnzgjBbLq9MSHiL6gLoMVJaaPjfL0HgHWTYdI
AIszehI9vOKFXQzzZD1J4es1sQ3YGqs1WiPyZpv8QtzfhJcMOk84848XqHCb6DEHb2RwKrvyhz4G
aEoOvV3cHkVqvIgW92qDknBL6w2WRn7e2hf06Nno//uwO+hmiI9pdXKY/de0cZ1Cj5m4yQHE0hGk
QYkTdkKSSoe4JjcBrZ7n92vJDxzN83CTCfRJvt98tgn/rg8dcI6MTMWATt91nnXLImOqTavEDos6
RCIQSNzap9AAaY4HikuNyD+zIDermVICkU4Yg+VIaBIMSTZa7EdWArfT1oKaDlheO9VQ6EiFdY58
A9baC8v+JohHKBSI1UbwaIUR2IaKeBzd4qWNikOn0ER12aaQQ7kpDBiCsC9uZwPlWdq4tPR5QL+m
dwimfGMl3NwevFik24jI6Q96XPnQSozIZRxdTNl9e6lZHNstuag5P/5SJhu1N+EQTTfFXkoy0Sg6
FT646USF4dYDPES4YvvrkjkNsD9A/BLl3aWo613dOfdhiGLSGKL6QBDgMQ60uxOGz9OH9CxXaLpb
LzlqoD0fenAOOmrZaxOk1izmrScDezVHwZIzEKIzbuedG2O+SwdCnsxB4TWv5xrakFJPb5xPKv7u
2pgATUk+SD0G2PC9RXtoEoTAnmoXpXsoEvhIX7GVZh7PrD/c9db4qNIZL3DQ3/GtUQlbdgyB175w
78cEUaGBoeyXm1mFcbTHL6DWZgFZWYxwo0EyznAZeIZNMyr2Vcshoc302EzYGcdyhw1B3fqVwdOO
wNPwu9ewKXLI9Zh4LAGLV0dGj8uqfRkS8PIckSNrXCU2c6abbTaAF0SNQOFfIYHDOMBsaCPyMQLC
RWLgdCQkvZO8pT4dQGVjfCQdj6nZ4z4jAumJ42CqZs2qYTrb2maYDMoQJYG1d2VLwkvGLUE7NNEC
DQ9GSrVz7w/3WRLjn/bN+6pmUdfpeDaqdo9sHHFrMba7lB+F0ktxaCOqIEryPuxS3jc+uRvehHjV
ncYXX1rTHurAfDJ607sSZDagSGzmvefI6TLDAsypxO5hIAYu5NweiwBWIQkxvaD/jv4apvsPWb4e
S8l//9bF9Tn+62dZTU0aJ/ovf9cVtvxG//5l7V9+/ybxd7k4rP7T/9gyJOjprvtupvvvtiv0X/4X
v/KPr/zv/st/+v79uzxO1fe//fMnbdmoOe+/47RUfzZuERD0L3/+7n/8qusPya/63438Vv/Z6MXX
f3+0+t/+WXi/ebi4TDL7TU8ICu7+r81LOL9RTEAqt0+ra2jSqPkfNi/rN8e0aKbH/uWGobekUv1h
9HICzGGmCEyCVgS1q274jxi9PGsJnfqzz8vD5EVEqiABa8kFD/4mxanxWj3xnmTblmjORSk/kl04
BYewhDN1awdS2YhKByQmtKatXTJ4grvWB53M9mvN2nP20IY3gIJGdtsJFPq4tkgXqlN9oozeOdpV
yL7RDGP41KQduqHcGIjqkxVRNhjCYDDcKr5rI6O88RzVQDX0VvJayG7E927Pl4GAVhb/Pq52BmXz
qDGs7KiLLH+o+8w4FHVKek8Sza+qnTwEbgEm/WgiP20C4L2uZCj3sW14Yi29hsIyi8prsxURoCql
QVLhCo8HUCbbayICRFrUqkmT2+fA1+artmn6MYPk2q1m0on66tnzMnOX+SV2itCl8giZNHyRb+h2
RfHz8EuUdnsYcSyMG4Ot4xa2lSzAwhxAV4rEW5tZFW9725muFfXb65nRCfNNhLiA7i1FTk/s/xj2
0FxVQGK3/QSFrk0j23Gd+9tYt+2toVFo03SACx6wBC2ZdB3+ME16Nc+ZuBKW6I/x0CTbCn0pOimG
0tiU4y4ucmVBlwEYiqy2X1UTRteeTMYRICltUuJxBEqZeajJpjGxIhRFToRAE9TwfBotl2tPv2bH
aB9kNdV7llU4S6CHbV4lxYewK+riGm8uuJKCWb0kPNsk4NntU5ei3BxiOzn5vqtecvKqbwsdOSiF
nUbvo8Yp8ZTX8XPk1f0xHUrncfBlfOO5s74Zy36+SwoXuMstcqKHKKBGYxFZN66Y3HKrQXR++HTd
Zu1xP7EsBGXy2AbtfC4GX937IlYVBr2ItATbi8K3dEB8kCS9z+jJ0LwZJfWyuApB56fETT/mCFlz
awZIYKqapzHvlQ/mH88h2lWshitKXabH0GmcDz92s5fUC/G0qChrPq0JteWU5QQbORa4nkAbf4hw
0iB9TDswSFHqJ1kV04dt51i4yrBDGNrNaG6Cergd6XT/bB2fyDvATGSNuMtuYauwm09YbY5VH5UE
WyVY1mhyGG+HhvgzwiF9DQRuDcN1ELUG4oUunDCuZ8NtbNbNjWHpZYT3uhLKo42ZQSflIsRy+oK5
RVB6XpctIpkoZu+ak4FXxE1G+hFi8VHYxBb6bksBHjmV4p7Z2/9uPKu+bsqh26dR6HEta9KcXQIN
SAXPt81UFaSVGsFrHCXF1kD1T1q2gjitBhcXvEG0yNouZPQxaJPACSsqjWtU8GS24m25C1ovfCni
iMRYkZKI1Cjm1XFklNC55549nfbMgga3nhARMrWxrFBfBmKsr3ozlL/SSMQDVkldgajUMNajH8IH
Tj3+baa9tMyLW69PkH3ZzEsJ64mrT7B/1d6mUnox1jHaa+SwXlRO+8qakTVYPcKpuUgxTxHqfKax
TB/aaXYYEHTeP7ZWnlANFU+8jnGyzxtmQrg7Vu6CrdxuQC8tnzW3iVT/1gzgRqYtjcdMsuF5Nksw
q2G6twOHmFr62mtE2WFziZXXQUAPWfXklwWBosMw/xgxYlvftDqsYpCCMit/iigMHmO7zY7BMhCM
bDmwADh0IFqLi26BTUUwOvdFvkBwSxyWMPDoJF1d7DoDufUUI6UvQqc4Gu4wo8WRfr+HwlPILExr
fioCdjc7dXBW9PycJi846mpTPABLj1tam7vbXBXmFVvmcA1XExytAfzEzxLOwakLPvp2zu8JyiYX
Uyr/NjTBkwIqNIn+8Iy9VrG+Sh0pvkorSneZLqqXqO4UKUQ5aBf18CStu2WzVTZbgU6UfaJmuD2Z
xK/jVwfVt4aJGjVL22erXFB2N1TNVzhrkGxrmFEuS8mrhp13l7kozD2NTQf2ElA4Nqg5SWVMxoyd
7MkyyVdhZqltQwP9e+A4bJC1M16VIkovPuASEQNJS+aRloviUJHbu8paH0FQFfUW6TGmcR4YBY/j
KO1jEeMyorxL77zaDomoHTBxCFFZ92Ofk1rQRh3qMLsIMCA4prnv28H9RpMQIkEyUHbHU1ZxFbce
K1DryfydLbyeDhbrmkJ1kS7iDjvWJtuYHI6ZWxnjZnldEOVZ0VNbZ8jsInuMn0q/zUjjqZyD44f9
d9N19b3ZzfJXMdrWh2eYZCuVgy0kDdptfQ7qMjk5TqvI7LBRCRVhfILVJ8JrDKzyaXIG+8LsibSo
qxD/0zCQHNugr4/Yldtza0pUwZkLZw4E/8IJZF2ixBYns2Y6hwnQ12Vf2S9SUK9WsTCuI8O2nrNx
zD+KJgiuUsZrsMFQXfXuYjmdkbM5vukfhGBRpDbK5UObxa1wKcRIfB7YpBXwGEq7ezOJ8BhMbvWk
eRk+JI2QMFsIDjZ4RHrCwnpwTVt2W+6/+Q1HPtxKGP7qZcvqrXvtbOOQyBaviYfDZKjhygjAHAc5
c2NnZUDqie1sw8Yw11lSGo99VGTk7doVflA9DxWByqOa7rzE6n54D+W5Njn0E983N1Ec5x8q5COA
fxMH1UzWprNlg8xZtU9VXuEwt5IGz2iaYSbB+bIIqLPxMeu9CNRCgOaGdMjfzW5JEitXWnoaxgpH
Rp+WF2LF3X2XWd2DXxryYDXIVWbMXne1Ssc3p/DjT8BZ55oPT64JJ3UORWF3R5GP3m2gTQ9vTpe4
Mf7hKERwnUzTTRpbc0fAtcXQpbLoa25spFdzgys0NAJnl5NdgAI0RbpY0p2SoMK6jtLE2Ic8GSyf
bvjs06G6GSDVrhR9Qji4RiIcU2Xf1INX3ZBVo7+t+fcMyjL9kGHqauDLqbyLxmQ+j4WYd3MxJDdF
4nMuuAMalhZZGEm1sr6K+0x+G6ZF7JPldxWdDQHlJnMcQJc2ue9cJ5kMN64Dm+4KcudmmaYYN+1s
P6dp+pmBs1ynHuJSQ3MdFVUaXEqRSjJVhgXMYCq9FATsP9Zh6B/V0I1PYzSRvYtlnupyEnazJ2ma
1WkSRXdKAml+8UZIC7UOuU6ki2Dex3P2OaIxuLSVZV+XTgGVZQZuc3L6WP5qAJo/Gu2luN2DAFF6
gCK1HwnXCgPz0DYqA+6yUao4fNzXym6MRyJHs580Cxlf/Xjeqyhw34pSDhRm6uLOik3jVxeb3VNm
ix52zfXIxqT6ZtqrICWxH8+xcTasSnJdtt304DZF+SuZe/fZo6C9RirnJe2KNNTpRH1icaIbo0Rd
rsa70ovFNeCTQt4jQ2TMnDLzJ9AwerZ8ml+EIEKHOg94aXuePjw48H6lKpGeemxtV17gTqiOauev
/Q7/0JL5dzfIPy+Qf/mfliuypLD8/WWTILiyKds/L6fLL/hj2xS/uXQNkarDfwj1WOo8/hoqwrZp
21Tu0n9Gb6vLP/992zQs1k1KW7hmWAXBrQOiSP5YNw3L/k3YtkcjNW3ItJpbzj+yb1rLOvkf6yaB
J5QbBxYFBAScwPX+bQlXYMeFNTjgVmIfnIxVtUPgB+X3e1V5dyy26S7/LyvZlyqH//f3XDZmn/pB
928rtwwRZq5R83u2W33hJNrog3VHxPyh2Udref7TX8btX7/tP6lO3pap0u2y3/9/fzvHpX6NHgtH
LAv/nzN1Unqx8Lrz2zXNiVrPvY9DMwwRGHK1B1OFDF8eguI4NucqS7Y5R3+Wps9e9s1Scie7qykZ
MMGQImyDBCI4ZPOwXIHW8UZnN9J310Kj6ffgghxkJ3KJ7iu3Wfguq6+ixihUnFSTHIWNvYnobGE9
x/V8CYzPqC5vZzBs185u87beKpWR/XDsCBUr5U3Oaaide4pLtqN9M0/1sEZ4clSO3BfBRDrq3N25
0YBuP0dgZCb0BPSXrGciHKytHZvXFZQbJnT7oZEDSNoJFGDdtwhWYzgXLh4DRYjb1ht/eIYtedCG
jQyvBt0M1qLDIdHcSP6xjHpc/xuBJR7B1dp081uQ6/WMqmtwUOMCQrc+EnmsFW4l70KTLyyWmC5v
AeT1RqTtHalNJ9JO4AjCq7F8K03EcwV5vpkYXxPL3icVks9y0RArPJ6YQ9V7PxEJkr4W5bzx8PpP
4UNWIztQKdN7Dyye3+nqR1d4cgo225Vyx61uOgoKxNXoYLAJna/YeWvj+CBR9KvOvks9oghGH3/c
hKgU6YG4r7leU30fRxY5KgqRRbILS/WuRiTzKfxSxqNp+QeUBetWvbR8iakVMhtx7ZH9PoLFO8Bh
/cCUm0nUEE1I5mRhPY+RcS9i/NAE4p1iN3Dwc5ONL4rntiM/ypXyJxyafdAhTysEEgcR3EbC/+p0
mF7SrMVwCVySto+Dkin7H2WArEFm/w5s+sMiBpt7NZjynqdmzfxEemP6oHKHMB4qGWZc4gnCCWyb
GV2j4y/GgAeBJk5E4ils6pvSDAFWpjMIRorCwd201bGVXxJgeqhxehn5MXYJSaw+VJ08ZnbPG+CD
Rhg7I5nuDOe1bZx1j2Wm6LjhcuKwEppavmpJGm7xPHcIHNLJuoYHY0wj8SssyM9Od4WHQjEP5k2m
o4++JJ5GL5r/AW/X4gaJ9LHp6p8+QI/QOQfXxISNJjIXD6YMDu1IjQTOz3GmN1RYTKTGu8QOZshm
jxByrciZSQLrzK2/6L1WRughcpoeBdveGOIoIDYvhlfNa+ehd5YYl/iQVO1VYujLPD67HfKMvD+E
5OhXvQY+iOjZ5YASWKaR/Jc4DbyBYovQ2lXzjM6OI0uMe1anXMuDHEmGRCFZY9oX8GuC0joTAbId
f2Vmuu0DxObEgYg6v4/4srLgHaqKm0bOz7LNXuL5lKJZ6Gw0/PjAsmF+TifAJ9cLt2EfQ8EO3Pw5
xHD3oEd9H9j3pBAdqmFHKAH2ZA4dQoyobAKOZ0iss+MiSgOZIDHl21vmd/61W8Fze9RfLPYavIoB
Z5XffM213qWIDHjW1/Vs+DsfP0QnhzMZBkii5rupRrUqJv+gXUhRRuSqJ6Wh7qu3kmTWRMTXQ1nf
gpIfMbm/tKrdBUZxlRAhXvKEslmvu96/dyryx/Pw1OTtp5X+qsYAO2MhH7gid41RUYOhXlFQ32UK
/7HtJOtQ23uygWB8SIIAOUT2b28jUH5ypTYC5DzLyHpd6iKVuZE9dJrMx/VozHgA0RNDyvU+MRaA
1SaUUeCHDwH07ySsbdfgyRiHu6RsP/t8vK/aHm7cvKvb8TUvnBPbzFuLFluP2aZaRDDZjNYSdgJQ
LN7L4JPiPXDlYjX4OOsQzVVes9IEektManXyATm8TppblXxqC6pzOSQm6nFew/ZLNcG+dJAgpIjA
QMjAYA9zUfJukfepCHMVAZHAxCoawzodvE3fg5VpVpR1EHOuYbFY2dP4blnxni8poVa7S4NfLhrD
t1rbd5aGzsIGas/9XaYHgEZ8PqyaXwN7KBvT/2HvPJojV7Lo/F+0xwR8AluW90UW/QZB04T3LoFf
rw/s0ajJ1xqGtNZiGN2MnldVACrz5r3nfOetct85r2KmpcBkLYEvtXM5+DnWD1lfX6PFpqrCsoWp
WfD6DRVByIS5+wNWhipe9naD9waYDMNGjtBGTFoOgtrR/SGD4C8VDK8FttyhyKKxTz305bW6hKWo
bEfALqRKm7N6lizlLp69lXtniSLnJpr9UFD8o3r5+nrfGvS1iLUw6Hk9pzOuXOeoih8SIz7jAL/W
R19f4dvVq1Lw4XbNKyB4Xtmz7AJk5M08NHNjKTf+1py3y3a/oQ546F7Neb5x1hQ1m2wmj/ZDfHEW
P3xe/SsR8d93k1km5DlGuup3IuKoxNDnOiTCdvKmIgFWjTMWXAIEf6WYh4RX7XXyFtQJjtjcWCo+
NLd5Y+J/FqbcGu6NQ53QZ8ZGxM+Z7iIhfcvMl8BNF4raLTBKBJq3yeAwF9EwKxBWavIeQ2KR97uE
nlkd74RaMre+ONiMRixavqsvG6BTWkVTvzDQTmHBMsK5UuPw0JP7qsrXVZkec3TQ/i8Xp1aI6pHd
x1AuFIAAT04dpgu/PCDR8fwXgdzN6HvmxN0mkc8K38LIYaUEUtAm1YEWEB4kfUtE46LMbrUBpkfB
lFjJ7rqWfAaYTl6GyXikJ5Cd4yBaBfK5JYPDTQaao4JhLZGpNtkRZxU3wRAgPoNe2hsJSCpoP4mx
MrVTXxximvqhGKae7NGBf8yA6Epnc1VsSjPFWNBceHUyuPBSLizrnqgWnYymxBRXVKr4FbKthJFq
BJAC+uhkwfQborMvXysI6ybqcYS6j6WmhStFtS6UGkwkw0XiuA91ra9sbMpGWJPwImiuIbm39Y2P
nYDOAmJdxpeyy/DGcJQd0DL6AEVdzX0YxuHsBnRyHTMGpSrmo73Lo451/lJb9U1aAgMRvb8PsYFp
xk7rnwcvONG0BOB9H7jI94p25XUrE/BAbESHQRL82plboaczJ6VzIRAzY0zhOul4hjuhH+yetkAS
rgXOpIpOUYWgMabRn+c30uYhQ5dYDMlNb7s7HzleJbDj0hdSyycmTDPNCGmXvijtufWPk7kjN+/1
4Sbk9tv2K8YF2kOLBnl/Dvs4xZfaEUHpYCZ37FWdIMFT49uaGk4E1RwTCY8vuJbosS77X7Y2rp28
Wsem2MR1N3NGnJ4ENjg+TkVasOjU1ln2qxbpOsBDGFgNu7q5hA24D6tfaKJm1MQ4VMp7x4P059TL
YRpGd2tES1cB7USytGdEADSYbLzko2dM448lNeY59pr1KEyi4DzkYeeIzqbbuYsk0ODAyU2h3qHh
XMisgcGwhXi6NokpjAXGloG5PyEIIQAPHJISQ0AwkKcQKzMafzBSsnMBxIkGjpHeh5I4OVAUuQlC
tqLJhDdHR5AgR2s2yJ2XsAZYkoqS6Zj5ELYXwFsIfxCpjtYvVBZnyyVH2WXXqXHhZRDXvUcrFE+Z
V6ImA2GkjDeCTTyzLzRqljJ9cLX3DKhXBCa9jLJlXKOrZXLhtR0CgwuqUPCBMfwQ2LAo7+Ak+659
l+F/9Kt+lwf+fnC5tfhbhcjOEiVIz4BEyODc5ALUyNHssz1CXWycwtiaJJW5xLEUuH4bb25nykpz
x1Vakw7gsvEX2T4DrlBGLo3Sdl4OzxVmux4CjxtnmI3cl0G7nkxsgQ7ixe1XSk6AWIVJJzzkAV+u
gj3X7JaNrVK+hs/qGHJOa/cyVwEjEaPBdctwA2TkRzDGW7aUtaqTLkMdyxoaqoURsP2jalbBLkR8
L5LmWUvEkzeZVlkJ8zBaFOML0QIXfWzoBsN/hNHIje32Evq309orm24+2LQNbC1sE2Oxayxz4knr
D4n1RhgISQkRt8jYDqSkBg7NaxtUjfrg1VyQBopC/+ITCNnU8VLm9q1O6JcbDSsv95ddMpBDEiDr
bM4mhOpaSVFJ1iidXvOgQc29QbPUKuLopjept3HSQL/S9ddAwZeuqxst9+f/fd/SvrJ0f29baPZt
Zvm2TqPs27mfYnFQegsTF8Cn6/JlnKcLUrBmctYtSqyyyynWW/z0ov9sNhBpbhqWsF2C3rXvacJh
ELS8F2rtemEs6+cEQ/6sm1lbY4E/BoHYw3//kP9s33x9uent/FFoKbrMKj/mM2q+vtCKi5vLH1Kl
jIl3/K0aEZqtkkhLhWXSkvr6EpnZjrlv8onc+CXKTkmf4IvJjo5rrZBksi3UqzQqkDqRRqMSj8Gw
c5SLqLIXo14RPI50afjQo2bNtuoT8JekN21+o1r+GmfDPRrTh2Ac1oPBF8Wi15AW2yrH3eWMi7IR
myL1OIvjMBC9sYiQzwkiJEynmYOx+qGw+3wg/tsn/XYxJRn1pTo9MH2zJ6Rno9nI+/0WVSPPjFbe
ND7SMchpTh2+toz/bdnvqEvXzejPsiRc1hybbJcoHqXcwNZdI7yfJoY/vM1vgOrP5/rLDflW8BKO
JcLK5m1SgxzTXXicit7owoF3Y23J1Zj1c+T8i/Dnh/uvTxveIdtEmkLb7FthinRrZOXIIGfOcdYv
0GtdRxdlhsDqapjLg8lSvfp/eL7/eMXpoPHH821nVmvyjFN6OsfBdxaqn/zwfP9llRAYJyxV5fQg
TPHtahaFFTmKxtWM1F8OrSKmYRCYXv/7x9D+uiw43Bn8FBqe1+lL9sfnGEpdNr7Cl4jAPxaNRZCY
bLedt3aoiceamcE0VQSKX7mPeWPPraD4YWX6273TCQDXaf87OubDr+9AiYaeOSpX0hVrDyF2i/v+
v3/Iv51bhE5Km65yTDAZyH59CeJrozqZblZJIwDUR29uOn9H26SKSE+xg3U5WEjd8SE7DlJuRAyN
fyetYV+lNdKBFrK74i20BtHwkMOw8RmpE5eRKvYpt5HtYVdOB2tvGu2ilt1taAXb2EwW//1TaH9Z
71R0XFMg4NQdt+jY/3mrCrvvI7yDRKlcsNbP0633kZ0oqKjlZsUHiI65OufM8ox4AlPx0w+v/pfH
8curT2exPx6U3BrCaEIsU2BiT7oqNuZCrpOH9o2laEuPc1bM6vUPr/mXR0Nlv2IKYamaa33fKO1R
jVup92hH9sobLuCV3BH2ODO2lJtLJt/L5Kcl7C+f0poGacK1NN11vl9jr0DUHbeWdTVK7WgHErZz
jnUYrB8QoSaHXCgf1e4YyQgT/zWBifOqexYkikkaqj98+r+8F/oH/zndTrObP6943Q2G3SG+xyt5
lW3AP8DHjZYABiALXDlXKKr1K3Linn4qFf7aI/njdb/tq1ULkdRxJd8WmeFLwznTzmugi3r8U4tE
/8sN/vIRv21sXsdpuO75iPXCv8HhWc2tR1Y5pi9Iu2bFplimdziyl3JL7ypNZs19tNMItpp7P9z4
n671txXC6OzCQN8wdRIeRmJS3GQTBO8/3NC/fFqhY8kEv28Q5W18+wI3SMzqvIlZ0f12B+V3NXgk
N6jPajnQ1KW1nOWzDPN1aNlIWW5Hh7hnrd4Y+Ad/eCd/aZx8eSffvsxNV9sVNiSueys41aunFBSH
Vuc41/hy0RVJR3M+JD3aMuls08JZup2+k1lxRBCw7dL2wYHnVVfQVprmp2/9dK2/VztCuDpDPx21
6/fnvk0HXYGzTIO7mCFhnoGF+zXt5Y0zIxNmRktp/sPl+MvdF67qCkoHw3Qog79+08JmZFEwgO/B
h5w353ARzZ35G7OzGVkqM0Tpq5/Kh781B4Wr2TYlhIOm9ns5nmieAS2QozFH9+A2XNer8G68KZMZ
UMx1dB0dyoX44flzPrfSr1dWuCYjVcfgJOA43/tlyEq9dEyEAfYNFLIHsTRxu0WCfkykcsfmGLne
KgUtz8xoUw71mrEdKWLvEw3IRTRiZtdRWc+pIzZSBTvDKW6ugD+1jA7cNiCq8GPUTdpwnDFEifui
u0ajQdhUMi81kC79q4axTO8mB8ZdaFxiHigl1pddoa4HNJv43q7Qo1zVpPzkFSNX4HmR/RHAMbMz
xqTdg2M0e9JRcWiISXm3NaCGRhbgSZdVAZpA6MPJhjyGqXDuo7gnOJEQZmMTENAoQ3c7liDWOaYq
OWwuRkS60y31AStfjyDPD98Z6YCW21tc/5xMPx9djg4Jtq0tjpgRODqABV4PkakEQrmRNfC+4aVR
9gqPq01GZoirH++2B8Q9qxHRgtsWw7va32k2U5Z0W5irFkJkEkwkNZ0WXDzc2eFRITCpqm9AfCwd
HdqP/z4dyiXOcjwpr9AObAUsASCvFLAxgzAUhe1Tna4L7g8YgK1l3STyZCn6DmHtlaANJD1/n9Os
cPyLwcJqkvscFu7Kq8m1q6FqINPyC5+wLOcYVf5rybxyoMFioKJsGQuGFZY9YRP52V73pGT1bvYq
XNKha/71la+32OHidBaM49JDPmL6H6G1HMvwWjpkFGG1R9sbb7MGpHdtBGcuz7zrg6s2eKgHeYtp
goEEVIgWRStiNiNeZ8OFoIcZQJyl2TJ+d24riHWjIzApfTCuvcKnczQVDdmhvQmY/cYk0roFIWt5
Mo8ykKztLVlDZvIqGmRcCD+vomTvwNpMcCwVeb5Mq5Y+K66/kmS+G8VDconCe6CIKrJFgS81Abnp
Fdlc85slqsFbvO/llVZeEhqSZoDkUMa7jKc8z6wXWWtotVoaeoBae0nkyC87RpJA+K9R9U+hTA5R
mqzQ2lypwUcEElfHWeoY3n6QYlHmMMkSZ9G4NnSkAoZiCmAQifGgXPf2VkOtG6HQ1fKnQXcXtQ7t
U153JjzdfB3X7kzwbmv/OuvSuU7CblCKVSgF8V3uIYww4vhM1kg69Xuktv4V6qe5h/U6f+0mNC+7
SQWrKHNvCVTMspuaXl4az5B8rnr5apGb5ocPUyQnvZQILyCSIbieUDKQGCWQNcct3jh4laNXHOT4
mmvhL9HmC9960PCpIq/jvT9JYFikSCxyKNZ9hbLvV1QeHPMcd3cxQs2CJC+TaagZrC06pKYH96r4
5XQDsEIGnol76QTgB5GvZKiuk24XJDpItCOkX1nveof90lxRli1j6FRA4XT9yStenPAhVAkdNXeA
fXY5Pr1SVWeojjtCk9SDQ0KfoVm3Rokhy6NkJ4ujcu5LDWl5rkNPIL3MAR8v8zUoC5iYzO6mHJmD
zsjgqhsHTmJYoGow5XBxo4kGxrWUqfJUdnKjpOPJN7akNMF0IxEuMBiQQJbTcElqNmsJUWKe6K+U
lm8i432NB94j1VWeZXorjZNufKgVLsk0WzqGv+pjedWM9NYamvhpBU54OGUsN5rpHNLi2tJenbA5
OqmygvWTtNWiR3tsNvt47FYWw1dviB5KEvKUcV/F4TkGyFhUb2FuHT1Lh2N3GUhnU3CSqgH/cd1j
dS0yPKH2fVFClQvi5H7g0w3h3QCJBGL8UlXEyibFnX7jvLfiTWgyWYTaq1c5+q1PBAxW5ZocAZZi
R9llJTJYLr4X7XSeQsKRC0n9LLxdpfWHZvSWERyoIoVEPVr9XKE9bpjqvGdEGXZxOwvI36xtun02
kcOj8+Ci6PRRKef49nCu49lC/RBXj52W3JIGccKT96JOpHUddzZ98r6D164C6Bgz8721gAv4TwZl
jiB1npPstVUraGIeGTfvQstc8WYWtjpsgiLZKTZtZ40WdLZPafOmYQ1Bu4CvEmGFDO/TSj46bHtS
2VTxeCsgtKCw+jWxIUxjLaCK56+hTxgzqPkr2dzD6SeCzj+qNloX6Cp1w7Eifca3vKb+um5Es3It
83FAxUAftfXnqAeXhptvawu3HiGmkJkqHlaL95CTVhu01TzmyxV25yZ47KJ3bClXdrFKtegYW3DC
XXtvkJlmT9kTylXL+tbQYvfaY0oYpxmzDrKnGQH/0+1V7+3MioAKa9f2SGPta/R8yA+8WcLjmLeP
MrvRDOiVGU3t6qDZZF5qTLlNRLbDRWXf89RVZAo26/Xg9suo3sukn01EIpk2W7KDpzZxLLKliQYo
jp0ZTLMxfTM6AKag6Vrl0IphI4eFwQ1Br0ykoQoDwp9p2pbWPR7qkOzeu5jxnVZg2Rt2FiB4k1OQ
zrw/VgjNQTdS4/XPVDDL46tmWktdex8mZMuUPmKtnCy8N7JjG+xc9yEGTE1KhDYoW6+r53F86roJ
A43xIG1nuqvtXakt8LkTv4gPNr0uAQ76zTjv2MxD7aY3bmoPG5/rLlrvvrVIniJqIuuh1MEETORm
CLxbSG+BSE9FDLDZsZZhuYU1eGOOuxwJQZBfbP5bAzMJx8HJpwBszTIyHnyicNAMcTWX6bDu43gf
oAfqa76HKmt5VMxLyDM2gRhBGhz0vN25Q4bFnafMvHaKZuGQdTulyop+bjj7OBtnY8oQLjAfWiD3
euGfTBbCVj0LRgFTHmcOf64jy8Ab+G+II1wSMofSnfBPFuuJJbuVkhlrtLkwUOJZ0T3XdTDzg0NV
7nOXy0G50OXyJuah6zRvOyHxLBWmRbLxYmjTEA8Rj9/2WrPtjW5uEfIlWqpKwiJ7pDbsa+YvtfF3
WoZ/c5VHCnoqtNzGWyvoZtJpGCAkEbwA53YOD6Q00Szkp5H9efQWlnYonWTNOar3rjVnozI+sq9V
7WgGpzHEleA5ANXf4CHhl97I0qRmIdayBNBa4ovlYBGAa2RUFIOg79Dsds8Dl8QeUVGB6UybfB1A
TbGDVaJkixLUan4MLWBIGgh65PoG3YgQAmiibdnPY6EA3TuG2iHT+1NYcmIJNswToZDqy0I9luTy
hJ4/w6MGkKHft+2uqdR7ZdL6YVB1B2DLK8t7Hv0LQH0bxga1X0kOzm3XbFqn2gRRfVd3R5iZhh0/
1oZ7cHx/CidYq/K5ic/FuFTtlbR0tA3dOhxANhYVIWXuUu9+1YYD0yC/6PVN0t+A6yBzicSPafaq
qau22eja1rW6pe2vxqEjImifEdsRoJICZdsqTAvUybtyHAAKJhMDfuepWzkAU4KNQcM32muxfmsr
jxb0CYwZQ7kN851d4ip6KBhUPraCMOAGBiQu3RrqfdebW2kSYxMgpylPbkJRnmIXHwovuyK97D7R
+Db2+VEZV1Lfe5lKvH2/UJpVk6zLDoCYtTbxHmApuWnJkSjqW+yvXKQ7I1jnabrRhicf6tQPJ8V/
HuE5QWGhVemPIJv9fmxT835UUg2PS7Ok13fPaGOtzDDl3jN5vEppTPx4Nv1nN2bqRVm0Lm2dcdH3
Bu2oYu/xNAk0cllsEKMvPFSpzdXTODPQwHI6nffr9qf+wD+P4JyF8dagkDFsXng6MP/R7JNuV1nS
xqruvzChLs7dOZkHtJ6ahcnUBBrJj2fwfx7BJzWx4wqbBqfBp/36im6RBabTQoco5akXR8ZxoTz+
cPOmhtnX4y+NFxW9swpQwDS+TwnCwh/7EFTXlQofOFt2a7lVVrRblu1PLYx/9le+vtK36cAgMcOM
Ka+Uf1QbpnvP/i7mxjFze/b3xAAu9KvmF1PTYf3vnM7/L3b/H58S8P+z2v1SvIRfjNif//7fYvd/
0Uui3UFrh8daNW1a67/F7orm/AsR8vRLy0DzrU+25/8VoWn8SyCqYGLKN161wPv8R+yuC9I1WQQQ
ukwWfUuz/2+07iYevW+Pppjk32JyedN9crB4f338i0GtwzjpPsIyg9uiBx5eSHR4nUo+Y+a+tL3f
XzhhD6Cd7qAFV5lZXddhQxKkETYLLF0jlZ85anPc+2+17Q3bAZfwprU05OtDkB8DVT1FmUluc9sD
OTXpCmjGtlQPnc2BpA19Bi8VOHG26PJO09B4JorBWJxvpDBkPI9t6czjMFFfdCD/ddVnT0mnKMs6
J7m5KZki0+e6Q3mHMCWy4lU32YG11pbk2AiAvdKMbwcFleNovkmYI2evtrSTnx/bVJHnrknvY2qh
bTOO7on0SwxBCaAfPdLDLYmHN5Whxvsh8eJ9WgAlcYj2zBvwi72Iz2PlGIsGjtVcmoICv/UavNDt
k/Cs+JrU2vHgScurFqA03rvpv29ruXsKQoKUWtFvaqgwhIN1zS4t+3Ctmvi+gC2hVRU909xahXGW
A+AKIvCTjOuM2ef/H2TUuxcU7ebzLTM12NUBlnilcRxIQGmBK7iJjyoOvoWvhCfkYwNmI19fuwPV
Yzi07sYHy8cZuzDBvQihbFOXmvTzT8X0V6mb7IVGDcMdfWY0H9F6cfwkG7twMnjYxTAcGwODktrg
eJXUAmatQMQqMVoiiQjbcHjsxzBZRSkxqC0+RLTfB6NJVZKCx8E4+yCmLgOG4xnJg83aggR1SZVe
HlIL43XUaKu6LXimTA2VtzKa3u7zRxNlwLk9EyjTtZrB7LbC2Hxwor5Z5TWQdN25jZTUxm2mmyt0
OY99+GR6c32oUpSntIZ+v00Dp0PpmBxRVXK/VROoUhBX4cKalDiZW9orGMP1tR6CyIX44S78NNYX
thI6s8+7aLiZc/r9aUBJBZtEq7NzU4nJjMng0iZRtb0Snkdud6usGV15u88fRWRpy99vAZR0jm5G
MbeRHPz5UHbtDbPBzM5JVPEpIYlGW2Z0nV6lTvY0wNlTIM1DHJmcHUyCQGMLdJ+v9/UpnH7gKrnS
WzzLqM5Kjdy1aNjyOEVz3bVAs2W9drZK4mQC8x2+D9B8xEl9Gd3hKA7Q89TGvCeSHXRt+mbC88k5
1qnIxHZjnGVnV8AVazqT8C2GqcHCCWo+oPZO9F+49w305VVtt9vfV0TJ4I94bnU95qVYkpGHxNiI
n3orce6VzveulM55y2jsH3//zYy0tdOP3kzRcmVuerZ/yPJWzESo3cVWldERKCEz14M7LvDUNQuh
VyGqqlG99H0vZqb4/Rd3+nWngjZW0lbbh8jTSle71XLrtsVYBh6rDs4s1cUTqp9nifrr2gmTD0d2
BF5Nf7NiFOJKFPfr3x/VSfz7GsLJ6fMHmuCzQGHFPBuCF22/ay9p390Ih0BamNnaDUV1nRSw6InI
gye0NtIyO8NJNRcj/cq5goxoJUf0T5//UlE8i26ZP5CsXhIZQVOI+OHZAKv7l5N94MyrIbWawTEo
OwSC/YilxNZAcpPHyOlQGvteQ7dUCep3rwXSaBf5K0uLlXWvOLutuSiJ9cttd0SPlhl3SiPe4fyW
lFBAVbXO1u9IuH23AUJAcxokutRyp2NDOoallu+GRLUWqWv1D23TH70+ONuhlh+kJq1L7PcfQ+SH
V3joYJ0nsbsAECFOluPiEoRn3OrYaWQWyINa9NrV76vZdPg4avaHGYBfSFoV+Gs1AIRDb42rhp3S
8u5B/yGeAKsL307bVhM5y0vGAC9LZV9yL3mUMUlxVTAohwHC8MGGJwX4p3CYyBK3EUFaZKcBOZv0
w2M7NqjAcCOurUCvT2MxDjuU8bui8attEjcfkCHq68pyWO8+V28QAPXalMPa7FMA3lhzb0PiYqGk
nxgMhauhHSBQmGHx4HY5qRwGAFgdArUGH37/+QN6A4x79QH9fTvlmdQ+6i/D8qJt3hl00sONmRT1
KXLH+lQR6Uy/3KqWrd3KQ1ygyS+nZlnny/zYtyCe5eCBYSMY75JWxZ2VNt2WUFeNvvSEw5vevd+o
BBg1pAebQYyANjH6ciPkeA01TYXsM8H4cVodGtJWjM7MT58Pn4OTJWdJ1nwSpNr2wS/1Ymu6EC/H
3qz22VjVfK3h/LqoiN1EaW6MHjp0XBmsjCyNZGXl6XOUZAfbzM0PZBPQud9SoXQzqYcODAcxLItK
Az0M2GthOFJZln1h3BVOxQdiuAgVrzo3hsb66hTDY24Ot15Im7NL2v4Q9ND8Yq3Lwclat6bQxbYu
q/pkGfGwUTT/SRbX+P6RB073VXYJthjPrrCbYrpKcimvIzyvV6qo8uMw/bBGdIyDMayasTHuZRC+
aMVYPqpmtyuEy/FbkdE2LoS2i6VB7KzEjo2MdLj00JdjdxgJVImG6l3Vt2oAgj3QiR5lTGjR1Yq2
9bDohRE8WE4e7VIvwNXkeA7LXN3tsfxCbOldY52PWbb27LR8km2n7/3eeSPol+SkP//g++TziEav
6MopGSdNZkCV1+GlBzcaTes8QsqarpEv9zjrlzDTIboGnr2KjADfg4yI4kW28BLYz22e7wDy2Y+u
VCiF9NogE5Z/GSZ9tDEqyNaZ6BIkn3pAAccpr4qr8gnoATY4WjKq4SmbMoyMOy0B9CFtIH0K8cG6
6kQ3nz+mX8FFLDdKUV2DJGd84ts0NfNzgSkjMMLutk277rZy7JPheu7R82J9ViWi2NIu24lGaS5m
MvFTgLrDfqrCLbDPfsJqjuehnKKYMKLp6OL5bk3jijGnxatn2pr61KXmMdU1yQMFeXkgcWuv12dd
Cl8i6IU4uGFn7nqrgDuRB/PP9S6oYExC2Vp9rszatDw3ZKO1hyhIswcFwcdsHPTx2tWHcNV0MCni
eBO4urgLm3oHkqJ68drMm3WGqjOCGPs95BjiW/J6TdGE/Gs0xnOoKs9jF9C0Vzz7vSpRQgM+pesp
00NsZfaB/HRc4m0B8FOLnjqTL4QFimVJg7d8iqS6C50CiEgaF3OoZb8QexvohlNrpcEXXug2MmJG
/ArBOH2yq2nf5czT0YAF2o3i1NoNHNs55tX4bIR+twpbkrIh91MtlxQckPODy9i3Gl3WeNNGNEbi
yLp3cnrVZQsOxqi85sbOahr6sR6/eKYBV1Vd97WoXyQWQIgrkHl7vVqaNpO+JtHeO36dA/W87j1I
fd5YxdsugxMSy7S+Dr0SPpoPoaineUQoWXTFH1RsaAcTxcuSvxBOy287Zfu5nQiQA4tIjsxIWkGy
bkYfyC+I0ymF0+958ANWeNTMkqDjg6wZAMR5baxkziUk9eAJlvS0IzARA/6W7z+3CqWz7X2qV/bK
0xUqp7bpSAEmr7zu9Gxug0zY0FLtZmNWDOvUROCcuS7DEbcUC4UC84jJzDwKO6DT2GOzilPNouHs
kPVg9Xz4eoyu6cQTuy3b/K5t2DJgVNFkA4M3a+gJb4PR3n4WzZ8/iD1jtjhU6LktZuANwAL63yab
gasurSYzj66F+6nBagbV029Ap/c1lrzBe5/+INuofrQt5QIE7t4Dr7wxvaQ+GVGUMzxV6znejYai
g+lMw0Er1proncb/B3EOza3N3sbsCxlVlEqbwVSBZ+Y/f5puLIjIYPf5+//9LzRJo95xNpWhtTeB
CeElz2RxpOgr5r0K4JvFkmnfkC5iLaA9ZKjt+nN/gqcNGT/ioomMJMe8CJBgt0NB4JjGrFzraejV
Yb23gnz7u04AKJ0/U2eA4CqHtxqE+e+y0hqZs0dRdadEHbv2dAqNZPahjaim54FBpQDMYVlGY3fL
Waa71VVwvHain03CMxtbZ1A+3crMiQhhwAsIf5nY6yaYyOjBvun0YF9NP/74XWMX6zBOH4NCq/Ao
Z9G2V2CG2zhNx+kcGZr2vgOts08Gl1BJyQ219TSHmMMPx8c4rfbtVZCUU6uU/ev3JjbtWQBdDBLF
2MSYL0GcNkFnRr1nHLxaNQ7liGP3868BXzBGtgQL6DD63MKkPglc/xaq0RtgeLGxeVUGo8FzrnHK
rYpmKoLicJWoFVYBk2O2X2qvqsPsXe+9lyIOwlPnOvWiDhLBECHrLkMSjSdLr9aUoUQTabdKMiBH
9zO4QFPhOP1NxDmGD9jazPUtcFBtc26lHyJSRKg41Ha5SHJ9MQTFpkq6Yhd1CkTTrlrnncyvgVSH
BABaqOh0oz7GEnD8Z+U13cOsan7/6rObgBYoXyl2bO8aPPhzozX8GzrNz4Cpn7lx4HmbsLp4htus
bQFJ2pRtdRk1u7o4DXPRFrsnZRBKarUALluXypIwCFC+Jm+jEQlnL6HdFqLVOBJgkZRdu+9s/k+o
lutVmSjpDVAOxriUoLPRlcWTSOKB7PYRmT+ajlUrlF3SkUmmEmz9lEKOAw1jXzo3ZbO24tw/KyRg
LCLh+3B1x646JiDE1Ea33rxE8E2IRXMHt4i1XfmI4FE8duW4anFmLwOgWRvHy+5zQtt3rdbyWNOt
BvfTFcEiIH380YSzbqr6PEO0OzezAW/HVEEbCd1StwA08llzB6U95V3UKltEV+ICsdUtsqZfgw/A
SrVwLA1azaGZSd4g8ERFXeNsK0mMUDbqw7wm3B3guWRgHfUc+OrAbbZlT+5ji6VwSf88tP36WkME
ccKUxWKIATVVyDUYbjK7e7H16DocW4YYGoWqK+C9FnjJHO3iKPml9rU7VR9wcFJGX1kfwpdz2JIP
gRld0ii6Kyzv1Xf0hWHX5PCO5b6EdjMLU477Zn0Dg9L6lAOaYhcFTjF31Jjdu7qpg8gg7WNYAP+O
lJh8zJH0wk4NFtDUg6Lc1o26GqqI9lLvzEOjAn49Os9RB/Uscu7U3LpxKpKJQkpyz6tuc1K0d4o3
7j0B/rfq22EmSv0qL6BeOepQz1W3xuAqo5WiSfZirszO7cgS7nLvKcH4Z2fjBycJnIgu0qCKRA8v
tfV5WpPISBy2OIw9p9kGPl7bQLM3/C48JOTPhWl6UAkWG8zhWSiw/W11RIoX7dsAOu0I2EkP3EXm
1PNksHTCZXGVFLFBBqTUrw3GaKGtGyw5HozedpmltKOyVJsphuxPbkH6ruvbKMxsaPV5Ux7tCAOz
jVxr/T9ZOrPlNpk1ij4RVcw0t5JAsy3bcTzcUE5iM48NNPD0Z6H/3KgyOo4ETfe3917bbOfikA7k
u7PIeGaswtURuW9JAaTQMWR/9OhFf5F2/pkuCX178/I7Fulq/MhhoWrxaRBafIBZ1paR/ujHjfE4
avqXdAA/+Y1Ly9EYHyk84SlRZwP6kbbP23ifQ+S/+DxQLi3jtqk1mqPiBmyqTtLWpoPVHhn8/y20
mvyhTPlmedr1s3yw3F+yE9WZZElQe3r1OrkyWKhR80vp/5P1Y7FoOEhn97EquYmcTiwXzYRLYWLl
1TL7WFQMUrqYnk+DmtvMmp6KjBakrKeJEXgrMXesBIv5LAwQbtVYz9uhmY62w+mSTWCJyKlOo99S
K1n7ziYvSN2lo3gqgF7DdM+rw1w6cLSX5zpnTllGUbZrOyiMZORMDS4UjG6AyqXzi/g/BNyuoPDA
t4nvrfUr7Vz6V/LpVL6d4hZM8UJDQOBPBf24nZEcmF2xDbGqJ22efjhj/GTZlAYUDQDYbogpCVuJ
TcQaZKgh9LW2oV4ehFgGryKlBxKcGs5ekAF+23ASmesHr3JOY2MEWRFxpqUFlu1w+lTkJ3TU6qjr
A64fRg/bhBEIVACL1E6v7H3XjOxwar2+zhRhj3webdksJ2HwjizQkDG3FIfCAywHC26Do5oOWp8g
95zNtDVG3R7J5MeKmRzClMr2OBaBXE7JeyP6H/M1Wupbl+r1s1gJyE4JBYBAZp0z7sgY9HnW70F1
cdB0NQmmcThNZGVcd6kC6THqgz55kIYNYrE/+72GIaMFVQSJmNE2CP60Ml6mdA3fpfKlMtPPmuKb
oy8xrnj83lvXxQefkmXqu8zrMDaPeox27Zn/9MYJacN5mOde0e2O2wsB/XmElAusrq1ouaawBux+
smPoxgjZY5RlUWnleTRc9sUltyLnqPlij/ylTj44PgjpbIPE+JdHlNxMynx0JvkiVGqcqwz2PfTE
Q+V9pj3YYt4TY/uc1vNJNxJ4D0ry/uZsxZOOJJzUmVbMrncadfXOxL7YFaL60HSvPZOzABJIM7eh
E4i3W3ultcNPSE5ygf3ULe/+2taUpz/rewDNIX+bTQoadSshf+/l+7noH+NZ+7FKkV0rC9NBw2Dr
Osbmk8PRgzmIltZpYGB6o5Yl6S55Xu0YdhZHprFHq6YMSfoU7y6W4qFOqdOzfaMLHodC2iT7pvdo
mpmdR5GjEKtaEF5sYHbAc6NleZnJ8CyPQpr+aUokRA8k58T/DSjloSPlCT2dFlXD+5UP5b9stDdW
nUEmNrkMOkmRdUFgkxuWdvUJs5oouDQ9mbJdJGfoJuaatnrrekE8qCIha0FF6LLyZxlssYUiOV37
tuM8aC4qGPJhYbY2miQRRMQcuqBAUDUHGqsIRan5p3bjM/NAcsbkKwtLe8jmyNhPEOLPgiplNq44
cUz4MTSvLy1VW6rVRWBGzafV2Rhcx/K5yCTD3MgULCucThX4vbpu5/e5HDeJTZOZ5S8pzX4xVkgs
S2VB3BCn0WVU7uOg0ypkOEez87DND7RXe5C6Nn1rT1Sh5f+Y10ueeaAHmkWwZbLc5pZW4wN73T/l
QuGWJfEi+4/5upeiFs/YtpLAiu6oKVxgkYag/XY81ul90wvm3dRX4+axL3MKwRpXI6K+GnHsttrj
6P1SS1MEVmG+8uXeqqLqjnAC2NpP2FwaXYdH3rjM/Nk5b81eQTqH0blLveoPS8pXC8GVXVe9EzOe
CI0FheqO8Xux228FGdW0aO3O+8zjGu73pjTrz3bxLxGHNtPz88fHoiNvU+VFiLsSz1bcPy0FUkPZ
SS598YnKBi0itb/jCTNPkhrlrnGdW7wGnqgf+XB5iDHbkZgaYgEUtBRvWe1b+7Z5bZva+a03/bfF
bCwEyri37G54rBu477xn3+3CFKeO3nVl+JRO5q+u0danZklX5nwr8a1VYhuhb+VuGZ3augytoYH4
voKMncrJd/Yoe+rJciP0+zByKYrzjJxSTdP5J1qG5Jb57TrG38GcGEAwygly3HKRa536bhG4JyMd
tWb8SGqKawFBEteA1jtz/GvRuP3S6sM2Ips6D/knS9M/sVZwDW7+LGuy5guAcFg7VexNYTcP1s5I
h+VVxv1+atwnVVECXZQaE1e3rzfRGOPZxq5hADpQXTCIQpwcAUuDZwYTzKFJjxq+ag2P3HOKFxMm
4xQL7C1TH6RdCV9JfIwJk4NmYuDHsgwhp2lG7o1oF1VuclyAGcJrbhkHjcWeM9qjkSv/CDAuFF0y
7JkqYCSqeoILzUy3jttHN9uTe1tzcbYDY/ATl51dpOevyro1aTacqsapyJtLBDQ6JGQyZVvPG7Yz
0v2n7ZbTJo2tv9SBUtKe6w90HESqBMUr4U6VaIobQyfdP5TtJ00Q2XYxaH+grRLHjKMrTOtSC5tp
ssMcf4s91McUBiSHE4beNt1UfVk9zohV23Ik9tX79RCg8zIAsfzLeoJwahLnMhLacRm+c69zd3VS
V8E4OJdk5sHrjgoSSt5c3Ka9TGVxhGdcs27E18yN/lgZA8wi7ssnPaUpxemsTQNfT8XleHAlYxnU
k+YaOeg7aaM+lqWn09xoQOXYc41BEfJD5rGULOTpDVlcRgPPggNfpoDKFxQd3iVwSv2pyahMBM/8
MdURVczudAGjtPVZD1HMsL3BMj25EzB4WZdHX8/94+xl4KvqW0RDbjjq9aPlTO2DDXlSiwqAnMKf
aZatcftl/0Qm21s6NWGTz4JRQUephgaNZ3bmBPBQ/Bxp4i9ArzwYKkZsBVseDyIrrJv+SUsEs8zS
ralvom4t6nyTv4fhDeIvv+H51OTSeYCuMb+veyVydrSEq77hmNje6LCsz9jNe9BmdDLpjrF1+Sz3
bQx3CLvWrsEBzD7VPnqcqbsRCnmc/0nchcKbWDKxzaNdmVoPuo2EpU20MFaQaLm5sg9rwVic99yx
HBFLayUgrDmBSNO7k71WA81ldjITrBvCBJjmdATUF1OHB1nmKITuW6dbP0UW4zy1byNYRbbq2UOS
YrNMmU80mJv7kSpu12lfsoitIo0JR6Nr3jQ2SPC7M3t3dA3tJ5kJV5lyZC0UCQ2DjvxnQDSi1j1K
T3pn00Sozxd0ZIY2U0T2xhqnizLxJIPZ3HSLY/HM5aWaY3WO/fiw2Hl9hOr5dv/lKcttCojH15R+
jJtFtR4t4oIzSIXue/+1mlBB4xbRJnHYMGh675xT3yXZP0MCIZlwRetnv7IknFv5WaMnORwyahg0
WdTX+8uSDx96bQvqNcxmX4uWC3iw9efSteXJbUEE3X/qmdNys5C46lTdKCo139zFqwLmF0yw9AhY
hPDArQj84AWexmNfpajPgM4bdpmnSHDOLmFf0XDGimNn2A+KWpVnqkAQWhOQbedyVXjGZsovSxUN
x8agBpt+ou5ChtbgpyIcMmqpDSeRW9UTfl6W2gqiVdHu6jE6N6DW//tyfo+rIJ+oXpiXaXyDedKD
3CRknVAvmInyBmwYY55G2YNQIr4aMYCTDrv/Jo2+y1WBTtZpgG0vn5R2QhHxnTlA/3PoDW+bD8bd
GoceS10tWQYVfJiPSqXPeemPZ2inuI59J3tmvPnkdp118ZYifxZLz3rl0YBxtcdsvhXd8NFMnfPi
L0kLaft7tWe4vZc+NmrunmLtAK8KGhg3fkjrXPvRzfPRqb0Br91d+BkWtnbWCl024xub6iABx4DF
VPPPLkGfkUzD4/0lofgtrmMQc8yIYtONTzpJjG099+8x3cN/FLh2vTDt16gfAshZ0erhWNm29vG/
sWk1rI8rGQdsnr1rtr4IbSzObQxAZWq8s7noMLByx37RVq+GSiOgGVRkzasC5sfwsY2W1I1K2939
Krx/CbOI9dAYOQPFXJBQvkjCL4sgXj6yp3P8zkOJcpyzLsaSIm9H0GTHniUKTb/Fqinj9nx/yeMF
Fy7Tq2In4UczmGYUsLMZUV8mC0fEzsjx8htYGZi6IKDXeVYdShwmD7BLogei0y6nyYaVb/UWQF/H
H+EO/6wU67BgPNFXZnEpvMh6MFZPaTrtS2dmEU+ciaOEnOH4eY2/u3/F+4vG2HPXgLnHw2EUEaKh
r198rcy5ZLLzNO9AgTtXuzcH6oVKIMQN7LZEGN1LRoRt+99X731Oro40wjqPjJc4ipgN6N4a52u4
jtzGj87379cHP0aT8jpdKuyi3N7fd31932U4zNayTezmTIkDe/PVFwI9fu96+gSEHBMJBx0eXUUU
qrlqHxtJc4HtQfTurJz/t9mkQeJgQZ3VS1sZp8ZX7WNEkonuKpqJ+rkiCCDHki54pf76GSr3rLvc
rbH0z/bETHgQ7Xhqu+JvPHR0sK+j3Klcx8Xt7IaVI7unIYJ+0lfOVRaRtfnvv16kDZ5Vzv3nRnff
73dD3jtp0KOmb2N/MM5WbhuslvyoSWgmGwggbTTpJdfc/nv/V2xO1NcYZtXqMmpX0xGHmvxSj93z
f6tlr+uXcqaQq4mp076/xCY839rIztq88Jt5zlYlJsQ+DXF9JSOJYn//UUY8ZPDARq+fwf1yuX8Q
FL9QgJy5kJ71nHNcy2CuytfL0WUy5Y9iDb+lIrzfhb3jLDyPjd587JLyx20b+0GsL2PLJgpUUo9i
Zj2BVVaH0s0HyN5MqRbTehPKJjttDfa1lPa3CRBnj0KQHoas9BD0cu3Kfp0kl8VgaUkBrjPInd+r
rroISyteRilcOFi1i+/BC2Sho5/hnKE2houDaR7q/inj+EIrFMW6PYPAHkWH9wieUE/NkdG0E+U+
5Z6VqvqqPCE5S3ZspJj10lk05yHWtvokgGj8N7hlO3rpaY4jPciyy4GO5uP7RFd003euJeXeKeMe
1kyBh4katsSv7ZvkQeNk8mkcl+aAKc7n3qTMkELf4dIYQAZx2+gHo6zMQHBBghwoXXZtXL4w+K3j
aKbJse0FUYFV/k+rwd9KByd3L5u9ZqfiFdvFM/aI8m+zUClx14bGqH1XMBcD19Kno7wbdP57mEi7
BYneUgU+Qj/gUTOQ4XZwm3VY1P5l0Usi4SMpI5ehoRv1Ua85YfdjErPZWifP8zr8npxm3gnbTZ7q
Y+vqw1WjROXit+SB7j60uxeqGSd7R5iakB1uMaq/UKrWW7nx9GirILYGqJHfsTVpb//d8mKqgiQj
ORLX86fuVuhuEceU/1Qe36SE++5qslZNa7Qs4GHjRecDzYpcezPvFjI3qf5pXhNCEC6eTT9GpeBn
sWJrno0O1huEt9co7sKEuix268vEKH26Oq7mhtQGiDPmxN1oj+arcr3H+9MSG0t4/2tNCZhBp9Nv
O68OlvsTU60/aksmsblGRX01KQrgJ8v89F2a54W1/+9NJ2fA0H1dIu43jKFwHQlCqtRx0I51X+Xu
L0s8l7tx4LHhpuMCVkxv9ouRGK+TWT7HeTP+jZ36OZ6YxJlLhTZmbwejz8OyJ4Z///qLT/qKenKD
5LTK95Fdk6xb92Qzkfagz92ZPhn1x5aoGuQVtkaROUB07e638pJ9miMWrquv2WU314l5jsuOT6Ez
Xhhf/vdfTmJXHUwSpv+tZYYzH3lYVpv/loJi6A8DpRYZferbSDTFR52OT8s8qL8cm0PLhkZ+dxVB
ZxDNqUdF+9uluAoE2Dy6rfRxPrKU+UclCY2qOvoheNj/djyNjUqJ6Ox0M9bDkVOA8EdILiSqAvwp
eDh7jQ28L8uZJWecT4bF4XhqtfRXaql9z8E5MMSpQrC+DH21bKKie4Hej11t1nm70pG1t7erZK+W
a8ZDKdOS0KPG76QZGUfuiSMbiz8LsKMwOsVtaKyXVzphJco8/2iUltgOieWfelvV+yjHEdPGixbE
loOL0qF6OlcAN2vgqqEgA7iX+pFJe/3nLicNKiKKEmvBlNacrYDd8wARWXMQY+69dFb2B358+5IX
TRVOnRWq1W/lqOYrT4n4Wsb4YhYpGrE+dk/5nBTQgrUuLLX+ve0LdaiYXaNMvZeqpziLS+ZQrT8t
EvUyM3253r+H3HXf89klUCrcj7vQbRuiuVrjjL4O5r627fldH6oJjlv0dVfqXPboZJAEpwjmSDfV
KQ/DD0OGtPVaJNWo26FVoDfEhvMwYjVA7ATKx63n4YRwauf/HjoC6RT31eZBK+c/nMQtPGgEQCxL
sU5201WMy4iLUPfDxXEVn8/wx9Xi5UCZPfVprQVZ3wJu0lgxS1REqCS4bwlSUUwh1QuEBNqEfoeE
SJDnP/y3WCZYfFXxi4kEU7R1l1rDlkG9Z32DJ5iEqhnrh+gP37VxmmUyPt4djxkM502O0rPPmFhd
/azEqGdHEz2oCa0/tf3XYPLxxszEPnYKKFgi/NOgwdoD3PVb2eKZboLsn1bGr03kFr/LqhpCTxQF
kVivuFimf9Cziozl/T60zb676RSt02f/7qATGasnEEYBgdTZPHojeBeOqHZ4l71ZTYAVe2UTKGVo
mCmKh7vwd39J1/eRL3/qojTaGTVVMv2Qnuw+Ys1P59dkKZcvHe/NZtB0KvswOYQMH6tnd1C/5KI3
H0ZTPEgCxzuhmMYbqwY8DTmaOXk7kaTpiw0kbUd3WrxnFrnQCwTRTHhecyN9fD9qYH4eblRO6jcR
L1C58aZccoOWjVLT/6q71c4H3N8DL7pih/OuZm9619ZjI+kOFAfOwzCeJm8ogmF6rDrOwha0OTR0
RocD7DkwrRlFmMJ4jLxy65GjjmMirrYmzNsAH1fp4H+7ukcZwXpDPSGwEi/5LW3DPHC8ZibsD0/W
KlfRAANKQhvwXo7fyOya3lYPtHhxFIkIk8GssmKvuDnxs2vAaCvQdiKhboY7LC9TEToagECrl7va
07xHWbC0YqIJFQO7oKSKPowZv2RpLfeShg+aSQv4Pw6HbNRyrJ5FuivcNt2pyP/CGT1BZXbpxy7E
wUUS1ZprtTYGA/wi3Ggyz8qvFfWTjju9s//Qw1z4tNny9Im9ngpNLMIk36mGndz6YNMZdvKTW5Fm
+nYSGLg4o371sUtk2za/5dD9tPXg7/UsusRTvKMVHkJvhK8I5eCPu2j7cfS8QybhuaaJ+CAnbx+n
ND+bFr0J+EWhVufNobJGooMeE8me7t2+GahnAq68QzjbpVH60hbJid3z4+yB7sCLCN9vYqD3JcvU
BpxQ7o1CyH2kFxiSmTxTAEGpBVszzH/fdtTCO0J637Z+A54u4P/2LQzy/7Fh3Hp/fvAUZ3/H1sa9
Sn36NfHK2e1VvtAVAHm5qD9ah65Ee+yyo2jUcRgd7bnR4tWf/VY6mXZxGuPgV338iPVZy7qFRm+E
zmj4Kmnc2owuwCNJJPnY4bZn1C3WZZopSLN8x0U3b3WzJKZUZfTct3R6tMyugSOHc64bx8Jrt1lp
vcz0JDOhqgoZHTVL/u3GLD5kHeiNKGP+QHXrA4XiALpXTZ+0p1KWHuL2ZFdATCGcPM0O8BEVIVZr
7muXXm3uglmZu2HUnb2NwWRkXnMeh+lrIRKdEvZb5wNABrm6N7qYz11n2EEm+ICzhrEf6yjTRmzN
Ge/7ZtKHgRoqclZLR91mRxhCXy/ahbcooQLPzNrLnPgvbmVDXBm0gFMRnqVk+eypxZsUbb4GViTK
6/YWG9/Ja28zodyTOeukt3qExpgudhQHJR44cySHsoQrFtuvivDDtpT8W7XocCpbSAqid6/vDe06
jHuGT0wrEbBI4ph+5+x0zRXHKkpOamuINjpAAEFBs8snjumBXZnYBfNqpi6SkbQqaKXNcc24eN+X
1AEdToQnWt0KyKy9lP+K2L0gVMAaUzmj6r6lC6Aob37vB1MWv+eM3bbY5H9wRD/1FcJhHIOrQbi9
8Yhn7amyP1SIv5+X0f3I+J1kxYVaXuYHZpXO50E+2U7QS3c+NF0VZpazn0cXF3GEbqSG13HRW6r6
qtBYWO/8Nqf3igjGZrCdb7WyvqgYfQYME++VR9GXgnrTO/brkLXcZetjIy+x2sZue8Blui1azm6D
INxpDeCjFgvbs+N+iaylaRy+/GSojWGRPE1U7FIH8KUo3cwLJruiFQSk84IYIaXi3AH5ITLmHZ9/
M+rUDngMMUTR7WPiwXZl7Puu005z7Xwv0DfMGl2ZRWdJOjT6ZZ45YaRWQL2WRCIvfvnMBgObGvaB
Cylo8Yp7IB52XNG/7YblKa+BYAyVzv0APRXj2EPeAzfRnGgKvQQjfacT519/hh2bskYUdhPgCM95
GwHTZObuDAe2Gsdqll+6jtZXLRGbaYtcy6aerV+L/OXSb9pWrQiZTAPy6M16Oy/ucQL4GhJrz/+o
uL9GmBjOhttfKSB4Bl1cnZ76YklvyNgvTRKxp2oTQql1t7GX6I8+MI00/G4LPI6itxEVTlE0vOuE
fbEqTtDCpnRMueZvoE67YZkUPjSgJM4w8tR8BMj8iTTNxV6qdtdpEw3AxSfGV5ZOSS4vm4eXdOmo
oKSC0O6M7waYZej76Y3rOw+8pn5PEtx+WLVOwkNWqDjdfajJ37Zp+cO1M2/7jjljRnrGGYZpt1TF
ifv1VhulCyflsS7kGKQcyDaoogsqU0+Xa25yUkGCQsriF+3L0kGv4XngHsWgXeyUYraW481WTPEC
WZWnVx1pAYLfB/+tEqYFSk7tVy9zpNeY4JytBHwclJlJHw/XzNmtfmPRBD9ScluaWRy6rbbsqqz3
gio5j3wdOWDg1PKAdu7nqVmJDCaDHGlWYRPBvjDBL4LVRt3qHzLcsxt6ma1Na0UzL86hKanM5aTo
bjPWTYDvzXooBmDBjfSKEyFjKxQ/FzyXeEbqC60bBd9mta1bqbatsWhbj6G6N2GQ8BnXYQIDsLLg
Q5HarvQx8CFkPnlx8TWN+pelOhAs9sVpY22nYzk+er52ouasdvw+oLBuRTggQmgSY2sKcQWMRp+i
JKc44+YPlMGNgSlwL0eewiINm6kdz0CxUEl/egctdDKQ/rNR4EQXyTaa8hOHTLnN0+Wf18T5o6w7
HqXdShJI2zPUahJ00UNNNXHutDmCOgR289Drzo9UiQpmWwU+7XJ4wcwXOXqX1dB2KDlWZhY+kioW
YC3GucFnZO2sDqVD1Jx3LLjDHkHvc7OwFbJvC+j9oM9QXaMaUK3oiTREmrZhr2pxmQzozQyfN3hE
ZegNTGmMW5JXPTEfnVLn7ljZU3WUavxrxxGN0XZgl2Zomdl3LsyUYBXWatb+B4+3qBIjGDy/3EGr
bcMqrdS26wn4L6nG5smsd/3znBi/Il299US3dzp38M7GrwARhz8Bv1fY2a/KkupYehLjifmC3mPs
pGQ/iA9t46oBO1CdbbS5fCcM96/skh6eqtgNK8uJcRJJAk4pWxlleC7eCqPmhLx6vUoLTcfwxL4c
olNPzX2opQvbeosLHfbEWJ56fBn9kMgdqiY3I+Qv2MtLujOpsqud8jftBE0wY/LqMn8vnMk7lgNm
ZL8vtnoNhwMTtbTmI97mJJzbqzs5Bz5nDCRNdMErvLCHNW6LFOhY6bhTslr+RYS0cIC+5kSc9728
1JkzQoMCmNHjLNq4LRAVbfV3V78lVXfbLH+LO/tRRKWzY4p+cC3nVZsZN5GK+xz9Zie15MMQzpOX
WKDDnWY7DMmONs6emyUdeQ7zbQiP2KPQ0kPhY7JbYizbbJ+STP9iYe+YAr36lk84YFLPbs05kKtm
3rg5gUCF9EhPV2lBPQZDpT0ZU4ScHD15HjVt0DmMti8DyyhQfKZX6cr4JlzrcZCHfnKS38RqtoVl
iq2eCnw9qP7hHKOGyfrfYF5UZsBqS/nttB3UrgLCvLUX7UoYTrAiOSBnpvSsx8tFmmZIRVoMSHv6
8ug77DwBzruF0+DW+aM/fxS+/ViYvsTxrqfbElvg3kvbT1Y7VFGNBrIOhh7KxUDRNoikuGUaMqdL
WFMrKqv2tSQIK5yxB5PDisZkF/AU5yXeTYYyonSfitG/0EC5M3X7w9IbsY+XBf0KRruD5Z5FKemD
zpfuJjVdUFLyGgn8GRRdfJllcmYkDYqkEWI1ggYWeZYjgcZHK9ZAOszjk9JRV/FXsxVlvLGhXIlz
gq21QYsKr7e3pgBQ4eQwVVQ6Il3EyxZKmnlNoQvvZoMizlqjVq0q1aVD8eWhtCRwJyev/qcJPu+q
cGSYxwydc+meaByhoZnGvp0hPQAvTf1lO5HkbUNJjBvredKTv1Fkdxs975dDqtklo59jY2OpWxyQ
KQVx243SKGepx/oTBAX96l7ubPXW2bNkkbm1SRnapXYQZtxtUpsKcnv1RS/aQ8WR5kALbaaZb1Mz
cWkremekn3Iks+ZdUaZmkKYRuql/SKLxki7tW5RnRuDRiTLENnvqdcaDcnezZnG2jcHH/mI9iqnJ
Qnek9T71foATtLiHWK0W5dLQS7ILELsRjgt250qneDf3a1KoTqYO/pNsG8yO/M06g87KDTAUEwgV
C1eTSbV32CJ3xgm3v82BzZ/c5KytL4p9Et0uJMGO6b90oVxpMKZuJ3VAY25phzPglQ2mxmWLbQY7
YKb2Ls6FbVJGuIpgyC2IGgTEwAmy8q2tTrWN4SPtIY/4BRuRYVcwnsM0dOS8BjEKyVgOK3p3OSkd
2odvDiyJPB1KFpykUn8NP1sXnVPWVwZ4RpRykqCXtTPL5SwwGvBBR2MqdpanBVFrx+Qa/Z9p8gM1
caeKWW1d33rVLXPazX36y5nrX5G094wYD4UkQ0lby1LFx3bwz5NyMswqiwo11H8LJ0SqoscYFMvU
xZ9UHOwG4PJtwh9I6zXo0uJcit55EOTboukYNmjNyaiBorrReJvB2Kd46TD28Ajket4zuip2tSnc
Q/d74IwjKg1Ac061UVHRvNliSw6qyGA1QnhE9h0g2ozqTzYg9psLxDWriQLorTKIKqvnX3uBfF6B
+k8oQ9RuGmdMGEWxToUrO+teQqwzHS5212A/630ZHM82hNLd8zCcxIrrqzL3vfMNRo8wq/heQeHh
zZz9JpwtovCcHOIgq1gJqTI6lm6cwQ3sP0Ffvnqlt873VBeO1vgeNf27R10k7SsDZd1jhLr0NZru
gDMMwczbtjO6YDabrOAjqe+G2WRYjQOGENsRYWThpTYlgr/4Mdk40McEi2ddi89TmbDFbF6S9XDe
E0RvzXi5GdZUXJSuHcx50M8DJtb/XprJPGM4wlZRmuY2Kr8iSbaT0+O5chXAJoL0wZhU4pAv7o2s
x5/YcsW2iLvHTiXAP3WqexOeAFQU78eOuZ0hnn17uTJuTeggiPOdUdgkdAVdaPNYzlf2NEG1HROe
kuOY+7s5YxNTVzm0rSQK67QsN1rCgLGYRrafnWCLIPF0dVIy7ZR/6SloNi3jvY00xwMqz99x3UvT
v/Qe+Y12Tr2aoKrPdMkeKBFyKmjDRbwbW2ae6J1bQ8qB8dQcBb2psQGUy3WkGMumcSpwavk7jQCh
+9ZLNttPMqtevRmuYAkpwctNsIXz9DpmBD/HXqcqwKHds+FYYvTuQPoi+baqtAwYiakH3ApPSFU0
QdXQd0bPuiK8zAwC6MWKquGXjOKgiCv5SIPrn3wsvL2oYbbV7fgXXXQSogqHIYVPbjjMEIwah08K
mI/E0gYpqT0m6T9DS3Z9kur7sqwBuVeHnCdDUEt8NZaW59ck26Uzo43ZL57SEQOYbtP+5na/ZN+K
R9+aeApxovG7MSDZ+WwgoGMqCEsE3XzumRFynzESwDTem9PZgWG4X7griP2nOA2oojENm/Ny8yuf
OvTWwqXsD73Q98CZRe4UP1LPqtjCrTXwefE9mIuE25Qtx3GlB/X2xW/Sl66ZUuhDxq+kD+n1ftKy
B8Tylo1q++znxWsmbw1hylsz8JlylQCiq/J3R2O0RNmc15QkMfw5BWwdd5gCizaoI9YWHt0G6jnU
OHtWb9osqSgsCz4DYk8oPAtG9QooDg21YTK7P07y0qdXXSu/bdPZYUptyVEIh7keDLYYyBh3KY/g
zC2g2NKr0rNxiqR4J5LNEwVr6MYFqm2o7pTp+z7TJElQKrbivPqyFlCHxuwP18as9/DRmbB4gDCi
ZXjinJK2gBZly5epDLZ/kVP9LAUJ7oz6WHOs30FfYECNNVyC/OGFYag/2Ae/r0nNqdj43XBwDekn
Xra9XR+7MvrUrIUbNGd2WTE7j15GRb+1spC+rW3rzPNhShJ367asl/7wHEXRsu+cqgqMrIXDqmHy
S75Tig86gyC2xvcE1MMMBhu710jWXiVTHdCqeZob93/UnVlv3NiWpf9K4b7zgvMA9K2HICPImCM0
Wy+EBovzPPPX98dQdlXahcrsAvqlgUSkQrJliybP2Wfvtb51iQjLMxSt8hIrf007AK6kOkseeNRu
bXQBC1a/FztOD7Tn36Ow81DDQ4qbGbv6jOKmrMLpynq3LpKQPGcl+ZzrABHogHNX7ngemIjWd/hA
A5szLWy3fHrMihH/nTh+6ZEgHROTOBLBNwPGNAXpMSFHuDEeLEdLZsmTEuttZDZHaUJHVfTJZJ5I
XxTkWjynO7/ojWs/gjhIUQHFHR3IbvwplNIuHDhdiULTOYEBobP7aBSysnW7jwZnzGjzs4m6Q2n9
aK0Sc8XjIJnTbmzxnWfWeWRjXEWNinDhKe7I5Gklb2T4JrF/GfN0mnPlLYVi0s4wfBuGXFDo3WzE
Y1eM1gU8zZFR6EpH8ttZCUflme7AlKFKJMCopiGEGPJ9zO+lRvYvaA+Xhi9SjxJAXhSJ2n6ZTjPE
Ds+lbO59Tf3ifqwewqJtXU3h7BUr85GxamEN5Ehrb7WWPMW1XQ8EXii5knpDnIKmKzkTT13ulUNr
IBACL9tU9A7FmjMll/aJw5uE1bpeVRU6YLVBGJeo1C5Mly+tjFdIVpSdnufzthutlU78o2GWgBp6
vhEpz534APntjjW4wqmjhxtLCcQ9Y8avEcGobCAXqBmBCzJrbTjTqxsaQV/HSsTpOQ8OnYoWOPOX
DR2IZY8av6KWlbqipK/eop0Lwp3aCwcOvy7MqpWEzNorKkJ+yigYHEuDoxhO/DgUtdtWpYZJLZGo
4XHd+LLxiBfAR0TphD5O644v+Dy1ixj0JOOe2wSXULCsrVzqymZKC6KC6nkbj42Jj2VFq+m9aTgF
m8yzVrWvwAss2Fsyg5uilzeVit2vbgCCTqbdEA8JPqdJPTGIgUHqU7NiDjTRruGfU6jSZySbBBVl
wiqK0bWqVkNpTmweo6TQES0agZbSuqJAj1GYymsE1jUNqSW69FGc+Ln7+b6KiaaaNwI2OlvJxkd5
IjkRQzpWfgA3Q0hHode5ExHvYsjpnlHxL8rl6jVi9IH301C3ml7dV8IDbIYXQfWfQEPgBNFYB4vk
Pq0qoixBIvqZhVkYlyM8ANj/qH2uqi+85YrQQJQxT7KSScg6ZvKUqqS1cbZhZq/MhbKpuE0ZvfVc
K8FoUEGnlzAnRKEKT2abo9D151fgcYN5hg834JbiYTaLgKaWrrpEkDW2IJuxTX/WrSikbKPt37qg
JUS0GLDUKPD4ByV8JFj6dUBkzD26EPo5ijWC+dX+rDPO9qNivTAH/YFLOlOo/fNZf0UjvDYtWhA1
u62XJych4KogzluJUfWpW1BftKJ8wEz7xDSI1gUtW27K0eYwAz55Ujm3mfzLlcglbvZQgyZUHlvq
9uYYZRsS6IZ1Y+iRsPbU0CqgDejHiRcuZN/WaPZB7ZPdcEMSCezBWRESiI1bGGfGxATu9lIzjbCw
tXlsCZzOh0nfV2SBPtE+P7LKx1dkcZwMUIyjJRGxC8PBvlEWlNDSdhM+BIFT472mxWwXY3JSNEVj
0xjENTnxCjca/dNioLwIQjXZtn1l2vKi17i9VRkI0RdJhPsg1ladLGCZIDXpKBXiuG8yNdkYmhyw
ZnMr1ei9t0wkefRQlZNLpr4Ws9I5kSz1R2bAgRv72PJmwINzy1qu5yUtJJO0KA1HOJ0XA70l2aPL
kGmT1910HQmxQVYXXbq4Je03z4zD6ItM7E1baOtpZ4J0OH+PjtUyPvnUUPtIYVuJ52F6Jav01ChE
ckFfvwvJ0XKXdau6DatbQuLcpIzQ8tREdN0G8UHUP4FlQuY9h2clxKbCelSuWcvgwQTVKsq1TYOO
r0r76bVQSyDlUcwcPopBfswZb5Xki95e9nCrTYuykYFYhSZHCY2AtIk0MR2YPoJA2kZ69iFDgctA
QIa+lR+rztS2y0Xi7q63N0BSuCMcN1lNi72c/DGH/Q+3/fKRUMzk3zU0e7PoB47VYcfICcFwMp99
059efQRejj58aXqmHTRUqNuwG7NtNQbGEaIhTseGTpVcoWmdzZg1qZCabvsNXaGeFR1dYRgkhVZ0
rhYDVh9zsp0Fv7ibeh6KGiHaWwqNcKXG5nSZg12/TNpplmt93B3hNjPlW+SmncStbJSIX7+/N1FX
Mb3EQyTJr10/6RdL7PWdH7YSnV1+gL+G/Mm/8xINhZArVdM0XRVlydB/Y/lXhQqDQrF+SpbKCjnp
uyKUGNvm2n6IVX3bz+mPGFhXKYfKQ4xkZ60hpwIuElCWfKtubmqjDC881sPxQOAih8ZGibdVVYRX
nnQyYFQkWf4Vv8OwNvXccKJOy7Z/84MsMRt/phUanLkIQSDqRdJFwwQx9wuD0dR7NudiRitX6QAJ
atGVs+oubIV1CbJuTQur2i5yfbEIHsyK0EAwYF+E1kQYZ4C+UBByyETwkGuUx35PkQ+hgG1Nl8+w
lvcjtNm/wUYav9MxudpcfBG+oorW4JYc/2ds5ICdOQirCIBnukhv1UzN3KTKcrdJ6ecnWIB+1K28
NSdBwVGeBNt8lpJjMZBJyNxSxmNLu8Yt9HJEMpn6u8Cg35Fr0n1jxLtskcQg+UMNacp7a1Ff317K
MnR0P6iczPT9HVtff8I1QFdUMmkFGfQEYEvUTjTPumMayX0ozvLaUnWA2IsSRY2ZvYgWqKFWFQ/N
8nL7SG+VVwXIBewdlaYT6LAjrWhw9m0xEtwB3CqncJ7pT1+YqOKKMA3VDbQZ/YJqmC95N/CREJ4r
Q6iflzUobMrivm0E8ggj9Jp6jKlITC06FY16SsJh9MaRWrYs0YOhseVJlJ/oagt7BDvxXa/L7aWg
DEoUpf6bZ8b6L8+MaRChZsmqwv/Ih/jtmaFiDOl6CTBF2OKjotq25KreT61eH6NyOmO0WMmhoGeu
LJQRgHuOOKXIkO0GkAMTod0Hpk8/W23wncylOyzUplbL0QIxEtze3nZ6iTuwXGAOYntXdWmyFUIB
Ywz90LsqkhI7NmTTVc2arUGVhnVv0fetGux11RjeN/V8r09GcqwjDWXrzPl1kWhmI2ZlxWKIF1m5
dtD1nOEd4qDbcj0ZY+/os5TuVRA4KyaV0V5T1WA9+RYdX7PJ9ogyvCQVjScTcp5Xmym3bdbjCwpT
ga5uCgMJxkkPs3l5r1XKIa46JgLY3u5rPaq8uTefx8y63nSotxfkxVfwa6h2VN9Y+xmlpj+F3WMh
oHVXdHF8bGvp4ldQl/UxQ7WhyvRkJj/BIJ0z7EhwUxyCeNacMNfKV6Y5Tplb2oe5qPT6DgaZ3mND
63WBLQFnOqaJ1DrOUf5OSZ14f3yuCPTjXy9I+n9ZkICzMuCzTMI0+J/6G6NSCHUORBKQGryp1qZB
Yw2RUW82gkaXt1dDkbw5RDuBIdJmGBrraClJd69MLEYTd5iyQuIGorEvcd+aCP4MwqYlQXnsu6i9
dsIEtVl7MbBG3lUxTbnAj6i+ao49sXQVmzYDnCOkX+WQfpH7cESZKey1jqPsWDMRKedB2JYxySNl
iMb6BmOZG5Scg6S4cdSn6yFIp7OJlSiqzeL+9lJ0HcgQ1E8PcknNMo0kbcx0bm0FdNm6XdaCUanR
Tc1xth006WeURs0PoQhRaBftM+DtGAZDRtZHLKZPyHGJCZ5E1f3rC68u7NtfdgKL5d8SNYXASFni
2v+6EyjK1EFErog7hZ9r13pZJmCJiswzlLWYDa+xmMyw9ELRJqtbP/ilD0Ijb95qNalPtYiiK0Zg
h4CrYGyD1oIepxEcG824BEk83sWxlLBWc65Va8yeCzWQxdXYGf744ya+vr34HU31SArezUnGNaT3
lvwICYgo2Fq0xaYbbR86JI2MjADWRWw2qMN8kDjlUgfTjwmLU6CI2d9F9yjL2vTni4PYiFtRY6Mk
KUiVxd9SsqA5zqkVVskKD5rq3gCV1eLpQXU321HZmMwEDEJXtY7GtEpw7FvSqx9BEb72mlZfadgT
U5C0MKqy2XKUFrUbj/ro1rXY7ce2N3Yz+ESvbJGMS61KPgdZ5kVdBYewUjJ66IsetjML5iI/bp8x
eE73WgZP6PaW2LT6LBS++G4lnTMkcblp1HI4RCN8e1OLJFeZtGbZfeikS9hiTV23MNkD/Q7D/KMZ
9Du1NE6sufP+xoLpRYOVKbbg6FXD7Fl+D3xVgKWXFHDSm27HGKF8j1RaFUQoBE94WYtVJM5nlPL+
Qe2th28ng4DqrMM2AEpAQgRlYSsHo5YnkzPQpNyJeZXfi7r0HnZG+D7DXQEp7jLymV5otudrpZF0
jymNkzYGs7NQHOQ12YE56QStyBB1ApE3khazaisshylcKgY7gnn6XmOjAj1eZUiQv9H6LQr/AU2P
PVUAM250tdsDPDRds6fkXcAb44VO8xKw3Kmb29t+Accyar8qZgZ9HK2msryITgHl7ajkpcUVVDEa
RVZ7Bq45OZgSiydg28xiYC3iBeVkpjfC+nZwaCrdnlJhAlyUOn08ckVlgckxC/VzTFvSQVnmu/AO
ufm7WGxcJijg9Zth/pGSvaMrg/q1RH9KrFJ/U1dJN/r1rzc5Na0lmxp3u7oE4v26AjTgF0u/Iscc
r0roClMgetCWOFOGpXfDqpmYYnX6SvSzDUJ0ROWRBaxJKKy+i/BSqmyfAdN9pkQDOhyt3s/d6B8U
Y3jW9IAJIpwzaX/DYHat/pMugQSat9nJmdQ8CrnY7kaceOD8gm3c+NNaSgoFYgph4AV6XUYk0Qv2
vhCcmdw59NFJTRlMhkRqkR2jzqeZPzP0sSYr3DZhTqJHbhKzThH+xOHacsBqOaOYDMc+VVoaP5Z+
ZbiOZIxlg1JBPpjVsPq+W+fen0kSKCLndqOkGghW/DB4E3LYW0kp0d7vJdFeKmEFRt05mqEXJGk1
bKTl7e1zJsNNTyCI3Fi8RUEVAzzW9HndtRaPw6i+A5EmFKogP2KUtDXj1QBZzihN+0onSio3w2E3
xfQ+tFZXH2qlPrHUgIrtjFcEV1+5H5dXUeDoXiTo3W8kXgHKA5INZj36fMEunNyVi9kPge8nBNJo
f3sXlITr/PX2Iam/c89NSTXYm9Ul4YyPtN/KuzkYpcyoJE4BMSEOplyRmMSf9jQC8iSTZkmbGg0M
zp0REAParpmlN3i15eoq69J5lKX4sZvOLRC/cynGXj4TsM00v6b1HOiKmxToNFrYC8CggZAw0EUc
qUFnZWIxh2sjFeV9G8d2NYvYAw2jhyITRVSaDCtiudEuvWZ0j0Q0rZqFyJdKlnZsBxYtBXVQnD+U
jGbvjFH6Xk/bcGwv36eF2hLsIBpwTIuKuusqJbzXJaSfY17vpKHt25Uexdkh/2G0RD3cXm4cTq2l
SmJBFuma4WUQrVWYd+XzRE99kxmsQKoRlM9Jqz/oFnawUIXX1yPMIFhBX5ILGDjfTEL8vUpHUwTs
J4tS/vYyBJpBCZQo358LpDFBKo/0ToNft2NqkxJ1rljHBskqKh1CshDBEyexmAmstEFZVfdweIi8
QO7FgKrFZz7lPUT8aGJeBD6Meez1uz0hTf0xE95GVZs8TUxMFP2yf64z3bBTswohYKCHKCQpdU0Q
lXAO4gV4iujUyO+jbhDBLymFO1BtU8sy0GiWkTf3ar2jWFfvgJQ4CNPkR1kxglOtI4BL6m/nJ9K5
F3Mc073vw0YTJ/FHBEru1C96z2iSoJ7mg9V5ZpZwNiOQ+oqemtmeVrmdL8+SK9O871G4o7E7IQgX
/oa/L//K3zdkUSdj0dTVpTAQVYA1v66X4SBNk5qQTg8+apPKmmeQRtIX813I41iCavVKesN0N7HI
juZWUovYa4OLojD99MOnEOV0DE9tkvK9MXTKAzk0J4uU3+9VREJvJTXQGUYspmAKwOOV1JwdPdyt
3uabv35+rV/Z8PwwPLW6RnWjWLrGxVp+2D+FMcxMVWkjNfHKigjDSNCePKslg7GbDUQu2WwJuoDy
qFQzpIrOVYcKQ8tyaBLLClFjM+zI+ktxGHDCDjILTcLNuIZPN9rOwG2RGE7PvQE7IQ0xXSv6J24F
ps9x9fr9K/W+FRjwCSUgxW5DdmENgaSSIRv28/rmNphGnpyOQiRa5E5RJB2UKkUSdrM1EtHWEIMi
uZpoxYcmgsBb+qi45AiGZMC084GOirFux0Q9mON9OjHMiXPuHKHV7rGzDEfpBtWu0i9cm/i5hqwA
M1DhwOBRZ1Wd5h0qGrJCBrcPW+C2BewKKXAa2UqOU4M2gPNmu84Hoq9ClbZ463+Gic9guBx6T7C0
7Qz62x7jUnm2QNHZqLnzHVFc9m3pjh8DQv+80WSyeoOkV6n4AXbN2mMeiqCcJpebUa6W6ZjHdaB5
t7cl/LS/ubHNX0/qBh4pAoBNU2JArKCDUn6LydBCHTa+3n4WCxtzmhcHvHy7NqWykKZZXlalGAiX
mCMWIjv5aGCzvlORGdsxMUerG0VbmOjiLtS13BiRgXcYNUaFwCdcn8lRCYFpD13rVvQDN3FOIYpJ
gTSouO7RxKvTCmZHf5m6RaTKVEqiNN+yE4LX8TtlVyRoCm+3BOKx/7Th1XkauP2Eb0E21fLHItTT
WOPkQRzWPGDzTrYyOtp8EpI/QFfR0BFKyHK1mJAOiKlzjvqKkxMh5qZj1lzjGZhyMldwjm+Gab08
64yW4ZdWQKEjIvmobxtSBK7+NNmFr4irW68Grf50iOTsYcD9shP6gpnn8lEw6KqjdwTAzyZbTn6Q
9cYE7xRAfiHtpvVn24xgfaTSV9hoHYeCmGY8Ki/Lf4vS+uGvn/nfsu1v/86myJHGAKwsaab526kG
1JqRakX6OcpPg2L030Ueh+/SYU8l3ScN63M2U3N1SfhkyKEH8nF6lXq4Cm18+b4lhghvSdz2nDwm
2lKqznXolepH5dMmyNIaj8xklD+QRsKWv9aZkb6hv/mYdTO5F9I+2ZWjpqxhZNgBi9R7EAyjnSgU
jZzsSrvPHYGYvePtxVw2WKDjf30VqE1Z2v6z7l0ugwkaX1IQFksw84zfeqC0/CKOxvQvhzpDNSdx
7oh7eX7TUmjsfvCa5+K8yeL0ear5t8EMpm4MGQcsnOjSQy1ZwC6gdBEVVGERs/C3KndB8R0Vs6l/
aCG7U5qqQEnD8qUM2ZCnLJoutxcTJehODWfAXP6LlBWYAvlAbDi9tXrwsryZ/89nOSs0WKafh7xO
0NWAucI9WRE0SUESLfWJrgoPDOeKE6iSjAkduX46/cLNHAQuT5TJCA8Oco6cErUPMK0w7lAsQhUu
3qYMgQkeyPoY6NZKXcY4bR+9dKOWYPwoP4Yq786GItwxrE8O+ei/9IQXIrVL66MaCZ2btuzsmEYJ
N1ys0lFmFfsmUT4VeQZyomPcRk1JL55oSey36nPlK5DydBxLdV1Dufc77bEPVcB/MVR0HKaerD/T
cPisFypEqbQle0iOszqqYSqhLtz1hBsuD7lV2rc+Wd8qqnt77NWplb10adkx+P/+RRp+8F3QLaaw
OL+00x94ZOIlEC7B7fSkEfHIOPg/xzbzmhRHal2D28AV3eyV5YWDC5GQ3UobxGRP61X2vs+3sl8Y
bpbr02OkZ44f95tvn19QJ8PdzdM5j9rZGpWTHyX5sa8D/0iKCH3IlCH19/dIRuMsZnENE/+5ROv+
jF7miFxQ2CAwLddQNMJ3iBel1dBknioUUUFOAdY9yPRrH7MwxFrfmV6p4lW2lLy/lIU+AXFL1V2p
691WVgfmLIu/naQwN+/CwBZq4yEvpuKqKGm7KZjPe1kh32dTIVy11kBsVLXHZUYF/TexdoIiMrkZ
lfZUGEgS57lr16BIVUeb4LNC+Umdtu4MtN9RsSNYhoJQNwIYmxh4BU0Qj2VeiU/gKQZP6430Q8+R
kN8mY7740QHXhJGYtF5WzZ6saNPRnyf/FAzEgataoLh5o847lZDBOeiLj5ZlC2PC9KRSH58a2GYe
chc3DybMR5WlPKewzNdVUzHX1EEgTJwqpPGZ4NkawiL1h9ILMUhCOlCVUn/lMpeDaFzCCBQVnmOx
QV/6HszxCQxue2g0sXUTPLsbMhOJUtTi1usnEd1P1WwDPRmPQwSbppXSOwXCH3gu465Wica7AVtj
LZt237Rj1RRZGMzhmPviXRBH1h+0Y1kjjlnQi4fChzeZDOk6GKz5qaGzTzsarqHEgQlHi5+OMMMA
EN6Lvdpeb4vg/yjQ6aHI+O9/Lb/noyinmgDX9t//1y/vjtFHXTTFV/v7r/rlNzX/fvty8LNw3tq3
X96sc0Du07X7WU93WA/T7z/gj1/5f/vFf/t5+y4PU/nzX//4KLqcgezdT3S0vyQzWexm/32Qkxu9
10hl3up//PHdtp//+sfyW76znATtn7jwNDqdqmhoimQo1MPDz6b91z+WL+mI65cyWVnqZpFSOi/q
NvzXPxT9nxQPpiIy4uCRYNf4jzCn5UucPHVRZKfVLZCb/5MwJ8gMy+niP3ctTV9GkHxH/oa6psr6
rZvzp4IdsWEYa2XxJXFk3c7b8iG7k17AtFkt1p1V6ejrz2SX7UKb/qjXVSvOYG7iGXtrP/3UDv1n
uy0vzSl/SLfCOf2MP/EQeenDcpT+GJ7Y3ao3CiQ73052tbY82S63gaeurT0ivE/w6CiB0c7syNy+
gv96Cy/qV+QVR+0gv1mh06UUEyv5qX7gCdqBpF9bZzAam9wJ7XSbPMnX8jCs/SvxBJviTrbp6l2m
dXVFMF10jvlAmpnHdIro4HNxHR6pCfhKc50PpjseuieqxTvhrHzIO9XG1+22B0buJ22D+I/cumQt
7mgG2/pXfCl2/C1Pyt7w/KfsTrBW1of5hSskMB0aSoHXEQ8MEB/aE/EZu2qHBgTyQn22NponPgbj
udqV1uW9O0a7jG8bnMLLtLPO0xOX8MDP8IUkdeNvcUrtdFtca/v8bKyMVblJ7/0HeVu4/AXtxn7A
vLzO1uVB3CkH7BU2yRIn82EJiEvWtDkc6g53+AluukY//qJ5LKMbayOsgS8c/Wsdg9Xb+6+Gl7jq
PTqY8RqmK+KD/Q2qbpSkLWW1k4g8YV4XHmniB+8pIJrcHvbQIGxCgjfjHtBLOUI9ssmI/tHCCXAU
1WYYp73Mh8yLruW+chPMFdvK0xzsVfxc7SrlssTbcEtYqFe4wV7e5Q/Nq3DKjuaFP+HZ2mC8Fdek
UELA4LInbuTqjnGneNjc4s/AsoXnZN+fB9f8mo4M+/tn646jwLOyb+/rs6mvJLCoIDdFz+Ivqq0E
Dw7fhvO+U7o4Tjfdm7ljDc1tOATrbC+dhXvuz96Owhy4umdspFVx5Pc7kS2vcJvtFxzaxuBfxE2d
8gdO41V17S9QBUPkXScuGicu3Rm9kEAs0ZEeIFiF+UbINvg+ykO/GQhAX2XvmoOG0EUnG9vB8ZLZ
K9Uu7uINk7CN4aWfm/YhCFb6E7ECQXzETWTuXum/gDFd+zYD3DXgTxunReRWr9lx3ueb9kyfD/MK
DlCeN24j7NpbGKWqdNY50iXETGL0RGqzkXSSLEllb78Emb3Y+kp9ev1I4dAaeaMCLvjygfHKHsd1
7lWO6nAGaUWbIdd1utcekWRDsSyzPZ8jZAZTTIFa8IP2+QozAAMG26tpScG+lJnyAdc6ZBXmGRCO
C3MEZtJqsHYoV2lgiB8j49aIW5f5ooufY3qrdjOhN6vY2uGmcSjp4p3/UTx0F7S7Yb5mbGiPu2qb
rxPjLd1FZ+2h+sLS4k3GvX8yWJbazbTLD6pLtqn4U3us1sCDmnN3X2IBIWln05z7I2pAiHhH7Und
MEqzU4qPVcJqtCkQghkt5194Uij+IdGqCbgOyKQonO0BcX1y1OcHhhlO7yoP9Y4neKUDIrcl7NPF
te8dNF6oNgl+XcXH4qJ+mtRh63HTUFjuqmgDm92AjPIW3Qtb3bXkDUDQyh2/BAcVRLV+RgCG8Rhk
xFVY80xvYUZrDTLot2U88dLAfFafdcfy7Qw/57OwTlQncUs8lgjKZo+Gr2welXSdvw/ou3TPgB4U
UW4ivl+RaG6Pq2w93FW26QQSeS97ilPSsBjqckO0XD68j9IzwGk7KV6hXWMcSAZMmR9+BPB3o9x3
M3a/C31MEoTkdfKEAkH6oe4N+Zg/Vtk2e+6eo1lblQTCotBElbnCtHqscSq9GjpFOsrTJNzo+hMU
GuKNQDAUCHfxTaN4hMhEgrwzv3SIZGckFHaCRPyNaz3dKwnfcLgf7o0n7inGYfZ4au/E3kYEJ5D7
vWuviXNvcJK3OzwgoB0Z6n2G5iGwrngrh+fmWbziRug3IpJhYROvWrcTbI+Jaf4oXMy7xvu0HFxD
meikq6Y8Cuqbge6amumlOncJfV3ggzRxgjvie8+MXOk65K/0fLtsWOglqDljjqaCPX7E9uTmqEBX
xhYug9060R3WyTWBhjYAOYcxX/jA93khBPuKbAGYyIaHQ2K0s6vXXXmUraP+jqNpBVwNBQFJBFuW
DZpMdq4/KxEDePoaPSrENRNm/P/mkexsh+UNcbjRO8JTqq+yHxY6tXYlM7l4EfMX6Vy3r1KwNVq7
Cw7NlwJHrSo/tPrROmvJvttl1kEVXadadyseqo6ccPuxX6+Hj6xZc5Ba8SRCx1mpz8H82R+lFERE
KTsU4eG6xKhgs7Zju1rRgy/dhC9cIfzH8mrqQR2i/r2wYeUr/YPmML2JJzVSN3qSPQtOSMXaOcm9
H9tCCSlsnbsCsc67bjs4JFe/m3fmycD86rTHKuEkvJLfeWmPtDwO/lmzM6d6R4i55Y/iHxXC8zo9
gJcBqi945VZnc1Ffmei8l+hk9927chk8FQHFCrbwqK+SS8FUxqleBu0iebqDf27DzwqOW6Kp6vIB
vCXRqxkxMGgTik0eetyrCEgicvk4bphrgNZVuY2jHROdrvBa7Zn4oOCz2+LrGGcb3XqOUlJ2knHD
WW4X7rjJuJv7I6Y1LV51XuS8QbHF3ozfmRwbZGXtRSwAQttj63yKcNX+GMb/vy7H3Z/F6S372fx/
UI3LMqXwf1+O3w8/P3/+Ur7ffsN3MS6r/5QMQzcsBsHIQnT1P2pxSfwn6cGqgruUYEJ0bHzlj1Jc
t/4pahZUrqUzTyNzSRduim6p0jXtn9i+LMUwJJpfeCWN/0kpjmP/l0pcJ+yVP3gp92URJSmytF9b
53o61EomR6odDAyAfNIOvaS5k86yW7+0pkCTujhzl7vm0T/2g3kg7vKodTQc/Pkk77p1r6HpXnd0
WS0NUzn+Q7otL+jBMV+pvnkZ1g3Td9F2jKah1FUL5SE7QRWYdCc7HfMaEl+SX2ErcMtTb6EizzV1
U0qg8Jpio8rRRqN0osez7vRirdri6B8XI7Ou8xWxPWZxdq7P7dyvx0BexxqxAXjm5wob6r0Rjhs5
waqbrmmfbUgeWBX4zrdbIGaEgwKoDKLzhAItdNBqyvOa7ZB4A1Skvcjszd8pSnXQ0UVhWFpn9tbS
gqeo1h+MuLjXtf4aSusolnbdj1BUvTycvVirt9WHmEZkN/Sulkd4k5BHdcvaJYWtFzbvaCk3PWty
GjAZJQq8l1yrovaUoj2NfYudZY7LfXMYHIlgWoUtMzQsb6JFMpDmZLmnOtlKdiNLz5h6nuhtE4HW
I8Mv94AcD0hQDi3N2PJujNsdTLXtG5EFikfcpAvZh33JBpS/lgqawpRRDbtzF4WI5MlTMiCiKoHL
sihIa2AndpOhiDiq71FWXVG73TnoZLwhxbFPJWcMihec80dcRsNKbnuwN/cBU58AY0ipECDY+bTB
VEYCoxfVheeXgWd9TnPtdqtrCi0mwNNngkNC/yJW1a4aCU3zjAOBgPs/PYyX71Plv+UdHaAob5t/
/QN/5C/3uCGK3OI8hIR1MyCSteWk/OfxkJZ3oGXCfHbmcN4GZJlWsVcH6U72kZuEMlIRbwHPmXO2
UzpSM9tdIgtuabQUocq+9vW9qUyuMN6T/hWZxfGlZxJvHtI5PuK7OY70xvT5jKlhNcJxRl7v09Z7
mNLMFeXYtWhhBgLJxBOeLSldY1+z6mLDeWvML0kUnZpT2tMzQy9TmepuQP2V5+pxJlFk5IxD9gGp
gEgFabNXq5YqIQnCU7STPJDRR6HOTn6io5Xh7NmfimNwZRnaCIoXtuGzHIxPmvmglGuMIjDB4bSk
HDSDaQMekgYhsGnzicC/A93efQWFVfAPK/GCCnSikxQZaysHsZpB9FM3EPo5x2Yo4eNdtKQw+W4N
5DoUtpox7Wo13evn5MBo+6IYzVUSy7ukI9emDjd+7ZVMyVEknumznfI3qQ8v5qrYIh58SovpkTDn
B7C/99auFK1rLWQ4/0YKKONcqukJ1X/YHBBNHVK9d8sc6XeqnJfDQDFlJ9HIzxQNA+A/JQmuqriC
h77LuasqX7gTxuoeeca95eAHmS5cDqXUsfrI3iyLXgMGkSFNM5PzQFO2VTwiiSq6BsACFFg4NIZd
Op8wXx4t8hDK1hGNyMOQg9pjIwnx34wxYWv8fqNqsoEkXTHlWxvmNtv6U1sk6TEAVfoUI4D/RLoT
RzM4cmlnaO+VALp64swncxaZdkAm9/Rp9gaTcHjOh6lXDqCrCBir1zgFdP3FDP010cq7caafUOKV
k6+cknYmmMMKqTCsUnBRqzoV3fB/E3ZeO3JjWRb9IgL05jXoGQyXXnohpCyJ3nt+/ayot+kBetCt
6kZJVUpFkvces/faLIyELfeL1vD2muUl0j2DfCINohN+tvxssB/OvIJo4Trwcs1yKwNIXKDbLW5o
eoMWnQf2rHEI8p5hyzaEnayGcIqAD06RuPPJCTwogVg1wSxk59Y/zmYJOG4pIbhh+YX4PUzGpU3/
ZE19xzN7W4Kye19VR+ZsQb6I90WIpXSO5V4F5ObNAOn32qcu3TfjvKhalPp3kZFxoq8hDs3m6OId
O5Wvpy1zaNmrsKeO5ovyAA7wSvJfL9XvW4p2kbFr0fj7QJ4hr/ni7h5x2G/Qzt6tonvfpPLdPF3T
DrAIF9ZB+HWKiL+ujLsgQi2rihu72WuTFme8ZLMqnhtX1DRn6RcHOZyj1KlrToNrJaJLSLMrQw9I
ih+DjTpRVf0CjtGIS5hjK0B/oxv8NWU3SkBhuGF3kMjO5jbtVMFdoH6P2hjSa2gcKXcrbI0psO4U
rxI2iQw+g9LNbvrU0ohprL9kfyCE3PvPRhhA9Xc3ecyv2CYCyXr50BAHGWexm6L/ftIiIvg/D7BF
yaKrrKmfO9j/nOtNM1PENoPvCKuTrtbsc3srF1u6wZ4lg1YPlmEKl1wI1RpJEuS8TNF5r5pzLT+A
mTybdNZ1PEu5X0OUB+WI9zb3V0J3SmCYHUcpTZNKMPTFE+iCZHseJbcRbnVpBGjZwa3U56RjtHYo
dIBXgHQhgKNNi/OA5HecuPVO99zokDNmry9NN7Mt0qaYD62a7iyN4Bzz4EqN6jbci2z8cKO5a6Z4
KVdj5eDmMWt/KKiOOsNXDVSPG3eb0QVjxwpSRO5+Tl1jNN/3VXo3760vLwrJ2lsQhj2YzyVInEU0
PxSh+1B/INciFqHkUxH6YJc0X9UQzTVRNi440RjDHfibUSw2QMsugHnAr17bKvEzHGOYWkK0qs0a
yjdlmXwSavwZ6dGoDEEDqby+8CxcyDjMNihRp7Ea7jzdFe6kWKtXROS/K5nBpDz5AuAs2dtQ42i3
jXgQglJ3WvPtPqnWLSFA5UOtDW8iKhfm7+QJw+Q0oOYzPjvgmzh3EamRdISKlbiOhiwOnWEChveV
3UfWB5XizZQWANrCnWOBy0NKgrkirSkgzJanXSC6axUTfqv+jn7x3thdml2k1QKnS8KD8pquvCok
eIPXOetVihVyiNi2q476QtgYJnF7Ao7ErBCtEAuvk6w/lNB6M+FKaGYdfDzkNgkTVmqFrTljlp4t
gmf++5NP6f2fTz5BfuhwNEXUGGeL2n/U0QPvarYQUEFoGRKeKg8c5c1a4NDxPYTRhBDdiDqnf6a8
H4ovj3tAGLWH99hpmi0Sk/XUSX9biFSA9tOEgBv/uEEEC7K4+1LLv8yX9nvvIn4He+6rl495DxBL
EQBPzqH4kdU/wMGSqLKSAYJ0kH5fJLpJUyHMHV0kDomjdFtEKhttpuzK5USCWOYO8kfdf2MuDGUQ
WruUYpiuIwt7StlX97Wa7kYzEHDx74CctDWS8+TTRUfjyUG0Ezjjctg4a/9do7yefEstY2O/ysVn
Lb8RTnGHtTb/PcaE1Ps8yEkfl2DIShgXZ5atcJCDlR8yHrsunC0xFCAQTpApalreNrECcVADAPS8
Vwl+EmKR4WZKChicxbWIOka70EP92xDZ18o1HdW7Sqr5tnEetyctm4OyUe9Ch1/O8tJdeSVI4a1W
tjcN6kC+Q9cebQp+MpiDDJN1mwv+Vhi+QX6dUT30vL3rd8y2WCYSipGFKupzzcBraIQPfW5lfU2h
tmTKTD2SfzNT04mlWGYjrNogc9g2kzy+p9GQ/agm3YOqI+aXTodW31rnjHAGZVmjqZfwrod9V3sw
QP3cnmSRYXCJzrcnX/UkEEx/ZL6E5G/+IxNd1IOokQo4BQB7TfopMfMtk5NuwMiL25rqhNBwd+Mg
FVSaJ3JhpKDaxfB4MGDWhkgE9wje8LLozKLw6JGbZMg5ArTClVfjvINCAA8V6P/oLa7TIEyILYJ5
qfqMVTvkLMDNdxBqAxLa2Xo5Xl7yVb1NHfCs8d4adWCKjCHWEERmdYYEclKHSB0a0ED3RCjOuzLH
RX1cRP03bj1xYEdgvk7GcTVrskYnliLpdu9j/Kjvq9JQlLmHNJHPkb/zZbIVbhP+fhaDsThXVn6u
qjUyBD2sqwrgMeFtJ5PnZFNsVFuuTOQdqRJu5Zbfy9hFGgeDxJG0U6b0ZGEUINow2YdZDTtOaiJj
kaJCMZC6HKe5rT8BvUM8NSU3+wlXXHxpt4/+UH1y517WoHtfNvH0Kv6ekC60sGowm6inCmtSajfN
7860XiAnvKptAyi+joR1Rfa1XHKvFRFvk64CRX5Xw6SRgAIAPEr1uzRKIIO+zPVPCTtCt+U0Tnbz
anXovdRY5akEdeKls3jZS+FSMiK/5Pr8vnfHe07b1Qy495PkLXXKarq0lEtjAEXxbFEw6RYz9uM8
FO66v7A3IHQIMeNjI4+8b4JDys57nUWz+RzFn9aVrmX8iy8YhE5lD0n3/1ipFFH+39s/+jEdp5cq
sTSWZFwJ1n+4NY4EguOGktLhigrMoaXQ9gcHqDvEOrdz8NBCUWdoaLbnRSnjD6QDRRthwCL7hR0D
olpCcyFNE6jC0oG0n4Jasr6d9cfwlYBIAcW8UTWx1ll3nwQ5FlCTtZ4XjQKyGtnjEEcjk0HfX42a
ELi4HzxtIN5jxHxTJBSYc9ysxaWL4QcD8LCBf+rvJqRSV5t2XPGtq2gGmxMs1cIDqfDEs81BEJf8
e5AH6u/Jnw59Cb6Kr+2WdZuXJymRbrtv/iwhFyaGLT8W2JFmaDVzxAcUVTq9Znv6avfCn8GZsspx
RmBoqEN9avjvc3M0YVVqoS7WUZrsUaXqUdOW5zGHbdmPZ1q7VgyhNDnqTNIfMV6w2xmkaiFj0j7D
1dp9bHmHqOmp7N0C47tan8rN5rwmpI1o+VnRn9p5Un9kMVqTLkK6y8JnYTW0Ps00AfwqPb0RyLza
5bGfm9leDT3YxCbUtS0U4OMD2D6J1lWnpla+p2+T39SnOJrby1ww5d5xKmeeCQhIJz/a0gRPu63U
e8py6fLmKrxmRF5KRWCg2N+eMs5fCyL+Q5MDuQb9cWgAsZLTtLEGNeRAK/g54ptlNCX7Rl0u6f64
YGbiQcpYfWG9e1pvFskFXu/2ypMM7SyhMmPETTIG947HutfSXFmjv900T1d6pGAGxuchQOoWpBTn
InpPLxMt8kD6uEuMGOnjBc3UZcG2qWyEj7XTJV3QERV+8qOuZCfz0ufvhOlYNLyRaE3GDh6NzHI4
GfNbeSwDRLIjP2lufvlObM18H4t7v5J08tsYewe1V0AWgfVahd1sN1b2IZjDZ/lLbiUoxBo9NzBO
kJhj0IPQUAiCNZheQ8qFn3HcFgi0QgdoVp7dfdFoGzJvk0fv6W2thtDoHnNlegqLVRoTDl7kG7rq
AUV3+Ar2oQ9aQClDbwY1GMOp/PnvTA8vzW7D97/py3ht04tMz1dpjHV+A4H2agBrQjlj7knd9YEL
3QAbqAL8yyZnjgZP3ERnRoT4JIRxAbiLx8IhXbx5OA2yzvbhqy/HS64SWsrcUXKsAg7ouEUEbUWm
Xp0Pb3aFdnSSx1clw/wQ46zcr/1kXEWGY/C8/RQMjlp/8H1659kgdGXwrWlE0X3C/vBmECdTNY8y
FV6ORXmAXEyKyCz3cJHMQJ2Ik9E/Uiy1U+3PE2Jn6fAxR7szvmvzwukyHwpvHvntHzy5EjP1gsl7
EiEVJEl1zOmN0YCWTxgN++yU5kBDSlW+SrCy0jbn7jT8jW8krr+a75O97f15xGotRvVavue18T4U
+cfEahXW7sVEdnjYqpiGLesU+W/rJh0X2xO8hqw+FV34LCZUdXGJkVonqlOYH8lzJtEtPi00W+DV
A9jtT4Lqj8IY8DHvtnkZt+eiMvfkx5q4cB7pzACGDad/RLXjD6cDqkMeSdxlnt/b7IYYqiASVEL3
l9f+TsKl6Rjto1IhJuU/Ef8FZNaQT/9LfybEKLw7x2VrxfMwakjoBGcx36dDidYiTC5Gm/uN2vm5
tPvGwApxdhUKQiPLAmAwgUhR2ENoZYwmj9WFPTA5iJCLuzJWZtuS9de8DC2h+ALXd1iUbTCyK7zN
J6LjJbR7Yj34Zl37OdmcJPUdSjxL1Vsr3sSyux6G+bIxTS5JoWShkqj+jp+l6R4fWGyMI16jKs6t
MlhbKYDdNYtKKPD0DYsY5cxkrdtFRL3ZGI9tEz+oTnYvOzIip7JYEvmRGWdlFc8lDqxRxgwlEf1z
XxtoyTsJOl+CLjl1XwWTIfvmwNMl7J7GICUzZ0+3DbMlHY9GK58AbpPf2sg2UTL20MO5tdK46ud4
6axoEGyJy2UPxUIJO4qGMtPDOdXh4ijhXHJTSkuYEUPoyzATRO6KpEG5yNJzjIXgeQ7gmKbqWHj9
CdnVav2KRPOyNzjw8LQxfnCk1x7/V6u0qOfMFwgOb2So7UdoTnzb1zMPbcZvMMIpzCHowU1SSs1v
sbsZdMnWqQAy+/58PHUhxmty3eHvp6vfEiGd8w/AqgqSbUex4FuvW/MjUb3liyhIXnUQCsNYgXu1
vGoQiUYg5QVYbjBaU6z8g7o3Eq8MpEzk+aYyhKWyR3umnbXX3oVTxwv8weL4vjJu1DVIq/ZcaQ/Y
kAjnUDGdBQIgV3g5UyW4Yz/F5uo4+HS2nQ/JqeIi7QJK4aC1nv13FvJk8bi5/1rxT8j3t6+eMb3G
h5GKyGosbzEFLz8K3+Sd4Dvlaxw9WBjXcvA1wWRF4VRW54tMfVvjTF54eV2SMixWZB5fymIGALED
BHaB+qJm+mO0urtorVd56mPqiZGN5UgHZaTMF4+ASaM2hyX9QzFsyBl0e8hru2zG8y5IZ5Ldz2JT
xKJdVxERtdG0zVfmGmpE0fG15uvXz83J6ClKiSS75hXLSZrX56X/oW0Zg2d4ZwN6Kq5HiRMf0k56
JmdBhjBi7UE6Wf6wyd78ktnwCXNnfhnuQ51yii0U/wDkttHTB4KtNEQKKa+yUdFEIMF1+0xnilgE
sKbJLBADQzNIA8vDfWvDjLr6kA8b1C3qz7gaX6stp30IB1ILEVj7XL9mwqgHGl7KvbmPojf3k8eA
2qhh6JFdUuNN2H9MZ23YYoGs8P2mCdVVx2Uh1nE5ir74qsfCRgBNJrMbejuYVJtk36HSuXbi4HTc
RNjg21qxMbkyxVzd+uDy4mCkE/Bwbf/cVtpqDHiVgKt6+4TM6xLeN3OGZ1dEyzqn2phnZ82oyGtG
5ZAFXGtxq1Qx0uyzsanskDc7r1saFCAzZhvJP/BWdHrnGUnujYnqZiOrLLpFkhIzVxvsbwuHyH0K
kma4JHobH3KgavCaBck5TYhEMk8CEq2A9Snab2sePCojwZMN3RumFhes05P1yMuB3Kj9qFYHfUSe
PA9uFvfAAlAI7K7wc/0ifJSxtkAvJ//YBn/dlqv0Ce3sdUOIiq0Q1kRbCuf2Qk9cvY1V+i52ypuE
1B984WvZ+pzHabHa7OUztnrQr0TZeFvUv6YJdhovvgANp1WHV0LHra8FEUeKp0i4syW5K54AxYmn
CiWOwV+nkrWgWrstgyM5gRIE+zJVK6gGC1pcklwX9lQHp2aPMwwYUasRaJx7jZdOS4ADKSiWLKwX
Bs0g76zgWeFt8l3NUHsszLYq3cPPWCEF2VM2bbvgrc3kwz5vwABFxQgRduOF/9M+xno/Z2ITV8+p
IrZMkYTKzSC+oxlOqfhLMOkC1fasWFD7rOjIoKFy5VV0riUu092mJNCoDaSd3LK1cwCWoFGYzuie
mNMIIQjKqFXrCKxYtBICY/gKCbIbga1HC2p/5KnfNj8BZTWMUAuXl5VrjOCuk2kJzIh4ShYAeYPJ
JCgoddnuA5NGUmMYhzhu/kjGxKVEd5MhPzdfOZxNsiPxbR1hfnBrFwwnlWig4ODrI3ivjJnHdLOv
859eZv5fc8dDXR9weGQDNe1LRlqRtb0z4qRrqGKY0vjFA2JhfeTBxIzPgU7Nr1HzyybS7PG3BTWA
cOGwyn4p5nQumC+KDTMwCNKSO5rTfUisa4pFBMb4aSRxsJf3qO7Ns5xXl2QarxRZXWXXEOFxOxvW
4euT7gu8V63CH3lGzNdfapNi9u8i9uEFtWf9TD7xZX4XXbhbC6OZZvUbSoEhnc/a1PjGV33VcgFJ
JjirVg6b7JeImiUfvbWSHnunPQZZ9ZLNsM1yegjfzZvEuZ3NULTApk1QmrcOx/M/3OcekqJZ8gUW
hCWFisb0isG+2NuUAuX1SylMdt+Z1l/Bn1u1BrWBORROxIJeqpnk1z594G0/KZwyxmmN4NqxDz2Y
B3+mMzx15oIEpqzL+7jyiYy/dWZ/vE2e0r6RRhIcLWEgXAESPvUWp2G2vQ7T+qaoy/suXsy+ulrb
Jx5lv9xk2J6/dpU4LW33kZhm7oKCvGBpfCxnrEHnUhIiIk8YcwxRCcRNMINxRsW0Qclg47ma4TQ9
2PfOsnIVOusq18J1iuuqO1fiFb6sv8lO1QuBRXfImr56K0bFtr777gNon0+oo69tso/u1z884utH
Lrm0eN3073X4Xiju+kPAfsrjxyGxK8MrS8Ujn8+Ek0dtPkXWbIbb+KY3tA/Gi8GcfltY0sy2SUv+
pqQqylPlm6IFIWUwyVc54ZVtvJ1euvepPSzKRqA7NBvcHije9CJItSVIfyEWK40H9QsMOhsZtEtt
dROr+WbKb6kxRsAqxe5iAVYTxrOM967WJb+erkYSVHgV+8UItKoMKuprTRtYjKlxveEmwZnq7C+V
QDJN5SVpHSbm54zmsEchaMHKK5vrQO2UTVCdKmZnSpwyoajiMblrq0IZY2NuonP+aq3tdlTNnQhi
RY6BgzBXteiCOy5KUjVd3f+oNDNgrt5347Uz+rvIhKNmqDsL9HT9+iazV0rac8szZFQtKShinOon
yIX5hpCaFe2HCFlONJypfxtGvu+ZdO+K456mX0w2Q6KVw7nrwq6iSiaioJmxHtDmE4Nmr7LubyR0
5pW/57qHPN4j2Mw1etztJKb39bP1dLsi84AwniDOBWWdQiQRsUL2kQSSvZR9qBh+pk2O0nz1w8IT
qQT1qHOaoHoky/D4vb4vZv2iIImr5DtJvjc81x4rw1m77sRaaGURaMLZspSLYCoXFalkeZi31BRv
mkzRYzFGWSSmgIii8PGkgp/MjCt1lkz3Q1EDxj72grdRuzafW5GeSxUP3I+11QgkWW3hVzV7O/WK
BsqsB/96rPHKZqYDrwMLnu5RFkCArZ7aATej2qXdrYrJXbP7xGposfgo8tTrBRanbCYthJGyBWiw
wu0nQnPcXbkww6Rqo8k9pal97PHx+2XADF3u+yVNFxBnw8VCQkuQSDGz88jjtfWqqr4ex3rpFzlW
LO2MGJfF9hGA6z0aoIBNQpWQ+GmvBXsmh+WANlut0YXQLuw2S6M0/zkVpGvtz6AYT759s1j0q67H
KnPip7nY/qjk/pBljmvJgxgANgkZQ/cThkLcd0aUJFLIPizSLlLxiiG0R7dN4Lpz+CQhmqbfsYFI
tiacdvqRr5Vx4SL7+3f1lzWvz0bjlo0xMRUMYmmHR2dPBbdrOm8eN++TGmUFslbGFviDg4QTFAsr
lTV9InzgaUa6CkPiSC+SvlyYaelpHrqdQWiT7qj4xE6kNnTGD1OcL+gjBaKKNkaqBJ89tcPyK1EK
FoXq/DwhJFb8aZRSBm6ywKpYjwk84BWnqG+W9+fvmrwKF0tqgspYAo0VI7PhX1IEE8zRfCWDgY9Q
dHJFNX0tfkH9+ySgTeKXr97kmgk1YWWTq5ull6X/nhE2cQzGSA7lU/OBbV5prAc52C85YTyIorbu
M0VO9CbITWAcIdsLnDnS5+LGxfDNf4+/A22EpoQrF0+OIa+0+X82CdW+2Gg+qEhf4Mfmikrhyd7q
KJWFPpeNzFXlEttJzzxyb+IeW7nHanpfaVm97dczcsjUC++XfloKhmmMUdW7yZtiMYNX+BXVc84l
MbmCQyPGaoeUXeUkG2I51UKRp6tHsL405FIdr1nJGtcGtOd+a6T5NE/FT/Uosv1ed+U918WbrGc3
3kWhFjwKQU8XyOvIPJUFBvGzfcK52ipBggC1IM1WW8+IN5NFirULaag39iYLEyGZJAdLvlEEHZrJ
I7Q708wdxBUpkkpa8TChFGciUs1r3LBnKhwV06aRv8HHip65rNgF0AGcezLC0AFTToNrcEYrauG7
l6PmFFgRM6Y8qCF6ydmYB4xf1UmWWTm3Hzyh7cTCgW7SCDNeaqmIxM0TZNDtGZ0rTNrWap1VIWhp
oW27rukIQJ/cNSbzK9pZmRDaESm9DDqtSW1oKcQJLOSfpIECXqjQRdbYCDWP1Knbxs/y7M1Y3uF+
nmP5i7Z5ajCV6Ai2VuND7JpPkxJyo2aZVB4h6S6ak9tOtETwOI6wUpnDrPRfKQVDG07mGFJKh0tt
sfPI8IXUDDWyKC/RqwlAZRjn7cQwLl7yQ1JvOXPLJNtZVS9cfb2vJcw18qu2dZf0AnSkz2BHHfYy
qKEwIO5CnzCH2aB7JfqY0cj9BRK5OWqXCsE/CNC64UuYP9YfRj9F4FnDoqBwsUIxLc+ZiuVx5+iM
Z/3wEyl/zLX6Mrmo6Av5mRr5nrzO4AdfK5VtLY9g0lqeKc/+Z+dW++5vB1s6lHTtghiuY37ByGmc
p1DtcBExYGPPaD2OFYFxHR82oZMrR0fT2+gC0ylqCMVU3ZLJYIqKV996sJiYdlQ2daCWa/6+NHif
qlrjDeSklh39Fo97bz/5Fym7EwY4+61UEbpkfIf/rkCBc/5HKIG1cP8l7gFplCkU0pTRclLY74LB
H4FDGafnNNLsTL2X6Z2dr8btaCt8rINPz0SXbP6UupVz+Cn3Wl4GwDnbMX0AbHoxd69W/1LChih+
rk9gvOGsG/dAdQLbglipDDvLCupEDnp5pn0twMmSpyHfVxC49h+zMX2DYCvimYaa6SivNWYn9Qi+
NZKWofKqyOG7neVsqgacMyVwX3A1/3IdcLKX3mZTYRYcpUyD1rgMB5wU5EJ0++4NSMRPmZLf0NQc
BIEmfIwjH+lkXTdM7z2twWI4cCC64bjw/Tlmj9KFEkShXC99TYK08yvxujZ1rUnDkkFow6Y72fRr
K9n05OG3WcyRRVpmM3g4Mu3mr0ICIz39Bm5jfazf+CUdKNjD4HGmoHWMM8wwKQhlmmHesbKXPssY
h+Np/+brHoSFcHZihErLXoXtOsop3/LfrbU4VXvfrPVx1H8PUQ/FMo+Ghk6YTCdrreNM1FxNEyHo
wOlp/xCsoOwgEjtOE06rz5TQeuBkofmdjiHyx3MmrA7ZfUGx85Gz1saOHsAeppr63EcQm/bR+IrR
RZlRR7ACf1TpQ/SWD7PyJmSE1eEyNZbk9ya55qlBmqFydhET9MJldbRIMVELcSUR1/5OXAZYncE0
3BokvmyuXDC+IobwVmmGTxmA9h6YwcSIicr4Zn5JJlk/JvlKrFGcicWPaOmRyFcNp2JAnFt75GFs
vkJTmhE1WNc/20q05+NTENyqvyaV9k7KFnspYEZufs+I2ZkoHweqf1WJ1JES0J4KwtVDhjrUfiH/
ErEiOnYGX0i0WhE1h9tSrrPygrgPUObfH0Cz5lb5qnvli1D7jvEMXxqZpthbE3v7YLKrfemcp1ZJ
b+q3cWF07OHpgm0sd+Z7W7yDf3lJZ/WlILeZNpzHKNfcpvFRU781R/kug02yDDEklPIdSwoDpRI8
tOHArQNE1mjRYfdT96oq0yvHKrklhymcm1N7XKvjduwn5jrP+WB7S6fNt1jHmKxjtCIsCxb18tvx
F9lLN8WNvMYJ6G8eN97vj5nExY2JNFjEX9bMeLpILz+A3xaMRGtWBTtP4Cg1YWPN4cHXR4GMjNTe
GThmzyacVkVZrZsO8rKwlgt/ODbbdwhAN0GQbocYcOpArSUDhHkZoSg/YUgWyD1SQmDF5yvbPRPg
XjeczwtnUcnoosJwbDIhHg6ejefd80uffPN1g49iui17OylGQDHC+OgQ94F7km+LSgkp34bDQs+z
hdJeRAS4gvHNz2SPnXNksnXmJnTbi+YJ2O6MUBeAdxbBhOWYdNAWafLJrQlD7OBgVvLbyqHbAJGJ
OSwbABY7Hofjqc4lnn1HbZrixhsQJTJwhd3L8pv533JK+KfKeb6aunRdMeKUUufW01dPXCFiMI52
1OjEycN37VjXYkdaJk5NDFb2jiFUOQi3ip9oSGGCqZz6/EN9SwbwjjK1+6fM8lCa4n3KUGcrl723
rouBRHSqqO3sIl/tJFdPVI5+yq+EUk7QuJ3o6LGPiRxrR4WnTeLrfe6NR8uSQE7KWP9qVNGpWUdN
8jNwJnut50hPcZGMyVkgrpAFu2122TmVt2ideVskJIUECMtSYHzYooSjvxP9hPmrBnZJOx79qHA7
kY9ZI2cldQmOkpxlHskPnj4f3phZ3ir8wMWiMzWddHeHa6N3znbNdk54Zr5NH9ZOlrM27UCrNgSS
JkuoSlkkTHs0y6QXfhfQ6WuUi/O1HIOxNy/daD2WyXp0v5SoF3DPpUlUmnqk9BpYvQN3SkUtgqVw
EMJykcPDtYzGKWghgc3dE0V9WeRLkanXPekp8k6jOnMZq5EetIgAMi+vNyQ6PDHL7BsSlvT9Q+IW
JzvGHjWALXkakrNTp0SH7cfH2tSfB3RJZdidxRKCmiHxuI2vxOele/VObVlJsAzG2hsV6CQwIB0t
3LvPTbOPbA6N5y8QAXJuLEyS1s8pMyDye0ClWO736O0QtOdntQeaV8gIQluc6w1YoVOjG1S/6VvR
vrSDv2giwno7p4RPHuiJUKWdR4kwE09mjtl3+FCDTDuVCeY4jFFoujrD2ycYMeSTts3KJN2VKLQz
PMAjEgMuKaTdwQFHQOvZuRb2oGd+Wa73bv2DBjGUKGTlKQXRJD/64Sc8CrbtBUIo0msn0v2kMUxU
ISgMwAXEwM2EsyVz5E+BycJS6hq+VeCBe5R+iTNTEE87L1t2HZfzRGmjI4RVLbS8y+m02DVcV5P2
bmH9acgjkgDGn7Y6smVxGBRIj8JkE3kEGvvqoq1D63nxfeDGmhK/zPlT5FVQFMQqzHWgre8D92FV
NkgaXW3Jgx2fGvuBdGXsTTwv006bxxkWn7iOttjQeO/VrZrQFe19bP6jH0ucbEBGktu6pODuXlLz
b0UtQvViMBIn5FZoPmYkGOmmXoiWOw3TEpJ9G8DPCsVZxURCnoptqNtNUtIHfcFL2XWvVgLofvik
WHRXtAaT8LmAtKlZxo5Hw7OwY1zUGBgo58rcz9I0nueC1a8iRhOAenPCzkUp4vXrFvT35sVUyJUz
+XJgcpiORNI5wY++LvK56ptHaJIuOhhC/JVBia4yYRrfZeNwdaWBJcnLJA3nJ38EnacIW7SgaL/8
zY8sGqU+spolWg0oQMqvPulC2aKsXtowRcq+IqvzJ/JQetEIBBFd5TQGQoq9FKR8olQPK2tJPbrM
SnIZZZr21bdqyyNA4/OgNqQX9dGkWdObnE4sA/NnAkT8zEWOV0J2nr1PNaJBQ2TjZ3EmMSRkKSxr
KB2iHMuEI9DflKSmtDmWOIu5CXeK8sw8K6OWehbJuw/EbXhGuI1wVq3TrCohwyhBXT8Pff1cpubz
UMQP+PSMBJkMamisteQvoENfaZjPtITY1a6RAIpH0VVQiIzL6M0tU9yp9Md59gvaQdVpfoIl1lXM
g6ixc/Lb+WMGZluGNWq3Or0NWnUTp+HWKdXNoF8qFoKIlyZKi5sgDlchAXvDJ6A60lT5acu6b6TJ
qQ/vEHqvNn90Gn1ABbF4pT57G89Tr0aSXkUkq5K61XgPqwCcnLvG5GDdAPXVRLC8dw7oxU4OIoS+
qThnkgQVbEwHflDLGal0VJO32l1UJPyNcZ5b8hqzw1ELJAEASuGoH1XUGllkNkgHljnedNS1A+yu
ynDK5rjh7bhnbrMrr68jI7fVNbX63OzltcccMq09S/Keo8vexZM+Hj4xAn6xLf6xLr6e2GrnBgmX
s8iM8QmGDskUxMjJRqlgv7HQiaJCH5Ul1KTFNiYVUs4YGitaOxvxmZMS2tS8F+X0huMQF9ih1TeA
8FcIN5VyGYeUmdJyEpk/jPWMqX+NdnVFAHIEi6gHuJdLy/sfws6juXEszaK/CBHwZkuAAEEQdKIo
s0EoHbz3+PVzWKuJ2UxEq7urW5WVKQLvfebec+vuuKkqqCkpMPuR6qlhF2+ExTqdCTamX/6dOrmw
PWQMkD+NxHGFylsZtGM71UeFV79yDYIzjHbbM3REe6Nk+0Wl/qtnR06xl9sMjvNtfiRJ+yhSNOPV
leaOlKaXidTcWCIhLNlXAvFzL08xwqdN9oYZSzFfNWubnHXNa/CysbIxapbbD1JXq7Q5Z3F80kwb
WJGbES+pkWLnx4SmyeLVUsoLn67JZEzCNzdxsegoMalAl8qjnuzXLDTTKiz6PgQSjeoXzK5TpUqo
1IHQazeLOAevz7Nb0g3XvJ8pv+bz1j97yE2bBbVRNY9VJfkYx/XxDWTNylzFQmxT7UmDJ7gFXPYr
/RZ5W8670qFgN8SW5S5BYm67xYcpaqDPbIeOlZ/winuQXeDHofhRqfKps2KiWtNznNspkamGtF+z
i7FxMI3q0aKEJTFJuW9NB6weesKZmaC/Zc6wjQGF5XFDpJ0YqO+zxJeW5qBnm5eWfm7ser3wYArT
cqLsMgh1uJUfy0p7VPJc2sVWu8YQGjN6MlRFw8ZsQCQyqWhcvVZcecw8I3dFY1dUBJ6P2H0sipU/
lVmfkroLyqY99sr/lzSg0FD9H9CWKOmmhnlMosk2VDybL/b3//LmLDIYKtCMEgmw8IMWfU9T45r8
ljpHwadugJSaB8NOjfmax91uKWwLTWFCQxynA3YjuvMl9lUuIQZbqwkPV/qSEVn0dwthY229SXlm
q+Tv0p4aRPxU2m9eQnRaOXk5GNeRqjDgHWCUWgIiHvm3CIryU4nfsYfvELQll7bBOky3jOBQMH6i
4m/S3PpkPo/9nW3wEVzjLRcW5gn0ZydBcAtmJ20cNsm9/7eh1i7MF1ILOfnC7z49qnS3c6FiB/xQ
abaqwgWnsOsq5qdM5tDJ5M+UlHq2WCw1ynWvkQ0lbfjQpK+NTSHSqSj9aCydsvS9JNtSgeSEfH83
SXC2xfbcyCfkQcDr5dwV9F/8pcocjzL5hdqzjQtT081ghIAeSoeWgMJcwoqfUWUpHGTKhH+EYHAo
9/z0zfYXRIaOYS+oWwISZoYj5jSFsXDCAaIJPC7Kb/o/cH77ZB3sAYVAJf1Ff5N45aaESYHDjC73
Zf86rDWTQ6EK4o9X2B3zfhOQAEkwZBel+8kkto89D/+AfowoWFdPMWuCndnRrOccndGmw5+J8sOq
Tvx2ORMJuGKCWY2gArqwwrBpmGh8CWC8mCn6Ytr9V3imzlzG1EFQFp5MRbjhXkrYA6HQG4z0JnUM
2l29+jst1Z4AhCOXUlbaJKGAmTN98V8+GjtcI1qHO3MkpnM8ZGwA1Wg6DGZ3EBcG/0BUm1Szkz9R
6k/0f+tRhWYpFD8ji1mtZAdWHgrNjpRw6VdsZGETO+y0dc2J0kOH8nxBSZzB4C5N7ngkzSoCBtzo
24KaSqJ9UIjM4BCgmQxrPp+appdbzJ8Xyycyts4+CsK+pTnIeLw3Nbpa/KVCrSqd2BP58BOM+K6U
mSNOrNdMMWDluys5Cgn+RIqspB0+JwBZn6nGi2HyiiyUs9B8rIH2OSIdxtcI6S5gDPDBIdmyEDrT
7PzSYBZKeneFAHl+PRUS4+1RNgmfuMXmG6JnHeKO+ZwilHJje1KkDzK65p4OOXsKlXnbVKef1TMy
41VY77La3AjthcQJuS7IaxLi0cdt4t+sg8iYw/yfTKSSHe3vLedEEJJ3I6lPy/y2YTLVeHFq60zi
r4xYcF33CMRteuIdCWmZHl2ByKS9+qYv5OaYXg8boMow+c94tmKH6GVF0QNpk07TZ56/9YQB5yVP
NLmyRJ7uNJXo5E9Gp6gW0D1cpZY5OZLQFahOv0pXAR/UxOQreYhL5Vh8TKtdQnrV34vWV8k/q94j
/tgDEX1k0U60NyRRRbsVbH4LqWBBjGwFDPPz4V9RnbL0OrOtTBUf/GA9QAUkO+3ep2LYgI1/Sc77
hrRR/q8WdpnBOPpOEhm4sr04xz/SAMRI5Nm3TjH8xYR1PPnBUwk6urqrKUen+tEfOusJUNyPI8f4
oqDwOoARVnol8HA3TXstWvAQd7ZatiiVFn9uTcZgriSRckL6z7AcWdSaBdjpZoUF8ag1mtB63ywE
3G33VwpfMjaMOu/NcBn61iviQ4SUnFdD6X3y+/zawq81TozGn5vyAd7BfPApn19F07Iuj6yBWWI+
xFK3NzIvocSGGaEf0JAZo37mcoef/WXquY6qcMa+vvFeFTqfiTJRxkb77rdAyLWUexNZ72KJSKhb
3DlnLy8UHhq53HpTty8TmxwLQhOlh0g0zLbjONqq/lCV/HyW8yrxzq6hMD4k6DxVDDjUHI+TshtH
kvRUTqtfGciaSodIKxzwz+jVMeVeeRqW4sjZZ6xAn8ntSfBAq1LI/2zDlzpbdtsFxGngaIolfABi
76SM+Sd+I030h2ytSJKuifXXwFGCO4Jf/aVSMHYjs5gkebYQRpDSkBgnOa8/sSLbS/FVio+U3zxg
1qWAVdUd9fc8o+FBw8yDzOxtxrpmfkxjZQ+839QXMnMbVXw0nPEi3Smrx0Vn831iKcwu6KZpv+Lu
V8XCVe/7s9QfqXU+M6W8FSejddZXvkGfgk/F/qkxdX8SbXXIuY7NFg9mCx9on0AXY5wKHHQX50gL
npSpj9l6e2XdqhtDs6126ulHZVRlIPcQ3sjHuIhAZ1T4HgbZlJR0hNUC2kZE9tYpz5zVn4h7KmXe
08Fm4fAo53gvRD8TsvWYAHjGFUg8300+fQSCYBB3Snovx1/k7BzLoYZVzLtWfDQj4yTdnUfIT0Vp
r3v+YoEqaPQHFljwneLPooPAyT4+ZoT2d524IsfeU15xj6UrwTnSUUxb64fIo4keS4gBxTQW+d9B
jyplOlXKH7JazjxHl5qDplSsQyWsV+13K3nwFXFdvMfG4kcKyYr1X3Ru4xTMi4li6tpJPPIqS04B
PVWKQq485hoNK5LLHj4KkrAYDEptin4zzz5MTArfClcHLhnr19KFghgjXo8OUmK+opDsFvU0tAm5
gpdFCE4eBbEBcOyl4ZlV+SmV+geKjSmZbq2sfaKlipCkMFUTEXsbbD6Rp0SwxIqGDFAtZVaV3RMq
BLMkcRPfPuDfjOw+aIipNGDiGUkIcPun9omobV6FY408RZTqfUpyhSYhiOmIBQBPVJrZEZyq3+it
764qhDnmhzRpOnwwKHu4CenOSd61EMmWW3SKNMpykdiZF8RcNs5kivVScR0rh19wbhsQ2RY/oV31
pxSlAwyuehgORcrlWO8pZvdrrrsT3DHZ6Rjz6X9JWixytls9HLoIBaf5XaQW2DTVuCoM+xAWYWLd
VXN5VXPcptV8I3DvxoBznAHcpF95vB7oNFeBUkC41wJZOuV0KMl8IFZWksieQnKZjVdheW5jHMx9
HVTmjljbWd0tAGUS0/L6v8WbwMBi7Z+LrJ7n9M8mWdx/pIOvQSQsrGbmQEiHAPxkYHL0wk09ylZ9
NM4kd8GXArDQmojqacsfPQjhBL1+DnFoPlic4aI+uUMJuUhD4FdiX8ZFRUu45KGkpuE85aFVCSdk
Kq9Ij2nvZvArVMvWJQS1FeZte6rNk6KaZ6IVVmZCK90xjyCBN7g818Wu6s9IeFYAVpUqO+gW8UpE
TpIFpJSEmcWXTa4uyB1GOajexhK7VflraaU3PprcWw35zCRx0IgywZeUy3aenw1DDto2v06bfhnm
6tILB3QjCF73GtWsOZQMsXbEXAjM/rYY81veMNMkbWJExaEdI0Qk7fSoDZhcAMsbr6xd/HwHw8TE
Erb1ewssa1t/GUO/a8dw0o5UFObDWIEP4HArf2QGEMAJRpavHddQwzXIZW2EuXVqxmW3tS/zAXs5
tjQKkWLxBXxETwuXBrp6S7d3IhckuKeUtPDKiDJ1C9IR08HehPexf45IqxJGD82fUnto7RdR5iqc
t+qPviCQIu70W0wm9NQIVmRqXWyYyOSilumaR/bbAsRpLoxDfecqkkcG8WCXGME34GFkB1SiAJvX
49Tjld/43rJKbtGGTi/xoP8Jvd899JkMjb3JAWVB0nizZPLgm8AcC4aP7jZ+VttHq5YnRZPsgUOt
4hlk3JSzc0hCYj6x7ewlXd+JGxA99aGK467CUqr1ByDC5Dd68UtDwX8arMsqFl0J+zKCUBKOpig6
mwoyFCk0a4seVeS0+N7khdOYdmwvrYmjotBCT5SzpNtop3FMaeSdDbsWCd7Q1CcrFe2I1dOU3g1y
uI9MFSv2FiLHq5phYAftwcniGtm3gJVkcSWuukbMaVESgtmYaGCt2jJUwBkcHjEs5jbcZDUsm5cq
7Inm+JSkUijhl9Im7YwbFfqKgedU14NXPfnqIeMzRJ93hkPvQ9M9M2F6Nqtwqcs3BYOMrLIIYx+L
GelkHiXUSARfBBUexlUd95Tog/lTxepuJM9LQYjxu9QCAxexgmOnUYhwQzONZqZF9Je8EpRxAlRY
OXKYby0D+ojU+ooM0L91R+xufVsasGd97Juz7lPetxjvtvxSVQC4tYJD4z396cmu0ubsbhjdPbO6
uyofh1PT+zN+4N8dP/xGH94Sy+9Qd7EyWuHX8cogcDECobrE8lFDddHu+TeQaf0SlqVxphbLVSHo
JOm0TG1YT3r40sOBxLDkUzmys4MmR73FYBAyaPwZzSm1ZO5XOEUky+MbdG/jyrFatpJRbytWfopV
7VNuzuq3uTTHLc0Dkz5iYR5bBNbbC5AvmdyppX5IZ/1CE5steHTTxoPzxKp8cgk5jaiNBpHNBMWU
qFFbqSjDsFyWMfxj5K+nlaSkxYI7MFyy98E4Vc278Ad3n9lO+ySMJeNUt3zGsZN9SzAHmvw3Iqpq
h6NUcFKdOphjtYopybGn5ZxfYpV7Meav/l0RpEeuZBcVe2Mm3avJnyMbPdvV+ENq5Y1780IyRmgk
rCs6nAKOLMphpCwXi2Yipg7cUEOqTYQf+3uLarQ0aJeHcKKibKa3WRqontSH3qR39Y7bRNsAXoCX
yaaRMNfhyNLfb36PNMwFYgN5qQ6T8W628V6HPwILqIY8eEMAToAKtWDO4pftmCidUqUOF/N9cRWh
JnJoN9G+YsqCcqgIEJcmWJAMsF0DeWYSa64cltAU6dBXMJJS8TWDynztNGnGhNcSAGUaBaLMHlSY
VVdEwl3O7EJJmSqRS6/PON0+FDS1wivamfxF4dxIyqXwt0pmQ2b57ZM+ttwJefaQcZxQPmp4tPA7
xqrot3xDyuSu6p5TpT0n6Jsm0VB4JLbbYtCGv0dL5lUZHLmQiJumv2bf+ZsK+SBvIB+w5uEPRSwb
6UTqWQGhlOvfvSmeozP7smS8qot+QbKrMfcqNIEFQqhG0q01adHZ6Wgpev7XSGX6xpGa4HXqkuUg
XbSdFTMk3WVzoKKUSqChNgpEeOotAn4wsixeSIYtAe5AkMbxYIC6jdDDSadITM4SK0C2M6x0xV04
b7Ef8W6sE+Rbi7clS/1B6yiv6deguy440J1liAKjXagTnUjj+xH3lmag9rMnbDjBctFNgT3qTMfV
KqKGRfiFKmzZ3OT3hV1quNXSGSvhta/y2yL+Lm+WZeHJB9hUd5CAp0PGchkkQKQeMr7KVj/wrvEO
6ONTQYIWj9jXVsC6ZrUBq12T+LEawqEgcHqN5vssbDeCHwjfYoFp1MceMZqYsMuAtOFE1t+GeOd0
FeALQANjclPA1quZPQ07XyipzXpGzfbQ/up13bUkORT68jJgFtLI7psLr+ZLUnj54szzle3ez5BI
E0ST+DA2/KJS1XgVXzJ3VgRaCYNzTTVeS8dpbJmsulQi2y9io72EiLOF70wupaGxqC6ZYNV2LYoe
FuGGj3QgtnTac96386kug/TXprKjHEGMzseWRmP8Ew3PaLu38A36yY2zjA4tPsCj82IUMyBOu7em
+waGuXKxqNX7Vr+XrWe0hQcMC+QTglYNYe+CZQPfq+ZYxHkvNK6J9NSmoANYWjidtYt5oXKmi6oe
YB8QzbccfrjGeIlFJflnMhYJGb9vkp3ymrbhOQwYMjvovxxaiuDm0+ANTA4nbGIKL0RMLEmDbh1h
FCUsbklfPsrbIUq6z4mrl1d77LCv40ZIdjPL2kg8mu8WCS0l5pIuZRqbI7aWV3oIR52RFq64d5lv
y8SyVB0av1E9oYRDOfH5rwnLIr5kOQzdXOEAs/Ua37xmnIqQ3k1YdhQDW4KnSJ1OvWrslshwRBII
ummvkjUeUWlwOGIKBOxYcFfHXtKy3Jq9Ueo8CWebgLNNUWS3aVBeMEAtE7B0CAEFrHH5pwqqAQAj
n8ppblL3deh2LCL1mdkCpFWEWIzSVCamAsOdEbUVVxBexsTTkoq84w1lCwOR4VgoDFVXd0DFkMhO
aaaXclR2dXOu+CXV16QQdVKFEkd6meF4d6xdQfFANvMleTipgCaevNv4FZAZml0flvW/hNYqF0hn
jt7E8W7pfo2mESupUZaHlzWBUltDM9N7q0p2pIA73Gh2cwx9eHb0W7J8iCOJ3QbrtV+mVZzlvgUc
aBN4zGbNN1HuZhsr2XtO3bAZz6UiyKBg/KlSzu7We9RfS4NI8tEV1eLWDvpFui4N3I0hoXChKvvI
teOTATa4Cs2BrsflmWqKO7EZwnU/ws1NmtZVdpAW5g7j2n7GnLwJG9LizK1akniE2Gv3Jj/iLhb9
0TTsHLjuGH8VueIF0pfGli8TccqhGyfxYC+4pp3Pkz9K6qGYk0PFkbBEmD7Ysw+xo+8n+Vx8GgKc
GwwJ7YKytpQOyCmO47JitmaGwp8HER77UgNTzlzgoWgBGTq5ZMszg8vKzlRMxMxsZkS4WYIU4QPu
acCq4r/pkXHiaoMBe7BeejfJmTG0DW3rR9uXVZSHqfWVrmMs4grWsjcwnIhD6i7IDbErJ5UZGpfq
xG5Lt9Zji9SoGL0hKZwiU3Zb8454go235IMc2TIiq6aMnDvrWMV/4UsZX0hF1Q96NSbupdv+iu5L
nV9Ri/LsAO7u7TL50i1029l5YCBH+Eo7/U0rOrIpPTup+dgGZ0gkcuG4ZhB5YgeqrcyvjOdzsrja
oZ9Qk0uMeWOG7PP4UqI6K2LzdL/0FnO+/DKjaa/Oq+kqDONmcHZp7vcCLaDIBkvQqdN/qtnuqhMh
0Ha3iiwbITyx0QP4iBYM1ZEOsKGbnMgYHR0dcacfRN6ZuY0cFW9qw1IeZemIsnRN2TgWsru9JO4D
9sQ3y6Th0QP+m4kKWJBPBTfi5KhIk16QKq1FA935IkEQPanyzWBSMMFWEYwgwU4qhKP6o0I2Jl35
LFrZBdVq174zCPLzqDmLdXmGK3lG+KUS8qNEgC7YpEk8hwP8M459W8dhWyeMA86VJF50PI839axR
AFF2HdpI58bhNvkZdwNggBJin2gTHgUDE7AB2ws6/n30Q75gzUFekMJltkEymkRPggipnS26K1/C
o8V/0CusI7I6AK0sWMoNIc/FIdcHJeiYHdpXRtDkibfqMx+1fQT7OjPLMxxBnRvRlS59kjuOdJmt
D8J6ZcSZgYgDYSkvOcvQ+GlSfRAdipRqPA9DzS09HZPMkXyVrUrK1wKKmToF0YvhNMXqYAq10+at
RheavTBu47ZbOcGaVxGHNV8PEwyLsZti3YyR3cao2aJv7fJpvEE/WtBWR+F6lNHLwlI4ZVKHfHdv
qq9VD9Qx44q17GoxisjmgpeovTf8bwyJLn8cTGDU7CWsmzLpXSbTmLJQDM2M3jhVTGIVI2lfYEMB
ueRiQzkXMTC79GJw4iPNPVhGEli9CoOMAHojPWKPrWxyetiem0g7YcX/mZQkmIfhWAexg1HBkq5q
H11EKbvIpWSbRuSUZKbiCG2m4tSNjLPZ83buU231i8LUVu0DZYfC1i5sHhHLqT9UUzvq+SeY39h1
RBBjcWW+S+PySDLE5cOlDWoG86U5cAqQbaJSmoPQX3hSuN8lC3koZdg6sEhfXRXSjD4Irm4kHloC
L3/DOuu+9AC99AtaXqof9UQ/xpf1Y0zkqxCLV2LfCLx6Qby6C/P0GDmSXhuhnggn9czC0NgJJ+tP
nOn7WEKMHXmv/z2JNMckFwSBZ6p4ugzAaCMezjiIOTcK2XlmqZzyfwyEZOs4289FYpJCwsGC4ASx
zGFsJKLJEn9YWn9+VeCYGgl4u6wUJ5zm6BGvhIWGIjKeS1bWp6ZbTyj0swjOQhQiLTyXsuwIsm63
Py+XghAIePqF9UPvTLcRq6B5FA95hl2CQqQ34GOS77phz2TzvHLLDGCZj/O/bOApNac3CU9gnBgH
IF+uyTMMVKGVYOyQG1Bu66McU3bxtHk7BcuHWpefg/VeWe/6wqhk4E8ShXWO9wLzAvsfCZxqFN3j
g9gsNx7FZXqR/Q4oVS3ml0IoceowEa1MJH/MIDbFRjpJbCn2H0gtmoFwwPLoQRKizlT80UQ6qaaN
nEObIU9j6Hvh87S22em0whvV/ELoi86NBP6Iuw60xhCZe1gyQ5JcyHCjc+QjwiiXCUgv+WOVkO3X
ABz95pTid16Lp7T9a4i8QxQeacyGi9Wsdv9MYFwL0oa+PzupK5ot5gR1P+zWpg/XSA6bzgw7QQgn
VFe1yIZvJ2GhkdcYS3MGGqFCWrxjgMvMnVh0LypmkD6rJ7FJJ8t5p7PCzU/4ZQPye2dEq1K/+RY3
XdPFdpBn0n6aMpchjzsjWYJ9UXIvFq97UdvcCqUpPkpGwHuO+0yL39pBfTPn4pGWuYOWzsPtTFuP
MgXiyX5xpNGL9DUY+z7ItirIamiWZ+Z5yldjGt4qcI0lBPlcBD33EhgB+esHpum7zGy8Xqw9o6+A
w5VeMqXe4qQ922GwVH19HI34iPDGyeTTCM1XG72YGkcW6gCxKPouMkJUnP8Kzv9tTahGV97MAN8e
NnxxV69YA2ftnFL7tWOL9aq/EDYiZWEh/IiRyaM5P18hj1H8AgN8l+3AvDE7fMdshbO3ftVuAsbD
n5TtULHJviKbB1DKHtiBajxE6+jrLCOpCWtScV25jn1JS45qIkCUs5hO6Ccg5O1fK2bmxm6FlEHT
loCgqX/r+HNFL1NMPPc4bCFoegyceGQxNRidC5CavHM7xblAMW1IhCAgSazUwzhRPik4zGpuZBA/
gCRLQQOSb3jatniMxMk5i5XD1lIAKLo3d6+KG1Whnzac+3DfU8bxTSyQfArDsV8YNhlHPY58CVeB
gmz0kIokLUbMdHCh/mC18YB8QqPHagUu2Iv4MojkLFm/bBrTMOmKUc+2OHKRTsRdzE6xQSdh3AiZ
vCNUUaXTVmQ2OKuvbE6oXDa/n+ova14/OzbKkTE82Uhv8pvmkjh30yv5kgYmShELVh+WEKZvkXit
SIufZ1SvyXAjIpEIeLS6WXfDL31TctxGS3ZFh2JLE4iAf1uCNJhHYcT1O6Pv7383PH49oJ0W4YHx
uQjHRjHvg9Tt5AjAFb3YTC8mwV6aaf4nmn8r0zyzAonY7cukOKT1XyZlazM+RNF4zPsNQhRIY4Xu
Qegg+YtwTtZA/Vcu1i21qkPCXR8fZnEL+9JACfV7ZjqZn4Qsu4ntcCUoSlYY/Bb87pk5wPmhPPnH
1Py6wfTrmnrX1TEMX+U0ny0+mKUTmfH8swoRN0HNbw6NtmVj8t2ba8MUwto3eE9XxZsReccDJT/Q
rBX5qXw0b7hgz6qwnS1DOmdFEsjy0cAxoyQOscRurZGuucZ8fP1FvCcwbloQm51FpFC2hQYd18JQ
OtHXq2O88cCgplfcIGwz7aaW8t39z1xLD+GhHi+efabwM+tPOTpfjNo8t/sWgnk52XkcmAwpe570
nmRVs7gfLbTrdW/DPERV3XDmRUiq22RvJfbE4qzvuiPEXXbk+PDxC9RGz6jQ9LVI9KuqR8S7i3YN
v1DZdrc1Pgv/tkj3Ud4AuIqTX11SHau+92PzJbohOdYi6Ssb/EEk0DFPHRSZoL9hCgaGob5kpSfB
WEPCUQkcmDYsMtFtem//5KyfGnxCs2I5iKwdebfN/b4mPxSVnEk3RNSH4VtPDkS1taeBgXRXQFB5
YR/hOzSoPuQY5zC3OFJ0SQlwKNWgJxG2lpk7vcfErlXfSWPPohPBws0mR/tLhGDACUHyCaI0xMEr
mj3DoUgkHkT34t/CYrcF4OfNCtWDjbn4LU2tR14iq5vJ8FjEj9Qp8+nOtOS+mmy4MrIeYhw3cRDR
rw/9idyMUgF7DoYmELT0RKBiKCUw4/G0DZhQoLDDVNKqX7JRekRaqBVpSj9T4YkPg8GVQqTLn5QQ
MyAjw37lacdjGsNw48lUU5EpU2RPZjA00b6oF5b7RHa/5lroKQEUbcUZ/CFO3/qkpbaqzNy0zIEc
fWh2RWRiJt5J+5ZjT9mjYpPN7tTd28iTJB/Q+JdItue8QRSD6yum3rgFRofTjPFZPIvYv/bMplaZ
ZUJduVod7SdwrL1e8cXKZPbSidV7Fe/livuJ9bwA5rXnkoJvNsgKyvQCGCs3tR+Lho/gWDL3qrL6
4qb6TYjceRHmE/9ozeY84PlbsEDnpau3o1MjgYIMPWqnYVEPZCwf6pEDZlfrz0alro6tQHuXd/ZL
kIlmYyVPZZPTfUZ+aNuP+B3JxGAriZzbkZbd9K3BfilASJsteRegZAvGbzr0Tq5+oHZKFpNd2xxT
px/Kq1LMV9YgCMRVbBjytWXmV5T1NevI7SimQ7UVFz6SmsYeOkCGoRgxxmhhTWOgVeFAzfV4P/N5
ZjjCnVHWjgPy3dva2fqKumblb0g+klEN22i4MH+ZCADU9OkOCTid5fdFs54r6CMR4yiD/EulA5fL
3zbBlXJSo+Puinb8H8e6N/WYqKhkABfNxgi2Y0cNrPxhAYYLkA0SYumJOU6H/y1hMGH9jCqO4xbv
yXCMQoEhQVXmwWoTRTzY5bOurwbKQNoEp8sEn1q+3ZQzzEC+PZUY0MgI0iGE6yV3eSfvU5ZQTA5t
SUhvSf5OwzUDmwZiWJ9Tct4jOTuuCgBelvbaJ8wxCa4G4aHnbAETuw5+Gd8SuqWQWRzcB3gfiv/d
PPofCj5V689lG4VsBEOxFU+AcBxD+1uptVMVp6mErZnsZVuj+MSEbBQGNJYAaAa365Y3h4wR1DKV
XB3lYTQEHg/Lm1nvdcSbs3rbNERhXBkMnbgsmBNJVHmWWKEMpb62ONdJ/eVYYfEzj0f8+WGe9377
U8noV3VGeH9jnbpthpKLL5oqtf7p89KTOW9egZ8mLKdjwyYvz31WB1PktSUWasCA9jaYh5r6fYUE
9Ftlh/z6Fn7kU2oL+IymgjdZSMIskpDe2pAziu7WU2zvxCQ+xe3ZkoRLfMjvKMKzazcetRSmXvyp
lsWBmLbsKkzcPHi8fpua7qOKZ3hOKBHceTKVGomiJaxYY6Y4B9ylz1kk1Lv0tc1MfyolY7h/EeP2
DmlGAombfA0+Mcf+JlR+aKHDSFtPeGVDd6DUJ1ddaIyD6ktdoxDuWNgek9SpoTmYWL0wNQuKupcb
ibRiezyP2kPe61BqfEBRpimAY/L4BMTmH8FTJBWQONenNv+CoAEgokznA8HrB3MaXrBum/kyGAal
xoOGv7nFXYjEOBhIrvkkS9bIv2VEpCXM6Q1Yy4D0YuZ7EnhZ8XsDsaB6LbTCqYjDlfDwjx4lRlFs
12Gorm21vn6gVXNOYyjrA1rV1GnmlCzZ3fcsvLXnktJa0oCqyAdKYm6j7rAyp1Q42NF36ERtYHqv
+ye0sl0PC9LiQJPkDO8XAa7IlRR/otw2kaekWDql7mFxUTpb3J35s9S8DORvJSEc3dKWKX3Knprc
3vjQoIb5a83dHEd0qwzIZEBYbj+wl0TCgcA1UwOoW/nBosYSmdNuGdURNTt5SkKJbqX5vVgqUODs
IKNHqhS4/shvRrCLXY2b5FkDmel60kMhglsjJxgUxJXdCQUmWT4s2XcrZfKGpKjxoZCVSXOON+Zi
diFxX2r7EpME7Pg2XekEdB5hCiiHzUiQlk0wDXnwnWBjSWhjIfb5igiIi8X0RHvEigk/tGAw/CTN
LcOOge29dbseGeIGO9piNKm8xL0kEimfBcotCx3CBikJt4KQX4CrDcWbthk38I78QJoBsrSfXXVQ
fRY9QM2+P0ZSkKJnGhfA2FBVulMjgeDHroOaASVWkJ+VYgxNqw5nXrk4YbFU9Wigepjk4FBkdPZm
fzT5WhzDKt+tRXsoS/ZYDOWYYAEDGyPDZu2Xa15nF1qQEOtVPdvmj/LZkKNd8UPjNSX669UqCemF
7uisieNZV/TQaCBhLMNplvxx2zePEZszgsC5kY+NwWMzim+lntzLebhuvfMtddu1+gMT5krOIAwM
pHfr3iiQilX0ViRaaI1yNXlLoDHowD/LfcclP8QscNtbAUHpvzshiRC8tGdVUs4NAB7lM/pmOTrx
N0C9MzCMiI7SCI72EjiXbOZZ/sy4V7SLoqY3oc/utZW+jbSvLRhQZxXpCNf5EQ/IAl2ReJDcCMIN
296KZa+XQmImvBWPr7VDOIKj89WuAJObFVgQ3+Wa783tW+CHGnl9+UIe0VO3vmivFdt6+hHWmDfS
i6CZZU5paRex/x+ezmtJTqxtuldEBN6cVgEFRfk2aumEaEkjvDcbuPpv8cYf/0HHTExoJHUXbJNP
5krppvOStpJ9MRCRSlfMl7WjmhBcRidYS4GljDkzGsZ9tUOmmFa/jhlk8mOlrC3jLCbKGyCCpIPn
z405af5JdvVB6/27BIMMayhpLCp0WbKH03UafEl+xOwB02nQfnbfC6O+Kb5Yo+rFKzU//HLaiRTz
yrUjXt+tGGbdmng8OknQ8eB11EFCOm9nePYN0gAIOCfcCuM4NtwvOIhQeeE5poZ2frRBcigGjp3+
bSPE5nhAgCiHofh28AAPAYBiOJav7mYzo3ZGt/JK6Rw3Ceh1DnvNnff4DmRvXOoofeBdue9YqFJ5
bC6EzLGUX7NL+AdArnOH2nGv4PC3xYc0fpmpdUlKTpZr6ml6/pKq/NlYvADzerMSHO7C5kijEzY/
GRPXO6yI4zmdl3NFKzcpYsAqDonL5V4N6cNNm/qRctWQil9pOWMWGx/aJt2R4qz6lbbzs2+3h1PL
gQlzo2a7yOCMaz4PCpbUye/z78nBJjIlJEl0r+fnlMP+F4n/K5ZKeMBfUIfxEi1n26nOjULfwSnP
gCOnrozLWJFDk9Rwh2FDkBpmzH9XgC+norlLzkYYoroLr9GNe5nKd3tBw5j4u3vzxeLzXmY2Ejsw
FPRCih12KNpErEcnlyJlUe+wBnakCntC9uZZyWVeLsgU9c5WyLEJ8gYh+qJf8xdARTk7tKfg7Dti
ls9J9MpYGld4ERBULjxhdLsOmARndipUPOdPBiDZ4O7bsAEYBrMbfPRs+3G3YYfBHjhhMxtI5B3V
+WX4pJZlKinVaBvBHDk4vLEzYXInccJJhkSqdTRpVS1WwxfcmX53MMM1KGckZHYZA2ug3vlgBEcs
dtE1jp2QzTMpfUMHmVkKj2XG0z0m+LPV3PWjmh0xqp/a2Tj9ZlpGk6zd7CguP206fxpiFnANc+ov
g8ojO6ZrjgyWpgM06ogo0ZdSlxH6Adx8Qu1ACk7GoWe2dMSwzmSW4YNFIuMLQ3LZ/VqXzdPnOTRI
TVv1BwnlXRjxtnVwW5UDZ/sGA8Sjf5pdyvZztFoVN1D7ZwUrUW+PAqMMqKqtkj9UAkkDtEkiow3+
UvKVYVzB1JaOpf27IDQKVIuqO2YOfKgxp7mMI6ImXevNclkI9Ny6LPiXmsWItB4FLuvOPXcrqWMU
VeEInxwMSsB/01Btk3NWo7P0ElqguOAw6dTrknNyGOLb8CGsmBBEGTV9ExlOG+UMGFXPgV1gzXz9
SrSolSl8SXFcS1RzIYiXXXEq34aCKdybUV1XUp3lI2f4UupX5IWJ4dXKkCiPbBumPhhJp7xM/9Hb
Vw/PVM1eW3VtVQNLavaeLnHQkA0ENLlRvE0wuDsstJakdnszSdjlYExGEr5uHHYpXoNiZDc0LhIZ
L8YKoJuyHsLjMJ8ahvYIxP5WUf8Z30lWwbs/YUsuPpZtDmVqRpr6exqEW/RDYNzsv5m0wCn7HWN/
aCjyVJaXwW1S1Rj7kmWcvJwm16pM/ZNOkUTsZTGQLGrNSvAtYAMPmfhBwRvqkOEdFIzVZO4AKLqO
oZynNr1Q+N111wWMoD4H9KKp+nbXHPHABdEVUjAi2CRbFw6j4CE46Yqb8jYSy/NikiFLc0u/7Td9
vW39IeeeY3/0zo2gtIDSwZ80TknIE7bT/G/xQsU8IAJplM6AlYgxVs504RBlAPF5rF+CLNPoOdcK
smCOct4ipjoQCQoQDiUAvRSTmQH8xfwBQaf+jgsKO5mdK1qGccA3/9ho4LkcABXH/P5RrW9GHlaY
tbkOjCbBZ24LGl/2hLLp2tBYU/Qch7rFSmlcw2zPxASVFZhEdVeowKpkBhEKsKN2YXih+gpqJ+kr
2AjSkyYjoA1Y2PzC8IxTrF6knUFMDF9x8xT0nPQYxrP6h6PwZ1cZnx0DgM6kPUdnJvnULWzx3Iu6
4kMIijQRv2GL4TPZ/SbVqYsPR63FalyTym6d02Z2+DgCrf/rcImA2B0anw7BoooymTy7CYP6y4zh
HFWUE39zujmHsFYV5B2wzU7Dz/GAPVXfxQmOhHE6eaTu4VJnX0YjAgCaGTZgEHiA6PJeYgj4H7Ff
rWVdoUmz/1oZAy8j+Gs7pFDhac/5S3HGVxnfJLukC8gVLtf1sxj6c0PACYZB/jK3/OWcakF9hNpd
yyS7ZuvKhYexCKVqsKmjPtHD5m9KLHke/qpJz4rdnHPOHdn8tnSQOM1QrNV1WJebgbKpFde4yp4j
V8flZyYql5B/oKo7blsOKA6ev03GPbHUnpyzrLqZogP7qT3Nqu42cbdJQwVjeWZHsFBKbF/3ufio
42dVZ58J9dwsVqqDz/xYM3CaYWaZUVVJIZn5ITuAjRkZs6QezOALn9RFQV+AF1EThmBy/8G6uyFf
GnVgGjRDQ3taERCIh47ljZFC5WaqxqywfqjYQvLpqpcrR1eYNueC2JdB7AvUDa81sS90mVCA1N62
X1OVQFr/tGL6dUx+IJtvTSO2/jj6lhtQAPMlffWDL/PLEvk2XSYVlwtiKhd+x05vBaNHh5nhIr31
CXQ4dr1x1APcSIFB7wUnBoqvsfKRm3ihX9oqJLvDD2NIv5oKcj3mBGIv8S2Gj/ETFOpqXmHFkO42
ijbkZ0KZt2zcl7Z8zHX7kGifWewjhQ1gWabzT3JTAh9LBQJnYe3SnbA2zVBff8S5wvnutrcgMhAP
W1xn7cAEIdQxMeWu1j2EyZgnO3gSiVxyexVWrh2gFkgAfkz4mds/ZmXrJELi0WGZzmEDE9GqTyMn
WSZDpBaV6xjHx6TEPGDo10ztLxgVkeeBs620/6n8wDijQQlZ7Pa1rtIzrdpn7PxeB+5W1Jsrx+/u
3VSpfh+lAKtf0CfQcaElpLAzZVeCjPRSoAJxOCC8B3x2mf6SawRkY7omc/EO8+NxSTGLz5Y/M5Wu
KOcjr1CogilYeSTQ1qD4427RcDVI1E0403iqVlieVAgxJkWRtrkddD69MGLRXFbi/JMR1qEfEi9X
TpnWBwIa9gT734SGTRW0I5+kJgsQq8DLw4OojhWracdN1WQNLywcGAzndME3tYwkuufw51K55sql
oAH9z1P7Pmu4syFUVNBblM2OUDOZ/2FBJQGzFWpkQFTQnZP5tcJlJtKPg0pRzwOoUu6cIEcgk3x0
Iakbyuv4WESa3Co+93Z9GZPxBAwCrcghY7m6opeC2/aJAFoOP2CaaP/06Witldepbi3Dw00vecsV
/KxU/dcCsrL8Yf2DsQS8e2CulXPWDW1+Lh7VR5N4t7fM/a2sUrD2SDWZdNYHKdKb9Nq30lVP/xkQ
rgEusHiFBG5+b+100Wb9Uli80wbbtpFd94yWzbWx8Sd0+tYJHJNWFxA4sacb71QnOXdbRqOxi8vm
d524lXxcJRnSZZ14mMtbTJ5HBm3PrfCaadoFr73qJGcupamlY4SRAlnrgloMFAO/iQQXbK/TIMyg
LVrCMWf8rQmMT47HM3dIkN9wZq8pdPK9nSNnILZDe77hjsYMFpF9IveXIVefRkzrJzEm4k38wHbQ
PVHJqLDMkEFK8XIO4DOdL4I5OQeLqSLczcEcZihvDFWk3A4soVCGjjd4x571ZGSoUGBT/H+CplBX
ik75+GG7EjBO4hZnGI1+/R/537W0ie4yJh0v+79tfKUEJJCCTlw2oGfJG77skiRUc9J1sjxNBQA2
9vFIbNgJK0SCLH4XGektAZ/dMI8ag8iCyZGOBaN0dRuKBE4RQIeUNr12Z8eGSI5nKe1thEtu/+W/
duJggnVd2o+3211PaNGzk6eUzE9qwbueaQ7Pndm+NKBcjfZznZ3nPgVv2bNB725sTpJhX2RLkEqh
nfGhAWQj00FJwrHrepCLMQdzqqv1gJUxACV5onqWvOCBlqqKqtzuFZdYNPqVwFFy6mNuMZN2itci
KBToWueJlINEblDPMMUv6Q9GpD9S69wy+mg4GtoxDehs3fV0KlXaVkFZxFNyqij+XOII+s6yw1zx
Kq3r1dLFdZ366xI5JKRHQj59EXRcJwWyvQzvyEjv0vFU7QnIHjujZpNPZjImDopEPKxGzIAuTjjP
A7sbY8Qd/iMJ/MmiW7zbrRbW7vBMOiZcJM6JLanYSwv1RJdsoLV9ICn6qfqVU3tYW9YBly2KwMHX
zOqdi/s7b5FeRfKCG70YI5Bn0ahUUfXRTgVZKOM8M0pZMzT1o5xW1H8nr1ecl4fs+l8KuJCI8aXD
fE5T20H08d5WJUgqiodDyFs5jzTDKUcEOEK35Wt7/w1AT2eOUTI7Q2BBv1sgieTZIY9/xUN6NVpM
D2vz0Gb12ZunXvzIjGhT1IPgUiRNoaNJ4diXIcpSz3UFvk4/R9tWMWbd6PfFFuBAXwUXDERoLJZX
k8D6pj+3FXqkVUpUngRotEcN0EgWn4NGCdbvAaeuwefQaeKUEk5dxuRkCw75DUhBJ/M/p0OJ+AI1
Qc2pMfDG1vkfDRyWILEuDZ+mCBN2hbJHjT9p3J+s3Lk5b+tZEV00ul3MZELRQlXOz0rJ8JsRhDf9
U/4k+BbgtojkOjARdmgNWmkNQnLTcVlsLZAjnDILTpmJKVEyDVG7MesbYO9iWXQK3z7DNinEmQo3
yheFLG4F9lhye9Gk2xxciPTlc9SWe4MuXdDreC/dHXvY36YZnHbKhdXGTJreKL18iMx+lGn2XJLq
acTpM0E8s28OXeblEJR47PdaaspUevtcfEsDl9DOiEZTUDakhspXbPI9edaquVR5GJz6U8geC1+C
Of8eBZpg56SPPQy0X+EnsBsKfdQGF1YNFTApR3et/9MzJjQ105gU7dQ1QByZ8jUXuRePWTBNWYAi
m1dMeDl2V+2DuPVj690SF4rVzEc6f6ifcO5lDsKD1XXFpVIxDJ5TOahyGLWUDkBF/8fiEy+cVrko
Fzh9hfKzFv0lueX09tA019Yn6CP0DURUUuMcUCPBt4qRQqh40CW8ApymukbC2Ov10MWKV/GaNBhW
qxxJSh2BqzrTYDUzaRjli080ZnA3YDPFqEY4WWsBUIbpAYM5qSK103BGatTj7vwvIdzFWu2SqzrL
I5cSRlkzzGSU3g0lCD/EJjsfU9N+5FL9vlyus42zZWMt88xGvsklHGNo/zZKgzFN5wzm4fVKAra6
VTdaXSMExONWcsYA0RmfSjTpJBgU6+ZsJNQb65INfK99wjvbemKlsSZbzm2lRbWPppufY+GpKmeh
1+r18HZQ8ad8YQDFD8B2wnLZwklUoYbMUkNOyVbIfXsdy/bNCQsxZsyLwB4dMkw7Ep+CB2I0STg6
MxzV6mCNG9s5F69NR1bLompjQRphGEBwSINxBd3RJl9yQkS2rVEXzE+uFS7qNzuzCFTi5y2RwQR6
KRhVux4u2nDLSem4KQFPu8q8aubyvEPc/huO7SL5OoLU+pRbOr0kM2qhP5qC5UQoh44Tk+DEVFgc
G9C5dQr72P3SNj+uSh6ChwcieGFGApkCdA0tOzbvb0vLzsaT2DOBU2caBLhTLIzgrAMuvhrVtuGk
UgG2l7pbHxMqWcqrVnMhQZDvJf6UoyX/sDXTlTNM9+xW6ygR1lMDW0yhRnON2X2btuSRAFO0oHKy
/UqHniOHSqREwrbelB9aQIVjQE1GWGfIV+KnLn81cCE1wWklYT/acy1MsouWeMUoe9jCTV41U8xR
xkMjtntdLVEByx5rK6cBacpOfDsjAnQz7CuBipNo+f8DnyTobfXAhfvYtxmtN2NAWO4EVXIvhdYu
VaAfbSn2l2L07e2dSuqi285p8kmxqejCsVLDBfynrrWIe8t5aQ584NAlDj3Pf/NtYtlhWKpyEyvf
e0VzJe0zl3kbHByJzPoWco4ox9HqoVe+26jGSO6P6Vbl5t3xhyk99fM+oSNjgQDY+k7UGzENTJVf
l3f8aQAZcuopoO8xlrHC7NABL5yDFp4VY3JYlNT4XmZyIqCGLUoHDEl+72fjPVXEuwNefzO8DZcQ
BParJt+SpnyO7xlH0HpVPSZd3kAXWqPZroRkrRoUi6YySYqL3jAwrguvx8oyYApNVMdbFcoItMk3
RrLGPHu/umN31JnHF+SPjXvcr+clZ9ywxffth9zgA/hAQdv64atqjp2EaBv3R/GLVcQ2bsMAKkLc
9k9Aqe0LpHvakYeBig+blDS+b8iqtZ/hUVHG4tIZ/RVt7Gb9kLL+Jar2LC381s5JTUDl2PZLZfKs
E+PvkHUEsk7KPtWT/pjxQ7NAkyCjduWPKVNwezccmulo9zPa1HfM0idt5xfy6i8VRTGQJtdjdtNz
+U0WBaI/RqqtfKdC4i1/2Ke62Z4Og97JiOZ2fsjNetd8NKfHIFX3xDGvBkV1Chw6vwiadg51idW8
Mk9lbQSQRbSSAQX3xKvidiM06fmyR9/pz6WRWXcjZblpoj1oMwkTILglrpERECEVQ1Hvdg56Ig28
6sLhZ4eb42Qd6NHRsQhXZiTPeJd+YP1OqYveytARh36171m83iULAHe+3KzQClWs4zEGKNgHr3l0
DSS/gRjDSK2Btgd+DNNvC3+aHPqPHC46Nn8ys1wjuYND8VJRv4pPDUOtD3Ssjkrovj6/H/FOEigp
CNQqJ6B1gD2zLdfN/5qSja6TDfPwwAc5nSsHKoNyJQLu5zqiFHXX+AkkFmqD27r9D4ONOkfLXBA5
EGdV4Qkkk/gOSeZ/pr6ls3xTbn2aF8DoVIRQTT+muxNHyEH+KJm3qVyMGgMUevc/PzhHJf+LijZa
v6ceVzndKvp0Kga8ABL1G0TcZq6wBvdcagwuMjdUqzZCDKYmF1Qr/zCYuA6KHZmDEQ0ccGxW3IZd
wTbDcmNKmlHMx1ZiodiXE6oGIF/F0X2LbDJtvyjgi1MTZO988lzR8NTZQ9tKJi1d3SXyOI4MvjNP
2bCVG/Ua9Dlr1w3Rkfwow+asUx4mz1VdQCpRmssgykjk/0r8JdPU3Po7m/AO+yw6X5XpWkWh6Ifi
1IMMLFYS/8XdSdVTeccMYJIyHOXrSL8oOJZT0TrXlLWBXDP1t7ppnJKaqTRhpSRmEY5Nl2F4x0XB
5mmsRg73oaYI3DOR1VI1RAFCz5nTMTQvOWFg/pv/KI50rO3F3hiPUqhR1LgqlPAcjF+jPJwLOgVn
VLTeeXTk4RdTQif/bmOD/ZJozlXR+sNAb7q2ZGdlyEITGpzJDtw9cfayByfD8OyL5K1023sL07Tl
2xS0nFkOtMz1r4P6+QVqE9Cl+SNbph+tLgNGWz9Q0EUPrdIMFSQ1p/upuES+gl+q11PS0v+d2vxe
BKpnzbm7hPVPzditwCgsCMCzo1yYh64qY0Mu3RWX7txMuVtSLq0gRxb4sg56zRUBeRJqSkuk/sgx
uPRqVxgJ5StMneDNJ22MxxNTO+UMehmqwxSCAWtBjKjmfLbuZkcDr00wRGpuC8Kd8KR72lNcDYDk
Qp/mtF0dVD91zdguhmur5dfitdCq9IsLvfY+XlJbuxsTnbmddNMwK5Q4Qsbu5+bYl8WimW7E/Oj1
jPeYtveK78S5v3CugyYRU9yl8tdE4+HgOgeFN2H+3wQJ74yPJQVTiQCYeUNvUEkc+zop9yTLaY4o
ThqJYkSJk0WqGPYTCntxHOd/Emfx6rQkK7NJ7VHHmC8Qq4pVvfVCXCvAQb2ZefxS4Rcejt2e+qUE
4Tgm07GMfunW1O9W7XyeU8nl8o4Zrz04HYdV8vCErLPmYuJ6WkiJAUQDLmBhILFF/LKX9R1XxocD
FFjFAS3P3zJV5/O+oNOdOuzdqWR08vemJQ08Zz8mBVlfDUZauLS/MmgcFUGApFAC0AoCglcoE6E1
x6sAMKT2Vd5Zcx1LFQVaNdw88Hh02jREZGBTrNJVS+zDpv2J+1f8ob3tLDHwOdgitT8KZRelmrvt
YJ+w952s6apBo102/vNeYtYQ3MwUlz0botaYyZjbsX1Kc+TIbiZzMaHvGxwEIgWYAv7taeiILH13
cOK9VBO4jsOs2QTXSa0NAiEwH7bRjkUBHl1Ng8FMvHn5A8nutNfcIZQHe83d4ucTbxI8gqRdDzKb
jMOQdtgaRsB7cx2R19HT0V9qzliDmsPATOnZ9QVV0caf1pk/kZHntblTwFQL/ZU+mO2rK2shkvPG
whov7lT+kDB2DbuNqDNOwma6eFQ6NpSCCwbYlD53VwD0XUReypHkl64oD+A+oLsxqfMIVZ4T4JDN
NkJFblb+Z9XvAu8DFGJ3qG8lPt3GqXwSs5lmP+YvICHP5hAZuhll8XbR1YbGRvua4XNrgURrXzJz
k+lvT/tSuZ9VI6iIBTtv2abstC3crk/QKyTosnW332CKHk8CkJBfgN6EBUkNALsr4K6G5t18lin0
TnEMh47eI43SVrjS152qHEynmHebDW9iw2vs9kxYtEFkN3HOVelKPw3FuY58mHiC15yrQQd7jeI4
QUF4NpzdY9dKfk4xbMJrJWV/atK0xgNIhCBMKuQKVYFDMmHSIVB+ZvMaThSJya4Vzw9D6h8bGR9q
wSDQkda90D/I6ZowVX7c5iyMC5rRuulojEcpH062/C6lb2a/PoQSPzHlVnvWOnk13faKq69MXi6Z
m3IHqa7ZXcI2R6rdPW5ErW2V149QbL76jU2PSEgWS1IeTdE9SEnmHyQ7e1ZZ8dRyd9Lv+TWYdg2q
bE+Sk9HDAeqflGNBslMn5aj1jlf8FjzpSoUJk6SeZjmgv2G7KnvkYD3npRyt5HkFYG0M6GNY8Ply
HofX3AcOoxQJTgYyYJjdUBXooqeAkMOfSg2ERIs9rgY4RBD9+MrtIFY4GuM83H0CAuehhGZnFFDz
N/U4Z/haTSnK6IpIk6te4d7CJ2kh/atz7DqWOBpI/3KqXS1tYTDfsDIdbLaKmdsHTwqn8khFLjBp
rnE2LbqSSuQ3KFMk6TFYAPIluAp05g/5OLkG43mNDHlOnEllBFk28Umc8Y7kAuaxdjdJ0siSeBKH
oVODE2Tn0C+i/lTPJn4wOjK09b2/cDVpZVKfsEWrLiHd0tMj01yS4dDitjBhjnMYYIjl4KH4JT4F
Urn4JK6inroVlGGanJgn068Jqs50N1cz0ou+DJFoN1KqRmjncWCNaTDQaEbdkzaT+YdlTmRt8ump
XukHMYj9xEakgIc23B221rDv4QZepAqWFH0HOFQtXGk5oCzQEtPduWSMeIe7+7fue3zT5JNZjrP5
M1b4O+ODrb2/Q2CnPpod3DiqnkMh5WE3iIBMySOx96BUBk1GuVq7e9aJWH2upZ7cHWt6UHb7Qak6
jVExpUwVTMWM1I/CighYhencntGhJIZDIN6PmPEHisr+j/1trvHd6fLKWw2+mTBaif9SVtvr7FiP
PhseY6rjTgemBNcHFrqnjK7YKmxEhCloEqjlBsQzrrvxP/J2h575Udlgg4gyjKsyWIEerECjkLCM
/9pMeHLpDzisM9ou83kXgGjs94jROPZPXc2MjK4WChRSltrWXK/jMt7fJnqbSF162seYo/yzc5Xg
ebBIUYDFu+L1bOWCrbw9Yjpqt9vs9Lf8CeAOVnt2DVSOhPZ6WXZwDanA9oNyDhBOUq1EUoxjU52i
+DWOxbXTrIu+/VZrKrplK9JFFdkViW8F26Ie9iILKaoVU+E2HhfchLIDtq+KKiD1yst7bQnsWqqJ
5Y2eHOseX2Uiry05kz1HYT+5oY7rsSSv0F6WfqXpPLttmn4lqnm1OUOlGFLNsFCuMnk0HCAuqWB3
qzHfqqQBAWw1Cd21/naBX3eWpeQ8hxgIGEF3h/vvViFBKPRA3BhPYz8TNHyvMjVqzEHuy9t+5dSS
X2NDS4+RMwKvWEDJ6kKPkeRP3iHPSDl7bmFKfULcaV5KPB6oTSUqvo/rtBdryE4oO+CGMFtvuHw5
Vc5L/rKN9tWo5StfpKfvOthayc7380EaraeCUdiulIeEjYtbeXdLAlvuAgoGTmD/7DXoH8o2nHDi
EnRRGTcSWsrfzYk+i0hg7Hd2SQQfRRfhH43NXwSR7qR679VW363cbRYldB4o8mcTErxM9FIhj5wa
gPGrLdjRupuGeQKHTQgBPwOjAJKeQ/vFXDkh0YG2Te9mUYIEVlA5qbYk5qu96b+4m3YeyWWQUlMw
DvarkNT3RVSfs+u8oZjdk1thltFCDUwJBmaQIyM2I0hfPG7yMQV9oRT6EzgRiKCVBsnh1LGNGTAR
0GFnyzN6kim48zNEbYqo/ez3BMljuPRJExHZ7jCkcLtw8+NYp5dlualcUcGcnUv2erPTLu78RRbr
QmCkqIZo07pbSQbuS5wrHCJLtYXguPpOugNkfex+Z2fD2NBceTGqb+lNq0jd2fMZwgs2KGO/sy6l
x9iL8s7eeepaQikm4bzm0HxbBvnFz+Q12AxRG/nNIFDloMhJjGbpLIxKrNetMV12x/ZnPmCwUYEE
xhhe7OLZ1+CcFDPio/uPk5v6y0C0Rv3QkUWK+JQXdiBR4abce/b/nWLUGjiHOONkn1AG4gK2fk6I
hXdo4giyV6Mnt8WvR+O2qRfVIhe3ep/irDhNMI9GQM9zS6caKXC4nMe/FqfXhmNuB4LWJF+z7l3e
Ewl6/q9YsTy3vHzu9eC8VNjeyCxzblMwKU+a/ujW9lWx2VYMkAeRcITBUziqF+hPhKsBvuOtMGs4
57Qv5hReGW/LQ5RdMHH0kJA3G+/TRTBNfFRhm+OHRskCqyyOf1KC80rILwmdASM7MZRDshp3Qpiq
zMY2ngUSN1XAqDFMd7mY14wdvvhw9l7KydCohRa3Zokv5r+EC7QGxjgZqdc1wxHZkrh8slx+g8BB
rFD+MMaJ2QVmmshjMXKDpM5UI0eI/T+jbxAeJePjyi3Ep/H4B+H2Y0ukyNyT97ZCQ1sCWkuDQLZR
c0FIZIMZw/Hvopk254osaKu7O5zVHiiWwpguHgJ9TIBLCaZ8l5XJ5zjJqNUFgwPH1D9A7+DqP07W
kd5aT5aPs4zFTPX3vfMlbdObur4adlU4XgWN2WZ2Ehi7pgknra/yLbNkqOwswiROcep9mdQVrMXY
Y7PFnQeJZsZlzH7XdstpQvQwcJg7nG2c+udX8WnK66mE2UUXFbCDMrBpWS3NnnFc7ubGX7XCGmXS
OEuDRyN7dUZx0zEuanp2gVxPERK91EbCUaN80aOe4VUBDM9uRUTGXU9ugEeZGaUuifXj0NQXR1+i
tNHPs2Zj2cKOd80HQvhQPkfzo+YE3onO0yC3pGFkKYzBwT0aoLVHiGOEE/0K52FXYisnQ0zs4DSz
iYxUZETZd5+2AZFJ+3idvHLOkbHFbVwM9BSJXDnHIrBf5LBVClwyU+OZGW4gM530JkitbESXRJlc
clWEIwOavMPYPeIWnPy9PYpQ0yysU4uCZ+XAHehYUiSoOnof8WosfVjVWmjIXCe4tVoFQ5H2eynx
XvQjNTElfXFxxHnIl2nZVluWPEv3p3ryC1IZa4LDpToKgmJGfZDZ5gt1PtsZcr+vw50zT2mCB2e5
Wh3LSI/ZVwJ+tXg0hnu7ZXwyZ/o0DHpomYMa2l8T6ptE2ULJmpq0HBhw2mhftNSZXLVoyLHprQWJ
QQVrjkkFX3RmpCczXanhs47apEe1MpGoYVLlUOBDRtE+OZDLzBdP/4aYrfLbPSSy3UiJ8d8CBjwe
Bbj1TjRtM3wTPOjczDrvc/6fdJkrBCHBqjQwtjYuoRWMLUlrmZetgLOY8upwEtp3wsqIse0hHQ0O
Qj6tIgAjqNQCj2OUmBj266LqIxr5Pa6Fje9v8VPurSuDjQ4zc1v2jzLbHiVGZuy77qh+Tl5NV5vh
6crPoQSzuML53G46Y4StWKLBWKN2kiOHOQLXeaXDSZler786Z40IbKz9y1n7oAVXeejst45qcLHR
zuXcqXI5z1JC5cASaWUc2U+L6f8Xx9okI3Ks9p5j454hjs0P32CwyMt80vjaGCkiVJSMVjLtbBQM
pyrMcwSYa9KtDpOPwchPOpOPvaRJPtjWV/7A6L7BoTqldOmIzz50yKisJ9mGIkWyYrUROajqztX1
otVTpH8rHagNIBg7rq+eMLslXGB6d4LLXnf0bOOgBP3MpZWWoiQd0Bh/5DOlYWr1yU/mEyvnZ/2e
PjQQ4fsMyGf6Nn3tN36nPc95+hZvmHDQJOu/G+YBxG38SXpglwsCBEPyCiGJ8GfScm3OsGd8ODQC
yNYJU9LFsue7YagPa+qu9nChK4Oz31ozrdH+0Q95TXqQSQwRczsJ1g1uCJVsDtptHspsnrM0Pb7K
SzeZLmjVmA1IVZ3Acr6VBr8RN/cEGP6udqjP5c4VzmDc5yRU8mwnCUaRbphBdXBHNhudzWb2XbX5
tBOBsQG2U0Etm4ZNE6+Nn9xMW39ITkVKbnu2+n92AXCKlINKOTQ+5KcGMj22AQWFCtqRJvWB0aCd
CeXUkrlaqPQxqMWVNMulHwOTQ7SZuofs4Vl9zl2WKyRDPYNeI6O3IDeUgf++Fm5qjshj5lOdlJc2
N28sHsX62JgcskdqB2tG4NO751LrdMWicFjule8GW9jiNw29ah53k+5PdiM6kveP7GaesIFcsly+
xE9/xC5pY0+tF8PVpeY5LpHR9Z8riM0YjujQWx+rXnzYevneEf8f30nobPZZXbDl4uEo11DFnVL/
TC3G5tPo0sDi6io0LvM7ITKSOzor6JmKijCrzi2utmLOLz0qqeLqx81lT5xt7p8VlIwlMOfLjmwV
M7C9cT2ZFE85dN8kFsynjFXfiUxeCx28yZoEk/JFS9Q1H6tbVm23Dv4qb3g9smPTWtKaOCHc/2Pp
PJbcxrYl+kWIgDdTwhAAPVlOmiCkkgTvPb7+LvR7g4ruSRuxQJyzd2auVGGnCc+YEJLoTytj4ciR
i9+xM92uI4uuMtTL87Eh+ynYCYfogOCp8KChtW7aI9JZd4kgsLbq2qT9Wc4PrSp6ag3NZwZxIRKT
tDGVWjCdAIUdtBOMQCwPxqkB+9JTiTYWkDMnzFMHGLoK3NsxPhtL5lQKHte3Yrk2CZwRt/rq2V4p
bp4Ul3RUrkue3TUC4jX8TLqMCDkQpM8G6n3LyxgDLbC/ouiOBM8dy0lZEavHlOqc5lwe0KfM/kFx
Q2egtWv5UV5q9nYUlELDQMI4EpoAgYy/DAC6KahUD1Kuyv2fnj2qu+BBiRyzo9snPI3gS2hMH2SE
kV9GfXJ/rLgde+jMFhwg3j5VbgCM60J5JGmYHFX087JOg405Je4oZp8QpQj1JNCYspNaYDSZF7QC
iTymdNrm7Qynrhulk5VnYQyWdjGv8Jmr5TaCOmRJ6kakvih0SVF1I/EW3yqWUiA2qNeyM/ZSLdhv
INqPgoC1/JAwvIyQbqcgE4FuFNvpvdNQKqeTrtBZTNeJrC4uHz056spbFELeD8uoAx2VYcpeFCLi
bdrOK+ShrsBkt5Q37ZiJ1EUqT6v8s3B4LRzA6tSeYnU45WeeEBClUSfccrqfa5NV/KHhyCGHfk+y
BQGQkgkwVQ6WuFD9ihPhPmbKXe96p8KFIEf4cnlXT5LuSJFGyWt70ar2HNsaSd0GV76zQk9EA51p
F3S5D9F+uUOk+CWykx/KkiqIW7sm8AT34FUdqOoaLDU2zz4cEFylRcUIa4V6aYWLGoW7JyKTqfwk
6J3cGqt4/tK9IQG5L26Blka+Tl8vOCWDSXimfCpjdSBuSQDLohPvelQ+kwM1aJ3TJC+T5CeXsrJ9
aBMHXQbodC/DqbdnPSjPIV2ecoZvixTimMkPy9lW6UMf4IYl1DBK8yvWl8d2Z9BVUpzrdTD96CsS
fuyq+8YWmQCKjS3TK/0sYDz12YYY6ZFdzg/OUl9SyjDkNfc+NFbT0jHeh5LtwiodvgLB+TQNtZpH
0rBCi0mYRZ+O6FX/lXDYqPjjCzRek6/CDocR+Do0M+ZtHnQqcL1ylnzCfX5FPrSDe8Jh0dHJYsj7
oH1XbevQjfMtVggElDLIAGQpZ34qzddAe1CdElWxjXk8VlLsSylKv8xeLMUmWCqUXNq52PspAXUq
Usv5LkXNqeGkF2GQQFGwS61425zlLBOsBCdsyJUtMassRraDe9yKTE+rgYVQDed3QpLizlFui2bt
WuBl6LWCJLCuTjQzL9PkF7crVgfdM0yIpVzPT/unljB/aVyfVQJncBLJ8Di6mN5kq7+vEUTMD2ll
vT/jPhMUf+S6QCTMSf/1bLxJkeH5QStNKixGpDESyCd8tkHz/8nUqJX8BkEY91GG5bctiFqlVL1h
+bX4WYiKTzIiiV5RCTzZjbDLIBoH8Orr8EEoREsdaQNWQsRuYQpH+3Jb0GyFLDh0hvViajcwAeBt
ERvgF5qmPvOdr5lrEFVlmCz80bIftXUeIkafzTqlroCnru8oFVv2AHdMgzxy5zo5INYOzI3X+rh9
brRjJGDMhexh5dIhKYVDgvpisn+reBHmKFKDoTl0OTlU/7qT8Ss3pDA7f6ClSLeRF215XWvrNpnr
o4vyl/7IqCyF+TolxSuLopeV9SxgCcrU8svMpcc23dRuPGvN2drqYLTmC7kBo7sKXELnwbxW6nwo
ZlYh7/OnARVntH6AUWcHhLMkN4NGLtHAurBAPc/RsX+y/D/OGTk/YiOarN30LPHleDyssnFDgrwp
9GzBP7iuDupXTOCe0pnVeOQIVqaAdnEy8N21u4wMn11i18zH33deFVF1MqMaP8wYjvIIIxgdl+f5
Bfl392bWApuaxo+V2d/IQSS97nNMWfj/CCv5lLuOZ3LB51ltzyXgJQeDldUBleophCj8WiTANH9Q
7vLWRcUrl4oHQ6tfA26soKyqGxzaxteGBiCKwgcNA7SB8ClOIU0zyaB6FFS8tptGr/fgSQKliBdH
AI299xfBozgpoLHNnjUgEKkV7q4C3ksnXsHUlFWXhKFPN2uAAGieMGFHbC3FwsYzRWap5JN3qczO
FfiwpGG6C2zvkT8BmQC6C+d6DfJlCcSLSoaNB9NOh9YVMWaV1UD1EJtzsCapJIJovfRV4/QioNQB
k60zgCEp2uVraaFqyRgt8v4HVHyLAGq18rLC08SSQz3iP8yukypdBTm/DZgBOUTfSr2+FMVyYoGM
tkai2vw0QZxnavo5meVH82aqcdAJMuZfshysUlbOcIlrLam/lYxShrYrHLqS9uAlP5b9epQOotr7
dcE/ZqxBJjOmboUTxfC3qYFs1DQcD6TdoAPGA2AFipAAMCrYK8aKDGSlX2TIFxMrp903ATWf+o0s
otHDyD+FWPiUN+GQXgGOhxZm1nQve8US2Jg6SewYKkMFlQErcdj1hHu4Oyx7qyO6VytKfkpSRGWh
oDIpoTDyXJo8l3PCJTn/QQYdR9d2NITCp6MPNmP8IFCnRf2rSqw3r6KiRbIzTsU33gnF9BS78pV1
PC86nT3z3/rY4eZKHC67Myy9hLkAfOWbHuvn9O8T/NiHbkpvYP4OKf3lFkcVaQOtDDDl+RXtZKrF
wgi4nwIcoKCXTJizUOG5Kw5nFRxQgiWz2OGrEKMnhkurvnfxziBDPFWoNgOjRKFtfVT4KdBQN35S
dNQGHVWDbw+I1mOdaOuIpD3M4f55hQT8yAx2hprm18Q5h4kNeDedWXLi+g+ViSyU06ntUemEo6nP
voovbLJI6P6uRKbOli32cI2sEjyWcjRmNg1I/HJdevsTu4JXNEPl55L2F3ODquxEGQF5WxTL99k7
awlOAuIOC/bJ1duR8JBDRGSRdn3T+53agpFhyf0Nw1FJaR78zii+VlQKKmArm6a8GuWAc9zojYsM
s3wy/hgyxQ0UClBcQJlDvEpu2deuGkvuTNl1hPe097SZLl7qADYnGwmIwWYRi7tQ8paoU9jtHHZM
s3XqZV+J1YaZeWF0uhtC+eR1/Vrl7F0dso+8MOyJZsCYurIdhJupxjGGyoL8N6Eo6Byh2CqMb4Ny
P4hG7mJ2T1YcOMuwjTDag8ixfBiY2IFM38QwmWyJkz7ZiS0KZMsdBiUfJWPzkQY8I3bE7rclfcxI
SHMMlrkFXpL/XNTYjuL81gryjWJdIsldsECn4a19n7Fl1S09cfUTfLYfe/MJ3czPRiqdxEP2bgWP
OtY+15oy20N2xMBCcUF7FqI/uvAld9tJyOL7I/7dJrwiTXuXRWtk0fWhOW2RIQrARIx+QiI/6XgW
xFFzdZPfOiuz2XZMKjvN6n4CrT7zolHl+2BCJeivgpC/4F8Mlme1qLEw6iTuUHTB/IeZAMB6FJEo
kzurcBIviKUWwj7uEw97nU6ULFn+T9gXEPYXKGwriK7VjDDhIt3Te9owFix0bUqgpCLuNAJ3Gstb
I+tMV/A1nfu7tn7sE1+qti/TWN56sX8XRrAlunXW1tnGyupXZnmqSb+KtFLVq/6Ruiw8b3Gx7IY2
jG0HzC8XKLNw9bbwmThFJB2LDhhUJWLUvfRDS5kKIFzhjOP1LCcS2W5CvkF8qQowvgBnRQLM3IIP
MrzhGmsSvZd/vzWQk0WlM6hQG6Y6JstJdWrcVkEh0p0VoO68gBIhQdVtWK69eN/BEWLOfgkX7aEf
kl9Z1txTM7qn/3n8/Zhgy9QRr8gvGPXOdBGdZZESv8uoV5c53c7daZWoiFCuRsSX5YLor+JMVquj
ZSugc8kgmn91Yj2qu2rtMV9gGzny+4bveT6ul56qEylZLjncMeKNDb76+Jmt5rsmE3HIFebv+rMS
p0+9HD5NALNtRkIGKmT20aXJO4UCpbFTVsrnqE13qKQ8Hcp5ynp8syKM8yncjrx3aLLocreBdgTt
yp3sgY1swgALwWHipRUlwcElEGgKb6Whn1pa7coGW95GaK4GvqWwNBtZGlXexhUg1zesh4s/FVnA
FS49TzEjljY9LLu0I5nqHlJLMcCk6Wbly6VPKdBc/1WghPKnqYLyoyzBgMU16ItrZbxyWAvO2Jrg
SFjEZOKU5aCNFaskvT/0uwVLoPKFFgy/o+Uy4irTx3GQ1XmQeTlhDGuM/YEfMROOpK5AQ9kCdoUI
8zcdwu3GhZ/LPYn5Mj6t8cQ4HAWUblwt8mbDTc+H21/qsAxY6qrSMlXHpzqZwq5NQjh1I55xHZNj
jfF5oW/nV1yJtBCsx6Rq/a3CzvA+hbqOh5KQXUcEoCgOuKzAkuENKcqXPJssH516+zKzj9ouEg5c
FUCwSaHJcJJi/b7E8p12Ot1gS8g6l8Xm2J2MITulwGdbgXYt3QwmcW8yaz1D9jPJlWiKWdGaY3jK
GXGWeLrxEF1VSLMp66XNcmLhaYGh1faDn/+1jcUeqcPZII8HA4K4Ddml6E/RCDZI4sOyPudpddPj
IPR053EXi+/8gdX0+GQiOKw/Dlq6M1m4Jk/Q5XhYGfzKfRpFA7lb7au2pEttaucj6lTAQ254IgEj
NSDKEv2dqSIA2puvX21/g9pDUMI9PGeosfzbUhCxGpA8vQyiouTy6srT7Eg1hM5UJUxoCxOV2CvD
NuiWLCPeR+fwsaCtWwUwsX79VfZAFnX1UHcphiGS22BV4ljtuRbz7ezLi5evb9kovfoLE59L21CD
e71ZjWCT4P4lfzu+agNXY4ncvjLN1PgN/ljxPc07P0+J7pKmSnn3NhzHc3QwnuwD5AK+8pYfarwb
0mpcGF3E0TN0mtOa6JrH6a3mX2amziKgiOacuwMeR/UtzsHfkhGDvYtIPV7XmOQrtphYeKOuUyXG
DkPpkbfvK6XGE+RBIo5uy94BZ8CcpadJ3U5iJdDdlQH285ripifRM9vUt2UCrE3FBHsOS1kPrfCC
3wPEA7gUrUcjXRqfcqYCZ6NAC+BIkdGWvltd1dkt6ZPn+0aCoRVNpm/6ek3zNlLdwN31uebpy0wH
vCaFs67NLdOzr3XMfqzd8GPLkh+aNHxts+mnmE/SuvnA5JKTc79rHlUscvcn+rcgpKwQPtSPssTO
antcpjmjMIoa/vzkqxkA1g2NQuHNo595utjapi5FtovMown0n5ReZ4VC0p5WUcUUlWKdbM9FNZ6N
dTnzsRWW6qf5laPdVWXRF5aZsZUAHZ4Zxhl+wcd4pXLBcAlplTLLaEosiF57CYS5GQjEaoqe1huO
yjp6sg6DA3uaNR20IvjAbOOXr66j6rYjg4HFxKgWH0MQHkBfFHR6uk3fqm9GBWg+MXwgM/4GyUpf
AW1R6yJ50iy/6lV+Ukf2YN64W9yTxlygmC51jHY8WQuaM7n1lrcsfzcPgHFAjcgxy5EKCK1+64hQ
Kal+z7xt2j4m622d4nv0o77wC3BmwQyeCzV73bEpGVfpAxPxm/AuDgo5vUSrfLZQQM2g56FV0EAt
NNBVJcPOtTm3o0G+DtQ6tS0p7ny89tp4n+z0vF+cZxEQC1WWsnSV4x3JzqbjYGYmXfINJXcL2roZ
1lkC3x46B7lu1mopkJXFlWCZ6nnD+6l6iOQMBjG5QwK6SWJx1fmsxXO9RacBFHWPQRzGHKuj1lF+
FjSNNtng9DWNU4g2BjGq3lnofa4CkbI66s0CyTdzqsFukMQZzXW2y7rOCD3rV1iXFGwUB+D0tt5N
V6auq1KKlxQyqME+e0a5SWkOU46HJ122eQMtJflrkZ9UyU/qmGZE5gyWgGcJEU1TfbH6NXMd0Qvq
HqwC7cfCwg89TEHpJ3DCPiwv1VDUwe9YNgFle05E4kMGbjvMYKmjQjbFYFbWMmm6psge05bdpaQg
QbZcNMIc2tk0pxPibMhuOgS0w3bqtIB56YpbE2eUuiTXghweDN1B94k+/jXMwjeEwac5zpe4PXPY
KPhP2CdO5JWBNF1onbkIeuz1M1Zl3AWZ+BsLDVXGxCjDFcE8SsNZ78+sqwaEr5g4Mz6OjB1NWtN3
Cjq87snMQ0oZGieGsZ5lpBNq1tUQMxOMlfy063TMmvHYkUuJWydyFB493j9wW6ima1VwqjKLBEKo
kSM03SEXJyg/pU/8nJcnmwv62FV65QYMSlkO89ZyRdbbZUaMSufSxlYnH99igXOGoztvc26wvsjp
zUNK46RsRUdaVIjiCkd1mHxv/bvSrLClC8bY7UaXtGUy68qfy1p91cQSecFSH5K8hGzAij8celw8
5KpYRVj8K4mGUXFy8AzMmdMqwZub6UD5UMrcNh3rOtMIuuoxweYMwhmJJic9drhuDHn2ksQ6pMtX
hoHCsCv0i92MyqaPyqwFRhjP4iuVhMsiDLclf3V5f2q7IJ4R0lkE01GX3ic/CvTtyzA97La+Xun+
E7uEICfHBE92Jii8qP8RwqaBD1d/JcunFO780lShtvSBibij1PiFqmAINXN0FvwyuTnfiNROQGHb
JL939IRCNwyRuh59+779Zm2mp9e22q6SX07UmISHrCWqrV8O+c9eXC9NpFyyV/YqkvIhs33bkTYc
hxPhYu5KlD4q6ED0XHPH5P/P7Nlb0M+6LRXIWHoh6Nx4Vp9SeRhW4Fnx4a+uY3PIiT/gFia3XauJ
tz1z/kyLS/fcUyoLz8wMynv4zQCH0YlzsdYjCp510AuZErjCjl3hZgrRUgxdhPi93vm0lPraKtst
DTh8L0BzzV+WYasH6VFG4Uhdr5Fojy0ktifnD6HRnwIP1VZxLZyovAiyD62avRJ8ODg4CTmsKa4Z
6GEdB0LcWtdl0Y+N8VXoZHa0a4VZRQHXO181DAjJ2l/mREYRYKM3pmGs4FIip4fkJsipX3OmjNys
Zz8kJW8VAXdY1iWhEgshpRwIegKvnu5iDNPFkIZbZxD7WbDmEpYYLrXX8s2MjM2tdocVUP9XS0yA
tPEk2BrLPac7KiPrn5lGGvHbNOIzr/7z6q9vG9uknG0SiUe3xsQD/yWnkShfBW+pSFFJVF95u1QO
BxBOeI/jTlqxrbPUUPlM2KRWZOZruEn4uUA0jOu0B8g9VZFdiaobWaWkDM32Z6mxoio17ylm3+VY
swvB4zPo14Gi0uE2i/J1v30K0mOIGtIw3yhW5XGgTKGHegQds/IN03RKrNBUAx+onjoMFbqztTy0
/KKmlDPiac2LLzBwtqmMJyirEMqoYmhOAm1LCuHxMsX41SXkRLZgqDGtG3Y27g00D9A8ti7Httj/
pKqjFc6lCTqj7l2I1xQ+UwZUoAqgHhXkZy0qj8Cfto5ElbA4ucwmz2dL6wjmCvSNY83jzW2iTS0c
E9Q2Z7ekNC6DMZxVlev5+d4vX0k/h3GNBao1T9KKPc1NmLEEasC1np62fS1KdAnTi4jjRaImpKRT
sNNNEkU0176RDAQdII8LN+E2rDx5VFAGcyaKwmORX466b41JoPwuePPn3RjMhRgE26kzlff4kTly
HD82IXlg5gnWGL9PDE+XdwuRRSVHt6OTUa6Fk2W151qTz5KeXtj9XED9Z/l5UZpLbVfC+FynFdb8
SRSmx2iQAmk/R7F+UyzmA8m4N/RN7Kspqs2USzxeIoM2rsoroEccBoU1D7rTHknjjO6pIO3jVwb1
SHbbqjzJaRJWLIlrhRg1mp61gRGjhTVXL0MhXbFrf3qCwZt3ppTF6tjH4mYBYWoduU94GbmlGmMH
WJ98OeAL7OP0JGJoN1t+5u5URTINWpdGxV+ZPmMxf2599IipdMq2yOUeuBk68pgIRrt31uuAY2+u
FWAJFRqSgixF9hxfUCtAvl2plhqGCxSYpoLeKdki/7GI/9iEJqRAMej3/6DZEPUvD2aO2wlOqBUm
9L6Qag1jUwvY2HsoXsps+MSOfAO+m0jLEacJr7W2mZ0kRkzLIN1D2RAa/AIcFQrvts9D1eiQIZ9x
MvkDXALBxRjtinQvVwgcK78Tk2sh/qJeme0a0kK7EPESjyPCj0zVo1XXtphqx6RN/UPnShYzEGZ7
Wf5HEwHS/XiVK+va0TAg0TAgTe1tcbNxfKt1HasDsgpUNq34nOsZm+S3RY+XlXQQ9OC9opzsWh0Z
E4U4ZsGOKYe5UutPpfpgxaL7DSPx0rBzGOOCglR6/kKxrk4apWFtqp0TdbpErx/0N9pdBAxKt3MO
+4CXrl1/K51hr63TLLdeF86TXfT/JJRGBKgDS8CDQAZtKBxrORjvufZbMIrjN3AHNn25nf0b5PiB
xXvoDiNNZmLnDlpJQ/m5b96IeuDF9lfsmVHCkuiKVw2UuHzvJYLci7da080oHK42WG6IqoLlxKpV
gNVfSLYNwBf53gJAJXsk4xuSQoULsm1sA1d/dBYAlJi3feXS9uEYqecCoFBnfc6dGPZ4Ctbv77Vm
NMCF+d8RNdH6ndXehoRNzucGLIwWTTpYLUzIUutaNB1WxHnfUgqTmv4+yotTTQIbl+FiiI+tO7O7
cIaR7nOsTS3brLbDgkF8Z93JvjRk/k7NAhdw++wxZOmuhSw5xB8SDubSAOxWZS4sOncb+CfHnFLq
n30FzVEGKF+gNy60/UXGCSJWtd67LOXFkqXpY6jlh1irjylbHyP7d/YTm6ndTcreIagJCRGaTiM4
888a2L1j1ZBYTjAkl0b01vTaa57eqjU+j1gILXdpW8Be15wKaQmPr1CHrfWhyr2TX2jHNqpHQY2X
1hDlSnjd/qk37Mk2abJNPmE+IgHKn2j6YIF11a7c40CheTkBFK1b3AGDbNNfZx68eYV9G7Dx8SPr
z0y+J2PCiM+tlJxGtJKEOmItd/v9QFiJJSTybUF2/0m6kaV2UpXsb0wQIoBaVAIgPq2aEk59GlKh
pi2l5f3O0WGEASdnf5eM9Cmx1s4YVdMyuWBZOaQio4SVfca6/InVC+vAnfXCPenTuympN2CaBR1f
TeGtO3ALr4thZC9uoQ91+KEjuxtqGZCO73rkSyPMRSuMND5TEYbbg4MzzwI5yvFlvEu8ONbk3YzN
IDHWcM1zXlEvNrAHuLFnQNcfE/1tdS0HtMIPDfCOOjrV2HBnJ83Auyq0oOQeMrhnybACBdmbO81L
y8gb6oBeWKckNrjDZjrKSC0Fl2LtJAZitbed2qX392VJPfd+xI1fBN5e5ohvTRccImctLLiK4UwP
Fj6SzJRRff7oFAdn5C1UdlEsuzg8+P1Zqguzz22a17aRQqRLN3tJbPTGrA+NpQ2Rp+BrJ2EsMHZt
UyC4TRU9qMwA3rp4Zjzcxsi8JLVzUEi2dmRZv48LwEIV9OFIARqCJHStVOztPNwjkUKPRxsI5EYc
co9Ejii6eyRy5kcXgBJAsALy51nDbPfWR7FRx2hFzqw6o1x7lkDF9e8Z2/smXIrmJlUTENC/uvKW
5dN5UhLedna/wGqGKwpBVZEPzYyCJFne/B8rmb0Dfy92fwRiqYZa0VVUh+bcBBYwlLkZ4UCQ5W/A
+mNGWx9ZU+4KmhC9FVCrSyi1NBEBdm9UCgOsDuFOerZp+pojFozt+5Dy+CW+Zr2VzGkmhpxtPRv4
rtps923hQ5wneEsuggzxniDCMDqP0N5r9SxZGRi5H6Qkl0I9Z5Z2imoWI80rVmW0bZ/iAU8mecar
I+7bYAplXGmyyZU+LNjosw/m085jNzGv0tVcdiKv6VolwhA28N48E1i4JgPR8DZ1ptKNhJ9o8+Cc
V2FAM4TXvmBqndFqOB8MvfR2EyUrZ6zWNle2nK7IFIjCDyu9qaYQZJMUCFIfqJHpiyQi2veFJi9M
0lKO0Tc+y+z/8Jw5lvxXK+wxAZLR/1bHD52cqM6h2hEdgfF8JE0o8h7HfzS3XAlLgIpDGyg3/HvF
zjFhlaN+dX3h1ksWihqOKCCahGhEAbHulXI+qBy2Eve6bV8MEcup6rAAMbXB8KVlekal6gCmJNMY
luTVktJTSRRCKDdawYfM4qM4neWJ+hMBK0E/UPIuHMWBhqT6pXBv0dn0GZXlJrY8ioFVKWGemdxI
2FTodq+oJw1vSjl5opDekoGxRWSLA9k/njASR7+raqWgdztoAPyTxyT3t7Yn/tYbbJjry61TzKuO
h6iIdHQZP5PTT00WP5IFH6uAwM1j16wvhvJnt3R3fAcpuxDKia949X+TiQpHTeIfXBxtFGD3S3YC
UW8E+zcg3cBr61j+DdqpaMgmjXQCgzzpR6KiuCSHSQuagLfbLRakG37qHLjlKJY7SeWD/MhbdTc1
9aXawwICUh8CLVN8U4fcZKpHtUYXBLXZLyPiL/TM7VysyMhT+x5F0se6sQ8GmF+BZF/e1FQPlMUI
8oR2MgPXv3FO66cQ6+HcSqHEX0o2kBNHk4/DIxNAYdE+rcarR2VvbNDkxwIegzKXBAIKewh4Augs
S0ysyvM7PwIyJtJDqmte/HyHAsrLsQdOktgDybvie+DMYDNNMg2U7A7M3sB3R9SDDLKjsrIt3WEQ
LuKw3IY6usv/6RKuLLevvOCM00su+uabVDRuD2a7jcZTW6vB3iMp5huvr3NFwmYyYyp/QH6/O7qF
sbR2N5iv5rh6kkiWGI0inh1VGp4p/RHMxfokv7d5/DkyDmM7Jz0OZiEUTeWoIIPHzL4S7nOFhq6q
RimUZIz7FBXRSZLDZJYEfAqk3dqJ69v0u59naNxY95Jj31r3lXx+KzKub4HQVyhB0YS7cBhOtdqf
Z6W70Pxz7YfoWsCaJjenvYQi83MThaWk2IRtfKEMvM07O4ZHohiDD0ZXGozLyITCwqTcs0VWOJwS
D9gXNhGb6lWzrz+tOhSs4SFr0Rsuk5e2OlVmEiXoLwZ3rw22JjUyB+maU46oXJoCuTAChOriFeAG
Hp2zsQx1A7fh4moyNj9uscWk3SQ1fnRT8eTSOKfdvbT0u5CHdVpdKABSoGyKeKCpR5PLJTBE1Ap5
Clb1M85qV7jyVq7rUzdmpxVJZ5RYGEgeCydKOdvNwe5wyIHdNeJybJfUWX/t/laoTqu6XVKtuI59
eyaNm2bXzIpufRof6hk2sVYBiKMXhkgibJd2E71h5Xjh5FYl1v3Fx7RsbPpA/M8cw4ySDFAdA5Qy
sDeM1B3T4Gd8yPmjT1KAcB/FxPgt2XU+34XITqkqUZPlOfbxk43bI7GWe0f7YTw9Y9CzuckdiaVI
+kw2bzjTCw6+H4g/d4oVBsMI8XCd3kUs/Nil3DKv6YgxvIaYzmJSLe1oQVzEJ7lrQ7PHqCyqflsG
dIO5lk8eIN8OMT6IXTQvycxI1TsNRYHA48zKzZ6zVz7z3VIoVKjJTBUUKTxiKz3TR3s5OQSw+R17
5r5jP/f5o8FgUYmkNov5VGl8PxtGLe4koG/nbgUwsbBb7bzikTTCxyAan0shv+FzW5H4k/phCdVj
PRSX0pBPMvkOOGBEMNl2x6dKeS0mDpjTn5FdsSwRCqbMsWbFTCPrUb3GBErjqULEMajEIeFCYFFp
RBtQMMBRlFQieh8EqhBCix36SVfAVKJzwDWn9FZpLE9gWpGLf0nQuyIJvZm+b1GA3aCNDF4QBlKA
9HJG6UTl8xLtOSZ425oIpkW4Acvce1B6bLYpLVS1DdH5B7Rjexz/sIA/kCFHexZPo71AlC/Zldxn
omDstGvcCAaN6w4z+tlR3soeP3k42vVAfmnaZ4fOq1fRwdJqTK/ds8Dw6yWdhf+QKPk/45WK5ksf
f0WTeaqN5nypEzA/XXQeEOgIIqbvpL/N6f2iAlog3tKqVhDxU8KCxWUUbAsLUjLNcE7myKK6jo7Y
YBupeti2IDdjSst71kcyR21MVEPw2uZ3pql29t1gW+mi4boZ0a3rxscgKs9Zc4SpdGrtVYNUFJaP
qTZgK/DVf7UXlaW2FoNOFLz0P7iCoSDrgLIVpiGo53cZZxczDeGH/jLyvdjoEdig3EL4XYkdixQw
xLwO6eE8ptuB5Qg447poqSqlCcNkOTBh8sioE4rZ88z0h+fPAkxqRJGN8D3IDaIzlosSZaOnVgVw
Jm3Vsh55BqUGMMskLEvUdkQ8j7qCzUdPDtOI2IqAsuEVbJVLSdGN2n/vLHQkRjrSly5U4enwQm6G
2sO/RDJchvISqPBXNRwQ1V+SkqcYVuhIUksVRUi5ZageZzpzRyqNJyI9ArfWDv6eSCEnJBV+rID/
tdCqMPCatBTrn+o8fhKKnvCcD+LVVDQX5/2hKUu7Guk+MR15btims6jVwcWUXK/4OGI5djnTnQy3
qIYR4Q6AIBynBjVPpdQ1v43HWzo2Z1ku96rSAy6a69rSBI1RV84yIMPlY2nlRyznz7F+FtptUsoT
EcR7q6ioKutNxSoy6G+Cu5X1axHWp6QUD+36N4ayLkNZL6GsixIQkGPPdkWGwFvvX00eeUx7ua1R
GU9dH8t8ChTX2uY34ca4HdngNKCg2kCbK7/WkyBWnwhX5/ELY9wqERyVLxoO/3o9F4z2LgPtjse2
06Bh+7eqCr/hJMwjtO5RDdSGoHPzXtJaS+E32gb9iNhICkL4vfXPmjc3ZwpcSmEP4B2+ufATIrXU
D7GYAlOPaWWVIEy4A301dU+Temd4i/RZt6cSDBz7y1H+qcIuTIh8iEQ+CvPSjZ9ltFcqUNCu/dpW
qDsrQkT6D+Ml02j5P5rOa7ltLduiX4QqZGy8ggRJgJlUoPyCsmwLOWd8fQ+curdOq7sfLB9bBPZe
Yc4xQf0w3Khsv9d5JbcyMosQmYXRRp4Sk7OSp56UpR6LgAEJVDUEmOs+FtPn0NzF9GVp1nuzHHuk
RwQW3WFs4gqWYXJ0QJodYaZHgyiBWj1lR1YRW0U//pNMVNGCDFsiAymfWpLb2A+YleroaezozORr
ZJgEpSWK6vZAVSsZI4RNOjez9F2rD3s0LcwLA7neV+tlJxnERXwvuKPI3Fn4WmNG23zci/++UnSZ
bzYzK3vtfPOn7TB+OKvjRJZZd8yvMh6z3IcvUZOOiHBPsXzNIGqlCY8VEn1Wg/6P7Uls1IgHIUqd
xK7wVFjTseWfOidmk79/NFrP5Uu4Mt1TRK6V3AdE/Ao82wIss0nNn7kjaP4IezDZ37sMk2SSkpkV
EBUw8bTlsPk2fBsdwo+9gH5p3RQbqjgvKsni0XWwGn+2t1rXH8NPwYHdb3jTUOBtUhQEkVuF2+xV
ukIbce5ym5o24ajlHs09saeVuRywQLpzPx+M6N3Anci6SMDgl8V0zYljlCSWA0LcOKlxF+b5q5LC
L5m4rRzeCcmSKdtHMh0K4Bszu0ObfCLXhsCxpPKevjd9BOw6w6jzJUd6WUA1GqgxA/zkho1Dzqfd
wCGEX9fDr6vh12mnfhWZuCu9qW/WmnVxlZiybgY6L/8Vkca9GO3tbyz0KNiS/ZziXQrGfQJ3Np7J
R0W+Mad/FJU8rAnU6xMeUbYXwIV7vqKyAhbB2cyX6LN9z5aiB8yraJObVgaz/minodXILY5ngXmT
CUgS2jtTDsmdY+nEO3uHJHGooUba2GZNA6OlvBxDl3qSDYNi947BPVUOAgqJtY9QB8UPA46SSt1R
8oJbg3lNK/MSWso5GrEiR7dwekiIJ8nqUwj8VN8FHfXSs4ArX3l8SIL4EpFlRlRYEm3AVUGeKwgu
kw9y3R0aQMSxIFNNgh+BpQYpw5KsmiTa7WILUZ3tJfK2rzxPHBzeQ/3VvFXSr7EHg5TuSFCRleE8
c+eUMvjYORxJH4HybU6eiYmDzbkva7m/IpJBe/yXzQQUp8vOXUG+F2m58F1CYu+n3mc4X8gr5YUN
RK4/kqB5mzcz40T7MBa5h4i09+AdEubcEwvQ9PpjGfSH0i148GYEasXDmoGvcmSFeGQQgEo8ilPo
jeqbOdIRldeIak+vd0p5b8JtgqXYIkK8R6yRMe62FCeBBLhkG7lfV9kIjhpGK1xO6r9ymTaEFMBJ
wrPATiB81Hb9GGD2Fsn0yN5roR/S5LoUrasiFsnV9zEjbpzSXOKaQNC5DzGe/Y32JcMeUGtsx/d5
MG0E9DQqhwvhEn8VRXG2hA8aNLe81IY18SrK0K2z4/HIBt9effIZAXKOcq1HknJ5uxuVG15nt+PG
TY0D+CgRaxwUBHtmYOOfH0rccEfUe7O4TW10GkZBAw3JVZxnGQjRfOXduigE2qeG7G0bqCw6bRg6
ZqJO94TRUXTjIUxQt/ZE4hnS/jx19LNoGXXIr2n90ZwMZ5HCQ8S4ghuPXia1xQ2E2T2Mu3sXN3ck
B9U9Tmwu1IQeFirpB+nMgPvOWumcDYDBspiPClOTXpV8M4H2Z4d+ZlbsKl+LTDQTAAkm1QPx6bLh
pcga7Mw4iMWXQhDowCCNbrhqBziaV88sGmLJetKq9F1C+1IKwoeeKjNHjbkcU1CE2v/qMERFHRDE
SzoHM8ZWMjydzA9FHjyVF0xI4lDIDoq+On7oBMArkEer7hYxfCkbxKT8eHHEEnUA/yQ8cwxZTEYP
RD2yjya1io83hMHENWW5c8hltZ3Zv/eBiylknskumgk+9Di6mfU+2GaHyLQBaODDIbbE2MjSqkPc
WBO/1cYNQ7f8I04y6jjE913ycgAXAWjMdZ5vGyZOjvFOjjaTdFKvAdDyqi8ATQlvjiaU9mQ2Df/E
3FzSZj4bgrShNVldnY5CUh1+LGYrnMFyKuW3BKVMPlQzOTtiAitFUG3CCpWYa+Mu8GqNEFEiuGJS
8RHWvygpcfnpvir+pZsJsrWgFufIa7/orwTF2NJjabN9DpzqqAhzi2lpUBiaKvJ1ztLL4BjK+6K8
z1hwWCfLEeva5butSy8+265e4Nv+VPizlIO8x8hCcLtNjopWliRYzXn0lsHhjBf9GQGYjgmfyMiB
a+v5EXfKPaqXW6DVV4MzqdpkqeyoESJcK71rlO4aDmgJzJ6VnLROR3wXPAARPBhqT8zW3LMwbE9p
DE8O6SNrjs0dhfCcUyUYcFkj/IcsR2oAJXn/b9biTf4pnaRTp4xO+m2/9Vp1t5cWGXuyAf57DCIe
X0V44/2pDPoxJwCBKdF2zFgYcMmZ0TE5t59JJN8thLeKKl+nbCCL8zlgLYGkrgHq+AgAJbVSTasF
QmhBPkqeoFOpsacu1iEDC6bf8wh0RYNS4euvyuzInLf2ylcihbc/88b2HI+ntVEdLARqrO8d+yRc
PVv2zeig2N+ZATBn8ws2x8pak2JxqILAi2ColQNHjbhYEgJtmdRDkku0lJkLQ1NgL3RXt9pO72o8
3QcolLEnp6ojB3waI3k7JVkJ7tm2aeXBT0XVzOhEu0pBes0FuwhlOed0HlIN8Z7c92bx+8e3boCd
beej/m5Cs0cRC/mxw+RWzl+lrh/rX8weYkT7IY6SQmPWGp0Vp8WGk8zEpyTptZ3TW5RBd/lGuehp
C3q+J4py1JlT2yL2/er1hlxRwU4aIzexjxapa/zkY/GlUu5+BZtabTYyeoUUQFPOi6tTxBvhnxqT
/8Bb1rCB0dyaCcEgByj7CaOMHmOpP5XxOEFDLQeVZHBl02fJaQp6UtoFtRQ0l9GYfXXKocUZLD7w
tjkdxLIGTy7tIpmcJK62P7mC4BRyAIPgKMJTHvEW9PV/QA4DXhiOBVJJJSyTtq3eF3161j/MGjX5
LTbLj9L5yCSsVbNbmcyztsE5QJctj8yjE+wWCQc3BinByS5zqhec6iGnOix4gYm1O5lxdYficOvK
4daZ1jVrsXkbJ9bjl4TCIB1q5PuRxzSGRKpzwabOVI6v5EQ+5DFutBNygvMoR5fXjDue9RGZbgqR
uHAGJobY8+wE9+ZPYHdXTY3v0x8wSNflz/CnG8RpVqF5YGVSmv5i2eEVQrt87n8yjilkakTYIri5
1+UtDfN9Y/b7l/JHrLShJrqBiP4NZEfvqy2UGo4pVrZaYzgFO9veUs82YSboLNHOJQwmNV3FwCYO
ug8wMURQORYsG9PDaCCaEOZhSziAhMkpFRu9QoRNBorsd68OL3CM51GwET9DeepYvGYxtWgGUjYX
O/wi/Eqy/wLIBVzGHbkpDTxZyPDGnwACpcoSjR7Oj1sBkkmQD2TD+RL/RS+C1cYoVTVs3f7KP0Vk
3VT4FdEkbdM19XYKtsgArgjnrjLvzdqLKwSysZGroNIpUU+qFlCpgea+EecgIQBDZyKy7UL52tb9
VYTJdQhRif5mpV8xSKWyVnZWED6hH/Xx+GJjAH6XbD9CrnlJM/Mv25FLUePUzQ6DIL0xsd0s/WUT
0SrU4FFPzdMO5yd7KI1ol7nEyVe0b2EdvVGK9T+QO2j0sxylOeFGSr+pbQTQXkKya1vtSCK4mKr4
pIFIA/o3fCXjgKVKlVlNYpBG5dq0sR+Rhy1b2BvgtMtuj2Dw46Vm043VAHtAraearAk7FZNrKbyG
sIhVrTrxieyEJhwr4Qp/tq4VoUytJxRthIGVwPlmpgcfOUfktTid4wb1J3OaJIy9icAumlvCRHY5
oPXkzfhTz/lp/gHyrbTzK3xQmwdd+m7MWPAw/mo/FUCL6an68vyrt7Zdtju/AuTFGRfL6CYs6ib8
II04GPz2ok88k6mkZqdehZY5GyK2Syf9hzPlEf3FcUzW5Qr+7eP4vBB+Cgp8NPy0tPBd4rXFoJqI
jJeJBClM0gz0nM76kJthCzHoIhPNNpVQSgecABKkl7I+p0t8hWO4V3K4WeJZghWgUPyI4swv2FGI
BZIzMpANQSl/tqFkn88voll2MW9YaV8s7S9wSScxQThl/BoT/qU+xUfoM2wN3nPA6EHO+iorTznV
Iz8QQ2OlNP3SFOCjOLF+DaHuhMmnToBwqpE+g5qCBrVjzNieE1rFDqLLkeDdu0kDlQwXNuGnD41T
wNOy33IMuMBgTuysYM45oQbAx0Sn27Q6e5Gjbfa3JLHIHD2pNfsfjg+7tXcFHAR9loiqLCAqwaPm
jZeBsIQ2E1RfuipAuwowbhYYGgv2U8zRCF4RBtTCo3E1yndhb81AuQdJfKOPv2gVIe/okGGJlGFK
nCci/xmXvI7jGA/Uxyupkke5iOdiM1FJT001n15zmZ3nqNj104J8Xj/zDJyDLDg3pDqT44xGarsa
vA2U7/lLjkff/hNb2Es/ZPgi9MV3s5huNgcwCUMXRgUfI688sKpAO6YNsAFajbE/J5a8ConOTKS9
OnimlOR1vlXGlcvWQxpt/ZpTSSXvSOH2jB7IcO8L1Lks12769I5iGq3AtGEUar4jWN71JDSqdr23
O8RtGsF5S3GIp/lQcUHVCbFeWxIjPEEbptWLN1QqI3THNjD2kVshJdUhHaIbhkgMXmGbe0tTYrXI
TsHmLxEfNNs8SN5Rm+TD8vURRZxr+K6Hr57h9OeIuzKQj2HdrZ5fSTG8gmXpB+1PQzDuZG5Geb+V
advc5o9dJ+dmqS+vrbrvbXlHlhC+6ysibwTVyS3z0o+gE1uxgsWh5N8ZmLk9YLNWtdCRI4AjZQHn
7WJizCvpBGRfWypX4Y5uyvRoKejm7e54Du6j3F5MMpjUSL4QA+pMzHrmpLoMcXhRwQ+merjVI15W
jCUEeA1MKR8Y9bD0j1gWYpsj2YHuBXuXjKSKXoGBp8xXbuQ+p4CDpokFcOJXtfDqrtykdEc0wFN1
XYg5Ha32IuTlLHTtJIk/Rp1tkS4hKtSwLMCzbUDTEYoebmWocADgdrNm7IhgHlED5bBBC1jbaq3t
sgrqM0JTkEkYF1GTY7U1/LoOoOfV50SezqqknuVQ44ll/CsN58qb3dyw3iRmFv0DBeFxHovnQnTy
Gi9OQ18MXo0wdYRchX2pRcTSA/uxgP1oLXkEUrdbD84GCOmC98/UsBONW8yU0fipXScb+aTDExV7
QzpsareBrI9XpNJcc0YOnHHZbgmQ9rlV/am4lmUFqAeRLsScaUnwTc2HkXvafq7MMnmIdxWaR1NF
/gjEVhE7k6MQrCdMseO2V9DQD7jXa+OA9dGkmLU00FJAfxo4yOJcuwbyFuDFXBtF3G6wljpAze4z
mb/ioHIWmQZE8IwFD4UYh7ym/0V757a8XSvbFysxY6yaMRZGFiDUwb6wQR2FWGOqEdcyYsnTTCZ6
Y0sbNN8MvWl4OHO5QaZnWbTHXmrvQ2Xdq14iSkrmkQh0+lNWpPBudgt61gUD7ER/MeMIrNKV6DGw
pntKJsxaDfUE0aZ/q/a6kI2JET3MIl9JVXe00AWQa6Uo6T5tCacildNei8eguBTGLWaSbQcHlgP6
fzLPq45peA6Ck9Gd4Xh22toz3NLg2NQjWEAGaYa0xbS77aF6pujCTU7luI7dmMmKIm06C6aDg0Rs
pjeeaUai6TBKwD6KENsKUeTTLzFgTqQ4TdSPAc+70XMDSKyjg7NusXAlRi6qpXtl5ts1fcFIsqdR
tUwuCTWX6v352K8ROLaCTjI9qaEMZiGjh493yyvODZ8hHzS+QxP9ViLm8BOUR/VfRfMX/CopRZMw
OuoTfFr72RM0Ng+/Oe2LsnknHaJhJFlYiRNBzC0osVuF55AwzgGj6+hGDe91iUEiZ5vsaASOVXOA
dkklH24Ai1bDOWAmMzh0r5sYyd3E1cPjsamYthAj6rcwF6M081V79gdhExow+PGlB8oq+TwBDtqs
OomgJpWHfgJR1BdQAOe9BVxXt8kLaRTHzP+u2Fp5hKHbFQ9FD574UN4l3f6wxPts62tI1GtWjVdV
a6/RelmUYTqx3S0jdjBVNtnjFZGn/I/oWyYv4VklimzMDjM6kfqyU0cAl66EQ99iu5c/Co1XnfCu
zOixSRAdmh8D9nLD7sOGw14QMZXZ00XU9hVo66nQ/rJ23g9KfTFBuWWqdi2z6jaiRcy4gJSCzsve
rcC2GQ6ZAn+xmZ5oWiOZo0WbkduaR30RR2NQHBIOKC2C4SOFp9Pn+iYlimZCaNHmz1rMWwg3+5jX
a2BAHMFLM9iU6QgHrI64FxAqGgiVfPwWqPwH5IqpDksPNFCjYVsYtkFNLUGeiUaeiWjZG4jIKQu/
COBOkyGRhS1NF01RaTGSvMmmeYFzvbXC1e3urUFBidz4yEtW44TxZmsVUe4IrArVAaJA+IMYvidU
NAEYb7LRmHsVV7ACMY6B/Fsf40f/bSXtzbSrexpMN0LZZAIk0an/HZdvRQEro5BUvsWthVG0DwlL
QGUq23QAzd7oEcuImu8w3Cgkq84s2HZ3hOipG4vgN+uJlsqxV4L5jNifC8/kwpvwJ/NvG4DpLYw0
kbhBtmCOW0M8DlN9k8G8UyKaouLezg851U9L/ltlLIkaNh8RSkYk9enMd95lvfHgyp1TWdtLhyIk
YU9gtpr4/bRD3aFA5ZPe5Fl4JYb1mifhFWedo2oZwNnpks/xJcc6pSfSKWJYBj8s155jOjLs/FXp
N6kgmbXo0NOeCvFT9J4svQBBYdWhImiPqbJZlspBSNJBJ0xXnJYWXpq6OavNdNJllcbb8sPvuLcO
0m5uf0pXRhNt1sO2qF9zyBkJVgKcLbhzWPEHoVsbGADxuFuH2yv5tIKKuTSHGDX4SLGqQRbKyWWI
cQ2UGLsp5m2SyQMye9NovsbyQbLTU5nM11EFtp/ShSt1sF+gANAEO23TbGZ6iz4wD2hOPZXi3xap
J6P1jU4jUWnMQ+yJNmaETMoNi5TTl15yvvgy409qVGWkb0LzjYKJNHUJHrutYqRaDpV5y4SLVW17
2GRVeZMRgiawcjAqNjnZDQmOQsxHvUHeZSjtpZS9fobeOkG0A0JM+VbBtad8SdtOiw5xpWx4+x8p
wfMd+Uj4OxCRKLE382QmozM0yGwFdRJw57Z9zhAyesSxtiyYXi/n4F+Jtt4ID/VkI7a5ppajSSOy
NVeuCH4FlGtm/yA5MGqXcKgir4oufR5BVByGT4XeLWNx9WrkD23qNlFLLvelgXfbkbdnAC/tGsT9
ibobUFHXqKgR+u9HJiNpvs0YXUKxcCkdYzxATQDy6l7QI2Cdmrn8TC4/jcuvq6Y9tIZQdDvD0Wn0
Q+BFxnzROnzNyF2JdvbTeSbfJlGUy2QJtzSZBsLpze3yzubAqbQfJU02psJWcz27/6+JLzwaw7D7
KVGGJW5O/qpNdqQs4tOIcASEqcOf/jipJOZu5pgADzhg6KxT/vYBLZGcAYCgtsntjjWRvGPwD+Kt
WwT43h7XmiAuuz2rYjgX6oSWqz3nK16e3dgYEnKCPxbZJWSrkhgXY6WJWLsmIXGcHVa8DRT84sE2
w/RSZ+pBT9VDzlc3cWPhqgumQ8GzghMuqN8auX+W9WfA0EvV6RyliShIMHk2raDO1j9KdwZR7iq7
QRXdPNnKwfJVVdgrEQHU7pGgrX0GZxjcV8vyf0pKdhSGkwKSiik8kJdtZXrHvJV8DWVEnyYnJIin
mqvSmjFMlEfCaqGWbopIJoytQYdc+SpfQ535LdLGgLAE8JMqoV7mrCFj0JoS3E29i75qkgKLJySv
+/d5SvXrFCQXklza7iPV8a3hQ8WcmCclUWnEbynnhPl70n3JzO/4dN2IJQsATqyD68NhQo6M2Kgo
PUoQKk2p6w8IA7EWFQP/j9d55nXWE69b06Dk0OuHxIuZc+pK6EmUuG39V45p1yflMCn9IV9RVwvB
Awgn44NsAvoHbTIN6m4Hom7HahRZ4ECBUbAnUFz0vGA5W79BWyPJmNzVNZrKVWhfTE7zAX2+rLBy
gzah7xX+u+VgEoq8NZghUjFRnAZa6y5NvM+slPF9ToYBhgKo4wtfaUZbD3ZmCglv4UeZ86PEXB3p
/KpNM+x7pYJsl+8BUO2mmBghYtfWXNqoJmYVm3u0IfRN1MTmfbcdD+ptMiagwkiiDQoDLs9uqPZx
YrInrQ9juIkBLhA/OIvLrDuzuNXjX5vzWiEGxqxxcBKz1MePFtML+HzQW9uphyRs4IMZcBWy26eV
ZS+e4BfCpuFZVMBh/WlJvd9WFvJzvu8Yyg6UNVZrMhSPqJYJkUDeFe9J3dwm9r8lF/vRrPcxngoY
/kq3gTuKG728Rd6kPuX4bbAN6AACxA+/Ci8SUSszw2H23suI3SVTsZGuCkn0lMbWTMCysk/XaiBy
jA9k6hiKM7zk/cS0i3AaK2BrPCubcBxPpEYX5gkjJ1rDGO24qzTasSWBRfIKo/SnyhEDBr9iM/Bv
K9j4WTyMC2feYqYIzATOcaJqnZBAg5bY4o8gTRmI+IrF/Kf/0ISNzDY+dxypvhZ/6yavvWZC2UbL
voeAI68Evj7zBvrt+hCQnseWjrtAq9efBz8tfRvAO5uzbDeBPFmPz6lIzjngemYbBTKCcWx4KUJ8
Z4LhGzM0HiVGo9qtHsgewecz+ubUuiGcmZzaUIlP6lJsTbrG/8/WorA+9DZNcmZieIXs5kuHV4+U
h4kxOrIIxh+4Tyfy6jj3JAmOxqD5EkYXbfxUOSYVdGlqB6GTgXoZw/hu6ytEN6RL1SO+wMBcug8r
MQ9Gjj2CSVEfkfKAc24VK4jos4zXTQJJW9GfmjDUBV3OOlsixkc+sqRniB9eVdHeaKMlVdqMMKUl
5SMGk2sQ3TEnn5n6wRvlJwx81tmIzmykYnQfLwz12IsjTuu21tOgbYzUH5Tee5UpVDQ9p8QgxbR7
lvK0UW31TMt75ihESa1tqyRgm2W8dIk/v5KfLCU64Sg8RMO+iPujYAm6KJOf9bjf3SobtyT/+kH1
Y7ap0xEjUFXLPVTg9mK5WxGC6LrIn28oWByy/95Eiddhse66EEfbQH4Je4oAKIUAKIMAqOXNgnn6
iwfBS1YNc2h7yBO8Ds//aBdOorO6wuZtDEDNWYcCc2TlFAQBMGLFz5IBwdaG9qbui9MaU5Nr4WnR
rOMQ+laBew2CiMLSmxzyPTohBoKXpmcMa0ieSd0QsDzBp2FjQWnwZjUaJ/xW56rOwgdQWbXwq/7L
SKi4uv6/MNtO/ZwxCc5J51q8JFJtYIRO3UxH7wGlfo38saAbTeZ3iEPL0NK9UmIMJpR8XkPM67ss
oyieyXIl0WjBbZbY7wkcIFm9z2QdGTFSBNZVPSnlyjB6Ztrieik8K0VlJV178kJNiIV9djAUY9uq
TEzhuctsTfkS/NOawWNVr0R6t2my8ZHpWEPSAHIkLEk+IEvnDeaD7ZiTDwnvBcdqpdU7w0afNNdu
UG0sKhjQ36ya2CjNnixgJcj81bKK4oWBosAQhX0XxY7Mi2jQZYt9xn863dWlGnkcdEUGFZ2MbS9+
/29KZ/+1Mg6onFMYoMzILFyfpg3JrTYEeIvNhoShr8ZjMLbkheAxGNiIWEypl10TEDLg7zS7+YRU
9pJ/yjL8XDLxSi/KzsSiVwOIXWyKAxhmv8TyqyKwbmBSGFugGK192vxdCMitL1d5yJ0CMUFE08cq
ZF+w2ohkAjwJrpZuU1M9A2Qhqimzg5Ge+qQ/F3IVLFRH/XdJXK2d94i6iINJ3qw/Q9RgGcckYB7t
SHes6i0v/pXtNy5kTLwyCEYDlLqAsYduic9o4vpL1WZHqEXTvWzbKbwijY6SMjmqvIZ8jJ+Vuk27
/q2Ps88iGZm7esh/gSsfg5zIAyJxELQl1iEX23H6Y1WUaEQT1aj0dXZRSv57jJi/Ec5m0WI3t1Ku
N3I/IZuw71YNLPbP4pcAHA1Kxki9d25IQG/ZyMdN8RGNxEiChaNBDmdy5GIAd1m0x3qwPrf8MUkR
84Mw8PmN2Ou90ay/Kxu3J8e3+v0liezIvPsYLdV2YnMvXmpFhSNfrK541sX4aHsNOPdyY3h55WB3
phCjpT6T145kbrkrRbCtYBgukuyW6KJq7XsEcE4e2Q4oEV4EuD7AI6PdJFMS9cSDK9k+3wkJZire
gRVvVq/4JGiQKupvlkBOEhNMDjnCTu2Drv1uxtIDXu3lUeEZMwGUw8EU466XrUOkUOB17eFvf7CG
N72bTiXJQC1hB1IiX5RNoP+UoELLwFwPiYswl2uag34hn4OzVgWEbEjhvWXBkKJ07U/hjQzmm5FO
t4vRsKNJP5ao+pgyJ3oEAgXrm6LnV6Yil1klozTonLAYNqYFZ4eVnM2/5Ny4U2s59nnPODZV/9ok
ZNNxerrJ8Eo+M6C+5IJQtGba52hbmHpJwWeURW+i4cRIvoI4+mKlr76GSnHFH8UvkRkOnPqRZnrE
ueHYGbcayqc/wqlPNivXIQVYutHZ/Ul8zFn4UrpqV0FIHCEkkjQGXZ7v1OEepq68rS4TkJOlZOas
o6vXDtmcnJiy4zpE8W4hJouIcN63AEC6aQNqZVfxkbUI3IRARGzK+yH6iWbAFnlySPzmzFp010Li
kI91CFEaBUi86zoFy7vq67Apq0bxBUApde78sUv9AMVl792zTQSxKB70/UwrOYl4fxfUJbgbr6oi
X6IGmEs9wqNVj1Y8bRY+DbX9HfxTz9YpUBWW3Rx+YFmA0W8UmABq5kZVvYNFs+syTuxtNSaMydtd
BuA/A/Af4KVQd514D0m9CsKtAeuuRpAuScBLYparwcEIDfIo+AHjhX5LDfXcKMP7KyEiN32fdjCM
di1HgiUodTgOBr76IEDT90xTzAR8VXa6jymIgbLXRG1AYgwpiZOQiXZKui09RoJzc+y6W1ok15xo
+/oNITsojVOLyCmtjeOEEoodSPBLYd08bgza24SWXmM0THE6gmpgO1YjVofs6GWSP1vRWboSHRcM
8AZRaYIm7k4B48NJ9tfK5gzB9V2yhvfy9+zLPjFKDLuyQwFoVzBLXOZDm+kHWl9YuvZhKKgb0FjU
2pe5nElD2ttUTBFNVU3buvIP2aK78e8+DN8zb2xpS2bjoPHdcTw5oTSCvRXo6VjXUqWUWnRpTiF3
2+i+mHfAisF/3xxMM99ghXDbAW8Bi8HJQGMRxOh4HO2VmmTasWxuyTsPTWZGF3rTnFuiRs0+TCzf
YMOrG36toPO0t+eWQnBQnV/I0MnAZCnSOquKv2nPKZL4mDZ3tsvzMIhDU11DBT3n4gqLGNrUOhIi
mYYns66Oak50X6x7hW0c0PEZK+80zuFr8fkzkC1BlkSXM6qTcTXaTlT/1MDEMEO3JY6ezUrQy89R
+SXvpR0LJ5ENrkA71Wl0IQzMwCanP9w950TKL3VZoymhlAF6XSwbouUZQLMSBdeBuSI6Dn2Bhk0j
LpUQuvw3hMdTr7Ga94Yt9xuewonHAoyIrwlm4zx0IQ9dRRemNzS0Af5RaUGu+aoDYDRo3As07mMo
XEwVRJnU7gTkrCFJQERQ7fgVaJAbQoI6ZI8d0tjh2FxhGdcLyCg4g31wEcJNs/ipfSvHrAyv2nea
dHtNjHsYa3sV2ngd/mjxvOHy3o8KMQmAEhsmfgF+ZXRwcpKjrSofhG7czfxBrHotom1AUFl15AqI
sK7R5uGuyg+jxZ1n875rABVCV8tcdan4O4o9cFlbYcqFsuMUM2WESXDmMoq6U6Ij7grYOgNLt5u3
cafd21Lb9FXv6DZ2jyDeC88LFS7AefR1M/YtLNhJP2xR5HEBA1Z1TZbhBdlVIUmZPUmZCkuJEXF6
Tnsq1ukbPxAGevWW477TWKex3GVrKCuhI18HveKt3nex+phtJ1lqfis2obMOYB3iaDUzSShOMxQc
AfDN9sysOKoKjGVG9yj0lzw41QvyxX1hbQkB2fA3QCsJR/FkVmJTcQPoZusXXqx+IbJ1pbLx2QX6
Yar6c2n4lcaFYKLDWK+wZEH3kRNDUyXh6v5mxoN9Wm3ghiSnmMQ9cuHV3hf5vKZsZLVfN6FP7uhR
hvQIA7FKtaOIxxNQC3wJOzrTnUh8o8hZWSAyrhNPKxbPflZtcUxG3R3Ycia2SZWTnMKgOvGDO8n1
hz1M+5hmpCK+lnluRf5AS3+eM3ysbrqvNvkLk/9nYsSfkfVoJO36K/pbZdZOalBkz8ecLUKW4cIZ
URZVhsUKmeAPXdrvTPUrDO2bWRn+0r2MdLlFXXFbHfJyI13mJbtoVn3mp4TgM19idFnZKcsZ5do3
e8aCJl1RLV7LZHJi9mmj0C6zG6KqlQ4jwmH8bVpooLmHWw/kCKYSlvPzOJvnzNTPAftMAng5bSqs
N3h+TNVpUwhTBimrc+Sa5Xwlx/XSAc9a0Jg2N6KOfIAiOGO4Jku+O1FPVdkT5lv7JpokFcEK9H5E
KlnTn+VGRvkEHI87PWzZ3+qvlqQnufst0THW5UcMryVhMWKgCSrCCk3dcmhRm6QdUhBiP34rCkol
4mXCbCuXNCRjdFqDwUw+gBnADU3WxDO4rB552FgSr2mjApGkBLYMJKjbqH6vs+VBoNQDuv0dH+ot
XJBpDs4Ba5HENNdNJehB8bUm/8Hq2W92P+OCfnBQdtlSMsJHvUPIbRb8Wu1wyG/BpvxmWVCxJeUg
8IbYwJ1D/Ft5CVHQyN0Aq8Q8Ug3t8/Rz2NLEziXq5obGiHfK7mmL6g/G3iec3KexD07pop1UqaXT
GrZ1XJ9kXRyH/9F0XkuSImuzfSLM0OIWSEGSumTXDVZdNQ2B1urp/8U+di5yT5vtnp5qEogI/9yX
p0/M74eL9Ck4yxrrR4J/KxqAyqdwjKXxCLMF3qW7Dmz7bOmwoFJZK11GlGsh5TIOXLL83u2WVvh5
D0K5qV9ElpCY715V0oA9KQs3w0i3QQuYdNdMuvuVJji49MjcMKf5b8l8HIT8lgFfTQ9As60RxI4Q
0sX4rMwa6Tq5RyLbmgA3GfXZYvbBZXgYRwrvkT0Aw9CHvOVFaerh94+cQEdWYKxjVcZ2fMi3Lt/X
StRvCQM5Fl+QgDo7hvFtKOO3wQp7DOiAEOuZmiiDKTeHW95R0AVqxmxJvdFOg75+GJwBK+xtCvlR
i3eQqptnavzoJIxPC1OKntDdyJYu898z+Y9CBXFmv9iU+BF1hBeDwTOtnZ26rXKrtaOr03Z2kkNf
J8SXbb44SHT2LKzexOGixq2AglKvt5+KhTAH0PnG2RNiZg72XPXCN5XXSfkzYFKU+nSXp+1JAsmc
n1NuczXpjw7+uxGMLBxYH8ukXT3KVnrE6fJMMO1zXzy1YroR9FQLv0zeVhvGKRBecC84xo5DcUhr
3Ob8QWb9M+aa17ZNkKEXMVFzqSboBLgTnIO5Ed3HWnoU7x1ms4ZUWT05bsKhfkVPNnWOXk110nPn
YOV7hVNSTFScEVlUSidHZoZ8ECxFWUUk1zDD2hrO48gaQccKzp4rnYzXHl60Wf/GV0PjpY4tfsZN
xAbxsFVLSLidmvd6O1fyyTCxmXwGtvJ2MqFZE3pAmCnBNZu8IqkGVOKXpcECrcnBAJEue0yp8qjW
HA2Ulsjv0mEpXVxGAvdxSO+Lgrt27Cgx9SCy1G33Kla84ETwKzrKm0cMFKUU41W+dlt7LNpWhiHV
smWs/eJW2vCxHbLm32utP2tnBvGcCBtkavVHww0iWW9qd4YNkdMY2MfLbulZoSkNaCKvos0OGGXQ
xuaxZLLDcamtGOirhKWYuKAXWMinmRrYxPymmE0Qs3XeGBYoI4xgfesLZrkaYJAlksKGWddEUsTG
Izgz7IIJ03ehVXGGYdilRsVJWVbygGnQss8xk0eeIqy4nB49BzTACCpS+aKMg6244suw0Ltnm+jh
ShScbg9Nm0KjSEGv4HZ2cDAUyk2UBEjW3xku/AI1tXjorfyYRE9GRnqyEYRkGlrt6isCTRb0ANyR
9yhmS1XWxNHP9fRfDMAx0YhmLQROkG9RVuXjxMCkZrhWdhVwP08ysXZNzH05Ua2cqARUw8GUd/jL
ljh2W+MW4d2PzK2crT5CVzvyNR9t4r5rkh4VjaMgEzoj+1OtVWhpEX6YU6NlPPHJFXj4NSHGsNrC
GyOVBGN2F6e0f0kIKpUJHLK8exSt/tjoVPDDWkulEW652VF8sSrfzqJrSkt8ep8xOQBLiSDWGPcg
O8jQOWxihUX9lpnJbdXqK3Q04Im+w3yvEfbOYmY+MTPPAQF2Zbybh3aHNj0XDcOkdC80ZOuiR2ml
NR6iaI1eoJcLFQPagfFI51x0WJpClw/Az66KJJNWp/Aqh2RIEH/iStQ5l5CrwaAmEeWu44LYCW8e
hpCpN7vSfC7oSE+4PkPTvIgqfk6LhffjSjXv62gWQBvWI1uYQ6eJg3mOQL78GrufuX/7IdC19OH8
YDHxeMtwDwEyNI8MA57QIm8qAD+5Ty/9bs6xd3Kski4gY1cCxTNHNFPGrsH5DIGPonCXIYleAQmB
0JmyE720YPOXJmHHxG/RN7y3lLPLtFWIquqtppE9I51vYViyyX9IM9UzCztyXOBkM/FrFmb5sJlh
RGTjMMXV9eymAOsmUKArHa3UkBQSDfTTDyVaZTuHTsMTAnGiXFS2fobAFWCpfNZL5WS0HGe35Kfe
RyS90D/28KE90l61w8yn4uuAWFwi0yiE9JvMrzUo+VFFDCq+dxv5V31141P8lcV8O86eV93ZRs3V
hns3NGDDtWdVzp6SrM9JWh8RSTV925h6+r39iCc28kZ8eZpBWQNh61i82hMU8JGa8UKgmRiE2fvT
qvmLkR/UJEgVuMzVcuzrMsh9CudcO7+v9DmMDWaxCGdsMwcCwEAEyZHEJO1Zp2xQToJClojZxr53
MMWm6gXp7ZJTL6A68aXRXihZoqaZOriooetyA0F7MBC6Cvx76luTFUSo2nFMBDzWUKKWgJBAkMB8
lojIjnwzsmYgKj0rYw61OvFWOiCwW7F+biOXePCQ17JLvvprBIe6s/GJhsU8PB08I9ZCOD6HoiOl
YU2+ySaU0M+XchOMmGeUVnFRjeqad9WtRUAawf2mtnlfMHv1hfZoMXtRYTVLt6UKp6R5rSQC7mgD
UnOVnPKplOmDilE4ETQZEH6iOvii+GMQJQ/2sSktOcImX0MLGy4hf35JqE0LINJNbFzPNxGX52Sm
2nTxjBrGHlFIsAAriZ80k4grWkFsYE+GxJeQ3qcelO9sH9FyH9Nl0MGh2faq8qlm/RZxF7RMFqQV
pRi9BTd3RQdug01twaZW1lKQ0fuCy5gDpDy8cYm92rR3tKvaI5hXdmrGClUGkZY+i71jQUoyt4jZ
/9szduwZR/aMsqdnDEgd3osa8z85zFdmi/UfPcZ31BmndhkIqToBB+CKw8S6ldrN92H6pnuEnnnl
XotvEHyZcSchSf/j2eRMB8FRSn2NK01BnNWy/ZJ3KshJ3I+GP8nxvhgdOBiHcu2BPJGXOwOz5SmG
rIsOEP+z/JaJonPW7pstphTmkdkJAO/Fbo7UVB2yLeMN1mC7gjkFq9qN0WTVHGfpq1wUv+vOCWqW
tW2e39OzwWjQFB/xrPr214RtpxgXoJTxbmiFVzcpJRq4EGNgIOwMFkAjnKLR4hsV6NP0JlHSZpCh
HBmPOz/xN/+S31q8Lmv7PHTaVbnhGr62y5XAJoR3+S4S5TH6Wtnd2sW6GWV5bydkBFYnLJllUKB/
yXxUJWXcjT2czi0bOUKggFXmQnmMbjvBQjxcHZ9F1O30bAL3ER0yh6nuNvycKmg0AwlbWwPLDBSC
YYxNi5Tx0vM3btGiAKFNvkSKM46Xt2bu31lPPoyYJhP2wG1Xfqyt8Z5o0ytEY22fretFaeIL0jGc
iTWs7+XdAmi1LlmoftsK2xO+wwQlwoSanIyvkh0d+q2vxoTRZQEFoRkaOetgp5kHlJtty+TZbAWn
ncme9x1aMAFhemqhVWd1dpKIQo0lfaT3Aj/ljFuUXhMmjtvGbsU0MqC1wobcdBGl2/uRUbvTSdY/
wdOt+MYkvH4KwKofqUl3cnmVeXDqM3R5/KO020o3bBB7diZgInpWMJAsysMhccDw+ZFU1qPQ6yeu
2OfmbrPQ8wGnPqM1eY5kQOJpQzCA6ZWfKM+PfCnv+ihdC627OPWW19N8/Gsk+53zIgADMjfBcjTy
PmDcQ8JA0ssgo+SM1MBM0GDf1hJ6u41Fh3fHHT5hjAI3nrujAdrOUPcUm+7tZ0EztzUffxGayDXC
47vaT4XpX8ulHwwa9VTHd0Be9nB4VMDFFl3D42VwFhTXj6JKfKacOzltnyTEU1SoBumW4cCjEM0V
tsYVO8pUDucVc9iiI6pQjZTkn9YfzXlHRcEoGO1pCD87UnXuNDU0NhOqcag+kCPb6GZD6PObcDuI
saeHO519ciba5lzpdo4I6NPc5Tzggws0ag7V+qXGL0fVDvAW23MoZKt2FY6KSsbrth5lDebpicb3
kBa/88omcgTFkHMQxE5ZAcmRERoscbP75qafbInfzZCwYkBo8xklbJUVp+j3DpYvY6JYMApZCtyB
tLQqM/UI+aG29f1K2jhttxasW8bhqzgCKC5m6yztTfwnaRBlbIRof2g57W1m6PeWb9ZEaKaaYdAZ
OMN7tXjT8E6eSYoVYt0J+QJclLHOwsinuq0wH3MmUMhNvTiWenrU+EzQlmY/G8VR/bdJ3Amu1QzT
JB6viZXEwmNkIFfFVMrA8rcomh0nKZgBJ4x6ccS/SPkSJaBg9fD6qRRQxR8Q5fdrjCI6F/RsR1fT
QS/z5LUlEixfUADdPGZjKn+mqXShmICQWfnOwMZ2Xvqle0mwmJVV9KBWYZoP7Qe2jzWu3f+YYFW/
Y5nRXtOFk76EBiZCjY+l0qWZqiEQtBAwaOi4Y0pGD9FolMHoIsOMTFRBCbomdAuHm6cG90pqPWIX
Oxb4dpkY8/Xt6krfFTvmVtqK1DZZOx3mlYhICcXUItH/aTj8gxQIIABoHYdNLGXVKhHPaQNRDcbZ
fGSdf/JZ0o0MK8N3IiZV2zdabP7yauimzGd/v4+UeG/iRCjE68JSI6u3baWoyTJkjJbSbA3itT5d
jBd89gBhUSQzWMrgb6iPqQFHryyQICQPDoJ/QW0J84XBBHBKWkVt/4LfWcjT5dgqyjN1WYiOI15y
OW7/N2PtBvPg0OGdaymgZra3RDJMHN/YmuHW+CXQOK1rT1ZLFA9bFSVo7BgsiisNH0QhR/HOq7T1
KsFpM26xPd0zaX466ddE9iPpJjw37KMYGBg/4lsn4SIGXFQD32CkXrQ5QYEd9rZaAxKTeBprnkYb
j5WmO9haDW96jCZuzNybVdo9VfNekwagMLVrAWjJPA9pkAFdUxOvGsYQosglwTaxzumVi0on5A9g
CjOqdh1pY8Qun6YoD1HA6cB8MLiclgMDc+Ks9eQqbe0RnmOw7urPVisRdMlq/rGffXxyxM8qMM+q
HZqgebN14Stzex3JEHS4UUsHPOhSH4XCRsbwNt+IEK/Y4TkaFS2pYXEmaepte4DZ+d3mWqzlIIK+
yIab7GEK65BnNSI3MuZbAgCyBQDZUfUxBvnbEHLnVFN0VBXriEnyrbOnF4AYrtO3IRimQMucC1kr
3PQlvXA+CYirkTgXQ48vOPvwor5bMxyfiXcdC9ZatWe7T67Rm6qOJ+rn9ob97RO9bgKn3wgC8ckw
7LBwmtBp1VPL2BM3t6UewDhAeaFMbF4ZvaVYDSgAHFX64IpXdPIjP2TKK0K1LolYEKpjBng0Lc3i
bubLXU5I28XiQcWpIq6TLK7OffqosleLsprhL75fs6BGqQ6keLqzC79aXXshU3TWmu5s65fU5Hva
tubApe2tikVyexXCJNF7h+g925rjPLlqgWPHLr026V1i3/QIPkBod1iSRUWLAIlyFinJoHvwtwWb
gCO4w46U7UEbzxQmNDg760/50GrPrT1QWpBFEbvm8SOBi4MtdMMn8BhSszNnzIcUhy7QMogQZzZu
xef0Lw+2tnBVpd6L/Fi/qoekZG5PjqyLNNIjyEfAmjKU6WWEUzR2cOyoUqIcVzF0mjcJY9I5kU47
cdTIbQGviYlPcMcqFWfplVcxRqiOHqXUhuaaGME4vahWvx9a175M2y8I75BnnbyShGpy5lm5zagZ
4yfaN4w+abnrOS7qhZDBZ+mMN5ttH9EnAkMGaK2N4Ku6eWoc9APiLh4lw0WiwzaI6pMuNV5O/KZo
p1X/5HqNs/2MU/kFphSDeQykiPe69DHLxBzMp2hSTDM4ihBwmqELF1xKcTaduhxUXHWQDfTrxyxS
z6/ggqika6pl2du1Z5D30AnsWDVhGoqxIs4TvAQ0vLOnz6x/9lRbK+fJSC6tXEEHJupeKJc41i6C
namNBh5P6yUpSbj6JRxKxNxLbzSXHFS+bkGthMLZcCvPOQGQiiOQZWZgjxL83u/SXrkT7ed1NHjI
G1fsjWrwTlxm4ceTbazgKGjgkNbfjXRD6i/u2fWHUig4HdGwVYw70gxsC2W/gZNc+y0oeBzxvPSE
cmgbFGNwKu6293X93ET7xH/X8orPcLtOnlnTEKvP+GEFdqeHiVkzYmJojrg7FBEK5nTghIpvbRqu
UUL/XffEak+unpnjhYIjyVbvilM8oodNh0AKNJ4Lcp0BRg70Ikz0ImS2trN+s7IH+XZGkgSCTR4N
G0tvYSnw9HjdR+C9aaxYxO1TvXYM0nUoDUpg1bDohBfJ+PUT9ovzkdrXQzPh68PQolF/yLc6Zf8o
3SwwtfPFDnCHEht8Qj/4bQpJVlKCZDZPkgXKMQPVlFxwuLdAlGXt1v2j8ibF9EWtSz2R6q1CheEF
XzrJKfvg26g1C3sqDkOcoPW3qlzerE90so/G7N8dgWgtuAmi45x+l3dB3GxLwQ7XL3AyO1J95RLQ
vOBWBPKnZbz0eozxt7kn8bejy68KDRqq/SJRrzMMYjfJ9gelRGisttQ/8RU/7dF5zDIsYmnYcRq/
4wmdbUZqvXRV6HXDh8Jkm5l0sgRVS+xxsSkDo2cRNIcZ5LXbKAKVmvPQZKCABxoeWFXUeyfUyRnK
mOdnXxkyz6qBkZc7NteLhsdtAmk3Xctxq0ihudjpT0XO4piGxHvgxO+XN0eujgZcXFpbWhLzLBmO
rAfaQqAL4cEVZe6KHS8xdemODH7AtGsDnYtkdhR9HxcvkmXCHzV4MgEpSB0pAtWm5bwEEImhwWw8
jcBS8mefsHGSiMsUEy1SGt3jDjCVWWcqGZ0ARh5rinFA29QbE/CtUoc3XbFfczzC2XO7BRN7uLST
eq4+op2C9mLqpIv3TjyeHtofuvDoVFCDRmI576bjQG520eq9uipEVtiOy9FnIsN5RVIuybDLgDA7
+wkE14Yh2ucjGkV+yrKjhn2K1B26AsE+BwNweugBJJr68AR5QeULWQkoRawmjjvpmPeLDaCkhnY9
+6pQeKLvaoWL03qFynlnEnftxUGnz4eFE+rIySCiz/ClpOVYZZutkBLA3xZ9sbRgW/87SjPTJczw
xQVtmGTLrmbARl3Bfap8KnzdvFBOpaQ9zF2NbF2Ze41sDjUiCTk5je3J0KIHA9av0qPOECfPRiqV
Cp984Uub688Op2hPLH0B10wjlGDLM+/jQTvbFnr5P39PU16IshdqvYzDAEWEfXAZs4PoaVmafWl5
6UhMMpB0FYmuhALwCpLsklxkHd0JlIm1EGsQoUpiTpAzjK9xhTFh1M6tgmbQY42FpdKl8pmX3YTb
EV+GqXO8Y9w6LQ3oB8YMKwtDV16XdLrkgjcu8GHVT22aNE08DyI7OcgAc8wp/2sm48FGyiVveJ4y
4s9Lcp31XY1XYkR209vnlrBV9J+MxVl5Sw5GMMzKfmDPqInsf8HG7IORHDRtGeKLfLYbkoVU/o5Y
osvtCK7cbEmcqxhzUyHgDWDptMqDRSqRIX5+TqJ/NUxQCLZ7eXOBN1DcX/M3ThknNb/UlB0OoYPD
OD5k9ODo1PLo1PIkELgHoExSpO8s3rrar1V/0WvFG8dP6/yg/RqiDZoFvirLwxZ6NPDk2xPxDiB9
8bhf0qN90VwdP6op/0H38CepP8sdPPMQJN4hBC6CW0EyU4zdWLdXV+51fN14nCiPVhUa0mb6ANpz
ZTlkxLnwTRmaNuQCbdZOSZGFjbqEEjPX3M7OtkMtCwYT2xxdZ9NZBi+ygC03F2fRQhPgSDq6iuOc
iL+eW1M5L5l85u91Fog7hvGb/K7Cws0whmZS4CJb8bx0hIIYhIY0FCPh7e1pujTscMWrw4kPMtVk
hTqWZ4mTkjkF6twRLX+hPWrmi7GczM+wj9UkCdD7cBmESo4dAvCQyjFAT0hbnjN1elkj7aE3VI8p
nB+Kc1WEIzFZDuRbJ8Kel0yAo+IFsHmg3NhX8AWnUNzrkawXCcmxvanyxANLvLmVPzqz+aDaPu+z
a0V3CIElh+VxEyweJUhcLRuC5qPXfdliZ56FdSnOoeMzgFlPWMZPMFSBTkoBKT4M1/CS1I5X7FbJ
xcR8qWkNrFlD6cUgoojgkBA5UM2HEWEOYiJStJo/MOGdI/tW+H0rhcuqA4CaLjIlSEZLOn5+VXFN
W9NlpOBOa/obdcBs77p3mid8HXb6iOvGNMh6SuQNh+bQYnypxoRjGgS4xdozYeFvMySuIxEoBt00
aTJf4Rpin7s3MvuXefVE9rkOwQCxmQHKnvJaTPy0MaL1FqFF8cTSneyKCxjdo4VlYJgvUUPc9mzc
BM/mJ1xVNpzGeKosH//GOeo1+o0iLF6pD0qGAsbxkjkjsxA+A6rBnuDUY1U18MpwSNv+3ozDTdOH
awO8R6gaPKEWthSwlZH2Hyz16zEb5MAyc7cqyIJNSpiY83koqsvrPBbXQaH+dYdsdoNkc3NaQonf
ppK/qo38MmImbmkybDUm7Wsg0Uy79GTagxUn9+i3tfmRZ9KHEd3SsjpkmhN6eqho8cHJKoLTxt78
a624kAAVJ059rLCq6oCKGwjPCZULNZ0Et3baMFo0hJZudlMNYgPLCKhypjyIfc2onyhfwoSrEIld
0GBZ1wDEtOMuNshispCC6t3ukpaZgVX1ezi9e2qloYG9zkVLD8K9tBqgoyf6YIr6NkjAjmLmP0aJ
1pXTRheHzS45CED1dANwM5CC9Tq2ktFTxJbP6i91OKa4nhUvWa89EQfcUK5HGLhIdrkLN+iqy4h0
ZmhbR26zc9ZeBjLLY9xA68Dw/49O22kyUDLjoLKywMKFOIouWIYpmEnQtSQWFjDoJxjjG/lvb/XL
u3UyP1MsGPY6kH+vCYoBICLxbJN4NhpAiS1VtPqr5s1ac1uFuA45ewEbf1Fsk2pRPbFIhAfQhLCd
IDknJmNHLIwdDTQyYZg1Oq5T0ClUbPVtsFhdIAWDBYHDxN/DJ+bTxGSftaMotgeRMzQv7dxLZwNL
T3Fx6JBN9Dk0d4+59CIoWRAp0LOCCjKai1F5FKHUQGZN0VJCU9ePStsd2yg6LNuTw5tA5Bd1hWax
IaRbGgki5DZffxIWJ9//x2BAmlOt0z+MNLsr2Xj97fP20mA1KxHViJUKvQpV2eTgZb9Ja7cXyPgk
e/5/PsS+SMeI9oKYWIRmx+GIygH+XWDmxKZJO8J55NAzxyVTZoCsXVhhA82jG4bCUEP2ImAY8tI5
rO0jRvka+yxsA7EydYDGg9MUb/vgOpZJipowUmXt5w5aP5FI4hTg0Xe+jP23OYzcqEtNP3z6Yfek
bbDI1cr/aFPj3AQyhMYJQafeRjr1XVVaLHz0YlAxau9qTaFilLE8quT8XvUUUh81tb1uC2mhPE2E
PJwpl3YM4I+JASnqznN1TyXnau/enYJpGGdQml2h6/uCqzY9dFJmoxqOmfSe9+Y7/9psvAwSF3ly
jWh6zs74YG50UDH6oY+nbXOIZcyG8k4BWepHXjLkN57ESwUYnfwxu66ufcaLHMAjACs/7uTRgH+Z
cjxqt6PnYlZXWlVeDPKIrbzNYStPW9jml//FTb2v3mnkhHU9d8XR+Pk0iaFjUgtLyQyT2Aqrb4Ud
XX0oDYpxamaczNeiUNARMRh1IBTPKSATMet7M2uH263l1Vxr1p3NyY51c5suEH042pifG2iqiVL4
MtSEdtAwKca7CyISvRugjg5zmt5D1CKoauPEzqxeLyYKdMSeTWLmzUNOTOi2LtVt9pfoxVLac8cB
hqFJdmXQitaLFOVjmKlrOBUQc6GmGvkbHiAiOS/EqN5UY30tZeuF5zlWj2l/c6J8J63J0awkD25A
lIAK5QfuIMNFHYv6+d0ouH9k1cUvSgsWiz8vLSgsEuInikVF87NWqjssaxFtTDNtTAQC/TAR3Pgd
bYBjWO0kfnySF6The1nyk8qwMCDNOxxywFklZZfHpHLFaMP2RfIYKqk60PtLO9xCzY4h9WyxZ1VC
hKGHgM0sRy25gMv4YVnPpThFePRiDQdPx6hu0I967dzHqv0jWHEZG6lXRpNAf1MZ15KmZl5HUY07
OzqxjwycYyYPf7vF9gXIldQh/pLMDHuFeqq6ZPWMpocjZvzONg6q2CKr7Mw0rvE6t/7SWL3OmHMB
BGclqnMeP8xceDNCc+LqNXaz7+JLZLu+81TgsBB7iYl01oI70HXIUzvEgzoWEdkKM02LXIUOxLo+
GaCPyZiu9Zs909/7sNnjIWCe24DuhVEm8TBx7SlhKPGJypdOLTxgJm5GnzLu7nDMM15Q9zKjtsvU
HzDv0orWytI51ZLlJaPprh+QnE52el2z5C2LEJmaN1KdSFOXsvvIzA+HBW6Y3azAFEQd8FTPHu1f
vlN9snPgT3JV8WsaxBKxCc+a5goBI4T1bwXrWJDyqio01igD0xJa2WtfPCrlE5jbwVp+kSay6kNJ
vwsL0QKhNX+nxylFoxAcP2fCKcL0jQIuBQllShqllgQe984wUXocuSrSiR6jkDRe32LJfquH02j+
q8VfmdlUYsauFBP2RRBxdsN0nHrdnSTDFwN2bFzFJN9dc3ol1+ea1FnXMqYHataLmzHfHEbWLCLT
p75wj7THdOGSyA+x3DXchOQj+5JRYceesfweiEwS36Cexvoyysaz9Y9a/KkpS2Tf5RqADygZ8PTo
n0GKuk4Vn2mr2y5/c6STNiHJUrhK85FlV1A8nj3WHgadinUhULXlJYn/2MvnRM6qJxEzObup/5qR
Ktd+3DV98zIweOYvoKSGOxs3vqssftWb1cuHXdR+1TLVjlvjX3KsZFAtbMVeRjAbkVCfNsdEBTOf
qO4q3YEUcg49VSReKftVBiYBrMDmY5LsLxrUT9q50rUfXY6uMXiMusmCcluwJYmJLRC7iJ8hkkpK
I01PxP84CwXYX2AgY5L20nJKcAYtm5TsCmUI9WHy7ai8wN4P8qj5nqh2W+34fUAX7+J/XUxnwVzs
nY5eE0oV8zmir2j2SpaKKP9R22YnTmb0zgIDke8mMTMa0uoK9PYCntcfHYX9G+0Enl3p/0kN9OOW
k2m3MbdMjFOidjX24QVZRlsqeTyzA2Qg1flX2elOYhxssDUg4AfMi8hTSrt9Q/ip+V6L1zH5m4DJ
N63Z08HKJ/VnX2u+0LCo19hXwJBgg8R1i5b4JkujmwEA6Z2/RcEUCADKHCFQshUpmHNnmpeu7/r8
asb/FdBmTSodRhpsLfEqw/M2NhvfcO+plRyvtNaKPJhJ2E8CrBtA7IY7gHt7JfI0DfQu3+nI6M2v
urMuimT7fWMDwYAK02nE53PyLNz3nVy+O8p3stWBcZ6w8X/hxKWnuPrIwl56UxkiFi9p9O2UtxlX
ZzlgmOH2dxgnpXPJUTXfhn9c8t8MJ539Y3Iko5qjuHOxqQorhWvwfqRDl+wGSkcRB4Llku/+f5N3
+xbnHGmT9YeGXCMpd0YCDMBuodXxt6+U1i3Yli75M9pj2Uynn1j7MC1pYzF4gB15dH9GVeM9GWLH
ILhEKGG45OMviJYughP6n53/wWtUmH+rbdrDkUYg1lm4KBT5YVevw3Kvci+2AoWuvuRVJzWv7bCB
pSzuwCWKcE0/U+M0YVKPcHNhXTsR8sjM4zi8G9C9Z9CbBOH3vJFzoLiZz/9qqVdUHnKnjX+GpoHO
ozw6RkFstg5gLCGp380nnd2u9t3TvjbC4juOqx8xoiJGhBGRxFtDaTJ/5SMMgQlUgkYSDRnuzXI8
bgfquXonFL3fqB8YvkHKvGkAV+zG5rt9FtJX8o6Li01T65qQeDstZff31NLPQtx512AE+aBOxded
/2qUNyu74NHvpocx/lNLqiY5G2nULH3m8Z95Brc9EsabSFc02nFqdfo9/+Ra/K7b7zZDNGv8ZTB0
qLbjLynylV8bnX5whl96sj5KYFA2q5tTW19xzpcmxRqlCF9KanqKLTiavNvUzaAS+qv5asBcya3X
tuKOsMWxaEmJFd8lYmDFm4u7gvukGG/pypsDkj1pHZ4zc79Gt5r73iGyL62KLxh828hwlya6YgOy
l8fEzbXUeOcW1gd58MXXKiMutouf8PaYef4r/UMb/rGuHzVJ5VzHPSclBFCVE8cAfhgbm8+VGQn0
Eipgm3yv0/LdJS1iOolAmnQyHVJGjU+nOWgZwW2d/Vr/UibnjN4Nk0K2/20pSH5qNJWX5FXtvkdv
/Oy3B3ZiCqm/yfN4aIYWiBZ/vHFfCIM5DadtHDOCPQMeNEdM7sr3T6ANdBacL1CIFkZvsOgKs66U
xVUZf8X4xxQ/WzZujEnzoqxMv9S2g62jeU1CJ4iVsEvDYXxV03sB/pbBbwX1IaiiF0n9B8+AfETn
QjpRzP/mmJd5+wehpJGuHXlKXMrgkxGSKTv3KUiOsPU5wje4iB2+WEOk+8W0vYTExTSCSKSzgV/O
Kkp8jnP2BaYZSXVztzg4xAwsQ/hfi4Q4wzKgiBb0wdWeINazxAXgc8G/uXqLcc15h8kUYJND1NL9
5NQ8899NW3l6x0y2t48oYgRN//ZKucMN7knGvzrCHDGSHYp/ijzFlww9u+mQmhLPkm5jSi8KVQ/O
tBmjBp+JmXeTKb9TVEKu34VBXrp/WZpzqfxOHXwoFi5j/acpV1AXuVWxMes9lZdaTCusXPbMqUz2
rMu7yfzXIJLISx5C1YisaaulD/rTz0toFggkujy40pJe514DWow1DYNbTf26gXGOKoadIV8NcPSz
dNmyxcVVjT+xerXQq3vzV63/Gca/RoZH6/wopeKq/KSbu7SSgQ5+sDV2TY1zUI+76xJ1NrDLDwN2
s9rLrnAa+Gr2dQSX0ZnE77lBzAykXo5y14dj+amBQDOY/Tn022fMsY3Oj0nsltGKWEPGoQFDz/+v
UoxV0wjWx8ib5ciSb/PTM+tCZFv4AlUddPYH+616+sf1bKjIG8SjhThgkgg8OzJwsTzQjVfH7vEt
PJf4kejvFMGB30+6z676HUyM4CGFoAtfZpVk3sB6iq6FYD4iZ1Tql4wftoEZZaJ+H1o8HLTkTdHZ
tP2xP8426cWPRT1F1d1UHgvuWsyEzqFr7uyfHPmuq68j53GDgSniPed2BD2Gz2D91ezMKeJ1REF1
Y4j2OSBabaWfNa8xsn/JFatdWjhvE3WRvQ0uSCZXOWUk8XWuvBJqQg3mnovbkidbQJD+H0fntds4
lkXRLyJA8jK+isrBCpas8ELIoZhz5tf3YgMD1PRMV5Utk/eesPfaMcDNgCQcH9+YJa9YJauq6/TZ
JKBI5/iDNrmeIBAmX7L/lMcjJD8iMdvoSLHoF1DNj5m/adK5pS+B4NrlRqORR2kZXXLiLDLQULyt
A+S7Slq0NWr8C4LKvFzHxQOsSRx8jel7CK9NzvDuVQrPUdlaKt9Ic0OS38Nv2d7Bq+6zg4n6sYCd
gptTkNwoftriUU58EXJvy+8e+9uUg91L+Ad5wam1BXSHlge7TVXmIlut2geQtFG7tdbRMJWt17+q
8E4kQpD6swTvnJf+xekzM0InMuJ5lp4iXBrCJZPG8x/Cxk2MN5j0dIpHy72L4Z6aaEMLR9HzBUQn
x4pOFX0S+l2CW0uFl5DqmUCzWP5uh58uoq9lO3QUwYLnQZdr5A2ngTqqoEbOC0yXuyDiiVqnR3MS
CtBbhphdjhJehgiHTKS7TlJ8a0zdhPyVNbcR0ZvCkUh1bIEPiATQ9AA3vgWNZJTIcUppSPDfYamx
itJJML+62S+wATdyZ4kG5o8giKR05wYecJcPtQJU4vEAlfpF62CXknIkeL4y/mBksy2xHP9sYezM
5BkU2bdbD9dBQjmIZSUfbfb3oG5wmgX2Q0d4DsHg1RtVOtPYOWneWUaLkCErYBUxb0bWEUq6DAnc
S+vkJzeU5aA+AgMFUE6aqqLjUejPWcHw3MC2F4JKAs9bfJkka7CuTLzxTw04Mkut+gy6Cr8d29SM
jGs4Y3YaL7x4xzZgiX943xYBRoz0wtew7YDi6FCeI07Z6Q0g20t3eVKAVio+w1MP1AM0duSH2O4E
4rEIYajw7paFqcvzCzwmxE4r7rQeZrJH9pLsDO6p6t5m8uIL7RtAUzoob3s3ZP9SQOFlvQn6a8t9
6HkkISgXLSodU2c+ng77jpcmw92rJTYKQeWD8XUhIyGR8B1UwI+J7uaJNeK3okvs/7J3FBCD6Bdn
ubGRHJgLUkTndgpzBzuLXSUnLxiWVfmKwNVarFwb1s5c9eoQLTogr1ZYT6kF7H6hVwgbaJ4NxHpv
9cOKncoWag3cb8sxW+biWE7zNlyXsXW0MnarlKyRFx9kk6IHH08pD450Z8J8w0DGQUUyDR1P5ofb
tvfWnBxIbZT5OCJD4U2TEtZJmgn88Ill9qXnTB40G0gL/exPT+UUo/+bKWP+Qtj1qjz73JIFIcv1
JfHqk5YhrSiYjQzRh1fm/5IQ0Xp6UJCHAZGTyUIM6WW+JqlpbflYSeEg6ZSY6dLtn7X1U4e8F/wo
Ykw2dSYtbA37Tv1IJewHD0aX8xbmmQ4rpQ0uAd4OJEvwPwvFvoCEokGImOpRHafVpz4U3wEz+ERB
u1q7wL1zPf+xyEkL00ellDuvYXDAOogD2wjzva9qm8iyL1Habl3yZcE6UKhwK4DuCohhSOgR2kRc
IhXfmFaH715TjxBncqcZe8B5MXdn/5Po7tefkAFcsl7xMhZCFsM5Kb8pff+vlt1jNIBfk5Kjpnb/
WFAtIrhpms9fT1KxfJAqMqt6omBQQRPZuriWAevZmMFiILHt7i5WEv6T0/4HHslelqAPQ0xLqG+U
tkc8xZhLYZMShctWbjeGXzEa9VB0NLPEK+dqh80fFu/0CWoMwlLzIA32ZzI0uxBBi29jX6nUBXR5
kqtIZQ1axh35h0uxXhQvIVBUEjzRsPFxWq8HjmU0lyhyX7hqr4NBlkLR7TQBLsvrjyau91nTUgPU
A+sorGIjPWNu2Kt4xPgWl1cLy0fqt0cRtd8xNxNXvNEb16ZB2UkxUUjul12le7PQg5lX1biT1Z2i
KQ9IqItUjyGp49cZ0XG5jfU9RB1GP6y4yYTrjAdMluTPZrTFCe4DcsJH0a0zA9aaWnGMyjhVa31K
O0L/ph/IXroHzABnEclXnqsxj1fFjXnD2eh5+gu+Ui+Id6ifeIE5jvWioFAzTQZQLpBML/3BTnTK
/fYCAJrocIYXbbcuaC5ln5S16Kvme8aHuBoHaqlB+fM1HFZpD++0sZmzEx2WfATTV+Ro0E8KpB45
4jiQM526JW53EC5DInemcd6I4jBYoRMb7mdjUC7197qW5mHrz60kXza5elMAVOAMvYUyiYr514jL
Q2zd4i98FiAsM4VGVFs26sNQNmrxJQueNN//Vk14wLXKYbzJyL7ur8k0Z/Mm96737vTuq6kTJ5F+
ZSYxRbcR+Fy69pmQy+yx4vYhrQjaZFt7RSb29yRypCK5ZBYZCW4wq+SvETmPOwPN7rg4j/MBEGf3
q4WQVeaio1bydDaQQMmIYRC0EX3IH9xHi9RkGZeLafxLE4BxrTz4hAd2uBwNVkL4/Q9j88/tm3lW
3HjTPyxv68fEQPTra2Hv4+iap81KWCwQ0eMz4uFgXdvZFauYI9p7oGS3CAEDAr64+0zDVwGbNGtM
JxpfBRVVM++8Tz/JyElLlhIRp7rBLoHDUInOTXGrqpuqHIrUpp9q5ono8flwIZk7uYpu5OrOe5Pv
WTVocH7dwsacleuYXnW8ICD9YctHLaM6/n9V1Z0BQqKi/KbWmzVcD/ol0qzZAEKpozeyegr/8pg2
7Swo3U3vm7MMK1enroUNNfdi1o6cqrdkbLGHN86kiKjcYiWRzzGEgA/Phi4Tjg1AGNobQca0uWzz
5GFuAe5XEYrk07g7IPoEASN8lklB5/iZdgEntHVDhRG+Mst7BcsIk7dhlqAjsdC+8q7NemSvBLnQ
B8Bu7jAd4uELGBAHWTIv+BuYJFuoUmzl3ma33jOhPdzHYp5mqMFQb1TRP98+hj5+v62qPGzjyAls
6FAlyb5+e9lH5xmIrQ8cdWDKS16R7/gqFDHX4+6oi3JRRrcyga2QMf1ugY6uPZgUPD+pXM6IIGTT
5ulALfdAEDPcXyWzpXXhnW3AOfUa7JJKZK6HHBu1LIusAkPBjPgPzaSnR9NhO57xoU3dGZNTojGr
TdJcFB7LAPGcDCwY6kfgnVsu9l+SHTF3GpmDuwKnjN5sDXUFwcUYri6NaWA64WTBRYiyiiLgNx0i
DFR9G2VD+ImRnEZ7q7G4MlkWrBntEaVDMHrvzqIB4dtcK2bdFDn0ABtB9xTFH8w3GxmYisOnx1Iz
HngJt01JHDg+aXSWavJPS5CpEE5Qo0HqeKCm50DnyuvFb467OJnYNttIbDFtmOZa6e+ScJgRIONO
2xUhILAh1BvUFuspiQ3wQxuZDqZB9t3zJEf6FPy6KFrYutGumNdI/RT2vKw/uozRdIOlvJKcax54
Tg0uOGeLnRl7K72WKAPlzxFWmIGPZcAPJuMqKvRi7keUImg+ihAeYvgUaA+4ujMet9x+J/1Nt+hS
+AiaZO7n2Bsl5uc2q1WPrYv/B3hyhuV8FsrJ1Ru2eonMAeXoT5pwghZEzTAjQXs7kyUYNDaHMtF4
0a4Z+Ui1eQ3OOMgQuLYbc9JqW4RAqfgkK//X9vYuH0q9BKFM0Ylft5plUBCTW6CfIVz7srbEBYWo
cJVnvLnwRxXln2Xf+x+9fLjKuYa63oCZmJbbnekUjfllaiYX0BseHfstfkhguHxSC21c41qD92XK
UEAvQEgX4rh6mUrjLD0G5glPSUTWth1d+FeRhWqMWjdDcMB+BgNx9FZ6uSn39Jdde7PAjIctc9CU
CPWEZNJ+PVYw8Opt7xKi9GCsm+SXtiKJeJ3ABOqgIurHMkApTOHgB0cziFbGZNwBkaxRt7rk3TAJ
SI2zz4p12pHV0qPn4UHFCluORZNMRqAEOQVt7FtGnDfGOpmfMlM+Am5Iry5UpG2cIiGwqwjJuCap
Z41U7244+eABBjdFtmqh45GtNwwybMys6UopeemJ/BubhAi6AyAUhlTGOL7wsyPdzX+KRuvY8TT9
orBKcBvpPiyReSdsBJqcMzTKIN3aZNmawXvQipPmZftRz1gn6wZ3KttqfPdtDC/IjKgcenG0VIyY
2pn7/lhWJL2nenHtOfmHJtvUfbKrgpFNuMwsBLUHmwg1YCBUQ3ejiJdYQeeM1GLFPxsgdtIBlYma
aLspurtOjaXui0ugSM80treKrn9SC7Dkxgg6bGtuG0W3liX1Z27JHy3EnNQ/RQ00aYHSUoQteg9e
SD2/4qjlDYb5jZ2k126s8KmlUDZ1aLp8S9sz8N+nzDH77o5s+oO9CDotbaGrNeHNDGb5Y+yKYff0
bfN4KeZfxnyxtX9qnb+MIaimDGSd53tvXGcKCwYGHJjwRh4jwxw/InKRGzk7CAzPzH5syYSXSwQX
IYAe84gWHVgLMSXpA0i+4ToGVRthnOm9VwYcrw+Z+VcWbzrG4ZpckqBY2AI/sxXtSBxZWk+DXZFp
dAcI9+wAwOBbPqGGn4b8Svq3S45fRexjlJofKSCMQX5mAICMZkBblWwHFZzkYJwmQYSi3C2GaAOa
0CRHrsBD2mlOPpXNBi8DWXkpP5fc1Ba1aBdtVGFF+yCljINSXiRsAKuAWjHu2BxB8+51JvsROw5Q
/z7DLONhmiRrV+a8kVdZIejLEOSiTgT0x+B8nNE1HjoioQEKCOla8nzoCVWyf6dNIiciKnFlE7Mg
d3MPL5CAna9Vxpp8B5K8frOGxwhhAM7AOa3bXOtuiLAONb0qPcGHrKP5DjfwvrZkKVLArrN3EGyF
uJHA6sjIIWyVxwpF0jSdhmsAiEIQ1Djy8bgSVA8ysXNK4oLCVbAf7CmSaP7oaVRkCqfRvY7rGtS1
osEv1cIjirlPpNyx1J/GTvsIKAo9NjJAnufd2KCGLWa2n3OZ5kBXTLAvlMz8VqNoZthN8OIDVFp0
ujIbuQ+qhDp8rOxn12m7rEIVDd5q6LSZGAZHMJxtPJMwK7xVPhNrb4eSTY3itZZC54d03xSAbFg+
glq2Evtg+eVycFX4sCdb3oeZDPcBWLQpcZkx6O6mazoHCcOAZngo0QHgtONNxQEzoIhg46p4a/GP
133nujqLzBYJeYGDiATlwZqVXrHTASjEpUQHNMwTOpos7Zy+PMrVn9EjrAyaWcCWruDFAuLi+Ka9
lbsEsMpJxk5X4KNm8ewz3IaPurDtfDkg2pTbdTlEc53zAbNG7Z0McRbUNDXBWgW9pV0rd+J9jgGx
4lZ0jztwoQFTRh68lF3MYAqqNH0G9p6/6DOhlyiZcwlrLQnmEugBxkBnh3+IQvlkakQLJsnCYOLZ
fEu4WxSVLFJVHMELcumj88h3mEUQFdAGjU+zr2am0m76zPqI8LDr/MCrabGNwjeNuZdtNJhMGNXK
EZwedYuyLMgYSTBUgBEVZw+XIibjp5U12HsVdykzntZcSpSJZsR5qVuMIAhv4gMqe5XlSIaLG0e0
RofNjHOQvkzvJPdviys7Q0dT8FYVhH8UA7+SnNQWZz+8KcwICi5kPaeTr3mmR4UXwQm98tAmzS6H
FeUJbxN3PuZHyPCg6R9KwsyURMWxg62/tUqGigS154OJyDqZ2yOmJRihKLWOES40L4xPNmGr88KT
2EBaw12CL9qz4yswLuOZ9QbTMZp68i5Uk9xGb14JoI4GVXpAm90a5OnmNPt6gKMZ81wx78AEdXnB
alnlldf3GTmejLTMq4qUBnAx9jmy2YDyZEDEpDE5F6G7z/4NNAx9+rQNFGGQeeFjzlpIaLmLP6lC
TAkVCOgsUq4OkjWRZ4wR1Yw1U7YNKHOt4ZnL+GB6jyElV3QDOZCD2hb6MxN8LR4AvaTTCNoGHsWB
ZvQv710EiDb8c83uZcKKdFUAOXB6p6V462scK626EG6PQBl7oofPkhKE9D9nFGtJYeUfs/AH7z8C
MoXppqhAJQtaXCTg00MAH1y/5GQdOHoTfbfkI0hf9jswrUNrMXnz9OLEfHTtc243zUEvhha0invW
RP7QxvjotdquZkHfAvPWqZTDhCQ0QhJC7lXmHdIYfMhRu7WCGvW2No/khH0znY7x7JuKio8tbonF
zTXRJaDhoztlhzwaKjE87lr2qb9MeNqlm/BeZxfV2CuY9bTEvNMArw1SMnOj3heKD+hqmud+CKqe
1mzfSuRvyhR+MF+TqppbO1urI3aQnMKwgP48j5ofo7uY1d0WsdMaU2Fhq992FT0z11q3Pst8D72p
toI8AKTL3NZBcCqE9e6n3DI+frdrmYta3s1HWKInMLo0dasU6aMtyqPCHqGlz/vFK0LPmi+i/hmw
+rLOISWeR1Ko5rKUpHxDD2mgQ/TUdhm1suOSq5M3UyYDU84A+EcUgKjzVv4xl5i5+Fn/Ufik7I4g
vUQzTzHBYuFauBgMIw7wGPgqPnlsd2xDAviSCjMng22bZ+z6poNdGMzHtlq2JoD3wIbhLrGa+5M6
pnlkkytlzyzuhBDRkVCchP1HSBSPP2L2QJgQtTCkGp7MYlzbAhUz5ZY7ZHDceRiVl9GkRFtUM8XK
d1nybTFrYL1JodSTlM4ut3KdXIkRpl6t6hZABrPrB06o1Fi11lXRXjovJ1wylEdAv1Lry2x/FEbB
bAb44ehAemxgpX7/C8cPnrrEmtBfeMk7tDxQyGxmIXuPAIKGQwPTPBeEKGPyspPTIP+5LEKy6lFI
6FPY0LrgNbJvqfhXRzDiouRRy7AE3dYRgPiNrlxHZnUcROCC2XYqFwGPiutLIouK6N1zqLNSkxpw
lon2SXbjXLZJTzEteP/ZXOabltKTmmILZO7Scgu2QLZSqGFCkIJXglJlPtEBEgohCQ/JLjZeU78V
GSY7IZd1haexmikCztGmvdASahpSRPucFq2jT8mQSblKtQyWKgVkwzFbwJ0nGCZXB7agf4KigsU0
X+nNlKnyOYAldqqhQRXFYimufaQ/3ssjqjKqqClwGnvcWpL6rUwSaGZ6Eg3ktKEewqPRiXdDKK+P
Mj5aETS50BgrjoQXywXOmAEdSyfNBwhvKQYXibmHhKwsPYdEOPYe6DM0OwsdNZ0gviKJUHJQ3qpd
NKmOxupz8ANOLlJWsghyBCqLUHtH6ELT8m6zkWyXhV2yJb9r1AweELuy+UUWEmLGyBA/BymGE8SF
Xo1Qrw+PJ0rPBd4jDM3AIho4QEPlwH4C1A+F05twJ8GGwR+YEyo8s1p5ObppL/waBQvhkt7Ykgo+
JG02TUM5Uw38hX9WViwingTTpDDXmPp464reunbFYrqLIxR+cZ0AJn4oYbyS4nalt9W8DN+ddkVt
yFJ2G2oj6yHQ0u6tYshZei3DSBJnpVtcXUPrt6peBYWY11ZOygcf8xJKWrzuMkZPjAJM02TVmzoq
czsZCx5m90Nl3HqL7IZBv9mUsLDC561c/qsAl+DgZOOi5k5YMbqrUPfFxtvA5uFW974ZPdYR9qdP
q/1/sHx4Mvzfki4NxxUtAKFfDcootzuH+KTUU8By2oqpPi5yIm8mVYBXvlyb2M9GcwCEs9+hBjas
A2Lfeiai/MeUiINV17lwP9oSb8TQfbV582V3e5cQWwllfPytQACwUdSlOWo6n0B5gf6FwQ+WZK7o
waGCXfkGbLu++izoElLhr3LCPMj/cURpHIMaozACs4WU+BuyRq3wU0gEeqblhgQcZkIkUvOv8iXx
qWhra2+bCnrZ1hmg+wSVWDdKjsJW2SWd6zDFYn/Ie19Ws5w7qeBXy/3MjMeUpgG1BnDolFUPyVC9
ujFZ9yaD2P+zo5A1NbOQfMMhYC+j9JRqmrLK5VvZdZ9WhVSlqWKSndGU8LPNEQ7V6s1U37UbkLRg
opLqyGfL13CydjQs37KbnPzqUhOYFrvKtiJYiEJu0w+QqCSxnkiklMQmM+pE9uiK6988079N4yl0
ZF4IlCpdXbgKiXa0AVHGgVG4Os0MuHwkiX26juRqrvbmzoI+T4jXxRrSs8jGnXFVmvEqjGoXy/Us
95+dfg8xGS10sk5zxoRCYnJmz3X51NprQ+xK9+qhZukV46HV7q1GX9yGPJ5mivh0Dt6Uj1I5ShVT
Gv+HHBZgSeZm8GAX4aoa4aKMfbmyJW/e+IjPCsZSzJDUzlsVSBMlLhFJeoqIjRaLvPoUAcWOQlLJ
lM9OfkySJsXz5ykzbJsYC+Y4To1JqyXVaSiIcGF7H9YqzRtrsupbFUhnxD6oNykdHsCBQvunmt+C
PYJJboXlZdtK4qeKcDpLM7gNKag1a1tp2pefBfMmu5Lsk3U7swjmqYckakAfUK7FAIayzhcmt1bC
T7c0tm38qOJvQ/tAdnnrC+4bX35lyBCpyBySume5KbFZgAweqTefdblCzJuBWLoXI7m0ELWgc7aG
S9g2j46PXssS+i3sJp2lov4EhBd5AgyGir4N51EbMHBkVlIIeOLNKmYuMGx4q4yCKao5YAWjimLG
rdAqpco7YtuuuhJ4+3jnL21jvEpyt23HkUgirhHZGP4Cj+FgvyqSZgME31Hdrya/qGJpAlB1CUEi
Fa37KpiK+nHkQPp02RVy+3LazyVSjhKZiB6NRhO9VScZjpUuc2ROrnaKNJiKj95++uoNvUnIao71
JS7edDmAB7ezhAsUrwNNdQwVA8X3NquTv87lR8gqGsl2MyAUxn3NwGEULoRl4n27lP1rYTqjP64Z
bHUGoHE+aR++HubbAk2ZexzY0hNU41TqWVQHI5IcpamdeKALZwXUDWLm06roSbtkQEEiz8rQcPJB
Y6KB6Lq53kLnVhYpCzHKE0fh5sc9iH28nfm+vBoJQdWKH/OH1EUu5w4kx6YqyXHfoXugAMMeP6r8
WDsnQfPZGMgCA2YtYq5GHdQLfzskOpxpRJC9vKiBG1QMcjV9M+j2ywWdhDYOMiALnM5NdwVkq0Ix
ZuFgEByoHGqjR8whzbuWl6749gCr6675UajtudZrxDH2yiKOvsqzjZ4m86SiO7Ng4YuKfReCINST
AiV/1IaLlErA6PHgIfIfYTTfeyicau4vKQC2Ln5DQZq4Lu1l+SthTY5ILfF+JUQbgfbheize2UhH
7SHjFitccKliOYkS//9H9pFy+1T40YfHghBHcaiSI4QFR+LJkQQBdt6khEWzrHxq3pfdL1T2VxNO
rIBUAx9nzIN5UBBIM/QUyyOjD5zsylntdjGx3BKVX+dbM79hXPgP+EAUXOrsJGJlYbBFQfq31dF6
qihnBgI4EZmxg1Fo4mTlX05MuPpR5C+XL8EKv7vq6JvPIX6rym8x+vjNqWKY7jV8cppOraORMCYD
VWl+4+4njR5p+6UlF1Bywlr2zDmX4ARr8JMuihb50lLMhearauF5vsKIxJBNhEyettS1/wTCSK9f
Gcy+xrCYedrJlLclP5aMb4YgKdrrTzbTif7r8l/GcgF8w2atyruN4wEdu5ffWvUGbjLUb6gVffZh
9h9HeqvVp7QNkUx8ydafAHWmjBrR0ABfjXmefgQuYkwPy8Vfmd09650rz6LuqBzBg3Ek+Xza8BOX
sVU9Qx/re35IUe/JK08pz2zcHbfciu5lZnAzu+NY//G99KUxq+MDyYazJHknLd7slUGd2LN9Dn/U
7ix7LGP302jffPrtb5XduuDnfwUk4mG5P8jsbYZsD3fJhpBFzQftmEoktp9N8fIpYyKJGTli7e4Z
0q1p9dHPiWP7KjiLU+yTKssCwabGFusK14Vk61uN3JMQaZ8VcTl0/g5SsZNVr7H/dU1zV7E50ZHU
dLnHuLR3UcXdMBRyzAOL4IpvCd3IrLk66A58m1GJn7Y2rZWsDBcuZzjSOWznZQJqoo9YyWC7Tpda
sB/HtTuJ0xh3Mmuv33vB+xisOvtfF84HDce/z4rSQ1FmKsSlsi7X72P60Lu/kR6nUXd2in1uLenb
JC93Am19MKh7u5/UgfjgfhVzG6OIM34kLjWzWDTDVlJGJ0MXxRZ26vAtm1zDlnxH2J4Wb/5UOJa7
Krn03D0GU1ZiiHyGvDWlBxC5RUPBH8BvYVnpmDgZCdJY1LgKTMmda5G8ifnj0cjPJgEqm2gGt04+
cmVrHIZDvDY5s4yhdTrTO3SqTNwlG8yYtZT719PrkSxMIEQHmXqZasey/60m3CPNxpwxGxUAu//U
3SlAlDR64E632fqBo8RrAMpDLV5mtRvLz67qFmUbfHjsQaTmF9vATC6PJIe51iG3ESalX4b3Fal3
K735fF8jZYflv0hNX4VdM8vRqGVIvWTlTxmfgfjgD+a79kJ0Y9EHc9aUNSHDrCHaKuY3g52Bsm+8
9NAdTj3DWxs6YJW1xOcUAObQ6CcIOhllBxzpdkxAJYdXEH2zR0H/9jD21OZeBYsCuoo2IkWoiGKq
TKcPbVRpdAFg6PX6K6//ueo94LMSMP+mp6h6hwESbRx8hqlRbKKmAUFSsuDNGRh7rKg8/52jfmpy
FIBkHKnMTpSZEv95bHZIDMCZwTiluZb9UUlPGVp9wptE+KlTzih88YJVswhGhx9nxdomQL1uM+Sw
Ww+WoOz4w2XgDGYX2BPOlWkuXnsDJbg/i32+6zReIa9eiJJujpQzhDrKXm9/po1Ui/21w9sKfGpm
MwyQbArwZM9/JMbbPndR8xX2ewiLuk1E4Wc/HBTge17wYTBDTeWnntHqb6LgKxL6zNc2ZT5HX03h
ydQhUB4cLmlwzKE7TI91K9+kt0qJqfffNV/RaEOD4pkpw+OQcT+g+rcf5mRlT3m00cT5n7T/lBVh
C1KHSMk1wgSvOTaGQwwjzJtYX2D11my0o5BbHzyXUnQeracl/SC8pSDquZ3YNYefrn9NMKH6Czxb
bto4WvGhSvcKq3pLlIHFnpyop0VcSBSnKFSGtYY2EuO8Df3KnY3fsfpm0ilYbk856meXaSdMdEch
g5vJlgGgcAl5DaWuybLJTLH09yFphgvsOBpAHloRohXgxLeQR6V5ZfvYUuF2FDVxB1MJpy4CTE8s
itgcJjCaVHjAdym7p/2IaLKf95MNgMSbei7iGtsMQRl+RqaWwEPB+rCDBctKviCXq1LvbXANwl2a
LyQuqGaakyNEG1dEUzHMMs2z7ZVwjbGueDYuX/Jv9BdxvRTe5vA5iWzTBQxXZvuc2raP63rvgiKp
df9KhAFzb7s6dUxWyIxhU8Hb5CNtorufRj4V9LKQ58r2jrjYhPlZKm+EBtB8yLzs7UU7/a/IqiXi
QdxthuwvuORgndL1KN+StEGPRqIfYNecs7Calfm9togCRhDEB8pY3r40YjgnZI0W6W2w/nmkAiC+
0C+RUH8qaqZkGP4qEMT9XQWPYv5aE8LVB5picpxZsyD8bvjNTYCRkb8tdwElRDMuQwwZSOltDdCd
Ky+LZmNKe42rpIQylB4NoueS3xg/A1Y83T/SD6JSFexbDTK7E9Sd+m7kwIotaDrnjPNkcH/YdIam
Ta5vNeunHVJ0sIpXBZdj+EF2ShV6DD0OAgokiVHUwK91WBzTYe0TOVh9yBTEDLVlcbIm3GkiOZkE
lWOFZ3k5JBdD+tW5QGWkUuzOGUx6TmagCJKR+CezgFkssplFzjZpZMQQpTd7vBn9o6adTKYjWvnE
Ao91hwEwOFB/MuCsOv+EZcQKflyNjLB/vYocQ0rWvvxtMDDJ7WcfA/nhQJSRaEL1n3pGBgTm0+VV
EPpLJlsWdZK2krSdRkzviN021kjymDxvIwNwm/uhJB7O/qvDK5hxbmxwUYu2+LT0eFtqLzBABLn+
C5MSkcFVtvboNNCltQJJZ4IdAuGqSWdhWmu9XY2NtCw9NADx2ZD+huBLxtSfhteYTZERzuWQLEaU
jT2HANLBrPhS+K1imCSmwdpomI/IWzNjALJTfPwwe3QnWKwb/8/EhFaCQwvYbWkBc82wOTVoSOzg
iGHD49L18os5zQa3TfsuSbBj4Lvwhx3dTyd22Erdbu11B11/qfl0Ub2DuKJL4KYiJahb5/6eABlS
NIr2kow35OYE9+joebWSkuysxShUU3kBNp/6vJ5FzYVRuZwuiE4vPIaEyJfsYd7XrANgTRBwQNE4
aGCduGDwiHWUOWul+8oy9hIM6tLoLLfnKGT+Vw8bndRYi7Z3MlyW2O8E1ziulHaBPDz9rXGW2W/T
PpJwh2hD0z5DCyMmErvw0aoyI7BoTk1ZctVQRFRIkkbpAebAtCFVxZe8/ut1IOr0kaq0yvHt6v2l
jv4J6+6OOhKgP7yKuQsHjRV0tyvTk/JqUW/h45a56Nv4n8wwuEmeqvhVvENPD6gp/9KYvYPy29iX
QNoE/hfHEKYgCEFIteW5yo2dqMuOwN8w+gymJilHlMRl3Rtzrdyihzm0dcLgEweujRyZdAq4WJzB
jHGuFeHZSf32gmZTgatLqcBSgH3x3nor1aeBlC9nidv1hxg+fHcucR56PuhdenJbQrULYVr/mOwY
qOMJtJmZCBBgKawDX8fA6M89AO5MHjUueMC4Mw21jaAys7pnT8efsJu3gnyvc1ALbTNNs1xP4O4p
ZjS6jP69ZKWIk26scR0oJHgQ8qMdGWHiVUfMwqhUiDfd1Kz+jpJoKeBhqNEO9szWBPjqsgKbW7J2
VAag+S1EEfQ73CCsRhQwC2RnRrzVV0r3VDuo/qlspkUaqXXeM5MuZrbOGGQGloJigq9HQ4B5gVyc
pe+w5fD5sdS74PZI+ePqg04sTbJn0RQhFQk//rDgM5IvCUVHU+w6KmcFxXSNuG3g4HXrq6t/sxLR
jWvCniif1As4a2X3F9uRgd1Tl3G8YJjo+RdPRDzKdTxXmBmVyq0fL6z4CYM8cpSHkoPOGw80xkIq
WwPi/Lmzf/P2N+3+Kuk348wx3f1Yfaj0uDF7abKv2mgftw/Wa5W0zutd1s65wr2Kdu8TsVmcf5bR
FAFKt02hu2LjTekjWHprgs8hpfDLFwo5eHZ/oXCFBQFR4dmazHi/GwiWdfsnOncxYGFFXaFQhknS
YzRRBfHqlcxv0QTHxd2onzrtnq3BvJwGBXxL4X9Enddy68i2bL8IEQUPvJKgJyiSEuVeEHIL3qPg
vv4O9D1xzsNm9FIv7RYpAFWVM3NkBZ7tVlEahP6Me2Qf0qGEMyNb3idNFR6mUTv6EO5r4bwQCz/E
hP/Kcn4P5AcY9RFs1ky1L73czIAiHgtL0HCSfjXdNY3/YLtWq2Cf6m/sehOTZaLnNqyIZoA6Ck6c
aqXotx0/aWVyLiV8Jf8KlmDlXMK26L4anudp/7JIpo7y26TvNoaGhs2V3E+IYKPhxz12+9Oc+nJ8
N6mLM48jgpNSPev3CvZ8ZiXPWf08AsDDDowivcoL9BnnO55J3UEcZUbZ20eEt/Kmv5vaOU+PEY47
9PLwaHU9Pspzzk2WBlSIqyeH9DGlwNxaeC43Met7D7oF4j3ntdK4KNVmzt4D59Vqn8zhx9W4PnA4
2R378fhV0fZh8DfJjwB3ll1t2Et3JLgmIESG18zfBgd8PjQxvmuoYQJgVJICZZ7XMyn+ZXfscCYL
UoLjFbc2plgUavR+jlWQuP08vy8VVXA0+BVGzkFCFFW3Q/eNGS4dNgZ7kjz4g9hVcxXYCJWvo7yM
7IdH9so9Hz1is8ZyGnGHltG64P5IRoPGi26Dh73k4JYklO/Vz43UPkPsEClDALfGmKxRZMRlbPGe
SCShEUZxtB4xPg9R5k3DWwDTFb9Hg4ksi7Z6ml/NhG5AROnokpsTP/yXrX5AZ6G64CEQULTKXFOQ
4P6r2Pi4/8IZdZSNh7LwfL9oc4uy29j/5ly+KX9bDuo5pnlEMHytJDwqSQEYYvIk9oBIiJ5SdB+y
BNSYAbRbjmYbM6gusr+Sn6uXgA6e9JlQCP9rFqSm3QOgYBzFXL9S6aXBukLJUZwyozPL/EWJ0XeR
k+nSWiGhV+HJTT8NVCKsZSwHeH5Z0ziQtRVwYLIG8hZjWgb+7s+sF2BXMJZqHcWgJrNr/AUUn+rC
GyNidn2/a4i+m9xCYhI7F8eQto3GmI3il3Q3hQIketsp62n0GPi7TIdN9cEIaUUQCtacZ6vfFvdX
Qqq9dZjMdJ8JAwtn4CaMXRxj1dYCeL20rsbWZpTKOx2F+3BiwFL3XkLlTVEyAoKk/pHbzyU2WtVd
QsjKZjnPjxzeMzxhN7Kj5efUXLIAVMkysVXJQYSMh7fVsLXDj6bxuQ/Y6NrdlWDMQkfpH4Vxn21Q
/A4HVOYmoDBITkyYHbNjMT1bNnzyOto0GJmT6qVJCcUVaCHGVoRY6CtK9U58kIQCThlwW7VcrFIq
JfOK/tE1NQ/xazQsnX7sthqB1UxBRHXQygm0VC/wVt9Jtyoq8+fW7X5Fz9GUTWCi01+CVTppCCSV
5OQAP3c8dxp98NnN5YW5zdyCOS33vsOuNCXZ0BQDGoR8iOphsx52y/kuu+U8nyh1QliZN7qkMaCP
fM0GlKE9y6oGbKbudeyFyJF7Dh5LOHrYoY+O8kEDCnlsAuBd/BJG9rpkFiX1t0F+2BPhNgzbKDEw
vBj+02vXTXe0vDxHzSk6UBLY+o2/XrJVroeazllzcVr1BlwvmwQz9BA6itwEqAlRUL6ZH67hBBGz
E89gJDkBWnJ8UCSmbzZU2WA6m6bjDzDMf+ugZ+iANizL9N7inAxT/dlZAs4K5X5N6Wwidv5ZMPGj
lO8RuCQ48v44VecsCw7aL8FTVpEOWrWzE0F8VXPwh8S/G6fei6LedVmHi57ReQQpf4bcxCZOD4Jz
DABvbP9VDf6nZQLFCtIiZiuJ/FCZgmss1NXJ4QFcvDEdGKc7GBNmQ4byE+/g0xTTNz0IeKrPinOx
B7h2WxJ82HBbfww3LO7IUTu7QwGKKZxnJdB3nAiozInNtfNLz1PIppsj+p7R46jvsa/n66zdhxox
OjZMVICkLBr6daAHLDgYOR3e8AaIbPuo7/JR/iEPo/MsdOrqGZkbXRwh1QrvKrNdC6rJtqNlNaE6
mf/ulStbchjP4vY910J2/jGWcbDxDxMOA2OobDPB/qaLA32oVjpqdb+o2RuXxzN3/QQLabznzmsi
XzPOe7TYgmS5F0F7nhNL57AbG8f//glHIegaRolkNmse4mJ8RGZjHF3pGsf//imnDJNVuar7IwmB
Vija0aRdgu18BWLQCVO28eyuVEk+5b+XsVIeZQvPMjOB0UInJD9VIRphcunYs2TVsn7yoGXiPQ+P
1DavLWShbWXig4YM+WjCsXqqTU07FAHROQM6yKVytR9cKOY+wb/iWdmgPCTpHcPFETDE9sCHY72G
klF8UJbRPWNdrmb5bPeoMq3Fcak0ALuLpqKMdE7FRVpjCVKCvbze1p+liF/mKIzIaOEyIKhg7ZUK
6JPjsEz3LZ3bbWI0W/YzZNrBOMdaWd/NaU7WPWA2GDJZuLcK8qJ5g0tGNC3GIQXK5hhC7tU5ymGC
2uZq2J1DqzsFITXoc9JND8qU6BIJsKmxdwrXcd2Jx2Cl8Unoik2a361fpPMYE/JN/DuDIRaY42ik
722o5/JaKUwh5g4oZKcyNmlGGBWDILvZMGuBcAlDpjLIzkb6tRGtfnVNcBfgerV94MZ7E9FmNU2p
AREeSmdmaRDiu3pf/PenKk8vFghFxBeRo0NOBAwvnD4Usep4lx4Yyn/9gnto6zF/VlsXgGyfP5W5
MWACZChkhmr6PBpmhhA07o2EqGee0SRWEFTdZXnbePm0LV3DuduzMbAT44rvMyh0ajjv8qqrzm5L
LpYq0wQSqsHcvFZu5TiKt3pssEoyRw6gXfRqx9oK/dVP1M7wJ0M3fHh/YDWz7itavoSz59GA8PN4
01/QDwx/lKbuA5k0fDRsSjAd0NSmhjlXILABCMBHGoPRmWtISf/7kqlC+MtZslwSp3qrvKtjKHxn
2Q3lDoaKefljpFbmgRT9OR602W91ZMRckNfIGOtP0G3Kr7msFUw9WTOxtgJNz1JE/ZTtIuW77ik1
rRicVMy8wpj8/17KLp4pL6pIvHO690KiDP99Pajl5AdDfBhbbMNxZY3+VLVkCEg6VgrW5CC3GIJW
6eTP+UGb1fxY5RlV0a1D07Q5cLMn6UNoyaCDI7uWlKQcNCNiJx6k1CSWKge6YQGfz+WjErAzwYWx
HVboAxqVmEY6hXNviSP2aJFyxxThqozsvUqR8l4sL0ac5XuyJmNg82xsmjYBxhjZSLfjt67znA5H
Iztaafc3REFwylOy3DSCE87AOFblyKDk3zgCCIwgMq6e+Qhr1nVLbA2oxLuEPAwmwr73WyU4qE4X
HBCrW79NR1p+GbqlbsiEYm5SLpSqA1/JC2duFZaIjq0nSHwb8zroS1xv1pDioJ4XCK71p0VZd0Gw
WLeGEXkdn/9ap59yCwls0872Tx6qr0FHvEsJxbttmP1e76Zv17VeZpnWB90whr0lsj+9jWmPbefL
MMwYCrp2M5Ts30Zde8LgXGURC1gBiihtVa8ry4mFoTqqnZ6dNGs8Z7Z5z2xxMFJMKaqLx6QOpQKJ
ITthpM2ecczjr8XNu3PnhHoJMCIyd+3fGO5VrDE3DzCwdWpdn0fX/Ev5amnk2iVntCTsamfV2jMd
T6+5bNT7FFGtXtfW2ipi12d5z8eZ99Bn1S7u5LFJxoAzepDvWPr51qym0LChx7Sdx3Yzq9D24Gl2
VxG09abvjEuTQYkaQoEmYaLQ6pXguENKlSZ7GFfLl4ipdlc15oGtcHYgnM5odmCcJeeiZWwugLa5
MWwxPr0OQ8HKcgc6N8DY9FzPVJTzZeAta0yDthfzLL0M5hrYhro3zeF9NIr2Iju3uYRa/jO6EK+N
iTrcpBp5cAlWVv5VH8/NBWvweYT3K8ww3Ee9g9RZFDryMEHFeBY1zF7q77SCp1c9BsOVYtjf0qjJ
dggaEMtYHa9W2rLttn8rm0pWgkbkG3jHbhwdSBQW1/9e9Jizkx1VE6Je9qsMTHE4tAg/x5V1Yov4
0jHC8PQcbJka5f1Vcy1JQmhW11ab+EPPkCEgcEkFzhRCOgAVVNci2hjaOO4L7j5iLW1z07I0vizN
9K1ShwdW8XZltW5yCxGnpjqlCdBNjKNw8q9sKL81PQdF268clTYyaagAaDJm40ERnPOSz7qNKQFs
TEKBhfKG27Nadwogy0jh/7bvnaPSBNq5rgPrqYyH15QCQqMElCYqLs2+eKtUS1xHsHlKPdMDauga
0MCczhCiOF6eAp+YMu45e6qbo8l5fBWKeKL/ffEOSEF/nENrYsgd4dl1L56kmTE4zcjaFUXVHWAc
grdxEq4oEJarKZnqr9JSv6eIN1O5weCVmahP5FSA97huuLZJZ29JD1ReVNs2gP8mPRFJSk+6hACh
98YEcQXGqtuNpyhvq00R4+S2m4lSj8Bh9tagsi5/6uskh1Kn5xgZKdohrdyf7angclFbpiw9/pC8
j136IfGsBqr+oaKF5UM0nvEoApcaOHQyMtG/TC3AC6PiBehaKB+wBdtFDXD1lh/U1IY7p8Z7y7y6
H0f5XQWTjgdcUKoxlVCcoiwC+cq8TWtosoqYne2wuXizrtcfTYjlWk8bEskuFmON1ihPcRrjaVqK
Q2YIXEXWkggPnKXRflfK1jooDtqyouF/V/iVKwkuFJPQO1aYjqlwwAzMhImXwVS3G60nn6O+gP2d
NsKO/wUuSYuesoN4Gdp2ZhWT4aK8s9JgCOvBNWFS5NI/SgyvL26h604w3aguQtvKXH08qal7m+zA
ODXIRDcrVIlfLFewCDr7mscr1WoZImkrN4vkC9XlZI6BMrjwNbgG37G/9T67oOalQRNlw8IxN6hJ
add9+0I3FLkbC3cPmZaLmWklmi06gTDQh0K8n2mkEM9ltnknCsXxlwO3jb/nA98uSk6Rv4duahEt
1L1S0Qu/SCBGVZrbfo+TA039OFtWdKEr92cMMetDvivop2wzFsaFDakvuI45+3FJHTVLhnNyRLId
JVKbrlfTPuh7Og0D8RKaWvk0BfltbuRbLzWCNOFA+42tvYpI9I+2zrPdoKk/RdSQ5nSa8B6pM4/0
petoVuQt743mZkkyr3iin3X51aVjfE/pwyFoN/OJhC38zwyCSNw8N8ZCSpjK795unHOQtl9hL6Yj
22HK+tgnIMMZr6wqCSdsuwW/FjzXbWCv1LYmX4mqp2RJ8Bb2nK+1ONIZ/VFYgCPSfNVyP5MR20Mk
bz4ICsx5upDOHBZNTZS72jDBugZlf5/x8YOGtQkbuaB7NZohOgVbieyz5mTV5sVUB7gQGDK26VKF
F17/7+XaL18Ohwr/T9RGVzMLGI7kUczckxpNrTYRUZfnaMCH7BudQbj4OYn68WyZGY1JiATJVMRb
nrzNla13jaiLTFP15TfpKBSC5evl8iJcWz8wzfwt2owzn+V+zWYaItLCBGQWEtA4MjNy/O+Lek1T
yNze2rYFoTj0yzoN7qNIANtFbuEcp1CxCan0j6SWw5YNRnCcpMXeLT43bquBzmm6bOtA7uiHxj0G
Ivpntrq6Yclyj1b0Wc9Wcuhx5Cx//r+XMajYsxmtdnQBGCDqUDBhqBS6haO8CbcZjrMafCYzMw2S
lStHI/irDJBcoPQkCxzDn3qlYd/URh77XpON2jafrZudGfZhtijCMmmwXVg4014ZEcYxr3DDDwKh
LycmBTZm3ia1U9CDh9ITkAoyC63dBv2Apq6nX2EG4jWQheFpghB8XyvmuTYjrCipwVZn4IoIAeTN
ptE/abmmncKB67ZT9W3rjBgBDJx0Aeero6timwkTyK9j+BJBeRoCo36q5HhLDZ41AcyEXVxx/jUl
Bo8sxLukRtxEtIPHhnooVeO1zIuFSw9dXBSAHayBeSl8MUJAq9Zgthlnxb8mqSeqiVPpqTbQDMuA
izFke5lG+HYqQR0ScpB8ErLicV0Zpjeq8bBLlakgbKz05yimx8sOrGRLMVb9SOElR6kRbrpaAMBy
3G5vGSYR1z6HR1SE2W7eCIN2kTr5EnrgnqtofjEtPV8XRkNEkz3zqkUdP3SgJ9duekjCcnxddhqJ
3nbsK9n9FQWpD3p2ND8Uln4WVs70lWCUKmQCujGWu5qDkeQ38VoGdrgXKNfrputSBNBZe83V+kSv
hvkeEoC3VB4jsztI0ppyOMIqTTj0btKalq+aPu6jSEI/C4iAJgKvNGEx2kqm7jXUk+ZVjOLVcjuF
c2Y0nGTdq37LaYpZVnR3Tf4LdTtxtc/dT6O8xWFzw3Yd7OOavUgqcQlYMh85QWfROcqOMX4yeAKR
oGhj7ohB8SCUffVnVnCRs34rExtfOL3beO0lTEcth5df1OgTiNBzDTsnJl7bWzjSQttQfil6Q1ac
WdAiiZ2BuQa/5IiDoRgvvdkD7LC7/skqMrCyTXo3jNG6ZoZBW8OIYwRor311mCLMEKkgW9wordAo
9EgbT23hMVQKsaBgsGrQAgSWahiBapxgW02KGvUsn6A86o92qLQ9iYPEN9n0svFaLG6akfqxLVM/
CYHQdORo8dUgnKV62G6nCZxTbbm5H+pPRWXTqau5O5Gl47qb42pvk8TwIjeuUMecdtdEOImmpDkH
jiS9KoFIBdT0DnHxMs/g8oQJMKrg3j839putBRpQOVyNrZoDr+mwTXKVqAgb7S3Ix4Eye8IThTae
eoOyOLD+kPHs2V3XVpO+uC0rBnfUpVAHesk1lFtZ4JnQXKyZUdb0B5BOFEZRmbU1w0TZqBVpS0Wk
X0UcTf6YwLEMNSr2aqnAvrfA3gyeFdvaXaoG0XBsc12fxFdTYAqWpT1tRRbmfsopfRu7HWKSOhen
VOjMMeATxcsL4+B5yLP17AjXwzVv71o4CpZWAExfXuiDyf0pDtkEtLjJRAdSwhomZhhO7DVRy5NS
p4tiApRQMDOoZovgdDL+zwtsGetg0uKk2bp7yhVX5XfTM9zutZDwXNN7bZZhx7Fs5/+/UEO+zQ0e
Acg/CfCGbij3ttP6UU8HE0Ms5pJ5G57/e1F15ZIaCl1RafDe2ZR9T4JBLJ6K81BYYgdV9j1oZ3h5
iWueRYkqLGKm5DNgBWpPNdbXoP4elz+NXQFSlwwz+xa+3Vm+q+w7sbVnlIcpCmDXmYu+6WZtvCbt
jj9JY6SmYbJzR13c/nuR/zlgEzbRsmUEhYFa3bdqSSeTrf1lCd2CUqmnbWaZ47EP2QbaeuUAKu2M
A5BuZpvs2g91TkhBRtL8SWsKKoQGaX7Q38yZ0xgxk2rFfAfUI6Wovh0A42R3HG8qR6dKQP+T8VD8
OG34A9XwwhYsuEhYCDYEfJZm9FaB/QRd4l+3FN5UljxYDpHk0HLMvcwQwexkOycZJQajJbcgkdy+
VD5dicxvUiWTx2BWpzSHgBrb+s4da3S6uaKJtAlOmh6/DeSO0/LJpQbCD0yaB+o6J1fOQGrqLf2F
MQ6RyNK9DcIAyJJH81Wfw2NZqDaAX1twFHkeVDt+BKlYJRAnHL27SNg626A2xRYggY7hwVBWeZsP
27miUmaIyL0anYnA4iyQqVFN3sbwACUoe0+QA1RXf0v7idUyWOADKTZhyNZpl6o3K5isTeOoT7ME
+6clk7ZV1Dq/NBbvva9fG4UIMUo7w38MEcRWCd+lEKPyQr1AfCEq1iDgKG28Z1CWn1zCKrW4Asbv
PqsuZYY+N/QgaTctf89TlwRUl5ZXCfGxHFBzQ4pRHt3E1KTjou4Vhkg6KHIt7nElVlW7nt2sOTby
qTCtbl+YQ3+UDaYZJ9c3fQ61lTf+cAfnx1HkfB5cF3W1VvM1p3AbcS+9m0MBcDpOxKWy4XxHk/1m
tgxla8OezqUuSVW19l+hGtptHMSWFYzoccOBJA7sp4rYoV/MCP4ZQ01maifNnvvHFBerSNUviZXX
JEtYaZFPQB4reJUGi7lKNovsQOwN+UiJiW8VqDTCxoPZjt0uCYJHHpj0v2a4z+d6ZsKIOVxTSbgh
7zyDUjjZrmgvtUgygDB9jAEa4dn6HhJGvqqZ3UO4Ou+pk792OcSItG7tDQHUBaRCqqOvR8bMRPxW
I/ZEZorEzcNM7NMq1o9D5n5C7we0qgUbi7uJgAUNoyoxBSbQ3SWH6Oy53ONnBPfBh0gJWk5FCc+r
8Nsc2x+ttJWbbjyTFIuOJMuhdsCSHs23SgPWT6x92KkaFG4jOgwJBQ9aH3QbNEjmABm5r9id0ClM
HOy5sZPGpO16wbDLUrp0g85I3a+acNHTKgSNSvGlil6PyExUaBHnCiKkhpNM7/ixqKgT/MaLGLhH
i097du3X3i4X27jJwL4AsV7amsF4cug2I7Z0T6FF8klLQNsAA+0XWimyauA5sd3csgHXyJDhaaHp
jZ2dzjnOsvzIyGoEE057bPbaXaKJZDMSvAZUkVBL4VJgwF5wTiE8uw5HSLNUuQ308qCV2Pom2+Q5
VY1iT90UhmsQ0lGUuXgT+pMpnWEvhvLc1eqVExtu2f4uCbjvyTkjjmhncr2IFwV1ieaA23KWuB+D
zLYukgYXB1dY5dSXIOVn6bvS11TxG7H39oK+0IGOwGNSlP6GyUOl4rLKXorI3Y845htq0q4V2oLn
SGxxQ2+BBKTeutdiUmF9X2xiRaqbcMaEnpPQ35aNYe7NAf0glumReEeG3E7mvWbKSuWAwsQl+cGE
2TyqmGNUAXCB1YzKjJKZsejJVdsK9iupuIzarArbPKUfOFoHeVRMA52ww4VmFi8ZEpqYB+WlHV0C
U0pKNwy7gU1C6O241Jk6uvI2AffOBiAbSjoTLyvya6LO9kXpzDtP4OlrVP4EBwFOWU10WSBq1Ujk
I8dKXRnRr6OjkFjx8CU7OplMRWuJf9T5URvoj0fS6vYxKv62Il4W5u+VBntFCTMTm3VYXMwS/NNU
9muRxoKHk7vjvPOmKTRYObhw8Kb8FZNm8FFBxzQ1BfBvB3lVUuAeMjJvAvaY9A0yI7ScYmUrifrC
2noo49BX1N64DH35pDAvOIH+lzlOA5Fbb/HIUmUMORgklfWO/DVmvq56lFPxRdXXsevLZDdO9gOs
nnMMBfh3xWG3VP13wSmPgDiumVD3EoQTgXpG8GCtLRtFi4oT+guS6zi0cu8YjXqOaGfCkr0EXxcH
NlNb/uYTJPPREF80VwTHYsiUI9OK16kCuSMgh54cZZo2RsjbUkJz3oKTu1clZ3B9QpucjJj9U1yq
B3DGxzYiJT6SDNOrIV+Zrl35aD+wRVvfKHSoq1gH/EJbcJ8qXaVQXB2q2OcvLljsFHmD3lUQT4Kz
lbTrznExLdaPqpoTX+vKZ4p/3IKJqcAeWVJGkifAW7My4YlZwtGNOvWYJBKiUUdiQZvrI3gqZR19
GoHdsiva59o8c+KCqJmGni7FAbeUEMaryIh6BaG8aDE2zHaWV/p6c3baf3Gpe0rfvchuMPyQxt9e
kmaap7s548FL8oxA7ABMpq6/MUY0RFjDD1vr9FMrWyactCvMtpnTDqX/JJawGIKXJz6ryJvKtn4P
MRxjxPdNXR8/1I6LcEY4Awz5MbrasHYDdq6wgPYseZ7U3fbMyZGQbLPhzZOkHTQmyrG2j0Jyk04V
PGbgfUEBlEFgiSG+oBPuLOZnPeOozuVV5Il5gIkrUfPY2BGoJSpddgPWEGRcTtPvVM+2B1VptuS2
Nzm0Cc/uIADUg7NLO6gq5B/PoYs1uurcap0pSUjied4SSOQQPcTBTgOKpy2sv57IeF+z02IXiAsQ
KmgZdH49dc+aRjKvChdutMuSlw/usTLbfYv7lHpd45U8KbZtPcoOve089aFDOztp8MLW8R3NnAJ6
iC8G+++sdKlzTX+aYe6ZnqenpuUBXyft3QpiImTmwnkJ3b+8V+K10xc7kQNK6+P8xPSzeso6Np1z
W5KkwdKnmi/xOPxM0cbdybM8j0q/t7NefyF25FEYAEfGVbEkqw6zKp5PiLE8oXNPrUW/Y5xDqqop
4ITrJU5wKW2/CatXkZBZL2aXoh4jgNpN3IDxZOKxxSGXoOuX3uFjgmUJsLdBtEtqG23Qxt9UxjaK
F+cexBaV+gX0pN4MuGFsnY6RCQyiFzAEYPhKLMAD/tlMLpWwwVeKhY+tbrYdqY/ZuFHAl/t0E3S0
//U1OctxmnY2lu7GnZz9ZE7PA6mkJ4j4+9KI/sUNNdicbjeZJW5y6EjsxCPdbgxO13GPPaUJzFtj
02XGWlHjDFiNndwmSvNupxr7r8XtVwtuvvxrxv8x7aKfGfPNyQAK6sV3sBImkcHP8BAgfbANm1Wy
TXF5XObrqDuQKSTDaWLbNSPd5wrCmfpala/86ofKj0I/Hk9he0g6ZsB3QtAK6ZP8N6fFc2IQxIkJ
iXopXklntgcovBaYQLtb8BFkx8LT8vAft9V4mHK/zoyNwK6ub6qOnlVMe57ZnYfyqa5vtAlwcMfh
hqRLXLGYD2b2L8r/JmzB9Xeif1qA4td2vlqVN2uNz4ysD1Ib6zHgtphjLWpMsya6RCtTiCt+k6KG
IJlNB+KNEoM803btCdiwa19mGrBR/92nubzQ1GjtJ4vYww7vkJ0fiEUEI8i5A08D+vOQckyM7dMa
wFeaeMN4pCx5Vl/w/iFswpBoyeaj6dqrYs8wotkMyrYyOLZt6KDRHGT2rYtj7kqxkHS49Wl4zJ9T
lT8z2jtQkK2F5zm9dsazS2IZPAXWAyQ1uiru2tvCz97zGbs3CDpiX5+g1uJefiJKMp2SfUrKlJks
RZbWGfNT5ZfPPZtFurbKtfwm9ftc/KGVNOUWrSRfDd8hp1mK6Fi/MdyBH6h348PYcj7iGWix+M97
CF2iOwoc31TWQ9J7BYic/2IImVbdBoqF3TBs3KNJ8cEzDeCzD8dnZWSVXxUErgLqP+Ez4QYzNlCI
+L2gJ+SHsN08jkxePOH1G5bbdzjY0Wv0qu+iCyBpjwVUPEWv9iftSOHB7T25pcfWjy7KtKGasu6O
FOYm/DSCKM+KR+R8tFhFaY/9jM8dxHtSULfgube96At9iVuRb34FxvAvejWebZ/ch/FELqrLkcc9
/nb0mhNDpp3937yucaNhO/vkvhY/ZJ1BRDX/pvf4RV/crNv4kAKl2Eb/2ICVP9iA6h/iwb72lJ/V
oxutZ5Zvz3mOz3wc5icm8+kK5444S8MO4Yj3U6v8zH3GZbGa3hEeaVFo200AWGPT+DAlfpAA+NjM
+I2fi0+ywL2yzh+k8sjbsnGQy1+IdexVTLU8fcS+Bk6BqB1Yw+EGB8P9FNji63c3B2OxYgYzrbtX
8CqDN1ps2Fa3iBUXX3K4L5xzWB/DAC4y+ecMpMUVDsMvtUJ32f+T2c3tNyNNPv8mlZYHlmwAJ55c
Q7/jfBzSnVGsZXdVoquqXYL80m25Eu/Tjtqwp+HIgGTFxbidn6t3OIaBP6wdOrWTw/iOp3Zv7LRd
94FQb3pyJVb/zAPzrLXzaLbRjn86qgf1ytW51anwluvQ+603w4pvP1cewaIrUAcPIvza9Zz1sO49
OBjblOqds7LFybWDI/2BQ2ad+dEu2KQeQcI1ZC2KBeHHbZSz+aI+L2fSb2qvVzh2jnKtU0O8/CyZ
/0vj46be98QMr+rVuhiX/JtqB5Loh4lOiA1VVtvpGHyKo7bjo19N63zVMI3WDrPC1nVN+9zIYZPA
7Br89ru42c+kS4S9bo/qL8ZbP3+jVdm5qx//9Cv4gTcl3mX2WQVWQacR7+xlCeBdg2ibPJy7fmVX
HXriTfHkiTTnKeCtIuWdqGz4MPn+x8TbcwoOP9e6uwYNVoSPMnsvtYepnkZlxNt7nsM9vyx0ZOkv
5a3n+sl6So4DcY6TG9Nfgd8dWzyIYDYlLBzrYvlrWXppnxQyuSpwEj56AZcTz2KCrz2ujkDwa7Tl
HovBFqAZA+nQuUHUWvUt/wa7f8scvaVVZyKt3D11vR92eDD3GtS0BHU0+iva7VBGnppeoRC7GNyL
uzqg63mMRBkIy5Z+3A2DEeqsz9Hr5CmefTB/mTo+pQQQD+6HOMHmAobDqBT3yQSUcMtY/ADcbmeu
G7/cGD7DVpxU7b74k9/Nn3wp3whn84FiK2lhbPZ7a4N3+F/+rz1aOdcDyWasm+qmZ+B6NfaFT2MM
AeKpBy2zwe7amn4YUwgKLenFIG9s7IhE2wcem+pmpNMs3rHnLE8kQRwkaiJvK3fPDt18IaHqfNMi
MfrE5fk7in4pxmNlbwyOfqAVjR3CAr+8hp3Mk2kCaeMq2tmpB9nKTH5F+T5o9wnT+sWO3hMUem2n
7Ob6golMj4+oMBVYhBoECP5fMyeqxrFD5SNdAeH40LSNA30GJKC9s6ZttRu+E7bg9YYoYUbFhBd9
2n/YKKAPQv5MFgWMpCTlvFuVcNKw4lxVDldqM6x3jmNPEbQiwF7eGRUaas+qZpWLdtgVwDO0+rn4
7ODVDHsY/RHMFG3b69y5GNBoOeqsdW2+LlQhSbMoeYIBiXUfNC/jeEi1lZR4lXY5CXiNrqarOq57
nmasuFgGcISyUlBBEgEtILEKZS/cMBZbxtpgmlWGeRcw4rWx49djZ/eBD9bhoQjQykNEzHAr2vcs
fyvdb0mxdBiSOfsai3/xwgEUOExNwuwadWmfsjlIuft/HJ3XcuPWEkW/CFXI4ZXIIEiKpOK8sDTy
CDlnfP1dvOWS7bJHjMA5p7v3XrvdYc7a3VdrgsDyJNJeJGisYSn7q+kQrrW29AiXI45DnVCD/KvS
ThvJfKNyN9ne1cMgfCUFoD+wkwcEvsLsqvRi9EisA2m8DMfhAa+LGf6NcX5auEkbmuaV4932kfBd
g1k7kK5pcHQmvcNpoGrTvANol7LVMp8MzfxV/cgnNPS31KTZDRP0tfuvMCGF2Nw3jzVOjx0SWAH5
J3s2h2N0zwK/BnHdnQz42oDHcY7nh5me2uNYYi9zRDzU//+4STXqBnyffopRHH+4eSjasKXmJJ/C
mX0xO2RfKO0r+UWGNLWckzQGF4T1+UwbjPpTbw7c1DjHJJB2goMmS7CX9QU7emb4Wx4r1X0bQ74W
A6kbWwU4iT80ibDzP4UvJNJXDKDDpEJwxlV1zp/tFzg8Lqr2ZbaH0bUEn/uSeF3elsDpcnrvo+2H
zixqRIlWF2d3eXCq8ajAWJns4md+55QCuWYFEkG2l3pGso02ld+iVvsrFMCgsOdzp6PkOMzX/j37
4inFmAPocgeog6t016FjP39JWezcXaiaUfuBi+LUZaeM6e3ybaI1HFQt63HI+mKTI/zfTDItPH0A
r4lTcp4xXh8dihQdOQGOJ/oM3ALk7moehwcaZ5NftHDYMWp6T2su1zBTIy/vvY5Npfck+Vqan1py
6fQWB4KGlEviXD3J0ZQjy+gIel3l6eGVqvRnG9K/klkTkAfRlmnAycjze1vBCbMaRF6YeaXyb43S
0C4kle1fRfSGGIZO24ODnLRYgYAYi/E1uluESZUJRewhWu9WZuRPWSvdkqTrXGys13RmHKM8plCb
lXikk0KSUf0K2Sm1DXOOUhPBtpYBVWAC7Txh7nTFonXqCJvs55+U+TdgXfQQSF7B0w0JXVsJj+22
ckGmbcFCoZJFZ1QIikHxXw1d5Yjf3jRyew9yMVU+Aa3Km8mJphzoR7VqA8SDY4HMCkfZPFzWFWmI
vvoCX/6+a3+WovyqcTZPhnrUWa77d8nmPApp0hWu9Ts3608VStHscrl65h0nySu1ObVtrF0Ra4V8
mL7okPcWis5I0yDqNBZvQKlerVeaB6KpJO90/7Iy5tANHAE4yflBT3TM2BsJYDXE+lb6FPSztVvf
0x1JM6olTbV8ue0/JOQ5oYw0FX95Ga/di0UWwfg5Pb7X7Y/mq5ACtqX8ySmgnXkTaMRL+b8EtNHx
LpyGI8XYQfTeJkcM87MYsgkwuoOS+EO56vEeD5bL+fnwUcXneHE6B/u5wyTRVq5n8fiG2ePAEfHy
RXbd6bx48uE3Dd8H0pWffwbi7OHNdDfe9RT2/rkNsnByVne0sSqfUxdDDD18l7reZojgIfHyZC8i
guigRHSgD/q9PUAuOywOzJIDGFwetT30brTxirC8Hjjr22+NCw3jwKPZsvo+vgPpcNlNzt9SxK7t
clEmNtNJ+3HYvN0V/PGKl7yLuRshYaM61LhRVK9zMP1Ois1C9b3vNj3NZqNQdvvB01lPs8N5MYNJ
iTXrTMWpy7FU3rX9Mkgv/ImxQKbMSorRijzsqHcnh9pd+5UDRgiHzQFXHEtXgCBn5c8cFeHK+dpw
xM2j6hD5kJOXJrQiqFAeczXkwY4RNSGFbMRgLDbQpz7um3Cp9uNDCxAnDItfzTBB4GL4fRaltaOw
npW3KZb8mi9z/FbsKPfvlnOevDgq7UjzCR/lEzArjymNqgZkMAv5ObnoBOoWrsQYuPKWIeCgwhid
NI7VRnSqrrHZuiDjMVjCgAG6xflq/k4qGwen3QeosSIIAHw1fPyHOxEDtnEanIc3H17UA6m4McXR
+v5MdGvtSuvfunGFWsi4ypyz78JgNdaSW/3nWbo2Hg0V9sDkhyZonNDr/MKz2mEh298k6JdiR39i
1I9DelwK66Y90ludbK+F9MOA5TSwQcud2ZOfsPrIGsimmza8/CTTRA/LFfPTlF4aRLzZi8iRCfqM
EWWQJtcAAou5xaZ6GfbbhP+RqQWWzp6rxui5FzKkgNt/exo9eI3ba2ZcZFKOd9LiT0kFhPEN3V2X
eZv2Z1t/5Pk/ePSiEqB21iakcuQMulDM4MCgwBmMEM+aHsMEk239Iv1ia2fEXtjlL0lQBvlq2Jky
O0FHx1bPETYe/eJVH+2ld5r/yvwkas+Cn21PyH6b9E+7f6fgI7ayxmFA6YnSxTf7gLxuBViXh6G8
en1CJ+kBEEwrOtYJrMaVPRLYIDFcKUsQ8X1uRnj687dTfPIH4Qricv6ma0HhTe/nMJ5ARbiP/6p/
1hm7SXYQWGgRCbI2CCfz+SSwr6ZAPGjRGBVxfuORYVmL9LsG1yqdYbIn+bAQ/HaYYvnzuaHS9J6f
vQBI4JCuH8txFU/PxjePMxBR60sbSh8ne213e4rVH0izxejKm9fxW7RrXkYQG5/NnXl9fTJ/GFB4
6bsc5jfrbf99dtbeH/f83bw3MQ+QvyNZR9fFhtwx7ccVZy8/E95YKS7fOTjhXhAMwoJYLobX4pVU
pW64TOl3FXbh9PnAzWA/VyzNLt8N/3HnVXCn8T6IF2By/Elus714Wdy+K7+ip4xxbRyTF5llhhxr
rIu9Fope9sUOXd94wFf+xfzh3vYW541elU3A2EGz+f4iHtYjVs0WWCrxsNVsJbUrfqbfIvaWXytC
i8JDda/pbYmzl/W31Q/CCXtiflMi2TMvdFm+xU/ZIUfozLZUv6s/7Pw+ZHH7G0tCtLH0H7LXzkNm
eOUUiCTWX12JdzW7LPYc86ef2WUs+Fy33Y6VniXsBy6SxInf8Hsbq+eRZfEwHBFX2JuzhatLYyF4
9na+Wh9FCbUUIneWH0741FYfFGNOEX4/7C/Ciw4f5eF7psXVOYVd+aREcCwGhA579qA6G52SLKzf
wVSc0CZ5AGTk1N0me05PfM/kjKsL5vpKC7l86+6dRHMCvnVU1g80O3B2k1NvnZcaYSwzip9++FvL
X4/1g3ZZgoTC5dBLbzmjc4JLPzTq445/SoixB2HsSpDr2pn+JKtAM09YYIQUz8/EWspMzR3f1GCI
6+/ipfOISyLnAioouQxyxNNn6Cyv6kW7cklrV+W0fI6/8k/6Pvzkvyn3Bo2iO1NftJf4zvYr/2n7
4dZndR+4wpQovaneaFcXzvEUn2/dR6465pnSr/w3nlYfheF1OwqxEDvqDYPNixVW3hQjT9o+h0/5
sl85FC0c1Akk5BZvDvsJZVr+bxUCdPsgcmGjnSx/j8r39Aya/EqEgJef0+/HJb2RfHt63LkDmjAN
WAW4pt8FxoM/pYnQ55BW3Bq2dYLs4mdfE7e2GG+OFBWv8ufsfuFMpYoKHl59NM7mf8lJOisngmIu
mA60iLM1HbbtZyj+0P0zqCa30U+MAOxWYkTyBwhKSlKW9OYvpTSqp0h2uEjvVJeJLQbfg2N9i3eq
GABgITfcBzUJPoywZQwEe+iI9Fm8Ki+1/7joXgGVw4ZcQlZx3G0OfO3/hr8VQRDkF7EOscSmtonC
5tYct6B0++/RFe+G3/pm4yLngKpBzMxh+stnD+og+5UQ71+o35+bADbk78Hype8ECHwWMJ3IHOV3
CVPwJseKj0K9SGfayck/WO2hcAVEdkEXn9KPfYame1RQ3vjO2TCqA/EF5JH4koWmN33QvslpCV/p
ydF3qJjVcw5gISJUmnaK6TWaiy2cozsGWmpNlhWCQsxLf5vfQKwMjUOBuAX4rOEyE1i7O9lFDlS2
3A6q/bsQlf/ak+5ZJ/WVQTwQtvrvHGWv6xs9kvxPyTmk/CtPp/2c4W51n9VRgO+5OGgipZePLFIA
KnBIf5UHA27k2QeV80GchSOyuWNzmzgb23VySl7mf+N7fqQzPPvmDy9m6gO6rkM83CcOAjqw0A/r
j/xp+Kx97YpJy9VxrR0a8rEOU+OUbzhp0jeqB6Q7X3yF+m3+Eq98JIbiKK+kHxW/0r0naEs5dMcN
yghJtOQm/Kv+46QnvFTd6yY/G80jrEbeCCELNP0GEnjuGm5DMWqswJIunCOM7ZXOOH9vJQom/Tvl
sN0pz+EiKYNei0gAM217ARgIXoW2EwA0njy7rY8z/4dRRC2CGrgr0mcaJYKDFUERwxQ9iXWpuuui
3vKJ7qzqDkbAa6HqrEmKwOEORJlWLAKdoM9B7wM9qZ7N1TKw0nDs8Je9zOsrjSl49I1j0FXE8kf3
bGQXKY6i7o+im0tBF7IV0WVGCUEkPaXpzJRyiMnGm+2WFgagqyyEKwQ6dNeRinmM6YTuCFme0RuG
EyQBheCTYzHRgNrhwAXd5K9IhXQ8oQJVLFwekqO8YvKZ/9LIg/XA/Gqhf9UPn5xi7lwDQBCHEquT
LfJ9Jyf2UY7vLZItmPDnBqiqxcAUkJ3TJWD9G3swLgrS6/JN4zA2tDDHpJaMsMH8LYgh4LRYxIPX
H7lApVvJlA/cOQoiLOmOdBO+qVXXYDw+hUwUAKR/uH0wB5kP7JAkqkMWZ4hT4XkUV+mGY3elKF3o
z9ucd1rF72BKrbvmjiLN2ua/xKCjt9R4MXjYVElPaAwIusU3zRl2c8S7xPqn+OQK/X820bur/fH1
3R7Mw4fP8YGS6Hy+33+/qYG8yP6x7B//qwk5wINt5w7OA/5uKTNGoO46qjILVMFipobg3P9fu1Te
N9u8TVb7gahsVztTy2PPOIHTconfJAWJmSbf/QHt5gcOHDKnjxMf8jX1NJfb7pC5MADCP4ILfP2K
Z/GY3vmqj8/c1i8uKx9+uiv5cjgw/Uh8w07RunmpQ/4D5zc1LJ3U6T+Q0GDV8EixPWR/uIcv1p0O
ZjjBW3xpAwHPOgSpg3AuYfIEGuXabDd2En7QY72KB/XyvJcZa7O6a5HiPj6mF44HF+vK7sD0nD1m
CstAOtGIYjeFEZQwXbF3SoWIWcIb55rkaz7PJxnQRONvu1d8tn/Gc36TA/PyYI9gmRi5tM9YwDi4
xvV7FkrXlepFPkCt4cw5/RShTK9D9wh8fYFFUbrtv4rzFmc5YIZHoBJ+FmJWf0dgpNOREdmxej6B
zub28Zev+m95fMTtEdzKbXjuXZSe+E4deI72eNRcPXweTqzv1Mt8M9TOhc/Fx9QAhg1fwP7BxF5p
HKIVJiYJwfxXuVUn3SHZjUfB03lSmIXTEf4LAMx8wYNs3EhtdYjTfNFfgAa4gGI9a8R8boagXG02
em8Nkn8IdVNPChguf+FL52AEAzQqaFdgJuMRLPvyoPDWDz+NrUdjoJx4NSeUkdf+Zbw01/yOEOpS
8F1dO7+/YI3AyP7RnGDTQrNMvS56Ps0iBCa7yKGiAe1xOLpsp9xj0jvY8jfTvGO/O/AO1C/UXhJW
rOUANVX9Gv8SXcDroXN6b0jICtQvgu25iG0WdwR39LzRItpEY8DoQhfHfnFoeTbdwbrakBKrx9PP
9J/+2cTKtflMwvQM8A1fNsZ8uuvhSuFg/sdjmSGvpeaKNcNHAJA74MaMKVLsRXZkSvBPGon6T/ld
vw+fqO7LnD+g2QXDESEk6iMAc3Vi04ZOhR7Mlv6JcQop+BM4IEcjIsecIaYRvv/OxQdnmtKRnx3A
8ly7kwBD9LAcmZ/gxwONxT31SU70L8MyBnrYajndUebg8ESKZWisrWHZ2vQEYFrqP8wqtxLPos3u
TaoNRdXEOTv/o//tXkjLeGkoH4a4/M6/5UsSZ2+QknY5gNOU6tjpXOXXogeReCbdoG/Rsza7kCGp
OawIdK6bn431CoHB6ukxxTUa8J/0W/1Zf/ULxdfMogWI57lwUvNCWKVl/r391k56qTGyMj88KH8g
HBeyTUMS6ecAoBKlK0JV46rfHjKhAQp6pwvT4v4NSsfR+mKgtBytBTmXD9pT9vSfDpHTYacBCSDn
c6Zjdk2PYulxMpd+q8chPfZvy19IC3JAM59vafylEcmnkXA+Kl7mGwDE6SL4jCDFLiAWgZMVlenx
oTr66Bjn7YsryHKYv4eJz8mvPyiLM/5WfUiDx2E+c+LS/9LD3R+Z1DAmyaMtgFdH16P/ZXrtJC5m
VMc4KX4Vq3eTdNBDxYel0YuY3eJ1es3+62LxR75gZfrbBpPH5Pgq8Zfm4js8zfaPdn7EuFouK4vF
8IVddL1BMwzXIDsRc8OKkPh9sPJfck9AEnoAs8dNpRznI/xV5jesKGPweDFfVKppp4gguQQ8wblj
u/SIBWVVYIwzHOQQnZ3h9gheZT75J+yTK5/vkeWIxdrXX/abct5wld2eXw1P9LFzukZXoJwtDsqE
2j5s6e/gdzYQk1CmD6a52o/2iTrvjtCMOwgXOjcw8pG7/EMD8kTK1bU/4gZHnZxnl5FUGAccmWOI
B0Y/pUOsJhfvQXZrD8EYO5TucDT8T35pP9gXMl+YPAlVPPvw4NfirB/ScUUwAm4L+HCZrH+2tDx2
U/0P4bdBqU5lOsvsr8wr1mO1kvKEcIiuiPCCvLmjUoFrEJWvc0z+DMnO1yKavvd4DjFjfgg3kXik
K7GKDZZwlaxk3Pp2qop8fpulB0kihSJaetxq5rHMN+2wvop1RfI30UpDha9BLhACi2hm6vnha2jw
lB9Bfkcr/4T6v3QtOuTatNrjNoCLUfYOD3mR0cBLAYjiYifrg+t2z2kJ7fIm2+KqdfGgSYmbpUE7
WMLZmJFqgZthBpr37VEfNeZPzQMZhcbIHTiQa8r/1Tn668kQoZ0mjP3mB/dmKxD8NkAR3LWV3PdN
ifRmjaq+Hz2rno9Gmq4HbSfAJTXEOW4GpkJ6phbnEew5rldBpmgFTKeohOJiMqQjAimeWeK6qn8b
EcxNC9fOWMvubGK6mgsono2OR4ok6goXyVk3xWeSgT9viLPgpCIz9WrCENK/Pz+02wkA0DiSFC4C
HYHZIfl6Z6R6YVY3JdnDXFhA10HyvKLACneV+DQACauLOSNk3vO6q5tfUDk8KLEngTB7YjgLira9
qnz4L35m3OAw23qCAA955pRXvOuH23C6rR69m7HyVpz4uy9ZL2zSTA5r4/Yl4V4bxdoB4olJjwB+
xzTgPVkkOsiilaNk5tdNspag1AFs7arOU2ZywTG4qxsRPGzCfwVJjVR4bJIGbmm9pl3iGMLdWhZP
a2rmKKar9WjmtMoVFBjPfK1k/T748OrXR4aYJ8kCedtxZ5dh34qhKKYRtxAQlVwC4sVuii4hAEkt
H3/TaJzMKx6Zm7UXt3FKbsgWOfsTn+QVo+6V2DZ6Jt4FjM0BVFNZFF73OCq4f9G6uvwrV8ySrOdh
Qof5AXh0MWJmNw78FU7jc9Ay5yLZT7awpVn40xSZcA2ZcLU9rus9xkDLfbKhwxBowJtZESqCGRSE
H/eSNwmZZxFfOaWtT4OUd+sA6vF6arQlMIr6eBy9BbSoIQ6eJsWK9dsrO8wlG7pFXLHLPy0xkQHp
UHPTlNh4qD/m29ECX6+15AisCacHR0K8BCSxRLwrCTv9T98G6YWmvQxgNETqJgSZYYRdS3cLVela
y8fumeaxBIM4RW1ihEuXheJI5DBs/d0Mq171HuWl36RjPupxd4/QC7j5WCBEwTo67WBN8XpA7Uz7
N60Er9Sh9HPkQfBmnMoKeSI9P+Ww4VGhb9JXp8pcTmy2aePv6n0vmH9pH1upH3UMwolXo7BXAjKP
wGYtwTgNwT4z4KaSRgo7BOnbYHpVIgcd+U5JV4CUmsOUSaCwCq4+MwHFP9nQbANmZa1FvOnW6XiS
/5ik5BDzSLb9Zifk24yd+xyBrjMWvi40lZT5Pp3BC70lhhCRZWHfqRDbpd8LTIfJrN4YciBy5BKg
Uq0DY8mCZnv4DwVhSX6biADK0tI/6x46qUd5MzrrpdwwhXTkotryakV5+Z8pQ3Du5tPct3GuExks
CZfNKVQxqqYy6uTVy02K4CyUAa7yEcmKqyWjO5LHa7QkHKHPMvHH9DSgVoXJo0Ft2W5ebRiofEq/
xVDOB+cLoOpnIw14TxgMtgXtM8eahyF8Zh5Bs8+IHwcluSp/IPKcmqDV2kBUCGkn0U9JBWJzFF9d
fwgUteuh87XwqYJADkjmyzxxxjnvS39GuHDSZmp2djXUhH/vHbUYq+gB1JTf7QRiJEfW/SP/96hb
8rHA2ewpSfPGPTtA0dcehClulN5o2Yyr0ZZnJpWfKqvbUDJQeY4oudK1bASeA6SJO7PA7qAeaL5o
8wV3/3XB975I1qt++SgT4UxZPSTDa8mJaBuR+lnqm3BdnNkSsJ2ncQ6a1uJnft/Z7weMj2j71O2u
KXTGULsaoBOIbbf1yvBWDHK9gaBJOD/W2m9awzPeJTdbqQyzJiw4a+HkRDFiBtlnA05aD3psxkgi
/8ki7cJxP+v644KOp7hW9XzTpO4+8b6zpDvW6vqaeWuKFJKYtVTlcAQEIRZkhTDSPF7KiUor5WI9
C0TO0Bkkw4hP35erNzC3to3/Yfa3rAq0wQraTgnpDe99WMmPUKMPZ2wiyxYfvchHL6rHzkjipCxi
wZHx9F5+dWPxOwYoGjGjLT+F/qeGiKso98etQypcS9T3iXLEE9gNCK+Sxx15S5b3r2Lav1phfZpg
0c+SiGlneVsCpwbxX8uCC5YpHkC3bT3lIQnoJHAC0RFi4I2q7C7MEJTaSw3XUCwUJiC/i8/OOOSb
6JqIpAB1O7XSOeNCWNGPAS9WlefAAqEJn2h9YQ4N9+KpTMXi1z5GtKdsVmDWieoWCJVY9haB1yzw
9AymEwazQhHI1ujNwxqlKuRU02dD7quL1WsO1+yu7f7DuCc5QnuCwaGKVFkdCojXm4+9199/E5TY
KlJSxdf7HXAbyMQRnRTp6QPklnws/RExXu6LKZ3M8XnfFT5qrwd6uxqVEvE5BXHMrEcl65GkuP00
epJQ+1fhxeo3p/arejxRVrXKfKx7+tkgRLGYehV76WaprpSPbsNHBWFpe0iO3tCPv4yRAn+ee0CV
jsLbS9cbmPwIsaBBb0I6t076fVQ1IDuKh/vkNjlxBSfLdbOmj1JhY8axYkpTdJBLdOnGCit2G4wk
K5OdhtynBvtYBnKZIhI1fJLP/JxZYYF6cGRCvnb/ZB1cYM+5JcFej8FPDoXWCCrtgXm6BgV5blfD
xcYXiqXCXrMcwY1zQRThw5jDOzqg+uF1feH3rWchWcEgw2xuBu8PdrmYntctM8bdr21E37WPlBHg
Jqj1jMhbNYbfcoRHFmprGVpAzgvO1Omg2Q+0+gJZKzdITfZo1ATTWd4gEbI1k66ZB/0q+elxNEdf
yHWOFqgW1ZxE3hsOZ4975yIA626Xc5MQukwvZGeUNVlXudmvTYGwTPunpFtYz9MlDUxxiyMCwrv8
2ijDhdzGXiMsefU2hDqb2gTdXISMUrsHATbU9JPi13tBDEYTcORItWBMk1Au6rDlMsqDQS8Draj5
rQbVm+CsWs+dQ8syzz0jI+q9v8ttGhpz0DH/LNUPw1jezGZ+NY38LgM50cw+mibP4JLj/vNGrKqc
KSxus5WKdRlyPyHtuSp/9aYLBsis2n5+HqYH3U9pwK3ta61Yr/lovaX6zyMl5VyjyJeVsxAkuC5F
Mhv6UUb+KV+FZ20zHSsP4LbfoXsBA0YmkeUXvLnqnkfiIF+fbuDZsg6Kbt1UHCja0jHDO+zZci0n
Dc47uLcv+RnljH2rbxDzYnyvViOYkT8ZVK0ioDgtNx11yl5nwL8JL7ojRH7e3+TDSGRflWV+uir+
npKYt0DIFF3Rwh6dKe5YvkvNELV2oe7HzkxiqQLCzDmtS6R4EmhGrcBjup5TWWCFDGhEoDDGV9Ay
P3jkfVCpiEUYYi0ELfJqwnHZ3AovBNoft9Y2LmwN7HbGVlt55XUeDZDOnIpJeupVNmANvuuzA8CZ
K7uYauUP/Fjc8iM/gG38jJ+qFTzyVA1uHkd/5PeuSwIDllPbeKKYXzLippAqwnZzc1n0V5ZZI9tY
fnhcA1bUIjNcfma3/p2VlkbdlCvBoj4Qo0AIxgylyaeO/SvPVF9616wkysHTPQKjNoI+bYJEZTqv
WZ6sckzJV79y2hzUfq0dtlUgLbj3pVSHEpcH6zAHDderPKVcqzhTuWsriXKXXgiZlVt/koh2VIGp
rSjIdngJhEL4qVJe9JSYAFk+62XFDyS3wYqL7DKVoJfG30VqMeoeenV+0UB4Yx1jTXBnHFUVBN1a
rQhME5wKBNo4jU4/Fk4qIwZEAbdt8FNNp45I5KOPgr2f4FOmB8TOEXyEx8dDv6mrxwdWYJyywPq8
hra+oXPqkEcv2bHI9puvCGlQVluADQiAPF3fZ5sSBWFGWyi1UgBhBGtnW2BWcqCUVkDakUPA961Q
G1gG75aOKq3aIybCr2pVXx9L/QLm9YxV6OTaSyF6ZNbn+/c4GLFcdKfcYO/MT3X0fFnjQqHN3Lvj
WhPQnhNPtXKOJwWarsKm/rNAXmZLxa1Hb622fIsVuAf4bTHCnEJx6aP9odM8JoE3U6CPF4FmcXgZ
sFz2rtrVVGWgsUhd6MPZX0+mSTz3094FA7oTLF//2EXSTD5SCalhA7xQMwLIKiFOWoYTbfg7L01Y
v1Vpd50F3lpC0w3/xceybeGgoNWloCk0hLY5YwAcqSvPq0k+BhXQfYHgqR39cJMqwjHiLduDCTH4
ulKI29URloq9j6esVGLiJgkNmO3HG6T9jNg32mMkqkiX7dr/FEJsQP3MSqKQPeYSquDJ1b81wyw4
y5h+Bb+OcUWnuRC2dU9emhK1zQUIJeruJav87CwB7zxoP8iG0bGlOQmeeWsrOvSCVUd5xsBd4oTM
j6xvPgFKc3maJsl/JJ8QBB2lOR3TuBDX0CqmqO6DRUF3PBCItpgx6DOwmOQvfs8S0AWDBNyJbu/8
BwowMmGtYchpjlFaZsep14+F0MWjbMW1vQ0AdgSCZRS/UZawJsjjQW1VK1IENfFIixWFf6X8bXrm
ijLd17UPH6IRNmIRZeoYdQlv0x//pcJ7foWC2eMoOxm9ddo3HyzQFanmsJxhbkQyHlsZqw5R2ZoR
GRzmtlY/1mYZywwQRrR61KxSQbCcbsSJk4/z2ZD7s6rJRyKDS0iIKHA0UwtlaQDAR8d6XIIZGSkY
y+KjOXZHeSICY74C+jqTbRKqTzWxveHLu2iOM40oVGT61aqnJsNp25mKXsnYzkHBAnQeAqmnl7js
7pT2kANStzrSyGrqS89isI1PsTqjEYmPiWV/oTJUJh8tD6plQOy0fKclLjoW/vxjmxsf6kpZ/UiM
crmXe+ZN/5520SFuFSvOy/k0Csk5jVQ22dFoA2lFX7X8iuiplr+Z1y1FJM5FtExplD7QCvvm7THy
xcz7sRryoynukeEA+zSaiHWHaAZkrF0l+i2FQUYQWp/6mMK8bWo8HeiG8mw9BSTsec3KCafQWV3N
Lg94kWLxNSYtCElKNYJRlKJhjbUOMsQ3llzxYGOZDDr6cYvo7prpT9WTs4Biz57VGYlpmB4xn64m
0zSkYGU4sID2SZTM43HEMDCV6qlV9XNNnU5jf3icdT4R6v8EbN94hiTAP9XzvOjnzRLPM983DYRo
0SNQWN0Ha6yuXZodAt5KegeGLB5kWkOhHyKyc3yxDXB44yuc+ilWxOJUWNTvcC2lcIfhUaZW2CYJ
TCHDKxm8CSZyCJXrQgqNsDxty38aoVnyTHboXN0WxXrpuL7F4FElgQZAqhE+y0TzFMCxf8rP6yBx
JOqpX1fRV3QEBji30HInB8JdARzm1BIsCefmmDK9p+VNooBTHTfxW8Fln3GRShMugSF6XoUV7ZRh
7j0ai5527x3tLhnVSfaxni0EAAMOHoTKg1ftDe37kypmIrQbCeMs9Tgfv2i+j0RogwL8LklKwgWL
kRQDLfN19QR0zVNN0aNxA0N7rZ7mwINMd8cucwR1rjT6U+/N3uNPZtryQDOerCE81N+CdaqQfxOD
xbAf58RiUArA433qPtMqsHB4cewioQGFT8WpKlci0hyP9SDRGcCYPqCRpmPXNpgqn5M8NNPzzfjW
BcIi6EKjzZwN32i2oGcb2Os8qoAYT9p3141HqxGOO+6gFg5dfiyDXDWjuuWJOm9m45DMF8Lgzzpn
0v+WMnVnFpTFwsgPRq1wwNZfpBLvU0eFMlYvj2J7UVKwPIn+sqTbCxCal8RL/+WYJirjDz2gSY1b
JAkKJ4RyA8e0WvFviWKvuGW1fu0MhpqQKms6chuNmceAhFqNJJUiW2pDGbn4X/EWqDsg71qJCu0N
Z/0RJk+2Z1T5JFChqkmKjxwDDW7dZFfDdNZsoqDf5QyTMilXlkO3LGrEJWLcpdek0/bG07t02Kcv
4b99B9ZJADHhHxPljkUkBiD/JffeOnTChM0Nxu7mbqNO3poo1HUkhHAMGozef/S0WVPZtxgUN8+e
/DVfcTJVhp/wIxkaJiGNWSoolHTj4MefJg/XPHdFdZ6ILcrJhlppM+cSE19ydjam7g/VbYbVNaza
BbuCrOrcyH+X3p+L4io2UH2SFfdJ+Q6b/J2MnrZ2KuG1366M7UfIe4zC/oLlXth0LAw+IiM1+WPQ
1HOn1BeVDOXKlC//I+3MltvGsqz9Khm+TlTjYEZHZ12QBEkQHCRqtG4Qsi1jnmc8/f8hK+tvW+W2
O7oqylWZli2IJHDOPnuv9S2Nbo8flqtJmi7BlF9E4p/tDQDJHQ3gKamB7CJqVdbpgIIk7Y56VB45
hOTUoFgQmumzP8xemxWolomHKLQjx645nniOxDMTJMr7Tt2nUoLQoHNA8m7SdD5nknwufPncNj05
I7wBeCpqr8sDLyrnnaJibk0OWje5tXrOKsuBhuLVhE4UJT8SvbIbXSEgPpDR9FYwSsHGR0Q69zQM
KAChczh8ZFjo5zTadqXNdExul9hm3MXyGzOEfFRXWajuSRPf64+wFslWBv1hqaj5Lws8MO6wILJ/
B3EI3QXUL5z9Pot3E2VhQFnIfFKl0O8mOmW7PnBh1Lg6FbDSyCfNVk+hop/MSDkN6nASRb4BqLNW
xx2DMrVE8GFpeyT43AZ47dcD1X1oHfvBBiuFoEupjkLyvbB8IJq7ilBYVMleZf3LSAEqOkeJSkTm
BuSjgSFJsh2YugXG3uhJE21QRiEe0W+GJ7roMSIGcM1mW7hyjhSF1i32UTs9CHbzid3cSkN3ptFB
MZ43qIUYRxpbavEw65za4KTOBGYKPVv7NHfNWjVjoonOBaHNEskr8TmfeIQ0vHCzebSG4DhEgddj
HTTvO4mM7n3OaNwPHg0gZmMEw+rTPD8r6t6v5p0gdQH1+y5QaDWbx5Yz3+ij5lYY3tmQt2nryK9B
g6CcVjcNIY1szAwbcGyNjs5q6ycQ+pHHI0/qak6vj5DXtrWKvc5EScD4Kx3Ng4q1Te4erUFbjwMG
1gksH2JzWqG5gdM1zm7LFKxlJt+anEYLqbxVLfMm3fXxLtERQ4htQ4xYvcNnowMXyDgOqdueZ7Pj
AKtb414LKds5riktfRFWQfs46uxP3ePY+4cMUzWN74LbrUSFArAvavuL9iR4t9OXmp8AkBShqtEV
d3mDrc7ikFWQW0d1gmLmcVJGlppM5z3gE9rGxQSGNHdHzNdR5ZI7ToPkLTfvJLPH+jCV+ibNscGg
2LWeIpZqSdjOKFCXtw32J3kraMTGy/RZaJ5J9Rc281LykTpNLMSYnAh5POk2nzZPkxqdmGe0zRFU
33EWS+tvoOAsqBZzKfRirNpp2Tj9klTMX2mqeS+Z6KwU+JbtGux8LdJLYsrnsE7QI3QnoBMElJBC
N7oxffTUOHfBsUc8jNsc5O/4JpH9UNBsZGh3iiJ4ohbnRc3dT0gg8PRNGTJqqjVsWAPN6hphfJfU
1FY0qJpkbxD2Hukca1ainU7BHJ3GBssEMn+zv9Gm+DJ+hLsB2eGQkbRYYx0ecZQhUzZMUpzQlLM1
wSSJChKv2p1vDRT/7Nz8UsrDANArbDhA1Yx3g9yNUCUzzGyOynyVUOvnRFY08ie91TAOUn/poSeC
ngmXz+7jhsSVACVxIjujtI0YVZYDGaHgBqCGUmhpHF1VZdzk7S48GieLc2rCxJ3GdpffDDpRH6vm
AKgxdTp04MZDO4gN6dVdE/Do6m6g4V6YGWcjmEHQajKqpmmQiZTUFqdgqZDDrdzDprU3IKbY/Zu9
PH6ScuwD8XOch0ddw8nvGCegbEB1WgbYnNBwhiKJMUw6NagcqLrnrNkNtbFgvDC0A01awPMW/pkm
dqmuBs3RTA7lqOq5WTWUQOnJZEOb1Bb1e7gHBQiwAvEwKlad1BFKNptJX6F5Lcx1qXOEXhxkuXSJ
3Ah8ZeMvkDkVrgOCrRIFWnTEAxkhCqwlslkw5fNtOZEbNEe3Mcf6rifo1aIL+SIErfB6V67zityj
cs8hSQO+7VMYxi+yx2adMOkuj0qzDhf/ZDdzmBbWpTBx9MPMUmvc+11wY3/koHHXlw/qeIDFFhqk
quqnjLTdinwe8hwn2gxZQNeQdJhggIpho3bCpffkSw+C7gS6RzLcSDhZK0AMeFoDQ7uqKpIBqwS/
pTDT76/AgGGKPOkxWcYfg7Jf0XQFo0BaCz1sZ50T/4aLkHovnudVQg52KL/I0x07+bpNXIm0FWtp
UT7VkIbsXSlOlb0LKt2Vcn8VGVcwEPxGUd8yMQoFPxO/myPq7wlxIZ/Wov2GE/C+CXZIhKd0G/rN
Wpu29u28ZnS/kvK3fMB3AM0G0U35uJgmDIzs3KPheVwY0dSdB8wH1l2o1bSAKs5ZFwkiplm32DNa
17TJaH6tKGlEDNAWjVPbnsNEPrXVXRY9Rr0bnGx/RM2DZfM0sdlPz2V1F3+SSA/QorNqfewJ4Fo0
Ke0ZgteDbEl3zcj+yw0XeerS7xwnktixH5M5koETSm4TPT/pkMhkbVp3EqNdp9TxPGg3aOhIGPC6
AX3vViZZZIpuUlQf+Sf9nKlPVLDroCwvM2YQ2Tz6BAgrEeJAGqzdCI2Y7wGhNV5KIuze3NHtPniA
+7JOQ33FLMHt6nTnD+a2wtMq2yOTzmTXcRtgVaw5vSKoCflB5JtSOCRdbogW0FHtf/S7e+icaVxf
ONKqMp9EXntgNg9GhZdL2cdWg8UWsb0KqmCCwWz0Cb0PjKs4K/uctOFNZX0lmpt8qobi3hw8QfeE
zM5tVcXnfnxJAJ3UI3BA/4aAExzE4halEtgTM91IGlleJcfUPHNVtVixL0Qb4Ephzj4IIHG68aFg
aZ9xS44GyLUzXqOwesQyhDiqnJSNRGOB6Etzax2jGO9KRVdQ2krhU2cfOC6t+SdUU8odkzuIOjlB
aB4u4OBoP/jma+Dm2tZqdOiQa86/tr0MZegloYl+elI1QBWOcUfey4KiA9ywJbBgq6GwVDvjRBo0
8YKxz/aUxsdmqo/NqDmxgX2h+DhWhFpWMXgDsc3SBiWYf/JD1PGo2TKp2emMbIhq2dkMCqismWty
it1BjDv45So7jd7IYYHReCGKq321AEB9oT1Nql7vYaUBiEBce3KmdsCVKR0nmx+mJ5UH8E46IffU
4QbNGlr8nT93x88huSylRNCUhOBN8kSG4PGrSeEYSrWLQH/dBBLQ7tn1o/RAwm6fZe7C8sm96Rmg
RYq1IeylQwtbL+MQlpYumoqslT2fXy09QpnJYD56UIq9Nsg8wzcOTPAPs1MzpgltmpxzetNjm1Wz
EkKn5nWTfcgd9CAcDZpzTrBtdKvW47WUzDtCqXZBXGHUlPdScBc67BoHi/1fKzGlGKduigGLp1QK
1Fn8gsXjdU8c47LO3Vvpc6LQPT9TRUfT0+SVaMyprZkdhnSvhv3kJXXoTlXoBnczp4h66MGq8Gng
oCyWchB0q5HO21aqtlSkGUovBs40iSSQ/xzUTLYxX3Fba9wKFenmXhhuoRArg0dURWBXBPpBTkD+
qNUhdJJSf6of7OSRxRLiPwO1o21S68v+XuYHrJ4VS3qemnXCnWnowwnZxcd4nJ/TxnwKivnR6tOH
WT3DXpC+MKktH+pZu/Shf4bBRCtXP1Iuz9LnIrqnAUc1PiF10HZIG7qV4RgO8X61cFvT2tcEI5a7
mj0hr+VtH91UIzHBmWeb9aG1B9fkj7cskOqNhmJVJ8Zaz8l2RnCshjuJwWIkqVugylvSKmSyvinu
p6j1RjP09rhT1Kh9KhrPSou7oIquoAhK/8pxycTHTKtEsr+GcnAeOLf6X8g3w3fb+PepXJ8IJqD0
qRlCTQyhzKoDeDW6BWWT+joKksHH6RBjzJttsBMls4CIMjVtUNDxNo4RxqNgM8eHltlsnGQUSZ+q
CTbCYxDcDQnNVAywTcv+jXUvgZfAMdczuMMT7pUwTly53wOi/VRH24xmQd3dJG8+WE46fQ+jmO9D
plqWtIuJuczJ45Y+06gEULX450ikimhICzy7Vvkyk/inIdhvrcyBzSweIKPeqHZ3iRn7+bJXEXRa
y+RSc9y4t5fQSek5f9JJLvXLF0X6TO2H/o68aKA4M+xogafPvO3x1BSJAr6An3bKGaF6I1ZNQKx+
rl81Ed/mQ3yRjJTZxyrkD8NcC7h/Y0bAmrrK+S4z2CUjezUyFKBRdiYHGGPxc13ttI5U7Xk36dO6
1NJbyfxIXz7yYuMwGiU+12iLO3/R47JzhMMKC0H10scWT3BLlA5a17OJe4zhanIyA53M15uWeHl6
qRrjh2b1piN7Bd0BX0dbY2rMP5kjxHTf62IHN7iBRUlyhWrhtGUlL5/+zOvB5ZXHt5nEtlyyYdMJ
IfZaIo5TMR/Zq3Jb3DbsxeWdTmxo7ygWWbZfNHkg/BwPCv+HKlIdbzTcsP51yspLK82nYOATW8Ut
GME9/4AGGT69j/rQGFAnT7G8mcOLqCfXyNQ9Qmwad5Htpd58JrMN84Ftezed6E4ZEbZ66B+VUZxJ
YJRpzsjY4zB4dNu8wpnakItFGcPYunOtJVswZqg4HTA86sG0ZObcFcO4lQZjMwnjDswPND54zbl/
CiwyC4ruFE/+scj6o5WaALbRpSLsXjeSdZRL02sb1M1q7TLmOrSB4OY/SIYNMJhtmP5Me4bCejEM
49KW3Mk0RNP7ot5ZvsaMePYiflXzzCuIV/uwlNE+AT3I4kdUVg9W2d9XbJyAHKkUQNmYibqTvsRL
O8pn+kMyVLxBuCocC7TxEBmOLrl4W5Ns3lNPL1jGei0+LgW14YCRqUFJZtw0qn1tfaK6Lfq+FNXP
uh6SDovTJMYeQWugpWVkBigM547/P8hY4QI83fV4LifNy2zG+gXlTYO7KXftXHXtNDvk7XTgVKqi
6anJc6IT4fPZSQMIMmJBqoQl0Tj2dnrs39TGPskgIaYJV57lBK20HaPldJ3tFEahYAhXpXETD9ye
b5pA7up/HEaUD9lnKQ0OVA37xRM0p/GBsMQD2XmHzGDJbF7G6qpJJNWOxY0ifYTc6RmzevV1Nn1W
u2wBUTCqho3T+mekeD0PmciTfGNRLdJpuaoJZyDtuWv9/ahPFRO0WloLdLq+QaMIS0GdCYwwIZLH
gQxk+pG2wOhMk9Qwb+egYRj8sZuQnLfAQltF6JuKNlU/o9qc6vwYT81xTOa3AEGkgH0XL5hQdCgd
9XENOWHqv4pcoUGJmHccCMD5YiyqSnj+LaXxcKdKDZLj6fQV5OQuHmA1MZC22Qxow2zS8dQL9HDi
2rWt0/e1axf0BDZSFtyPdnE/yOa1YnffZ0FNzuN68qHAB5YbDU9AyNFvGmuSio7DdEYnH3efRYeT
B/9k1nZ0ZWnC0XsZUSrUgve4PJt11a+TSfsIJz5aWSHKyVm18bxg8JBHDd+2/KlOFk46c2UCQCfK
0SaAGITmYvbVjYJfnghV4sWczC4co6YNnkb7NrWgSY4uz9JYbKZDDcBvT7zyXYJ/9TPUn0SwjmK1
3U41FG0EkA3QKkKkAphQUrWTZXJIVHM3wFtOiN6KUYxupEF+zCKQUQShVUH6JAvz0Xw2DkoGOq/C
Jm9DfwGic7Dh0Xu+MrkINKL0klYKwmYOnCsG6PhcySKilbh46LuaUtHYVSw2Bht+N14CAqSa/JTR
szPs24A3NBHHyYpOinEy5tiTJTTIacsAYvYm65b4U0/qNU8GeDRfMwb+0EOZXmAMhLWixfeRipvT
ErspxQo7kwNVg4ee3XyKXOyPbanuy/ZjUBDNJ9MOnPecazO27xxlIDbAtnSCWDgduY8sBLpEb65T
NzIDjTqFSvJJ1p7T8taf4aslqIynMylQeyPU9rOWuGi4WQ/5IASlZwYBgXC5Hifg1/FSk6AYHguh
nCRzl8Ai6pT5oDT5oYGshSznsQCGomcjOY0v+Vtl47iC8MDgXKk8s2o8NSk96lSIzpSt6Og6m6V6
7HiG40OIfX4mGDKFiRSM5m2VmzcJBOjqLYSjQKCQEcNjV7cqIlV2PMcMW7SxAzApQCzx1wlxAuSD
JUe9b50mUJyOgQpFS9kkiHCLbU4nwMBQk2wFDbE5uN5Fg3otbOlKsNqdbEjXMRf8wmtMJUJ8zy3+
zVRWzjENzajxFNQnsKr3IaNZIlGv0kal2dkZ56LLmbcjoDe7a2GUtwlDNapUYcAqCg1YcJ0z6ArI
lK8httR4rfscdEjCliKHpNOG0icqB69ipDjZ+kGpekeloVsuw1HlEFnbfpB30dy4JZ9iFdBS1DAk
+MkzIv9tlROKTRVM4JnjKxfkf9V8VnSUAna/HwU+bWXa9/5dbfrXulOui9S7BghvYxg0xjvFaJ1h
E6cHC15SjCFXx2nf7NR02HU2Nx6QhgHiuZbfq7gkNf9FCx5GeACKHx4iXIxl1fLswzw6+EPlpb3l
6dNw9Cfr2CDv13cF980QvHap7rImDThJE/la69vaEJcG8bmmulGknKektfYjWcmpHB+6xJJhA72m
3HDYgwr90JdnxUp2+iGSxZMZddeBRsiUPAaJf2+U052t2LeFFt8E5DFLCB1yVtvJCXXb0UULEd5E
2FGRYEuH3k+5xVcCeYNNm7V/JQbGae4BTm8zFYhhMTmKTbLpse3ko4H/nINqbbt2NXnqGwWWbR9R
pJzb3RiVV1ium5Z24ZgQmMhIDVXEKQjss7i1SbKy4MUpZYe0pbn0WXoz8q0t+5CanI5KaC4aKMn0
4Kejh4N9j3U555SmSpybIAZm6Z50nb35FSkhCkWqU3/bBV5Wk7AupqMNHoUougTUDUfhRD8GwaPi
904QDI+Naqx1OozGKD/E0oQw6tQ1pLWZ8VU4RindjGF+aa9OVerHEBNzJsKjibrABRX+sCSxMpvn
mPrI+syRsZdfcOuGfrb2n8vzPKlbw9qnCir3HPGfC6ClyeQLd5FqWt75UIVYNDf1NSrli1DTc+wd
ZnU4gyZo+Ak32rGuc8yECdzcnBTT9AvK6p05EmJTtrALCh5sdbvE3gXyFyNJLu1MG7ZkKd9SyAQQ
e/z0QZ3JRGO5kzLpEQdYjr33+S65FNbM/aFBIkCBKJvgLY3D3cZCKj6yzqr26E1G6dVkLJodEVCs
WwgMGejPLqe4U8sYKSmCvUSGcjDBlWXMQfAxbc/eSEkipi9DVUm6gxPJKNohchqKvrWYCUw1Z1K0
9ES+65IX292xny1wLBT/z2SS+MoprK0ToT7nSIF8NoSOzo1vuZI83MtVeD88vkg5HnjmLhN8QgsX
iDB2L3ljr7IYIdZz1sMvVJsdYxcCQzgwIhHcqTpATWnXka9deDFWmdkdOU5CDnetdbdSrrIsEyeq
upn2ouCnD0NaVk8herx5q4OQ0TcwrGgM3yM/d8IJKoQZ7eVrtza0+Gh0M9qcJafHduY7vAXkACt2
QeP0zuhy2jBoDMzXiOzGMqHnHUD3LJnVT+cQyLReYgtiNpzcJa25Ss1PeUeDtsNYU8keSiwvlxNo
XMF2IkvQcBPaxla2k1rUmNekh59pYuzlQNsLlmxtkyEHC/s9+XCqD1xQ3c91syfyaDfJw06/T9HW
Maryhbhpifsd5IeeRAoOOoQ3Et/AoWsy2c5o3vsnOyBsjUP0oEO8PTBKoKtdAaxrPClfuhQrM5FW
cvvGeHzdf6yWwxRDV1sidBpBOD42zJqaeonH7o53i4Uic4LikGo3gbXV6LYnk73DIsLBGgo+nau2
2Nr0AQ1GybLGsMCkYWXsLb/a8xjHiekM9ejY6o1Oq1ymDdF/bmBeDaHYIZvbj9alUqGO6HSi9U9t
jwtEo6Hw1NHEizJnWsY/Q73NCTWsjPk8wjjyTWiDtqcNR/jVKBQixdoqyIOhIy5z/Lec9p7Qmo2S
0dzPpWM8K8cyIPd1k1fBTSLiS8W7rWI4SUtOMBmTi2Zgb4aHI4EO+NzDZe0zktooCDVHpfmfWygK
kfii3gZCHta5p4/9xzH+pHau0r5FdGLH8sWm0LPtL378XCWnapi4sdc04FI+uOTJDy+m/VWeEpxE
D3zg0r0lo9MLPsbCU/QXWQykutZr3BabIuiOdaV5/UjFXySHtcVsQMHxn4zXiUEOiGpGEq8Th/6o
uiOuL96E/X1noQKk8SvoD8BGo+X7QkDJilHCSAAuL1bGEv6YWdsSy8KeATszzK49l/GuSJJdwSQz
lMbtKBdbBLR2NWzs8AaNYZmDJY3FdiYVO6UDYV+FRGIe0BXqQ+KRCX4o+Q3mYnLOpIbeQkBbvUz5
/tKOj4NVgSMMjtdzEiIXYHkzVyEtcTYH0ploFtGJH6/WAn5kD4tMx4w7x5/JwTqk6TqI/KOhgKmK
jugmLFyxa6w/2sxJN761wvqC3os7oGPR8FI20YDN0ToD/keCj8Og2CPGbwsIVCUsonbamgtSk14I
Ca9Mk5qaZiQRyPQqCa3/3Z5M7lrqtU1o8UOGlUdcndPOjwGNhNFHI48SmZA2vznL2Yumfy0zc0+E
No6I3wuJG1ptYFIbKgp+pv51Oe9rBtiY62tiZFW3Z35qB4lbTc+RPDHCWc3PxE880t0UzLopZLQq
e56m8LmliXsIivDebukcl+ldnw9X68BDgecpzR/GEVGxujZgJg81ChjAYFq6M2CJzIFxSo3ygruH
dZ6bodduLQuwgcEcYJq2g4xSZtjAPuAICoMvHnZtQThqHe1+T8nKwoiXL33qdiO2No5F1cCDnTzY
+hd/AaGQP8JOclRpfKuUu79jkEl8q1D4qfAyzd24YSY0tsVGZfaB1PcSV9FtOIBpgArcxdI1qtQT
ni8yoy7MB0667kgRqX+VhEVJ4O3pHETCjg9gjr4CDOYoPhlr1KozSzTqVQot5HHZ2WI0NgDk7fRm
3UuNU19DVbDc2BBNiZFVUVKBwQ4RbU0qxz+xSjYIlayn1JGDl26wH0DkodnT8YEyb0S2Fd6W+XiD
1PYCEBAh6NtYlGdoQ79PUkpYmU+pXRukBibwTDruxSg5dhHisI6nFJc88boqGMW1UD5LNs1FgJ8w
MHgzSNy5MnNU09tQplQwZhfu11SCE8ZLauuOzNHq6F/ar1UY7uELiZZ75NYC+TQ5vyeWRDashJI+
qhhE2anL1n0A4rgn12SvJZtynqnI8KAk8Ijp15wgVET2Nmz5ZFuyOLAH9tgDFRrYWU+2ATdCbhiH
vtAhDbpz2t/Q5rkB6wd48qYenx8zT9pylrHVDdhTaH/TDmJwkOwUMWw9+WVJMiOWcF0P/mm5A6q1
PZIzqiH7AEQWqiSX4ZvpSdPRYNbLpfboh/4TXJvpOEbtTgONCFbGHKYtjdKZppVxNx5saO51XzkN
RQe99O2YsimuGTkFA/NnHygQU44noLt1u/rd7/Q6DjT82GwMe5/wTobodE7MuwYQzjDfR+NXuQd8
6AN6/NLIwv3djBrTtlASbNRP1dqt8+mmipNbKelulVK7BSFwihqgqcy3ayRKnbEN1MhFALJKgKP0
o85TvBoINAy07DBvI3t0FX5JuPD98pxwnurQyqO77TuLv0qETESwYrElQ91BZYCqM3MUQleiEjcy
mmSeyg+//cff/+vz+J/BW3FTpKiu89/yjqTsKG+bPz4IW3z4rfzH77tf/vhgyopuGyr/tSzVNi1T
t/j651dEY8Hyx3/XCz6QYCDSoSdWOyoDpxlhHwNwwCs9xda2zfKdUn9KG/2cAgkQm5DEkXH7rLZ4
IyI0ednX0PJXmk5snPC3RcKeYibItpjggSkwSg4rUCpHTzHLQ1+lh7aS3LrRXX02N6b5eQlboJ4N
pbV/KO8rY9p3xJVOirGTOdJ2DQaASmwLzNcKnRZbZv69xZJCjZUPiRuV8aGwzEOiaR5eGawHtJFE
cpoQQ6TbTl8kMDZ9zwR8RH3CUZDTVAhi2F6xh6TlGITG0bWIrvE3S9JMKPc0e1K3nFicl2KISZfP
MW/cWXq0G6xkLWv6cVATL5/25fAykbAnyy3+ofgpNRKnNLHu205W1scptE7ancyzWtA2Uq1zX4Bc
YmRY9AhSGRmmj018TNyaZaXcs+26dtTu41pwLOX5Bz2nTwgV0jtU4E6cAcmVoa4J9Cv8pHQKSYUY
ZeOEU6abXYl5cAUgkM7RXlKWeYzAMA3PDbq0FhCgkfS74d7o+5vJ7s4xOcemuq2K5DKezL7fD1Po
VrrgqOKaHPvCEYQfz319MvLW62fNC8ndyZ4muX9K8/apXKTTD1JQnMmMVE+JdsEDs0U/19qOkjRb
jQN3wZQ3QUTBcRApLkQgamgsrwbBPexmg3JO7PRkkao8ORPyZaKusQxzBGLQQ/cf8vuf9/l/fHej
N3/e+J+Lkr5WELbv/vXvp+gzWfTF1/a/lr/2///Y93/p75fyLb9r6zeYZK/l+z/53V/k+/91/c1r
+/rdvzh5G7XTbfdWT9e3pkvbfz6Sy5/8337xt7c/v8v9VL798eEzHZJ2+W5BVOQf/vrS8gSryjdP
/PLt//ra+TXjr63q1zlK3//5t9em/eODpFh/szTTsOi/abZi/PnsD29/fslU/2ZbqqxoxOQIw7QN
+8NveVG34R8f9L8psiqWxULYurBlTf3wW1N0y5ckVf2bqQv+gkIEraEqlvjwz1f+12L0jw/lf1ic
jO/WJt0QNDdMTSYszJJlQ5OXteubtanzuxLVu7gF4uEMCEPh3qASAgOobZsj7jk0UBgOfrEkLgve
fy+Iy0KoGwbvhmEww9FNVfv+or6tloHPIAIV0VdFfgiaV8EAxoK64Pu3hnb65uP40QJsvr8cS5Yu
NGEvb5qsWu8uNwSZJVlVQQTOiegqaJ2uttb3zRseXPA8OiSi6T4HxMYZ6P7nl/7XKwsiW/j0dWHx
5vJZfffuTkKgs025MrUWJaaPzGVSiCwmXVAnIOPnFxPff5aGZghFtRTNEpZAiMwr/f5qphUpGlZt
Tp0nCB/3IlzJj8VLRXASKKnRaW/TGsPHCu/wL66syN+/w1yZW1hRDJ0gHdkWCg/Mt3dRnNf0PUNx
Gx87x6T0a4/Bnvb9xtqkG4BHMOzsA+JVqLrR1nd+/rL1H1zbQlJryDwwtmm+210DTVJDaeA9TluY
M7FOS6oX0JCyuf/FbSt+8DJ5MDXuI1kIHr13L9NOZlSMofks+QZY5FkGFSjwtjC75JSepBgd5MfJ
hjw34x+nH/zzFyq+ryMQq+o6d5Pg0rpigzN5d3mm/yIsR15puxmc8mN26PfSSTr4n8BW/2Mx/24t
/65oeXcv6bbCzcS7yv/YpmYY7+6lQSHxPByoqWMFClXw5kuIEUGOdICIDEGQA9Qhn/RDH+9mloyu
VtOCaUgApANDIII6/eK9X57Rb5aMv34eFkld15ZneXnSvlmn5mxuTS20OaCqhCIUX+r+8ot3992z
+i9XeHcfjZR4pEyhTcAyo6wQ72SPQEkwiWw4CL2gXIXafQ+YY9vR6fr5tVnpf/rilq9/8+JqRVSt
nPHiDMN0QshLOXjSpEXTw9wuCAGmKAT5csj5+WXfLxjvX/Kfj/U31y2StCsBWvCm3iWv9mefgJp1
ejHPyh2ERKaiWgQfCxPIlj/y80v/6M3G3agphq3JmrDevdmSbBokgdfoHCXoY8ASRuC0Qntu42kF
4OIXV3v/5Pz5Qr+93Ls3OLEzfYInCEBNabyhKD8mDSc7ZtAS7CBTHtd6GRwNKTvPJEwyqOr2/9bL
tZeF5Zs3OrfKxjQgI64Va3Bqa0bqT5qPzrDDf1ODw88vJn70rCBGMy1uF/5Xf/fspona6FmFnih0
a6ItnMgTC6zvCEbc/4yFf/frHf1Xl1y+/s0LNKaBTVDmkjV3r9BeovBXNcP7xXf5DFVZVviPoSts
Nu8uMQdJnE6TBXp06stNq4H+rxeKiFVieOkKyCdT3zA4mvt2hUrdIbZbvv35O/tuq/nHjyA4zRm6
thRsy6L5zascRGcqWksKxBgqd3LA46HEebGaRP368wv94O1UZdWg+avasm2/r8rKQSq1xKClF9GO
FnXvDciL/71LvNtMwrihMaVwCUtVI4b+oLISOCS/evKWB/nduq3KmiwLS2UDU/R367ZttK2IjIa0
xw2Ja+DobjVQZBYK0J0FYnzaJjf1Gb4/TKZ1vPs/vERN1XRNVXkW9PcvMZQ6qSGpcd0ko1hVKbxi
pXb/vWu8e9YK5GJFIPpmXYaUPvNLWJq/2Pl+eNN98yre3feJGFU57LiCrcZbmYbpwKl+CbL8+Qv5
0RqpyrqK8l0xkB5o765jZh1FdIfasEc0blYQ7vGJJBPN9rKP/ZUfyPe+sJ8adHtDb28T8Bk//wl+
eNMTWq9Retiq/r5YznujHKecDEG5vJGkZzx5P//+4kf3oipbHLlURZOp4r5/fJu5nQ2MPNzyL+hb
2NwFJE4ccbEGJhaBsTM+zqfQC8SqefKv6S8ehR99jthXLNtQTGGa76tzi6NfbCd0REu6tUaw6aEq
xkjAf/4if3wVnlkWSN2QzXev0QJKzu/yGoOAfkH40V4wcVq3+flVfnizqDzT/7zMu/17VgURzSmX
aTfyWlk36+IBSQBwTEJFfnFb/KASVXWNA6+sa5pt2+9eUS8sbUqyEHWsejDHBob6owSJMArKX7x1
f9aQ79eqb6/07kXZZkQHNQRuPX7O7zEE5gpgF3Ie5ef2ddwh9Q9fGM/sYHZvf1UB/uhjWwpbeTkp
Wqr57qA4JNOAESFny9aqs5TXYEOjS5Abzs8/t/cHtT93MJ2WgmlR03NUW36Ob3YwVculuoM6stZ2
wV6F7zqCc+SqG/NaOvlTdKyO4MQcTAHhCa3a8IsNVFlex7+8xZTwQtOQh3BU/f76vlrYTZbxOqk4
H5FErTJH+FBck0PgKB+XvgND9x0c/PCqHA1/M8irXx1Wf3g/ffMjKN//CJBvVGvAxLLW4JFju/Nj
5LP1ayn8X9Rhv7rQu61BNNB3uuVC6nwewrtOfYrqS4OC8P/0mf73e/pu4VaKEr/Acp3YtQ7KQbv2
1HzdmYisM9o0J77EKDQdhRV7CbACovCLhe3HNxXbhrV0dmQ0g9+/o/E8ZEj7UBeDy91i0nJ4gva5
lz3YkLDLV0A4u5KeQ82pVfl/pJ3XctxIk4WfCBHw5hZoS4qi6CRKNx2y8N7j6fcDd3fULGIbO/xv
NBOjiMnOQlZW2nPAqbms/uLNMR0GFTXNIC8XTrkx60LpZIRX+mc7+ljHT3r76R0ibEpHqqopBDNC
9pB1QVqfBtKzptO3djGChwtyU/79spSXYxLvhslAhA3RO6LEJCExABIKY9yP8RA8Rr+YkmUdFQbC
TfuVdYtj5++ibXuIv6yIXXoVCc0dg0TMsh2xqBFXiirJE/619wDz/6xswKz14utwGz8B4beNP2nb
mKINm4jvic9MhbIN6iqWZgjOwElMUiEFhcEhelIZWAWwtl579Ofv/+ZUbcOxcTkUJsRkaOIdLBi2
/W+PN/JWgYRymD5OsBv5z/LBXvGwS+ZonokTLmMd5CNYjJhjUMbXlEG/NrRZInBKLn+1RTGOSm6n
ORpVYiGhTPJELmQdMTlLeTlDOmXyFI3Pl4WoS2dn6zJGqVLCll/qB2evRVolidGfBsYettUH65b2
uscA0FdIpbZU91hNgpd2a0BDE8PvUu3LHcihK2nKkhM9/wnC6+8zkUueNVaexSRfaD2W8lYDjCcc
Vu64uiZIePzDPg6MSUfX5AiQFa8ikMI5IPmALG8GbwSUe7ifpxTn53G8BikIUMrIY2rluOpPlwJh
e053yeHJHzThXmQxaW4zWWzeH0ElfWY4+J5636b4YNL4eQrvGuD5Z6D+/IOpgdXDtBiUoYyjO5/s
Fde+9EschSaBYjoad3Q+tDMDGIpGS2NngkOjULf5qfQMNrZWjGz+guIFPZchfGHbL4BCrhhMYU39
k3XsnvUr1YPYOXDtz9i3Z39lXWpv3OlU5H4lsI+cmCcDs32bbBnL3Vz+NYuB7fmvEcwgA1emK3U0
nr1h/TEBjVu/rT7KoIjl15dlvbU426FOT3NZVw0DSCfhcBNjkCvFbLyMnoRlsMn70Ri/pe2Xy2LU
tw5+lmMriqNZfEQx8WCi92SGJOLAVtr74YP5/aY9lIw2eMom3rK5fGVv9AeCruPpASZPD7RsAP0T
iJkgut076+HCbL6vP/hcxFXoiCimrGqq8JzScQpy7QSlJWhhx/ZP9gjaHQDl+Z4w8FDsoF3asDMD
YyDN+B2krj7rapePZKHw+eonaIL7DEo50O35J2RAXGx1L3ieb3yyOR3naD8ZYNkj2t/ma5/irUN9
LVe42blSclJhwDTeHcAut8lj4EFwc2U/Zcdpoz6xFkpR5Bto9qw4QwTvZtT6vQAU5RX9397r179D
iIFtOami0UZ/5jOm3L3xD/X+tGFgnO1GV2dvHUqVlTjtrbXPIm2ZvF62sEfB2lNGYOWJJroXO8Pt
wNO/dayCaYwZ7SwH4PpdGv4VJ9xjpnHME4hzHffY3ocH48twcCCpUyDsJvVmzWHNptb0E6w60quq
z2y4ULuGfUkIgnVGERNHO8I1fFm3+aTE+2M6zlzCMOhoim2gLgjSvsvnvRc203MQMQKSuVgHF1He
M1R6WdiSpdC6JP22iEzf9BSHZBwSw246TzGB2B8fclhBL0tYKFc7jCzRytYUOjum+NwNRMI99aj5
UzXVZniOv1fHeh9sgOuEcf2xfmz2a0nDQsqCTIOOtyXrpq1owsPWVBQr28yAWIZR8/tG86yfzk95
m8EN4XhgdTzMTAzP6nP6iyFOltvW3vilYz2XL9yGyQeW1oxa5LflLp6qre3sLh/r2wjxtYbCBej7
ODsVIfwJVSzfjm39E3yUyq1LaVi7akv2eK6LYPnsRIRlHHOWzYb9VvOPdZjZg8wjZBcuewPP1ffx
oX4AwHvFcFY01AUnDnUEs78KdlNmowtiidukjHz+fM8xEv3YjqPrtj7/iLMISO3xaVPR4bGn8jYe
K6Z+2a8PnMf/TIxgj31UjRFMCcCjKfTcqhroRf9J7tZqaYsPHyvkpq3apHpkzK/VqYcuifUTAXRA
dvkTxpQdMKGyi/cABukO8kvpisW5LxZEQNGKnSya/JloQUVlcsxTOJkQujbAIYFKAvo/mKnvOEd7
7ivS91JIZ1/rBzyTkaU17soIsi+2bIKhzIBzYwcrsdui7f2VI+Zf45hQzKMxAyJJAU5SEm4Tv/8G
cNrhsj4Ld4vsy5BRiF68LAt+otMHuxrLGjkNiQiwLbrzK2L4QIK+vuAbXpa2UJ5zCMkMGk86gakq
9gD6sOtiVUNc5rhA7WykZyDFtjGkpWxae6y/3ansUUO6M5We9tuQoPdkzvzyj1iog7z+EYKNEsBq
oWHwI2qAco76tryBhOb0C7DQnxpcH3DrzjyHKwc9W5/wqKI5zTYKk4ZsiJmOXpldQZjceT7z1rH0
a5QcEBmOnfRnRbvZ774RpKu2ZkO9or+JxodsytISUgVeu27jT0zzul3oGrB5NdfBl/qnAj8rqCM7
53N+a6xEDi/FsDfCTZN3XDEsJr6ER8FXYyuoCoTX2zwjLIK6zytn0l3I4Yl4AWlduY/qogHT7FAZ
9VJoZQoSdXkMrNzgXKUHZRd4xa2yk7fJrf7V/mU9hU/MNcLSrWz95+ymumFDhYIMC9ybbgf44Mon
XqjvY1hnv0VwDiNU6WUp4RyiY/eh9+AXdEI3Jv2ZUZ23wN3C+M0mGgjKa8ew4C7mXozi2CRic1/+
tVs6laHsZ2XGE1lKBxY5f3Qjs6X5WlVowcWa9LdMLIsWOQf+Woyj2/005clM8Xj0mZC2i4fL1ruo
x5kA9bWASAcMashS7GeCtg1Wlj9GPn5OLUbx/zNBcyJ19uxOMdsYVs6BJabzuQcGlPIze1VseVyW
szBVgE1QYCK6VZlHMecjPRdEGQZ6nQKP98G+Al/nqOyl/XQDLZe3ImnxJpxJEtxawo5EMgXkfjVg
98CKuf59XcOvGAHQ7daaR2kJ1NWvvlfehpvV13f5y/3VU7BAoPK6FsYTTEP+lPZ3kXVtKStv4rKC
ljHXC+XZwb0+yk6Jqk4bgEgv5BpmbHZey8jaJpUBqpP9TQuHZOXjLdQn+XjzlKzGZ2IgQ4gAQyY7
q75ktSP5QGth79yqbOpS1DhttI8QB9yFR/aJITB4zrZwf3vd8y+w4f99gvTqNwh3bmhUsN0bolCw
IaD8ir+rabzSSFq61grInMbL3N+bxnhdh0PMjgpvkwysup9csTPxdcU655srvgznMua/P7sHvm1F
gz1fuJ4WEihhe3Ym4FKeCRMtaJQvS1syxnNhwu0GKNSWtAZLMVk70eZbELNV1OprV262uDdKzeM6
1P1liu3Ct1EG5lanCvsYgRl5LLft1j+0FDqya1j52As3RlhAYR3fSKyZvkNFWqwaBXqq9LJw2zsj
5LqPpF8nVipMaC3V6fNY9ytS5hfrjYK2xVmqumIY4kxU4ch5GyWkkWCGYt95DxdBLAXbsVGTa8aS
KqCyc+XObszmvq1D6e4dSp6JF5T0yWIdNSU5Oilfkx6+FP9ZWU1ZFq3foW4ErJRBt0PwXKVRTH13
Ihysnrud+qc5mt70BeDZ0YWCGFjDrX+7lp0v2SeSNKYQGdUwLEGvMS8U3Wrhoq0y7XetKZ8zdmwK
fa3jN/9y8esRAeqsBFHL4QO+vnNNogMWFU2tF+cfywq8NhaZnEOfr7iPxYCaiVkmeXWm8FgpeC0n
NoK4gN8OdL+7bqOyByf9iDYdfMqTV83kqox4rhVYlgzzXKTw0QAQj5veV9qXOYN6D17zXtmCXf6e
kO5cjpAfwUZtDZaBavM8Q3MLclF41byw9A5bqMk2CdxuMHzDM7Ny85as8lyw8NhpDYsbUy9DH03r
BWAzNy3WPtuSSz4XIYSrlQ3fEPvUrWc9sC1PgqAf/WMLsEG6W49QF1ODv9JINV8bSTPWlVYA90Qg
RN7ntr8HSgK6W302dzHnZz1edh1LwYKpW4bJFgt/KIJyg+b45RyUeFYEd8y8QwUCsDwU25M0Ain4
57K0hdEvXoG/4sRJZyC6W8WAbdPrASybPgKS6lHp29bf8j1LU9v0E5D79DzUDRyQ0mYt9lvyJ+fS
hXcodiL4aUZqwyqlW7dh1sfT9PxHEmXjysu60L96rajwjsuMFql5S74FR999sUv3cw3u9My2JGwW
lw91TSvttcXE7SRHSY0opzrZM7bJle4QQMS2v1rNX3rITYPUyeJPVpaE22bWqpYws9h65RaOmO9Q
aE67iUAPIIrUVZ/8rcSgi7qDFwBEqv071DyTLVhq1WiaTnUc0hAoJn3TcWtAF6PPl4UshrJnGhri
9ev7Pme+pSU7UHYQ2EEKAYQAbXbFBSAaXw3yLfZJMdryQOdxZXd9kGfJp80rWZTD5zkXXXDa0mj1
MYyb+DS1hJgPsEHAaS7ruWgzZyIEf23ZDQCQOo2nFFzxpDUhAgCHcljrb82/VHxZzzUR7AWcWiML
UjRpnpOjP22zX/M2knkMj9qVXW26P6DD0N9bC/oWX9pzuYKtAGcUJlWPXP2OhGTLcNsh2JmbnopO
tZ9LC+/0LX9PVDScKuolSWXSeaYhcyMkAYcOHOblzzb/7gvnKU7qNJIdNFqEkOQI9cmhORg859HV
2lVbfITOzk+c2C4aKzDD+btZ1IlA2tiDILk3XcWbu7HW6qTFisGLs0GZmvf5xBa2F7cMmHSqF44r
B7ds73T4SU6J8zTBRxZ51Pv2dGohrAzB25bcqfverNZt16TMep4lbzBL286YIEVvwtCLNBXkf6uz
IPXUq5ULvHhkTI+SjZLkK5pwgaHnjINS5SkLjF8jQC7qtObsF+8uI02qw7FRxxLuEOuqFU0qKhVG
pfFBbkYAmLvyj+W3KyHcUuORWug/ksQpgCjXGoqhSIqOZBV7x02+MgKw6SDv2YCD8Lt6WjPwxQ91
JlEIBMLWh5dxQmKTfQ17nfnv+/d0rF5pJUQAZUOuaKQ8yxQNDqrxMashqAaV5bJHWNNEMGxgrnWl
kuYJCjBVJIhcoH8AB3Tl7V20trPzEgybDg+mnXFeZg2nRhQxgfl4WY/Flse5EcyKnt0dFWyGWnEQ
EYDhw2YliNzb+km/0jbZrX0stvqzvOlBABm2KjEUgerao7F2ksKrK0dxo9RwMngjCEwydPJZD7IH
3IWXFVXm7/7Gh1OKYHdpnvO0hLMcukbOtWp2Envrub85HUGEueq2FdO52c1axLv4YJwJE061zprJ
qRSEJUcAKcn/hitprx7sld2A5Qf3TI5weMDEZkCwcHhz2NSEW/jrD3q2AztvF12ngKXv/oCBIG9X
znLZR/09S8ELArmh+Lkxu/UH5+c8rab9yBgeUvb6zxNBWnmEb/66/HFZ6ovne/sF50FMVmTYmhdi
xE7GLbYhvnde1pdcZyfdhgfffGke6fvTfp7kH65Bk9sAvuHKoEPvlC1g05+Cj8V9fdsf3veV//4g
wZ0FZjNG6tDPeU0GGj6Q1HYLJXK4tarfKv1dWZr2svJ0+RgW2ziMo/5zDLOhn93YKMnht+/n1PEh
d7/pXnylbuOt/dUhB6iPxlN09eBvjM2K1Pl6XDp80eGVpUOtbc7h9t1m/M66+f8kV8HBuBpufIZE
ViTO/8c3Eh1mzqGYNgx81Gs9oWxRA2Oup9dbAtkNZGk7aQvmJvBfVynTp3K64iIWPdGZQOFgGx2g
NHmcy+mhcQirkw4IV4Nnb7WVT7joHc4ECWeZyU3V2TE+d5phSr/lxSNQUEH2ySmhMrjWwrXHamns
wYS0/Z+jFHxfop9GUPsRqO/TjzmM4xSJlNEzb/sN+7B3c2wJ9/dxrTewMFQ8YwWobPZoisWsp+An
aAwkppk45I5X4OPfDc/9VgESIffi/cu/7RgT22h7/1P4Ibifa+28Mbv/11zrkjGR+uMqwYighSD8
kqhS1TpVKe9wAveb0J1XNMyH5J7CAFhYawX+xbbauTghAQNWMBtH40Vc8ok11m1zgGjyEXjdlfbL
4qelJGCxnGgDdqkLt0QPTmMjS1rrgQV0Zalueij3pyOkH5Cc7c1dfZvcZU/tdbASmcznJV5Oi4k1
EygWWWYS//Xl7Apba5qAFyAOq30gQU89EALRy2t/jqd/v9SHGZ0JE0JicyA8qCKEVZEGeGH2tYvh
/rG6lWRl6VqeiRHjYVqsPoBdWGv2AdYiTrHdUR0+rM20LEYic5uQXUiDfrhYzQmId2RTpVRkuGTJ
XrZRrudpv3GnbZO7tSrVYpQ/F9jJWVSmCy3h1QyGosymgufidJM82lfj7/wJBqkbIMo+KN9jmv3x
yjv9Urt8YxtnEgWTPE1O3/tzl5yBxk2SegCU7ohfoS7z9E3LBoH8CLAd/Ytdvgt3qwM0i6Z5Jl5w
4yc9MoICEgzPsn4MYImmieqyorUfRki+KHJefqaW3sXz4xV8uer3MqRKSMsAV5W6b/BVXxaw7ETP
9BGcd67WQZ2pJDTqnfI8n2V19O+Z1t5118VD/KR86a5DT9sD23WESDs6tB9YSNmd7qNv9UqHe/GC
gLfFdZ93iSxB1xoyxnHo+CVSFz03MYWQkbHGsIT+Kme+2HQ2Kozalbp2BMs35kywcARNVQ1RI9MB
ZsVvr2+HA2gV9L6A02Ga+T0JiXUmbA4TzuMrxRiDwOGLdnXzJx1UiBr77Game7/8YRcthzk9RhEV
1npfStlncqS+AjexZRwnz6OfdNsASlVWbGdNhHAVaqWNUlCv+WAxPCrHSV/p0SxeNZtKiM1MlcK+
9eujin3FGQEfx/jLSIIdJIKjkaApr77WU579MswmM4+95KRr2dyiYmeCBRcTs7tQOwqCAzjMR2h7
yne8ORZQF9RfWEemICy8OYFxOvUmNB1e2OoHKVS2DUwMWWptLxvBUsPCUuZYnggXbC5TsLbYzIZu
gOLSq9gkz++V6/BmLi7Wt+v17VVZQrbo1FY86DI66ezBAN9/AC70mG6gVFjtD7603oVH4JVes+mc
WbfmN5rSKsjqdg2AvLuO8D3dF4d0D2ziA5Dpv2dULsULDmBOb5xHqAHyXfEODAxu1tnxCnFK3uqJ
36YcrxPKT7Qst/ZkPlz+hPMXeqspq7dAR7BwIaKiyEY6DWUUpO4wnHq3m8Jra5KAN62jZHNZ0lKX
BG3+ihIOFQ6DPrd0tAEd/CqDatKVvOzgQKbIFOEMO33otmwtee0PIB125j1MrPn1vHt8+XcsvfCv
fodwqnGkxRKZOHm4d7rzD6QTP5JNeN/vJ9eEThB+i62z7+670q0fpGi7lowunbjpUMOxZhRA8E1e
21bRm7ovQTTtpa3mTmbh5tCOWLvLSq4JES6m3Fl1w3PG/kwa3E/y8E2pi9+ZP66IWSilWOe6CHfS
KnLe9gE6496ula9+lCgHE2/7oLIU9OMkw/14Wa0Fz8kgpsn8KzvBFJmFN7yJ1DwIcw2/Nvyw65MH
JsP+soSlgzuXIHydVhlLhXYJEqKDlB8ZCnfjZA1VduHl4eMDH8netmk4L5izZ+6ljg3CIgUhEwBa
4HF/Mfq2caEB3cUmRJnaFP54h1aMSJqMGQFI+WaIxE6jpJIRmJoDJpG4uZ554O6tfJ6FEAu9/ooR
zKENUz+QNGN20fNSGnnyS+9srbC8ZHXnYgRHwuR7FwcO2nSkIbX/BTI0sIQTF9Doy8e2JkjwFM1Y
RiFT9Skw5z4bxVqlsUjfFCpDKRF0UfcpgVjgXZa5aIBnZyg83VPq2/lUoNwJdLMGwt/UeHA0f6X2
elkKEE+vndBkt0UnjUjRKuqs1VM+PpyM7+/QhM1Yip3Ad+qi0fl1eapPgc5Vig+5D+2DDBXOGpjN
oiJnQgSTU6ZUjlQIyz0ZZOykGjbmCVAxeaVQsXhhz6QIFlfndgn+EFKaSr8xJgZeTlBet5CHaTtf
XwmtF63uTJhgdZGvTDHNyN4zeqe7ha8m2aatDzuyxoqPrFf18T/7ToLF+QYDZmrCuzdYP0655XVh
cR1AKnhZylK1H1P4X3Mg7H5tcuHgpJnac4Z+uo0/0q69Bmdh1xzgo4Q8oWc0Cn7lQ7lyhZe+HOjd
QL4RELNTJNjHWOSt3IHA5WW676odbS6oG4oc6rJwo60O4i5Z47k0wU56WcuhKZsj+2Pusoh8U3oM
t9CRNJ/n6Y/1fexFgaxBAo9L/MbewOtD1QuIirtUojaaTrDMjZ4x+MekWYvd3oihVqYy6eiY1OkA
U5n//uzBUrUur/FJmRuNYN8Hgeoy0vMQ1b8u28ibj4UY1qWoHxnUOdk3fi1GTvTcyE9Yoh1D71dV
4VUU9dnPsLPg/EhH/VvsGJW/8mgt6YZO3CjMg1UC4Qj9eEinJG9mTu9yYIBTmTatOVVubJvhiht5
O8mGgueyBPs4wUUUZTDTUO+sPuiecjQJQPOruQYCD/KWca9bZ294/4+gd1lLBhkMBRy/NxhVUlry
3zokB0eapN/jg8JKdb2BDhrYJsPTniijr9342VG9yi1etP0rU339OY2hLfNxQGZ/xZaUup3X9A1m
aixPu6pY2WEu5KPPDHB/WKuCzFHaJclCnNjmcdMRgfNw96Oxy6oTReX81D1fNte3lR0UJOBhI1N/
gfsWFFT9egDcDFJdPy0VA4AmHWoCqeuhZ60hjS2taVtbFUU8eKHB7JcmOXseorwE1C1vdl1XwxJ0
+SctKU5RBiBAXALj68INKqYsi3OTnRQ9GCA6CcOdH4CreVnI0jV1wH4wFIbnKMoK3iAr5pskpRkz
3HHxObQG0AcysyJ1aqNHLTRbeATH0n66LHXBgpmVZxQeLFjgouVZ9TMfVFdNARgGpHeT79zHYQ0g
pX3VjGvAHgvK8VKgGPUT6s3iGlbTjEYYlD4bmgZY6sqnQYFyugEQKwa2Tv/XK68cFevxrJfpPI2q
ODPF0rIijwpKQXkPUEtpx9ddnYSbk+Gsreovnp/NqDrr0KQAIpD62Ji96euAww2V4eb5dR7tldRZ
sb8lISpJPisbvEgA4r3+SPIoGQObZTMzYbpTg+GpTrKPnVPd/XtbOBcj+OywdEpT6Tg24IRYvkqB
Z+9h2txWcIPuLot6W3fiE53LEnx2HdEockz4KLPT9GT4w6/OGu+jJrursuarPKi7aVJ3vjPtCs26
Uop/XQUVxAvRoKVXzlgpMeIBSO8LOHQhIL6s4tpHEwLAuOj6E81OLEP/bRk3sfUzGldqrQtPgQX4
7wu4/ZyACiXPQk+NKItLks9qMH+z5hhvAEnSPuhpHmouFKvjURpkBfhSsBveoR2YoezMM6luGIJJ
TqVfNycN0X0+um3zuWq/a375niM8EyIYpBlbfa2a9eBF4Ao37XXIgvW0/88UEQwxqNuuh3lh8Mr6
g2LdS9GDPa1Ey/PPFN5N6hJ/z0owttDJ0iA9oUYgAcTcaNaBwOipDpJ9JWUr6rytB86WfSZMMLs8
GkddgUeKBUDNNVxlp2xaJpvYGfegSTY3xp6W4sfTg+KpLlXevd9A1Li2CvK2Bf3yK8DWZMqTQXFH
+BW9WvkQsg2c6ta6tfcAYB/Cm/Aq3AffbaaBQO27rvZrvai3fc1XUsHQe+0n49RPB9kkwx+vxj/j
FrY8+Itc1trupLvykVxhp60hpP4f5/2/mr7BpbaAqCitGTN9Xl4va7dCzAHQ/31yy0bdbf5YM0+w
d2e4wnzD0v59BP0cUGUrYeFCiMJn//szhKApzkxV98P5wBtf4k0Ne/VB0aVqxbwWndqZGCEEjJ2q
H80R62ospg/lb5oB0ZL8Lt/CWpvswBEFNPHrz2jbkVq3TYVzduDFSu+g3fRq+/499/6vECHwSSLz
1JPa8d1oSKTjc6//HvrDfyZDcJLQZqiFQX/UU4vooYLxzynTbwpEppfFLPoXXZ3h1+fYUVysbO0m
yP0OX1xNFpzZ5Yc087LGzlyQc1dELX7/M1GCR65OeRbIJt4yUaqDHMKnUqbZl0gvV6o1y3JMHJlt
U9AXS9IMxDsgiiInbu1rOE683G4/waa5vXxya2IEI0glqOzDGEvLbbA8QdtkscUNBmPFoF9Gid68
ALjCmfUIrhIRY2YiMSmA0Ru8FmqdjVKRss0u4meqb8ZPcM/+6T/0t9HW+dqu5eGLtsGoFaP2mBtQ
4q/v0jAOjpXoHGRfjO4Qf5Xyn9DNK8Hvywe5lIMTaP8j52X66SyPsKllJGGPG0zYlZsxMZUfNjg6
X5LrEtaw5DDcjNfWp8T31vuKix8RgBbmWWRGIMViVKXWkSOpeeb6ndK6jZ3fDmVA0JP43y4ruSbI
en2WVhAGUBQRs+aqvEmmZjP1Ddx074kWwKtQVFYBqdYI0UJ0Cn2pmtVhzMpLT9Le6qWdksa/Y/3p
sj5LmTb8AzNrFkEk9A1C/BjZndm2KmZZb8etf11eMaZ6fzrwWO7ULzBNXha3EK0y2ABqFL0t4PTf
gC7aYSIlwEy7LaD5Ldy5gxluSr3pcjcp6+Ebk7yGSc/rVHzp4fxZ27N626H8b3R2kBjwHnQ6BG1P
vmqdnCkfPecQHdN6B9r3NdzlN/pjt83ugUSSXYeeaXAo7ugbGb8uaz9fNMEFzNjw/0gXHmjLyuSq
0IuReZWQLg68frvg8A6w3VlJ3aG/PYfmyhvriexG16C99tr8kzzqkM6mXrOKRbIQbbySIniVxAym
U5qno0cKvgUsZKvFK8ayIkH0J6ZaSGao8LG0yoFIXMk/x7698si8XXSYDwsuOYXZcTop4gTo2KuN
PJ74Jt0u+lR/Id196V3XXnwXQovtuxLFw/wYHcLClQ9/3lFoFn6AcNcdXzbaUx4ydpvFKZzAzeBm
xekm77SVaGfJ+sAXBYOEmQSHqYTXrqst5BT8XG66VR6tiV3JagawvQqjHwlcoWUCUXm9tni7dN/P
ZQphHJm1Ukvz06MxCGEGvyU9Phgw5NpJ6TbOd1Urjpev2Ox/xSt2LlB4zWFdtjIG7wgaiskz/UcW
i1xb/a7JAMt0K62+Jfs8lzW/FWfvXS4Z4ZSXE9n9VB7lYbxpB2clu3/b28E6ZloAJo240G/usj7U
Tu4kfLSY1vL36tN4w1ZvzYhM8rG4ZgTtMdvGGUTZK1dvVa5wu6s8q4JKJl9tnkeY4x7Zt904LL6z
PhEe5Z3vpYzYrVG5LQQq58qKF96InLzqfGJlc4Rg+5TUnzOGM20l9KwkWPl4y7dhTkvJTk1IYl9/
vOBk2MkgWYMXAuQphVtFHYCvN43MyX/BRa3JN34hwQQ+Gnk3HAjgpWCTBgUl5ssGuxBQ2OCeqUz8
AhkCFsXr35E2WZknKR84NTq3CD46wHecmpWq3qKlngkRlB1zJ1B1gk8vIi/0g3s7XRGwlHa/UkNI
CqaW1ZM0hTLM/yzdGrvxJn9qrpNriJL32ufKk76uAfQvnpuhMnhNk445OSHP9y0lGbNxvhi95Wbw
obY/pmANdG/x3FgymRFlZ+REIVxorFpuErBevSbpdq1MhStfSQuW1fgrQXDKeYGjHmSbz9+EmwgW
vd7apNHuso0tOkWKxjJZO9muWHlX5bGwg9kLt7XmxvLk5t1jY/ebNrg2/a+XZS0pxCgM+RjxB+Ps
gkJtrddF0mokNLq6j1QqPgFVKF1eebeXri/APqDDKKyRMPv2+tpEsQGlD8TULrFmszXChHzDPFV7
rU173rFW3tZDGh3kyrS9BPLL+8taLhkGBU8ItKh8gtkt3NrQUi3LlxKIE1ikz5+0fo1Uc+kYifzn
55okAHLL1/p1pyppYDTN3Lh9kvQPSg2Oa/TrshJLKSmTpTrkFmxr0LsQkpmKj9VUNr3tbtdvtV22
Y0WjAWTYfxqui+3kyZvB92BKcr6uMe4snd8Mp8mTpulz+fq1epIOQgYVCyjcCWIPoAEZ214e9BVb
XJMi2OJpAL6rV4fRk9poq1flpjSOl49wUQJNDFOdR86YwHytR65rU2U3ae5OJ4AhpCx/bE/GsLks
ZKmSClOywWQeV5jl79lYzgINPw3lGra4kRwtO6b36nfIa3c/g7nB3H/IAeo6fQSPbEXqy4SDGErN
nB3MrlLC5Wl6LdVWRkhVCyLjnkUodZ8drYfqg+21dJsDT7sejiVzaPEH7Wq4Ko/St2mbwosCVMx+
jTxk8ZAdbhRIJypdSkH9tDOq3nLKkdpW7I3y73YNAnNJAA1JsNAsB1t7OYmz81WBnYSOmESjB8uk
KBmU1VbsZOk6n0sQblrZjEoZxdy0E5xxSgLNsqR+Kn19xdG/RYogXDyXIyQTUtafisEORq/Z0ZMx
r9p97plH4yZKXGef7/zdmmIvA++ilVBSwvgtcJIssc96mrjlQTExHwMQy2g85kRsYf1xLlxEMoDN
YbspT7lrdM2xzbd6ne6k7hPUOq4dJYeyfmqtYKeV067UtdtGLYi0fNeYbovT72EIvar6QfX0GkZ5
N20f7f5r2ZsPAUgRIJlsnOo2aGN3zD5l8ZexanneHqbm5+XLt2wbf/UTMphTkLCsJcejR6HwyUqK
p9ZJ7i6LWDQOKoJ0xVmWeFMUUUMtA+SN633SaY4P3/zke5qtGOBSImaBju9oVD6o0Ql3SO8LFuns
BhmSVrKMnB8qJQ8IBqqr06jdFpr6s67WHrHFszsTKgSF1lg7Yx5WzJA6UDbUycl0pUKq9+84vjMp
wt2SYrvW1RbVhlba9FHuOsWvSTr8eyEgvM5TVKw1UtJ47QyTpDZrmh6jF1qFW5i/guGnflrDLVw6
r3Mhwu3tirrNJgtNJKhPUpgFQtiGL+uxZAfnIgSn3jS93VQNeox8kbArvNwa3ZAB0lD5ZOjZPlpj
mlrR6e3kmdKWTY5Ahll3pzq7753Vnt8c7Ik+6EwpcSXcKlWH8fI6d32IeOKt1SWkqQWN8e9FYEFn
3KeRnHhGxuC+SxSUfGcsLXis+abvmBKaeQqpQTOR+Za766TrvmlL1egV2p8U3uR2rec+X5k3qrJi
Rx+BJSS4z1/boaSqWWnDR+pN1o9M/q0MMLVU23ql7LDkkTiIf6QIF/dkVXHcyxhiCfCbdfqaN89y
tjayN3vOS6oIVyqE2TGMy26OapgsLl3YKwPIVqgVeTAjBO7471nIcHHnagn3K1EbY/QH1MrLj6b+
aQhv1Gqlcr9YODmXIVywSSrSqfeRMaNRxA49nuihOyQuJCt34yY6QKW6ldd67Yu3+u/3EnH3CZwc
xR8RGgTfO6N2neGPA453OJZuNNxp/eNlJ7JkHo7NZCdxLxxNuqDjmNpSpmTznS4e1eGrUnzWlOfL
IpbcxpkIEb+rbLT/uUh2+lDga+s1xKbFD8WzrugzPyIrI0IG6TAo0Bk6ry7AZ5uoADNEOXQuyyKf
q2yrwbcOFto6oOTi0Z1JFRKGxAnH/GTMN0t9bMkaleHJtlbiiSUfca6ZkPbYQ1ZJyQnNUldKCq8u
C9dyPqwIeauIqjA0CKo6SFGMo80f8Cxm1p1ROtmzi5ArakpDHe00jSFwC3zry5aw0KGaJTFdBwEZ
2YgYurAsOMSTrfK+T4q9N4Igol8/hMesTBUvh7d170gm/MSNJG3kCVqXSFPKx64z9ZsuAkfv8s95
u8EIWdg8rg0ALuOStpiMhQrsKtrEUHjwod2ewM0Mtt2nmdpFP5KWsbAffR4BMh9ZYsy2BTRdAYuM
0+92FWZm6Qu8jGsygD+PfQimBCp1L4UUvL0OEDWYrz/Jtn+r6ms7tYtiQGrWDIMUiX+8/tBmcYKd
JNJINXXD2UtBmn4NM4kii5+Pa+3BRVkGZKnQn2kW3cjXslg4KQOrHCav7ia3U2JXZVlDzuOVottL
Ifn100PKzsoC43IMh5q28PT4k9Z0hpUVLhm3o23GIhnSfeacUuapFX8Kdnaim+1V2YR2saWuOuWf
DKscHd+Foc1Ym/pd1JpOnW4B58wIh/BrsiyJ6yaqmRYPgkOQxA/WoG1rf21h461bQOkzMcLrNxWj
Y2YJ9iJLvTv6ppcQykYSuyLRv6+bIoqQnKcBdd7QYxmNUZtOX8ImWkc/ugbI1Ww8Xr6HS25BtRm5
pzZE7QWse8FWpCwDQpfBIxq5MDDu6r29mfbqz+zjPOa/1ppY+Ebn0sRyc6NVzeCH08Q6SHGs+uc4
7naWZK9E5wuPEnzBf5XShTttViGD30nA1HI7qeWmhaVV3wRdO/abKDGmI0N99RVwRDh3JlZPX4Yi
mW7YwsmBfc2c9h6QQzgSSn0cr9o2Te9OJ/bwV26PunwWDDuDmIfFiuG2Wtpjkqnm5OV/mg8gmTFT
7Z5uACzdph+pDFFH7A42sMU0t/PqWFGmgrHQAZDhHQThTC0Ak/DPTxGeuqHO2sgADdpLHdt11KPT
8Bb1K0/dwsV5JUQoAYT/Rdp3NceNA1v/IlaRBAP4yjRBWZbksV9Yjsw589ffA93vrjgYfoO1t7a8
L1OlZgPdDaDDOYVlSUonL8DCtOwGkxVF63bKvhSd2xu16HNtuDM1Ae2vKdWZjCsJejG+pbGTfTFv
gNCaYJK7blzQNkxvpR95o01s9Tj9EjfSXN678AkawX/gimKkP+deFQOvM0tzgBZWNNSdem7CQ16q
unfdeUVS2IqvLg8p0SNjoHFht/MQo1qUxlnoKwToECKH2pSEzKGFSUzgO/HsG1GYZVHY4PQiuK5S
SfVCNTxUScQSBU4WNbtmOdL8sQreykm+yebWCeLeLnsho8qmEa0+hAtXs2qUbZLAaXR7cBcXjOOe
5FHJlhY0pypOdd8Bk33AUPzL9aXedNYPuXzgWqSFjLMGm5Jm3V3yUzdWLojpBDFho/4Hu1mJ4QJX
G0VatORQD0OpizO/tXbogUi+tDEK3dgUHN3JXS54a2303UIo4o+MKyj6l3jKR/ARtEUwmYtjfaI7
sBcBsv+nYjOKbvlTHNvTHjwrmH8sPCAOqO8AYu2+ehUlyjd3dvUVXHiYhrBWMRuOr8gTt1HQ6isD
oVWx0Ez4/fpebhrzShL7feU2xIgwUzdDEhBU+vuwSqkXykvh/zcpXAjIiBznVk0XR9KTuylubwoh
cDK70XD3L5CKod4Ni0FFQ+eWrMyaJexAQO4YzfNsDihyzXizgtASfVhlLogBGx5AMJyj4q4MdAMA
vZ2vWqZWUShFCXiyC/N1ChC49ezLrM+CiuTG5pyJ4TbHiOOGZCYBPfKouWqAPvu8FXnZZaILWVqZ
YcLgmgj2O+6mGIUtsj+AIHbipntSy+zOHI3WHsGEg3NpQao/j5+ShuTOGOQ+CYsv1y3jMs1wLp67
QebDDMAljMY5ejx74KrdhQOWdWpLdyjlFNAREmZo6Mt1oRvuBZ1R+QIdNEIM5Y74bJSHpkgM2Qly
5ITA9TdOYCgrfwe6CA9xUxJrA6OKRpHY4HaQJCmuWwHUo52JvunJnqenZEl21aAJTHKjDxErqQKZ
D9lkvGn5PkizyrNsiCBqPOb36L6aXDQet6B6Lncp+g/Do+Fmb7hAhbb1q3slj3+xpCvpnKJBBQqc
uIYZZYridjS2FwqC67ayY12EK7LlfAqGxJEjYIkWvrQWaSXoGZmiQ3cy8u9jf4pTgeNtBBNGwo4B
JHQDIEPAHT0Ug790qHBnnkg/NR4O/Di1+7BiyS8Nv9mKUeagE2znSjQKseUQa9GcbY6oFcZGhXbW
JGh7b2goWjoH07L1sU1vijrU/VqO9edJH6rXP9/CtWQuqC3jNKtFYMmOJpd3Yy7f47l7IsP4NW3q
P04GsxZ8A9dBAMOgSMV5/ZQFsjKWcMAwa1NXjsinltRfLEneX1dp6w5xJoi7Io1lktSxSpG1itBU
vRBJ2atB951ibJT1C1NPyaavTazeBNq4q1oNWCFp0uwzgkJhpIO0sJIs9/o3bdrWh+787Uk3pciq
G3xSpDuR8XU2G3skuavR78UgwpncchUsMUErNjDxMal/fk7ValBEpTnOTq+Wu7C6w+ylS5If1xXa
EoInsww6CwuzxHwr0Iws2UIJaullUNtR+RVjaXauiyYOWADhzneQsgF/FNVGjKvy7TFyr48FqZDa
R9OEI2ffaVUJjsKtWL2WwC2WiWSGNM6QoEhfifRA4hfY/yi6tW+uFjouWNWP0X1zgRJjE7Vaqihg
hmMFRgRnJF06nIoIjcSq21O5yQUn7KZamPvGsYDXNRqozm2gnZUo62vUjwygdg/dnUl6HLQvgahM
sblBKzmcT8+tpCxTPKPSWDffwyD/PJsiKNjttftQhfPmVgEjZsGKmdUQ+UH2pihANF1GgYMKpPAt
o4FCpFwvsWBtjrm75KUIPuHJet1ntlJNOMKQCWSNgKidc2GeYpHG2mQ5F8z3MTjx8tdg1y7rqChe
Reu2MRaNbO5KGhfayzLH07yAabOXovqm2CFmJsvbaJ99FfGRbZrBShRn30qahtVIYAZB+z1p77VK
ENLfUREuAoEGcgrWeIBOPW7lLNRYqi5Dd0gDtO7aWdzlhQL91cSj0F18WmMtEzf4CZga5AqRNb8D
dsVzARhqsivui2fUphkPoeWW3vUt3Vb847u4NcaMfaEMBYxzzBS/UFT0qAiSRpuGudKcW9qon3Oj
lyAhMs1dNS47q80PpTz9R0XYZ6yehHpclxTgCaye/4mSn03xfH2hNgPSSg32++rva1QadLXGBk4R
tY3pFZtsDya1iYjQ8J1r7NJUABQDGmaAKPCVbWBq1lKMSxqSTl51mwDDxY29yP3RKq7hGiBilhoA
/iDp+Kjua8Wb96J3/EY7JHO8jy/gdJ0Bhx4FyJY45GH8HT0OoGl4J0jKndgZkMQ4NTcY2CncbidC
Y95cZSDWQXkdODYq5yZBKLV9WkPy0Enu0qQ3tWkds0bxAlG/1vYyG+j5ZB0KGBPnwrJGxqiqS0SX
6GBq3hIBeR0Jk7vqRn0of6A/Z/Y0AKzsMwfTWZ8SpGxFy7zpGB8f8B4yVhZVd8uMuyY+wJTQMinn
3VPXobCCEZi366a7vZ+4fKhgzEFrJt+cCXCQ2IwjpKPggmh8NmcjDmwjlBKALGnIpDhKrjQtmkNj
CRSTUWNkzpikc+JEajqDgjxQ5xiwYDlJb7JSpSEAzfv0JEd9Nd9KZi0BWLM2QoHDbd048b7/56M5
UygisJJOFG5QGomD3kxXtd7S+kUeLT/PRS0Y7I9d+BwgO8HCrQIJ3OCuG9IYaPWCmgMGUkcP2NGu
JoHecHKkXbeTiC1qU9jekZU87tqRaFWi9xJKudoufpbwJrtFW5iTPUSu5RS/s3uFZbdv5L2oQ2jT
v1ZyOaNPMjUN1RH+VamRg+uOo+qLOw83mqgXbfNcQRMka8+BO/O5pngyLQyToePYyqo9TeUbIHbs
BGa9tWkGYU1GaMu1ZL5I2i9xjVYQhOTxSHcEzJ4BQB684AGMlH5wL5pZ3LLHlTS+f0ulbY1iLZYu
UxUXWtmm/tTFjT3MxG47wVDOVmwA7BHmnRgpxQWCa1/1ZTXnBE0FtfWQY+5HbdTbxRSFW7bdvNmD
eFJDVyX+Yfrn/FCLzUhriwEraPXAHprK6XkstIGBpRxqPfDxtPk9NWplB4Ek8O4t+1hL5o5rLawj
oiL3iOpdYNfKZOuGILezKQG0zkgTKxaSS5yLAQFbDcOY4sal/Wzoc9yLEMA276d4EP0jgXMm3eqU
fLFM3E8fBjfcF+7w3Xo1dyAT/yXCIxUowwOJVzpojgMNG1VagY8S+Z2aTgKT28w6rNThR4InJBXy
SIfNjY5yUnz9dtlHbni7HGdXd6bX2P9jmGKkoNcCuQiv5kVnJTFsIF8an47KMVNkFwgif5G2QVsO
yiJoWLWAKXZu5NFcSOhEnPB2NWQ3CamDNnenzArvejjaCq1rMez31XFeZcjJTbOMhkTNfGjy4Emn
qT9Nkme0jUDU/8fyPlTijquR0iVaYoN1DPZvjMV1AUcMQ5IRg6JvW96HKM6NxqGoCp3C8rr2LktO
VSWChtoq9cMMPiRwbtTl+lJq1ftZaO3rt+kl+1TtNZvapkcf2kfMzLlUZOtszy8CHzr1MQqGOxYu
mueb1Y6KMScLCz8OqvYZzl5G/1l54YviNHbjzDaQaUSn/qaFINUEkEuMhaHp5lyomU59Dri/2QmX
2LL7KD3kQXaMKnQN9Mun69a4qSAANgAxAL5WZFHOZVUDiTSthjXKweeyeZV6YBdrgkftZvKeoXj8
PyF8zsHoE6ItJd5c2m64rfCOTRe7cNl8bOtKu+QeeKvO6DZ27f8FrykLHivZXLJbTsOi6XXk74j+
q6g+l+p9NgkCx3ZEXMngrGSYrSUaG+gX3IUgDLptXhj/o+G2bh7Y0U1w8y+GjbYqW2u9OCOZ8QQN
K0AEgkdMOyKr/ZZ+Gw6AukaZPNy1LjmiMhH4JiA8g++FELl+09tXGrPfV0Es7xclRhENq5qjjaRb
7AWNANct8/0Nd+F7FloZ0VOGrlN+5C2gyKEnFTRsveiRIaTIb9GB8TUvBwxX+xStz2CSuDdfgwdZ
c1Bb80WOuOkcDKcNEQAYnXz1UEPB1cwbxLQ5/QwylgI8AYH2F8UYZMn+kcHFzTlt56ZOkI/LBsXO
stpNARLVh3hNhb4RiTrn2F/j1xTNuyiEorIECHbOG3pitZ21IH+l1M1rYaQ3QA31W7o8dWn3pe/U
AwYOBN6xtYhrkZxzAEU3psuAo1TSSrcGSHlF7qxCQDm1FTLXQjhvAHhlXkkZwlg1IywvujsGmVOj
njz9+XgGLtrsggAqLQ01AW6/5N6sQW8P0repSp5SlOPpKFqxLedai+BichjJYztHMLupAdtUh14x
U7An1yWgpnruviTRoiGkLAkcjE/BXH+lpiQa1BbJ4EwNZZs66DCL5qTd4qVqekisSOA7m4EXvbyY
G2Gjv2AUONfDrJVBz0tsu25nB6m0yT78BU7wQ3uYD41ToKlRRPa7qRUgrjGpjacC8kHnEsekm0aT
jZP0GXLNM97+s2gIbNOWVyI4CysroLqjIx22bGmgfOi7fVLTexLVEZCwpt/Xo+zmrQp1p38U4oxN
repYqowCg8UgStD3w74gye3oAwH6iR3GIYR6aCVII4EJigS/593WR0i8tEFGccvRP6X34z1j20OB
HW2QZAf0mJsUHOf6gYry2JvR6ENd/lBpMBicShEOlQl7N2jENdLBBqaN9zfLiiEJ1PAN5DZMzvpV
rZEToIiyuVJtZxwX19zHIFTV78lucfoD9fMH/S8esoAz/Eck5wxRqtdJpUK1WSvteXkx2sS9rtWm
8a8kcFE2qOSAJgShHHzksT1knaOlyst/k8G+YWUWfRoougT8PydPQCncZugKOl2XsOlfKy2Yiawk
SN0U5BpFp52loUA5hjup/EV6DKOLCPw2bQ38Gei0gBnIfJJaokNbhWzOUulHW0VNHnSFjox+8r/R
B8MeOM5RCedvKeWipfVS4rjo685ugsKuRwBgB7eB+eW/CeICk4yGxSFmVT0r0uw4OfXIDfbtUyzM
sm7v0IdGXEyyBvT9yzo0onfmA/Ks3/zUC4+WY34F4DAQ21Ei3w8i4xYI5dPslTbR2GKDnlEWHylS
nrnyaTSqXYEgfH0dt+3iH/X4loIJ4PdTLUMSzX9p8alPUccrv/83GVwwaIsqx1ATXDUMHxbtZonv
olj0OGbufnGZBLI7LueA9MBQzbkjtVFhaY0pFbaRuQ1oySI/HvasJLLLfdaUkghfxlu5VbAj/COR
0yqwSrNMKIKDlYMwgC6u0v3StdkN0tcBVGHXl/Cde/VSP/QBmcB6B2IOFyj6XsGjzkTCIfxWHUqP
NeQPvnacXBA1jq9sckkBX4Lhap/03YzhN2STPXIkmFpEc9heRNu9GXwxfPN/X8PsdxW2gPahlGGB
aW1JB0N1+cMcs911hZn/XtOXu9toWdFJcYD9HCqgUgNqrLXzZBwxAVz7ZVDdVb1+L8eTIBxveoOG
6IgeehQx+bto28DTM/Z4ljJklNWvNWrYtBdt5vZVcSWGM9ZRp3mHQgpyEE94L3vtLnCHo35fu4bN
aLDNx0VwHG/NvSEl/6EYZ6x1oUuzwSQ2rnE0H/pvy4/5t35irexJZFNX7m0wiCRvmMUAhurr5JUu
sJYPGCkXHBAsXF7sKyBxNNSsAMDDl/WAPjyH7w/p+TgAgyQEMSLx5L2wD2NLDkbRgO6AtxEGjDj7
6cxc7vsWN/7WkzIHjAgPgMd0SmcB+cUNq5IpTkjcyUPXOab8epGaW4a0Fs8dT0qdj+YYs1rIshB7
0ppd3mLgKJb/ot8bq/ihJ3c81Xq3hAYrjhmz4So1AYpHJ4g927pggBBVMfTX8iWrQGplOY2gSzAE
Lq2+La1pt00hMIytkMLaBzSMgwEsh2+q1RO1w4mO55OJQRldOy3T/npE2bzkryVwtzlQ5BhmztpZ
wPbykuJoyJx4D6I518TUp2ru59sMcOqiOYft1fvQi/2+CpWVroW0HtjTIg4buyfZbZInXwpJ1K2z
bfAfcriQrNMyVKcSB4S2YyhQkkd27UEVOpZIHc6vgl4xAHAJYzCAhJ/0BvAZJ+CIiwgz2J/hw8R6
r3j/oQDuKzULLQbt8lNLEIbBQvS7SgGrQePKraRGBPEssj/OkfK2XoxawSMJA8igZsOrRdRUtHWp
W+nEZ57jSR9BBAgLj9oaU2JgVdaLsndkC0hnYyp40m7uEyaLAUzIbOL9QFiZXaEZy5CNiH/yEvys
ZeW2mio/zEUD1Zs6KZjN0lAawJAG51NBOcplljFzUEEBOAS7Ulb9YsQcNZLPAv9le35hEytZnCc1
kmTkIMfA4bw3kB+Ib8a39AbZVze9C/aLU33LnudbYx95mmgIZdM2MKaEuinLt/H4MXWEEfamQDUO
MEk65sIjuZ8OgdaOxheBjiJJnN3PcgSGYubFrVd+G99Mf9lbzugbP6JnHXe60P27DfxQjTP7iPZ1
NEtInreNaTfSA9I8zmh9LypBUnTTHgHZrKomADZwkpyHwSmS9QrFfGzeon5ribIP1IHYQSqqz24u
IBqTgSqoozNG5+ITyLVGY9bhZGBiQ4SPbSsVDK5tSkDXBCa+UZ5Fq8+5JlKF4DNYXQEGcWAnDJV2
jz6+v/Fe9NEZBrrKgFDImXrX9zWtUnhvpTyqSWdHza9pePkLW0M5A8hfSLhhwoo7McIsAYKLFKBn
7334V/Uyd/i8ICUUfmHMIuyJIZC4ZQRridzmFCA5mKcQ6ArkYep3qqN6Csr1mKA8xrf0ASMQb81O
1IWw2f+7Fsq5VNLlXdKNIYYblSB0w2DQbamZdScbsz28WfZqadpFen6sJfNukuIjZugiW+0ngQds
2Q3opRjMGobEL9oEs6Uy5aIFamIDxKbusUxI1jqDMst/zNXLugYwI6CjR0bGEDBnPNpiGVETAX8+
jgybdMCexMWjCX5e38yNyA8pmLRC8hz68E+lUh+nKF/AdjYm1GD9A3ulSA5zH8x2RAtDZDqb4oA7
Z+joMIJ7c3EKvXuqUlbJApZspXe035ETe4Eb+PMJMCLuckwfux3u8YIzZ8NgAU+LkQsAXQJekHC+
TmelmssFUoOlApnbU6xWXj0LVnLDMM6EcPsldQRxKsBKKmMfg+VYejGMXpAf2V4+isVDmcgg/GhC
h87RsmrmBY/1+GA2402iRPeJHu5qPRHYuUgU52+DbAQVUPoLG605rhw/Zr2JC+Jsj5lobnnjkoiF
+1CKs4lUrbJEljDE2C2AawF2CgbG3BgclVkOJCrdEhjD5j4BNAeoFYD5w//PA3/Sa0pZNwpGhTXk
GjvMKouAmNkHczccTV5JUM8lpBiB6vMWllANXeFWkYShPjk1QJ0Fre6bUbKOFnpDvGjRyC7Osah/
4dMr+eRcPniu1DxLGvTcDv1xSDrYuuSS6alTRMDZm0aCiVDgP8OvLJ4rsQL7rCplQE0pi91MPuf0
Rspv2vIvHpVAXEUHJAFjISM8OFdIytJSmS1MQ0fSXTm+GN2n6wu2lclZC+CRriR0xcCrgC7R+fQJ
GOBIPCJ572S/e5c4+pu6b2Vb1IO9uXZoX0HTL+ZcMVV7rhRNFrmVg3JxlpKC2NawA/mNxrLTxSIk
mM3wx2BbkUIxCCpHnKS6RMPjAFcOy8Yl4EtBOzWjqnOvr+KmY63E8BEDzztAzUBM0JLWmzAoeqgD
VUSsJlKGs4VFKVGW7wH9VI+vy/Qjjr/J5stfKIIkCfZEgyPzOYxJLYmWEg1JywBJDG0IvoyyJgiv
m2qsZLDFXD3saDnpADVHfbmbpm+dFr3OqVHbhSkaMhPJYb+v5HRhURh6BV1IMhK3KpTI08sIJYhR
FcGbboU9gGQDwtdQAAnD5+r6ER0iRQz4iakFUmxWW7aWR+DaSvNHKck+xwxVoKCmp435/vqGbSm5
lsxZXomImmNGHahKQ2ZLw68l/2SFkSCqbpk3S3jiKgZ4X1Bina/kiIS+GQBl15FSDKOACLGUBTYh
ksDZBIZ8c0XKgNhEzVOq3EyGKMyxg4c/mNYq8MaAB8/SzhBQ3Ha3xF321V45IoPqVKyxwfmbTflY
Lxb/VpZHKJ5w6LIowCY/urWVPOl1tCtJJ9j7bav7EMMFNxQqgSAKUnlgA3e+Fd7rtLOtYDc2kVsY
L/FouU26u64Z+5MXywhwLUDhEbweNe4GYQ11XQKLClhEeZ3i/ZgMNjK732qruMNTMLbDXhJYxqaB
ryRyN4pWXXAnKtD4D45r4pRK9RgqkuYYU/NyXbWtvkoQOgDpAe9VXMouColjoxcxHXASYhrFRC7I
sUC94+BI3NMHYEjhjg6QcX/GIrvWQZRv33rl6UBlAF0wRmEAKcNFdyQl02AiABRL37QjS5ukTrA3
dwy8StzHuXECQxjmvFXcXoA7znl0OWlqRXsg3ZUlRq2k/jBXHcYDK2+KRDRKGyZzJopz7ciU9C5K
YaWZHthmN4JjCFM+0zEfo1tLWGbcMBdIo4jEuC+hV4Qzl16L85Y0wBuqqx9Vvy9VgHZQQW5je/E+
ZHCLp9ARyP7gsXDKMHcV/VU1F19XDokkirsiZbilMxay6OGCXWpN+VAQ2VbKFFgn/nXDF6nDhca+
nkA7WEu53RrIOHVVepsNaI4eA3NvTOEoOEtE0tjvq9io9BFc0MQ7LjdOBGRTUaTaqnI/LKEgCG9E
xzNL4KJj0xUyqQmgt8rA2AOK1lOtW2sBt3l0zFN0SzfUx6TjXyylhsYRPAgwrs3X8PtgkSO9x209
sMCS3XzTknhHtd9ZHrrXBW1HCxCd6Ax7CvRhXLSYe70ttA5YTN2JnLqDsrc88qT9ICBGin1R2mvT
Dj+E8c1ldbxYGpCeICwjvwqptkuAeRmZKTDE9/oBd7pgHuofpfh2MkLzOFgYymG1dE416W6hoK1M
+VznzU0kPaZGZtMFHJXSz+uruakfBQkhussUHdmZc5vMEtAEDzJwattFTmwVMOifWyultxFyyQIL
YS57oSJFFs0E+icmQ7nYMadgKqokWGVuDbY8fSb6p+u6iASw31f+BWceYxWgN3YbNP7QDS+5RUSw
dpuutVKCixiKWfRoZwDwmbabbj8qdaLEp0gVLlRMRY2mfHYiDmAQxBQHqFEFu/HezXWxHZhOogQX
d7xGue2I9EK1mgQAjpM/xbb2jFHGB+lhOsWTq4C6Od/Jn3rXPIIj1Q98kJzb6EU55TnujalbCBmU
twq8bHiT5QcpTJHHEsJbXE0zK2EIjMlLpDn5s+FUD9Gn7ti7M54wrvJv8svs0na2CAhXSLWCHFbF
vQOFgXOTyaZ5Rof2DOKLhwbDAOlx2HfArWOT7qItvdTwXBbfFzY1OJtVClkA1nVQfA2ip+wHeMGd
2h1dqrqYg7SUvZjE5TK2cIK5m+uSVAk4+erQno8YGgREqLLDsAyqBCIV36PhxXIC69FATRGdwAbn
HeqgmXpgYbqB3SMt1Y2oAWiQ0cteTL+1l73kBfvBUxzrrViyOxXkmLt/QX9+8eCBviAZVQyCNymG
MTnLVsygG+gEjo3Bn70gvpNyJz1KXuOpfhef/sXOblnRWiAXeLTJyAxThkCGp58Rt98N+8GZvKT0
xIgFl7N4qCrhqsyANRlvLOUWWVfUtqpH86Tt0meyNw4AWvQ1X92Lx1YuohAniYtCWmO0Xdebp1Ip
UpBWxp+BWSQahL84gM5l8BRDkZVUodFlHdZu9DD1b6Ci1Do53h7M74GMpsn2HNkxWsivnxYXkZwT
zClXamg4zMH1ZQcJSd25yPtDjPJLAggx1ERQ2uv2ShwqDwFZgruqkAbRkX9hpuwDNBMPLtY3c0Gu
JIfgrW/mtHt3luCIZi4/3mU3+rE6hn75+bq221azksapa0aLjlwJpEW3uLL7yp6+pAe8KvHC+vP3
HKcZd/8MxrZGxwdkMSaGkN5U/rSPb2c/DXbhKQYs+3Xd2KefRR0mDlEcyE0GQjlPVx4US2DMpnnS
SbOn0v0gm14wRu6iEoHJbNrqShDn5+A9VEjbWqe0/g0Si0J/oenTf1OF820ASY8LBmpOFG1aarwH
PaEtG88kFMGEiZaMswZdr6ciWcxToZTuZJZO06EeF5V2JIkkXV0zNL9ykoJW6+fARE2nWR4tA8Zu
ynbYCaxbJIQzOJRU9ShTICSeeyclyN+brafR2L2+O5d0cGtLgzJcynFpS9T2VVag8vs3gNgngY8O
TO0Agnd3uDepk35BtQXILqMdClTcjMX/Z3sQzd1UNEta8mGAaK17mzIwCMWikb7LCwrTDnVnFHYI
jnDCnZt6a6FUEAHMDV6rAh+q11AN6WzcVGwCirn0U+AJQ8VmFF7J5FxKmi09m1J6Sm61Y+RkuCUM
B8VX3HaX74D940U39aF/We5AeStw5s0F/ZCscTYzDTMmvggWVFIaeylmexm+CMxlM8KvRHDmMobA
uBqAs/MeBxl62fLdeAS2/G3pzzeqqNGJfxiDvwyDZHhe4TRh1LoW52pRltTSmAWn7HYEtlDG5qLv
ra+49KC4LjpP2KevYu6FLG71iCRTJZSDE+hZ7Srwaax7hfzSmbpdxy968ypYSW6zLsRxK4mxeqUu
8+AkH9v78in2xs6tfo9ugMn5Aog5xa4X8WeLJHL+RiQjSRo1OOmpZk/GF+lP03WcSsAFOH96lJLZ
llIRnBg+chjstQchuSLnWxcSuHt/2wahNejBKTngdgHGSLKL9uLbLxd736Wg7EwIa6eSQZZ5rgeZ
SmKkk3SSaOf1/Z0MWOR0/n19/5nl8ta2lsFZdldmRhn10ikllWN2h6xqbI1iIl40S7itCzLDDArH
BOLquS65UizNKIdforpIBn9SFfqMhw7ai9rKEIGO8oyR7wsHhE6qg8kGrxX+7an0RCraSHkK7hQ/
39e48+IS7CbP4Ie3/xhW43+lgTkHY3148iJKnKvWW7XU5rF1qhbdlq1XORdlN9+/l98k5P7Q5sPK
IygFnkuQ1D6yZOhTe3Sneu03He1h5j14MO+sZ4A0+IONido7Zadj7Kp7nXb5Qw5azOULuCl2shBT
bmMrgdONDlqM16ILiN9KtAMD0xUByoqfLe2hzL5mIi6ujQhxJoH9vko3jWiTadolOAHMrR1AHb6I
KvgXMZa8sxwRg3UqMgbpcwE1piRVEiNTUMWDHyw7on9PNGLT2TiOtHEGQ1Bvet+hsx18F0hN1umG
cidfBjJwWauWsjXsHnA19uKjlHBsX793oET0Iuyf+jD8xjBl9sZGTLInliWJ7uZGcDDz1Siko5je
H5/BjtXVwrZmiWLbiM9Qy081LiFZPxzKLAZhYmOXqeqECbULI9sBfPq4jAPwHS0/prKdEmCOVNoh
bz+b07ekquy8Lv5wUvx/Pw689UDPNxhmIfdxakn7Is47w9buwsyWIye/t3ya2Fplj4qLesVBdTNQ
9x3+MAKyNVmJ5ZwrXKg5jhFsIQN4zBB/sUzNLdXvS2ja1wVtGt1KEGfVDUJSoxLol7QHID/vjIyN
jmPEsJUcGf2IaioKHBfBHa09rBSHSifwx9Cvcr7dVktrqbPQaJYMtY2mHLtUGm9cbjLr7bpqLMRx
5o2XNvaM8R8g48etYTHXitmXWDFtacLnAWQLTp0krq6EsW1mWfJJbkW4PxcxArrphvHegIhqxfur
fGXKsTQPZYx8AihYcW1J7rvJECh1uV+oGqgYKwTgM3CS+dop0m2hqZDcwIQdEPqLRN/3aF0pjeXY
GsMrQL33Q5rury/kpVaQyZJ8eHGj2MNj/eg96eNpzAy7QKV4sXKnEh3El1t1JoEftxgY1GMYQatW
V1+TGmNvUXyXSPIxpvW9TNOf1xW6OCyIjuWTEfHeD2K+V8rsYDRGXet2UtE7w0Rpn6JuVfRS5l4X
tLFy6N9EByLmXFmxjzuFw0mnBUbodJQo1NdSQwaGiHp/RCKYwaxMLjWGhl2WdRvxa7RTY/H7KPtx
XY1LlwWRMRsHAAYieD35Lja0rKAtQc10m0ah7MYkcMGSfquZJlLYC8YR/1AaZrQNcL2B5xptbPCi
c41C2aBjn/SqbdTjfR+UEfhRyp00jLXH+m8F0giL4GdhAkVMFaYNgEJGCydzF9p4JKSsUc5EutzY
VQfNIXuGQ4t/XuGD8dpPn6z78rjs6S15ongcN0+zTxzVVm+KV/U+dGMJIEKi3PrFtnJfxUVJcF9H
qhXJst33KNnUbzklAsUvnEBH5wfGLjSKPi5AlHHLbFZD34+NItvlsthpmj0r+U+88r5d38xLPcBH
gZF1ExdEcBrwhKl5mkuWkUGC0fwo69xWjUmgx0VE1AHhAmIPTAAj8GIA49xcanOqqZaXDSgGjcep
b/0k7CtQNRpHTH2/wKlv2lqdBJeWy8VDARUcgmjhZeOxfH+x1KbEimkMeIbl6xR8MQAwGQ+iXNqF
2wE/CkVagEhhjokdl+eazT2VqshAp+oYZnsCeuUS5L1m+x3UdO71XeJzQWAqB2UIrs2A5gLZMTIK
56JkDaAT1Uwgygme6HE6xMfhc7evgJAX2Krd3CWTLQIH3VjDtUy+QFbXjZVqTGasHOCCTjjf9PEs
2Kj3Svq5e0MzTD+wZm0LU8yce4dNFIVVUow2hhEwA/9D/ZZjkqW8S++Mn+bXW3Lsb+fb+TC8qp+z
HRisRZt48SpnKwvRiorZHVzTePMMCcMPZfIP8V6/6fbpwfDVG1G8uPQCJAsxgcQyemgs4JNBhUQK
ZWSV9qUq4rs+CM038DxFd0bazY+NJiU7cF9qj1RrROOfPN7au+3gCYj7qmFhuplnntGkGekhCWY6
73pPZ6SEMjhgHIDlxl8tIPW9D314/a107J7kfXKH8rYeuyILZrc5fp/B44BhMjzmwerBOUuklj1Y
u4zBNu4Wnw0rDbbpNB746NAo8i+KHixfc00et6/5SNI8NSBPt4EmDn8JdzneAtVOVO7gs9Dv64sx
BjAloQKoXVwiSBhkuJVjfTuX7soFWJKpl7+2vmwhK2zrO/NI/fGm+pGLUqZb8WctmFNxykxjMGsI
brTIXrQFw0Kga5JfAPYt2L2tUIA5crABoCnxEl4u1Fsdq4kOLECnLl+tIDCB+iW1rhwMpeBldZk2
hUMiP4DzHhcMBkByHurambRKj05iu57H/pYaodnZtAxaoHMY+rMaoLe9zujgkVaufdSVFc/EG/A+
LirqLDQWfs/lCQl+YxncuAzKGjOrXOglZlQu9YijhAIh+cfk6n6/C4+ml8zY2/Ax2UfHci8I9wKZ
PNZ0oaW5oimQyZgvrNI2kKwOAE86lqDvY31V6PrcXZe5FQcN9G/jwfdezWb+u7qnDp3a5UmAQ4yq
9BhkhRuY6YuU5zslMX9TqXvSAYw2gZRYcD3YVHUll/2+ktv0dVbRlp3UFuBygRQ2R6KmMZFq3BGj
LVK/5DVUK1rNsMEce8RAE7Unqbpt+4oBo5anRgsx/pyJnmYsqvFRaL2q3DUxU8ZRS0KIJvpsZ/qv
IdBsfThZ4KaVOyEs8FaMxX1HR1M0WLnRcHG+lm3dSUqMGYP3Asfi5l7iSg4rh1m7zJMOhmAQbisq
rMVxWzf3edS2BrbOmgqPJkBG1aFWEf0PadexJDeuLb+IEfRmS1umjdqq1RuG1JLovefXv0TNnWkW
CrcwV2+hlSI6C+DBwcExmd51y2RbyOeqqM9XFqLV1SlWNUfZcY37dxkNgBwrpIePTk58uxbqQ6lg
Ph17DSCjX+6TR9WLPCl0NE8EbbTTOhNywTueBAVvYdSV2CTQiRnBxGOn69dMeeykH9c37jKlDVe6
XRR1QSjJUmQKGn7s3p88xc/d+ZjcYvbDbvYFBHt4DfLcTaRcZWMNabcYMIjWNR9mV3Ejrz/Wx8at
cPOCVHkncbh4eIgGVbUJKxNHSccKUehC+o9IpRw00NLYuS053bN8FNw/CYtxvMigHbhwkNI+P2Rj
lacQTMcihSX1l+Shk3VPK584n451t+vg/cdEJobT8PY9R0lHwSjWEg/41teezAe0FzmNE/uGB4Ug
lFvQ8OiDGdedv3FwmS5kg0u5EClbqkqAKsl/XAipWpouUG3iQiKfZzJMF7KBo1yIoderKBaAy8R3
Qbvv5q+QXf6js70BoRyIvFQtyF0BUt7MgwMuZQiklwbCT3RH43Q3pc0nUj49ay88/waUcijDXC2x
RD7ggCkOyVcdubEtNHYiaVEF5n7yFwSIAZGqyG8nXmTIfC9uzYdyLYaaWUNz+oytnd2FmOI41Z9B
ZJM3ToMXThtY7sIJIbio1NGYwgZNVGSjlwci7TwFIkjUXaIQNv9WDtDtgljR/yjL8ZfjJoKMGNIn
EuyUzxHHIknKAqFpGuqRa4a5Z7VToCn1N4jQxnZea7xZCKbb/kSke9DrVs8MaxBGWxJ0zFoMs3lj
JUhlXD+J7JPxz7pO7+ZNXFQ01WqCZgmRQ/1gRCJonCpblD7+AASzCahDoudc0qkPFk3hNK9JiFJg
VDQo7BSjM46q7jXmPHnXoZhB2AaK+k5hW6S62QGq1lBJQvdr3Me2rn+AhM5Opx9V/STUvNwhcw8/
MenbIVM7TcoaYGKW1G7C1o6QB1r/16HEv0xQJ7zbSDRhbovyL6lWZ2KDBI29KIu/dtmNNdSv13eP
uZINBOVN9LUd624FRDcbd1pqHjI0RSa67FyHYd+nGxzKbzRilMfdAJz8pvWjO/1A2B/1n6OjI2YQ
b/h14f+CiHo4dg60aCq1eWPS5GWG0iEaTtu9+LLuKicJohuUGvbtA1G8G3gZHy4ktZnD2tVzm50g
FV9xwZviEx/Ve6TYXztIMz1wtpX9+T4XSW2rKE9oFatO2yq9yYhNCsfCXJ2OQb4BosOYmb0Zgzow
vf8nLnW+l1gz2q4guIktgx2x9JFHt7wB+gHdXsE8H9lgXkKEsVhTxQMKjzrSe65QJ12JF2NRGomw
PcaBrgu7Old3lRr9vr44hhsGsx2mJeD0SX2AMpwU4zlzYtYL5rULSfZUq15rT42ixeL0RBNzoG5y
6HVAjA8zkUT+lPp4a6EXswEhNKjq6kXzpbG0RQqmVenV20WI0uhDSoqER9LC2ESkPjCAiaYWlBFp
8l8hEbRJj3rIPna500ofudg6Ssp79DNR0OwMtjGQGSP9fx5lhtkaytC/XWxjWExHkBvNU5da8AxL
Xv3rn4vsEr2LEiqi6CRA8Hwh1kVkfg1kyhbU6JsMAKL4Vq3xEJhoFYXcdtjtZnnUg+ugrE93MkII
ySFJT3dQJMYMsdW6AOi8BGujOHNU7CMRtQjx7ToSK21lbaGogF1DDs6yMvQtGgIGcuT4lzZkh7Br
X/DMOyTpcJs06dcRfdi2aIxeJsWlo/Ztw1kw61BsfwUVvteqKJgi2WV9Tg+ZbrjFLHHCaSYE2oqQ
UQbJgEhb5lIlQ5ZrOHfp8mtEV4jU9xxTYSOYGuiWUGjEM+vcKpUkEqp5BoKKMCFCDlXAU/z652IZ
Pqb7wCCFSj3pSDqHSPJ8rkQJX6sJv6bVrRHJdt/wCqU8EMoksiEUzEWA9WF21jbkF6GKwN7z4/pK
WOeK1MnBGGiBA4ZmDRTlZiiNWpntHGwpknSXG5CjE34aK5RkV8u7DsZaEWrzOMfI4V9KaeVD3azi
BPOCQredmBbI1H4m0+/rIKzPvwUhh3oT+XYoiSomAVnDAtrShTvVnLFp5jJQjCSs+mD1ojtPhkox
UlEBwhx3joZ+414d9jLyBn+wEAvChhi9UlFaoowMIhmrMmUoqEpJeJDM3i9FXgMDayVQ0DFRKcZZ
wRDS+V6BsLZNxRZjCUqc3ZvJcqhCkEWCxVZ3r6/lEggEgAAxNIj+4VBSQDl0ZOJRxZbJk3ZfisNL
WnS3eas8/QEMKQCA/wB+7ETdvfn25hqFHcYTFruP84O0zLvGxBO5yDmtdczVbGCo1RiJDtlSCzBt
0/40VURE5vCgpwanO42EV+d3HjYNWSLc5Gg7Uummx1gEWa1Irp+uj98SI33VlfhnNDS+lmUgg7EQ
h6n/c7+Jdo5JTtdmB5coHmcoTROS1wVdcXG+2lGmcw7Q5b0KEB1mTVgiCM3MOYgZt92S5ogbwh7B
KzqnD3Pb+a00P0I5nKdwz/xYGFJGnw7UYBT6wimR39OKFL5a15C0zzU3hFhvOHBSiZdeB0uyQLhB
JiVJeu98STUhBxtWFHVmJILvrbovjisIMDn3MyMli+ciiVY1SzUvXQ9eh/0ozMqE5w5YpzQ/gfzB
7Ogfw42CQV6By7rHWBbw4IMQQ6KNhI6S5WiNhAaSr7bc5na5DD5pVb1+ZhkFULKmTwzKYZtR1Fll
DQwF1ar+RnIxikMYBTFd5M25jajrrnUiv9ldx2UYIWDRqIirCDUWWuBTqHsF8+sqstvZe2n+Snoz
qKV7fQ73f4Ajg2YS3Tjo1aaDSG1YVqmBJ7ezbnY0C0JwzVNUh45V8rgUmB9rg0QFDKNcalGfAilW
45scLEfRzKuFXYYL+FYqFoGIGN0I9FCROCeWuGjRbMtLH8iz9pgXmtckrd9JjWuUmX997+g5R4Cd
41HuCDyJrdlG8WwvYOZB+8MwJRKkevMxNm/raoZ4hT6uLxHaqWxV716trE9z2wjHSXWzXChNzrdk
vP3Pfw9xNhv3mBuLQYb5Z+S3JV/0oN7zkAVEcE5ywqN8tPa8Nq5Too66BM52nDodcgZm6lQG4vwh
fEBfW4rtubydM2fSSH3ExoCtYx3SXTl7Zr8DSwxG1sRj81XgMAwwjWvz5YllbFZeNlGpJ2TlqglB
rQHAGuehzHDUWCnIgjFzQFw1tbcNuhHCegECWCvtvGkcA/SHVs0Lq9n+ZoND7WgCYxGlATjKAIcD
zQenealmmwx5Nzf993RX+e1tHnCr8uyz87k+agfnWgDPL1kfiPVcwa593fTiwa4C3R3c1Vv28y3a
3nMweXF1GRnPS9itgR5VRK14s9DzIl2i6sqyoMtrclCG32co7WKMHpJoaG9/GDieldx1FyaLTjN0
DQES3UrnpiIXzRri2USKoYT/PgvIRDu/h5J9GD9x6A6zcemKuu2Ac+IneEu/td8ST3AGf/SEQIQS
DD8jRlzolaXRzrwM5zlEPySBHE/EGv0PAxcwuioweS19u+79mAfCtNA1gnEBtJhRD4BuFrRQTgmY
+aGtH+OQwcm9X8dge9gNCHVpiGpYFWYOEEjJ75bb2IVn8SFq+fAvqBzID77cvc8FUXHfrEbzNFYh
2T3RqX8qYJBARemxfeDPgzKNA2N4kLCQcVFhgvLcCMtyHNOpMtGQcps/g29nlTH2kvrQyPEyay95
oo1JJV4ow/piW1DqiPdmKRpIDf/VQaGhjP0bxEalixy4a97r7QOI4930hevRWFaJmT00U0PCE638
1IErRoxH1a1BYEVHdmKHcHP0thHIrrjT9hyLITtHf8UNGl0WUfM+L9QOaOGtGaRgHvkme8quCsJn
HawAEq4hPFicxOclXZiOewtMnYcorzGp0wBYuTcDxUd2J3VjhInQymltoh9DZs/KF15CmuW3ycAd
2pwxS33Rp5uBYa5sYgF9KusXYf7IQTkslmVQmYccs1SczSVH4GJzN2DkTbi5ZqtWGkO0WyKG22vI
3MJ9hq50J99rGLTrHfHIa0dgXevbxVGmk8t9piQSjmRtrvZofa2lP2g+Jg1F/+zfhb0IwqKGISDm
8UnHLGHmhXulsNfH5gPdCJgxXlz0pLk8bl7mWdzAUtaimBkoQSSyk3Ho9BH6KxPdHiceKyDTgW6X
RzlQrTCEAnI8eJJpdr0vvCqQHuPXETN1eGZ6HPO4bEs930vKg9Zyk7fDBG+d7sd9/lQ4HxqaAOoX
3uYxA4btqqjAOwFBHzIAWNWi+vW+9isHwsrLbnYqFH4Sv+TVWjl2aJCvubF7y6zXNU2BFymRV4N8
vcpL3uYx8ilnhkhdCbP49+b1rju76TfcB08ptLUKdL3ai2TPIPlR0GMQdU5svfLcF88eqbtBXesh
w5AyLtqiftbr6ns0rA9lk/BeDFyDpFyIthjqNGcw/OGw+oYPBdWb+I7M1vMvPOZVsDljlPeIZ6FJ
mxxfrRVRf5fcCfp7Q2h6/RxxmgXZ9gEeZ9KXqCFaPbePRp2rIU/wEJS1N11K7FLlADC6T059jyDV
gUQZkZw7R5DaRR4l4qYwnRtkx/ZeOo67CGP2oi+7+lHeTV8tTh6RvX3Q8foPJGWQ4YLRmTTFi6AF
aeUIPYoO5JFTXjhxxLm02dv3iUQZnxIXotrH5G21hH5d9R6kvVyOb2Lfk58YlN1F3TSItQG7qxVH
P3Q2ZuB1R3iMfoFcZ7GXt9AW7figpO6Kazv4f4JTlrhk8pBPFsCle6Szy8hL7kjTUvRu4HT3dvPW
VZgytlWfRCZcb8n5kPQYFCZetWpJsL2jv6JhCyyWyQsEZDMwAIyeiIdI5Gv75cjFZQZ+RAjuLwOi
afYSQcWsLdnyzltAEpK6Ojpo96On+hCa/FpxUgDM7CN6F/+Bo666Uk+LMCbZH8IpI36vRvAAmG6H
x2uloHPX5tP7smO+DSR17q0YNrXKWKH5nqDQe0f6GNEA92w5H80beuD80sueuCEu66GyXSg5Tpvb
qB6MaIxXoJJrtvRTN3Q/Fl/3q3te/MVeoCyipE262JGMPIfS9aJdFfJkaLx836LX6LGDNiL6ru3l
Q/yI72Q380WDF2Yy44gNKnVcIjiapolxGcX7EbkIvMSgQH0SvOQ4HrZb/USiZxHE2RJqg6wPYzRo
6usg6Gbn96aroiU0tV+K2C650QvT220wqdDPqiwj1mJgChYqTpLgZFHN2UEeBHUUqtEqsoxs4DQ9
RukPa+SVLdgP2M0iKMtfxyYqygKLaAmLd4LXK+FQGtzpJt2luM1Bd81Z0yVVA2n930BSZg9WUQtN
7GRRON+WeFfKrnJD+LtrT0xvwuxmDhI3d+Rgeg37f8FqwrxBNvjUFTyCKSLKeuCjzyFFgSv6qPIO
Gc1CD4Ru3Gk17wLmbjJ1A/eGHqkSsU7xIDu6A/bhO730O3/2yFM9bnAz2/kb564iX+7ijbdZJnUZ
t4m8znlKzLM7hAHygGAteNRvqsSebvr3JoYf5WYmmDfUBpNyM3k9o5FLBeZs2S1qLPFHAhIQy4E0
ZecRL7ocux/dbnCur5X4kWtLpfzMLJiClY+AHX3ylh13ky8E/yIVSI7bFRz6Ai5rCfIRAnBA5Cvb
mBxAXazA9GfkzLf8TITMjOVlFdLEIqSJNYv6gvKcl1OVAK7DXET3MO/I/St28KPhKX/Wvyq/Ncx9
WPiQcjCAdn/Yt7f/QsaNve7PH0J9VvQFYvqpPO2v4kMK6SXyCkd9kv3K70T7j54wm2VTX7NfCsWq
SU4t1I8N+PGS7lua/LxuMf/lSP69pAsmrVnoelEgR5JkdctvxjH3I48kJTXTEV1S5AT1Pgfz+jai
gHt+CWfr399zcpZTAi33i6CFaIHiZffcWJUZXfyzjeiBotDacZ4wXj7Z+T7atU+zjRruYdinB2vP
+2LsY28YaIhDdzvGIs+hJGHMlWohYXGsuD3kHsZbyfDqjDcAxcIxDaLyiEFW0EZROELTdoJa5WiP
VqAOrj6gwuKHY+QYwuP1T8W6d9E9RvTuULQFHdT5ggY17Q05QSGjNHZKsbqtyitxchB0eiYoH7Ve
nzIgdHWARl83HrhZPtZ2bVZBkzNE6awmyQIMUgqSXIzmmLYs2Ovg50d0GBLPAZeJsBM5OV6mhZUf
gF4V5H0wl4p2nFOUvwluWytp1akSSXCb7ManCCWTbK/64dd/kYUn/ofyy8AiHPEauMTQZ3T+udYy
NRrFWMiA1QAWythR40PyAIIlCc+yH1JAmI5NwxZ6N5O9gh9dMw72GT4V0WiDoTT1sJKjluwS8l7R
XbwEJUe2JwFq49bzdfNkfFg0E4MCGPx5GPal2SoSNTVT5JCBN0Yfmhl6i/AIAuuf1VhwqqWshwOg
0L2Mxlv0tGnU0qpUr4dWQdvEODZuKxqPVgmGD3GUbFHJ9qWs7Ewr/9ZK+TfQOe7Af/icZ/lbB8UI
AX2zg6neTer46/ryGWdHJq8YGBWGnaGJdv654yGU2mbA8utl9qcpfA/r5uM6BOsRih4HZOPRSIY2
r0v52kYUhgSf9PTmvZFQ6jBEPJdQg/fkoxg6vDlL1o0ERHxTiDiDEYRmrIEUhqWMZvfXOPV6E2Lm
CyNg2kPyvL7KYP8sg/kPnheYSJJNEOQAWaRfhYMWr0W9AlKUa9uYXmR0/XP2kfmtNhCUJ03TIU6M
BRCTU+7bff8lQehQewVopCUPQiN/kpAHBwk6JsHYhUNJ1wEkq1FiS2vx4cbv2WR8bavabUOutjzj
EQEyFSQKAYUeY3qiC9QYaM3rR3wtiJAiLIOwPFSy4OPAP7u404CuotVLvekHLxvDCAq3wPRgl5Vl
wrrMAK6b6n60usbWa8y7h6OScKJqHhIVrohiHhvGAKS07u5zETy7qfwzt2T/uomwek/OVkQd53ms
TWnpB2Ii7Y1wIwdokUIyxLjLMO3V26CPQXdW62Cs51C5007aN5yME9Odfn5LulFQT/q8TnUsdNBE
d5zQvFBmYAJ/i3lhBdurbJAobyquUaFGDZA6T0Ig3QW4Kb7o7uwYh8KPVZv7IGPdTBszPT0xNrew
2TWD3KCWgxcLInfJjn3zZw0DxYsFk56uxfMorMf92ccke70BBKORVaw1Vji+IXnnDQQWJFhZQEY7
9efJVw6LK9ud7PEr/0xfs9ld6r2USnnYxxMWO69fjEYGdwJvqpLtpDcQ1EsoVpqwAOkVsVVSA++c
/AkVK1v0bX0H1hbO7cteENg8iAQ9Lnv6ZCgSeEZgkND/qmuoWemPTds+Xz9+/8UmQa0FLioJgwzU
MTemUNRTYpPxnpD8g0TbgVi2Cgpv0k4TgmeHh8j2nZ+I1LLEyVjrEOvCKQiD4hAdp/dBtetdEYyO
6Bfflpv5tXKX3RJzXA2r3gjr/ESmAsVOTSZhrv6DDOngQy6BpW1wJa8NjJ7b13ryHHRgusUjH3hz
GpShCbNpBN56Dz4hp4jQcjruBCiTHecdoTVqbmpbc9LDcFR+tbeaAwl7flaGrOraryCOfvMrVHOM
w2LFr2gx82MPd8g/OWCGJcLv6HrlJy7YF8fnLlM+YFjEtdPIFbWKpZP1P80+CUBdyLFbphWhOxlM
foR7gKYAFYc5qWJBQdMwiNqQ843f6tgeHtCr7KFJ9EE5SF7/oEQoxPAmFnnIlJ8xK/B8lAuQo0q8
gxac31Xy/RCWmtsuvZ8JVXB9qUw3gHevitZosKqdLtDN9xuKBLTBpD26xARNpEt2VfIYztiODeOQ
GioE4C+kY+p6TYXKEPFcIxdF2SCW6b+SkyG6yi8QN5GBU26hh7UuSCiBbIvwFmHq7twu9aVblsjE
s43chgVY2ZEOIRF2hznbPTqn3OUrL3qidY1Iq6+8xaTiUXU2tbnVgKkG/b44VAjYCMV5cc+bWmTu
6AaJDtSkolONKj29IN4nbwW3fuxGtnbXuYSlIv/Fu+uZcdQWkHLkmZIqCYRnSBZU+gCZylEM5EOy
I91L0c16DN3lPlPdFl2LaFks7PRd4kwnMK8SPF5ABkJk2nE0zz9oKkDgVJxOH5QkHAiJRIE3TG5r
hzFInnjXI9OdoxfNBAcltOgwsnmON1kVahcCuR9zu34mGY7kfY7QYUF4HMbK4REqMw0WaqOEJfJE
RnmOp8aqOq451teUcrfPigShIgZkOAM5zG2E+Daet5hbARsdZaOmMPRt2YO7YVq1zofi2gJq41gP
YlWM/MKKC08fo/BLU82dnZqD7uKl2g92OQ3hbqja0rH0ruRdnSynvvlRdMIqzfXVCiP8KNKTWj2C
v7pyoEMdeYh/EFBCyHkS0IvEO7BsWMtSoVxlQKmHMmrFqvTWWmLkaSEtt+RuhQ7Lkat7zvqwyCX8
g0JFJBpkBrOoAooq1DgnvdHdjkkZPV7346wqpbyFocKPMo4tQYoBo982r9Fuuh10J32a0ZUBLRjc
xb+MX8sP4+d1VObaIM5CSHpA7EgXLZRw1MxqiHD7z+XRlOMYFOk5j3aebbOQBQQ7JrphkQc+PxpK
L8ZL1BW4E78LH1EEfsHIa4+jU9rVvhv/BbctCSLooAbCtf8AUkFGZfbgyhwBOKZoSrDex+61zyH3
WnM+GtMAsR7CmwG2bLr9Ox/SzGzidLKNKDB0UNA2z7hB7evfiA2CdDOyWqomnnZ3c8N3GjhHoFaB
Wp1gusLU7qTZEOxuUGQOENMYcJT+BiL/vwGSuklaC8ICm9VxsPbCTadXT9fXwjaFDQZlCgiEakUf
gdF5kA5Ekcx4NEGVsfjDPj5o+5Zne0xL2OBRllBMvd7BK2Lz5MiW+3nfzIccL9s85KmRspAw1otw
BQTWGC6mzu/QFkKqGjOSPoPiZqro5kl4Yww/mrrlfCeWQSAugqQCoZnEDPv5d1qGUYMKC+5yfSrs
utadKKv8sNF9zrdihbK4yhSMl8uKifm7cxxVL6uozTQ4h7fiFbI86Hnr0FMFtRzdnT6a1iXMH6/W
awbVDV78x7JF9AFgUgRzx1D/oG7veoAKh9lgNK6Qiz3I228hr8R5QDOrEFsMah/zsB2yOQMG6TVQ
0SRPKFa1wPTjB95NxVsOtZW50XRWfJqL63RH6V4l6Hv8ydf63DGNiq9KU9PrucHDg2TKFnEnhXbd
QwArdA3UodPvi5vu9C7o7/pb3rQNbyfpNEEU6QX8K3ZSQY1l8SDYc1C/kLZg0Dpz3jsMWjKw+2zW
KZ9b5SoJUPDW8OBRHzJwN7zpBzQPuQ1mfHS3PwgP+WP2nD/mXhnwUoGcj6hRJ3yJy1zKZLLKsrGb
8ZhKnFwj62Bvl0Y54Gbokzq1sLRoaaAX3u0SNLyMqsGBYYbGWxzKCeMiWwdpxkKiO/U3ofFJUNuG
HhVpOIlczb1umbxto1zwqCZRX6VAU+vIXtvMrlJOUMzbN8pZNElSl3oB08egtR2qEKGEufO4KFkg
mCYDLRA87uV4NZ6i5RJ38O96p9ilIDtqIjphxiMnYcJgbg0vevi9C+4hU8uEVtHxbJmn5rZMm0AR
mrcqkr3rH4VZuwO1JnQ+wOYtKjQnUJUlc7daqJOpQbu3fO04NLbp1qCzLjENMQfLEQP+/HwT8yG6
xaWcblvUaiYKJ9ziTsEEYGEXkD4Ydwb0dAmNVHkHXejdtMvc4Yt+/LMa0PYHUK5Yn+PCQokSp1hp
9qVquLowelHG66pkWb2B3QVZOMqQSNCeu6kYdrRWBWBA2P6iK/WTrNW8C5r8DTrMBa0zSpBk8AoM
DecY41DUUjHDX+CJm30nUsz6PtnHYAAAuaZ6nHYFz3OwV/WJSJ1lWQfrjFQAUbtHdvZxeETfgGt5
vVcQSUfCjsi7OZnOartI+nCbha4pJSDLG6LjqB1jP0MGenK7L/9CC5m3QMo8l7btlUQGmrALH+Jv
NWYXyAKnb8gDO2uH7vHiK+ckkj957StSBjnO4yAPhHxA2JE8cHYcS7uYnfS+LO3QTUB9rL3Cc2Kg
Dcfx1uw4gcPpkfLf8WVaN1CVinpUJ+CPfv6cPIVO7eJeOMw38w1JutWekTr6HgR6H50778Cl6lQ4
pETuO/Jh3ymKNeojZ0/IJX7tN1EveyExVlFt8JtIKYW07Gq9TTRTLMwTgj6dl7thOt1/DhIUBs4P
khiiP3gmB0lTIuihIKDVwcOLCOr6soipXlsV5RMG2QpzgfRLWH2TBVpRpnZS5WCYywe3OL0a5J/X
EZkpzc/Tg1z4+cpAPNFPxQhICF1ClwKT3jfVfnwQuKV1Zkpzi0Q5oyUsu6kET6AtB+FtiATq8NgF
EZ4K66H/XtR2xp154H01yhn1BZg1RuKMBC33NS29G/txH/USZ0SGB0M5oFIrM0UkDqiPfqwywpfC
xBwmtzh63ZmjO+H8S5XwApgywIEiTSXTe08Ofw/Nctk3jy1S+/xRYR4i5Xiyoc8anAWEGm/ygQha
tMc1ALUpRuVTD/m64Lotks9xYf3kljIxSw56JMr61Q5ynwW5Edfp6wBeQMn6qgmBKjfOdRz2jbEB
omxeygtLqSoASffKR7sfgtiHrHJuY6Tc+7MkpLFBo+x+LMS5FSegqRg/macvaIV1V5UXFjLvpQ0K
ZesmNNiENAZKFFl2lELDkMs1y4Og7Lwu02EoofFi521ty+iuV5Ud58vwICgbz+IqTi3yZdAj7XZ3
hN6/uEVtdz/t1a8J3h68ugfP5igTb6JI1voIgLOM8QUZwrgyRH6zeBeJPFJW5jX++YXoXCAqkVmj
LSiSKYkYLMWXVurtytyPaWSXZWfrhcW5Tf6LnaP3TlUwco/ME+Ux6lSYBwUVh9affcXPPIzwtcfB
t4LKn37wJpKYbhDkaX+jUeZhaWqftireP2VTqLZaze1znRimXZoKl8Odh0XZiSxCYkiUsTLQd9z0
0IdCr4i0m0GPYt5bv8e75h4yPxz3xLJNk/CBmegWtaBUdb6bYVoO6BussZtoy9SH2q64VWmWwzXR
rqGhSgQSFpoHbM0KM6tI+5mKoh8Ete9FwZYiu3hDitAISghcmBPn8mKlZgwoEaLNVgdf14U61DAJ
xYqnJlERGl3ZkezuhXSVQ83ghVf6ZhgkRI6RoUajLVhfRZ0Ko4Q4k7uqBUcS5lcfDH89QlL0hhQv
SMs872hffi+AoesUuuRosrvgRDDMduoKGWC9kN5GAp4jxv+s4gh1NOg8KcjmovsF9LnnJqHLa6pa
ow4I8yOs38v6mKsN5xRfug1gGEh0ojAKEHrmd7amOlVXfJ9ylVx1SjzIiPjmCqK9+0y6mfQ9xwWT
33x+C5/jUU4jmeZhmTvgQYzwUPvhPsKwJmlGRjjv8gbByZm5Bkb5jKabmihsAZZizEDZERoekGJz
pQwv3cX5mih3Uc21NrRkTVlv3IVt44FFNgYZAk9EimlyUD/DEQabMtjUzu1hHFIhQ6M5MuFR8jpK
4k8hlF6ufx82BIqZ0I4CV9LpOG9qMMqE+FVfUJALu5+xWTtV9vb/A6BsGuzrsb4aABgk3dWLyq7L
j+sIzK8B/myYNd4b2K7zXRISuRahFA8v1yfOGvptC7HntHavo1xsFPpqURbQUXZGT7R4yjNtNgpi
bH0+J1rqpFoWZHPqxKrmXYe4WAgFQS0ksfr/QCzibZT8VuqfofL9OgQ5AGcHhEDAXaqgNTvJ9J3v
lQlu835drNRZrM4xxMTujYd61t0y+zn1nA4M5nIs7BVahUBNSsffQ9FnYhRJGAcbV7u3EldETWep
S074fRFykSVtYMiH23yYMtdBLbgARl9nZ5ygZ63eWRnIH0Qely8PiSx4g9SPUj8YFZAUxMOy8Loq
miOhKXjuOPllpq1tlkT5zEZQ5xXluNTJwu4hk4uHOOZRUPI+DuUpx74xFckSU6frEneyjCNSwPu5
1Pzr9sZaiYqrDK1AEgSR6VpyIghDkxpYSYGMkpy+9xqHw+Iyv4vPv0WgPr+kiNksVUrqiEEHZnvN
i2NX/B07uVsEEUpTv5Mv1u/0jsybJV9EsFokLq9Ow9pLUCJDxwKBAZlpP7cLEbyullhikU2buFIp
2UtlOk0ncQz9UpYSS8WxRS0A5F6QHKeugzRUTDUJk9SZnOJ7ejN/We/VQHQUvwDBUHRod/0BIj1D
7oRPKtjZTDR43vPWehnfUT+CClsncH2tcZzCgxzSLyDJCSxHv4dalZ25+uN147msGZxjnZJNmwMX
h+OaZAIWXN4IO83tvOl7dYh+WRhrmG6E99XrnZKrTsn6mhikUBDmgfATwdj512zaOMOsTQ+3pb/1
5Zs6686SKC5nacSX0454i0KZ7SIkGmr2QAF5R2D41W0UgKEkIHNwfxC6YuASIpTgiJbQtGTRxe1k
0JLFqJrMGdTOw0tDNGfeehi+8QyCss2pNgXQYLeZswS9Wz6rTvUup/YagyWUrInM2WHQ9MhlhyJf
g9rHM1zKHDE0tWhV2oHXEXx3fnZsbkfwg6bfySugx+g+tzxAPswVQLrsHVmRbvYSFgpAUwpIj3oW
GO/zbwiSQPOlfuwx/HzdWBgWifoz4RAXMVCIaum5RSZKE6v5AP5TQUVquv2Fbk670f5n/QxiJHjg
oKsIpiLS/ZJyZlSVES6Z08s/i7G327h385wXoV+2nZ1g4L7wisIb/vSm25xpeQ4VYVqxmOo3xiML
MgoaCM7ogLd38NFuuz9p23Le2qwdxLJknGZMFUDZ4nwHMU4zWoJW5I41T1+1uj/2kfg9UVSOh758
kGJxeLyhCxSBIhomqYu7U+QUHb1y5lhP6PDw1p2KbPRfJ6B0eKbIuvrQ2wq2dGQ3QRNF20WvDLUo
9XrmiOisLe5IyymhxzUejGN0UJ9nRwjWW+jV7Kud8YXfWc868iqIcU4yvpjXo1xYUq+NlGJu3RkX
OYi111L+XofjwYp+XTd/Jg4oB7CtCPSg23D+8Uy5kkQ5B07Rm64cSU6R5g7Uvg6rHnE+IMtOCBs8
xBQM0I/SbfxDCWH2cRDglRPlbS3CXS0vQdUVPG/Jw6HsEbJsdS7oYerMb+mz6GXHuD8RWJIyozja
xcf8krjcdAnZKNp1bVdH+WjTTJN5QfbCSffxc7Jbj5AWQxGcuMrK5zOlXY5f4TRAwxuDAngAoE+Z
Og1LFud4jOTkqFuS2++n28oBVcNzi7SoV01Ob49e+Aa+AShjZE75zquysVz1Fp/a5a6ANzNm4MfR
a6TcNNbDdcNkxSdnC6Q2tBjadJ0VAKihB4pMpByO5t54DwVCb+AslT3Dv3nlQ+SrvCrqZWMj2Vwo
RiGHI2G8mm6B0rVZaacoxsTAvXrAwInTvQiPqm3e49C/TFzeLeZe4pFtIuOMOVMarmstK5ezNIN0
QRJoIDcbEh4XD/NQWBDjxb/TQPX5OdfmBI0wLYq/Qv1tNr/J8pfW4GQnmavYQFAvbCXVxiSbANEP
grsmqjPPvHwXy1uRFfy9CspbpfrUliOUKxCztnvJRf2OEDSrKATYykE4mEdkkp3W53VKEFu+ONsb
WLLyzbUaSYKWlKGeOnnyaHVubMr2Et5n2XuWcyuHbCxQNJNZfEJ9cY6lgNF4GRQkEdQajYyIgOC7
soMGIpjE6cGXCZWGV7VEAZbHU0H+ML1IPAmQIj3d5TTBsY64ATOkJnl7kOYTcBXuhQBNGZyuk5Nm
ygWOCske6N3IOvqVzheY1kiJSHoFEigXNExH+ZAGiq0H6gPildmf3ebROmYHwQt35ffwqSeKdAm4
ltGS4oCb7V+0tLFOu6IhAahYaAm77J6S2wLdX4qGvjk8/RbMs4BqMPnVfAxu2kPeXHC5bRqMo3KG
SPm2FqMkWhLrYCXtXmP9OIychzvjtJ/9fcqI1mTp41TDiszuFW2O9oRu33bktdwyLAa5ekJOgW27
rIDEGQpWa7wC5WXABDCh0gtTewQRhxU6IsYd70a8UBQH9WfV1Xq34lUNTmM/lC39pbgHBQlEMPr/
kfZlS27jyrZfxAjOJF45SapSjaoqDy8M293FeZ5Afv1dKJ/TlkBewfbZvR86wh1OgUgkEpkr1+IO
5ty16hD1cuKWufvx0tuhAa6+OGqJ+4/J6apO9ZB4dSpsWKwHPjEbDLoYDZkoqAeQmV66cQxsZ1nJ
VuLqeKY0N4z/nkLBoXPLk+Tax+KuvbVecwB1C6+Q3PgOupHFSRNUATfiIVqFSLqJjvCN/O3yRyxG
W0VTISUuUGV7Ka99KCz6SgeJsuSH4Drecik8j5hKGU6uLHMupUVjBJocrNd6wG0MVeTOZTSGy716
UInD6GCp/huEjVsn5cwsX6WoTVWHQI2duLM8OE19V7eCW0uwLr6+pJiTTiMZBhr7pAFb0DymYAO6
/vG2t+m/b8c/y+wiys08g41cB9NsOrtU/pLGLz2knq8bEi2Gc0o8Y80s0WAIGrtuqgCR1BGvAcD5
uhlVtCvcuSvbJVP6DnYsxZGfiwJDucY+fmkfQWRyKB+YBIW2094m1cm/k7vJM0CbptyJdShE62V/
fnYxL3WjaK2K35FanTPKoTOFs2MsojgjWi6Xa491LC3hADO9YTpDhAxbeRZ8URW/lI9k537OpdPI
tG19ZjunPZBjHwzgcTJdA29dcEcH5V4ynOKF7kqIJt0XGJjv9vpT+ipi99peJxvQ1cFDB4Gmy89Z
ayiULCmuJbnUHPgrurGCdYoscA4q5TQs5AUXU1F9z5THtn69/h23igRMF+m/JXCeac6loiQ5lmA+
EUd3rd4B4hOlI+ovd+XTH+OC2SVwZo3zP1sz6qZhH4zWX8pkdts28q4vaNvDf62Hcz116ccW91Di
julRCxOvIiCynETzJpvbYmF7WeOaCZdfbrxWt1RTWh3neVGcaJAdsB8H1xeyGQPPTHD3h01oZUyg
KXOVETkBxLb74YfUf4lk0ZDYtgv8ssTPr46NYU+qBUv6LtrXD8stSoivNV7iZjDfmrNgg7Zj4Zk5
7g6ObDMfW/QOQMxYH+Sb4ln3GcOg5Bv+tGvAsZG4LXryxSOS2NhpghraY+JIuPFsAOz/vx3k0RrF
SNJwTOAnFCmYFh4xI+qW1Xtk5W7fibhkN53yzBh3iidlRvmBYMlDf+zy+xxyXf2n6+6ylVuer4c7
x3PX1YYMFg8kVdGeVYENcLu1wn7EZgZpg18QaohMfPOjCnF2g5SoFSVD/+EsWnBXepBFLZxoR29Y
9ljeJA/mM+MnEJXWPzgBVvH+zC4X73uiFEYdInJ0fn/UvPKhPcq+/FrtMld5Sp/DBxncOZAAehxO
v1Gs2j6Mv1bNnXfaz30PIBEutB8MOTLspPvy1vg6f2k/uFvrXVEJjgn7G6+tlzv+c6+3RGKH0oiz
26qSjx1p9lqfenUMTfVGxUYLlbK3NxdPaTj7B6SOO5qmnspROyA9HtzBt3fFN/uGZa2sIo5XJagv
XDCNozgnekpvng/UjSAWRJjOIWc3Lto5amJc5l1S7KZucKJR95VSda+fkc31QZkaE8sY7GRNjMuw
PXcl1cqa5SWfp5sZ0Hr5ZvYxkngr+fMjQLn0LXLHO9CWOdcNb7nPuV3OeYcaqp6jhLfAaNt+laIp
szQuLScARN6vW9r6kueWOEfVhqxYMpZ5dQZUDLoXzIW5BRFoVm0aQbkF35CAXoaf7gGrmgb1dLCq
WfmxSzEce6TL5+vr2LyUUEGCBTQ+0Zvhtgpw+nyx2UuVdbZ20y76ShgbUY4X6m8xAW3FTwLQDmbM
dUyay9wWLRApVUYDa6KQW2mPyfNwPz0vqOtIPtomrvHOhrRVby6d+k5UC9/KJs5tc5vWlf1ijIyl
bq5ul+W7ufwQfEw2/coHk3MDXDAJJ70ewxjBZL7pD9rePGQH22GDZqL8brM0dGaJf36CWbtum5KF
rYcRYXrBYBuzxYjNWClK9NDY9sT/do1/jEIqXR5TCV9Or2Knnf+tdUC6MAJ2/fttWoHWOMGQDAjH
+AQpV6QwxPxy4sazgVH6B0MdMGj5N4dKx5PGBg4X4DFuj8a6k4DqYglJC6b+6KuZjA7JEsFSts/V
LzM8UBtEy3ldoZiG167kqsR2w6bBxd1Pr1VjOku5PC9zGjtWOj/FphFkEEF2TJMKwtSmx5/9Ci7g
G11vpa2CX1F31dGQ0gMwqIJqm8iEehnrY7WcSMiKlGn2amkPefN83SlEfz+X0yVQtPr50OjSxInk
U50KCr+bXmcASaxbjOmGbxOr9WCCLQwXfWcuR+Bid0OsnqRQ8v9iHQYK5yB/gxYvT4VcSnTSEpY4
RmT4FibyWz7YT9dNbF5/Zya4rdA6pQToHOcnqt8LCnbA9E3OcFCjWfDJtsPPmSVuU4a0b6NswmLC
UnvLwtnvpeUm0lGdH2KQdMYVqHjGWyjIPhNcL06ipfdFG7ptHPWCz7q9e78+K3Ofszy5amZlmPFl
3dp8xwdwzRxod0mkyiSywv78zErYDaYE+RIkFirqOHnjGPO3ac686/vH7r7V9XH2Vbm7GA/Rxkxl
WDHm2JkilI6BpjHzu1Q/jiC0+QtjNjCtNnSOwcrDfbhJbRrDqkIEWxPJtaF7Cl68rfqS5upDX4sy
s80PeGaN+4CFqdXK0sNanh3lChmNqTtW+f36ktZziCh7QEX0vzVxH3AhVb9ADpk9eZneRLFbds2h
34l5PkXL4bIYsIn0lBpYjlpHQFdZ5lSGrgUOy8QJyzkZD4KFbXoGxEvxEiQgG+Ob6pkC3qsFoDjX
vpvfGLFRGdgHRuO2gDsO70/Ax6SAiTBct7uxTF0GvRkDuCgK6kmXbl9MVjZaJfJpeTEZ0vrNHiA1
JWuywBe3bktgWRBcQf+nmsC9XxrqFg2QURPxZLqB4iXSmfqWQRRQK8a8gIgqYqtFcmGNSwEUpSZ9
EuPK+knJ0rmteQdtksSvTxH1q8wBrBKIGn8IoHbt5JYLbZYyc0KaOKDdJi/XP/IGOApU4goT3QRA
G8AJLpjOE35QrsYlSqzZcz/cTv9md8QlXyvQrx0Lb+rc0XShCCeaRVrv7qVdLgKUpBxjTQZZW6tC
bq4ovaJ4rXoR39PGXcGY0gExA44HzWO+klGXdjg3OpbX+U3joicF5JfuFEfpKd4zKVMRQor97Mso
qiiY1ABGij0/19wWCNNDakeFK8+yM8n3UlkI3HXDgq4D2GjKeC/hOudOfzSMSjZ3RuNC08r0x3AI
A7sBseF1v9jYHvgDsBc4DwQkY+zPz++cUJrkvjYbV25Qv+tKqFkMTxMBPcB1OxtREwBRvDGxFiTF
K3o2M6PQbFQ07E1sH7J8uklVFJboHBgp6MOt5p9Jnm4iDEDUSSTIWNi55vbqwjSXn45GZSVoxUNB
T5p9abon3XuNAVcoGjth+FoSEanVRlEUIA0kXxpUQnBVrLauD4Ecj+0GR1/5HL4Pu6ZyS4BH3xr3
JUTJBZPJitv8M3sWVGgzb1JcbHMVRCfyz/WvvuVD5z+Ei3hZNyRNEeGHEPN7Q4gz0l6wrxulvMu1
cmGuypqGkdRjrTcJSA1O9g3TC2ofvhd3SNxO442bQkvANb6lT/ld8un6+ta5KDNOMNtmGxajx7z0
3n4ckyEj8N5wGkBRCWKFvHMl67FKX64b2gqfaDJrJngNLR1MvOqlpXSm9WIQCefkhnw2v813CQgh
GYnrdBxexjtz/zdqfUxlXpc/4hlmA00uAixJB1Z6WrWIabNvAQ1sH6JdeGBWGbcpKofuJGaOXUcE
vFJUpGs2GMsA/+ROy5zXY6/MY45HP3wWimXQhQa8O7DQRwJFfRn9Bv3BxtXMjALxgxQR1WiL+7wR
2NnKqpSh0Qwt8/4QzXd5AKoS6F+3+m16I6psrM8FzJkaVgn4AtPZudzNfDEs9nCG6JtUOwvoqufk
y3WH2fyKZxa4pKbWF8AjKL4igm9A41tVqvaJJOp4r5kqoN3DwB8GwNvI2fjvRkOJVLqdEJCLlAfL
AAADNeVPY+uUb1AavhlKJ72TRO8y/usBBQGzOHi4N4Bg4oe152UarCWDVnnx3n2TimB4ygP7sW4d
ZXaSL8bb8rVtHOFQOp+dMqtoUwCPyDCCYPG73LMMyD6LdJgry4bhgbY2oC5EdelUnnJleVD6efdn
OwjsP5EhvwSUC849yjiX9gYw9Wl0SQonN7ugtKyvmKF71Ntof93MaguBjEdMAbQbIkyYkrQ51y9C
AuLNkILZ9/PwPn1jKgI2qI/yT1Ng3SSfM6iwX7e43j5YA4gQnU70BuA33MKq0Zgx/pKDmq1aHHmc
v7Z0OFy3wbs/WxROMtstBdpcPBEPmOW0tM5hQ8co6xSf6gEtdXGzc+0Tl2a4WJXWWkvbBWa6m95L
H0fVae7jz9M90OpAqaezY5/K+9B2MNxgCMBHohVy29bmUq9GzHTSjeY/0xBFB6LkkOMsUHoRvJC2
d+zX1+SuuVk1RjXWYavXjlbzSTE//d92i9k/SwLtae6aMMHfvwCUoB20+C7L/7CAxzsEF3GbsFbi
qYEJi+nHx6pjLX/l1r8+EndejRGVNa1lFiy0tyRzeGi6RODWIn9jf372oZq8GmjHNkIqv4ypetRo
6Qx678oFUDHxnzbS+G/GRbwOnbQUeBEcVDsL9PpogKc0aoUcM+yvOU+PeTNcPEAre5FlaQapzFG9
kX2QogK0nznUSSCcOwJyK3v2d7wM7e8R5Eqve57As/kOQ1jJ0PIaYVuvFz/LbCcG9ua6CcHy+K7C
WDX2aET4iiYNYSeKPlUxaAKW8VM79juqRYYzl63gRK3w+9xH/Uh4zjylxgResehY2ARoZtI5ULEG
rpZEoMBe3BwcKiinpDeR93/0mY938pndPizaKp6xWrnv7pQ6czJSeFkleFFtBj8oDAAMCT4OwmcA
Ix0sKbdgRVEgtz6NHjVKBzQP13du2wrByxQYW7KShdFCtbKqjoEt46eRHqssdUNdFFv5J8THRhm/
jHCxNWyWeMDAFbj7x7S/p3O769Nqj3n97qB0ys31FW36InhZFAxVQUZS5070ZOZqF1GsSIlAhh4v
oyMP6N2praMnpS+T5K7NRHnMaqz2Y4VnRrnz3bSkytuRGSUpOcRDL9cu7e3cN+racJQFuNKpVE2/
NuXoAMYICWN6cnKwZTrury//o/W/CjW/fgo/4ViOU6VLA36KvMMcc31YjiQAXAhVp2B6laBnUn+L
XlIb70UGqU28eDpIf4h45b4G/7yJoDeAGiT2G0oxt0m6qwvdRZ1HEHS2z//ZSrn0YKbZbNctVtp7
0fP0Tn4AfOFot5Vr3Nun9B4RwHoTE/9snRjQ1aBoBEoPGaj0y/sJTBK2lebIJbOsvh0TkF91mbm3
aS0CX2waAsYDT24Q8YAZ9NJQIw8p9BkQ3tKh9O2wcEG3tctbUYNz63Ci6/KfGe6+tRQ0LE0N65Gh
NKelsT/mkdOErzn6Ttddc+siOrfEnUy8oZRhgBIxeK7Mr7OkPip2/hfh7NwEdw61yQ4NdJKQMdYt
aKUVLajb0XC6Mvevr2WFjGE+fmaJl0IoATKkYQVLvRePTv4Iaz5GyZTbwiX+/JkYQfWY+sTLWkd9
vm5b8B15TL6l5NY0ZuzeI9anBMQPMU1f/9QE7gObqJhWhkDJ6mFWFYuGGkUOCFNcy88QR3rqejv+
ct3IxgGGFYIanq2CtR0sxpceXpFQiTQTVlovAG+nFH7RQTkJTk0KDYt0Vp+pdDLc2JfwsBEEj/U3
vDTN+eLYJ0PVhGyBZFx8eWxqHyVaKxCskD2OLoMx8D62DfpCW1MRLjgzvWpW6iAZ6Doc7RuAjBSQ
GrU+9dXRVfeiQfONW+jSGuf9JrrSE/6LGHx59k2rIOJD9HOn+AYFXZOoOr+qJ4HXiI3Jga4Y/qGD
yOty98C531gNgTUo13j0uIAtDKv7UECKPCgsen/zLc/scQ9RIywjO7Zgj6kA0w8V4A4su+OzKiR3
W8dEjLswhRpTxwlA8f5yaZlZ2OjgghQqsaQQM/sVcTSlqfc9/rcrh7QWlXt4vBH7lqj3yESF0hFI
0Zi7nqWUiT3IC2lgEHyvTxUFTLLqFa+24mMlQfsT6A/cpaE/KskeDzvBu3EjlkGuD6UdXccECdJN
zm/qeFwWSoGYjg9dtreWe+AAon0eUAcq5j+aF716qKvb2WOUwqKJAJFxXmRVshoaKj2Md74cg1Te
eFbChyY8AUrj9/spKDAR0YyNE8d3Y44xIF2MwVrftGz9qO8BNYLPwMvltkCnT3FEgRiHgLtNXxkv
igWWEvpWdICylfcQR8I4pOAK+ZhD5ILDhVkuf2kX1VpGMrGVUxygigAHXIzfWAw0PRD8FfonTPMU
ULquDmga3RdB9ri8lco+SbxXMU/Fqr8HJ8TvgUo5/B5VMp7SsJr00DbHMXYAp/LYoBnkvk6Mj8MC
Q6T8STSnuRVAzu3xKLFlztDYGGCv9+wdwdwS+vxo5Xp1B8xi7YoK0qL18cAdXe9KNVVgz7wzPmOu
lqmojU712f6hHvV9EgjJdtj9td7g/z7oCjLfDrLVRjAI137vj8ne2ic3Bdixwz0eqPfpvjkVJ0kI
nt26By4+LPfessmi5ACoxdAQL57ZoO2Pxa3vx92fwwk5l+HHI0dpmWy9gaUqpqUrleljGCl3eYuh
ouvRn12Uq08JCiooJ0Hcz+KLGGAe7uOiwhFd8CAIwjB7ATH/D6lAxArL1uuzFjqUuf3HBUiciDOr
3JUzqGpVptBxcCaaop5GVEgcOTNEH9xozESgIW0jWbiwxsWDLh4yYyywRrQ0g2UJwGSqGGmg+2Ay
xSnMv2k+uLD2akDpt+oA/vxnGeStuurY++mYfEEx7tAESe38Bs/99k9DQohmDmhfeGRDTsq5LaCI
i7u3PRTQHW08qCC4RVC6IoDRtvcCPPW/tri7EHwpyVjGQ+xk6YGBf+IA8Hp7Jwe9K55q+egTrx3r
lzXuqp8WEChWFlbW+Fnj6tknZXC16ktXPxIQn2pudk+a2gHSE6rcAZv06h1wXgPAiMZdFfszJn+z
enTZ5ShGQGyHSDRf0YFCJw29BC4vIDkYsJWGucTkD9Qr4Au1Hz4g7VlwJYmGRjbyHiAtfpnjEgE7
i+cmt1rm7+1nOio+AU1Ap30zctHA6nYw/mWK5yuyyqkjUwZT+q7AU92rA7pn/OV0cavHygPfjeC6
/SCSXO30mUXuMGttP1T6DIvsurGkBwpkt/3DLj5FeJIu1rNlxcAeovVa4CnHyBDmoL7P96N6J6HJ
sTchPpJ4qMfNJzp+rxfwBjqj6VhQIwNZAx6z1DPek89Sh57d4/ik67hTxIMR2+nS2Sq4IIE+VjfE
KVbBhE7bSX7W39ivBbTp2OtfrHxfmHowKgdAAEHb9XeH88w8d7WkQ9jPKhitsG35Y+GHhyEAQzab
YxJi1lZ4gI/LhT0NGacVipOcrXkCyj+hsNUiLasxlhhrKOL5xUduVhefFO0pS51c2fdCitjtg3dm
mwtCnbGUI2k/Dp4SmNLpf92zw/NeuxG/ODZalLhqzgxycShZzDgvFhhkOaikv/3MQSGr3Hnae/+s
mY6YCHcljsV/YRYPzp4dJV680Fr6+ML9kepuMWtO3km+/Q1ACMgJlE7+XOcHU3qtVLrrHsQJhHCT
uRpAS9K5Q8MFSpK76S2HZEI63HYdcsHIJ2DhaU1MixrHeP6dhHczP2PKeIz7Eao43Dev5HwwQxuD
EGNQ3ZdwZ0gHE9fahwcAJYOy9Cpv8qR3Xfi+3D7FZ5a5D78UA9WQS7DdHj1UMCe2B/lRNrFwistV
DuR6dNTlxIZ3xC2h/497/1o599XlpunLUoL99DBA54OFXtMx3tOPmRNRrWWFS/vpZr+scbcYCDYr
K4rrn7F+gI7vEJT3LMUXtd23vYloKjATKsRK+JqpFDGFigqWaBDuvs7t28/HFEaRFvb/nwBbUWVi
69aEORDOoEuDCRAuVrQ9RMkt9DicwY6bTzZVWm9pqHEzkEb37aVLBTfZZoakYbYSeF5wSK2YQQwz
1bUwTGJHy19qCpGj4qVSoD4/DqeowpjlZD2aZe/q2pthifh6t87MuW1uscuk5GA5h+08PS624k/S
g1IdU/lpXogg52fZxsWFjYk5jeH7IF2pAQLKuY2a1VM2l8b7T3ltVgsAznQvpBlbrQhDcxgWMfDy
hdvYvM+EtOkaZUSFwRzbwCybh0q1T3Ku3gAjg/G1cq8n6pdy1u+T4SUqZHA3HhoZBIvRo6kXjj5Z
XghQRFmeFBDBkdTv29AximOcPefWXkXmWCmYxCNfi0kGuXUMGpBdKCvIOAyXidyOEgToYh3QjVNi
0Z0cSz7RHvoOlGud5prxow34MC1sr4BiO5mfctUQ1ELX0QCwUcDRUOiCB+tA41xeA1HWgqPMHpqP
hwe4d4M5vUWi62suqGUyl1oiB2Y39+XOXhjkX/6SPYZ2YsEghYYUoIXslGLG1Ecp9jenFVcPmMsl
8m//scukOmNLhDMBcQf4ZO0DwmCjRSxmGV0FBM4Yl6OFRaV2TQaPgoK62xfQaZDe5ng85r3sXX8W
r9NozhSXI02tXYfUwLp6j3qp5vWGzzIH3TNRsgQolODNJCpcCY1yMaDMgWOpyYfRCdPAqKM0vgXV
UKYLkJ0UsPYIIsG6qYlloh9hAGiLAQZoAl16aK1qdVYYI7hvb6YFw9azWzxDwNs1Ux/+iXY/06Kk
JZ6kyHoxbT16zafrX/oDfcr77PlP4A5JQ8dYNkP8hMmVHqYKeEaXerrbgcvSMb05IMCQ6K7kd54x
Q9xu3itASP2GWDVLSq78Dv7sAPoNIHs8gfxqOqm4AFLjVSX6+/XVbm7x2Wr586J3eUNn6WO11Esk
A1WIZc+WWSwkYAodmOY4CGyuArEKalfcz+DJBR8pyuCXm9zJOhBzc9ajcz29D7fa43Qz+fTYYaeL
OywYWNL4+XdausxfLz4permagro3fExB7ZPz59mYKyOiMAyskRtWkpNOIhDOOsYCKYkbhsggYIQh
i/NgaW5GG/Jj75Pb5kH92O3K3sFbErwWCHniYufKSyDxiAYGOFd/6rhwIWiM08Kmmf0+GoljhsQx
6Ne0tATHct3A0xjCAqBiiI8CqkK4DzeReKTUyiIHqavbZIf+BUQTp+S13uMtjdFzlK/nl/EVwn+C
wtxqx2AYW4WRCggQYlSMWx5ImAolITDcYlZVf8j7V4Evsr/gwiV00M5hSgt8mRD4sXgIQ5O1EaOw
gAHEVTt3tH2PHBlxBg3fHTn8+bv64xFiAAyO+Q0bNN+Xvl/Pgy7PJuylKNkawDCAaRVssvVvNLfW
6Thni/t4CWg0JQM6V7gL24MBLVVtx0iOf+NRu/JCzhJ3O8XdLKcoa0KNEk8r0u8H0KwwaH1/L6vO
uGvvhgcxce06UnNWOa8ctRJISIL10UAJdDSUkaxiF9FhIP0hD7IdhCn9PnpI/fCH5ub7PnMwGScG
Aa/f9OyH4NiDjRjj2Ihrl5uK1N1K+/B/ls/UFEmBWT8Uap5Z/Kz85XMqmjVavw1gU1NMlGmRyAH0
zMUZBO3QxDwY29zivrmpgC/sHdtpXlRxv3lrezVVA0EibmfG6Xm5viqWWzrHU+SYTxOjZ/QTPw6A
Z7zB85WxEj6Iexur1ApHEWPXGEUB64SCZsClSZmmeE91YYLkRgK/+QiC3iKIRaX4VXiBcBmg1Xi3
sgfWSrlH04fUSCmw1GhrOCauHk044cpc/yLAWCx64bSj8Qh1IJ1LJzo6ZnKZxQAP4vX/hrDp1adi
B9oYL0XdIfiN0t1qty4t8v16syNza5ewSE4g7DiovuYNd6zjNvow2YKDSDxeu36Qc0a5uDYsBrir
wHPsRN9sRBsV2Wn5wCr6/2O0dnHjiq4l0Uq5ALdYk9pLEIJwsrfJZzS+daBAB5gZxRBV68pO7oou
+A9+lSsbanCxrsuUJWntKHPaClIG7SG6RT1pj6qmlx6WwKvujYAR50zL4IZP4S7ZT3cKWETLA9iR
7o29UeBT4N+NQPNqfCELFagwLCCxDX0+r77LQ2nHRIUZLYgkf4VUGkq8y+ureqwB6/1ZJhLeShvn
4NxJ+dM2m3Go5BM+ZHowUe8lQXZD9+wzLuiBONBrcUWDysztV18RMgYo99rgCOQhQWmnmU1s4isy
arVh1+Nuknbi4aR1mGR+eWaHC5NyatpLocHO5FrOcsy91Gv31THe1zvRFMNqSlnlbHFH3ZqBH4ka
2IqPC7jGlP24oL93W++boxnI+ygYXCCcCtBEWV4fUIwJt7sJWhum/6dJzeUP4SOApM8zhjTxQwwH
ifWB9b/ZBK9yo/n1TiT/sprQ5JbNp1AKCTHkVsEaq3EqEGVOUU4OveluQS4V7m0Q6ZroIjLbQGWg
XcFui8lNjF1yEpXoVm4FmhhIUQJZA10mljheXhuTqSxIYpsZjH3FfY2O+BAkj/1OVEta3U4wg8QR
Uz8gzSeEcBciVJLCKbTA1CFHINMM5RhjGMMLprLf2NSVIMytohxnjFuTUo6ZpA10BtMYiNz6vYUp
xjz957rPsL/k4jx+GMEsJsvzTRyYyw+3TBUaMLSqnKQfJV/VdNkd6fwD//X3aFJCdwaBNe1z77rV
1UuQs8rdGkVTE0kH+7EDosXSdIp+oN8X0kGjKa2k+nsR1vGpnzLw8Fy3u4p3nF3u4pjqhgyFgRHC
NLGPo6r4eTgIXtabu4Y5NLBZm2ADNzgXMapWnroYd8QIYGXVh4FVZZAiiwQPpNXMsMqWcmaH844l
LvPQmjowhiL1TUDLNXxjbbTFQ9lkNxZQEVUf4mfNbYLqlARUVKPeXqZmgDEAA/Z4RV36TZ0Uqlpb
MN9V/8T1obQASxgEYN+t02YoMs4ZQGsgm+B8E1o+1QyR2dnNyn8yADMa8k+KukzWCCYK1l7BBiLx
KGODGNg2ziswcEarRs+gIz8Zx7mRDkAy//FZBtGBAUpcguABwlcueahK3ewtyVpckw5uE0Isq3vq
JemPjxWsANqlMfoRZNCclcnuzX4qc3D7a/LiVXH7tkQllLIoPSlx/qTHhogqde0GIFUwP2RmkLZD
Ze3SDYzUkBup7THfpH9Rpjej6pxWRBy+DlHg/oJSlAmVQstYcRTaIZln0JGAanE0XswRV7rWePqQ
7ObytbN6zwqzP98t9CNQLEIHD+KefN/QmkrNnis9c+q8+LeMl8ob53Z0I0kXNbQ2XA+PRzaag13D
04cLhM0iTRlVSeaMZVE/NLI2PQ3ZTETzW+ttglyggsl7HWBsxh54uU1EnsEdFKFYnRqFF9bPUwcJ
D9G8xqYRFYkdOg0G4/S/NNJQucP9gtCDlnN7I9dmUThG2WI+FsBDEYHs+gaBbDzjkWf9MVCVcGE2
mcoknPW4cKhl9q5WNK9xrj735nQa4noCagOgrut3x6ZFJjzHqH1Q5+O+YR2qUxIh7jlJ9c+y4OlY
Rm7Y7iNjV6oienSBLR4NVxhFCR+ELRoCEtXlb1lifpoBXOlC5dZq7O/Xl7a1c1gR+mNMCBSZ1OXO
DYY2WXOVFg5R0qCie6tJPAmDVX9jheUZAKAS9BgvrTTpIg221OEDkn525RbMPYs0nqIwTffXLa1P
lc2ms20UZkDIgmTt0tKIJRaKVGHs3K6i74UcQbMJKcbzdStbX+3cCncDh6YRl8YIK5Oe39rgKvha
2RO5hazRn6qBoh6CpBZrQRgEjoFXdGnx8AwlkF+7ES0AGJcOVk6fANsXXB9bC7IxyICiKP5ZFV1J
VFbpNMKMZTzT5EXuDqlI4WdlgtXHMQuCIPQxYMN9szIbSgzrq4gRhu5C++am1CY/itXdH24NZ4Zz
tUWZEjmVYUZvDZ8O72nUuGmUBP8nK/yIkB1OaTKpsLIk9kMYSpgLrA+xorz+sRkUwUGVhI3Hrc7f
RpQ0TZUmbeHMc/TU59lhVukpm4X4ORyKi5cABM0R2qACghRCV/jkoZp6Cy6tFU5b5ie0au4VyRYW
HNh9tjZiy8gYGKksj8RvEly6pl3jzLQFEE9Dg8o70aObXou8rkyDQpISp7LcsC5pYOsUXTY5Mv80
PGClIJFUAfxFARCdjcvwENbERt5vFU5tY1C7oD+qaBak5xt+DhP4kGBIw2VoqJcmqKHGEEYluHD7
5q7MXsdpfplEfACrW4Ktw2Bs+x8ZBC9niJdwG+kYHHQqrcPTTdpVA57+aX2obXogkSBL3lrSB1EK
QgMUa3g6im6eh5DG4DYv5vpftU5GsMMXoCySE1G4W+X9WBdSSYsg2wNcgb8o+kROQHmIaoKpEOlT
kdX5S4KWcYep4rb/qo+WYgpO8taXZDLYQKPghkdV/XK76sWUYrvMKJihZU/vQz9ZoBWj/hvLZNcY
jcDaulfIFqjhjBk68j68cC7N9YuGntpsFmBfSZeHodWbtzkvrWAsSnT4i1G+TfR4DuTWSD8tuJnv
FvmOqjgqodz+eaQ8/yl8ptHmJhlzBT/Fnr/OMRSA3ovwy5/HL9zEwPXjvNvokV6u1mrVlkJSo3Qk
Wc4MT20MfXHCOWmB0527ahEk75t7eWaO20tDTaSsHQi7lhcFPMhSmHzBmG2mgFVkrG2HdJUZuwue
UCJ+tlXawbYVXC0gi4fONOEPvR5LRpnI4eQSq7nVO2OPxPVw/Vtum0CBi/UVECm5+9PSui7Ul4i6
pa19ncLxYdZENZLN0wfWLIaygy4VX6EtRsOa05JSt7e+L+FhGvweOMLKEoSTdeeAfS30YcBvY4MC
8EPl7Qybqs5y2SkRotckSeOrLOf13tR6KG0ohb0DNAyVQjMEI3MLHHdpTHiNUXOO3LLJTVCV6aY7
VmPoA2cQBdrUi8TkN6MdQZEafgC4AuHuiLhv7aZcCkjWAwZHfgx4OVu5EDjJEmv+OkRGZ6ug68KN
yCfe+WCA+IHAClWc4X1Bk4ju1YPWOcNnNegxzyOisNxaFpQ+GSGiDt4ijTscdjIWem6X1AWKEsi0
h2lBx0G4tawws17WLyuclypxVaDhDT6XwSbtl1EedU8FZYA3yrT1wxYS7LRUukMs4aYnM31Ns2QS
uNdWFDBwu+Mf5Bkq/7DuJyVtFalEKWRpTz2VTCfO5AIS8GXoN1P7w2iG8HT9bG6G9XOb3KVvVNFg
20NN3fhQHxgEDSBCdHciF4ItQqT+ViQ4N8a/2VQtazW5Qsm96uMHDPHqz23aqq/X17TpL4qmIBag
/rKiz2uKLsZMaQ1mnkrFOUum2m96PfbMPE8Ft+LWghA2UePBlqE5y5+4rNd7pdYnN9YUYNX7Y6uK
xrW3TbApUMa9hgzj8iYqhySL2wWZtN2Gk5eYeOKa1BAoJ65RAQhs6Mv/Z4Xz/gxzniBQxjPKvCsP
8hvGtD+6MNFLdWDwNTB2Cm68dSeGWQQYmmFc2TQzty6UsLJaGUy8D78pn0G+Tr38ES1gaIAx5RvV
ZzJ7lqtAhPaHqbnJY7rXb2NfPNGx5S24+CBagmF4xrZ4+X21hSpVraECpCSjsu8G8oYTnu8srRIQ
kGxtJN6QyCdwzSJF5AxlUi+hIIw7HiLX0E2Mjc419fHTn/s+XsHAqn1grPjZRysZmzEyDTzvqkFx
wVqVBUMDZfSQDrngRbKeF8AOQqKbibSpwI/xBTqtTnQoHeC90PkR2jD99wKAFQykER+3ojMPbr58
jamnHlkXTRV47Oa2Md48EEFoeBNx7oOUosiygRZOqKHIGZO9Ak6XMlW9v/ieUDDR8eRiIqlsU88u
/FCbJlOTAKnO60R1h8Is/k11hezjOhRJMq6Ba/ieOIEKtFKQ1SMhu7SFpradVbP8/0g7rx25kaxb
PxEBenNLMk2VykqlKkk3hFzTe8+nPx9rBjOZTCJ5av4BehrdAnpnBCN2bLP2WlS0rAp6SonAeTcG
hcXscymI9742GUzdW9pTMIi9Zutl2IA0tTx5Fwhj9GceoxduDaNRX+swKT9VzEQ9MgQQbjEnrR3k
09+52JMGNlRFiEe2vv2p9/cjTYgPbzp8wUhRg7ik7bBsjCZirufCiOBgxWQc8+e5H9wkzWD1djaO
H27r0ag5NbbIa4bSV5S8DDLYWdrPdTvc5LFqD/7k1laxi9tp40CtbB6oJMbHRHA2l8y1BSzlXZuy
ZTjA7LntIv2hgNtuw7uuWSHWZvsgz5yJMM6PUqZGhuFZBDO66t2Fg9DYkTfoG0Yu8QpsHUGZTItI
o0S2HMBNddnrYgXpdQFpCKoj00PZAryaktwpUiYQzPEBsNne9xhWFTv9zW/DDZaIlbgfoBd+W9VQ
+1GWYK80HZAibCw4nQ1eEG3YBSqzUjMhhdl9/KmnFwGpM/MICgjWxZaOAUOUhod2aR30DuVbW+jy
jQ1d8Wmzmh0oUpoR2FpEE3BJin4mm6ymCF/90JPsTI1fraLeiuFXDdGXIspEmgnE1/nx8IWoibyI
D1eOUOMpRfOpqj24Y+vp428epTDSMnpF+J9lq60fet/XmjS3ueT+cTTnkyFFW52HtdNOyYqOGwEF
BGuLhpSvNL5lTQApSA2dJvoymd+uO6Q5+lnkBjQAoNHnqbOoMi72S605/GpIf9wIGT0u/1ap5cq5
j61/uiB12/Jw3d58lpb2KGXrFFuQVLnovJY5SOJcV5k0rHIGvBvhPp8ewpxcoK96hkWiZNx6zFf2
kEeOAvdcX0Spa+EGrUEX6iLr8Lnu6Iy7zG2/kojMIdgsCVjc6rWzBUxZ29WZood4hb6vvjzuidXo
pSfXmU3m19pBP+NDo+5WMby7wBBlN8/TtyaWPsqvL8PuSwuOPASCX97axTNrmFGU5ThfO0atzjXD
/J9AL/65/gFX/JJKERAsKG0DMoOFszASKqCCUoxO1H8KGb7WlB+i+lr1G+5vdQdPzMx/fhKdpNzu
3Ku4x+k8MCpq5ZFW808EMY+8ofTsU/F7EqMdd31xa1aphs8JD4oSlB7PrXLb8zadAUWNXhmOUcrZ
nt8h7BQz+ZuYovfZz0thlwfTFr/+itsi0dKh7aarQN1zPsMnyxXMHnqzEHARbDE3QpM9QnfmkDJv
pOEr6wPLS9eKLHEugy8+XuqZdV4JweSk/rTLzMHt02PD4UQcYZdajC7hoa/v6Hy5FvedspUiyZik
Z7akhyzooUdxrIOayv40xm9kH4z4G1dBUkTX6H414UbwvOJfzuwtLnubUze2wPY7SlfntjANN0Ur
/BrT8UGrikdTTDfO6VqyR3DLcVSAgXPvFkcGWEIpCYLMl7sPXpI/Kjmesc9vS6D3/f6Q3zZHykk7
9S46Vk75lO6bZ+Qpd9c3+XJ8iJLY6Y9YHB+pskQfTXWAcLfRn+zG/BntxYGpNCYgB7fc+/tMOG6Y
XGkdzUnS7ANoVdOkPD+xUp4FPnwBOchR4Xd78Hep4x0RDXre5qxaceBnpha+QOJ9UtJ+Gp28+IeD
ZutMdf4fV7M4NoXSx0U9r2bmhvJeSydwxZv8pn8Zj+rnDVsrd93i9aOvL0IxAgLkfOfSRBxTwQT1
lo8775BCsJC9zWrGla0/yvt/zYRvdvrm/+jiHp4ZXZyQulK9Wko5psO+fJWd8b77pO2own1W96kb
uspGw20t4+MBYn3gM7gb2iKuyAu/p+iIQ+ud4o4ZQv+ouAiCOBYA2OLV/D29DofxKGxEsqtbe2J1
frxO3GgMxrmqRT+32+q1jH4P/rOKd7v+/eSVF/BsaRcnv/JIDMfRmYG2kCHphWM+C1/UW9VBteOG
elbxa/icvVoHpiTBGLd3ZcgQjgeEm3+8uf5r1u4G02Am49ow5wHPO19x0nRDGSn+jMYyQTx7+ZNX
iVvuZW3FDJyBE+FdZNxlEYUmmkTC0ynzxxSdlgnr25myIb0RnJAYSnGUXfrY/trCpl9+TLrCJsTC
OlwRaFsujmwbhxnkJ/QdGW6+ydDIS9P+j6wlH4+asEMhBCixiq6wuVidIoxpJ0SB6Bj+T7V/ibK3
659odR0n/335/BPJZtQiHwybtKKAHqpq1xjMN7XeePi2rCy8iqrlYTdaKsl+2Dy18XQ7wn8se9G3
64u5fF/PN2vxUca8VJTYFyen9t4aA34wmoehOYeBe8nbwnhdHm5JBvpC4xmVL3zJwtiQFLrZZdZI
ey2m/gwrl7Ulg3gZn2AClDoiviAPLlFyvj+pYoieT3RDXwukerVDwWgTqb66EssQGfuHxZa49vwM
1J6uCoXRZPbUlTBjKE9ytBWJrJkAXQVSkscYfpXFE2ZlXpx0BoURLROPlSneBWn58Y9PIvofE0tt
1s4rzEQdWEU7RAda9PcTt6Yeov3kya5SlxuA45WzNlclZplFmhAXqh4yFCYNOGAujigfrU6yw+yz
YHoPo8o0uCFs+PU5ijh/IZH3/q+1JbzZ02AEspJxAp8b7gX1awX4Lhn/lIF/nwSN02i1++GrpMza
qUDHgaXwf+dnokpKmLuh/nVkM0B7szWeCtF6Baj5Ukp+dDCCrUx45ayfGVzEUXmTJJLWWJOjJtFv
kRqPTw+CZxK2BtsaEicGPykJ//zfVrk4lnKtqZ3nJ3AjxLWjNj/09iWMIsfILCcI4v11YytOkKDK
BFSri6jmLVN9iM87TQjhNDPM6qVog9d8MO90rXq9bmYluqEJN4OVqPwwTGjOv+MkzggoTeKuwEqo
B+ry+U/r27sM/W5w9NaRfxevohvttjmAL9/hc7Pzn5+YBaRXW8pYzstrPolNZJMKubFc7tVN8MSq
KaxRGULsjYHzc1P+qHW+Wk+TY83FICSKgjrcdcpBY4zo+maufTNmaGHhn0FgsHKdW6r7WsynsQCL
Lwq2msiOMOQHccz2182suEf6prhFSC2paYkLM0abDn4iY6ZXjGSvN0bjpHX1fN3IJack7zwecgZB
M8cOtvJ8MTk3SwAhKDIGQk1tcANnQKoRjREF/grv0N0EsLzOqgC9a91Knxh5Ve782+RT/y1/mX4U
jnDjN4xo/g+hFD+L2itFcxqBS83azlOSJkyywraqwvwtFUNL+bzJvxbNuDWJsrLPoCfob2tUX6kl
L/ZZyZS2sHq4UBqxstPuTe8+HuhQkqcxxpgL8dqyu1oKat8WqklKUb7mwc3kdU6KJOn1D7myijMj
C1epDHkQKjLoOr/sv8GZ/jPUwCz8DzYo7SI6xsmk5nR+Vjq/JmRXebCFyfgp1Z07+uLGC7ryplHr
oQBJGkZJfFmHjKe+qfpiHqUZjewfuVEZerXi4DXK88zhMcicUBKro5ZF2sbjtuI/sDyr7dG/mMuS
54urhklKWwuUWc3jYsb+Xdx/kvzBrbwtTp4V/3FmaeGLhzS09EnAUitr+8BU3DGu/siGv7v+tVbN
AF6hzEPECORrsaAu1qWoJhjJrKC9iSuAWJ7Ve89pm/obNaXVr0aMKAINYnBo6RG7QmfiPmBFXuON
OkxViXicxj7Zh4MsHcQQMgepkZlLNrRo48CsfTacF+DAecYL9vfzVQpCL8VCi2mxiDXHq/W/RqTu
a3naF2m05ZJX4ru5FonGH+UrovD5x5w8Z56JBGWTsqWqWErfmqAwXnspLZpdM1YMsA2JKVQOPLh0
hK9/y5VA6Mzw4uahsQnpKlfAlhSD3JUC5R76qO4YjzE83GWfHgQhKOxO0VGwSdtpw4Otfd931h1g
kfOlXLjItgqbfqAfZguGZ4CAjBg5ctJJln9I3jj8kAMr+yc0pfK5lLVg67ldN07LH+nBWR53cTER
FI99WacprJSavp8YM2kQCNESqBibInFy0Uc6ug3TfS2WL9e3fdW0SZ4NjHieslrUKjoffdwaMCMJ
oxq8JoU/HKcICtVOYGKtFvropdAHCFn6Mf983fLaseY08/BrsHRcUK0zMpbU1bsfjL7q4V8heJuE
L2NsbZyrNTMaLxN9TkgsLm5PKqW1L7cWr38GTXEu27JETd2LbK//fX1B74/DIlsBZ042RhUfGr33
QOTk7mRWkYdRxgMld+Fx0kvV0YFGxor8EigIpBhJFzmdFYl2IAbHusv/eCYgxhRig4zRzcSUfhV1
9TtP5dfCmjI0VSKBysHYOFYrajsl9wyUrcm8GXqFd3eSJHcUdOqGY/eYBlsCRmuOAAgtoKm5tQTq
+9wR5AxJSuXImWyKeLiTGwqjA4jB51jJKeQLbGhjDltVrfmgX+wgTDFERJSXLqYz6U4CIxB4G3XJ
yB16Qv2OCYHk5vqHWns29BlRCpCdoGXZJg6jMhkY0KNsVkT22H/WgrfSSDbO3aqRefgX9AVi90v2
MF4QrU98LlaU5nteL0AejTNutW7XNoy0hu/EfDpDY/P1PjlyegDpJWEQCGGj1T/JIBA/F0ypH/+H
DaPfDfSBvy7QTwFDfTSmNNFJZN2Rht+d9F1vNumw5ZWPzwAPQ1mMGVCSWZy4aEibui3Qko2FTnRS
RjfuNTVon5KoBB6TCt+AucGIW48AFSYRpgSpho3NjOR9Vpr99+tLvtxYXkFkMGYqKqZgln4Rlphe
jzQGYEDkd4FTzUopOyOykmDjMF76JwyhHkOzSENvRZx/yMkX7Lqxr+PcxGmUnmsl7aegT18SmPXz
Qf/zP6zpxNRigw2tb82KIUcnLP23Icm/j7q0+7gJsi2OI6h1IOGL8yileSwyHCI6QusdonS01dzc
uFiXjmluk5LkU4h+Hx8637CaJyUvprmPb6SGYwaDuo8yr+3hQ2ozM//atP5QOOx0bmzEgCslBkwz
2gMGEJ+IBsC56dZPJa31E8kRD+0ue0FUzh3e/K+/05v8CTotJ360XGsD03L5QJ/bXOxoJk9q1irc
8DgZZYhKNMV/8Mog/KKY07BjnF1HTtXOPf/jgn6MUoIOBNElU+q9mPgJkqZR4pRR+X4UEQGAqOFH
1gXBZ/TsIz3udrUXeW91hFQaABULBj+xUF1p8D+c9nH/ZOBlgHq4ZcvZmEyZcsFUcKRK4aU/A8Cu
uqslcbRV+lu7iJBg0xaDCJFAe3ZPJxdxShIQGh0PXhAEih3GgFN80han9fObsRo24s3FKSZZIcik
Bwe7L3tLq+jcWiEzRko6VtsMFrV3mubpPxIvhzyTluAhNQ3UdsKoca/fzsWb9G+j5OckMeifX0px
ab46aXHihiakUJ3/T1ZJVBezn9fNrK/tP2behwBOdtIycWqd1qauMco/G7M/Kr7AOMWkPIYe/E5q
nW94nSU2mFoYgGAGcYCyzpN+y1pKT6xcVJMXucrjLNuT7Y3sptFvzfRXfK8cRhcRyv6mig/JeEi1
+61G7uKt+Ld14FoEfXiFpY6DFoeJWrVJ6mrWfWHey3y8D27ovLw5jAAAA/nrUiM8HWTQt7qAFlHM
vTMtmFY1o7dp6Eq2GiP7qvnjhhzXxVF5NwmZN40+gHTmonUVJZlVoneSuvToaC281Mav2P9xfVlr
NuY2D26cE8ntPr8Ddcy50OshcdUp3BfJd6FXdl389+NGGAJjUIuxcMoeCyNZq8qNZOmxq4RRf2wE
8WcpS8Gh0vWNiGFtNaeGFg85/AoDRXurcD2kPvX0dxWjjFFtdbrXrMzhMdMTFiPoywKVpqaSmnpy
5ZrFq6TeeMVL3vwPnx7oIkjKGQxNXHn+WYxpbLI4tWK3blCgnn5FSJINytv1z7KcbXu/NKdWFt9F
bWIwtqXAONfe+m3sM5dS9qfqWO9pYR8qO9kVX62N+Ede2zyATyBjCLfm2O58ZbHfplEETtllhODz
cBc4+XMG65nxlh78QxxCNlrZ75o+rghCZ678JvcVPIT5xg5fOEgu1+nvWByVTA4mI6XQ6MZSB/RC
GW+1xHSsSpKhs89+mwksyte3e23lVPyYfoH14XKoPIj7YajKIXVL+bHJXhv5pgh+XzexBDy9f1GL
kXHQJZDCXADZ/BJ2qrQPE3ZXgecv2sd/rYdZwILveTANe4tdbREZYY9+DjwV4B/I4shSz7+mkEZT
XphmRRuEdN6qlH6fSwAuBss/SFIdO9k4fJ6ELWd8uZWnZi8meIxAE71cgYieTCYKf0mj2hZ/kx4h
1y8yQ7T63+vbuuT9/vcyoV6aaQckHrnzZUqxIQBU4G3zfgiP7U+Y2+hrmXb3KRHt6dC7moP8tvcL
34Y6jD3epW522KTNW4wrXvyIeVNOnnSkEQ19sLrUVQ/wM8KXOxMBtzfpfkvAc17NSQUA0AylR8q5
5MeQqZINnhvKO/pbfSbIjqU0TlAbtvLBzO7dAhnmzPSjkDEvQXJR7Au5rscQ+zfIJIOul+uN672I
JC8sLNYQl10chn4lO70KmvpFgv1WD38q/pZs8TuQaLlZp0tZ3ABxykmRVIWQtfMhLwVl/6w0wWs5
BPohVxXkrf02oRpV/cHt9QfUhLzj9dN5een5Xic/YYl1UkdZ7sosUWiueffecwi1o+l2zjDaogsl
3+Yg31Kv51+bq4I/ma1KFzV/OWqqthhTBdzTLLla7Ks7y+4PsyZYCfs+Wq/ODOu0vm+NEK6dTHqu
/zE8f/WTK6AytwCWHcNwN1HG+2L1G3X+i1dh3soTA/OfnxiIpGD0/b7I7aiMw9FupKTzd7U48H3z
OK8aRkHUEsrRtM6jjSTzwqctTC9ObG/VRSAo86YSVXgvNSMUZrsFP5xTmvPTyn2bhwUhpQIPsGwS
+nkD5mocoJu+mzXtYFG9sw6RTWl7c/L38gaem1qsR1OHqgi1IKfYGye5Hdc6QAd6a1Kzx19Lf7N0
llu6fhUu9xBM5aw8QFTDGpfziX7S61xI4KrKYPxE6oLB2Va4CVtvo2B0+SBQmmRwB6p5NJXBcy6i
GC0ptXZoO9Xp9gjiOe3OvI2+894yQhs6of0i7KodnZrdEDrZ7Xg0N0KJy3twbn7xHlGizoinNcXp
THQa/TF9RVR0w8ZyTpxbjhHGSt9n5WAqWrw3ja/XkjpyF3KjGgXXz6mh3cMrUUjO1Ja1aldCWYD0
1I26gglhQpyv04e6cwIvDFu7oMSb7dRMF3/9Dx8ZElWIJeFoukiL9HCqBjGWVIdBNyX+EVAg9AHU
XjeytsOIl86hFPNFaGafOwLPo0BeCyBmB1Meb5oequ/SSj7Yo523mE2D0gVkGjXqZSbh0QsR2SAU
z9SXqnyr6xtzE5e7spIzG4t7SMdeGTV9Uh0lvrMy9Pjyrx/eqjMDixdQ1Wde4cZSaIvC0Ow9tebG
dMZlaeF8m5aFYCMJKTZ38xc/GO0hcOJdnYOZro7CV+FnweuKJqcoOc1fNXK2GvZr1+B0ecuO0uDV
YpU2GO8RWhF3iSt8buwGwgSIL/ZbWcmK08QYXZeZ45acfFGSQs9mYigEY4P0mibFpxFYUeB3LuKf
7vWv9t5hWTwFMykTUBFSTDrNC1Nq3+l5G/HZur1+27ntsXWsxBlfh5vyYPm29qMFihP9HMnCdvJ+
xmhvaqmvHc3Tn7DIcpNWEMRx5GiqY7qrPN/xi2/XV7myn4SwFsz2DLqBlly857WoFq0Ud5pjRl+C
9hi3tRPy9IVb3eOVh4emIygqPtucVy42s1J73wsRMbRNI3yk2nis9Og2MIONj3YZnkBDMwPOeVrn
ovBiOVBatZEJQtHOUD2aWsbAg9yV1dru+29jVm74wJXAEnO4WR5TureMqZ47QTD0VeUFg8YMj/HY
Gm71jgQO70R1V9+J7rYS5Mo2nhlc+CpGrmqpqRsd/tn0zjdhsLeaz3Lycv1QbFlZOCzGsYMCNmkN
ah7rh1S2b1kA+78mb2zfyulmMcRatHMg1F1WDEc/IRHwK81JgZV5suII4T/XFzL/0MUVPrOw+D6y
V4+6DgwEv9jc1ExWKYfgWB22FMvXXAXsRyCocUkMOC47nLUY6JOY1Joz/Jb2KOr8bgJXdgKn/esV
9jwuKhyKXUBRj4QjdvFc+/5YbHZh3pHaF8s9+RmL75b10Fy0CcsNX6ODfAhoAHV3wpFW+N7ahw/W
t8xVjsLO24uI1tnqo2dXNionD93Os2cR3E2thZXth42ZxJxOgsl1PL8eVi+HehnDUJQF5ApgGyab
Ed7d4Gfpxr1fcWNUWP5raeFeiq6JfXSjNCdhTKL1m89GozxHUZk7tZpvjYovmWHmqOTM2sItN2Yo
ZNRzuB/7+tZ6jJ7SYwI1S+jklSscZvnrrXh29YTBhDoXHuj10kQ430pVm/oAOBSe5rn8GbyMu/5Q
f52lK/L7Wa8iQs7ld/8tecif+sfAcLJddLvFcbzmFSjOYX+e4L3oBsGWAjF1rzDxnTC4NPZ7w1Ju
BnGLXnYpC/Sv3T2xs9jdViVUKgZ2t9mPTifcziFFfvCevJcI/WcU5NIvjfMmPyW25Fi36V74vjVp
t3aa5kdEfB+pBX9xvtlT0ydKbli53ceTaLmi1dK9NMoqSG009creNgtt2mJtXfOG8FIAZ6Pfdlkz
MDIxBIvpoz1i/ZTNv3G3kdqufT6ovKjIw8EO1GixrcMo9XFuGIx6mkZ0V5pU4nopDPdaPCj76253
bf90COHmv0gClz2TGCkpOUhiluKT0QqTa3XqDRAXRw+t1+umVld1Ymre1ZN6BAQoljEWmKqKF2qx
sDk/6uMWld78qi79KvQzdH8AxLKoRa5TwYIE9faMP5tyqHvy+Mn3ZO+J9mxvp0Xk/bCSQns0izI/
Xl/d2kaeGl6srhamXOqLQHYkLxr2xZiHbg13hINk3OB2Rpt8uMQCoIkhclEHHobc6uK99DWvE+qw
l8CE6Qe9Q44qGndSsNUfkuYLdLGhJ3YWYcygVbEQKwN2etS14l95Lu1GGUZpQ3mwTCAm1XTvdeq+
EPNDVmwN7KydGUo7fEzkZOWL1FX1q1SoO0Ny2uQtmSEZ4X3Tv1z/cqtLBLKID5yVsDRzcd38clB9
i6KDLVLdtKbUrXSZJoB4O/TCm1e0dh6mjgjA0NZq8aGlSnH9B6yFPpCSMv5IBZI22eJTamOThD1+
i9DHvP1X6IOq8uHjpXAmLE/MLL6kWsWjNkyy5AxiegSOSvMyO1xfyVqCyUwEjoQxO0oayzlLQIgp
aBpdgo8vfDD20tE/eF/m8dFoZ7lbL+3a425SG4PHkVY23cvFS9s3SUTvdcgoLqY7hJX2Q6iD65Bg
0hGN+pMx1D8EUI1pBppaby13QBmdIsgg3AhB90ky68/Xl7/ifN6jJ9pxEHNwkhYebsjSzphoNngm
OoN6wt38kvwyGaDzJzQjtwCiK5cDuoU5p4E9SCQqPzdXgUuKBo/OgyeOofASDoYVfKpM2Ph/9b5q
jX+vr27NHOEMahpMe/P0Lzxcp0he3+QoyMipDjtpFxWfrMjQ36BfbTY6+atfdgZA8GHhkaErd760
PPP8KRIKmSsxK9MOdwr9XP/r9EBQgbSS8CRsOIH5ji3cHJ3pmc9lbqTytp8bFDK10UOvlJ06btAb
G7wvCiPgdpkPjR1oQuuq/tZ9XL0ssDHN4kaWxEFebChTtmqkpjwZ+v3gTq6EpKLx8Htyiof/D93I
tQWeGpu/7snrW4ZyWk6KJ733OZob3fF3COvCgRAf5t6bZ6Mb+Zjcb00lzWtY7isEe+rMPES2v+QI
SDXwR0PElWjhkenNr4mxESutG5hzepRekMJYBIBRVMfTKHIJahMgdPGn1I7Xj/1KV4wIGtAKHdMZ
RLys2MVMEYTk8vBaDVNzSCqzepbN0tr5UZLvu6Rm4DsEIls0tbZPQzn7ZNJJ3si/V6KLs9+wWGUm
VmyvxfFM/d5BWeQgM78RJ0yYJVtA47WDAi+OSamW5gMH8/ygJKWnTA36AIjNCjdi9JyVop23+aOq
gyHTNiCQa18PhBMYd2BOc3Xr3BitL38yB8ZDEsPsDn2StPetVSQbkefaC08m9A6oekdoL8zoWUoJ
HHwc7sT6Njf3aH654Z9ZJTjYWNGalzwxtTwtYS+MVl8TTLRxGn/K/AxFYqMrbvzR2Cp7LvGjc/rF
skwwAywNTPjiU9VWFptD3UjOeNvsszv5H+jQ4ltrp3+ZHqTD5MTFzEfxqG1cufUl/tfsYjdhhzKF
smGJXqUhyhhrzR0EY+ohrPXxeePyrZ1GAKM0FQDI8uYs/LIo1LFP70Jmdp8n1PPvgW5DFWBbu3Ev
76vPaWf76bt69oe5Vd+3F2APBWU4A8CfLHOJQLL8Ksd23VjPkzgdTFlH377NNkL5tUsA6mQm9yBo
ughyq6TotWwOY1oZHkxTumMzNyAEa5+MTiICeszgyiiwnt+z0bN0pRYG2REFaxfqLXNl3W1d5O71
z7VlZnEy/Fz0Mh/cv9N2BSpoRZffKrEV7uDH2PKIa6aIZoHJI9NBf3ThERVBSwIfrWAn7jkaQrFX
S+SpxnijX7N2/k7NLM4fajMVvpJnMw49u5ZuBKFwM81zSg0XshXQzV9h+VieGlscOE/vYz1WOXA0
f/eQrttGep8ad/FY7MwKFuH45frnWmtGcbRnxQdmmZiYnjf5JChIRrEe+hi0xUz6ws2yw9vuV7GP
9up3+aXZzYrDo+QYTLVs5ZUr+0q/mQsDf/LMTLhYKh+LAbGZLDJXMvl2UoZvcpV/1s1S3llmuzNk
yTtsLHZld9EEJjLnpQSPveyfBFU2MY4CKGGs7MJt7ljvQXKjR9017sd9e1e7nm3uK4jD9Q1w9jsj
5eLDAuQV31WWmWNYYq7MtIz9aibtk/S+dit6RftCoN4cMgZjd0GPvgxCjJlaxm5ZaJ1tZlTwjYGi
XaJ28T4wimjvlbnlCL76aqLa8jQZnm8Xfc64t6RFt63ou2gJGaTmY+o2ISBYHXZqpg+NR7NOEbdo
v8Ii/kUoKri1Mn+wJ9nbC4b/D62W+EDfmZH0WPBdA0DwlJuvaah/ZyhmsqU4k45NplLPC/3utlAj
ylKZ1toUNn5FbfElyvtf3NDW7WsqR1WawxKS3ieD8rUbAqc39Ps0ap5CJf1bJ6jdZjFU+wQysjZx
3CLxuQ2qp7jW3pqiQzBW2crJVvwEHhxaI/IIylvLcCYo1aE3Bw+yUPE5nfSD5DNUGzUb8dmlFTIw
SD7oMXGRLly4CvNApwUzKVUS2J3UO174ZOUf1Auacy7ODlgXSGaIQ5cTTa3lhZFe8wFGBSVPBwE7
ChNqkCvthh9fiSyo0M8z3dwURiSWcdkkDrLfDxmN9sfg0PzOblQYzemkNrc9k46SrR1mjVnlu7Lh
kVb2UYVujiYu5U/lohzZ9WbYWDE5ptUNxV9K94xr6UL+RJRIOfS6Q5gfo/NLyRqJ6aGLoH7MsPDC
+VkiGk+dqThqjhKznvyuSyW0Uw+uK+J8odC+TJOn2WncbXiiLcOL5Basq5olFd1qqTBvJl98KYLo
KPXKQx/ld1mKkLYJ/04TizfXF7y6uXhAnkwTMpplvkmoKFuJQot66L/Exr4N7ybzw3EGe8pQDaOQ
GoWZJTlL7pOoTePMsWea3n5qmh0TTjdIgGa7j69lrgoiNGFQ+lmGvpk3DInfwuKpiT084VMqvbVN
A3YXXOnGmXwfiF8cFEJalBioML2PZJwfFIb0ymagvknNYwpjZxKG0LdFb2h25ET6LlDk9GHoc8M1
giigLz8UTwDEypepy5pDkWsC9NEhs7fepEfPka8kn2OLIR2P/xk2xTTlKckLZtuu75B6ebwZ3GXM
iXedCtnyuYMCwhukAYaSNB2NXWcJwzGpa3Fjcy4fVULWEyuLwJIuRuMXIF/tQJhbqeYPKtavhY9a
6Ci9WWnh2cO0JUS5vjJiB5poM1nOInZoRmEyEzGlu9QmTtuUdHp+X9+7lcCI1g4DeVSeoFO68OdV
pWWtZoSmo9mda3wRHpmkevNvY6faZQ/BQ+8GR9nO7g33ut3LNB+ztKYR52FU7mJErvVCRW5bHnUv
5aGSD2X+tW40O0y2prFXCmzMNc3AC2peDD4u0VqBXCtKo9GMmckwrc4un+uvwT5+R9fXtEV/bBPU
rNS7zm0uzkpZhWUtJPTqhrIbRzuv21+qFiiuCAIXpSj+DY7RJkYLbB2ShJfIAHDQdloEidW0RVSw
stVnG7BIVXj6kiqZN6CJv8okRArpedlBcmpMGxdx5TE9W/eyJDBWfABDn025UWfLzvRi/YoEV/oV
HtKb5iHRbOkrk1fbx+nyopwbXuRIUxsPahhhGAdKoB1/kz1v46ZsmVjkR11XBVLgRTT1omRH7HLT
FuFWMfjSx5wvY3HfhbEMilphGerBP+a33RMZuRPuTFfT7Hrfu7PES3Gvfm7utwL3y6kixv+YAYRq
m8ofmkaLGMEMtXDElxeAd+zqLn+YKcDCv/5BJQKiyXHsnsXjFtPvypYS/XDMKX8jPfnum06SMl9I
QcSKDaID5Z9+qGxUNDdO5GXyNcdX/7WwuIhSNcaNXzEilEbInyQPo/ZUKJpjZY0dS1tCyEvZdKJW
NAUp8DHZN9OkvxfnTtajj5YITns0mXLOExum7fizZevwqN50n7rb8KV4IFbe9fvmtb2Rj5tV9pWL
PjM/EJxr87Tjkp26TkpZ8WMJV/5l3OUPxT6/Tx35xXieJ6zhb7txhZuPY/vBXcw6KEwIvpOhnEcM
npJHU6TyCcsOQSpdtEV1A9y/MrdwbmLxDRtD86aKySmnAnoxgzn73XAT7gI3O0avpu0dhedslx3K
T1sh+ko4dG554TnbLPOVPmVDG1d01Hv1Wf3cO3OGEMe2/wP5nF0JuXpi+077JXS3nsi1s3uytdqi
6ZV6XaJ0EdZjGZmzF0180v2jaT425hbTy2W4zDolsOLmrAAM7PL8I8pK31adwtPU5om8i4cmeoYj
N9rLlbclxLWCTjyztdS1LdOsEieZO9Ls9cO4C3Bv3VGHgNc4qHfFYev5X70Tc9tpjtb5++yCTq4k
escSgyN9YWfKP5pGJNqgdvQSRc2Go1m1Q4WH3BspeQiJzu0MiKUmVquazhQLO037GkvGoW2OSfRB
UZ93HwM4kS4oMQ2V8IWheMgCYYjwaCX8Yx71smSL43JtKVBYgVxDpIOgfLFlSikNLboWaHqND2Fy
8IKQAcufcrNRW19pVVBvxjnjqMj25eW07KhhQ/JxHd1e2cMcFd56d+mNDAUkMlRb3bmVyzSPMZso
wsCIQDB9/n2UpjeG0KwLuxCgf4TqjFQlyks4ZpqvsA9VNlWtYX89xr28VhwGlXY1pHiwNC1rjnLX
T4KS655j5r+l7FurCS6lzg+nh7MROLNZFLRjS1ZheF17MSsND94Oinp9jtIT1OuZ8OHoBzNku/Cf
z3WEJQhHyz3kY6GrdYapDSG2FL+L8Axd36/LcODcxsLR551iJQN6SBSFAacGFNLNYZMcf8vIwtfB
tsv8SM5Cyrpwu6n/ImfT8fo6Li8Q64AM7R0kRRFiEYwWMtMAepiVELLp4g/Up9tjFUZwG0gTbBxO
OXbSFvpzdVUnJhfBqdz7Ri8lluck4z4xdDert+S31i28Az3xCRdIvY4OnKjE9APilBOd+7lxkLpW
+rAbnbfuv1YW1zRLalntEtVD/tmSHWVsFDti75xGq0BWTsKWVMLaFeWNZewKbM1MKnruFgwx0NJR
5MhlbfQUDwI4iAr1V13vhI3DvWppFiaHTU2km7nw221VJ2L7/0i7riW5cWX5RYygN690bcYbjaR5
YcyMJHqC3n39TfQ5d8XGIBornY2N3QdFqLpAoFCoyso0UslrF+0VWksffZW9oxDzdnnv8T4ThXag
PqtB7lyne3Nz31lyqigIbjinhYRidhNCcOb7/2aC8QQiX7IxOTBhydmjtGZQBtcEiyXygvksKwS6
rUlNJEQCzGqTPHsmRXr439xgAwEAFms3x5JXYaVyZQqrWv7fPgabwUlxryU6gYk0aR23Kp0HKdVF
HRd80POSHar9vz84S4eTNkkCFlLYWJoWSKws1DCEAQ2jdXr4n9aLFaAu49bWIcIneZGa3OhVp7kl
2kD+ZSOfr2nqDVAS4DTG6A8LajXqHnJqZiZ5elY3mAcld4pGbi1JOVp6cpPVf3FDb83Rfbg5LQkx
yhIyUziULflmKrEPba23pvlDIibkbOde0diwMVNqOsjyy7kBc2L/kmVr2He1YDdzwwtkUcHrhXEm
4LvOTVRl7JikkBu3n4lP1i+O3ew1U6Stx7OCYh0ALMijKGEjY2XtxgLdDAki5JGbVxhT11Dm0XPB
8ec8EhCSf9th60iYJjK7TungjT+j0zQDCWHIbt1jKtlPQNrj5X6J9mktuH04KSnsAh8LNDooDtDE
PPfPnCQiJwM+VG3WFijDHLXSXKmM5Hs9KptHo1X6dwJhvMwro9JsXVJU+VXe15C4Tw0nE73LeGEQ
cGAwKuJhBswQk0iA/3JZ6zZBm9ae7oHduMkWwXnjPK7h8cYEkzisTr3WUZPGvlbdVdZ+CTAcfWd8
tQ/6nYlC0K1zk9zaiVte60nQC2eUeJnS1jpz3RtShzJptjTuoJiprzbr6GVD8tgV3WPc5qJjyN9W
G2eZQ5LbizmuC9ZztA7Nr+EFMK+A7FIPrdjJV/0kEE2ncArB58vLnPwFV7Qx0C8IwfnbBkW1+cp8
/iAH4hevIjwWPXzMTQBqPzBZwkPAa9gKnl7lVdYbWMxOeY7HBsKyaeP4Hf5xp66a/dJWFhcEOo0P
6EwdXA7cnMgA45gjx5uOgm+YrdrKBTqYLU7ONEwPUJ54k2fpoyK9oBjEORFnZpjtCsjbCrjsiquB
wNFpsW+adf1+2RUOTQBGURQQ/qDHDWC3zHy0vEko1XEkASsyBVIKie34oX+qn5Kwd6+vyegC5O32
uhsFw55g14hUkDi12PMfwCRxSz7ZrVVJ+AFH5yl7jmOXEu07gbLL3voXgGZdIDEFkYD7ATdOM1md
noNE1OzhNOpMyjp5mvasC194vHBztrRMgO1ArWdmLazk6Da1z2vkRi/lMcnCafa6m3a/hDIUqPZ5
72XQiA1EBWe+k1AnAVU0rhcWozvKeIVZObbPBGoWt+qbwZvr+BoKsY+X9xAHSkvHmYAsBasiqg7s
zK+DBzM0cvAJ5eOpyHXUD0tohvLV34SYM0vMks7AffTDHAPQ8lSnLtVkL3fm9fTNOYJWMxSa457A
jWNMCkBGZ1VrGY7Fb+qv5a0Dutr0yTWqoNYx9vS9JBx++HxJUMJhDIuAkQfdI1aFIq1BqaY4OVg6
AIEkynvifKRq52brH2frWzsAnpxf/trQZ628aKlfrfCuiu/LuPt1eVt8XrxzE0yUjIjRZ02pp/6S
KmEjdy9J1H35CxMOWukoCQGiw9YHrbmVnaiRM1+f0nCUopuhNQXQB058wo42wDICum4kJ+wIgVzK
ZWPJU+pD8tzEEDPyhp/FXRJ2oek6iVfem/skKGVBdvb58J5bZZKFSMfeS1RYlZfat6JvDbi8GxEt
NKddfG6FfsJNrm53Tt/NFqwkB/T6yelAxS7IIzqMZ/i9l4aiFsrnexsWEW9MoKlQ1WUHO9GfMtF5
M+DXMd1rV/2+PECSIRRxa3H2Hhi7KR2tAmNABp47hibZbPUqaAMX9GyCAmVLb9a04PLu+/x+Q4UV
0QFqMZQBkVW5q2TMqCaOnfrNOrh6+2TY77bdeONYuqYtajfzNgTmIFCoRiUcbx5mQyxFM7fdgk9V
Du95AjTaCi5o++GyR7yvA+gNSDAx7YVpceYuRguoIM40puBva/87rb8G4qkV7tfZmGGuX6mkUM4O
ZhogfF5SsHmHkPYhAvw1d8VATklRYACfsXrizQJ8d91YcKZfMfuzTPulR14/RILRAM49j32wMcSs
WhJFszyOcAfX30s9ukbia9+MMAWupML89K8IbzgMOdoQg/9S/GwEAYpzY2iIS9jnSEllIOrPt7rW
587Q028WD60fo6mstseqeMrSn5f3BuejIfphOcHyDHAJm3FXaSrVZWum/uQ8QZABUq4CRzgdZfSU
0ZO3cWgxtSmzh3bOliwz4QkVHo2j21H11WD6UoTzlePl10rrAqzVDBgUW65MqK2KoxNny2x/wSnR
2cRDScvlVBvwC8iKHk29Ws9O3/jEmv/89sXQFBjQgT7A3CJ7pzRWk0z1hK25mpMHUR9NpA3P+1hb
A0y06Ocqyx0CR4yuUoKEJHEwZ/GfV5RQ7Nm4QX/FZrmc0swnrYcVu/qxxHdESzxHlMVy+tLnRug3
2xghuPuTBlIZ/nTsCrdroP3lFgMuYmjQ+x+QFrbd6bpMAuVXa7omODREvM28WxJwEcBl0VSFiBAL
sAQXwYxcHr8A0+1TEDWAqUBgAJiqxHT7twyQMUnYD+elHVTmhYrhAQaJIadzt6e2go5GndagSbUT
qt26Yo6QQrkKzMS6tts/ln63CluH3I2zMcsk2FOxFnKbqqk/NB9VHru6EOFAt975yx3DTciowBoP
7AhIo88dSwsciT5CBtD6Smi/TTd14kZ+7g2+4o1wcvZEW4jnE7quVPkC00bg3j63SOJFNQYHV+eY
T35DHvti9i/HRroqrE9bC8wNAFkpxGeQHvlr+VyNN3F27DIbRAGmF9WVN6a7y+Y4pTsbgEIkAmjv
WnCLsQeamb7T9JSceFbLPVXwHsLsEePt4vc5rTKwvkHYhQ7RIlwBuXS+emUPVp0GcuGIyqdhEq96
mq8sIBiaMAOZmsA13rei/SkNZUA0dFh5xjVvMmDldQJUOnnGmn5LUhGogBfktyaYxWtya5J0vS3w
Lml3FgbyazzjOsW7/I04jlgg20KCiI0OBm5mm1c5NPv6Ts99qK66UaShPyoFf2FCA12Jg4cJJes/
/zJ2Drb0LDcwXIKZk3b+sDF6cdkCZ6koxuofC0wQGqlwTIrmrq+q5TFOyTFpr7NSVD7gLhXF4YEX
HYUoNlnvDFuOlKytfQO0/PZx2oFL59G8T736BYSxHpDA0o/LfnEtYrSWkhpCvoXtI+XT2iXzmtQ+
wRaYivoahZHDZRO8AI4nKVAKyNjRbWXhzBKo4yADg1m8LuilI5iKQZtg3pt3NsiXk5UOYYVxKKIC
5H0wJE8YsaDoX8CNz7dEbcdaDOLtzJdlCBZbN1D6cYflp8A1TghHsRDPHopkAY6aLu/mSo6tIXGc
BVYWaMSAS/P0bkzAvpSYV8m+vyk861lgkuvYxiTjWOrYUDrMYRI8rUqo+RSUZvj2M2roqRd7MpQ6
0Ujv3v/m8sdUGqY4wQlkO0Ainfs6LZmipW3S+L2PqRFKXFx6UdgGNgqjMgp4iZDliR5bJuBuLbJJ
aA2NP2c04tIfqp+VlIJ14iVrV29cRDAhXmIDS3iQg+wIaBqWRRu31jRkqY7yya6jpIqgDQApmUsO
3YEuqRiYxDt3wCVRWn2M6gGHf76YY2bPTYnpJj/rlZt6QW+iXcLLO4XzhAUUBbuS0mRhroOpOs2g
PwT8D6v3nyesFAyhtBM/YbnHG0RvuBExqUBhQueuKBX4stNRA9/6lzVcgvFQ3zm3qeFBI75wQbEe
FIBw9iISR05Xh7I5/TbLrGBvkBVUHjA7ecnzDHqHHX7BId5BUuQ2MdxlnwguZL6jOOhQ4IWvn4Bd
g5QUerMiOlOYdjQf4mO/j8LxCFloLwdXq2djLhjTpP6ff0eaKDogMD5NsZ6v7xw5HVpkSuYrbXS1
AhnVtaPfg4cWn90bompfr1LuGpFIaZtTzMYKW2DvAACMqjgxK9xo09y1KyYti8Ps656yp8Vs5V+w
uXGPH2yh1kKJbnAIz11MkObIY4Zv2Yfjt/5aDchDDPj77Gk2qHVyH4yP3uVF5UVRKgiCqUlQiH+S
J3WSfpKT1sigGraPIV9Um7cULvq/GWFOBpgY+7ItFOJn0Y2lZC4B+aeRW39lxQagEu150Ggzn2nJ
7WZRpK7xu3pENQzIbJdMUNXJ2lawaKeJQTYggx8TiClkIghdzN2TQ1Unk+2pxJmzdyboVX4NR3un
v00NhqsbL94PN9F3x0sP1nHeoWyvG2DUQgStMXMsuo94EXT7W5icrzJziFfE2DNx131oShlWFhHM
xvPqWSAIQWUT3CSIbywmNipzgKTTU4xRj/G+knxwUdR749GASvo0upgjwnwW2nLdFYbgDMFVT3PK
T6u9sc6sdjpmhjxKKi6lrPWy8oeaWi7VP+m019oScWhz2p8oNYGg61RWpbjV8zNo2WDKw/MG6Ejw
9BxW3/TIzYrSgnpfolcOufYjRhjksIOGxfQ180RcV6dr4pO3G/tMDFim2Ua0GWsfZKHPVGsGWnH7
+jDcYhDm0LvSzRxorbsCjjDc1V6xI38xl4LKIXqhgNWiJIspz/MVwANVWqcpQnENG8p6jlQRXJOD
C4AFjNyptH4ig6z83MJaF1E/Ruhp6TsNCj7rldZgbTsM27U7VRNSNnOC3Jk5ZgM5bVPEqlpkPkgX
PKdR/AnX8IJn0uUwx5n/gltAb0EnDbqnqNGcu4VZxQrqVwim2SEG+2gMORsQz341NVd/Ml09LMNi
h/pN+X7ZLicCUFIphG/UT7CejNkRtEsErEaZr1b3JukCoxSxAvMuJphADMA/6OmyAc8sIbAs07zQ
SNxCdePkhtwOO4gsXxddKEdHNSR4u0iCzI27T2ARAz1A+2M+k/Gs7st8cFQMmWKS8oYs0Y08fdct
YIgpk/S6gP+zuE2jPqjiZS/P71ndBX++tEiHgYI4qeiwzVd1KCvTqQo8dxHeCHZNogpq3JylxQgi
fZ4hr4HQHkvMaTdJDpo5xNZT9asBttgFQ0x0kDxtZx3VaHfS5RHAJjk5DayCSAtqgig3I/U+36pQ
ssFEQI/Xk7qjmhrQsTpQTQ1od+3/dAXPDTG38prOCqTicfZyMn1TOujCQSrksgnONqE2wGCA5xho
gE9/vnl9prm+jhi2BUak9yx39fUgDtqvoAB0dvOu3v15RQrmHKpvR9UmcO7O147Is1XWAxJRLUX9
q9XcQjiOSN8k55fAuQnmEqhipdb6Eiaim/ag7KVHIrnziRFv2eciMh/u+mHVELDwSqJq1+cOgYBA
asiIb0RnhKELWj7kuzZY/Ag3+404Y/kcjtEvQg0b1XPoL2L7nZur7KjOHKIWPpRId5ba+Eo3/yrH
rhQkhPSeYhbxzA5zj6nlClYICzwlZU3BfKT8ULJYCdpm2uX6JIhVn1+ZcMpWNUgTgOYMwofnTtVZ
osBZtObpo0jZ57spTPbivUf31iefUKsEXaLmYM6RObd5PUJfe4BEZmrJruok/gqxmtY8kirZS6aI
5pP3pUDcg2rVCczDgp5rY2o1vTdqX9JebEBRne5jVb5dPr08G3Q+CPQ16BwBCXC+cMVSF71T4NLs
WpRGhynQJBkBXkTbeypBsSuH7w0zGmWhO72jt0GiJ8gbV5RtoleFoGwDbQxoTR2T53gPAnbPQvoR
qHcl9PwOa5C5HpoDt0kgYnbhPJ7x2tr8DCb1kZxJwSQJfgYlHJheFD9/paJoozeBplwLiiANydfL
K8wpEQAfgANHASsogJiMTXl0BmLLKx55ixs/pvv6LgvTm9GrMCx+n/0LNB3n5IGqFFe2BbVYhBWm
RJbmtjECnVD4mfExrirQgjL0Rt8G5/tlzzh7h7KeI/DjMKBqxdjpSauszoJORL485HkBvqKbYRCV
vHnhcWuFLb8ZKL0ZltQi+bmrn0GVv6fsCQva6rguxewJn7M5lMJ++3Tq9Gz2aanOTo4CdepHs+0n
/frcyY1oQ/BtoMiAzAITWmzOUUWlnZPSTH3lrnvR8cJInizAK6kmQuxBIsYX1oxoXGJOH7z6bZHZ
gvUK3K6VgXphkcbdmtzq+TddU/3Kep+Br45KybWyJwME8+Cre5rq/d/sk9/WmRunbBJT6hOs6dAs
rhZbvp3rrg3/L5vhvB3pt/tth7lxSl2N8yn+b2cMeBnXQPXUgAyBfa0X3hxQHsrYz59Vv/XKOzt2
7df0z0dxod4BrATKt2g1oLJzHk91UlvroGeJr2T5lb6qt20tu4pVHtW4CC77yzsZwB6i7WiiQQdU
FWMrmZImsiTcQkXqkjcdo/7kp/JousBWdSh4/kXiBV5DNDoBhEQll20LmUXejeDYBEQxt6F4gF50
+jcebUycECmb0zfUc2FqEkz0PjjC0/26N33tIX02QGyNoUnBvuScw61Dp/20sWY5vbkMEayZvX0k
2QBSOBFs8PM3AhyNguuwahQlxva6rbgByaDdAVni4MbRG8/YQ2HVqwOLkspCIUn0lT73ok8WAYFD
bkzbXEzBXa6Qai6djAs0nF4G4HGp9BSeMlDsE70u+N6h6Q1OZwwZYcT9fLdLqCPkMdTz/AI6P88K
mP7Knfq8LKFxxJiM2LdPNxv1bWOPjWNm2U+GAnvpC3nBYM5tFQKZe6tgAuYwgKBk3o2v9Y1on3ym
KTqZxRwVMkzgkdiCSSxFE6nAi3/KGnDRxS/1Aa82HcSRrvKou3gLmygvVLObCZmdeS4DnUH5uTHI
jRbK+RJDHQavqwS2hxSK3hhTLxffkkGQMovKjJ9yaHgJjgKqSIXGHrjOzy2tJCNKRar/AAtu1o81
VAPFnd/pfZve0LBivECZ0P0lai3QOHV2O1HDp5BCJ8jQAD43nNVKZ1VziftwMPaW3vq5uYZONAse
JJ+TP9ihlE+A30O1/FOXucmaxMiXDLv1W3VQfOsK3UM3DnLknjAanyr8op4ezzddwUiMAoY/yvN3
7ttiRnOeqPBNKzr0Sme3j76ix335JhAZYY6FU6RGjpkNJC0TKPgH07hGbeFA1s4RlN65wUUHGBRc
8RjDh1vn7qxLCVKwvsYSHtbrPEju0p30unpmmByjP0bY0s+1sUW93oRnwzFHrbaxdCjdPPex7fft
dDc4Sylwir96v31i0gYQ7Fd2Aj4lf+nfFedVjXo3tkXtEf7mO9VdQVkDckkmWS6zvDHLDkkPFcDV
vcovGzf+qd32rqn4DcrZqCVbbi4qqHOd+22WZTwZMYVFiAyzRnRTG5Zrja/AxwSX9x8vRoGJEOwW
JnC9KMGef6lOITYZI4TlKrbdGUVKgLCxhlLYNz8vW6KhgA0VG0vsbGbfFNG0RNjpRCMYnzGtvdy3
yGCT2WtGYDmU7PGywU85AjYhHXAG4AAnGDLC565FppMZRgXXavJdrx7bSfD3f34dMgaYB7jd5i1Y
FbH7wMY5Qp6g263AJ/nazoQChFvexUJIIW9LYFYOT1EDyBSg1c5dqtZ4gRIt0h6lfgbFikJ+1Ikg
s+JuiI0J+h7ZHF3Q6vYdWhzAFA5SVQaYCLGd1iMlpIEGdyVAsIWzOjV/zHlC13Jjlgm2uNdmyc5m
3JXFUy5Zx2GOdrNhhZe3hGj92BiYrUqkz7AiK7MCLZThYV4cCbN6toCkRmSI/vlmFUttTqTSwd6T
9J9F8S1V751MUInmbu/NijGxTwZqYhyGHuGhXX1Jfl0doSYwXfRPR3ZjgjlBxBpiu41bZNkP9i6+
gnKZl3u6CwA+Vf4TY1q4Sel2FzAnykQwd9IKGRPmCD+WoPLj44KRSdfaqT6wa6KEm/+VbIzaoRKC
xx9znBJUvmNItCMkzaW7TLarDO9k/nV5z3GvD8on+/9WmBNVtBnyi1YB0deT/aCFZYAezLjX3TGA
GuuueaZvW5Fnn5sj9DyhmuqoCIGYEWJWcoyJ2jUEK7l+jL70LQHMuvQ+2l9Ux6Q9AtvqX/aSuxvx
VAKZG6x9ApvqTk+GrsTTRVNmt8hvGvnpsgF+tN1YYPa7ZvT5ZM6w0PrDr/qwvK5XlMoNEA+Ur5J/
gbD63Oo5reFvn5jtH015bQE+BtmEA5qt4bhXdhJaPZAtE8RcXvoOEPc/i8d8rHXIFnNJ4Jp8RNfq
OO4hJ/5vFG5EH4m57BWjh6KmifCnLp6iB/WhRE1OeTQw6P0BLn35ukXxlrxf/nACo2wakw1RPPcR
ntF5+xZh8C/JdMHe4x7j38vHzpBncQea/hgHrE1awKj19A7J/JXTxoKgTnfYp3C4scMc5LKXc2SC
uH3rZHzQ1itQhRZ1caMDSXV5yUSG2MswTeas6dIMQ11RqFXri15mgVpHfq86gsku0dehf765qHRJ
moamxdartdltm4/+rwwA94wHAShCwS50bgBpXwJZeQSiRKm+pmV7UzZz5l5eL+4G2NhgnRjtzl7o
PVVrv6b5YTEe40lw2/JNIJEEiQmwbGzr0gRzkTo5DUxkX/r2uCYQm7VEz/hPzUsacDBn+f9GmDhA
xr4hGfBCqJfnj1BD3RVXpltjPuVfDMXQksCnzbyxxcQCKZLsLs5x92WHdN+hAGkeQNgaqMJBc97K
4W1BeV/Ae2KzrAhgVO8yCAxgMxtXcrq3aQgAefvlHcC977ZWmNshTdasb+yMnMAAnYuxoqsOMIvZ
g1jDW4lcRTQWK3KLuRyaGeqSmNlCKm6tvkrezaUKzEg0YME7nmCVQWEFxweYfqawU1eWOWkNsnEt
vq/BS9+vTvAXKwfoMtjT0EnEVCKTBEmYhG0WGbec9TT7QPjQ5ETbRXjBkGuILHrVbhbEUa5TG4tM
HMU8lpM2MpyCrmMwxQRKw5JokJSGFXZ7b71iwk4GNaHKoaM2tFtI2ZC1r6VHE0kdUkjJUcSmxdsN
W3NMBCKQHkwagrf6Islh1GNUoKqXR9UUkV/SXXXJLfo7NuE6ynJNqVWakgC7o+/0/GkokRqbIHgW
UaaoIlvMkSLxqpekLog/fsRvNB2HGkkQHdD1ovVTTJmFVrBeWYF9F99jtBlti+gWMJgn9avjE8Eu
pZHvkt/MaZMMA5Nn6pT5SR1lrk2c8Spd+hyDGcjSHspKGQ4DxLlB0IFuleVdPiL8j4uBWnSHUJXX
mb2kWktqmRW0V6Z2LMJ+gOxEnA0VIOJdkUT+XxgDDgK9FErEx5ZJFinNcevPmW/FhrdMAPZjaDJ2
m144K8TLOoFT/McSc/ArW+m1kfZLKZZwxYD1kxSUAQSOpQDMrTviN5XbfikgAQ5wRiykL/gM+sNt
hzY36EHRAQNNFRvbVmhFNODoQ9arhfO14he+pARjcUPnQRef+FF9rEzEH6DH/maNf1tmPJeIvdjp
AMtqG6Zg3F4Uw5WmMrxs5TP4l3GQiXPyWg5xAhZxv7rGWJRPOtcKKXFUHWjH4rHfJbcK5m2onJLo
NcZLILdLy+xYkEbOUJkAbgE9Gb8GGaYkW4eoV67bhAivXvqXfTqbm+/IxL6mXWutyfvCH6U+WJ3B
M7U67KPI75YHUCh7dIW7Arxv07izotHTOyQaQy0CLXHD1eZnMKGxt2Nd6VR81KgxD3k33pJhfUDn
xSM6Fj3Rvwi+rshtJjzGUF7WYxluA/sFSEOw7inR0uzVoPU2r8S03twUZ/tRmRiIpwfUjdrTeRkP
ag4OcS//WX9tAzVUbpSfMmRYiaeIyOm5wW+zrExOaq4GlHJtQARnMz+g2OpJ/XtlCTIC0X5lktE4
GtQo67CW1er4i4MKwhAHU264sSwS7+TWETbLyAZYLXOUNF/h0BjmK3RzqWCBg8tsLKFuRjNFUR+J
W9XaWmTCjZ3mlkkw/ebPmG4yvSwsx2AEIJ4KRBnfO1G/gvvFMJYCIAO0UjDNd54jjFJtgUUDDoLJ
wsNcmjs2kFZW3gX7n5vFbcww+x8iLKkyN7g+1J0FkH+g0P3/sHyMQes2YXWsbkQjNyKL7AFY1qrW
TES1rARRgUzHMUWQJe5G3DjF7PZeyvVqobORKNm5aZoHq/I8OICjTJ13ef1EX4nZ8vbUyupEM7l2
ebIrEP05uZ+qq+BJKVgytvgyOw6xkxL+rAQtdut73D1fdkNkgNnbY6EodlGYgCe1P0j1fZa/Xf77
+VHv9xdxmEu0UbU5zkoJhcw78tK9WXvkoP4IjnlX/sAoGUTTRczoIpeYyxO48mWwOnwZjdxBw9sr
JUmQf3Cvqo1P9Bdssvg6HbLMJlg0u32Ui/vRfCea4/btj34UvIME+5nFsIxlP9Tm3OHIEPsaXcDr
uDBenX56JZFwwl20bkxA6OYUalY5jmdff6vzCDR58l+dGVMGCzYlq2XHRIwlMu1Ix5cpy5+r2gKe
fNASwVXE9wKscSDmgcge2/UH4m0GhgEnpsDrArA0164FZ5LbEAAPwD8mmM9vDWaXTBiEO6HGp0cr
nILVn3aN1753/uK3lU+eki9/dY5+G2VuhVTq7KLX8XWiL1OAXDsEEXfv2oqL0U8KECGhdFjq3WWr
3GfbxlNmSxhWUbTGVOGCrTSvLu4Wu8P/ptDWf/TNVaGEl83xd/tvH5kLIoEkZ3wapif1GiSRtq/0
9MFu5e+GM71cNsUP379NMRdF5zTSpEsEy1m2r7ZevRcR0hYiW4+X7XyemKSPiM0SMveEBX7+Wa+w
hIarfZhf7JsWDbH/7BhAmWhlg+zGK7l2dVf/SF46SF+2PtpzoeOLGBE+8wed/RYMcJ7HLTnW61gb
8VvUcjd/M4/DLkHqRK6jBLUiCwCyne4O1+Z+2WuuaLzv8oJjzO7c9tIP0G3uakCxEVoc+2Ma1d00
/ry82vxU7Z/VhvLHuZUK9bHScHBKukAJaao27uXJTT06tizvIyGNMi/agPsBYpBonEEqhLlr1MWK
krEH242+U1K3v8v80mv87La4RZsOs6GTeAidd/lgMAsWodwDsgJm50pp5IzSii7GGDofq598m5/T
QAKsEfLNkGIvn2kOrPxIjiLuIG7cA3IB2HagqYBGZUJQbGOaeaTd3fwlvZ19K1zAhQthK90t3orb
8bYMpe/l18tflLdtYAma4GCG/ywAb8pEGvUE3OaddUXAMKwd7fzhL0yYoI0B8z+YrdidWdS11JjZ
gltJXifXgYhC6GSRGhj6KFI64e5PDGr/Y4vZn8Os2bOiUraihymwTrx4YCu6pVWEf/Fw4cVTsHVA
2AlTMyDFYWJPoiyt1Iz4YPrOPKpvZVBBdBUEcpQ0a35DHTWIMdV4FAqS0b+XrShs7FpMnNGzxra6
GHaz1LXiALqHkuI6H7HpGiElDMu9ZPIXxTfKQAcq/L4K4lBEk8I9mcgxgBylfALsVy27JO6rWSaY
kChTV2tzcERamiA9+4x7R0QFEwrQB1DRtEHXdR5v6jUz+4zW4Dqokxlh+6QRVwITBbmBtkAgYRbK
ADvuuCvvs2Bxsy+iXJd3PBxVxjg+GEQAUWCiqlml/811TZ3smnK9tcf8bhxnURWBe/bBLgsJJVQ1
AYWlW22T8sZposaZAkdPg/8Q7+pXv6AMKatHNdQxJJo+Fd4o6gzyvuLWLJMRyH0KQkvKkKZAzteq
yntHsp4uH//Pc+f0G25cYwKqZZB5GUfUySePvPQYOox205GijDO/ArktUIIuQmtyu/iqWzzYV2Km
Y+5XhMYsBrRATo3PeL64UTRZbdGgOp6mo19W77YGteTy7bKfXCMIPBDsU4AZZ5WcbKuI66myUNgi
o2eAjEI3WkDh95etcLsOmM/7xwyzmug62NFIc/zeB0nJgT4pfXjV7EDY95A8QeHDR9UmUK+rW/BU
+xgOuR/us9ducIe74hU/S/B7eDEQbw0gFylJEwZlz9d27NpUj21kBNV1f4heppvmJ7jOg+hO9ldX
g8AE+VLeWIHzsGAbFzQFhC5Ze5iaQPL/pgCy+S3saz5z5DV3TmvTDvcq5I1SPf9+2V9edrA1wQQE
Oa6zEbQmeG6vlbdUb1Vx3WQvaS57CpkFzzluB2BrjLnNOq1dorzC2joKtENj9JeA6k5fMTxbumCN
MWp0b8FQuo+N3RALPix3O9PEGjz9kKDUmO9qLqW1WhFsq+aVnN8q+uialqg2zg0/eEMCNwwGZVDL
nW+edhnrdNJgZLAUN1NvSvCrXP5e3IwA6Mh/TDCBtdQrXYHKPWUxWsCh0rnrFeDW7hKeqouHy9bo
4WMv5q0xJpxOU9zZg0ZDXdNpKOzjtRH3xdU0zT9jMlylivoyElVwSXL7KFurTEgAYGiYlRR9FNrL
pS5SQo/sCRMc6U5/ojA6yIe+K5LbBPn7ZYe5xwG4LIzk4AsCoXX+AeVq7qHAhmqAPK1uAv3u5TBq
oZ1eGaqI64e7VzammFRAySUji2mpLldqb60xpEKK8LI3HBMgukSnDUyo4KJgx8AiSZWUWsJU8qRI
rxBLOU5k/nHZBD02zA7ZmmCbelUdrTKRq9p3zMSzJxWjsgQ6KSOoZgeXJG9DF9+oZiVwjJdHgWZK
AyepDYpICCedfydN7iNi22mLsX/onrrx7RSkV/QFR6uF897x+oD22uy7/L67T0PR45SX3oBnBxyI
yJIpTIM5GGSV2qLuwVBIpT96lCch/mHczrioWlffd4fmX4DBT9h8dq0pvBPYUnAqfCJ7nKx1ie06
AXltIHtWOJhu3Lpz2L2tJ5lb9V7b0dyYPgxKX72bQZSYh6BVuh9BUQConzBn5pwWjMv984PYj5+Y
EK5sJkqCl0/qTtLX7mmwK0i0Rn2VukYNsQljxPTc5S3H29Vbq8yVlctqoSwlliG2+hdrwXXhiPYX
J+7BMR3/Qv5Dhmzm+fZqLIh/6lkG/mrZOaiJ9iUtpttZzp5xtYDaf60nVG9FDPJcv8BQB5VkMO1+
mj9U9MoEbTDIJXQIVinDL9UU9cK432tjgbk7IiVRiLGMhS+TDw3ypn0fu04NfO14Wy0iFSXOhQtm
xN/uMGvYtloiGRMtrBalZ9ZvDsncEbxUlzcDL6c4M8NcFnXWxslJ9UPfjdedfCN7GszNIJ+zguSW
6F4r74fSk45lKNLfEXnIpBSSPA2ghLNbt8oeC4wDddHi9lIi2O68kcaNh7iYmM2oREbWKqA4WRav
AKP7tx58oXv0uBvch7MX3+OEZf01zUfFXejLmxJ0l+fGIULXyw7BVxzS2M262ykSUSbxbhBwMoG/
FjwndDb13EJnK03axCcmTS0EwQRIw6RdK+Si4SVOmMCmBEngdlAxHnpuR5Nwj0kz6IOSQ/eiBs1O
vS/wGl2u/0olCRQSyHSpuKZp4XnDbA2rM8vS6UHkJ9cfsj2682j6TfznWF6MBIHCGnUo/Pd0SW3e
2LWatPKySiC0y3r5Wl8caz9Cp0qw/zg7AFYQBg0QgkCEjVm3GNGWREqUgwrgCYDrwATo8vIZpmGH
udcotxl0cJF3UfmC8y/jKEmFGgL8qPuvtVwE+fhcdIWXd6sgbeAFizNL1NfNikmRDjYiu6x87a58
GXGKMFT6agXzcfI11HzBNrADI78gRHEXcOMek6uAH18vNQ3uAfaPcPszFeVgnLB+5hUb1qOxHq3G
zv1MmoM6TT0VAk/Jql7J/bd2/v6/fSzmuBqrka2RrTW+TV4MQmXtn9tkDhbRbchrBJ95xQR2sDpJ
yyoblD0Y/C+305cETPfRExiTvTIs7yJP1O44RYBP+9AENxyVgAdlELMP7ba02za2MO+5uMOv4ocT
rmAVjFEs124GkM6kOwM4WQyuA69Gnv+D5BI9QHiPH4Djfv8IZouuUVG1UJnJfdAVzWH62N127gjp
AhWwFcn7WKEo6cbf+0c195YrEY6ME4vPjDNbFXLdUevow0k54djtbEDEAQkWyjlyT8TGR2bDagt0
tYmDfjhJwQ9g/liFaAv+7sFYElJz8OGj5Hl+0oelNeu5B8ZCApwROXritU+YpwAuxo2eFr9AlizS
VeQew41J5qpMtDwCbSKEk2LgNyXn3ZK/VDb6dM5uiQRceNyIuTHFPFNJXEVZb2IBx6L27HZwx/Z9
KCrkVyJAOi/7wJb4vZDMoTDnVsccd97i0ZE+rmBo9cqH6l27wnQZNEtANOAlUAiKAWokAid5N/aZ
aeYoYI481pPi/0i7sh25cWX5RQK0L69aSlXV++72i2C3bS3Uvktff4M9GLeKzVsc+wAHmAMY6CyK
yWQyMzICH1QOh2ABVhVA5DB7oaqY7ZMI38/1yXdBCPSN8LpiXL92ZtmUS0RpSfspL7MbLffnAycn
WwTjpKEDB0KTYnYuIjOSOOtKi/gWFM+mQXLXod3VzSpICrhmQEGBgirmAXV2Hf2cmIvZgAPWsr6X
7c2ElvXsPJ9fCs/9FDy6ocyBfAJjGKeHKwWzsGomCsR1569afDHF5mGNcLD6RHB1cr0PlBomJISR
e+L/nVqKia31SodhEtNwzcXNR7e7zor3Ti0ccEScHt2SHIxfiMbilJH6NnshbK2zcSqh5E8aKUDW
j6FK1/SaMPJN/605jGEZiuIHD6mobs0xV2s8G1k0gkkOkxnptbGjxnR3PmroCPU4X6LqMs9TtuaY
C5aCeJ2uTIjf9plyJ4NWECJAC2kv86wVTTzyPAasYzIaizLlHWD2MUlsewUzeOuXy3VJWXnb2Tfm
1XWEyh68KLy1xOxZVip9UlVJ7gMacmcr+3r4hdGdUI0jT5NEReXPXHlAXWoKqFAwnK+hccgEYtWp
FogQAUo67rSd6Xh1tqueyFeKMUXnwkWnAEoH0OL60qK9n8+P4xNNG5KvIrY87vfd/A4mSluV3ipj
gnPSRtl9tjxb+LZj34ZgAREcSb4lqKaBWgpEMO/9nE0KbaRU/XJtSt8wvhv6pdMC8G0Cb2qJ6Lr5
xwFlmH8tMf4pTVIDvpksRzd6ejYtZOtNaPvqgxG2aAw/q3vRe/4dCvHpvG8sMnFtTdHudxJ6IvwJ
AtckINfOznFLjFSn98YOWMQjuMpTN38BFRs4qA4OuJrqMA9if/2ZP4mGunlXkgamYsxpgQHUkJlN
zcGQbBkZNnWxmmDATo5Zuj8fybkxYGOCuWJTfU661o6AF1SgSlQOQaP0gbyuwf9mhjn+05LMUlxM
aJjF+SGfymOmOQcAU27Pm/l/XObjizGHvzMjqtxtocE0uE3uOl+USwrqkbzeJSpmagJMJBzO2+Sf
B7Cfg+NWwbAo4zNzNieJ4cBnzFz3biqy682LUhHIWfPqzYgzv62wzIoWRp1IWeAmaiuQcriINRQI
5sElvOqQoxSKqJLeiJ4DvFb3iVkmpSWJ3GKaE2bVOxkq9tftTsXsDp0kR+rnKi/tXroqaQ2FPpCU
IPouJhrge+jHypkIGxu5GsdKVvh1/bgauWsn97n1cn4PuTagHYypS5w1uM9ploF5fBpAcQqM3HB1
ufuRd+tl2pWC1Ix7nimXOyInzrXFLgX99Kk3YYaQ4zJlngLm+PML4fsJKtbAeymKAUam05WYRtRX
FjEpnq24rhxvCud9Smdig+SivJ4OBZUh988b5d64G5tMDOmVZFbbCGGqazXJAzYSTcJV3YH57KK1
BninKC4KV8mEk9icNWPK4ZY94rRNQGsQH/XH3K0L3x7cOSiPgDBVvnDunPrBp/ths1ImvGhGuwDO
preYoaa4j34/ASb4HwRy6M322Y6OaTmg5vB8Zez0UH6W1loiePhko1uknv1LXZ9IIAU9rh2rxqiT
a353nhuI2NyKufu4xwGh7F/zTB46gZi/IUkMOYVRO65R5ZpTHSgi4iHuEx1yPKAyhmo3NFgZM2bc
RU23IFOznyDABm71eb9CsixCTHtnLfHqKzPZnfdVbrQGgaqDBxgyNpZvV06XPOlGHMFoupqli6b3
HRIuhmg2jXvSKU+zCuEGMOIzx7AuZmVROqQuWQemMLXsSlcd/1gmD38ZPSqd9gMtcL4wpyCTi1XW
8rTxU2V5jrTiOZs1QXrAO2lQg6JyPiaEmj6lIMD/FuOEE4w+JxAhqav42l6DtoangsSxf65eVdnN
vUL08ueEFFDwgbubsoQrQGychrFhmSMCUBqVvfC1xB+rG6pXLwXNm2XQJ5/5JdZReaCcRKJXEXfJ
+LJgzcMjlopFnNoelTJKxzWmKb3qQTPphvZaV1AZR3vprr4H9f9OhJTlHDjKOPjbJJPpFgkUcvIR
zN4qQeGhx/B6cd0Ka2J8KzST1AEx/wTHLdUCQj3aCn1I3b4s4/Rx7aSLuhUNbfDONais33U9wE8H
sr7TDzgZ9ahUkpz7kPYuvqV744VAY2t4HQPrjlYTjVuhCgAnMJ+YZG7WFm++NarRbun97FFPvFmF
pzov5EgJrFIv/9b4E3KkqQ8QYJ5EKSAv7YR5vA1UC6xSoD1hVrxGSeOUCnAWngGINVQY/cSfYxBZ
dZdlAApekcNw4suJQebKVaeo1/UGwmIoWLmZcRyFzzyRBeYE1hIUxAqFdK6U3jfZm47M63wkFn40
5pIb83jR04HS2QN6H8cA+iY7BUzF7uTjlBluchQlKtwDsNkm5mQvELgDgx+UNToZDPJtdFdo7X3a
dw/nV8Y140DeEWke8MQG4w121YykLiCaM2bxdTLn35Roeu6AhfjfzDA+MMxTlFcygXoOzllqXTe1
7dXVKtgmTioCDn6MQWB6CVh3dno2wxzZ0jUaJnVBgdzkB70eoB75okUvSfcrNr6eXxPX6zbWmNCR
GR3JbatqfKk2CxdFwedCi0R3Gvdy2RhhgoVUpnlqlhAWwEDwdX+pvZ9X85UA5j4GDiqJ5h5Epv4S
nl8b3y0+viTjFk0nZUmr9lBXHLPD1BXElQkkKrMy/XneECfH0Sn9sK6ji4W0innNTH0Zz/GCDlKL
FC7r79Zp9XQJpVJZJE/FW9LGEstWk5WZmpNRhuqFcjn2dxC/dhfy+D+txmZcYkinpMwtB6nAOntl
U3pm8qZlkydNoptftBrGL1q4dhsBSuIPbe71dbTPcuKSRljTpq0nJrvf7g/bUB/qVhnyBXlbDpII
ySVH86CFVNBLNFfBO00gE6IcTMgQ0dM4vZZ0ozCSwkBLo1i0V7PuLpGFiyqg/I/2YYONQnqt5f0I
Gy0maBvXWqbhmBZ5HSpLJsqqeb1RfDlIaZqGCdkwNi2MUIKpB6mn0jGY4+9c+1uWuU3sgsOI6vCs
AcUfxm5au/IjqqxH4UVPne3z1n38AObOqqEqFtUmYIfZAcR9INNbIQXRgjqp9oS2eGFqu1jmtiqk
EXov0Vyi9tKr7oj3pgrUGYYKdD/6MR7HwNzVIaKkrYdO5q6imWXu/QyKI6BlMMGFmj1jvy7zOrEG
OqX+rECdrdzFgXVvvaMksv8ApuKkcIDmaBhSA2M11KJYZ53NHrA6vOlzSMJ1Yb+n7GTing4nOJ6Y
Yfx1srUhbQdaOpizq0i5aYbEbzKAKQcBgRzv+51YoidnUyh3tAxyEBbt5oBHd9cfyPEdp/2luaTK
3OlORDvBOYkn9hjfnBe9WEiG53RX3errYxTNQT7+BYvBiRHGKbJV1Re5w+ezpxrAvtes6FySiHyP
E7hgBTmHiRzqs0CwmZg5anUVjhnAe7OsHXrFEIHMaTRnjjKEG8FTSJnWqEDv6fYYlroWcQtU3biT
vWJ16WlGdeWL9gvKQg+iFwr9a+esMS88Ui/L5OTgcllkyZ3ap7SU3HgGCZ/+rCXz4fyVyfOE7dKY
BAB4LaTrdKhVyicXlLe+pT6uTisYa+dt0sYKW5LOhiLHswvox0VFNSqK3bYUEXHx3uLbTXrnuN+c
IUtNmiWdsEnGcm0Mnuolnl7901t7NEJNe/1HKVZ0lHiDz2jUo+OMOT2oQLH1m77U47ky8AVzzcNz
ko7q/Rv/ikPxQ7PdAqxOQNAC2kcL78IKJ/fjYhDTBrYPFXi2X5rZ3eiUVIgTqFaf1nFnN/HbCwpY
TFbX+FkSVyyoxHu5Y9kfVpkQYspFbk4prNK6qknVjpxHkr0tt8VB9psbW9t3+ZWRCro2PHdFpQzy
SoC5Ut3o05OIIDBpUVzUvtGUUJ+z0bW0gJtRhSSBnLcMJoM/DDGxX3JaowYhLoTNHGmcPNI41gAa
uwjP0Le+sdJQHcsoib0sNvT6K6pri2jmQ7RU+u8bf7ZHDAq3sQR958FxMym09ckrRRwwIiPMLubg
b08l1I/hvM9SD3kh5SbO7s6HGF48235KJnrmqE+bKlXDNmbHjfA07KLMi4cbOXYCWxYpNfFgICc7
x4TPISnsxUJVCcehHN0MZe/ZB0HzhelXl/l9s6sOI5ocmFMsbkRJtOhrMsHUJMrYoD4HlWHQqi36
MVlLNzafzn9OrhEQ/NNJeSpYyDw91mIGHb4FDHSd3cdzt4+szsWAWXjeCi+oGJhcpePdioNb79T7
iJPUtl4jVy+NX105eJ0x+n9uAYVMQJ+B5EUApevc+LcCdQ6AiBGvcdTcDMoSgH3szpvgocKQ/SuA
pFFLYCo7tTEXeVnJBWrD5aV9rN9Zumltr4XGXO7l3nlrvI3ZGmM2JsZEfDtrMNbqgVnoeyD8DpWo
ksODJZ8siYmAgz5CrcvA9lOkokTJbAMVaoPfQUSlhAYwBlkQ38ylV4iow3geQXuFwBGAsV59H7Pa
7FeSWQoKLLjn0PWXIoxMSKsgF6HBhk18thaYD5jJcZnMSwqutSb3gFlEveOn2oPjOBG9RHlroTI3
4H5woMf9nkts1iJX6F7klFOuNhSvUROv0UU1S3rW2cVYtE1MD6qFm+TU9boSVEEJfblT6dIupNKl
tKAtvP15uenGDlt0i8CxNQJ+Q96ny3R0+gkeuB7qbwd9L/na63kf5177FjqNICRQ0Id4f8lsvpza
tqTXKVZWPg4oFQXpcYY4MIClA2qxtMtSXjUvkyOIFbyjtbVK93Njte+TrktTNDlts7M92VhvDSsz
vHSu3wTr4/kgdguD7Cb6+xBrP7XUAh/f6hrKBvIxKzxDdb8CoxuY/uBn9/036FMaeJD9lXgLWmcf
ZplLS7bjGqKwYHdqSH61RMbT3Nk7s5sF35E3C4n6DiUJwX/oPOTp8np9KYlM0JUeFq/aD1AmplTi
Zeapx+q6CGimKt1Fbu9lKXCE4PDwW0FM5m3l9hcwhxys1bFjKag2xpoVVDm5l1TdjctZgJ/gPge2
dpg42RZpYahaTHzngVyvPnizrtKrATDJem8/KEiOn7rvvZARgP5V5tTjpgGjM/g+MDbEjkCNZDDA
wwnwknqn7Faf3Gm+hm7F/BIdCk8+VJev6m6ifEzQEwnIDnPJS4/HkHfeiznhDQUvyhkCjTKoJjNr
N5dcbuYczQs9vSJj4c0oBZ23wPu8MIHYieKaAwJ3xkRv10pTF4DaoGLxj/BVkrhUB8PyBn/+Fl3Q
UyJCvXKS8hOjTBiwanOQFhPea5Hku4ESdVlLAXob37ou82rzIo4ezy+T46wnBum/b+JOmhNnTDM4
q1GUoWJ8TfUhzBKR14is0Ji0tdKpUjNbUe6TqHZt47qFWv3QP5xfCiewnSyFCWyJNnSmOYL/q54N
P08sf5oueg18Mo6I2IB3R5yYYoJZ0qIaiZE2CsYcL8GVme8qz0HJRPd7zONPvSfvNcG7kP76T+du
447MbataA+ZkdFwQdY1a+TABVYTnPmV5k0u3NkTQEO6OAWgOORtKwMZCeRepjMp2QKOhisHdDGhW
shauPAghWtxN29hhTlk64nlGOoST8nIE//4Q2ljZ7HVPaUjZAA3PMr3xZx5ixvi8t/CqGgAvfayQ
OWrKWqdGXgCsPO+isISetpR5pgV2perJwtQlLbdat+glAjgV1qb3F03rE/PMwWtXVA8n2snBxPiP
QUpvy7gVJbRcn4EuJXAxYG9RWfYWsy8nvZ5RnywLvNNIZ9/IpD9Khp34nVQfulI5CD6qwCLL0WJP
i9ZIKyCYtGayHuqDcln62Q0JExvTMRqaiUkg/ZBuRc1skV3m1tctOy5aQHP81rIDWdnHpuMq0giQ
+bdFF31W6hmfjuLHZ2VJWdFQLLOmR+8yTzsDXDd6cS2X0Sw8G6JFMWfDKOw4ligkjNIqUIL4vD6C
y214LQ4U4UqZlNJdO+4dqAx7go2kf5tdI6BoQMaAWcEEfOU0YhdVp1i9TRuNYQ8+hfV7nu7AE43B
UNVNb3LTIyLFYd5X3Vpk7oi5Ghp7mYFWnpLigjTqzi6ezi+KF9O2Fuj33txCxqItaM8CFtk6GGIs
FL/tv9tRvz9vRbQO5m6YtGEkRY8v185tdNsDmnlvFF0v2KD3kb1zG8TcB2YcEzDCwoyEJFcOyt0q
u6m6a2W31w5G7NISkIwJ3kZ2W92tMRYN5ZmfdbX7n1ar0/bu5psqEjQmLRpF2/LRqnFN5CJ9K165
C72h366os2d7NaElrMPEApj1DpqjXyn+DNK+t3mwhoNvI5lvIT4vCZbGK0TAMBXAdgCQ+JRkGlUp
tYYFMHsXSDcGqNKtOqj3I9Tu++ssyEMDAyy5J5r04J36rVXmXirteVXjCnnnUF+XLeZaU5DT2rdF
03pRYghuQd71uzXGHPMJ6M9OixDKkmI4lh3xtKo59hXxtXoIznuKyBT9942n5Jk+9dOK50o0Pmnx
sURRL14VT65FdxA/dH1sG3vM047ETdtjcBnYqcchjIETbr6Y7vxrDVBHEvemOQWKEz9hTrw5mUvW
UT8Zd+VjAZGYt9ytHluYin2Rd/Bj2MfimGNftFk9L7QxrMjX6vi6SreKI7p4+BHstw32Eq/nuZms
DpeplBR7y2i+zMb847wzCJbBli0btViNIktzf1DJzjCT0On6N0cRvW545VFsDYS3ILqMlxyLPsut
ppuUCr6g3o14p5a7ZDfHbnyQwmKHiPFXq/qwxhxdSGC2amzgwp61S0l9amtEB0vUBvx8jhCLFJR6
6avU0dgChxZVltlKRuw34EJWp8smD2oo79YYhDm/R5/dAIZ02FAssF2A7OL0wMqJWpN+cRrX1IAM
6+egkIiQwO0z/Adyb5SwA1U8xQYa99RIlo5Sh1dv4xr6aumerU33pByf9GxN7qfRtG/jegEDKkZI
QB5p2vnqKXM/1n98Z5/+CiY2DWY+k6kZY8BJJLfX57u4Mb/9+dfUMReF+jJWC92h04W2eGfVUbWi
3KSnL0mie+qcC3rQnJIFlvFh41OltLBX3BYGdKAQJ1AkNY36alHk6sHRSXU5GZr0zSys6ouUVPNV
rJfyvb509c2AUe+AZDVCYzTre3UonKsmd8r781/g85nXwHJAAdc6beJqNG5vLoDOTp25MglIsyWA
TavqynEgfu1Er+fN8NwWfVu8d1CzsTWL8Signy2lHgm4wFoA2O4WEC9hbDGrh0YAmuAaAnsORqQA
LYQDn64H8sDDPLclZlkjXYoDaItm96AdGPPw/IK43w2db0cH4NQEc92pnWTR83RY7AaQRcvr2zZI
VQNVVNETSmSGucWKypGbUrEalJxsr1zmXZmaQWbFh/Or4YUvBGNQUtt0f1hd8jTL1EbSJbA1DWqF
bmzyIo3kOdOMr73Z+OdtfU6lADDVMLRgGXjBoMd3+uWqltRZJoEgSkUZyI6PbfGz6/JwUH7Yxfjj
L2xB/Vd9f2h/ariM2YQsVXYSsL/VTxIYfZv6R4OJmkibKJ/h03lrPN/DYTINtF5UTB4z0WTGr5g1
UB75S7+TlR+SIiqP8LaJ0kM5EC0FFIG9ZercBOGaqSfozYPEDmlTHVdJ2FWTFl+PYMHoj00F7miB
c/B80ETRnt5rGOdhRw8Vggn4WqHLqrPDUva7bjTcWhJEe4EVlg1FKcsmyhUz8ServiRZcz805UXU
LQ9/s0e/F8O2EzNJ0pUaLTK/msi30pyXwHLSShDzuWuBtChSG9BMfBobw8hQZ8y6ARc3LjSz91Sd
XKr5KjhInKcQTpKNbhh6Ysg9WCZQS25B19TWCfCI6CNm5Y44fndFUKOz3wDkA6Nif981+9IQqkNz
GjqnpplDbGRObcp9hoOFNmO5i55LFFtb84jfEIJCG51oID8xP5qhz36Yw/7KvhdxVnE/8mb19DRu
bi5DyUtFqsfET7TGG3IMecW1m8Qk+HOHAecKDhxg6uAXYyKwM5kdAFgxWMJN+2Wy7K9aJAk2knes
QcRGhQ9oSGTvLNWxyzJtosQfBid21RQKsXFyQab4yZHtRrAeXvhFcxgzeWAzw1gec0GqxJnGSE1A
767U9/HYu2WrEbCBD4mXGmOQAbN8/gNySgUYoUSUxegROo0QsDndqEaf0HpbsDzzqwQ91+a+uQNJ
wfUauygXPFKOx+v8SNVwZUFuw3lonFpm9i4jXawaMSwXGLR/M3bKftyjTv8Pv/t/oFylXn9a/nkf
FgX/IWofmKlkVlqD66aTOtAr1l9Ax3Kp7RP/bb0DChBNTTGaltPwODXHLG9oB1PrIpiLoRcp3dZG
oAZpQEJyqcVXCgHHKzUrSkm43oqnx7+LZG65tBjKZKxgVSmqS8Ps7kr1ZyNfx8JWKv1Dn78mRABw
1dHhUeaAW+kK3L5FT55nh9bN7FO6iwJNVRLEQYowYwD2CAJ7tFrEq+RFF8uwFdCs46mlsMfEaipr
HWysUh4KgKkqYPhLFwQHosPB/ZqmYmIuADf7JxZGBQ8nfVLgourd4tG3cPSaPtUXlDPzNd8Tfx/d
518EB5L3vMPwo4XUB0nyJ80q0DWqnV0WLZRpTfDxdqt0kNcEE+p9ogGh1oMpayKSNyYZIO6gj3wu
ZpmE538E3Tx2c/EOAHEIkF7IPNXToKDa0exMyorrHiznlWK6fbz/Cws6eAaQ2Go2iH1OLWRDlUdF
mUMUfe5u12rGYyoTxFIOGwsUsDc2mGDaYw4dgysVOjfQytAoDKaFQO0hLVzlEQWHi/JG8qLL7Jt1
7L3qYQ4x0xfMuiv7czg/kYfh+58PCJ3+IOaz9pHc5fqKH7T25dVU3ddKustrEZiC06Y7NcNc/2M5
m3EDYiY/0wOIHUBbST5Gx/zBzFwJx+Wn/GC6+pfVdCu//g+Rj3c4t5+diQxE1WddTZH4jMhEZRL7
sVOA4fbtvANxL66tGfozNhlGllfTKNNV5ofsFoKqRePRO2TpwaMNGUtfQ2V99lV/2Uu1CyjAefOi
RdLIsbHeVtUC2G+DE1LXdwMqWK6jRztI2+qCGCQyxNxacpHGeZvCZ2atuCIWWPLa9qotjdvz6+FF
uu3XZG6rMpGlFoN/id+vlm9gAIpUZahZX8haCGKLaEHMDQVVbgKKHeoeEXEL8p2k38iUCr4aN4D9
PvoKS3ns5HE/DQ6+mjnIviQVnr0I/I/7wfDYg+Q25bFjSzMVJFOMqESOPc960IzFzrGn3u1n7VWO
i+fzm8NdzcYWc6LAcag4yYLNaccsmDXZVcn9eQvc1UByFqUSyHxhJPPUnZVCbki64EJ1+iSYpdc2
X1wyN25XNIKd4UcngIOAGLUwqMVWGOKh1UCKXiS+5uYH9Ve90y7amxis+8trfySPGqjnl4v1Cinw
dyEhJC9pwTyERTl6dChgMDFjoEzY64xN6/1SdQHNaC7o3dBDe6cIq3FvP9Z4l4GNbHqA7PW0F72K
6GFl79WtfboNm6gxTsg1JAeP9TKWw0h/LQ3ZXRa/szHHmR/Obyk3v94aYyNHMjSGOmCx+QHh0dpV
IYFUXDUCrQgAnJClmOdCW3NMBCmgFREhHcPbHZJUzpy4eje68dD4ZvnnQBCNjrX83kYmhFDa7GxY
sDInesqLn7X06/yn44Qo1O9xCih3FUgwGTdJ16JLnbGL/TSSXX1wAksr3cGMd+fNcLzhxAzjDbPW
Twvpndgf7W5XlntNekzVF2DW/akXgTxFS2KcoU6QbMotlhSrq5vNw65tEneMZkFax3GCkyUxTqAW
MUYGe7Vxwf3w0qOk7UJs5n4oa+I5cymaFuAuCqgyoCrB9ILJhNPj5BSxYUxJE/td1roSaMUl83rp
RPPWnOhrge3ntxUm+s5qnmbGCCsY/GmHH0CVCUKiyADjbkTLs0QtsDdq8mCBDnHC9pz3NNGHYjxN
XWo1s2osQSKdB9Ycd0gjTzVEKB++GUDncXDQtmFLJVGtL3Npag24iggJ5UyHUmweV26dWmnwFyuy
MEhto+hjfKodR06nqUOJCn8dXfU95J5UCO+NIgkKrjtDnQWdJoiXYpD51MEM+NcKngR0h+oROnt5
562x4UsD8qNpFh1RrhtsjDGbFI9jkUh6jwa4VXhFeTmYotYhd39AwK+Bv4dySzHnpZj0KulTNLuW
CeKEM0qBcfuUxI6gy8OLa4gmdGvQfVE/EyBV8wztztgHlFTHUNw0W9Lsr92qKbGnNGU/Dl7aTa2C
W2/s8TA77xq8iw9MOlgnGtggKmIZFVc9G3t7ycAMngOGXANfAGKk2+xbgeRCzEXO85GNNTZ1apvO
IPOKQkg3rm48anjqTC4qo4GtroLoyvOQrSnmQYtawKR3JqqDyNfcQf2pmuH5Tydai3rq70NEZgIl
jdTPM6irxS4KD15T3SUgDjhviFcd2+4RCxXHNLPVDR2WImM+tX2UgHd32xfoXHjGsXrNgulFlDSI
3OL9J22SL9vMS9OSYDIBqFJ9pOWcIswvpOrH5Ff/gdaQv0YUARXUcQCK//REGBsjrwtClQmtt/JS
DmhpLOk8/VF3IUYYDpEvmvzhbuDGJHNXlVVt9ZGVp36jygciaQdI9rwNTq67o9aINpF3zoHy+r0+
JjrGmtxYGrhw/M5ZgrXHUwGogMFtW1N2V7NY/FI0wyBaHv33zRYWuo74NcDiLI2+Zf40CRynisAg
IIr8vPICqP9xsdBEEG1XxpSlx32mN30KRA/KJ8quCFLiNl/7PW7R2QNq8NjeyfvcMw4oQQoOB+fD
2pR+h+KJUJZnnylzZsyZ7TTgoAQEJwMs8cZ5oOq9FDPfX4xgsfGM1YNIgJjyhUORgnLcxjaz7oU0
zSpJsC1doJLyFoWom0HHQa0844UKaPTBcLn0GFNBDVLkvZz4dmKbfpfN9krDkCRKjW/edQR31A3Y
4QR3A8eBTiww+almpabcyBOEgpVmB3Jo6AQDdm2gB9d3O8Eucm7bE1vMKyXTOqeyNHzJCRhM3cPs
+8/IH98BwS2mHSpUpirBBfEeNpkH5tbmJ0KlCFQ6MbVJO3/Q7QNPpT/GbpW6dH4LdESLEohKYbw4
d2KUuZYUfUkwtksXejRDCIR7w9U7FYbvhMMBdIe+iNqGv4to4YOhCr1vdtKimgkQtKDR8ac0CVdw
VKzWg6aofrr++RQOPQ0flpiMqekJcaC4DpKPFiWxpPWsagF/suyf9xW+43+YYcJ2M6pQFm0hsQ4g
0cHpi5uuSwRdb5EJJlgr0mCNw4Sz5RAwQJf9tdZZAhP08Hx2vo9VMKFDGiYrimMdoaPr+5suqlKP
VFHnTc0iXxSj6vyqhji+lKwh+/6/fT8mcNhJY/V5C4fIotyNFVq3EuS072ncucUxkSOf7CEdqM/Z
uXZVpumDXMcvJIoutBhQPGis30HMXfOSLk08IM5ezi+Qg10/dUQmmEw6MeK8lJH6PZhXUr4bdwty
aEh/v4/hgPF26Y/glF92KF4VfnbEZJqgQvz+ejvzBdhEV+sL0EJUDYbMMRY6hON+PNbXFB0snnzl
5Wrbc8e+JJ1OhwxuN0CO7kE9Ut5+dGp26hdaHPwr2fqTj/v+azb3zkDKupYdnI3JSzDeisnsArNp
07zL0fULF/SDaq/0kqtcCs9vq3CdTHyJUnnomxJeRcuQlDClmA7q67BbA2xivVtEHSgeKuXkwzKR
Ro4nAAGnDiflAGI66zE/rL6S+sYLmDNzyzVCcKA9UCD47u8u99/R4R2JufnIZpqrfd9jS9VOc1X7
aqoFHPc82MvJ2pj401lzDmEJnBHyXB+a68VrdxhmBvXZ+M5+Zh7agNz21+gKKDYmEqB2uBNJgPHv
/I9FMoEILY3cWVAfAAZsOihJHHZNFFapSA1FZIYJRjEEsAZTgsOuyfKg6NOX0kDz3RDNBQjujE/Y
MrPtJnnFaipL9sqoce1BQNRMv8eZmMLiyuIotaOkhIXRWW4jMBMtjRbofX+LIsGXaW0FMUzw3Vh8
GSGtPmfdihcZ7gk9cvxenT0lFtXBBPnJuyrCxtXHekodkiBSKoUFiLCeDTLmnseiqLxEHdcUeGG5
EL0aBJvFFndsY07raYD3y+pRQfndXEXlI9FmMbEDs/NtPmcIVlqnftMb1ZuddLcY8WUlqYd2Kh8E
wVG0IiZlyWsEDJUepvc6zlBioC/bFR402Mob6C0GZSg9xi/njYrWyMQQKpRp2vOIk9VVl0kBQR5H
CyZHCczoaAAyd94a/5X5kV+q9OdsPCVJulwmHcyB4CR/1KkmxnfH60A2be6cOyuwQsNT93loBucN
iw4CE0CQv1hjRl9aBdQ39Hn0NO2xGX+eNyLaPyZnqdJaKup1pqcNAo9RbEgHEy66O29FdIeyEP5e
rhqriOGWvd9eTs/WxXwBF3G1X9ONWM72/3kf/47wLAeSaQIiLef4csngVb8oKmgI9W+QnfXqvfU0
7ewv8qVduX85NXWSp7AsTwB9pVE/v1/e0bGCmn1g+9RXUHik03yiwSnB/rH1K0n+9/yp4Oaqq4M1
VAL/5+jDnK6ICSlxMju4ZPA1kdaG6X4AxXpgBiV4bXUP7ByodsSUgb37Iu+SApWld+LLVEQPxj0N
Dnr4MgUGQtfh9BQOY7Q0jhkDDVs0innhLKQDdWRsZ9rFtBqxKbj0+Mn8xh7zYG7mtFFJD481FFej
Yjj1LvFtf3Hcbgy6cjd7titfgjYHx9K1n4od4oNozdzN3fwGptSraQsBXR5Sv7zuvi159pg6omtQ
9FmZ5HbuinHIVNxIo564hQH80VNX3p0//aJlMA6UxmA6JHOb+es6XENq6GjIi+jpRz/FpyRl86no
OjdBWodUfOYQbFf1S/b+4ZZVHwa/gxhOuhNFZtGCmAtINytwqBC6L3oMsVFwE0si96PfnV0PGuhA
wYItF+BNJi7rpjR3pTwiE79LwITXujp0wVUXKHXzWxqMF8vgakdocwD2uJMvnTBvQEQQAzSAORBR
qZPnI5vfwuIAh151xjbFbwGLanUBeVAndTW/CiGTdpAHr4RQ2y/JdNW9KIXmVq3AS4zGnuqALJYd
11hRb7Grfx59VKut8/KbSocwyehhxUEB2OqDcTjvrNzFYppLwSQIUENsPo0Js8pWOlQfe6AwgLZx
V/VxnEQCe9wiIJRpHCrfCUNsW3y1OnucqZnssvpmpO90cLav3EU33cHey3uRdiAvZ9raY86grZNZ
l4mDvBD12qoBI3m7X6LXqv+SLbXgxuA+YDGjBtSVilkelUVxQxkhm3oZKXzrrzvzufGi2zR4Twpv
Ild1+zC9iYU6ZrxDuTXKpEsg20xiDDui7zA/yCNsQtPoL1xjsyzmTC5FZprEQoyJk4TS3LlNc9cB
9X/eCve+1TD0qYJiUQYxMhOSpRXTaiCkxH3y3FeurYTO4Clv1psTh20aUNXJNIweisJryWFBNSu+
01PoZfdX08Vf5b5oRINuD/BqqgJwGlZXxcyarB8pJ6e2W36mR3Cv48qXPPmG0o21kG/KQrkXap/w
Xmdbu8ynrpty7lfaA7AW04sleVeqxr6ZzQe5LcPz35t3Mjam2JJZtSRTBRA70uxpHFwnz5cQd8kM
qNliXs2J8aauigj2zM2HaRqD/xmO8Yl7GK9APapym1azpqC7p7JHOvLhNYCM6MWfs5tS1VJwismy
pmngODvdxHxtknVeoN1mOrdWfSDam5m+nv+IvMO3NcFkS/3a6c0c2aWfLwCi27KXOH/RVzxZBZMM
LWVZr4uG07ek0nH4P9KurElOnNn+IiJASCBeWWrrzd3tttt+IbyM2cUOgl9/Dz33zlSpuUXY4+/h
mwlHTFZKSSrXczC46CYiv7Xq4sEoNtPotVfgXB/lGxRFXEWAuRVojyJPGO5Z9hxN0YY/+X+s4N+L
UZyyLkuN1w0QbxfiLdT43Nor9izQd2YwHerD9SvaUmn5+7MIyXFS4qQF7Ny2nrTkY1ffZGLj7dyy
AiUustMp+ZuhqSR57mpjfjAbuRFMbqmhZON9EVZFPlN8OY58MIz4KGQfu3kTfv1vx6V4Pi3lWKhM
cFxz9UVPGwz7FB4Z/7ouZG21/cKoFT/XOFMtsjRZSKUQ3WEDwmeHKHCCH9aP/viGeLsNPLru8P6x
OjWTqueqzUobk3idX3+aAnZrAHY8/EkfzFN+r/v04Bxtvw627G/DONS6nomFlUaLoCozBDYcyPgT
lcWNt3O5FDVqPvts1aIejYdaDwmeq9n6iRgEy4xPkTjluthxXfO7fmuHfUsnxU1EM68xRAGfFLap
G9qZa//BmCt4+TCZgtVJoEbbimPFEpkE5ywuq0/HFPACYxrodmcdqqFKXv/EGM9kKR6W6n01pqaJ
9pkAA2w5gtxNWqiZDCMoz0gSAcw86m9Q7rM/OJo93tJmBClKx8yAazwM7LJqHvvEmD2ATNobFaTV
fPz8IJSjTpMumpKkR0f+BAg25CC75IRdxH1xV8SHpWfvPC6zY2wM9JuwcIGOtkXvsBqTnB2P4q27
MKIRzeARSvoxavugmg4NE66hp/71i9gSpHjqCPB+pmghiAk08gQglcXOisqAbK6Mb0la/v7sTcBz
0MZ5jcggq35gX95N6jYYbDtoEr6hE9kSpfjtCGZcdQL31wbZjIqcs4sOWO8ULsdoGTZnT1owIIXV
9uVHgqEE5uUnEci78kHz643kevUJ4WCfAeWCbTum4nTLuUKVDvSrfjemBxrxE0m6X1TMT9evcdU5
/CtGxRBLAYo9TBwpl+iiYdcCVA+kjIJtdNS2pCgOohgTObQVlOlFe2M5YeAIcyNOWRUBxATTQQaJ
ZFyxx7KShpwxRebL0PAB8PjizPoWacKq5z6ToVgiBrmsrBtDIBqx+Se4TeBOq8kLuf2ZtW0FOC3y
o9tksVy1yTOhik2GbWzLqknAANI0uY1CXj7dTTLTbknfRccqGbqtnaf1kO9MpBJWhGVMW32AUUS1
t/TMl6w4Bq4WuDcW7LUy+AMbPBOnmPo4laPdOD3g9EjiLuzyTj5uvLmr4cS/It5Vh6pIa40MBjjY
kWubT3Xbu3YkdmZ9W2Ai7T/poy4VO+BnANMdhDXc8PWcYON+awhn1Tuc6aO8gg4owfu4hAiYQ9Ab
U+CMPzpmvFxXZLWrRM/EKO9Z1RMtBxY14tgwkK/VkQYIwnyj2teAusbk657u6GEyPHt0twYMtjRc
vvczr1/oYTPHHKLn8CHVU1d2L4nZ+dcVVL6tBQUHdUuA8BGK8h2WyC6FpKzOxVgRw4u7OMPMhjYm
D4NGptsCxHi3RUS2lv0Urd4EEp1zUCUT7Mep2NmDrAzZawNGlOuy2jm9mHaOST7RamvMSHGHfwtC
WXah18X/VN4gLUuqvsw64YYCaPpF/urMyffrh6d8U/8rAtxYKGihPmgqjskC/5YQxQRCaSOkX7Gf
Gx6aoa98wP5OX0gqyWOGXG7LB78VAs7C53diFeek9YQXXQcea8xJG3+hJVq6ZgSA5GpgesASw9m3
kcx8SUwsJtklEcdsJnZwXXe16Pv3rwDKhcFsLHQ4tmKenUTHIy1Mw0uP9LQQZdg3EaqHA6AKOuQn
+WmrzLxmqoQBggr7jnjj1E36meQOE0MvXCtqpr1JJaYUQzt60MK+f2B262xpuLzJ7875TKDy7fOy
pUNmYpqe9OANBlDlrxL7RXcpluRCTIb/aLqu/BXqVgKiQ0M/gF888nJO+w1nuqq3Beg2UNhiTUdl
45tDDXhLNvQerYwfutZqsHVfyhlxmESZ3UyicWP6cHlu3imORS2HYbwOlJWKXTtNm7Z9DwLHpI/b
G7OIxV7EUeV1suQ+6w001GPSukNqt49F3pGN0RLV6f5tWhyrxsBQ0bGaqARLEJWVAN8gXt24fRB/
GT9hZDyI7srXAQDnBYg+2tsI//8nFgY3CLocMNLbTB0hGKaaidDMS5dqLf+St9LCqC9wO2JPk9mc
+1wznXB3/Tta84cANYKiIKhYSCMuHXAcxw1YThzizShhDdPshdmLsVmVW3OGAL6j2LGGMPjESymo
h/egkDSEm2t6Mbo1M7C8UWQheJSuq6OONr7d3QLwgV0l1MWxvXYpSQtJK0HQYHo6hg3Z97fA6d7a
YU12E3Z7TSl8DvCmJu4KXuFSVNYW4L0rsE8KZzgDYQ3YmnZFt7CO1R7Qm0YLNSHcPIFm6pa12VTg
5ekzJK0P4shPxSF6TAAAXCw9kszfnthcUYsA8h7Y14Bzs603x3v27vcDlZOWg+2utIRv1tUu4l+u
X9KqBGCSUPCvAQOFK9bAa63unL5CU4Knbsk+0P7zdQFqwWw5M/y3UTAHfL8Oog7liUqHiWTYYAQe
kN8HJHcXGnYtsL1xZ55MzwzyYDzE++tCV7TC1AFQHoE27yzO69IcrBnETRYK2i5vo6Du0+fCBJTN
dRkrXysSLLJwywMZCOQElzLSsHNosVA6sLY5RXy4FaV4htTn62JWHld0HNBwcBYfvMBVXsrJbQmk
BSz+egxrd1buLtxamMR5QJx2AAQ6sMa2os0VpwuRwNpDl1M3F97BS5FE5HhXndbwwrvsXg/gcVG4
yW+MfX1cVrqw5Aq5mIzZeN3enyiwJWww2wJmyYIHVG7N6YZ4JjE3PF4+1/1dR0/6FpP5cimXzxl8
Hp5IMB4sEEeqW6dmDtc7aIgEe6ZRNCb6Hkik7czcSKvA64WBFWvYDbodWhvKvTdJSAaE/XKy2AVW
O6xTObVaJAk23mcrvK10In0TpbvDdWtZ0Q+IrvjgUHcEFC1Vbq6w9LzUbC5cWfMqvWl04AHtmwgr
QF48CPHiDFILxlmI32SgxVeOoPeNtNVChfMdcBVAx3CqGkVkwocbgJ4CjSc1I6zCAoDyuoorMS9e
L1gIGq7wwIAfvrRO8G9q1oQCK5jsygU/P4xGwGpgx6nAnKswPsyDPv6Kozk0XGvMUuwIGbQv9gnl
ye/7APwUqI3mL4xJV2u9BKDOcUst4Q6a8R20zDYQCTuAT+j2xr2+D/wWQXgBAErCsc2sOBuCzWw+
aHCic5N+dJba9USa+3qeUjdPm62ax8qHCMY2CnRFhk0g/Lk84QlQsyF686VrhAIkYMtkVdDmXOYu
Flm3HNyWMMVktRrILmCSF25cshIxlrMr9O5ZJ83LdbvZkqMcoWjtNBUO5FAsSmel5cbW5CdgcL0u
ZuU7JwAMBQTLG/KvrdRvtLbQYr0pSkAf95rtY9OpL/cxNtZ+E6bh7YsDD66+RAYUdqEIoqChtZMw
Ll2WG9TtI9CIkXaWbmc7W+Mha17lTJSttKOBnhtZWmILt2yzwEzGL3WVftPwz5UNh5Y5bKPcu3aG
CBYIh0/hwBpWgn6JD7YSi5fOCmfv2OyRy+Lj9Wtas4ZzEeTSxHnX06mzFhGddddMKRYxY+dmnvON
Yu/a0SFHBZomhsK4pd4SlnnLJiSQw6IPYUPdULNdW8RuZH5rO2P3J0r9I0y9p8rkGR05TJwMndyP
U9X5rRjlY9xzc+M5Wz8/PNbwR0hY1HpHWRtdkUwQ1TRxgCfdtYk8Jltk1ltSlNhxorPBsiEUrm5M
IrArnbkOXlIAhqRbQyVrHhaIi8gxMbdGTDXMKjpZzUmOi6owDrzvu9i4a0w93de5LW5mlg/H63e1
auMOXi/gkdrANFXcHh1KvZk1+NgoKh5sTWBONfp1XcSqSgBsQNkH0QAS2UsbB3nt/35GIr4XYfKV
2uXDrJFgqRddl7Rq5WeSlA82daaRsiUWzgR7tPNcel0/HVJpPtcMgbcop42yxNrpAeKaAowC4em7
1DJui3YqJuxcOl0fupxFT6zpGv+6VupU+puL5QinADWA1BLttMsDFBkpDc2E3wO0T3cTp7p5b+a0
2eXZJDFSmcl9E8vem+fp1Y47w3Map9szJ51cnU2ON1sN9aU5m95U59ZppNOvJI74TQIg4Q0OxrUP
BUkims4IEZDVK49bJB2jmCZYUw3q83B6JUS6LNsiWl0zqAWuF1Dmb+Bsy684S0cpzbOhq3rqRS2K
7bx15+oZFRR3eYX+5OiZha8Rw5ZgElBeN54yvehQpEambexIEH2zf0QH46AFJsAlSoK5KxlEXv38
2/P5f1/6v5LV2at51NuwYjAtADsNR1oW/X5urfT5uoJvwxNKJgKUbLTmDFgxYIkVBScgeCamNVNv
OhWfrNpDEAdcxQCMQnedmxwzj7rpvY01kl3oYm3Q3S4urNqMA2L5hVMDJRPlo9VQ9TJx8tRzxpy9
RnXhuBrgtb1EjPHTdW1XvyQ4OTQkddgOiDIVyzHrDvs/A/WGHwuDGD2BrPOAtNxbdkpk0CPUBF6w
9TnyzQ0/uy4aTy8yaGReQOm5FD2lU6drE0TTR93TA9PwLZBSP2nY83CeAAbUlkgeAsOrnjpPO5af
r2u+9sk4BF0OskDM2Gooo+twAn2Ceh6dhucMqJa5rQ2uNZXYqObdVqC2dqXn0pSoBpSoNOWgTETi
UwcsrE9jg5Nl8UZVdlUpikSP4lVBJVp5ltFMTst6RIzbYqvLa8IOPey5j29aIIn4Q0/jjV2BFW+P
eRpw6QLxBbVRtTMVNnFYjxOoSlikewBjhnr3169pVcJS4uaI0pZ65aWRmLVdYZW+RPcExC+ApCK/
mjDZsMSVywFBAuopYLEEyMK7VV1uJLPjQEaZ9DuexPd8lHsnjv9AFTgxUL1bCDnfDap2cQiiCU1Q
ryuBh411v8aHaW5hK6wpgwcHioDT0YK7vDyw0OCxtDGS5vKUHs1M/0x5feyF/uP6vayJQel4gTI2
MPahTmSYVgp2hhqfj9loB9pEr7TU91FWP/43Mcr1Ozw0mtbE1Rg1SXcyyT+Wuk18EFR2uz+QBCB6
1IAQUjD1dSloX4ZFX5dAZipP4QRA0HCmjp+x7Pt1QWsWvZAyAcIfIzP4Vi8vyGzaEFjw+PyxzPwK
lFu8IFO2ZQUrcR/mS/4VovjWWLObicw4tyqXh4i/RnR09eSWhfJYbSFNrTgdyMLBoctiMPjSS4Vo
QkywaOHkJOCWBQFYD+ouXSx2VfjX9aNbNbozSYp7y2ezKMVcla5l6dIPae0PoAjvdDlsRDlbKikx
AJKDMrUYHqC4128aKe4knU8oshGPxvMfFHVsBwOJBj5XE3sBytvgVHEmGYFBNKbzK7G1l5o3P4Tp
bM1IrxgenOiCr4S2wvLn8p6yaAhZUeJFt4Uz5x4CHaHt+Exl7l+/phXjW3i/gaPOdPRD1SpV2PPc
yVP4Bm1mgKwv9+l8E5nanU6la9cvfyAM7K1Lax+lY/UdRyrTkryFTZTpqbfpTxpWT+ic7AYDsJwV
ENevi1s7RDxD/4hTLwsbfjTtoFszaVPrx3lqAB5r6vr29x8lVPmQMKBxhoUDdTTCAKWJA2S/0hUG
iNU00QP+Kg6doO3rjaBhVSWGpxW9M2BwqXuv2QBDmC18vyPg9r0ki7+wJvn5B8dmIX9Harj8cMX2
hpxElpTQRufFQ1+Wjy2bf10XsfLNgor6XxHKzQjbyRqHwLzrokJ8Lm6rqN7xLvlml8VGjrDihyCK
47AIOAOwVXj5JY25FqFnByNoTdtLC203Oxh2sMP9n2j0rxhFo9npFt8KjYAFu9faG0zWudImu9Da
YgxcNYEzhZQ3ibFkKfViRSqSQCthDWRx8nRdm61DW37DWY6atHk8aMWID7VtXlGMD728IL8wSE68
64JWlQGDxbJqjbkEdQYlbno+RHjFXcRHvj0UQSYM/7+JUM6rZb3eTPUSlrRgnwp3JUZs/psE5bSw
KyZESBclQqNciHDumai3UP/WPhlQb6AhhSYm/ihqLJfg1AwG5oBmNZL8IUJxKLPCT32pbb0+b8w6
Sl7NwbSmI13AJu47skj0gy05TLCxeNIS6QI45rXt6GsL9nEXeL2OF1mj9rkt0DnSquJpaWi4SS4d
TEvltdtYKXr5RayDLo3LE3ZojR0YioYA7UKkqbzku5IN3IsY1nejPux2dS0m367tr/NsELetWtML
S0A1Yvr/FSuBWNHWoxOVBsajG9NyhSnKXQ6UKw9l+yPyJfR1dRAfaf0has2/Kie8SSJ+1zfOr5oj
XuuZjG4qUvCbPKxeQSf4JY+SGoBKoN2L9Il5UifFnVjAeluanbCdAgxavYk8fcbaaN3qk3vdYta+
LxPJGJqLGN3DC3/5ffFCcnQw4WLTmIXHeLR17mJ2oPpUJykwI/9AGAj6UG4CVQz48xRhOSrLRk6R
y2DU3cDWUG1ge1/78ftSgE+AhBZudqGkuZRSsNDEwB4io8zJcs9O5XNcZ0GNWsKGOmsRC6YSOAGb
HWJZNY9FANE1cw3fxFOBzWydiudlS8KvC+I82FEmPQfwEBul0pULQ5cIQ5aY6VzmY5QqsD7kZiqr
nHk9hdEVsSvl0WrIhmrvpTD8Xgp/aCEheMfp01Bhg1GRMa/qT1Y07fPigHGm3e9eFFbKbSSc2G2H
FLVGj12kMSNhyICalO1Jq/l9+5gMGw/8miYA6YZto5+LnqtiDaNRW3XHMuYZtvSlkO4IgmjRb5Q0
3mhWL/0UQ9cE4dCC6IyWrmLapV07TjK0lkf3YxCetIfkUD5pOwGIrdjLHhdQUHDauQDVda1j7Wcf
56BEuey+3FWe41f+VqFqSWrU34OPwEAzArE0aIqUj0CgDzuMcNJzWYAb1rJ/5r285Xr0HLWV5jVg
YQby1m8/cGBXPBOqZFpTlNKOLCDgk84yl2b8ztKT/e8bDZjY0CB10IRD9ehSMWdKGO0GPAhDZx/t
9K4Ci28zD39gmudSlIfUqMcGVR8CqzFb14jqfSX4Lu63vO/yn3l3S4RgLhEw4EiFFWWA+N4iCIQy
8/wzNh+bZmOHcmVmjwGKCQMNCGsMGKhi/VGLSaQOpRCU9uLSG4hJMtdEC+uwzEIdu6RLDmOLRHgy
zG6fFTEeuJkQbNf3fbo1kL6mrIVTg03alAPq+fLm6tmU0yzwudd65UdW4VfF99+3DXQXllkg8FGg
KnMpYR5sXiFcZB4madwG+ABa33hJ/fz7UgCpvwzA4XHBUNWlFCOfWTOVNpI53fmI8m/uybzs3TCy
X68LWjsw9BKXWTuAY4N3+FJQlGR2B+B5xItxbx0Tq2zdUY9D/7qUlQEcpIooxYDFDDxmyBwvxVSZ
XgxmE1toXVin/g4087OXfSCHLUDa9+qgZA8fjOdrqQCq6mgA53QmzkqQiwufV/pJ0Pbpui7vnf2l
CFUV2rRNXEFEb1tdD0xVHJ+LYL9LPYqnbqM0uyVtUfgsN+F9U8/tgnKhVz9HCeyX/KsJGJY/UAlP
Cib33mY6FSHoWlUYm4AQ3nxPze8G4J3Ylpt4/1ggkkfRAD1RJNmYartUpHGw2tB3sOiStwDUqWsK
oqFiqBAU2sWx1Kd+V8CJPDT9/JuAl0iFIRrw6AsxqQ77UxwUK1lHWE4xKRTd63MFoJ3Mu36A76M0
SFheJTgEjECp6QqZMgfHp6GoyTmWvAvxmJfzg2Omza7tspsqMTbGXdbMAhUFtNsWbi3odnmaaZe3
Q6RjdWNsxt3kGG5En6zNfdx1KaYDQhe49ndNlERLmhjjvnhrawKCPIy0LziXwk9tbYvFfnGbl68U
ThAvrYOwHXyLaqfDqFqUIEcLd2R8okV73zfjgz0+FFsLRGsO4lyO4r6NoZuyKltMHdN5LsBBhUfH
7rfj50tllNtBSlBIo4MyM9MHt6vCB8yafxHaFiPu6v1YKBYAPQlVe3XHdeE1HpwZztupDX9IP5vT
N25tFS3Ubca3zwcFZNgZmuf8HYoRI/mkl4sLojL8KVL5I0RWFKBZ8eRo2jOT8+3EiztTmszNY+Nl
LsU9tZqNaYW1L+z8RyguiloTn4coh7tg+ghwHBL2voyH+Bhiuci8D7NmNj7Vo8Nern/Za/Zio4kI
3mg8xu+KnWNKJBslPgFmk0OF/qvLRL81ALhm/DYmcDESutRv327gzMlnSN2Bbw7los78PDXYG6ki
UDaywvw4p1tL2qsanQlT3i9zGgpDT+LKLYZR3sYiGX3DGfjGu/VeJTC+LO8d3hTEMO9yFfAbdVkF
ep7Bzo6C9y8xj2ZUva0j6aqfv3tHkIU8FQ4YQ+DsLW86O74UoJZFFUIjtCZu2GQf0rHemmN5b3+Q
gUkE7DOBt/5dt9fB7GxB4Trcqi0Hb0467mLbalfbtV/BNyZ6tzUe/fYiXrpE9P6hGGqogIZjalw9
pG2UsEWtZYo/OdDMT8XdNN6lAuBoYEfdkdu4ca3MM3q/yYIp2Y3ft1iM33sY/AYL3L5oA2FqT31n
8jGZ8yiG2uVY8Z2tWaM3Vb3m1u0WFuN7s4QkfGNLlm4gw1N8ZhLnkgDfv0KaYvauZPFrLMWn64Zi
rqwpwIlgegbdLBBjoapy+W6OQM0N0wafc8tuEkCh0v2ktR6W04AKhX/ntlcWn0X1Wph1MHY/wwoj
NuBO16LOrW2fOl7vYORlBkxf9pCDz0FriNcX4I075WA/aFtg5mkfG5j9PHeAkvXq6GvU6Cje6F6P
on+WP/XzB17qu0YOvi6yIORBaQc5DYAZbQLxouyElw8PBMwiSW/sxnanJ4dMhl5h3XeG3IVF4jUt
u+UtVtqcW4Bmmc63gTNfgBNhtCTq5KBtjOJgQklgPnFA08dG6DZFHVRW5+Yy7tyQ57djn9anIpZf
NMyqRdpX7hzzpPGMMEXJ8mtUcrcBJ10yl4eoZ59Z+TJ2Ozs+YJASc6HGG33UbdYdJ+OB99TNQ+rP
BISNKfFKIGSa+SOdPob8Tk9fYuMQo+A3sU9GPwZR8UIH1Ce6Q1s8jvJjru9ScMZU5KnvK8+0T2OG
HdDadOv5wdIfQiwu2sZ9Vv6iZer28qXR/DJuTp0WBYIS30aqEjvRjoc/Zky4m9avhu9n8z7TD3ND
kE2DLGJMPJQ65+oHkxlmd79l/ZPFsfCNIamsdgfQY3d67ZXic+fUJwo4qDnLHuokcQ3eu3N2N1SZ
2xc7kCeS3huoHQxyhoGeMhPwRF9axjFJXR+l0LA6hApxP7gpORAzPPXanua7rMd2Snpb254ldnF4
H4ftvcz34xgDnu9urH09Rb5cZn4ZvTBcfvhgzA+j/jzWN1R4uvO9LO/AK03K1EuG/hRnAGMdbkj1
GHWHfsAaZ/kkKfes4UM47COnC6IetJoa1rLIrox7bCN+ITP6QJ9IY3t69pyM36QVaOEXPT8Y9r4Y
/4rml7K7JY4/g5AMQ8DdycqeojRg+SPJdoOwwRsn3TYpd239VSLHb9LvDRZb686CJ0wCwAkPoCgV
9rFoDnPVurZzI9oZaNFANRnuK3q088yLWedz1G2wKeSlzQRMma+sv89GtxDxIXGIK6cvs/NXOaDA
+ZxnoCsBdJVMAyN84PlXlrOgEsmJW5XHmPYCyK5Ay2y3YQ6mFuWJyPxQYTMMCXmYYmOsT3eVdRqc
x7jGEQzhTkPPHDsg3gxscy3vD4leBB1lQQNe2hyT9p31IdM7dyj4naxS/BUq5oLu0gG3ZAVO+ABe
u1IDEZfjEu07CeWHuh8CozkIA98nUL5TbXfdW73PmOCrwJYCWExO8YYqvkobI5KOEeIugDv4+uQM
Ljen+8GyjrJob4duDnS72ni217wwIAmXPAkvKl7TS/+oYfA8zSMsnZckmW4jLXPwudXpRvayqhkC
KrBFLrvYjpILsmpOE2HACxd5WR0bR6YHu5OGX+Wi+TbFORjsm3QI3XFMtgpEK/uYOFVMUKOAuuxD
qxpKlkZt0+BUDcluaQzeKGp6lLZ3JTWXaKXLgDBOs588BJ563La2O4bxxxlQBu6Q1cNG4rh63lh3
Rd641F/U8j5lWrpgZleuCbpfLJrhy9iCo197wgnmupAlLOvYtnKl5ZSzvtAEoqO5fNXxQtnzl9bW
v1w31i0py5WfxWDm7IxptigCw3KTDINQrfTyfKP4tnpcS0EMdQR8GWrCo2V8MIccUqLkzuBfJvvP
DgslKo4MDkUk5bBakw6DXpaVm4QjHDgLtUNVCCw7h+3WLMraiQHomlOLgNUSMcnliaEVJlGtRMAT
dtiIKWmJNylZFjEyNKCvX87K5DD2Lc5kLed6djsOL2aZZRn3zCL5VaQowGrfCBpX09T7NfnZ2V9H
Uvl1xv2RVj5gEtxlvSWWiWfAYCz6kDbVd5SrT0aoe6PAakq4FWmuXe35T1yO6+wntgjWmrwebS/R
nkn+fdj8DtacDlrKC1GpvQAdK1fblHmJOArhdDyxe6TJuctkXbtWOLdu1qenuilPdTcerh/94srU
IB7tOwswr3B372a2204AdTTG18fq+AAO0x9ItPe0Ng+OVhzMsXdjok1uq9ONfHkt/0KZDfE05t6w
6qVYV5QkXJoNHHnba/fIVvYotR2x+/cTo4QbUzpr1oVx8AUcAGMNcDOKO58LLR0ZFhi9HHzdIM+J
j3wPBEBf7mYf/2a46Q5gtgcBPvvJrX+iXP5sbPyGlZVnVH0NCy7UAVnfO0TnjiUTaA4w9LJgraZf
zARLz4hfPbYPX3ugEXtxsDUuuXLEKJgjy10GbTCYrxiU3tDYDjMcMe0TC6EmHZ+xwGp9kLKaQGOX
iY14YE0eamO40iUle/dyZQOA4k1eV+6UYCie3qYYlXOwq9pzbaMevC4JrUaoBpZr9VVChhaKcim2
SEI/sa68teYpmMjwBNe8EXCseEEwe6NXgz/Q6d3MaTIJXZIKXjBJahf9b+oPSQmmxzyrguuf4ooD
uBClOMF6MPpy7qDVQD4QUH5WxNlx+jz3+R1IvQBD9nhd3topojaLPgSyTUyhK58gTyosqmQtPkGr
Ak5qvdMcicXY+mg3bMPBr50i6qPwamD6Nd5Bnkgz13lvwcsUYxGMbXmThDmc/ND/uq7S29KF4s6g
ybK6jGEOhlWbSy+dJyCOkiLhXjsFxs7y2pcFp707GgcrddMH62Pv97fsDqQwnv2t2odAIBAvU+lf
/xkrJ0uA7rJ4G2A12Ez5FRoAm0gCZA2XTV23Kywx7XUjeU016XglHZyNz2HldAlqWShkLbsE77Cg
ampXzmBM3OuxuDSmv/gEBNd4a9h25QGEFI4pRwN71AhvLo+WJ2Er57LD+yQbDJbEk3RuZQ50gd+3
FdRyMQW4lHMR4ZBLOXVodE0Jq0VSnB5kZPt6ph3nWD9ev6PF+ymWAjEghkTHD45EDdUwyU5ZM6Pb
0hTG7RznaNYDmWf2JcbtDqUlxW2ZoxZxXehadI+degtbBksZCYMfl8oNCRV0QKsazwDqAH7rFX8l
e+oWH0Uw3TS73x8wt4mBIwT9pYMGkPoEFEWhj21K8ARYg6tn5k5jqPcnwNmwxg3V1sxj2Z7BJOyy
EKWah5zTGMGNhKjojgAsMUUNZuPw1q4MqyzYMsCCGQxdcVhoORejiHBlZTNFp6Sv56O0RbUHrUfi
gZsVA2952+6dOmuOGDSo9rkeZk8g7sW3PzsR6kIWhSNnegLXgzJAPbHMs6RGd9d/6Nrnj3AKnwm+
ygX66PKSLY53HvN2ldtlvYs8bZ9k32UT7gotC65LWvvyzyUtv+QsKM3iqY8bAUltgRgCGBn6/Jk4
W9wbq+d+po8SSCDPt1ppwYqEWdrMm6XUv4yYcHvRsQBXuDIqAT1QNHGs/4lNnQlWkjYiDDszKC48
GaKXfuwPTt1utMLW7wqoOiC6xy6OOkqDQM2RTmRULhf3Q1suOcYxHh4AjfYHb4KBFuL/CVq+n7Or
GuAW0lCf0CBq4yAlYdAWKepNjVtsPYLrRvGvJMX8zBlhtd7i1CS5zQj3a7CAFvLXdctb6brBtZzp
o5ieWVqkABkmjHwQe4eDIWYcLKRj1o1tZXukLicnm7/PdR0GrCz2NaqvNf19wAgbrRuCiwMSDTa+
FI+QpKiiDAlUBbiZF0a9x+3E5WQjR1o5UEhBmkJMQJiBleXy6gxNq6iMUX1xbPExtz+WZX8nnI2E
aEuI8uyF7ZC1VsIqF8m4m1XfJgzQJZujxPilyqN3oYlyXv04YQ4A9I84L8vr4tbvJfMBnbrx3a7q
ggcOdRBUp3Bslwc2ReBDjxeHYTX3GLo6iLrynWGLF2TlxVk4a/6RonxRopkdrQ4hhTnd8wgxrDc/
XbfyLUWWvz/7aMO5CxvkFAiP++RzMtYZOiniELco6l4XtKYLzHfJw20Eh+peBFK1LMm65WKqBjPr
H1JAn1yXsKbKuQTFvlIuwqrObKgiy1ctEV/rRh6Mhm6UTlfeCoyeQQtEODbm55QTi1lSNTAq1Nn0
u7yYvDL+NVsfzazcN+PH6xqtntmZKMUDlSOoMUDGhc9ysH/ObXzgPdniwVFZhDBcgHkghNTY/QL6
PRb1Li1AjmJwohJhQ4t8Qp/dDG2Sb/nO8qlrePOnEO4m8zhadJukeisXhpauvkzsYr3oXcVgsEB4
ZQhIljWHX5W+CJtjXUYbzm3lFJfuNKojWGR33q2ciTZEWJXjwoxYNO6cpLck2yJvXVEFR4gADMvI
aBTrSqdgDDGk0KJOj5G06BH+HHxl8+wLk2Ybn9FKCn0hSPHUQ5k4fdtVNcK9vHuJ85jcDcwAeGto
OXskhuMuZnG8YwJltuvGuKYiqgR46FDIRp9YkRzlUwuYtxElgjbt3TTTMnca2m9imrcgPFYuDPuv
aIIsEKIIWpTk0p7TjGpOgU5eFuYBgA479I/mrStbOUmsBGI0Yhnrh9kr+rAhT2jVmGjkh+GI9r2g
n/iQ3xsNbB3zaWUw9VPnhXMVB9cPckU91AdQJMCgFYpWal5GnWjqQqev3aKeHmQMKvihZhuXteKk
sDOKBH2BF0FBTvGFWiaARt6ZaK62Bn8GpQ/9UEjZeFYUyZvabg1wucQh29Bs8UfK4+tgzB8AhAhW
MKyhvIozEK+0WkOwYpj/Q9qXLdWtNM0+kSIktcZbDWsCA8YGbN8osDfW0Bp61NBPf1KO+P4NYgUr
vM+dw9iUeqqursrKDFVqnOlb3QdPeI3kdIouXFyXbK2z/Orimi2XSN9FtDmWAeqJ/mAnvjch2eF3
bmpBhffjRTuz+5HqQBvpGiGhGWQzNBAqGFv3uIqRpv9aR+Sf0nZQZrV19rGdc5sDuGWIkQCKh36G
za4kSDH2vIDLdzvzDy3gHIEwu3BRXrKx2Rw+2JmmkcIhzlHVH5xCOHkoyvLCjF2yspkx6mg4xHUA
XgM1dVeI61otX/7/Zmv9hleboAf15txp2ChVm07AOJSBu//YxLmFJ2tXNA4riBn+4FlemQA8UYmF
YbLKOUxd61GC06q9RPp0ycjqq14ZGX1tTVYJI4z2N5ZzJ2Jz3S2XQMZnV+TVULZ+dSKIXBZYqcXv
qHgeh/uPp+rckXw1VVtoTxcHtK88/H4fDd2urlNSFQoITCEzc7HL7FzcAs+NwAFU4shxbeHMlI2T
5OucGaDyP9u5/dJCqJIDmWXfakCE/GT5oxvrNmnjZR+P9Nzd8cr2dqR04ahuF7AdTKRLJ+Xc2hPJ
FqByEjKjBtPQ5cqT9YVM/dn1+3fE2xB6Hoq6iwaksluiH2JFbqyxuwSEPGcD7RtgN0IYAz+08T9R
oYCyY7AxLM8OANt2cSF8vmRg43yGWlZQM8DUieiZh1WGEDf5eHHOHabXQ9g4HquaOiuw1o3RDUnt
XYFkLBn588dGzl2wr42sw3x1YiF+RcO2XssKNqLjWqVE/IzQwWnKr3VzgY7w/IDACAchC+SMt5EX
cMzx2HMMqKgANaTDF2X7qacuba9zqVtQR60Y21WG/V15S1l6cYd1TJXM+W9xvYoCNLs4Hf2reD9k
/f7vGZ/Rt4ZIYcVeIPG+DcHKvo+LZinRwQvI3gRAUtnlHy/Tud2G5DBSG2gZQYvxxuVVWs6azrBQ
wgGJ3knl1GUfmzi3Oq9M+JvQX/OFNVYV48YW7Eoae1cs9Z6N+sJ1etYMYKCorRLUPLcsCVoFRC0N
FgfdXHmPDmewveaztv/DdYeQ+P/MbI5naOLC8zjMRCL8Kkn/qSYm88dL5bJzV8VrM5sz6jmGhKLD
pJVVcZzcAuemTEW3HCH7ccHhrEu8DUoR4AO94KAOAvr8tye1MSyIGfCBSeh3D7PuPlmtfNJQCsiE
TYCcC7+juTfMmOddOLZnx/jK8GYqy5JGzdDjTRibhcMYPbnaObQdR1tKcKkgd+5GApwK4KL1UYNO
wLejdIhFmqDEu5D4XO5FN1c3vGicq4LF4GyrAuum6evwUMj/kDvHMw0UhmjEA7ELHhxvLXeWFQWW
sYpUhyBRliY1g5/oaN9GXUrkJbmF95MKawDHAWEAFklQ4G2smWEuioYUKQFRbxJVcZepZQSbS11c
twu/1Mt+zhycEyjpoR2Ah9R6Dbxy8w24SWjZ4602kPhIwZTtLGjPq+x9b12iZXrvqsB7/8rUJgas
DGu9sYWpaeggVuWSJ17Kvz7dqw1096BdZVXI2LrD0grqCtHZ+rK+As665lCUsIMLbdJnoCBodEWK
IETJHQk/b/Vlr2ZtaJslHhqsisy9U9AeaojI5kUWQCkeQPbATVrA6XeXMFZn4Ppvza6L+cqsL0YH
jgAz6O2bO/AJeaBVGMhVCSAVja+7PXg9IX03I2y6ncy19BUUWdq0Ty99yLmVBKAQhGFrXu1dCVT6
KB/Z1AayCTBlwMSTgg+7v7101lZinDlw7+NFuj0GnmqMHOYF0W5RiLQZVh6EumrQBUkuCQKfCbRX
W3EMbA/eP0AzvZ1W1+npoIbCSmVOdgPbD23uP3UpBbJnGpOwTYorX2eKZtXpUnX3fZQF09HaL+Cj
MecdhgpZGC5qjplsYzpldsHbXHHQe1n2Su/qfi11wP/6Ol9NEpTnfbzBgQN4O9rOjB0rKXDYgYig
rmbxq6lqh7Rr2ks0LucH96+lzSkppfK9bvKRB5r8E54OUHSu2jv0nNwDrnYfWe2F58P7KwIjA9YX
yQU0kiH59HZkEZTbrZp7PFGmsK8itYhjIW4iy6luwE+rb2epg7QjYZt/vFfPFNJAa+iAEQms+4A7
bHF/U2esZggVVpGG7g2plzKNHV6dpJAym1k15JPf1j9INy4p3HCUNiVUYMgcymyYVH/hc86dztdf
s/GzQP+VlRNInjiMNKm0rbxHbufCG+SSkc2Z8SNwXSsRWak/gErZnU6EdpfgKut6vQ1s3kzrlji8
M4SCvxPTatNDE38vg19UXSqnnaEWeGtkc99WPvPRHozZknn4y8uHffdNPKqU7tp0OHy8T7bapQjQ
YAvgBxddQWsj/CaSgGBdCIRrWWb1o//Lr5IlnVfB5qMYEy9Fg22O18+NgQuXd3OXiBxKAHsGSuH4
t7go33zu4kdCH+DCVYwGyJK3h4VafdM4KE+iqQasr2NQXZe9/92j8Q/TFhcO5iVbm4MJdQhrWnoQ
eLQIaURTfLGn8K7w6jiN0o+n+JzLAfcVWrGdVXFkmzMxi2PJoHBwbZTxj5GGt0LEVwtKXZke6hug
Sy8s6Vl7uAZXnMgfSNXbWdSmMzW6ALB7aoVGEj7bwK7UoIMv1d6uu05mzaz8v4aQoyaL7YMnH6Bp
oO/fxMLTCFjSaKEzD4TU4m6IvDo1btFmgXbp/i8n9I8piOehNQ96P/Ym5GihktSQYa6yBsmnpfqH
++4xqB8qb9wtUX3h0n9/GGFt5aTA+oHrBgznb6czbgJIv3soYnFHTonuyZTWom/y0szeoZs5+p5q
cCYX0ik/+8bME3qSfCuZIEB3YSO9F4haPwWlQ4CuCAKDLeJYxYHikewqKJjrfL6WN8vLfCUOcHJI
wqbewf1Zf/lrgPpqE0U2D+cSrYr+xnM7RjM8cSjWdTb6RBXtUqeu2d/CFP7op4CtJYgBFgd30dtJ
Ro7UbknIyszlL6LtU+rcLMOl+Vs/9Y3v3hjZuLqJxrJ1Y9z9qCBgunpyw+f+KQim34WuJ9DUR1/9
kEUXbqV3N8Yfq4AsAEgCruEtNq8dSQ3YH6zK0RvRXDedpN8fcXFfRAGu3/9+fP9a2pwLT4GHMF7g
aCKwwFSyf5Se+eQP8U1boLtnGQ+DaN1smN3dVPiZo+1jy8SFh/+l0a7O6dVzoK+ssmk91MDAc7Vj
YISPW3nynUsy4mfN4BAg3Ic8n7+tVnrc1EK5ssxC1qBhDfEx+tscOLiPPc27iGJdO3g0tE0gZ/aO
hsyZ3NrqAowGxfrrOFJf3Ib/dYFgtYEUCYqGIO9/h5cmgrZzy2IMRTj0kxU61t6qnd//YSB4G8JZ
oqKG9+jbZXH8njA6BjzxhyhtHeSATKNePrbxLuezDgReGVkCpDLRvffWxjLLkc8B3g1CBOWeO/vO
eqRX4B9OhI7ZTalitEFEnnWBiOnsVnhldhP1FVNdGISyJR5DDJWAyvlSD+iJncP40k2wXmHvztf/
WcJj/u0AOdPaFC7GUxTuo8/n5loyV96LK82W6di3GWJDNw2pK3IG75/Ekw39pArK1C7h5dePZ/vc
sJE3BlMXhGXwSNwcNEYG0dQ2ZnsARpNxlTsS/AnNJady3gycP3D2/srl+nbM1jBGpArxfjGV/zD5
c+pPNHfn8PPHo3mfvcDmQUIXjGoowL6XPeik1rXvg+HPPlX/rDlw+RDfyKx/rg7yy8rj5hw/trg6
w+1igh47WlEweGBv0+CTIxjlnlOi0dNLGwKOymHeewVNOvPzY0tnp/CVpc0UFkB2WJEwsBT5qVv9
HoKfprgUZJ6fwFdWNvGXYcQZHQ8TWLeJ12U/gmdzALPVcewybxefgON9+Gvl13XNQCoN2oIAuYIt
poJNdW+sKATega6Z3gmK8gugUwBODS+zhXThx/N4dsXQ6+Eh37mSXmyOX8W9UqFOU4Lj2b6ihB2K
BUq3VpHYl7QBz7n9lYH1f5Y20Ug3xfXiTgvoJtV12c0p0hMXxnIulENyBdwqq5Yo9vy6aV7dk420
anB1FeAP/EVB1/YVOtA0Ce+D6+AW4nHk2U66L33619jGdcViNAL7ADmAcWVjteIG2iWmEck4BioN
Z+eoHM3z/7BOyKbHa3i+EiS+HVpNbI2cblmBiKxoxiMZSD//QDeBG9cAiFrERUeQi8zSx1bfc62B
sRD1BhTrEKf778QOy3JwomAaRNLYhdzJZRBHEY701xCQ5ooGzZhpv+5TiP8gbxa4/WHqm/jh449Y
52/jVPAN68CRycKybq/AkQtVSxARSD7tmGjSWcnE89UF33XJzObKY7oHvS0ISjO3ADsGSdh81M7z
x0M5c9rQD4zGqjXtj+tlcwb0FIg+7O0ma1EySsrGBnu85f9AaJJqq72QvD5z4GAMxcK10Qgd8psB
tT3oPwmHsXGCwkO9gO5ouBDKrffhZmlQFiKgFkC1ZBW4f7srwSKKdZEzy1TtA0nHo2foz+/6eTh0
4/ANvUH9hQ35fpHQ1gchDtxm6CV8x8g7VKUw2nabTBUP2voniH4W4Bz5eJHOeH3gxtET9qcF1YME
0dtRMUad0muKJmuO9cGJEgT6fP6KivWqigRiF3B9mVNtfvELYf77BVvtoukODgWbI9744oEYaqEn
rst47H4vzaiSphUXdvkZG0ib+EifrpH3OzhdXzSTF4JCI+sZ0C19ebBCN/94/s6bAA8vuhXhibdB
FBDXLgGDMc28QD00jf1k90jqf2zjzD4A/BqFrDXyxhtws0SFZL1uNKaqrDs7DRxRfI1J5R5rVZh/
PjZ1xgdiNQDshQMCZBQn6u124NCvWmxQ/SCKqg8K2ol5nHZHdQMu479mFwRNBvI9ELVZ430wNr01
FYNSQY8CpuqlaCEtOz9wv/56YTzvndBqBDkP7La1n3sTOgWuoKXx/2xvk3n5SgDs5fMBhL9tatIo
6fPmh766lBM9k/J5a3ZzgwHkxNoaauI4VeoobleG4RWXvRybU3FhB76vn63zGEOfF+QOYFLc9ppE
4CgAwoihopqhgxuMGFUymQSeUKbxc3eMdnjL88ykJHVR1ko9AKsuxSLrrnjrGqFdC9+IxBJSeJjo
t0sZzTMaotZZFnESnLq8Q2UXNLI/ENT5ub0DU/VeHn7Lu+BgFxCzvmT/3CK/Nr/ZtH4Xx7R2ui6b
xhYMSYAIxCC5a0QajX/d2IPJxkFcs7Brs/xW/C9EksZ2ShfQuJGk3fSZIUGJ91r2H7btnzLhipAD
kc1m2zaLMwXak13Wf3NPXlqlw4vX3dugVUpN3ufdl3JnoDJUpODX+tj06ky2S/na8mbnVn3QLogO
ZFbHzans0MnIg8PHJs75MwhYgrUMBXpslvUTXkWuCzoy/Yog9A5qMBBqC+Lg3mJ7eVPOlySgzo3m
tal157wy5fZaWmBckmAumpCXJ8ZBF5bfXbpn1knZTtrKNfQnMEZksNmAZAB1RkGw/wFqVJnZORnN
17qHgP5eu/sfJCu8l59WYgf+7OV1boHwoc6rLMhk1t5EuzaXx+jQ3bqZB9KvpN03B5GKT5dD+LPO
6dXXRhvHu4ROv6gOzok+2viIJiuapN6TE5g29+T7X6/12vaOtFSIlDNkht8uQBtWoHCxKpUBHkut
+5icYvLlYxPOehg2s//axpZ1f9QDR34ZhG1DqI8qBKdUhRwsuNU/owEnaSYINzjt13oxRwHatyi4
by71qryvgYG9w0bOCu0qyL+BeurtMFVEKw/SG3C6O3EMD/4u/Fnc0VOUAUOPneAe53TBHTCn1l58
pmCtyRCUQHUyVTty9/F0nDldbz5lE3bHI4o6psTq9lW4CyTJaGWnRXiJDfOsmfWBC9Zo6N9tA24G
5W3EyYFAPnof+7e45KGF8dfkkeu0/mtkCwKLJ5B+qsmZs6ZY9T7mlED9KaA/LP5gkKX+eOLOhcKw
hqMKNl20c5ON0y2EVTS2wSIGn9EBn4Qq6R4gN7MnuX1Qe/Hp8sV1xj29sbhxtrIfQVkQIcECyB68
+a3TXtgMq+P592jghY6cM56SkHHw1vb0LZCytRo6aBn88AoJWDf5vJA9t8Pd4LgJwEaJh5JTEkaX
0MhvX0rvrG6xlT2a7aJ+Dn5U5VXQDns/MklFrbSIazCmPn68am/vfihpoVqIsBth5J+emWjjYLRd
S1uFsUikICZKkfYBrW+ziKjFE7BHc+9s/lL28Z3N7dslDirhhxUHtZ/TqDsK7dyvcczGC9fk283x
Pyugk0OSFhH5Ngsyakt3tMV2pMDkTwWult4FLPHj6XMvWVl//uqGJF1paT3AXajM2fEy0Q/mJ3li
dxUwxEE2H8hhSFfW1DF3s/GTCxpf/JntrOPflQmxOeE3gTQB1cEqqIlH/NsPCRffYaVXICE3ts23
tgIkt9fVpRT8W7f13somIEDDJFTiS446AqOBv1+ihtunwF1KevLVyNSFNdwE5/+zByoENGgje7SV
b0U3F5NM4n2Ii+EawbmWSQlh9Z/8B9RbEw/xHIgXkeKJH5c+mV8uV183t/37L9jEJq4OUO5m630Q
Vnt7vPLszw10mFDjSfrxrq3jBPfFDjd4OrO/C7/+2EZNCpQl4IWLABXfrOnc9WUQlVjTZWZ3RU2/
YpYu9XRDH/xP6uWVm1v3zhs7m1WNhVCsmijPw06KcUqbUAa9vvWHAtQJqDuXoT2leiEd07tRlD7V
qaTai/Z96y4aWkSyBjItjtgw5oUuHFndFH3Qkf6GL1x18gE6fSYKgZpbnK66sdy47CzElCwOxhMW
fmAkHUXfg018sVAWrvZ6AiPkXR94ckzwNhNMp4uJ6Ji0pYfaceJCnUDhfaJ4cV8jNv1q0MaGx9Pi
QxrQ9oWDp2LU2n0G1u7RyrzeB+WqM1fO99oTon4akBKYsnCyAdfsFOgvctJaAr/XVwDZIdcB2sV6
GuBx3cVqTTqapu9Su1WsPbJpVCpZFjo+T+heAJvdUDR7XBTRD7LoARuCyOUlbmn9A6C6xc5XjmVx
mOnoF1eep/kve3J6cipdYuzPTkX5MzBgSHYXfR/aB9SJZ8dOGzl4JXxW1DkY9UyKNoF8lxdmvWnV
U1ws43AI2BLx68Dq6sclCHkMIbmSfWVFGYmHBnA4mbSyNQhf4parnWZMVHswxUjyxRmCgSPZEuvg
UAEI7mcFZ12Ye40zsmu+BBIJC2Ear0u7aHTLfBJROSXUX7wpDafWdXeLZyQ4UKvBi7IobkJ261Vg
ncvmwO99kKiS0U3LCinw1LGcekgHWbHpCG3N+Xfc+dxBk4opdTYp2xAwTBcOOVkcsj5ZwyoyHwcF
hjpQrQ+mSEdQn6NqCjnDe6aY82SFM6p7THJZpYU/rF2rdmTmTHS9U+54gcxMVhXoL0tcPMgUfIQI
7AzsRmZICkvyh6BgtgUKPpQ5UgMS9DYtLbcK85KRNrqdQdjbJWjZMUOujSzBhLtY1j5U2sRZ56sY
9KyzsdrP1uxZ/Ihx1TPNDUF15MorLKEfglkLe86nuGQ/NQD+Vo4MDqSaEwvdLtGYlW5dihsy++p6
aZqeZ00nQzeh4AUFRXPUu/WxAcitzfjUIontgj96fKl1WaKIFSqGuzyRsrIV4DZFh/o7N4hGFvBx
uMkwgyLkC2Rp/fjn6FUEFxFUtdzUdycm0gWySXVSDcKqU0/3UQC4MOVoCAgm/YQTjsu/piN9dJVW
Iqt6G+IvvKDWi+ej479YGkqhl9WPByxvx8Qe+IBJBIl2ees8LZj9xYDmOaymByOdW3DR+aeQQ0Dz
U2yVFBS6UEmjdIaKOSNVn7nVPMbXgJ5QCwTWzuBCa65lbdVekZbY6jm2LaTHH4Djb3AU/LZvBU9s
qxvbJ953tvfcVcTMcud5Ril+tPSARr/MaazFnNCegl4OE4sA/6ce0CppgbYrpuNTGHbE/43I2J/t
VFHLceYkMipaTnymEf1MFRzUqYknL04EFGL7Hfg+Z32thdVWNGlrynsHcNK4tqKM0ZaTMdHgC2q/
Q6LUJy+lN5LgJ/QCw/kfYEDdEEXxIV4Abw+m2e6RIyajrMvcwLD3DD0/n30apREFzxx/lqxJlkhZ
5q4evA7MlwEaNTpwYQwze7IpsEBFsgqe+FAU9mJRAnokpgbMobz34jnMAvT8dN+pJ6emTGrCK/1i
hR2qImg6saX9jxh46DUJtic+KWFhrfh33fJefw68cY6Pltd44qmAEwczd1i6xe8QHLHLLZzcvHxD
IlySUxMMhUqlCkuRGWwj/1D2o4DIDnjL60yjIdJ+HOJ4XK4Cr6qHHBUHgG3kIj2xAzht4TkB2G/4
7kuO8n0bjjPLFzV7Zd5pu5e4yYOwPPQKrak3knMBwmuQobU5KjsFOfU8KsO9Wy7Wd3RuRd8Zrg8N
uDlpWA0GHjBGzJldoewcpl3pxJ19BOaB8QjzNfRy2hfMilowjLY21b8xZB7kPe9AMu7jqfdb21qP
L2KOLVB1QPphFN87aDyABdmbQ7uLEgn2kPrBsvW4wCsyhuWwGQu+RXHRzkBp1bXhR6VmG32EkEw2
5OtAhuofGbkzv5p7b76HD9BkvzBI99zGgXCR8BuKnqGBmxBLLCkDZrQLk75eHFxDANmMRqwUhcgq
lQOImb+DF2CBNgpDtsRypwRKKVMygLSnBVOzPZTgOgtRJfJ0GS5XxVC64ZeSIm2T4XK3X9TQLOoe
YthuvVc8JhzU55R0vxc6LHFqmpYPKQ98qysSGY4SAsVN0dY3DXdHK2WldsjOC2Xj4Gy4S3MVLcwB
BA9i4Rb/ybqor3eDjZ7AK4v7ws/EDD7033wcoFBHRGH7j3GJR+IvoG7GT6EwAmD6up4I+H28EmPb
L2D29jIuurG/96nLBoDt6pZZL5FfRdFjYM8zwq/S8gswlCtm7C/lNBrQm9ujrq5bFGSqg1M22sqJ
qfF+0aYd1bPBT61vYd+YHifYjGgfsLTd4W6KoEP5uwDzC/2CaMfUhyjQ5eymC0I6ENMXpmU9avpT
C6y4bH27S5ouVOQrnTrh/0B79Ayqz0KR8DpClmD86g9LwPKKKu0FuEIbzn44NehlwXBWzeDWV1ym
M5bkn9apZAkqM40XwTLRpslAyaB/A6U+/wLitjpMg+N866WIp510K/cwt9XkHWMRRVcGZNIniIwj
NKxLXnSIFoB7vGuLYcYNV/TRTTWX7Q18pH8/D9z9Ftd1+21CU3KByG2sHvFwVvug5O2ujbQPKLpc
6ALtVm6tFAmW1aSRBqNhQsc6upkitJTKGPB54BOHaA89irq7Be0y+9nIiHwTAyVRYskwfGHgrt/1
vs0/+41H70lEhx8VFEYOwhIzScCjTElujUWcgS5PHhSzveLGgQqqPA5lNUGaSUfzF2bHlpcOUVTI
ZInruU111c8gxq+Ac0j7upS/kNcAhTuJBlAvBl1BdnqGJEJdLPKGc11DHZi20edAsdF8Va0Y7pup
6l8mkLWqTI1e4yd1NBiZTVCHO3WzrKAn0PPbyrEEOOqLb4i9vhPePDKgwFMpCU1BdlQmvYcQwpmm
69LIvRPoR78zU4JIAwWKIJY5Ysko7XzryUaHPngngqc6DvW16JduV7qIX4cxvGvR0Zb0w9yfykA9
I+Tud/ZgwofCV+IXWboSC9lOOUTRnqcwvv2jdG3Fk7kLwwH6q0tjwKrb9tCuJ+JHUeE4RFAQKFoP
GPGGWZnfFEU6j9wAYzZ4+7JwnEeuhDwINll3eL3Ydmo39tTehLRwPrFgIDvlaXGlCLPv5nE8Avnb
fvbHMvy5QKD4kfOl4/dQHvXQs1CMzjFSOFApmXn3qSNFV4JQHYRKGdjB4vsFHBUnFWiiwcvXALJO
erTCVyWRT3U/qYQN6qVWQ5AZyaJsAcXJHl/+e+yZtWvi2CRBBMmBIVjjg57KXc96N5WY0+McSHiG
SFxXkX8MOkFBoUPavQU1gXLR9OQp0cOc5CRxwKCdDgzNeOiTi8Hl7z35Qog87In/CTXwCiGL39+h
C6NPJ8IfXW65iR0O5kq4RXmvAG882mDfRM6AfFKte2XHbQylAeKmrEPz+1wFHkBf8Wfk0a4RyngJ
LUI4r3g2j1pHUwYnCyL/wtkNWiBmm0PwAzcDDqcXd3iIeEEKUqM7Y2qEyqPvpXEnbj1B/WQIOuj7
GSGSuSURlDu6IKVhyD+VPtQ2mA7dq1H7d4hBnq0WURF050LsyM6kiy5V7lNEeW7YjVcjajCJ7xuk
SG0Hs9ogXCNTsI8YpH1U35cnPpKTXiU3Akn7VOAJW4xtl5uo2jc400hNQrk37m37NA8m2PlMGPwL
qBBxa9Ypj3tUinBrpBNO6A1Yo8LD2NIq7XD3SGJ/nmPTYo5wbtF3h7nxzXi0VU13wWzLpHPJ1VAj
PHWNU+Dm60zOkOwDEVf9LVbKgcqDVnkU9UPaVvzX5LBn1ofztUW9r55Ekwxt5KMODEEzS+Wni+uh
JcKxKagjG57hklEZLZkCR+PiX1lFb+0je5weQo/hqWopL7fn8AqFRgQbPYQbOIX7rMBvKXATp4xP
iKShIomS8rDXwj/wSmTxPPi5aTp6V1b1CQKTOqtLFHnV2GCdrZHkJnB+QKYPAZ8b8aTqMcGg/IHk
oNe2x6ZF+cQbVvx2iWgEyan94tESDMTjNXgJDCizEb9XrrhGuhGspWBdPmJXWdB1Q2REq+bJHSHr
5a23dGm+VjNlmdcqdDRaX0D2nS0s/NYQ8MCoKTgEhUCeJKzumA/0g2d4aiZ2XwzetwoR+w4vMLzO
PD5+LgeQuGH6x7smbqZdq12S2cLJihm4qynun+BnST7U8M019fs87huWLn4PwolSlcdycfvcwd8l
xQI5m7qmXtppH/SHQyiSdqEvGizhGUVSAh31IckqFf4qXH3r1Mt34LW/Mca/Cy1uXRHd1JW+ZXG4
6xEHJ0rUpwDaZY916dx2IYpQU9QvOZHRabb1I8r49xV6mXehcW6dEbIzYy3n38PURXsCtjKVzJ3d
4NcgQAE9OG3tHGF3c/QEZJO0GxjQ5bQdJC3+CLBDneFT6FGkFCYb2yKyTK4V8XeLauxcWV2/H5Ss
7/uASnDyk/aqKcvlrmiX8d5mQ/HYx9I8CM8b7xu0RuxGUBd8YlGs9mCcba7ncX1cDv2wQJvA6vwo
76eGL59tJLfEPpices7ioOcHn4UPjl97KokWN24g8xOoIStM76zcgZAwTbktP0mf7EugY8F2Sosc
EmLqhs7celR2sOyi2kbxsdK/StvH+z8UYb5MpoJSCviJdTWZk7L5ktI6LJJhGFU+4A2QBb6GoJCP
TRssdZU6jaigDxABpRwX7iGOy6u5GL5NEaVpHTvzU4cScT6h9fgYQ9Ir13YgrmjXuRmlVQb1nnZX
6+7OI+KG+rOX+cqIXajJchd6vpcXljPtGmQLS8OWXemoY12UB4RdwB1FaPTAg7reL0iGgJm0Uwdr
QvOsH3fPDujFbrQu4deYTCF1OEI7HApCS2jFJ7uj5SdJMS2YVecoQRuRwdH4D6WAyEvf2EABu9Vt
RfVNzzz0VVoNzt0oSILWuM+emUF3WSKbU3COXxhcj6hHpT2ExdOZT8hPgSowbdhMsh7L9dJq2e2R
c/hiYqL3AwlFBv4ucXRaKA8zZefhgr7CwalBwDCwBvccvUH0vfPUhFeXDyR2MbGDPzvJXKgjtUeT
xDT6IdX4i0kAliEVYu8bK9JZVJUvqq4+1bw5shayJa1Ag2ZPr9EOe2s6dKL6HMolIVx9Yg9RnIRQ
VUuUPZe5mlbvOY03vpmg9RPHqSD0Htm3E3x0piv3VyPZUztOWdFKc6dBSpYyXyP+58P3sGPejg7+
izPXUPkKvV99hS1kNLeh0AAH7Wt+dFuyA6y9Abc5v26K6WtZVDHgyRwUcMjCTUlVVU+QwUSlfWWy
T1jfPjLf+eJEUGFClHtry2W5BkrwiU7y0Ll4ii/a/jXZNI+GdtzFAS8fgadpk85CDwNUVtHIqdqD
mtur0Omskz3CMVTWAO1rrxXXUQNcIyTEP+OKvVLltKQ9VddtZJ16ggC3X1iXxGJlZpLFqa1NBnr4
H9jR6Ri2n9xlSZc5urWb4tFZpjvdzgfXMwDVVs4zaRcFNTIw/8q2qne0nir0PgAQ0vw/js5jOW4j
iqJfhCrksEWYPMxJ3KBIiUTsRmrEr/cZ71y2yiJngO73bizRi9p56Yb53PNzNhIc0hlL6rRynnyZ
aXFhEKHKklOGupt7YVXT3+p4yntdvAwebqT45cRIPYcAwXQ+9d2VuFoYtLwp4kpW3AWmdxGesV/w
ssZ9a2ns7/wkVGu8DbPfh4E/EDkkNjvMpzaI3aYoo4172ygFG9N2Np2B+H7jFrw2/Rbmxj3euEZY
lfUUgfzkl7Rd71PGVaAm43GrfRCh2oi7lkrA3l6++qwGlxuUjXxq/EmD1rtfdTGGQTp9rVJ9VsLM
ItNpNAQVbKF9Zz5iu3nM6n6fpznxxXPwXOglMIbj/8yTVxKbAOhWuAJceZxLvlPF2FIMHwtbZDGU
/9zctmLgQ0rGKQTjajRvOfZgOONgkgZSd8nktc5uDsSpckd18jUiMK3UoJzI7MYzKGEW9rX92+Rt
HlKd+trSs8Nv10V6Ln+lWe6N0rm2FbWpxeBvcZrlh3HNT6yg9+2S3Q+EsmyDhZjVmz/9PH3q2RST
rSv+SSZ0MgDlsd8mGq7qNNw68hgchLyh0WeAgu4/X5N3w+Rd4Gp+l4xIq3rUvubOP3IOngpavnd1
qV+XvCLMhEoTsHW0Cnm7z7r+O/PTJzm1TIKb1T95G1VxfvDXyosgUj1NYn5jv3dO+WDV1XUJpuyM
y/BPUSxZiJn9owQei4aCHd5ttj/NLRfcSv0DgTPicVrnZTdSCRrp/nBSorgg+JGPpdtbV5/Nd9Lh
+k13OatGrjHPcSyy8VwGWR1irNptS7HvR6uOOZr4XKT1TzebpNJrbZ9nBF1Grrva53rR/8EfoEmU
WsKdRYVR/tBY64cunWjU9T62c009avy5SB+LfWnWR28pz2qT56ZSA2ljrv6QieAoNQUkalKIJidm
jnYOKE2anCzUAbySibw47sTyVM7qaMPIxrVo62jw3Kc8bbj9Tf8nrebnvPH2HI33qaHhoLeX37Gr
SVYk1eNAFsJXz+/jzgRKcVclVjX9cA3fSRUUSVAzG5JFeofmP65t7cnNKDysG/noKamYfuYdv96u
m9JPjwEB3o0nsNQaTtD5aEzpr6t15QHjEWVleXPYbn18qSP8qNNSMxab+sk7nLbG0n0qjfqSzn7L
C/FU9Oa9lo5vzDlXr3O/x7JlFZ7BuHvN9ULwMe0i51QA3OZ7lQpvX7Z+sff5PdKOAp2JdLuk6NRw
nelfZ9wqr5VunZzMjEkT+Gss1kcm2ZdT2p3PLj8LtWJllAGxhmOqmVHPQs7BCXY1NSr2QIBCFPgE
pK5AiK1ZvZS5/TilxqOZtkPY2igLaoPHFwIy6ZvSCnMGM7fWIyGd4piXvtr7A6ePLVj7MvWW295B
GwE5s6w+GsJ/DbTmrPU2TVzaperNo5OmcSV8Rt/c2eMRoZBNIOyhBs2slX/wN/fPOmUfwTrsaWvj
lcyPaxFwNo9iCgdt24GBuHGvgmffLfN4+V/jT1sxC++haEwzKgPtnDEKRI2ljeEYAIP1zgXaIl4A
IoAOy79NY4CMa+VR9qIP9WXSj6qV+2qcyfcvq/Lq10Di7pgTIDy8gOZ04TKYcAvueXArcrdopfcb
7WgNVMPNF16BxLH0pHe/KQJ6NBWxyWr5W1vdWfMVr5x5N5jiaQLTDdS0b83towjgXCwvWeS2hc6w
PstRi62aU600x0+HykpomOI022McCFvfs1A/ks+2B5Dad02Z9EEatfA2WmWGm7Ulc5dFBbKezvXi
W49EZhWn+n+WCnFXCrfF1fvS+MuHkc4qmhbnWTnjfqCuoS663bS9j8N6bVR3123YtZuAx64Tiekt
vyjYJ7zNUx5l5fYqy/V99c1npy3prqXt0jYCbT838mnlKYrGQjs0egfcQPLR5Dr3aNgetVxcIa6K
yM9pelT2py+9b0c5HytqwsixeVg6RyWB7R7opc5huboOvFgXB1WIYy/AwFXf78zW/YVf5JUeTmLm
hMLYLTcv7Prp1a8l7az2GSz9WoDj5L24o/QqFsrdDwWhrkPmnrqcJB3D0A45DFrkaPLBGG2ZkD9+
86bO98GanpUhj2XqXKyumUDaVmhCt/900jkSwXSSGeh+vdyBzA2htQ27kidWU6MVyrx5krJ/ay36
Eg0SC2ZRnbYtbZNuplh1tMq9GJeHbGwYW/xXjFhJa95523SofSdZSB/hsgbQh29yreLS69MxLbwz
X/k1771HS6EDDrRkXLIHBmfBR+k/5u2418w2yvys5HIIcPQvFCFq0nnTljqLnCLjO2Lma8RytwTL
bl3SHdhtzVnWEOqGZTLm4L+vMu046IEA+ij/egMPVb2EJgmDwbDsJZMeJWXXWRo4aKZ/baV/umt2
sWzxpunTk7MtazL5nhYbWXPcvPnZcsbdMHFA2OJDq7oYID9ZrYUZXVEbaRls1IZlHYSaor7Nksmd
ktW14xQQJ9T99MHqoF+3lnpSukmndP6iA+4FGJeNWJxbU5zgdU690qJ59X91trjQ3GwbgUsajut0
p7AFRVJ4d7qHfM9yOTazT820f5dJPbtN24TW5L4DVDqRpRe/W8ER2fuGPIEm13Hmo4yR3ZQ0g3Xu
B8Gw43gnSzldIiz72OHtbb1qt27O+9pWEQEytJAud2CpfzInRXNenHIOGdGBFToeqDWohb/64dwv
X3pr0SeZRjwfu0Lbfg2SAtj0LwYTRY9Idi6s+8xkf5jdaTcV06nU118NaTEapPJa+FCqVkac3Pdc
lOEgmmFXKHVMxfy0ms9uXb9jt2Ks9mM3V4fJhe1u9Adn2Bzy4dLPttPhqeYzFV47WkQzztHhBQHq
IzgdJbXleLK3OskFeM68AEqlWUvdSd96Ud+tc9Sm08JOMw7xlIoj8Nd3iRcCJ2oekYr0bJuYI7Vh
3nnp9kAA9hv5MjPVgO0hW7R/RikX1jD5FOjpxdcxSasue3UqNkCx1juVt7G7uQxyk3v11+1rdZ2H
oAIkAaDYCZ6BCCbcC5d5UyF8HmCEtE+eMR0rFmdnlHtTUg67pKwptQDnA5qQbgtIjpSQJlRGwyc6
yvC1UbZIHHy4ONd8M7/azPjOmileA7VDXHt7gveFWw8cN3Rgjbq9r+CjBt9I/CXY1w7vu2juaxdZ
Hy/nBe+ET2rqEKty+pu34qlRzl3ZMr+OM8WtZhoTEBMPy/DWmIIqnBFb2JJjURiJcIJBOixj9903
eD8zitv60dWxVmXJYg53+igvfldcLPU0DQoUcDOPubueg9J5RA7wOa9u0gUwo6V/72Qfi+hxwbRn
ofzEuv2irr3LZoL7hH1oOj82PArVi/qktWTHT9l1WWiJdRELtpP9hGw+zm168VZfOzIOd9E8BypC
Xs2LKvRqN1jlTm1vCh7UEOnZh0VPZlH/FpX/4qLNQqopEAJO5boz/bSJWAtk1DQgYk77U+RFFarW
hOaRzG8ufAvobR8t1IyFZro+o7OI3LqskkJWNP7a0Agw0j9+699tAVTJ5j3aijOmrozHOQ3O3tb+
jB5VbLI66aQ40bDrh5afcyu/Y4yL12566MbrxDayttnrXJh/ynGAtZjoJ6wnkXjw71C1A0ShmeTs
igHrwMpnr23PmjE8DEYTE7Vch9mY/upzfqgpxdDbbpf7wDi+88qLn4j8vc30fW36h8LmafLZpop5
DyIZdV6Q1FttUBirAMxYZEX5bVraYWxNlIw+xQ3uDCeR0muPGiXOZlvFlpzzu2HznF1HfvF+lIYL
X8nCZtgTD62RLvdTjq6ehArmMOk11y4r0Hwg0Dl3q7L2vjsMu66R5ePQNhlUyvSXDOk2HkaZRQa+
xKjWdfnliSLfZ0IhvO6xTulOOV51GhITTQd9ShvYnjyTkSGyRLfFb601Jwa9A4dz4s3fSzt/9oW7
n+T205dG5IFmZGIPUUzbKioclAJ1CvIqsRlwfhseBdgLTbyleVppIpYdfDdIHpj5FfUDLyfVH8Ni
HqbWO7ZU0lS4rSjyHZik+2Hv1O0uMNTdWky0ZbMlG4glpyZxvJUHVn+QupOkvO+paK83XY5reTGR
w4nljw/6/+vndFXEFgy2jPNKxpXWnmW1RJ4xD7FW1kfS7cPSom8oU1+tnhL81f7cCqW2VIJfuyiY
ihc5sw6qvLw45fARSPfKy7GDpg7T8cP0mrBFfiCs7JSp4pylbeSzcGl/p1nn0LUjLTOufFiXQpiH
9tamzGpQWuXBp+eZvO13kdl/A6O7yrKjdrtjzHcbbCJWVf2VczNGMM4lnd5DUlEqV07mwV56vi8j
xje8Y7GNMA+eOrO4LHAwpl09yuyBnwrbHfzFOtu/WmkcPWFHSo1XW+fgzPjBtPSty2DTgHu8oYrn
9rF2ln1Vgx8B/gRu+lZq7oOsX5v5pZn/BqUsieI3D0ONmhNEqxMvVrF8VO4UjfJnKLyXDBfE2Hj3
xqJe3VLtSAz4ydS0s1CYO1ORTGNrc/vkn0tawMNOOw2YYeJ8E8WT28j9aNBaqWpyZ9GlSqNiqOMh
bsc/RXaVerEfuVkIPf3rNurqAIAiEwt1OOyodxqajaS+R+t1DW7ldD4LReCd4EmOYzXuJ/+V3ztu
qvVpsmCU6Fdbx6/RWxPFg9yNxdnv2zuvEecmY0MTxbPcsmswLic1W+dA9y/Ntl6dCmF+zqgI1A2K
qW5JyJ5+EVnD1zlbJya+ez0rksX3Y72F6siXZ6dyo3otT23AfUk6X26v5wpQAuWNEda9d11soG5t
O6Od+64zN8ywxgVacdACErwW/YVM4XNq/OpbfTQ39zwyV7eAgNWKaK7zFlCTliPQmz55CX4CInFk
Tju1Ke7r9Ti6D9CYz7kprmk3XNH6Rq1cH1arh1w+BQAn/kYW1Y1bTM19AUewBqBwc2tB1KLC94YH
q7deTY896QaU+rP3LVXxt61TB6DflaAB8igc41KN4rv22xcOpnipx10TZEiVhp0J6lYDhQ+F/nXj
SMe0Phtl/rwWa03y3e0Irj/cpn43Kx/La1lc67TgWNCeg4LwpIIvZt127cgNRszA7sarNCP6UCYS
JH3ZuViIcN3cO2hUdo9mb0CVVFVzbtL06LRV7A8jYB08Us6nKYsLX88Dj8+lXtbf2q1tWC4dIFR/
k3n+5Bn9b4YAItQ28gDb/NNk0Cnq8XkGn0dbeVA3UezsbS+pw72Vm+2KvOy9u8F5zvBiINqppjGp
uuFQmIgPKEnft46+hqKwiO9eIyQyT+OgPVrd8lAvIilt49EjrcrGr9Q0ka6cN7fwOecCZDBUVHaW
w+nqg/eBh/DJBmz9albxUK5NOA/5G8vMUfjzTvRP6Vh9tWUaee3jrFu8G/XJAEEZLODTfo21lLiM
1YgFfYkC1tVN553b5mfLKk+jfxpLg/WlS++WDl3WNBw8S75WpXVavTRaCy6VYNxpbXMrjbjXaCVA
E81Q/Nql833vaTTGDcoPp1TfQZB2hvZPciwAi0R+X/wstv2wlPNF794nzGfEjvIlFg/6UJ/mHn6g
3O40fTvg/7+b1vZPsFroOmmAR1vB0oFSBoKHpSGorajKGH5LgOBpAHau6r+T07TA4t1xhEMYreEv
Y95J2MwXiJfPXmG/k9iw7011qnrtUTe3Y5fLN1ctITEiLMr3tiaTBVmT2XmPHq06uZxRfx3H9MHh
pMw4TyYz6bffrRYIRLddj/a0le4+3xhm63OzvHFRnLgkftMZE0urkQv0WvjBoZjEpV/ZIfphF3TB
q8/FxeIcl8GqErc036pl2ucUvJeWOrpjRYk8IXALtwR8ts/0YUwviHWueeHE1eQ/2sAfiw0L33+V
VB0WacAT7V+ZX44OoSRZOiW2KL6YxbAsaJFVBaGtgrAFNOuYBCupxRIFo9Mau9wI9npdxsbKmtcS
/p/qwavS9B9EISj/GJDdFhqTLN6zWQe7PAM67+YHBG0Xeh0RZ6OvGTQWb8tOOPjinhRUb5l60Ezt
0tjBu2qC65g3HyAs/5Ymu9jjFgNPH0tNIjIpeQDMTks251RV8Iy9nuTBgzbbH1ZRnkd/3FtWHRae
tvNM1Iyij5os2MF1xI1BaMn4w1bA/S33xmD9TmN67oE8Ne3VlyQfm+38YIv1RHhR2AC1SdNBU1KW
d7M3XZTbPvalneSqupQNEuPG+nejQorFfJht430x5EEa+d5srP02jJD1ZUQxe+IuwxEBclIJvLBE
ym1OdjIKcRrSr3Sp7rjgoPkQW7aSodF5DAxjZ7ky4dd+t+ziCdDyjzYTCJGh/6yXlPNI2knN+t8t
YudlQ5TOr6vgYnKsifMMBcZcfi/w183ans2uiG8VgUM62QwcfYawriF9sQgrVHTZZkMKj5EEUYEJ
FdAxRWm9LYJ+AkhgyGMeu/RPK+2oRu2NtKnP1Wk1eYXdFzOnDTfTzchtvYT0pdAUe+n0+4CJFJ2l
iFP/asIKDOpqrdei+uoGTqJORpb/a3kqsTmYrLT5MheWoHkw4s0oT9Y2f+ZzcBSA6Iy/870YrI9G
c5npkDTU4F+Fvl6a0o889yw0c+cMD6PJrqH/q1fvbqjtZFq930Z0d27l7QqEkW21RbJXl9n+tkt8
s9WSlBslPWmKk/eXYKBEMxRk6C9LXOh3/d+izHdr6l3cpYq0QcViuOXJ5teaadwPrjp7fy4tRt/a
AcJRF1o/D4C85Fly5qlqOKXsV77X76vymOo5cQYVJzhvlmOe1+GDJoFY62lDqM3xBV7PJk5huZtq
69vtuZe3sbljDv6T1TSDchbcosKIy7UZYd1u/KqJ7rM1JH1tFxHWEFdG+u1KdGpO3jEXuU00TmMU
OCj9CGmz9FxE2VgmszE+Lqp6FaUTj/0Nrq52Ns7NxCiyEw1G7x1/NVkh96toLxkf6GyasT6WN0UL
mAanWY/DrR+esvS7Lf5wM0X2jcFzcOCxdCFQwdmy8XNt47on9+L2oa7vS2F85kDvIfE+P06nI5f1
JsgZ1zzkGeOUar+kvr5Ti/bQOd2fwvA/nfEN3FpPzDXd4xbbCSd/B3X7zFFdy+pXreurFPuBi73q
cekXf+xs2ZlsQm3xXIzjH32Wl8AY4rQxvlQR/BtS2kOMs+Qg6Ov0RyOJRrrFt+P15l5XGadVhiIl
yII6bqh+dFPxkzbVJUsZx6S23qVDXjz5y5p+9rdHstyEn5AMOewyt3wanXTc+7XfPKpWIz5ggxVx
VkqE+s3Ukxbt29lpfftotsQAI5uFcK2sM4qm1OQtyHl1JUoMiesg7mzVsjuz16+6Wce6hR2h8hQV
PnWXnVeddLpAqg6nJUFIiN9W1Lr+17wQIrRW0DdB++mZfG/CuCXWmM2T6Jpql3rr10y2G/ovSEBt
sUBUFs8OyZp9HTuqYKU2Tjdq9rot7rjvbNDPoVR0d1jLOccgdXToTIpAF5qd5nF1q07iftiWh9mA
8vbGGmG8hJtwGSYnp9ghGuB/IyCxkD3eT6v/RE2jB4Iq8Dl5XZKa6PLz0aALZJXm3s+3iwtoyCHb
kf7STPtpcL/Ibx0YNtVD42WChR7F3OBlwILymxyCeKQaFG8A3ZZtexBwTaGZGQ9mFTxODri14x6q
FnqLIOQ8VC6Muj8++3I8tDp/BXhqW5g71+/jRcnj7GZfPhiJBxRSDumDpsGarn33hDztEvTjjbPS
Xmpmya0jDN9hfNQ99Y10Ef5oivLaBNGZQ8+Wd/yvka3zmWYpJe9j6/THVW3f1cK70m/5kmyCtXY2
SKLMfSIfNnqnnFR/wFh45Ov5Z5mNuy9K7YhD/HEu2/3krY9AZDLpvbyMLYfAVQQeAKtVu3PM+uI1
YGIwmi8zmkanWt6LAaxhUQUCYU2hkPPHoyi2ABK2ZRYM3O9+2twHIW6dUGnf7KbJyyJVVoS5jpQ3
VcfAas6+zsA65MO/tORMz1mfo82uXwxV/RTbci1rHn1HPY2m/qz7zT97W283EJAY5YDYKab2r2tp
6OVlfsQcELe9/Zn6bhrZjnaycYGEI2HLSIPFj1G4BhLB2QuHhqGgkaDJNjJC2btfqY1rwQ22o5mv
aAdqtRyXortv3fyKlP3fRpzHiY30m8/1r0HrabTV3p5/+YBE7vOGazW3iUSWN+ipx/4wIOe23SLC
mx0FIzQHdpUURxL09pzPeZSX86ehtvdBFNdl274qezNBkcZdRyJaHKTpXdNUV7IG55AFhpQkUdQ7
wuYqtJTZbkg7vKxawHplLOXOLIcVpX7eRTavVliq5kul5jPJTqHkxeZb3IpImbyMOZ3bx9ECB54R
6kMDonuTdjqib9d/BDr1ZMXDSnZH8xa0gxciIUMhWDa7gF03USaodbX1d8Ya+OD3OEAkCptu9rpI
U8W94XV1PAm0FWXtHAax/LD8z4d+MLXQKqfHyncPkNxsRtWRCvgtyts5Hm7wpl1r4PJIQkSnneC8
vmrbT1r+ISxnVCvzwuRpa3AU9XrNPaGH2GTRiEw6U/eNzp9N4+Lg0ok3Oc0cCuZ4MFiavZKz1qq0
HcTOLp90LubaOZcOqZDp2r40S/3lBw1wSGvsb04qwsyZLafszupY3izq4OaRjy4zBOteNe3cNH3d
VvdeSfevHAPupyaua/kw9e1np5A9NjSctgIZYlGy3pjmc4uaLA541OJ5cIjVzlMN2X5z7kR6h+j+
0i/mueyNg2WPHqjyHzIq9F29us++vbxOPpoLVD9Pch3/VmN+v47qKEvvWpagOwKROxPLwc6Nh1s6
O39dvS/a8V4Z9ucgsvdtnt6MznwH0mcE1a0zJOlOVxrwcvDPXCfrmM+0Pa4mCC8Ft+Nh81HA19ve
yvUf2Cz8tts+kM6xd2temZkmJ5yWsZUqJIpD9oB4nZGGwzK1x+PQEieOVPAPC5gVa443gG51X20F
76SXnJMQYnfLLJ7K8jYZbihPdVO/ebp4OEqnv5eVL3YEakaFKfW48rhxNMQFul/eVWxhoScExV9k
abGr28HtFvjIkU2H5E78MTM/51Dxnxw1iNDzVMYBPnm7rO8EZjirS/p8PvKckus3q+fO9NE8gKM6
GIQSWti6sElXXulbiHePUmDNHjiIThSaf/tDdVkqDAADAl6EMgGGwk6mu7xF7qyb6HbM5VyY1r3h
t7+bDi6/esyok8b8RCdydkyz9Trw36cBymOwjmnrrgdtUvycGN94yLpwvRFpW1kCIpVA6ppU57UO
2rhwhvvZVScrW44bbzw6nH0azAXk43QWliuSxWjw6JT9HVsFrKzmP5WN+c+wBmIoxoDbu9SYQNMb
7ARNcFAud3Qzcc6uleJwwoQYgbkWyeh4T3nOOdNtGSHmPJMDbE+K2Ae5FGPhMiX5EPwZNOfdM2ga
KNIrnqWDV+iPgShOjgbB0Gg1TG6DGpe17mlIi/M8IECYVpbU1q3jWjWPnjBBc25Ga2xFCKSKzw7p
xcayrWXZtz4VRbSYnFgg22gwzSMDOCTsMhbPyifAvfbkhxQAomsWJKRExOKmz13HCZymBoJlMyzd
VQvzdSp3Ok2kUU68/2EIcjyRZtNfMuyVx7FFlDN5aMScOfUe0IV7hz5tL+R8PlKBQKWPdF+D0teP
i96u8abcIRxNXCxNQdcgFVB6rIRdIvxmr/f0rd3Drv4Go5nojOVE5/vVDtfizdaB2K7pwD+Q3XCZ
c9LMvcZJpp76dmZxzt5KEJy2dD/bBazfrvSExsgd5lBK22pxlXX1hoaKr6Y/UCUa5sjGRoPNyEIi
kHPmIwHfVnVQnvay+ebD5NlvuOtDB8rf3/SPldTTqim6pDW9q76uCSPIbu6xBk5jvAp6VNzyplz3
KjjGit+oaV8HS5za3oCMzfVPhUFyRM9odd5HN69/PLJtQtceIeQ1+1UQ0kOtoGkcCgrzUKJkDHJi
hQ4xrCnxZ3OO+qC9TJb54mbeLQW2+QPPcDeBC4cZFF8yTfpzlTMgtq7zujXD88BUYMvhqHnFFQXr
4bZ3lk3xouXa3SSz1zx3r2mgsdqrM17Ci9nfeyvgEwsOxU8I/NvmbGgWjKmzr/t6C1sA22iwi50+
9Du7X66uxCtXiOUra56Dsn9tU3GAxD2N9fYkm4Elx0Cca8STqwH2gsQJBWTJmDXm3ivPVB/NqFBN
DGdAXenD5qwf/iDJx2+dX6frsFiwfungrVASKua7Zbu3Ix7t7Iy+sbsJtF+nOrtfqX7JoQhHHYXh
yjKUIW4ZzVffqf9Va75LdUGSnxaq8atS69UuceBW/jto0L2qAxSr0C1qOIzjF+RvWLQ6cxyLor1d
0rqZoslXuES1KdZM7R6MDqls+Y7kI6rl5+pViVqNVyJyo0KfL02nTr2Hn6eBZMOjD0YlEzxhl2bQ
v1MdiYzPJWxb6mVs3AtShGRSHiwQA2kw/AJA95NzRFwZpoGzMz3qIjakZ0vtnTUO03ZFDdHIu2yq
z+tcXERAg5luRX0zuBy3tsFMKd7Sdny3NPdUI63JJ+3dXs3Y9J37mYEFKNfnXfUZD8SIXEkOZYxF
PI9TG2/0jMVyrxw2Wan2uQUY0JfvKQqHQcpTHhCixV+BLS7S0na/zX7oz5+d4TxhKzuY3fqZ3uRG
SOSPJeu/pzmHQFtebNR9tvzSAdKMFgEx4pzB2LaE6GcMDiiYRXaoJ56UNePPzzFhhbGGF9bZ5IfX
PATcuBkNCrbtMI79bTCjMgK3iNi34n1S9hfgDKDwor6ZGp4xjsZDgLrWdZ4Gz08az3voau8fxovD
2q+ndtJ+GFuTMQVRM/ynuVz206h2wg34wrGUp0skOIYHqOzE3eyjC3TIVsnchMwpq37NqsHDWaAr
BcHYqvnkuR3cmZxfO/Yo7vKd4U57wyfMzMap5WkPNqLhWoMPrib0mvrzJK0bGswJYfosTyjWS6CI
MJuced+m80XZDJvN6l8VbP7U6I9bX+FltSso4+3icdLDm1dxV/LE80Psp7pjArfGmvOrfdmG+VN1
7t6mwCq0tO0DNwgorXnQeu3SBvnjjAgiwzcGEbvmpOby4c/TeaXddi3792xBOKYLlo/p12IeiNwF
6UDXiUPeplcDIRnOsHMTNOc+oFk7FYo13HA8OIuRMEbiOPgDhgw9k6Sf1Dj4Fo0+xJSosNNVZPR1
hK8aS63qT9LreZolntLW1JJskufF0yCyVvWRNf17Xo8cOQsTjuPJvVZzLbpivORmeeyYzNtmBN+0
osLnWvYsVO4GGKPMxyoBV38ThV6FrudEc7DkB1GtZkKxtHlma31xDHuLTLRn3DyYmar/ODqP5daR
JYh+UUfAmy1JELSiEynpbhCy8N40gK+fw9nf94Yige6qrMxTy8jC/s1Ks2VaDv+MojxLm8195Bx6
R3vBotoutKKAR1U3lyp2/025Oy6HJHiNLXsXVLQCbnSsenJ0Rj9sOL7vCNKrwDbhyEy7djCulA00
74JjVSzcXL6UKpJ2+Q96ED9F7Esh91Dd9/Tqq5JZmayEV1pfpk6gKh+4q8YcaF1TYulLO6gBNyW/
pwRRk8TxhNnsi4Zmn9GlgrsrSt8I3kCzQ8wWmlN4Vkm3lCvlZpjbvWN1Nxcn3AJQLDr21JxRdZIF
HjY6tmzpjtRT6LCWy23r5uUVsbNcdNg/pyjZF9GEB5OfCMWASGBlvgVCZqTe2kOn2oemju4Uq0u1
071BnT5Ual1cl5xsuktqZ6jFtMV26MeY3Be5FZGSMWWJJuteQtIlVireqiS/qhM7IKZSu8SqshGR
9T2p8XZomLXZQbhkyC0pxXB+RGy68h2n8fqq53xDkahG1Zcp4ffc/rUYZBMPnT2D27RK011fUC1o
/5hLem2TIAz+qLkKNTJdBplyGOvCK/uSZ6dhgpbZx8BMkK4bcZpr1qO5eFNWQTSWK0Xr30xbP809
zpzANs5u5dKIW4LqLAl2JsPlHqvuqlOdtStrzt+ZrtC6KVp0yy2UtqqBvmBb6gF4REWFNhpf1sjN
jB95FQa8LKReqYSNJqZWLK+Ko+PGVr8bFHrdkR5ZVCajRJZGEudNTSw7NV6qpHB8ETjXbCpCj1L0
HGWOr/TYrhgZ/IQ10bM4aF4bkbKJyGqAr+VRuCBPcZJDfAlMkw29iZ9EMdUDHjCEtdY3nrvh+o6+
La7UZdENCCP5dC8197eaSnoBRKcWn1EZMb0NTT5Z6RkuJnUzJEPc7LXSvFgotssyRTuxjR7LRfRK
Ruw7yuC+JZXXVcZNy+27S5OxABX60I1mYw3GyX4Oa2kxOZ2zD1eor5Otf/WK8zKJkdIy2M8kylBF
CLdLAhpWNZ61AEW7M1s2h2k1Euggz3FvvjLiY3AQkRTIrV9rfCF0kZIRILNR2RH6cpC8W6N5qUv9
GMTJlrjlqrBwGDIjMgaJZZ/PoKhvQ8yWQw7qsHsONNqGxo0vR6NYDtiFlprCyxxjrUgLkEGuL6dp
5lzChVKs5lx9rWaiBnbQ+kTxqe+DVWTSTvQW/4PmAxfIyKP1oRrB0mmdDTNPw9f+39AThodoVrkQ
Q9RsBjFvBVdhrEY7WU+7LMhR7rWrbZQ8QApNT0PtMjrzMSqr3WhZp9boDn2Ny8oNZr9kGp7142/D
u1zMCZ4qVeH2VN5anavAdZICHV5Rl2k2P9V/pgZ5O5EkjpZCDivJFZbgCA6i4ejE+sGQ7gbPw0o1
WNyiPTf7CN5ji4M4ZU6Ovj4MKDQYCWNk7hgVgDZC3QS4y6KyXzv6lSWHu3AAkq1pVK6BrT/I3J4Q
xZIDubFy77bujznqGyLzO9J+pAyDlHAEXjvrW68nfwysghdO38o6oQBIz0Ea/WLx4FIXwftg4Ikk
fAJAKG7e+qC9zsF7HU/HNBnfwkxe1SYp1jb587Uj8nPSjp4W4qhLdapk5t1SUfZWM+aoZ+lR4QBd
GrXmaTmedFIDq2Aq5tU0k5FS3EszFx6RGG80bH4pGXv5NNyg/sSrqmiYHBkRJv02/9Ot/tqGauDX
wUjdgO2V0FWOORoDPqIWaw/EDO2ot67hBEQm5uxHlaMndyMLHgiyoV4cQqf9CjW8Y65TLtvQzmk6
+PsZcrtD91H3arYjEO7Rpm8UVc0XMFe8Ks//EfaiNKypHnkeL2jdV76JpRNXu/5Za+hMyJxuY6vu
/um3lYW2Nix8Ka7paW7xT2CEVbp+K9v64HbxJxrZNi4b9A/GWqyci1a6kP7UsoVCC7csa0MiMK8Y
LdWlQtSXWTtoQZSG3xrThXD0knq18ntd3Rg4JTuzehks49ORbQkupP3sx22hEVBRZ97QMBy9UB5G
c9haZvmWTdHbLGZM8xNYoZTJPgoxRhSVx81u1nXtbJRqbYTkaLVvNcAYyB9kblCAnKVozL1iaYyP
pMCoEC2b3riNElN4l7+EgdwwqXtlpIeJzl4oRGjVILsM43SZdfOGpdYXdrq1Q2R9TNM9j4qbTYcJ
StDCjPVfcrs4g+WpD+g+OdbXCU+q0mABfJZzidm7S23iiuUHJyphipLSNPKUYubkjzCUN5CMlCTh
A7FlAv3bIsLokCSf609X1fKliAoH+bzlNqsKvjim0RqlLKSWhcuElBEAi7Zyzu64aH9NDmFmDtqH
pkLBaIOr24V3mrVNN5unOdKPgljSIstYgPiUGwShnKVaDO/NswvFWvNmFVh9yFN9xAOaiprdoDlh
GiyZ1djDArcYhcmvTovSJqHpxyERpxGIXU7uSBf2WzllzC3S+qstO0/GcpUFARftEOeeFCXZdnw6
6sjocHQ9YOvbMarxYUVfuYafMGG9U820r+PiVW1lGdoqBV7l2XrimTEzj2numENj7zM7N9wEDdOu
lJtVqZKDDEkEVcnE4tTMm42AFozrtkn5kaV2BNuwNYDAaFFG1DHt0WPrdN8JLIGTQR2o1yhl+uR8
1sSBemPY4yWqsIn0NcGBp6W7KPpFFFdrR5q3fHCvasWZG0Z4f92mFGfXTVyKguYwNfyRBP1K2ex6
eD6BUmOx+UG4XgoFOTtV/9GVY8AS5HVYtHwdte4bOHZDehichBmKd2e0bnklqXNa05uGbE20F49c
gVM9sXyXCnNBwJyuabB/iPreQSk9crX9hhcdsgim3Wn9d6Oj+hpp5M+M4gPCkNqAnyKOrXAZaPKv
KD7ETALBcW4F7Ubhpn4+m3td3nKbS0nFJj7E9L/s5z3wD64sUo8hCFVnS5H/+sx5EPDEOgRgxDfj
kecwVt6TVD0No3102uEvkhSPQ+KUOzMwXyun+h4VkufVc9al8+2G7OnIo2ifSxKVlrtx6Cx6NpvW
DYOYstPXUaE9MqX6JU67S/UXkzx/4e7hAb0XiAhaZ/8EsXgp+JKbcdxZifE2VhzaTboNNH4AGz1o
jkkfKGcbvlUv8mMsGaxSs85Ou9LDgQcQNStuVsp8t5igK6ruGx1avdhP0Yk12CsVa2NCweRKIhfB
BrLR88Qj8GizCZi5UwlXzXrJwuI0MWIscZ/m2F/nbEMuh+zYuG7J1cto2EohVmFLS4aBeVA5suba
Awr6ytasneSQU2nTZiJwGQpy0ZbTgpHvUm+6ZR8aFwW9vsgSD2OWDD+HZ0KrvGvUIg0edWTlaz2k
u05jVY1UHsqY7OanY1DkfmphuNfH8NDHn2bCBJjXqp6JSI+s1REbe8y58By/NIujMRtHx/ghdcEv
nywyUqyTTrsCVr+xHwmDAsvEHxf+OLO7NFP5OmXWJyN3B54qFiI2tQYMRIfWXncNcXKnQ3/Tvpg2
Pxfi+SmShhJ+FT2HmCtXUc44u3sdkJomLsBS2Js0NlFlUvqQwE91nveCIkrRPi0umT7b89EiooVM
LZCQHoAqjkVRrafoc2rLtWnb61GHhoGfG0c7eIHcaxH5coOxpe1usV4sRoRvaGdLrSfDW+c7wTQi
a5ptzTi/RPHlXEZMEtsBUF2DntY7hwR7uoqRr3ORRhT+4wzVGdhhTaERoDSqiq+ChRtmSOwSdSgM
1tjuSJ2GfiP6naZ8mAVGgFlflLCRYh0TZPsh9IOlEgqcCfsPrxOJl4HDkKQ4tea2ZHvGMwraM7DH
t4Tyni9atfVrC/uGO7305SMXhKOdgBVk0aFtDCy0+k89ce1xrVQ56rugu2ZqO920/pDJWyE3CgE2
V27mfpuM9coU0CqKAOmGa8cGpTykXhl+O4gRKWgRc74KHmxF0CTg+02tHZyRF4d9YxamBDcK/zlK
eJgK/c/I6D7cigpRLZa91q/CPtx0mfpq5iWSceOyQtDG2tQPPwbnZojxSBkyj20OnOvdtM5rVPpR
I4LbtMmGjjMkBljtAJMcdMc5m/lEt5SSHC1/mmY6teNRQNMxh2CvWcIbY7HUQIrFDGzHqfFb7l5D
3mgOEv3LgXMsEeEQ4ippUISpnmQBPA01PBnKWVmTu0TRznmxmdzOT9GnNZcIZyxtM5l1OB4qONGS
6qDgRTCA44XNohHqyiFXVM45ZYW9mbvPzkXlNN2tlJe4e5hYN+KUFDr1EmL6XK9V3iKnzQ8tWVDj
JYxAsdY09GpnX0hWr/Tq1NW7QXnVeBfVeGWINQcOkvxnEjYbob415VZEJYSii6S8CM9jey/Sl87Q
PMN+Dim+cSotKmY/juqFzwmBY3hqh5PNfCSMYog+mmO20SQzefaMwIVZxT2rK+xnh5n7Udmt29Dw
5pS/Fbt4jhFeAWUWMq0AQMTr8m0MkMJSIsnov000+XqvXI0iXBj2AVYuLVE6s0E8+pqbt4ruJ5zR
5Sghx4hvN2GYTUJN4Kmqtw4XhI5ZX+rrp9ip5v9w0WX1oZo+C/zSFVmuOfxz/gUVkc74paAVRfcF
rrxQuQRBA8AHWppAKCzPHv/Fyr4PToxSrHHNKBqZjMScLxt2TG3C+mhbPNowvxKQZA3KPB2hWa1z
57XNXq1mNWA0tlrxzHnTJhzM8Ncg4AcAfdnOq0FgdXFfHG32unDcmThfhEEYPi12JTdFl7urqWU7
qzV6jZvvG93lnCCuQ/gw1MnyMHlFvfTqiLue+rNyAR3wZmueG/xYZrSc0xcI+v7IJt0cwcJhWD2Z
TzvvwG2VHwyWsls7VGZS/jWqHyEAzXpzI2OvaOkGO++ujeMS0PNvmYhlVza/vTCPocYGmWisO8x6
BMXzXL0+BepSJyQ5DFEEkGGWX0aYpZsS1OZCmcc1ZKad44Z3V8NoZNrJmeE97ABwNfAyYvIe5Whv
gqpZ5WgDlH0rPaZ1A8bubqLp0gVyW+qvRoX9jsTBUCxm7ZYVmPIUtqJaCel+26PM3EWtvlSa7mxT
STJyeCtNigIGoEUUb3Pl5CiLUH3tzHM4HJGgFho9sGDRmzn/Gxk/9YY4puXHoBJ5wANI+io347d2
4myv4LFZ1d4cbiIRnoPfEZ7gqovtnYV3ESQZXdNKmu8KiQFcJ/CKFjk9GsKKwVoa690FdslyDbNZ
FciaRfnRibcWc4gasxhYzDhnyAnarGqoL6XyfMu4L8JbFT1M5V2x9k3wMsgQcfJlUvtdRzyvYuS1
SiDzqdOOetWyGdYhBRvfKZ7s5zyjVDnOx9e8mpgApNt2cNdayrtboOiSbzU7A3PXaz/7hnstWxeV
AScIwTqNpPZgfKv1SMj1hSUVmu1PGUb1+UOSXMVv5AEHW8UW3xf9N+pmYb5MWBrju+1sM/XmlO86
J79leRKGo+Vs2MhrPVc5J9tZXePNQXPAweGo77BgESowkzBE3T19hk8zrww3w3gy6BDlPXZfLKbn
pFbcPluN/RqNzUzWOsZdnflmTGi3u7KZCn8ZucTsENVHI/VAzvo8oZKcbCDtNTmjQ8WFChvieVcv
MrAKVVYj0JlrNZmubtmLpZtCErN0Li8ndN5RESQrAHl/0B6DmIgy/lsStO591oeLUuaeOqDIiW7X
N+mulgRTqlOZl7TtN8byu8yazzmwmqhUlmM8L4H2oCdUC6CcC5UdyDnOS5sKGLLjc2nxypiOTP16
favKPYwKphrWIm7WZlctUAr05lEDpmq3bUvBKc7SOIT1q2xPI7HHDHRusXa07DuOeFBFV+5HQfYK
mh9j3KWOyTLIdD8gTDlJy4t7x1qnSuoXGOlt/PHugCkxUQ9dnv45xCFak10aUtkJBXsYMXWueUZP
6qZgKCaRwsPs0FRyN7QDNlRUOM0hQD51i7RneVw9Lvn/2XbKj+EoKyW2QF9RBFXTz6wr16EYHrMT
H9V29i2BejbUnLql/hXaRH4Bes25uTCE2jxn6mRR+mUfcL7Y7byDuo0XLWH1XfMbiurcT56KStF9
jAx2LXcRa+T9Owx1Rjhts5rQyD2oqJemVTfVJ30cYb1dns0yoBqWzSVeKQD6jZs5l5+JoPhHQgrb
whP2sEsLZkBd/uYo01Kqa5ft4O3A8SoXTdGf2ySnIq+dI1A/YrC5gsynrFpcnUxH33OBsV83/V6B
eWr8DtV+psq28+M8a76FpuNMB6FW3lCfQuAwUqzSmRADg+ohUbCsti8ZKaYKr4K2c+OdCNYlTWE6
6QccqxtZncjDc6KAWutwQs14AWJT3rCMr4Zo9uoO3S1VzqolfYDGd3hmBxPLl4rwIe07QcgsyZaS
FlfDbmHq4lK54mH0TLAoyAIt2qRwvwp5JoHyYwj3XFYjJWIOgCRelmO41G1oXRMPK4wWKiYoIjjW
ghXF8ZWhKfn/J/on8vUYnlRjbBHsvZZapkz/ehTIqH1XqCBGskwYw9xoZ4j3gkFNI77lWGw15cfS
XSgzyVKgSDSwTKtHace83JT5RrCTsXXQmAqTofUn2WxH5PXB4cxErIzl0rW1daEAYSgyr+CfRXMC
CmNa1wbOtr7b5CPR6ibaZmHzmhjQnrtjX81rLfzhBMLqTbZC4vmb6aosKu+Me0YcTMPY5nBy+uHS
cUkot6Kxt7z7ivOtUAzm3XvbPEqT3y7bps09Sls0EZaSBUR2WBQa4PLN8Nrih/BSU2IS7/+KJwNB
RpRQNUmgw4S7KWMHS5MZAE89l77cqirEVWDNlbWqdSJV8oOkZqTtmlDlKhIgjY8jG5ZhN2IHf5ui
xxxaVDT0IhF9YX6uyKGnwLZqfmaYmqe+w3owY593di0dTEx8LdYJMKZXAnL8PJkXEJQcBr4pOQYn
XZSvqnsdzdWU3DttOxQTjfpFlLSn7LSFZOphnLJFd8wjPLs5rbupvwV81Zg+i+LLsS8O0L4aw0JR
nkZmgG72aOuPVmOdg8WTPb7LZNdin6pGMsQNw3V9+sUuToDA5ASxN88710maDdzwZ89F1aJyd7dj
s5okFmYpFyZsNOavS+W5AJfYVTy16wqccDcx2iMpmuoRUbz5RYm1TU7XFYhyneAmp9WnlQI44JT7
1Kn8qrH8gFi+oitHXI+v3BJg4gRD4QmTV7yVve6labDsgWIHUbMsyF0951SER1b0oZh3j3ZvXmLW
PqlYfRxz3OS84CUn0AzRbhaal47GbuirDYiVA27CrRJQdlXpg6DRLc5ZDoV2Oc7Dqp5cuC/ovhCx
opyEdNMtBtfx4ozUBW9bpbUe3DCP6PeyHH4Uyl0uF8xEbbAFA73qcPokMyGCVN2AJ2ZfqHtR3H9m
Ep+iOTiFUmwq09o+8SGzDp+AG34ycnpPBWyssspJEepJDEIqIHY4rerQuSU2Z2MMfgUuOdHwAynU
rUWqemnjtTrNAaNftcDCQtllxcn7YNlIHDbdQg0B+omRCRedk4EhzNLfGrZs0QM0HOJjqo33GRdV
ahdLkvsnjVBl3me+0eufIiHYUzwac37Nst+mCHFmybdRatxH+ktIDLxmDaQShScp221nun/h6L5F
DGSbSuE3eV4fZ7hpXphe25zj0lR+GJb8duqwcizV6yfpg2/aqUzgn+54Khpm/o+ixEvoPtVRh6Kt
nRWUiNlv0t7DbrFyjHw/DP1L2dWPZmqQnQ6pAbkYf4ALGsu01nWyF2KAzlLsHHSlqJxuEUqabqi+
bSuXPgH6Q+HaKgO6r34lPuPDWkPBfq/y82Ax43d3HNiYmybVm0jNW5IVaZTNnCdfacxn5OAFEfcL
tODElhuUycwzdJ50tIeEz+FQomRDsekd45iqz/jgUZXuQJxJo0YGaCe+IuJPvFf2x4x1vdM+qYAy
y97Y+c+EuzZLxCoas3vHYRKpyQckTg5BwiNKaC/YQkUfgK9Xe8MbhMDx25nMh+2MRjKmFzOtXT8/
AOf93/BMIyFDNX2JAg9z72/IVy97ZWlyiRFjBxRCbW2bid8QqCrhpZSFukzy7yF7HQ1aJqtea0TX
ZGDhT6y2qsH4yrGO41SempJdbrVFZpBkbdns5rYFimkApAy9bOweAzmxQgle5Fx5Kloqd9IBrvDK
btDXquisIWk4ufhFynyY6T1xf+L6nggIpoG5SzjSQ1VS67YrYz5NlUlgrQNNBHnOUD5hunttijHd
VEkJ8LbP8DxN5IMCJ4Y9NavSLta1nWw6N9lwg6zkLNdDOhziWNulHRE6ecG5sDWiu4neWUw1X21M
fcZO9zA+xRnu8b4AYPgeK6AD+vFRRh18hqf4Ex5E3Ht16mLa0S5hWm80pPknbygY6IwmsBSEgTWx
k85zdYK+M2OmrlkE0Mqlo6ZCM+L2quuUAjT90HtNlbKpcNYWN52YRl9v07+MIq/h9MoyK0aQiImI
79IeP7sV4CAJPTMkDAMQ7dhnJpH41HMrHc4mO9Bok3oTugWarcmap/yC8nVNg45wgP1qZc9DiAEn
/8Uat1pr7kx0Pc21fHVWPpTgSZMxQRYAYxEdXX6CcS/lI3QC43LeqxfFzHZK3/+mcwvHaPhKye9R
TcMsikY8DGMONjjVU2sx9NM31MCLO/Yvkk+5zOcMpwYBz6cdnoJezE8+BNCbPDfXjd1MfAlp9or9
rT0V0xScorq8O0a9zlX2E9osIFDy+pZBvFq2WvevZ8MD92bLEVEE+PJS/XWKwh8Cbg8Rpb9QPx7I
EL/suqH2Vjk9awkKJrbw8tk19WtSqV+yH2kLdIZD5SR7T68lKWU5t3DKU9MHoraf4F0H/NRV0+N/
NpuKzr3MWO9E1iAeT1aUtARBxI+up2eLiJA/x6NXVME1p3tZtXyxS2mUFWmOEK5Katw1yeE7SUKq
ADxV351sZNWnRVov2Js38zdfZagjf7g9QSIOiLrV/qqU8FqY6VhVBvliE59Ht7TJbyiWWA6l6mJG
r24KivVTFTprkNiWECV5VEzzI4wn30mDc19k63Aud12jbCKN07fQXh1KSvZW+CwffyG+b69UFWCN
lWIMN66NjnxfcBUasv4rFYjjofYIYbmSm4+AR5MPNRWxi5ritaXoXeQ6fAiCebqUb0qSQulJp7uu
xPe8MaxV0Vtc5TAIYygNqcqGyT6GYtphWrT9QhAwTe3wZDpYiVwbiC3z0lJhJmjmAlHcJt6RHgbR
nuNJHqxm2DGw2cCrLv0kn9/ikhg4THsibvZqCMUSc+HacYarzJAegwqzscmosT4THPP0xD0rI6LR
iPsDVnqQjh/YTw5V2aLA4NxFkmQ/+9aomgd7D45Z11xMlYaUcCVhc8U+aOPM0FFbj27nNU9+FEcc
eshdIrkTc7mWBitsekXd1I21kezHWKJRcJ/VFd9wn9+cMLwMMb6SRnP2ZZt9RTHCcVvA+0UCiOY/
ZiH/jHralOzOgOD8Npgd5DwdLS01byyKvU0jozLAGsFCWOlBBJw4+nxn35xK/RW8uSD/dHVClE5P
Vp4/hiw6yi78fDKUdDkeGuTPYBTbsJyrtd7360BDCqgZ9haK1879Uo/Vl0oL/9Bd4W6NW1Mxti0+
UTKf7JQc9WrRdpQUOYVO1AukQOUlVR1OIW0DRIacAkazivtVhS/XONuESW0uxh3oqk0TtStAKbgA
O2pUpgj4lQ5CkPvPrHvtMHzQUhJMzzamoonLJ/s0aSzfnWK/hSIQTeS9sTky5t0Gk7qLkH2cKgOl
DiHJhdvI8Iepj5JeZ41dxBXoi+G7jvVHKjdYEryxItvH7acxMsycbAneYWiofbEeol8c8ZX7eU56
39FOltm9AnnajkN+SaAamVSZYZ+ve1Wcs/o3xkvG/hcOWif1nxzhKCguzpSdOJk2WtzvRwW0BuMY
UdqPPhWbprzZ87tJMkTpXxVFrNk08M8RYHkwj0vtDJn4JdQhDwzJXjLpkwkpSloCHPfLebIvtZ56
kZVD0at2pYXrYcYOlDjVzp4mfL7l0nUPT1yVqs8rQj6rziZZQB1YuLGvCZvCkD0Pdc/9buDZsw5h
/KU9ZTpR73SSYjhuWvermDIfEvsGkCPCne7ZEwUWL2MB0zBxmZm5fB7EEuM6h/RJTPZK901hPNyg
GSBC8zxP61gxdl0QHAuHjWoFCBRu0d6qfEUjyxD85r27HjNjXevCz0n7s6vCK2xS2YaGaEQe3UUH
Z7048COscdyS1Pv8aH96VX5mAtNVPzn4bY+KzboQsoCAoYI53YQB2nQ68WJXf9SO20a9a3mxYSHF
orXwPkRenaWHBoq7kn6mxaNq1aWYjA99PEwkLkNSTmbCrmws/hHOmEJSQtcIkRiJuFrWIOqIz7zG
kMELzLGxYq80Ri9dSwYhAQ5SsvMmRDYGu1hpQLmypr9qOKkUFc55Nu7cKSIqMbI7J6drazAS4G6G
1OToByf/cFDU25IpMM4SEAthdlHnzFdo6/Qnluy5FSST6CQlNRq0wxIGxkiVW7Ta+um0aSQHOIEJ
dmaV3bc13FW03t66PaWm3mkWptKTAnMP7M7Y6IpYzm60b6j7SzIjYcGB33/X6j6V5qrFp2fO3zZz
nlBRf7QeC3wyIxkyXasDJssdOBErX01q+KWm0VU1pVfEyYEdGcd8hoo3ctc3wbZwc88JSXTHf/ir
ElldrKH5FiFLKVk8mrOsVcMAZiNNsQpi7zg9b266IhS4dSrdH7DpjfbNACsEqIAVHDb+83EdYM9y
1XyLZ35t8xbbKXyh6rOP3nJn3JIu4LSfyeWn8JCoWqYnOgAZfKBENQjjgb/BBXAQhrILI4LdA8fq
NP3jCFtxgx/IOx8URtT9fAr1d1fxhHyDbMqoD06tEq7H1n7UyfhZWHZEDUuwWn+ok/XH6bgDlwyp
QTnKHHISEystv6jyz8KvEtLKQMMkR/30Nrjt0SWlYE83hUqrfP6sZbkppsDD7+ll5mvAsFpeaxEu
x+LIniG02GHRVYBsIcXhmNPU+yiKR9AoX2pXE5gm8IJxkr+0JxSqqG9sk8LS7QLy4MsCjrMZteZP
Cu0bWsaUjIymIsRUNjNwWKCqJenSLuZdSzYaPSYTJ9tBzMKRLDPARoiPrSB6wnmdKziq2mwzs3cv
nMd9AZZ+0iF+MBnvSGInen5U8Jg5eKSGuiFv1KxS4Lj4vod7D08GYv5fYrhYwOudwyyEJ73jEcxL
99GTZmJrDY/6I53J//LTxgy5ZR0/Iz8P9tTwWqJuE9FbFIEfcr9kceYPUAhc495mV6xrUh6pDR3s
yWJfhZu4OySYewFVzO4mpcvB8Jrh65iOFQ67MPE6ZYN02XZbLmoJj+NkwVhx37X6bs3v+YCDDqPu
bLzn+q/JaMTZWebZLlUPtYTzK86WLBtnXIO8fYb8OAvoXIC8PlUCdtaazChDQpAjALJVbnabvH/G
64cFAEcN5VwrYTyN64ZTUScwaH7l03uGetL+wp+ZEx8dgP2w/UEf2EXi8S49cfPtt4FFD/Alo7uJ
ntCa7vACWDBwm01AVtBqs31gkF2j1vRzpnWxFfkyfIwDJUh0tAF1mZC9b47+NbLfvlmp7gtOv01r
/8PpQNpWg4SWu/021GbTs7N3p7h3XJiiGLwY7BgTNBPP/+iH4V7P/V7sEM8XmeWVSUUz6BswAAdn
YkvUK5XX0ohwzAm8MYy4/4nmYsV/5XipTXCWQNeAwb3U/cLIF3UGa3RRtT+C6Hr7ZuW+rRwpC/P5
28mepkkYS1BBBj/TD7JAuKxeTaxf+QWHQCLIrMiHrHAge4X5E8f0RAcTdEssCpx7qR+/QTpxHLhN
T7tQvYee35hbtslkzsoY1lr9QfeqQGwMakiK4DviGezpA5KCXV5tkQDKpm/ZQisFeYA5K8elBiwM
krtXkGYc/2zVG88VPZVdv2QQcdRb4Xw+neu2fZwa5r/vGdZPRXpaue6dU6Y9utEXzR2Gy0xyBxPO
LI+wFqv8U3muw5i8mAm/BmWbfERIkwAPWyGa72exc8yHcGuJ85CvS5XUSmickVG5a5YBoO5FAwvG
PfcjNOZgw+XJmF2Pqaz8wvo3GtIvQ8hs5S5Cpcj4Rx3akGCgk3Tm0tXDpTSZT1zU8R1zUNdu++jG
8g5eLRJ4zVchVwOpycHvawJsMC8Aqw8nq7wTzOe6LLEpk5gIGfFH2xzbNW9Ph2T/Xr0VLOIxOVm/
aXLISr1MuEsC3Hf6JsDGb6C6vLbpmSfFJj7j6idE56QCdPZce7LOaHRM6jYJr49cbMmKIQT0yNOa
vZK/aXy6NLqk5e9/HJ3HkqtIFES/iAhM4baSQN639Fq9Idrivefr5zC7iXGvW4KqazJPtsANqDak
C8rCDFbPGKRuoG6jftvU1364YMbbYeAqxZpFSsclHnSo9X8geobmRgNJDJ2fGfQBu9cbFHp1djcO
/V7jS7cp/uN6ttJi3gzJHkBKlQJXgZYn81lFGKZW2jf4IMnfQdJRptNgPaSOlIcVCqPgLKEAS6CY
8+JgkS1jR2uh0Gx6yVqY2bEerxrTL4WeoYqn5yA53nys4XEu0iOmR1SYax2DCAnu3ac//RCIEgZ/
rE4sqXNkjBQ208dh4RMGdBnrTcqUF1L6/GShFlj187lXPG20bZVCXaj+1aq/CkbEbWhGfGp9eWDr
8IahoBs/NOlfj5ImF7/atEXKUYVuZjpZO4M3VxZVWO0flXYLCSZGDRjwcfCAxNZF8fdKfk9xPjXg
mcbvKDtU6gHgHc3CEahiYX6PTNtNXujgnvQullX+9MA4W/bTT1wJtyVj0v4v5v0nDqy923BOCU5k
od0eUuRQFFq2dkIxXZv9jOyAvj+ii3N0BLPjcTSfYb+hVsoNN+vASsAO2WX6Z1K/zMLt/HMcvXTN
DT0ablhyd9ximA2r9HPkyRRr/lFODHnsXT0s9dY2yFi0pKtY7KLg0GG1k8RmQK4wKe/gFhqbRS7o
JZJurC04d7PFTc1MTVZHV5qFr13tqLiF0EdNzwxKYSN/yzj/6v2oH3Wbreh5HH/64Kshv4C7E0xB
bq9HdYnwLCCpM8WUSVTBbD3/YB5uJEscwjm9EqUk559+tvBVkItC03/vwn3Zbkj0ExFdEWMMplUd
5GaOvym5MNLqpkMrSE5kpfwdNQ2j1OX0Gkr0ZRteTr9bpprDyApuKhprw2dRjjSwlc6p/0yL9yJg
rsy2pkunEx72ssZCy8yQA9r2PwL1S7bfsgSSwXwb7WP2pPbD1t4mSJSmM0OdpAAGZugm6a2a3n2W
UqbUHdQwWPnRdc4YCnOum+6rpjXzV3GyHaOj4W+sZA1y3+3ad3yzCKZfCYR5+SfUPtMSPQedWu3/
a4oXZmRcJFDSk4zJLrofZ/C3ar0e/He5/iep4c5S5SU2Px47m4X/oD1iZJyV4Lfo+EDyt+CHBXl9
i4Z+Z3UYO8dF3R3S/IsSaKXrn1P8LlisIi5Kv6PAWzEqAeJ5rkAYquC/S7CtENU9/TwYqssm0YAS
jlS0eQsg2SjDbG57+d1L7zpnIMuySbCDBYxOUHnreA3AJzXTW8bBhQETiCKnMnFJJeordoM9qWom
BYTq+KD7c7ScJk1UlaFP1IGwn6B5TehWknzT3xJDPbO2yKVzpruSgvpKexjhuDDFkY2F9m7K3xHP
YYL1LtMAB6G+Bbb8CCwHD+zCkr5MJEBgXtTozUg3dbxtk4sdPYR3xjiEMiMB86M8jHplNXuE5jYr
oY7jkkOR/b6McMnxOXlDKEuV7mb2rW0B2mh/Cl8NAx3goHu1vstIHTP9DqQRve16GuxF2Q9i0eh/
fHhBdBZkGwnDITaAiurFnxseWjIkEf/Y3slLr579kLVro28V5dQbl6r4l/awe10/fRfTsYKArzqk
PwyYInAcxIR6TTToRX6Q4DRUBAX4rNu5nDfquCrMR1a8FIpO35ZXFhBLiXkj22O1wD5E3A53MLis
RWDuuuZkwRWMmj+p+xz8K+QKxFUrsN0w+VuYOk6nO6h9YnyRmLHiiC2xvBqTqwgd2T6E+j/RknzU
Bm5IqUSEJrq0v5plMJAvHif0VyXfYrWVqKTz2jzFI8NcSHlkTM/xVN1Dlq7sf+zsPItcPcba88Lh
msE0C2X9qFkCrDKun3WkUIL9yoj3ko/WBPTEXm76UvpPm813oGtro9lbxT+DEYrskH9X4iKjAaMg
xIzHCEaA1YwG0JDSOsN7k2PBwXdSIbyOzl6k4ddDHIx/0uc4D7g1JmbN9yZ4V/8BGBEGmwpSLXQV
oiaex7eiZiff/E7pHRZFk+wqpHHMewLSWCL4+wW2358xWvfN0TK+dC6l+tKPXyzUl8H4Lsat5TmJ
TRnKPcEKVRqfYcAqh4Zz2UtQOhgrWVDFCA3cmOq2HfYyCv1I26NCsIe/DHwBwvqaSAnWaJ4kH0PS
M5hUIyIjbHcHfna0wYtsSub+IVt1Bd09ekwCXCUEzaOMB2xcttoTNVkYbOYcioH5dB6zop13PFVB
b4Cftd+MiusZD195pfSvaCha9Dd9/JdWXxNeT8WEOwM3hCUvc+RWAljcMWk6iuKigEoODKoFHouJ
ucmqUX8GYJB6Cp8m+uiZq5TquuR0gpesA9+NNlH5ZrX4v4q9UnBr9lQwYmtyPvX/cBCMxF9N/xgL
wFDd8eyx8sy0a8C0rtwY5YcBdc9mzgs/6KUoeFfmv4J0Em+aaBfKvBgZw6JiXZWfcUSS02kU7tTj
Xe9e+BNmaRmmVQdGsE/qU90ciLZgsj0sSwBfHlV8k8Eo/cnR6bfRoWX6WbmINBYjj0ENHDCOT7n3
F1H3KXHimsI1i4uGLgpENseGwX+sO73P2Q4tG88fO/R/TQRe9EGo6tgip9WeVvZSaWqR6wXlm6n8
qcWltiG+F4vGNty8xNiyrJGRq/885h3YENjwkeKSXg1yW2z+ioVuxv+mOPWghmcQF/rkCVMmZ+hL
SAcR5itWl6EMQxJDQ8FhmQDmSUCLk3pQmZvMeqozZPpo8NGH1UMbvlMwkuYXegLcVlfrBbfMIKw4
OVXTr19SCVQsXZdh9pEgaC2apx9wffNT0PTbU0/96K8krvCVEtzrjvkGhhe3uxU8AdWqRADS6jgf
d76OjCGEQrcy6j9Rk+e1VdT3GvOwbqMgrE9zQvMJD+JyVm8q8PahZPpc9QDCWn0/cDR6tAiMLPx0
H8JSmPofZdpO6koaDxEZRnQ48C3h4/fhbxTwyP7l2XeBhIUcrm0sfq3pI/jWUUeo0jbRPnBxuXoa
EVa07vnaqvmx/ofc05JuUoGR1+RGYYnc3KPuo0NMJGzUXXijj+N4JhXLMFwdS5LpkePmykidYShz
rCjyH6uTRDp60q6UyDq804Z0bKmr6dRGGM6SQ2nC7tWDTVsWazsiGBbkiIGvg+5AUX4N4r74d/Cn
sbtGtXs2cKbhYLbGteFjB3tqDKEzUzgGxz1/FOcoSDV7+khwZVXFjwj2nXLoW28lU5WEySrEhJwG
3TEoNjK/UBzvY7B50xGSXtvv7eIi+3uPZYb31G8o55r+3ZCYtz0S6HP66GYBTRdb2k+BIspCGmcQ
NNXE9/KHkDmAFUH3k2MaZN4D6+/oI3AFiao+6UdaCAnGxvKYiy7hGqbdDEJZDPKHYvxGBY0wK5ql
3j3N4qfS37RoCyVwabS7gtdSBf9316cTOHg7YsJ7VFgJeIIyZP6KNe7eu9l9RuEngRoBHmCtc/Xc
RXIGc4hXniWyOTz7BBjBVg441h3FWham26dHfViyS64Z9OlbLvHJwG8CWgQhYMxhytMx5lv6Vex/
o71q65tujYty+Ji4n/j0ZA7q+AgQukYdG7OMNe60eESqxAzW1Y6x2o7IVReWI8q5hR0QxHJFmMpE
10j3U3jypH9B/pI6l0maiO9Bikkq++gS1g93WUbnuCaCADCkiXK1Eq4nLpY4dYoDgilMrvV4YyXW
hZjHm98YcV0HmmucfU0ckFEXEp2yoRLX1VNcH8bmVyniTcXtDsdrNZEamn/OB2Cc4pwPGeiVz3z2
oTPC1Mp56Eljm36YwVehxDuj+LIYsQIuZf1EKZGbl4zmBRMYwYls1LmgkGJUrmQdypZ53ybtj1Hr
FhORDeSzEb+Iyrj9BLWAqmwbpb//F20PxXoLsAwKxterFE9mzZlrczQZqKfhbbVc3F1Orx49hYaR
6TST5Xu+niDAPrsI5hCMb1K+URUdifPV0o2dX2rp3HFME53ScdCMB5VkYJICLJ3jfqca5MPtQn1H
8mX/A6anLX4nFYIMYDwIG2gaYYGjREABHBNVn26Dn2n8MREFtBSTaXlQNQSpAwlM7DtbFqm8sjyV
6zq/mHSYkf7jM6uWI9yCzzG+xPW9zza1ghxy42nXzEYFgUM81xZSBDaJWzBG5wqzAf1PvuoGlKYE
JzYIG7CaVfgsf1v/XZ/uut/x08MdmFs8phoSSCu5lglg8I/AVULG77jA7Kk7Kk+2SzEvX7ubMbMo
WOh8MKcaKHZZKmSpK37nfYVmhe4MzuwmtEBwT95iA3/kUsR7Fgk9OHJO5/Zdr49Q64NpS2JdYT2T
dgfMGvUSRKqSTjkdoKVrC/mC84vnwrqwp2ybA7ypkSgsrT110p+pncKn5OGoweZUIYthFRpBTUhY
mRc1d80JGBeBCA7uMxorq+a6W8yYREsjHnmRv5E6CxwuXMYKu5y5wyPLFIUBwUZAUJKdVYGaMzFn
IlCZ/4VafRbpPZdnVx/uBqeRXsZARtA6sOgzAMOPPDTTiuCvDHEB9yQoN8lHuP1b6o4/7P06QIk7
cM84ikGeB07vuxdbOJBgZ38K7V4M65E9AaZAweAauxLKKVSCMoEUOe8FqqTFeIysN6JJqCFWpKuK
8oF6hwCPOvnIsUQBD6oB8sfulNCBACNfazaqbo0O4dTSsp782G26KzwQqpkjebEFL1B2Y08nDTpQ
bdoQdtKKGwbbgtcnGA+B+RFpn4H4V0/fg3Sz+y+12DDHbVFjs9W0WyDjwmTPyhlRfSjqPWg8BkxL
1gAM/BDeunW5N3QdFwZYurNgS6aHuwwjL0YfnTRgC9uyqd5t9t9hsWWAQboqOBj+xjfllTwHAKBZ
xre/jsOdPGn3FnWkosy49mqBwWahKvsUeE3yk+PHlV1KbQXt+M68mwh/ejFugm+5O5bNKWcD6JW/
Gs7fjgEpTbjM9lhDJLz2xbP3FpStqfjh41q3vE6G9Q1gIppwAPcFyvErlwg+/UnZ9+0jarHA8wWg
6wMr0rzqz7i6hOlpiM/Z9CUQN2hsugrsKruA4Yq518vraGMW5TaO2AmhdOn2NRoVRh8aFsNLIW6W
RWlWbVR9V9SOBzCkYZvbbfzi0gVfHVTgcoJk2XYOqKy1BWY963/0eINro7NI3pYPEXos4F8kdjHB
gHudhW8NQb1J+ieGfSkfgoRPy36V47YJLfT0GPjPcvFe54UDbQMFvWxxY2xD3rm835DWDkblEkfr
AdFIosCyIOSTH8FOThIMQTofsbUISqYdS26jgnlGP4ufSMlRb17lbtdNpCSm+5TILq/gjTvEbCjk
bTqRd8N1NKjXXrnQzxXxJcTFxRh9adBBqScNLULsmLFGRFS/lOw3vNzYtEDg5VTh3MmTI3EkFhg7
iCKkYgoggqTNM+eUQZaZln9q7yBMU+nARw75tq4d0qUXDe6fiAgfESxRUDdEa6X8bnQIhJsXaILj
fxRNMntb7/9b3uH9azU2fQrXBbdYPU//C9ZktX5N9VUjW/tg+EyBO3QQhnNqyRaVX42y+9ENb/A5
XJsUFyEvY92BjArj8EfuvnT9LTWvBqpVZG/US8zGqn9QKrXywoqkm0FoS/bRLemjZGpMRrgi0H2d
xgwq0FrUHsDJ4IifaRMTCWyE6adXHfTknsCZYsxccf5RLb7QruAkD8HOYCGziKSjHqo3TLs7aNJc
F/6fgfPSDnBD+4zPjiTSEJ9iTl81w4rE2yvdn/gxx7NiuIbq1Cn+BT6VXxi3I9TKJF5HKI7HK8Wf
xrBFvBnVoY552tdGxxr/bFQbRetxTDtNpm6hjtByun6EoQ8Jd17FGxsgZD1Vb2iSIBaMobbiRhxI
/Itqrr8qxE3LWT4uo+yzifZzIRKk1Ou9ssjUXR99RNk6og3k9CHlZhRPQjP1Wem248erKdt0sZVR
wW3J2qyBAGjWYXgnCEjXlrZ+YD/kdV9WcoFWo5swnqJ7bJ2V4snyDqGsMM69DKkLvRg9Bl/B3k4v
VXdTczLtXNZHRaI5VndhwK1Zez5iL7xZ+q1C9BpgfJ2anSlfJPnUcesj/GF3YzGtU+PvXsFMgVIM
5bhfHHsfcnYEYbU9G/UpZsiu1OewPY7QvDoGDQRNyfOZREArQ7T5jl004ZYxs2FRzSD4AFSnkDam
v1S9YOgGsYO9RxX/U+CdxsY3i0r0YoQQbgk2dLFTsDgknors231uAdV4Nu0Rvz3QKpYw7wXAbDBT
C6Hz1V4l7WKb+NIYQeXiYnRXPbn6VAmqehfvpf6Y+k/CjFQSKOlh8luQvM2LWQ9bpvgR/tprnCD/
ChVvk+mAjot/5fAMsltPKh5xhgYN5LYp76PHE+4UNgF0PXbkxRRgbCDQl2aYJbWEehgFVH/xGGhn
ztSyyERbkGw9pq/WNVb20njsbQ60Ry2EO1MoKwiQCUX/T2QxdlHcJPtNZO3Y6My9GP+jhj9E2pxP
0zvKBJQfh6UnaJ2tHA1k7taUh6UA+fg3j1XUccNeGMtTwufA2ZFczP4WKatRvoTiXCgHuGAUcxFZ
vSxXUg05IxEQzTLSXqiiPW1VdtB8flPLTRn6UtK0KMMFI52CR18p/pHDCX51WweHjNo6AFtQ1eFC
eG+G7ljTskYDWYfvNqfOOF717Ad/ut67E1I3tqMo6tXizNq/zAOE5c80J1Zo7VEjcT7XXBuzc+eU
KV/wGfBd+i3YoWP3MynjwjamnShIIJ99v0/+zqaGglBDfjDQTWSoJfB743+3mGSHL/QpPP9QOS3v
Edh7mS+I2yIAwRH9FfMRxVteRb9p/sGHyl448z8axnBgVKxZS1BAI0wP6u+Ys5HlJkI7qqHrlFk2
Pwy6UU9l28WKAdcSk4edyRsmmKZdwYWaI8cVXijpkyczHtakkZj4jMuNbdwkBpaVui/LtcxLV+NZ
zdUNHr4Y82NEMEY8j0IPk/dLIQI3miHRUss3ZYymcYUSe5S4/Rg8+wAS2q7caD3t08MsvrXaIDng
R2a+MTCK6D952yBaaOKPnUOZ7q0MqQMiDd7UPYMrO4Lh+kI3Qr8GFDdj7pcTCbGzWYfgS4tVlNoM
V8mIIaJbvpn8ItCBFfvctgynO7K2uAk7h92D+gzqZm/bH0rymDFmiQLX14qW4ykIzgX9tpTazMpK
uMqtU8nnsGpXQ/HbIhhQVpq5jQAeTygZUBUSZbyUpmdkPKPhAtDFrtwMikz9bCLKx/waNAxh410o
oK0WHzLriYzsDaNpDg12w0g/VOauKELWSvcqJjFXo2GR7ya74+ipBW/4qC2ZJfupluKVKZ+LCf3U
DWmAXeF4vXi62859hnoBIUrFe5DDt4GjyTLoPwZHFOOanaAFTCynK0J2S8v7LzSfKtO4EUoiiQJj
75jRP9k/2VhuyvK3Iv2FT4A5gbeHLcB/ZVgcPAArW+pPhnD5EtL9JoxuAR65tHs32c94yF2Mp4VO
EQkxVkou2JhiJ/6Q/KtankT5tIZrPLqFte1PUXqkgQEP0ofuxP2U/2VoqfJ4i5eRKWefrtTpmjaU
5a0j496BmxzvWG8l9UZ9oDvTjM1krJv8JgYnVWj2nUFjVVAzeEZmmXefKYoUP7sThoqj/ZoZZ9ZU
jCo7Vhy7bIB8u/KHKzQFddiK9q1vP1SI5MGnGp+8ZKMxufbLR6/bTIunJReFo4t6a4jLYLzJQCBk
+zOPMSXc4pRiYnD0kfE1fpelICGUcq36GyluC+uRFKeYdIdhqw0/qbeZjSn6aKyUcDMOvza+uxQx
KH8CXhv9lA2wzTibyc9R8UnH/hfKC3IWBgOB0ZryV7IRffc3LUHuTrIkzh+t3mbBFyrY0LzFc3uz
BlbgidNAYc0HHEV/VfeFvirOtvOc00+PA3ARpkaB6RYD/Tf+UryiXXLOrDe5v3p8tikifoEU30HH
ynaHDU+3JXYW/4tHPq1+bFjNRcyUKwj3mOA/GlrTANtDRz6tBAokSC4hKn8wqiJ/t0AWpw48P6tf
o7Zvo5vp77H9hcWXZH7rLLERDLLqFxzXdbgOyJoPlyLaqOI+ThSODfqBNxFi93XbV0FEg3oZ0BA3
KEvk+WZrST9ye/9aAszGJKf9aDH+KpSsDMDRj9Agtsm9Do5dyxFir2TvzgxDmCVBqbcUdU6B9ctN
ww1Ox6G+dI23srPTaGjY9v/QQq3rvkDFVS9bYW8Arq86Rv1TfLNmiXr9IWav1IdWzmNbUuJixtee
4A7/qdpnYUGBtvj5aWVZ1ixGCnCNAiamikr5aRpZvhNOOxyyijBBhmUvP371lBxleJFMtqiEOubQ
ARk8BvTOhfKqbqrPUvhZ35MIPTIZEbyk9JxcfqJ1JfnQDh+SlG+4AijmZQ6VZk3TDGGk8n5Vpkjm
stFOxsTzvakMeBTu+BVOGzWgxJ8+4KlI7O374UsYjwCyEvEE5HQtLPMsSQdreM6pKOM67BxJd0cA
3DhFxH3K98xIR7Gp+UW077D/7sCVzFnfSb/vxSuNtsr47sEeqcXRV4jzvtAISXikeixBKMesZ46Q
sjzPJuz0r36V2bCsUICxwFLbu4Y6pOARpOlKQmcyjsI4jdouNt9TApzzDXpu5Aragxmtl4HsXuHc
oIglC2NhoimfeC+tOVT1mbElNbntJ8uZeF6NDPgVOyv4J5KJsYCpwL+4ehMmQ7jPKQH/4P1p6UHW
9wJhAnboDhVh8MATpg1PVdtnCbUoj0DozM10VQHoPuq8GLHhWvPX+aPlh3qex9V7XJRJcNOwgakU
LgMVTsxicfRvQ3kvYp0C9tNKz0pOXO08Zl3H7Q6JCebfFBhy6+8G7UPpgRemK+NLRtQMY6UZzxHm
xTx5D7KvyL7q+U68+83SBk7JBBkYm8BJyzhASZGSIzJU+TwpLKshWIBM8I2b3MzQLHRaCRc0nbGn
7vsu2HVw4yLOWhJoFASJs7J+9is2frtq5c2ouRJAs/yZo7ccxVXHExCh+FczJ832Eu4sqA1iqX6p
6kahjUu8c4z8N5PO9I0pKm1p5pR9l+2KnfeYURcg4mPVcLYhkPXkmpKSSvD3O/wl86MJrskkE/kF
XRMdF4glcqbaPnWtsVv6036SD0r3U0o3YodD9cDHigK7Hdc4PhbVpzTvPzq0swz+GG22PAgWljU9
XFnld+o5Rk+F4/9Kg9OLH4bHiefqABw0hZ6LDidQvovSXhhIbloGEOI9VpdlwFzhkXBFID13MRAo
R5EBBHuMGhqa4mlK/zoQC4l/s+oLNjEGkXr3Boy49p+xaTLgpIFoNwPKBqWH0oALzrdXPv9nZILz
GehIOLk77dOs71nLj54cu/gIGqzHOZ54O638w9FpyF/WuBJE5uLwUltXkUjbnjy+yZ+hPcNl7Lpn
B4N2sN8GyjJJ/QjVYm0k1xGjXYMqN+BHIRViGTPaUmbc3ixXZI9pR7h5VrK/zqPMkdVH421mNpTp
iOl9ZJZZo1tsqV7zQza4to69Iz2rMGXMjah2pJtxgu/NeB+IE3sjPHxfJXlhk8aamDiXSbnQARri
mLfHnnTsdBcXK8lwfLy/8h6vocg/agaZsfUI9LvV/gF1KMzLkN+RJ3IYlOmBK7mKeI2dsaJ8vrQl
/w2bVug+BNsCel3V5SYLDiXveZ2mq0C9CbTlAAXni6gINmNzz5o7enWInIey3DafXKucQ5L2kTdX
P6CrWSQKuOUV2pDUvHXDlSG+NUGpv6XqkSuqfxkqqr1/IKiW5Z0VMysNVpghd1i+xFVmkWY5282b
DaInQfqKeuvyu/KRxrem7ZbNv4xNp8ynSuzHS7G4W1viDeXYUcjm4jhGZR+GdxREOb8voxz24+h7
rbtObzaHO9QItWPcrCrq8gTqUWZre6x3PNgv4yDb66w8t8jmQ//utVtPWWXmPmmaC8iyVcjEKPTB
IQIQJuyrRcetshheY9UuBQOpyZ11+eOzMn2k1je8zHJC2ePGlcOFVLRO+Ois7g4kdcVoJpvYrkUn
eLdw57zuF+5DXRGDEqIbJEhLO0rTVW+Bi6U3ub0OQDa9vZ58xQBPkuE31y9xwR3NKKlyLQQ00HdJ
Lq1YiHaXOHh543uDhJ0D6T0MfiuByNTaA7YriCW2h1VZ2GuJ0k96USJY81WJxRc8akrhIrPYoRTE
T58jscEMy8Y77d78fps8gxBNrBAAyq6oj2iOJSSz6MMGAK+obSr93wi3o0PZa9u/Q7ab2GJY3k8v
v6vq6Pig4I32RaM8FvA0LeQl0KECtBiCIVQScq5GO0l3uocBgBQfd7DDIcTQtkhWXO4FBDsUvwrT
fItsXaefvhjX692PgqJiIGSbSeshVnaZcSgpDwf90cf7UdoMfEHqCBlMYQOS61uOmUmPr3HGGFxZ
8u7Bhdf47YLmX0+sX9NQ0JpQoO5COxasq6qrNB3BGS1pqjGWcApmgWuAboGnRKa3Jzsdn8EslhZO
BJe4Lo48chl7Q8Y+ufmbUmYxRYBsVBtcIf1XbZ6H5CRI5GqjgqObqBxoxurnaMJAYfzeoJhLj2qx
MKm8RtSwSBPKNQ+4iE66vPXp/QmgpCmHnlAumPnUxofyCKNvdN2S7ET6UvbftepVRr8C8rFM+Ow0
LwDV5lmUOxt4a/GmciNj7m/2YrjwJUNUEPZpJp307OuJFafhLxnBpUyHq59CA9W5VxGMQC23N0aN
nhOx4KYDhQXzUN57OoF6qNHwoqCG4rRnvjBLLtD9c74UvAfJgPSge2JRWVXxPTYm1+iIBRmah2p8
YWRzJx03EgxYfymJm0AHLfJmMUrQ9wekbPy7mSrY/vPHMS8PU/Kgh/zdRMxAUNKltIplDrC6IwSd
iJtWl9dCvafVeyRVW7154s2uwpeX6dxZqE3Na2e+2hAHJzMprbuPzGMTyujWU9YTcgElOrX1HwmG
To2oTqUwQCU4+ONGiwRa7OBSklJe8fHbDA4hkwb1UgJSUSBMFJRnsf4Rp9s2v1TV0cd6EIIh1qLs
kWD9tzHflYoreZcE/aOWOiEFuA1jZySSO1EN5kqzvJlRi3gOsNSJs1z2AOXItV8FjboQcFXajrhD
t2TvJpMKi460g4SEJcydvL+RDLXg04YGx6qQjW19aAjPSup7SpaEz6lo6e7guxEzW8i/i551I44H
eEnk5aBfsdhDT5HBHovFEMa/nthbmJ70Dxvyo7bdRByV51ikJpRMMKKGM4weB2/TUvToKBizaARf
2WW8HsVPaBiUHSr6F3SLo1uNrEqMCecLE5cVzsqMLZ8YQ1SLOPyxTjFCHWAoGHhgbaofFRAplHUe
oSM2MidC3pUN/0iI2UzRbQjZq3JxxOh/MBggrsY6pupLVcGWT+6ZMNs32KBnZGY7odkIMBP0rfWX
4sE7qOp4wboiirYpaSej7dazKf/hj7+tdcVghbvy6lWcg2xuYZOJ7GpLL8n7TK0DnMXlMD4675oo
L1G+KqB5dAfTKctOQfShqteClEqfF67i1hsHVpAsVyhHIBSM8LECzh9mhqWacuX+wzO9jJQ3ObmL
5mOK3hX7WLNGG62njFqHlWfEqlsvvaUP4nOhMqdWOR8D7i2CIdkfMnKZJuuUDuU6YOoV1sfZf1/I
qLiq3ziy7uOskg2IX0zDb7ugZoRPmNFVQ0tYVMpZJmnGuvZJu+j7+QYD6wGeM27OgVXsyRa1g/cI
sbyqoTuUyGIK+D9QG3RptEmYGXb4xMh9W6YMGlXUfQb2i0LXAIvMX2j/lPH02x33jJo7gyQ57BXg
cbOKNhommPQtpdiQ3sCFoSAX/+4qVmR143Nia4e8L1ncln8NkDmTpwJMGRc19HQtBF9VOmVbbcB1
OyFCxaGjqAk9pJkbvTr2kSChLb4r1XdEfGNC9FBV/Ssbn8yfG7kgerPph52XFedQxHh1rIXMcqrU
aF670SFxmnHORz7/6POHUbfOaBvcBRm7cMNGsTq3VUBbQgYY6q5Qdb6IBiBs0/2lWnSqdeVXQs0U
9P8LVJYts0vJetOMM0EFoGi4YOCF6FqD8HTAR92uEtQITE0NGxudy7UXNLjvWHxEQKPU8AdnBFBN
aqYAffpW6HuVzQGSVE9cPfPd6g4i4rjt16JO9uW7Sm0zsUjOMb02pr704w+z+9+sRWa3BLbnSDZ3
iYSwqzUYxsSyxJEbUrn1UrDwaHomwAB2jSmxv6cxF8QmZZpmWOwLJ/KOBMUfa81Drcy94VUYl7C3
2RkDxoOi169tNDRdukzFd57/THKM83+CP+hWbJbr4gs140mK3gPU59LLoqSjPqsst0Xji/4z9BEW
sRTdKhWP2b5owAFpO7khJEk9yv6nzL66QKUiLxnSXQpNP496+sxY1dGIiGzXwrlPkONNCoGh8UEP
xByAsJTRBFrYdsz82yxGtx3+QMzEmCMqBGqMY9jrz0R57SSJdSfvLEPbx5mJ4aqnctf4smcyGNAA
ajKrglY53BTjmzy2CXkP8Hr8L3XzpaG7IcGWVf0OaIvG6HDo75E6I1gXjcbwTSe8d+OzuAvw/qx4
CUjzCb7N8UKBrEr/IgsjESMQC1VM0j2KEtKD/MjjCNAYtRac3DnKiQmAlx7S/s1WY4x5lOYIUdRV
ztNU8yUo4XtpcZ0Qa95nCGUtSKFulHwhfvbbW1dcRQm4j985WVrIAbDILRoTKzxabcHGnHnkSlNg
6q96+x05QZRpK42N6Nr3HpYEMFBdyZzfktW5YLYXEcMtGCoBywqOrNhaZVCogm2sbAPdAHn8HDzE
ZxA62VqxjvkRPOslfoTcrF0diyRJnPxJI7R+Jn9DfLcNus+eT+uO+rXir0pvI+SLPO7Tajf8peD6
rFFalshF5l6WLZtSX8ipRP1BztUhz9CgX6YJSQd7NQ9JzYmmKeo2CoahjsHfEDI1aE5x/yP0EhAx
xoG9qRIWrfDTfucFe+mZWZZQsfZuxVBLpAOIuBX4SMxQpm4ufMxTiTw5ptWtY4V6irzgFMYgasra
GeHoe9gDZopIp2+Qv/3H0Xnsto5sUfSLCBRjkVMrS5ZkBcthQjjdYs7563uxgTd4QHffQJNVJ+y9
doo0UIl8J43XEOn+kOTL+VdJGabkDT6m6NZACFSbsjmO7V5zmSft0tdMe2vV9+wx4H8lgi5zVfn7
FF5WDRZmumvhGimnYvdj8gpc8Om4xVWGaCdBmlfkN+rzChCklgnkysDKMSJHInTvgrnz6KNWydl/
jIyjYzreTJWnKZ4XurBM61GsUUOtAyz3Cd4Dsuu+RpqApmt3jZfgUmfWpDOMDZId3xQZnDaTyvJF
5e0G0WXCq6HI0jswxR2tzRxGADyOCKoegM4Z01JgrjOCOsSaJC8v3iXDykleEuIS1TMNBIkOsxAZ
o7hytygn2DP1LWGrLppMZpjD0mZw3wDVvLfFBt6LHW+gNWEbGVnAFNvRWBsmuo2Hhsv9ZpTn3FgU
eHsy4mP8KIbZc+MKbSdUEd/8Pl0dfQi2r0qsBxYt7IDxvaDM8Ih6rs3vHBdp0ZyddldltwZNwPBX
U2tXJZdR/UZy2xPdIjkDiT1HZfx0TNiHauK2IKKjyY8Ji/yaA1vI/9Gio/kxiXNds6cwNobynumm
mdBZnBVTsLGscFlW0wa9Ou4Gc9BQyDwMWqA4ehujbp1XF5WwRVK7gkCtmO0spN5U+JvBpnI4KwPL
fs9VMjDVwevaXAVrZ4tsYh6gwQOzCOlkM54yLn4tun8TeNsaPjiOd/JwTt2wauxbici/cR+uqCi/
X2L13IRHSR1oaB4F9nNgnr3mxZasV8TByx6DTJYjnbRTfJg6hFVBsjbmVpyQZQ5aMVHrGboyJMfU
vFTmv4C1hKY/iplk3+89LI92+mW1KTO4DAH3kWxmcq4jk06Mf6Mm8qr4SgsS2mAyUC6dXHFJiGPD
vh2+5fGW2CKmMAh5t2NU7JnS6f5Ljh4iwU6lyV+PQ2KkmazqW9WuTbDCOEAAmaO4gSoGvvEeyXVb
q2UWxLec0Db9ZQiPwfSBaCD05ol6Y1cEkVlLJYko9d7b8aLsU0kVDkN+PWVbWCyYmUwbhx5S1Vmh
5+NbTwmQf5uYcbR8eMzU8VIrglTjleY0a9SbHSSCkCm4n1Ec491CZaYbSD7gWBv/dNA0Ue/i3tzo
xS4M2M4rtRfhS9D/xKj+jcKgpIg2rs0GQXtrOMh1LK2Omr2cSAFm/jSbjzY6i4TCd43TbNeFp8m/
utVNxkhUMlQ/YEHzMwMzqMkoPGlnG1bc38qa50gw05F4/IXGMiETyX9z+mOXIR1CEGR7AMVQqkfW
VXv3PGfpqY+IzM6Sb8XSFui0yGJzLGybi5KFX8aWItimci+h7ua6cVAaC2ybxoJvO7q4+j0G2QBF
Z91oE4HOzTqpgXZVOjNkAJMI8CSDWd2sNmVUsWL7dWmEcOk/SUQL/KzjBg8qD7zCVYKZgTsJze0K
0I6DRtX5sMD3hMPOd/al/zYMB6vU/tif37I6YxXt4LPnEiH1QRCCqjgKSFLbOq7P+QL9K0cGr/GX
NvBri10Q/+rhR8sKbZDjru33WdXThHZrkjU3ncFeglo+xHfRMxgsCJzIU4jcbVp/RlqI+clbJuFL
4bnQBm2JNJ0Jle50W9fwdvPbW3zWzAaIJ0erXDAdm16FS+MtOqKp07eJ3bARf7UIawosPCkqGCuj
3kCKkfgo3grvz+2O0dCyJcTEpgescLwV4s6vkDGcrwfPjYmuTDHg8yH/Vt1xakaUJQD5mYi3GCuU
TVgZYBrf46Yyh/rQO/93qwT/0Ysp31lK+sGWAC0tqxDX46Oph3pToj9xDHzq3Lwde17Krtiq3zOY
SfgDhp1LBpqhW2AJcHQM/DEm5ymxqk0xPRzmvJTL6j4hi/GIAtINONeUiMgbI+b4poELjjctMes9
ApilrJ1tOMFDgmxXNhK99DwbeQ0nMN2BXCmb7FD830a3rMTNHoIVaYS08o+B199gOtiRCUfyWeP8
QWAA1hEes5jg84htTZr1/zDBMU6r/Vvgp8ticNZjnmA/kSMh0uanjaM1YRPl3rScmWyy6bGaphwe
MYp7X8HGxOnTDMwfwRubCP5Dl09b7mjHqM5Zu2Jc8XnMmOEWsuEoqqt3DU1ahTW89fey/ebeUohf
cgwMSUZUmxSPkP0XUDRcFXI1kfaO1twntFaziks2maRIl284a9Ox+SkdyP5DDs0gx55EoCCiyDj0
l1rzNQpAG5b5rPg6M3dWDyuS7vEN2imdIaYHXtmy7NdBw3yeXUXEdd7x0uQVHnG1a5ih981X2r6Q
EnQmPXxB/vWTxPTtIbOyq/GUOY8ZsiC85wQdQT/5mHbbhZsgdGtiWE8e4RIWUg/lBSeH7YYsf/gX
L21u7sT02eUYOplPVem6IYbOy8dXjAasdbKZZLwKERr5OiNLnMhx5R3c9CDAlzmlt2mT8Fx2zNpS
7dOtRuOpA1grvwLWowovZsoAKzIXJshaLUJUn+XrGFO6122d7LlDUTGkOzNqly6fspi2Ct32mB81
pCMewzsDjHPW/xR07iMaG73D6Q0cnMucv7u1ao0z7L31VGHwJYVBQnuuEtDX+a2B8+7Pj3fgt4hR
ptsjAo6xRT5+KhCkE1f+FHliH4mUEJlokRnpPpmYrqAVRT+Vt688hh3BdjCuuExQF5i62mjpM5k3
jNfgmBflhCVmJnK2yzDRn8sqOFcj7h9sMi2UTsdptnrP9NfOKHmrF9Igt8Zs5zWSayqHbYFBxELU
mLO4NZqrw/Xo6TS7Hd19GRRki2mk0f9Lx2R8qtruHAZEX8KQ84RHC7eBWbT06nRJZ7HRTKokOlGf
fRG1VdeyHguoJO1XH2uhX3OKhm631Evzmf7/HgdM613IDscWMjVF1NJD/JC1xcKkTdWwFKRE34wt
5FqYbo4JErZxl5oJsx3DFdClFr61aWo7jc635QB5mP2mNbzvnibV512OLP3fxG6Mu4Ntq7VwDXvJ
zhzzzUJg4c5N2gMzfo/s4hHQZOosdpvUYGbRrRusOCgvn7ruT8Lvm0oK56CEFsFcXzlnvY+WA7Lv
BKEOBOf17Mxmjrc2Vc/uk/pB3zTpvs2dlR3dJWN9jbjFZPy1Q8i85s9Yovv4sl1wNC3EazM6eqia
NZm8Ds7wMWpHhH2DgfbRTYhxgyDZbTJRPEgUQdbe9zgZLfWTj/GhU96sj11mRXF35L3Jbcg4NWDs
XEHCgPHTXLzqVbpHaebItz69iuyrAc+hgtPduJei6S82Ym+fK7vmHjbR2rWPGo0VYSgxrOv0tZfy
ECpvm5o1sgBOtXQ8B5r3O5Yh5DykyQOSmCrAuXhrPcyaOXUvcCdSgA0buaQxW6lueacx27b3YSO3
feSzSUfZUIKOI+UB8y7K/AanXkjbY/3Cal3kEa3rLGrgeoRDbdkRHe67Yb7HTKeM+LuVjNoj+48g
WbonHbANy06FqS+st/FIcF4TkL0a0T+cdd77tgW+gLsjV18TYl5ftSMbmgp/OWikoLgaGZYbzV6i
GMHPn2U/zMqHkmDI9Lfy3B8vnCVcBLbo/dJimciqgH2tt8oZro1Y2PoaRTUONKfVCBk5t7LiZ73V
UPuafDwmY4q8z67JHOzpU64Rqtf1j4Kjsuw4g8+sMQXrt8C8gZQvvefCpnKpXj3cQRHdS3AwW4Qx
hAHkFvPnjwh7uKl84kfog9l+h61iHXb05LzVnvVFParnv7H8riyQquoljRED91iBOa/nWIx8BFPd
ggchCEhnUjfINZx72v2IzheIRhm6q94wbxp8jAkBFYzuZce2NsWv5nAv+ylITz/cTmyzg3n5y4tR
8zOrQPqJULz6mAJaQ0BV7xH2WtsoA41dyucpjPbwCskUmz9ugrzBvp7TmuAPn6MyQlNv4dhTHogz
rhJPdWt9ltgiymHPbv7VZvuEY7T0qtWUux9dPKSMs+SGyo/Ut5glK+RO8s4cONNoVD37MgQMCxj8
ThJVEC+jgVF2CK4123X+Q97Lb2/Qd2EDB5z3mokshvm9C4GoagCci3eLvrA2lj1qb7skKDuDnXOr
yCGpsRoWGJHKpoN7KZ+K7HuycbUy3q1ND7cboWhFvXbwLsgUur67j3Ag6qyHhrRcV3iiRVrtRjui
ZQ1XGovtwjgk48VXzaEmOzmtxNHEnmHlySK1j36SbkPy0CHzfZpds09dEwhGSw7qPp5D5+xrIQxW
gehSGdAYXfpPY6sYC42bBxp6OscIH2q+s9JG5IUcycAR0zN2DGNr26tsV3Xo581xkyKZJDNmFVPv
OUgaDTfcFDVkrar8HDv5ljgjIq2fnAmkDrhW+sYiaj5SMvQim/Uzh1XiNVeyyZcmW++2Mlh7TieA
bk8hA4pSwELo89Osio8B7OUMHMDVXSF+EIJzd22a5IZtYqMvuUxJCDYPhtuuwQpU+ctgtHPmyO8c
lDxQz1biOkTti07Nk02Soq7ZVJ6zI3r7yUrK1ybo6Sve8O6BXk1WkqolL8uVbnW7keLEa3zIaY9Z
aqZRFbpkKxpUdx22tbhQu94ZD5ZwN0WXbcq564FZRzlPQgz5AS5fBztyoogjEOtZLN7ptlCliHWE
sFD04T1UD5XqZ9tDBsxMrxlJWLokaAFK6sN0vPqCmBw8VPhcd54G7oyza+RAi3D9Zb7xMLDZsp8I
W4I+2ZcZ5L6S5LfO4nzt/88LtVcUvXzo3cYqUFj4ZOVO+TlisGVVK5dPrNC+2vTFciKg0WypCDPt
Q8AgOANHcSprxoFV+m+Ip3VBs9To/sELwo2bZOe+yvYlcAaXx604IAowR1n1juKUbqC58vAjNFIW
ormuna5W/txZlCBuyO6aokqDQubW1IqZd2qUf/RlfJatu0wG+jbiD0vMrmx7orjaDKW5jognTIxo
bSFa9WKxNnS5VyEYNdpgwUBA5ybBBC+FcQQ2m9d3i0LCe41C7KO+g4SIHIeCpqfij/nLMsc1wkWP
D79GtsUKcTGU+bnHqakA8mQ+aQ1sDX2L1QBFsWS7sXNYHhTFgFYQ/z7tupCCuJJ8k9V7Fz1rgsmq
gJll43YH8gHleOPDpXEkPJbsLaBBDauYq55REfdTVsQHl1QqWakjhSSKOv8UYnaxumwVhOyrNLXV
R7mtm2JVUJcD2keuW18bX3utcN82bAUGDNATo5Ix5Sz22xWL/r5jFiICOHP6yoefIrKeb5it7Mrk
nxAJtpBmsg0s5iq9vy/IOnIcSE38oRwLK9nDachvQPrJM4h1vhF8dwU6chczqvXjl5/EB/rRm87E
IVNi6YFiyIBLefmWymgT+tOb55BtFfTcnelSYfW2ze8KUFjANr8X9zRbxgKdH3zCzioX/URx6Dsv
k60xIiCWxgb+g4Jj1orIkSFXBo7LBETs9euWwavfqY+GWM04RdeYVnwKSJ1hQ/jAPyqEFcgNttaE
kD2hFMOvY0XJwXa8X9P6jnOqaqXdPNM59vqw6c0Bc7q+Gin9h0C7ax6hFE1zbPx/7fibhsuGyzFS
c32kH6SnwUD7rO3XaPJWSvz1zp9m+1dBfzHP6+vyn+n0C4VMYkgE81hzX7r0OUm1AsG3NHGaCOYE
KX9Vw7wYcMmHlM0x7WTMEYGNV2OHC9UNyF6LLq6GPsy+D+uPVQLVRJpUTVuaobsTeBjCsO4yJa69
hE7eX8Y10Aq3n94lcqcO02irh8cRJ0wRDJtAY7BZWnvdbHZFEhxs9qpD9WrVp3Zg8yMYA/q+hSOb
NSp2BwfSEB6rEw68rS40pBveBVYgjG3MlZTiKBq2qdU9K3bHboxnIcQ4a7iYiTLyUfydROuhCySj
bcZ/lNSrKqm+pnHYSSYrbldunAlNmmy5LnjaI7kKgBCAoT+PXfmQbrKP3OmiDGZoMtxZ2MBzCMyd
YF45hYcO3bQYyVV1QDI48QYO82YY3pQ73in6mJCKVexBqzWRQlg5HIjQztAvJDjQ3b0Ha0ZgfldY
MFuf7Iy8ArM4MAhSqFJZziJINmId6H19HZ1TS8+cEMkr/OxfDTX9KY/Mi2LJ1xJcUjPpTKZykxXi
JUbi0HrGYoh/QvXKlnwjNewSkB3rskL9O+8eYM10DjQ581Dxb2s11lFwYqw5Dw0rF4szokfk2w9Q
VgIdSXl8qovwzkd/GqfgzbVj7gnDyRaD/tCZyhvlg2HTVuaAVxFEFeyoUsRaWvmbE/hDcvMWcO/f
WGzgb68DRH5B80EnSPWqnij0MRYhMz33AaW26aCIyUAZ4anFZZRAu4/kIdd/SrWruBt55w726N51
otcr4NDpwBOYowzpEvxpOnTe8NvEDOyxt8VkswRkUuqKUxJ870jd4tqfTRFucjbDY46zdWCxpD/N
cTi15DZCzxdE5W82kN3p0HQldbIe8R0IhtRdQD3C8eMCk9Odfz3jI21URx8uQgXpoAj1m9Bniict
NdA427ohy8VTGi8MMPNNS3eKlsBGHxyJXxvBlxICq2WJtQP+qmW+DKLazFPYzHDaDeG2sxsLbJ2C
fXEfmjeBtzaEB+SPe72k3hVc9gXsFjabzwFfalnaD5JBXhFxXvwGb46Tzod2CE0vfKbReZERLDwW
f425lBSqGqE9rMiedMHcymBkkDHc9ANzIzT9OHAehyOYyF7+C7N5hcsvZmOBsFg7A8v4UMwEBoR9
lY2+HfLOqK2HNL+WHvOlYNxFrF89TLxplO2VxWauqdg1p4uGaLAax4HmlLtUJ5kPj+nY01sH8sfI
+kfFcZNqBgWXhf7NlI+kROBIfZ3Hama9sAArD6a6ZnBOMtW9JJO1cuvgXQF1dPPkMKT1tWNjIMZk
p1W8bXP+Q4lexoxf+WVutfwqp+EYVJKBULEAsL/Kez7VhsgpeHzGMK56tv/GbBCS7psV0LgOxT4D
FFEmyFNM769J7BDNagtsR16JIAzxtOl++qg4bogiQFAeTs9WDNaPZ5grQfBXtip679jiFRNTdw8o
vKcR31QM/qcAkpev+WR2clD4FpppQ049BTvTb90Ra2E+GosKTlf4DxJeCKdGL2dU4i2qLhjNvNjZ
FX2OXp2SMNGTMykOL1b/XSSPvpsOpcX5WNrPnim4e77nMBcbKF9hLfUByx9YZ9F4h2kYd7Iogcl5
+qpvGCsFWPZV55EVgE5RNFCJ0lMDZcFLPGwPlM1leTMyBC1ZuBFE7NUx0giX+WnTHkzpcIUokkxa
CjWaBhvFqt9l92J0to5A8OsAICrtfZA+hI8UZU4RIQqhld4tB5dU9iMegnnRV2FBZCKFgkuZ9jo2
jv3kPFTVbGvTPHWhuzHZOdpZsNBFsS/lsLaq5pA2OTIgJGaMLP+VfnroS97D+RLsa7zDydoi1Moc
WYhIZ90X1aOPv1T6PTXATcp8DeCbY4gtU9atzUntU9Hvwnh68Yti5aF7ZgvE5DteWBO2L5zN5vRs
MgPzW7niYkbflMI2IuZS/2w8gtS9pQudtBTyZNTsSWKxbZGrpMkx9LlMVEd+7y8vBYYe0vOgGA8T
LRR0RqLcuYPtk4rAVEJy75S96z1YiixhcoghpS7R5jA2HGODM7a/uuz8e7JZgjDcGGQtYZaw5Nw1
zC5XWNPZOQ0KViIsAAPSbEXe4y7zjiBpmi6/+IgHuWtvY90u+ww7ga3YjVD6VgCDJu07pSs1kGFa
qnxOAncTRc6P6tFsiHqrWxMH4sqNbnMPEon6nX6LNULCsq1FSfJZoIwbEHtPot8XYYXE+E81KPIl
Xs1ZitCgfdGL7pwK7Cm6OJvS3dhVgZNr2A82yP04IAmC7bcm9WPl+TvflCu7q6+a7mCcg9zBRFWO
CkPaydFOYnI3rQ7W7iPTu1VScJiiVEyYGHY6ltp8q2qUsJTcdll9p/1nhUQ6875sRtttPt29ifW2
zDeEx5HinCSfMTdyEI6YcobgEPQMaKPm23GCW8H6fZk4LRYfnwW8pfezDSnGAC3sh+zObpEdlRcv
hvQmZ0s9pkQ3fBZlsk9xCHdsgIAgMGHjW+t7zkfnNpNOMjh/cbTNy/dkig6yuVgQZMJ4PGL22JR4
GjxnOCfRhKUTJwCicdPqMX3Xi2ig/JvBAr37USAZMNv+Po7pQfbGzSBmS6jiYQXMyAZn1aAHehoF
PEGgrk6PGpLC0rfT2fE/XYNgAqaRXnVZomUs/rTSZ9nXMyeKfvQ6p/zreena1gabEw3vqOxIQ1LM
herQZdhhVT4xVP4mCglSIs1SAq/Ii3gj0KJM5akcs4upk3GF+iSL0hfPgEMgj7EKwVfVKfF3sUYx
Yj0X4a/KJN0sor6ALU1pJ2smePsBh2SXA3Ip9bcgZYo51rPaGAgGxFsrJgae1YY9/LYW03RodSvh
t3sxOkx/ik08KgzxgMAb41jW+IW8fOn3ykBHQ5U2eccg664WEuCIo00TzUm5zqWIw5MU49qI7W2f
tdyfLQ4LSXzN2c5fJ/9FGylnBnluXB3rPy6CtLhEuXkYg3rn4t6a0BjXhvaiuRKrJINhoi7Nrj3H
EKerACa/N3m7USFrNAFbzzNnshdiDQsm3ZRWtUcFWTmcaYFA8iBGc1Gnh3gQi6p795Jmo2yuSOhx
vawWDamIIccQvx9LJkTcQXKYjehlISD7Ghvq8xnxrXN0qU3cpjtbs08al3WvFG89SedgpMIUoCQZ
QfZAZzjr1bnkIxM9r2AwiVZimCjwAntRp7OWHO2cGTFebDCzc4DraleK35HQCIO9WhKJnQcFJQZY
DH+G9G5z1xrjttT4JVMDkwX6Mxv+hS8B9o4B6K/+EkhXXfK6/YcIb1uH9mtQhjXTBXoxTLnoU3sU
jlB7WyN/uHOsd4RYs0VGFc19MO6lxuvPVH5oLTCX2R5nF4/1K6FPq2e3i8ZeI9GtT0Nrnjvfv2t5
/cdRch4r+zRG+T9LogrK0GYKekVngiAVszfNiYjvXM9g0GMwrGzpG1NuCFCqoG3lxL3thiYfdPud
zwLsOsX+aPjOoY0LALsuzsWgDF4ZJC9VrvBmAQt+4k57aguMQ+Fnp79X460spk3nx+zpCErt890c
3URP+WSawVrK8a9RFacepWpZlUR6QkXXM6pj7pMOEjokcjQwNT3gFBI2E6U7vUjulXwzTN6YiuLB
tCRAZfhIPlQmiURkqEmo7elcNZdteFi511gDlGdE+46zaoTtIHt1sBLzlBK4A6bJQs3OnzwExNep
8mMsjIflEYdNu6+lcpc0FggS2JW+bm9SV9sywFxQY29tqFSRKzYahTDjvXVv9PcoM+b1Hg4GDF2c
uFpS78NoZIHhMGzKlo1in5k0t5oF3zrgy8/6fj1ylCqkB2NtnWqA+I3Mv9qm3+sOrXZqL6ekOKZw
80yWv5n2z8/vMVF4jGfxaWPSMTJificEPsQe0XwxMMTNb6H21Bqwjbg5swhHZxHdW3J87DwnrDXb
x0G/dcvvnjq/radF190cahu6FZzlCN+a+Frg38KTCojm4ebDez6hBeqJPLdvdL0fOZ6+UDc2JtZk
LSmY9tRwj3H3KLiS3NfaDFSgw+rCZ9UgJYtm4ceyB9TpW+SBOc1zrYprHPU3J9OvWgZ1eDKBkoB7
FM59SPovW7XbYty62CPLSlsWLTWgTfqG5n8UtbOY2M26DBxEj9mTMVU06sgSRn7Sjc60IfkNNZdY
pNknIMJfgsiv3Yj/vNXd177oPmu4ZU9BPQPS9QMsTlolBddoyswrwtmrjJDEawOOPpsSRUevVpgO
+CoX95b4LHFIJzzAFD9srg8w3yY8OGXxUjvxXifdyJD+DwT4ZxbxcH/V1cMc0lr8NLP+UprypTSJ
WyHTyEBUjULkwsUwMMlioqWhfA3Tc2rnV525XjTWGpNyf2NV+cHOSPssaA9zpNHITGzN+6xMtNVC
3LVGP7omDrZeNQQchRsTTcxkWicrczcqiDa1h5QIuY7dU2lFxh2IPyQj2GRMbE6DYLKZORwObcDu
Q4TUEDBvjLq6RaW11oX7mpc0Nk08rKtWUSNaqMrIWkntTw9FAN6uv5DyhPiRi9MGDibaEfczzPU0
0m1qBSQsSiPs3QdQrebcoTYUc/I2tBFqI9q/vHnVa/Vied2tpwlloAl60QAMN+TI2CGn8ew3NZCm
hsEdvfA5RQgi4oApZv3s8aMutHR6GjwC8VyV0x0mG71pVg41bR1pF6YWRAR2sIWxAo79W17TM2MM
72jwQ6MDskTZF9scik0U0LP0b/Saf3So+IRQmJUFw7ESYj4KeSaPzOil9ShZVyT4LpOh/jU6dp8G
OSrltBgSlORqeDbYdWrwi3k4NMvpbgyGtZN5K2HZeAzlKvBcgqmBVUCZ1WlXEEkvJwgAWmssHbw/
EsqrhVTFYdzVhvLWd0m3TN05FgytSuG95ya4QMoOp67ZP1Vf3LDOIg3cXauX9Bc4xcPBi/Cvz0hq
2uIZpF0rcesSNLuFc8KJR/itj58sB4zxr25hZGXvWVNQspnPlTUe6sI5FPV0KtLkknbxxk/hjhmV
tQvNewALyGwQwjoMLpCgW2xjF2NlIFCQhrNlMvJSB+Yin+eMXnFk4f2XFGBwJditPCQZLp3aI0pO
NPZpdCoDEOoZAQCJ5rKnQviac3auptq6Sc7ZwM+RVRZ4RrEkY7hLIwhVOWroSFYHrWouXV6fCLpb
F5QSQKPM9yJBLlFELRt6LV7klYsf14GvYazyrqRPNbOb0zNt7YszU7ETfheMAvqjMlqBJotjXbb0
Tnnk0EumX43pFGRcuOxrRbm3te4tH7NvL+qXU+YcGjO8MuJmpgSehYRJ4L5qjfv9p/NY2zclYYw1
nyFmbf6PhIhgy/zdKKa9auO/TKWEmWmHGG26XTi8CuHF6pD+8w9ZXjCRamp/rUtGRak62JREkYss
sdRYQAQM32t8iRyQxIwYUN0msoLrmIWTwJKmAkpal1Isx5Wtl/53m2bP6Pu3FTkGykQOawR/Iu5f
CgPwb65NGz1GweyN1j1wja/OBp8ZIecaKdOCTqJSpJIGNT5WzGPIkZKT4z0NLZPODFZMZrfR0hXT
rjd7Iqgxldk1iwYPPjF+Hh+rWtlkJ8Mvjs6Q/otlR9Y3+NhcFavYaAj2s8t11hMvpkX7lFhirpt8
T52KqwHph+7uMnoap/pI0AbWkzpXAr61hITFfEtPSK1PvIUlo3sZiw1BvxT40J4t0rrLurqzOlwZ
MLwJV8KVFIiXlF3iZLVLTUcepDsnQ1Bf5iOWEqPc8fAQkWmrfnZGxW29Zrx06Cfj5IfIZShYq6w7
GsK85SEHfpodg9hbp5n4F2voekrUQK5DyLpRK1zhxdqDZojkBq+ozm6NGqV30RFJNKpMswxEbMnF
Rlj2NLIPTSWLNqZ5CBDx3k/TfZCQA2ulYcQX7nqiuh4QSulReJCSdVTM5k/oJYLi4RZWzSnybrqR
7JToDmFo/ZAXtsqd6FAILuRSHI2G1bdJkJVEHwecUhX+YnCLj8AL7qUaUaXZz7HHnn5koU7sLZoT
AAWIw63sPZXTfX5UeQ/8TeRrPgPssVh7WFvFjC6VGjDaqn+VD2ih0PJzq3XnAJOl5nFFRObRhuIc
ddMmCjw6GAPTS/Cvy8FtG5ZpYvAbqNnQ4gT5adDse80eS2tZlhg4CwcX8ggaiqc8SZh1u/RJnYEe
gUIL9JpxGHWxMVsUQyMBcBY3SdDYl3aMuaaApQziSkjvU9bZS/bmWychpY06+SkjqjPTW4DpVDEo
yLtWf/M9BPrsk4mo9vDa4VaCNJw61UnYDDZyzG6+TX87UKdjuiZKsbGXQYEZZQzT51pghG5s1HlN
hxEymwWwdbCfXPmaRgTaYdGcPU6IVHY1Dp9K6O+lPtxbZ1au5P5GeNOq67tP6Wj83sFGyuCUwNtF
t6gvK1xd8HquWsvyvXasW+aX22aCv6WrvdPWl4nnntuoUlJg0IEVINH4cW3QV+F4s02XusvIWOwl
r23ByNXxKNn6c+LVnIDZpaVXcwDDmX52a1V0F06wH9vpNZ00FlH4b4r4loJNyC3gF6yu2cIwUgZb
JwDeEzeHnRMAA9aRXu0IJqTBhSWDPqu72tj96brWrpqp7vnWjeyV2SdHm9BowwOaJ1rv06UH0Tjk
g9b2IMCh0hz6n9p948x41/32prsMiAkIsfWbNTmLMKcL77VrCxRppDS1neri4mByMuPdGb2XgJFb
Sih4SZeCAmBnVBcws9gnqpVpvcbgU7h64FSxLkIbaIzaaRoQU3S8MUUqX0OWRw7WFMcq/5BovQUy
wrf5avfGBZfOn8lJnIc3ttWnMrJ39gDXP/ywE75P5CC5zc1bQg62+mc9Rf8SZvVBN4cjIYa4S18t
PWHDGaIvi532OZJzzAsqcRWSJ0B6mScYtluIQPPxu/TZAOFtNaG1aJgC2QC/DCMvlXQWQ/7Q7BrX
XUIvDS6uNHad4e+U9pvDB2yafDs6QNGNtqZYhQIx1fx0G1htnfta5u9DzCNS4yPsUEczJdUBseQJ
CcqYSweLwVYekDNCcNPILd5OOOq8FDoRvJA4A4QBKnreNUwfYYTcw3f+bJ2zMgNgFYMKJFAQMLpr
4QYTXxXdcI/HPe5HYqfb5zwGNd54RwyPJ793Pk2uhaI33t0ye6rgOPRu9DrqFmntP32Vv0oF4Lpv
YGUiB2ZXpGfdRsPnJMNnfepwIGElMz0UEHGSMzNN9rmuMaLyZrrYqiAYy00IBHEIhxmiYyRARmiV
2GpO+x9pZ7YcuZJd2V+5dp+FEmY42lQya8YcwQiSwTH5AmOSTMyTu2P8+l64KlXrlmTqbusXmjGZ
ZEyAu59z9l4b1CKjjJSg0DGCBDVzUoVLfZdJ1GieSB+GWF28GAmp1XmkI3dEczKDZwaDqmVnp+qU
4q4N3M95Gbb4/h2+Dc5nP9vR/8qFvpvrpU2NwqBIvJCKCK9TSz9lGD4nxM1zQMR5argPjZBM06d1
BBnCYUwCY1oxe3XwBuk2/VJNhVSSjzzspgupG9sRuRrd/sOE9FqnJCdwiZhavIKKfzMkuVj4wmrk
naUXrsIepGql2C/Kyb+de7S2umKuSLsgp2G8TjIIcG7XEAEwEPHXjCCm8zJlLazA3cBtN4yfRTwh
OwyjfTB1ezPVp9BkUbYNkqPLebwzxgLUkeKUVn4awjdvq4ZpmT9gBK4rtKJ5zB/uQ0XeYINtw1Tz
mzadqyzUoelwz9ocbqX6hWHjmjSMWOm3E/IUouMpZE8EQx0iZel32EHxSxX2tzthVpsC412ihuf4
55c3y4UhqHFQOyBZGAGJVD2NTcuhd8ASeZ0rRWRgcIugBO9Bkt7JBSdmtUy/zOHi9s3V6Wiz0xIA
66BPwwg1ZCjtIzsNNcqEgHrwmTEMdn4BOBYAjwDbPpfzT6Nu7uxKXJuMpnzb8pxR/j1kZXNrx9Xe
bQi2DtSD6yVHgxx1T+cvChzDgI2oJGYNWUD4w6MTJjmuq8EA9pVSIwsXKnDh+9jMcN2T67fENFjw
3hzN+561kAEmsznMBQJ0I6iR5Dvn1Cwfw7j9CFHID4GJIcLBTweCywfeRZSW75AbXKQUGFbxBYJ4
Pee/hOIjNcQRONl1HKoPOgf3hEDss4KNuc8+4SE52y5wkZoB9WN+RFubvSRkSJEW3iFj474Zwg8X
QLMHpUBi0Aq85st3rbcun490IR+8sdnFOnlqxLwN7ZE0VYNeV9wLrGnxMS9MTkMGLnXwVASJrKJM
P3mtenS88q6tAVByUkWRQmAxqrFsJoYdQ8CI1iNk68xt9z3r43VbeI+ZRPU8cUqYQEJl+YCqDlXq
aJGbJ8g9tLCHCrt9stPwubAhU4smfHJN55l4h++BNseoBNRUSBFBcgDgcetPPQwz0R2lZx5Gbvy4
KG/jRp4ZS22Eicc1MC5DJFbCwnlu6n2UwrzLWLs5VGNHpYT23bfCBXSiJ4LRWOCbqKT57GHiRm9n
+Sk0vAzLtAP9MGrIYjeifV4nJ9vM7ybbes0rouGUtSX6ABrVgkIE4eoEdIB9JAZNLy9hh0kVdGBq
ZeshuLNgIY70fjx7CWEw5UMX1ju2+20y+gfpHAfPs4CMFO7Zt6C1Vck9sdHTqienSlfd1h4L8rTo
aKJKtSb0Zx7q22GU5ElM2XZyPMJn1GYs2lsnZ+TNyySdNbnvCjiWkWNuMH7mxHfBt7THpWqoGCM0
RrdUXwUArO5uHkDALOqASnavfut9TIN+dVD3TFZ2KxXI4tBPEB6ZnJrIRfao/tb2BLkvN+ZjL62r
l82HyiJ1Z7JQ2qhcEpHpffaduGjZPY0W+FVVmT+mKvIg6QEjGlCU+jVer1DlLKUNSu8xrfeqmrey
ZlBrp+WeOoy+nfTndZkkz1rYuNxY2m3YDNH4nE3Fs6PIEGE+z+IjjIUww+pkKcR8Q0YRBuP3LuUY
vrWGcDuz+viGy7YPwolGRL2pMRTcKCv/Wcf+5x9tfXt+Sx1CYuPZ+BWH/lNjhmpTG3hJyb08iGI8
kct3ztP5Q5gRqpZZPIsSc7qWyZFA1d04uS9sdbieRrBmdRK8dmJ6b+b4gaYe/j9EnwmVGTLK7hGu
UQS0NFp3VTVCnodwZGJRrp3m6vrls1H27N/T+G7poNgvufJ+i6wxliydg1iq6AwRhx7pXsEoZsZC
07bMS+yIZoM6buHUVfOqsaONdoenusywiWdQIXrNhMmtsA4mpXPl9LskyjWPpe8xoUW4pJxTOojX
fsLMGOX5sISosZJp61EqzUeWQA1r4urs5+LiFoO34uhAKMc4MJaYcMQA0SzbFkwTD0v/lcZ261jX
JKzk7SDAifPIn4PDFLcV/ovfM4m0Bk6qmpr+xgjrlxLaRDjADlAjb4BpGHJrkcMa5gWxx4P+MkqM
1wNeF1A8IGtE1/5ED/KUmpO7NtoRXqN9Nfrhvcoa1F4WlbUbJ/t4yGkbVSeZILBI0bPPpBGWd13U
frouh5XcxuMd1sNZWd4PLs2fnGcVI54WCBJPjeKBz3MUE14DD5xgk9Lng3nwlLpdcPEQveOUKgw2
+gLwWZBF6MdS8E12EcBq7szeHO5KK+GUPkYJU0Ia5mkJGKWqdhV93TTNf/VA5QySu0ruyiogIQgk
ptkwSgpgOwtSt89x/ULG48YT4VH1PyV9iogWLcbZNOJKyd7B1TNXyhhHvgOTeYhJ4A4rKtWZhdag
Tu86xbim4jKJ423VYFYu6rPZTR8BWWd50ICS75jI3YWWeRnVsDW7+s7I8KmgNIr5wPg7j6HS92br
3cDEb9S0Ur31ME39yQ8GeNIfMLLW5iLSYFw928GHG5e3BAXvGuzvPSkCAxLbtUeuxFElVrlrUc2R
L6p/StV+c/zFy+eQvtLjHNt0KVRKlajqOLY+g1DQSyLs2tOIb/O+t5CSuAoQGd0jpA5gxGXjT8dA
F9m19dsGq3CN+qogqTS+z2dAuID7dUNflvgBn5jYbsF0jCwrGn+KT2mZmOHVrCLcvrX9q5yZbuVQ
PCQMFHBWuIumq4O4DE0WQ1Te0tuRukVcmkVc/86aY5a7ErSMfPOHddde9Hyx9CI0oVzw9hkR5zl6
pBUAvT7bBYWxgVm6yvpH4P0JM3ObuUn7PAcHT7054tDWBCyU9UbIah3VHzVg+szY2qCyRzKfgngP
VnJt5eUmUpAAwjUS4QHTL1k+XXAvhocOPYJ6x3/JVIT5zk0zvGA/pdWY6i0ktKY7A69yamDu+5nB
2xKSsVD+uYaQtu5t3AAMSZPq0ZkYlaJHXfIQLmW/ozzH3Zuj/6ji1xjudeSjvL6OaiM6iGdQemaQ
CpB76gJ3LILN9MLxsKCyd7zz1HykuKiSKKSw/GWAmSQ6gMbPd4xrqO/LVYaSznfSO5qY3LLU9yyj
ARO9kMvXibNVJhmIG2wMmnvX0JcCgZ+PtzDlMVMMAcBP0K3R3gWw+dEzxSKHUN86Ei5xfWhD3g84
0++Jc9TGKzN5wr+M6OQ8YBFdM6em007KKkP6lR3sStimbgL/F/tffKiBl0O7SV8n39+PEsnZjf3O
x2O1RB2LTY20kmIN1ftppAfusmUyzKOmqtO7Zczfti8NGQEJM2jmiTXhvDWnQWIxQLozVTsU1SZ1
0SFxOqHExsfCbtMvLeZVhZ7XLF+gN1vcC4STCfkjSY5cxp3e0SMh48zrj2O/Rd1zI5mVJTcGJ6Oq
+V7eW3VqqlvPWrBZdfOjyg6OvlfwQDqMGim9rFU7MghpVkF17ov7xBpXqK2sb0nrFsiB7dwRZ2F2
P8cZdcdFDQ+5s3XtnRebZJHtKClurK+Act2n/WsF+1puexQ72TLPQYycX4LqiqMtBB1I8ZpAeK2I
tlD86dcc5YJOj8tEHpsqQtnKe2n1dWq/mxzbyPjdkG8gKCNCOjuEiEk+wrw56OxCDSYxIEQhEgOg
+UAuq+rGpdNCdYPApDxl03C1IC7WqXH0KQHwwrANYkM4CZ7R/NgWpypENEqBACao5XVAIghwBvuv
2OZn9yoFNIMXheHR2DThwegOUn92xd2srrNzwuiBEJS7IuasdgXrRHBCSXfNaNfWxBocQRmdoSMW
TzZRE0A9GBXSJ8LiE4Cx+MDGoJIXzr9Lx3veD+4mjddjjbR7P+vdGHN+6dFh3wyNeYMdhXoUZftu
kWAx3yh89gauviqlg4xQ0V7biq79FdqDA6e8/4iyRz84lZaNM9HdVwscw63wu3QbwYxSXfrsh1EU
u3nB71vdDZEcqGJs9YeBdQngpc4ujXMD8akNz3K5/Oic+Gur/uWYD2l9NccfuCFLvKloDsCu7VjU
ifPIk4+83bfOMx1Aj4VkdLmWgAHk93y39gOcLjWSRso1TBz52UxhwcrbMiJpfW0yQGqoif1ebEOF
7mRjoSU1Prw+eiztXefxBzDzTS4oa04d+OsYMd2k02Vi/ETRtVEJcrkeMHrziLN23Zp4LVzGRSmp
UgFpjTtv/AFzZAsaYCXwucUeBxifyvFeeg91uonDXQZuYbYfnPHQ09+Yl0w29Ryhh9WzZP/c+8Yy
3vjBxpvkH4nYtiMkweZFuS81Ui7jqcwXbgRuhlUpmps29il6f8I9S/ttBuLT1yefPWZhlxEgi7LB
2cPyIKnGNjY2JDAbHASV4pQCVIHEL/a6vqT2a0rnwIYikxcXBmBoSY7GDLXUvOvYkMeOTCt33etP
wKCuPo3JmVF1XqNH2nQDUveUMcxKc4WWDwkKa7ZHO/yS420yfSnnAzhqiwq3pqeSj7dFfR0GGw3t
Pls8r+OxncDqJZexkw9xc9sM84rstl2egc2HuhiddfoaJ18h7oUx+xFzW7Fs9WAlzOa2s3dgBfrk
GeWOe5d59+TZhLxycD9hvbVwEsa8P9J5daxfJieZeR06bxSsLnxs+2SOdzAkUReU43YqcMPcD2j/
BpYjbjFCLKf81Y5pDJLxNt4HFWda3pH80FJEkR9SKFg1r3LZMOjx0gW9ybm+62jLGe/gESqU7BvE
ONOlHZ4tGu/eTwMrVtKRUPoI6/7GkQumoADN0IQPsbqvpq3X7ZMIRB2kYOdNEdTEKFzaaDqRi3tH
/CylvJVo/QxQf2BHO70vMCGXc8iyfkysk/Y+pfEeGIee4IuMJDvPZcaysd4VHhgTHaM6WOmXBTCm
Kx8M9RIYDvUtiBqPzQNfC1PWirvCJSIz0QdFEqxhhK/5RKwGWMxs3gc+gGjasRydk3htuS9ZDXHg
KIXaDM5LYdjIyA6V/6bVfUMqiflWIaaJKMYlMWuoz3pCc6aF/HA7InfEF1/ZZLVcvTRfO3As/eho
cPNCBaI0WztsMEV3iWzUT7S1WFrKrR3KnapA1nPFpddFRMHlaccOFoT9Qo3qIDbS8MOI3gyIl3E1
gDQujy0VuJ38IEitLo4B6M0su2bhc2Oh1zKf7X5pUNGnTULCVR5MYA4MzCEV7JkYsfC+e2YBNstB
r3+W6dNYvgXhSycZAO0dxm+Chcwb2HeHd4+eeQlkHxMH1U7DofLsFw1So25N/NtWC7lCdsjKAL9y
uu2mnrlLs9M5c8+tGcYH5UzbiR5txHnd795qrkM57oGz72ZV7obq4rrYhJ2LqLy9MsB9O3vtItEB
K5/t3eBtIetncOpQisngzcrTDULFlUL3iu92JjZR1Ewnu09LXDzMLgjRaS+hj8fMy/6HF0qCNwB4
1olHI/7QNt4sLJdhCmtjxOsrQRHisV5kT/7wEkBsGpJgb9fttbaS94hsHNHaXDyLpQwVE4oBC3G4
EMQdMfWN6honvH2juvDMPJMgi/FotMaj7mmJh/g2isWZkfrpAcLFLiFjzkrREINDgb37A20upV8J
CdSsANnWkcfa7a09phgmge8JW08xFBvpL/YzQq5G32zOtaxtOJQRypUwf0IJAnIX7FNp2qs0CPd6
ERJVSfKIOpkJKaoOJ8XrGga7CSIDDnN1Mj3wc+NCODAYDa/ayNl5UbArRER0WZR9o+S6NjUXkNBF
fOi89mlqEbWF9H/vO09FBzuBADzFIdH1zViujbRrXjPdYs2a4LAjY504a4Vd+nMMMZYgmQLFMoW3
QxgcRqdZSIczVmqPO8BxuaMbkiKUNydw3zvvEFfGfRDE+T4qu/bYBcjTJlUhGfXMc936r8KyRuBE
XHJD2dBQi32LVRxSOWwBdRE83Zt88F8JRWacGAzu1h+96AVBAyMERwNLHZm+wjqkWxMc5xJ+P4pI
znPzeAkNrDll41B9m/b9ULvdyTTidhW4BE0FA4Z537YutHSpp+ZzgashdCSnjWE6pRz0itLGFiPu
nJC2YcLRamVLnNOMEPcNpmGdmR+Og1+yY/9AIkCF2qxMafvrsmUkUzPnKF1uWTvtBlr2cEQ68H4+
MSkABfJ6OlYCIOfkfQoDRTpYTLZZjStctc5utD1nL2O5H9MlhCg7el4AcigcMVG4vJ627C+jk7+m
NE5w9YrDTLEzIcWfrJZpHR6waeEbstUqZuG1ADEpuyW1IGcc1cBjNH2fxAoSCLBCCewpE3j4KMl+
obsl/5e81s672mRuGhnM5VQDK6vIU5uQjnsdzZP6R+qKa4/KL8FssFZ9v9NN8F3N+WfcMgnhuTG7
GeGcKONjTDDyuYwDKm1+aL0YwY0vO4u/E8d4rj3AJyFHe8c4FyR8dagClC1B29XnzE0POuETN8pL
KRIgGgm5k6xxs3PQHOwLV7wg00HkGFZnJlk2s3S8O7o84C3c9gFluYj3GSDgNMM5TQab6yvsm+ro
BGrnmOZLOaCKROiDzCxdZxKEo8YqMfu4SPzqQnEM+83PHkpJVnmun1JFvaRCaCqwBQ1FAWO/F5Gh
gaBY+M51FDhkA1sBXAJ714tpML+hz4xYMTxVecNP00ld/yPOEaB+WX3XdkzRgPw7JhlYhUnE44B1
AWanYxQ5g4eq7isOXbVfV7m9jaVbs5Noo50BKrE9M4RNnKZglKVCoEk0M4hUIRkx4PiIqy9OGsO+
S2rhgf/VZQSkcOVUVeiSJKlgaLCfBrJB9UqyvKSdxZZWFzS/5nKRW0ubj+0GtJ0k3BhjrHQZXs5M
oX9OKYXOLxONJXENwaxsoqJco4/6t4jfXVoDoRV3wbXtgxIqV5kVTKdQ+UYdhwajnBrxI4l8JAs0
wYKkvaPW7SGG1kLlrA0BuKllpNPxUbnr3DU0BT8YUYoGzQSCnsg8W7SD6CrZ7Ct1zyjyNORlXxXr
Nii9gaNHzEH/rBxCvoGyBb3TrJQfk0cxJKF79PIhK9mFBiYSayWcEuocXrmEdGJktBUlaY5wsXhX
IQ3laVWZSU17LEeoFP2MPKYP5QbbnEvnPiVVmJ2p7NKiC9ZxMUaK2CEvQogL1iMmFqBOotlrkQT2
g7MHMFlTDwRRQ5LGKhDM/0ouPISc0BN0CPK1mcb619zalv3uoKwCriO4uinvpY0AF6xcm3g1mame
GqKXDtCJeIorETfQHyOf/trsj1lJ2RUZHocrt6j97hd8/prADdXZPeTsUoscHEtVNdajrqWkH2zm
bTE85xppErq4xMKv3yHI/wpzAKIkeapE29+xZbcjoOI+67pXi+6TvbO4rmZj0TC2ALtEn1d2tgEB
OpHIKN28o5B3x9IUP+fMt7uMM4dVw5stjagyrWMRmaL8VVSDKdy12QecElzRjnbOoMaWdHJNLnJ/
kfQbDXFtrmVV4px3gxZPqO7jANWonn0R7pIpL0KHxon2IHp7rqhDUL2hM413A7scCudKs50NqRON
26JNbCLoGZ+NHh3GIVDO8DTEPtOsm8QbRfSm+yzFXCe0nNKvNBAZtlPF3tp9+qgnMZWxeujD1BvT
4ltVobQYoKmY0+EmSLBuJAPB9gwjA7yRdAntvs8V0gwmo6m91xXW8eEY2EZNYtaUZAGT487wU2CL
JeSV3IYU74QOGTCmsi1j24VNPb54WDewzWZulvt6g3i0ptua98pnGmvpiGmTPY1zLtF8V0XUwxiK
dY9EWjGNQYToN1ay4blJsbfbuWWuon1jEeyUOE3jHm7JwtyPUVFB3+kqST2Ku6fmxKi17MHnSQT3
DIACO5xeSqFiZZwq1WXVuFHGEAt1Nh2vKP11l8RS4ckpnIX9GU2F23z0oovnFKqTat0fNk8aPatl
mqVJcxiOYO6uudlieiAoCHQvNnYqU/tR2VFUgF+1crcpHkLVmMrbGHgAul8Wjf2ufLRII0zq78nH
y030hh2VzEkTM61oJ+gkFcWHG7m5dY7zxG1p8dZehQhsaLE6A7qxahc//2QEZbjE9iq/e4nyIben
XS4HOxzRhLQJEmNODL2+HWTUo6fmigaEkI02enjuo2zeolkgnE/YfJJPo9PX1LTYzHjpASpbRoex
irkWyjSL2zcEQW7F4QwtYH+OELogNdP5FqpL8BSbHmlIo8vY8yExEzIrpjmoGMD1NkBkFlFESuEU
LmfMpKMBiFCsPFWdQOCOok7037ZbeMR6BgTLjq+TGhtCeUM92VRJ3dxK6xe3dTyfeYVcENkc5+kD
QMfavXU8a2kbABphB8/MbM53SZFazq03Svb1lnUcS2HmUxC1miJrQ4NRZGfDFUsrUMrQuO0Zws4H
aMYacCG/PD3OOi2ufNBpdkpD6fU/A8se54NZpwUwrsTCmwTU3I8eJjoLAdIHbVV7Z+7KEIaIrsJu
58aFCSCtMKhwg7lMgSs2OvFpuI6ZaK/IAAyAhqKuzJRu2Czbfo8GMtRgaDM8QrjimXS8KF0pLKRG
A1JjQ8fUTdaulrMw2Ulwwr2Hc0P7lAvZoclgOwi7aUlMc/Yr8MpywOyUxql8RAJc0kqcIoOgqNjO
Rfs2KDflOM1nZNAMkfE8YI0sogjBSlzFQ8rgCFnCvhyJMsctXs8OcuHYXqR0ga450ZDc5hUZjxDN
ddEfc0A0kUV8a0+LDI5zrCJG8oXpj+cgpJl95NZofIYXvcSwyxkbCR/Hq8mbPo22J/A9Do0XiUgP
PV6WdXNwMtwqZ9Qk8qrIoCSFY4x8eRwnmPbgF0C1beI0ahmINuB+HMOYNi6zO8CVMTQ/UcyUjXU4
NWmCQETEIVyRlgSKegzcSBGi7hrwWUuZdil6kLovIA8VjEJ3oyUYd5cea9nWIXQr2AmcG8bPkXuH
NtzApHynKwIBb42kxnXvlOwWaxGniDVF1cCsDOBVRLdG6DImN03RJZ8hhvCO+UvSR7vWiO3phP6q
V8+khuT4uGReAdHDtTgiiXLsiCXEYH++n/LShbJkkflJ96rOK9a6xs7JtU70l8MFfbZVW1tfSaUk
Ry3p2SXdG8frzA4+k6jLbeua+L6MDFEJcznqsPMcQhi4V70S1qkZjIFVg2u2PVRO27qnNp6jhjZH
bOnpO4okE0ona33NFEAY3Ewy0mrajOjSylPS2wE3Nbdmna0GxX4NAsPqhgvr9JQd0UlEzimogkBf
rTFo4rXSAWZWzCfdkxR1X37kgQAwNgo/JVCQOQ85t11SU0RzrGwpPGbeZEafncb4V0MhR32IyMbP
vXQ4Oh7nwJvRc4PkbFYtQ5iBhmS/kT0T+q0bmeZXljuOdSMJXnbvrSjKwweLLiqL2dzCoQuaQqPv
L53aISppZsEFweQSUrIr3SBAh8oTZ7mRuUCTNpt6AszJ84WMiZAjWA9eJtN9bOL+wq9nSxtg/ZQT
fC9CbX8mvuy/vGCu9cWa+nC47VNl0Dm23aQlvYnlem3ogeHHFCCNIzFNGhmSiiGnI56DCqLpNxv0
2FwNMnhCZ0+6TxIStmsjsroJhhlHa2EGaPcm+pzTTejXHooL7bQ4wupmEEuX088ublCO3qqB4Uzy
pvb1z1y5Lqlt9BP69TjFc/xDtB3iMYOZtnW1U3tEVODnoXud05khqWWhcbrLoaXc2U2U/UiCgjG3
25YTwgubpBcPefd768vpIYgEvqgomYHvTsgiQSXPHlsTFRHIEa59wDhtDSw7wvn6s1Z2XqxGu674
OvXTF8L1gOEwwvh8m2Gb+2HakfcRWiO2eobBpOHm7ZBi/IhZW4AG2N1PkGG8+WOZIPecaP68TYxC
r7AL28+0aIjA8ZoqwfEm0xoRGA5A8Pdu1kG9QY9JnK7rJ+AHjHFMYekPniT6LLAhQcI5eJRQMwmW
03jeYBbBg1vO2cAtDc9xCzqKAlyiIQdjWk8sDPxhNZSAbJxcl/tKhTXNQZbeaVOVBQgvDlGkwKQt
tchNLE173gwDxRjtbwu+ADhKDwA8JgeTfxewT6ckZYqihoygeB9SAw7EwKx6um5SP40GcqZNWQYl
Ok/L8owtS68vbrM+NIdV5sVVeEhiT3/Ns+wr4rjxgGGVDtzuLk7SPt/mMWB88j9iznw3HC1c7NiO
k2WnZT3OyOhNwP9hCOS04Zk0LLdTX5jtM1ijSm81NVH+xoVVqbt66v30FiJHKffCGAz54dcDoaVi
UkPyLrsOp6oFuTv9KmIIe1tLs4j4xx4wVn4fgijjcp1RyLqC00KPZ8TK/VbsoZtOxUuI5Cln22j8
/lYzOhoOY2TW2Se7V8EHPk8AYRCa9QmHJzZkI+Im85nkA2QJ6h6nEsL2fs+JeprvR5d82zVXbDXj
H5kmprwhOwoajSmICwzOoISYf8gyMTnFBgCauTATtecQ1qdfTRRR+Wdu55aL82zujkGUGWTl+gQl
rCbfi3JYvJI2WeGZnXPXTIU37hrhFldLhpN/dR2NyDSGERMdesYF7r7oXT9+pum/oP6r3IqDmyCV
bOyASOoh3fUI0yAqdtJ/VSGlx10DAbmCWpzU5QVFKG3GFHPhQRaj1XDrBbSgG5D9/mM7yEDvUsQd
w94cqzxBJhuXGLniZemYu7oCAjYHS7xAMeZ1uCqkM0Sbhq0ieQ1Q04UY39ySOWduhE333MUiBgIt
2ULYEJsYm7V2HYaD/xSlKbbEBpUjHqc16xaT0c82eHTVwlnsVhRanGIETxrXUo4JSS5nZA9hQ1Iw
59eaTrhsqQwZKZv1eAormh5z/tJyO3WonYoEdRlqgdAdV7//9s//+i+f4/+Iv+v7upjiuvqt6sp7
DC1a/fV37/ffmn/718PXX38Xjm86dsBbYlq+b5teEPLzz49rWsX8Z+ufkB2CKkxISppbUo4A0ijj
bnaGm/+vRxHmnx+FxnHpxUwvqViLqwzEBBJq3BudDv4PDxT855fjOA4n0NBngRKe/ecHyrMYuZef
YYvE8pdA/J3CN97M23n6MRtf/88viscSoWn98YCu8+fHCoTNSsdGhyFMXziOUmnjAL7B3PP93z+Q
9V98SH96JPfPjzSAkWgDMP3r4rY7QqGa17h4durM9JU+9yq/nw7JUVz++0dd/ug/XBl/etDlSf2H
K6OC1skbWRT0DPYmrskJwvMfj/DPf7r41B8X42fdTJJsCP0P3/7rOf2Utap/6X9Zfu3v/+3Pv/Sv
d8037HT5/a3PH80//s8//SJ//2+Pv/7QH3/6ZlMhRp4eum85Xb9VV+h/v02W//l/+8Pfvv/4K09T
8/3X3z/rrqJ1cP2O2TZ//9uPlvvKNrmP/n4bLn//bz+8fJT83mPd6eS3//lLpp8f/+nXvj+U/uvv
jviLaS6XMoJlywxcmyt5+F5+Yvl/cT20kiKwaRu7lvj9t6qWOvnr74Zt/8Ui2QW0pOPbjun6PAu1
PBY/c/2/hCJgozBNM3Ds5Q/+++v/2zLxbx/Nf71s8IjBctP+7wvE85nqM0gxgaSSXkJ79R+WDjdV
nvB62yb+c+yOEbki9CuiR10ymp5C+VjHpMPUsfZu8VMMxnjniqR6GhHUn8B7d+u6taf3jn/3h3bc
W9Fy3jA66342AeHEuf/+x3ckzpHtUPR6lVaFsW+b/Bt7Z7QbFPpoVZKGZPVDS0JhEhOeOuhDJUvz
UQsfZGmRQ2/448ctRIXIRdceW8EPRLwpBpgIk2QUguCq+G+mrJxno7C3htGJkyA6AO1y8oi0mTSI
vkbJ6sbpI70u464Nh00saS4ZQ9FfaP0Tjx0m0UGIOn7KY47S1pAYq2YSxmMHgXFju4N5Wyt0IkOX
tx9iJEJN5isT15o/J/7VxPd714VLz3qeUHkUU3U/58htRVFmtwW0xwwJ3VH2r2B3xhMnzOEEpXM4
pYbdHiMbbWnn5bccB/PbyoMOHw7I62fDwTphTwW2XZqXirLkSSb6teXkcZm9yXvKUiK5+tgODtKQ
/pPQIxK9viSSDHEmzX+6e+YCha+q58GYb6PW8y5SvqlWqjsnsdWdOcH40bxHW0oNMOydBwVGDcM1
mJoNIsIAlxroiCDtQ2hCpBEUtIsFnABV3Zez/+a34Iy6tvb2fWp/hIuvIFi+cD5tFml8QEAEx7eN
b/WPiemey25ENbF8EfZyCm/Giwxi5+i6CtIrEh9jkO41ondxB1rjq5m/Eq9AXD1IYvjY4FYFL3mD
bJ98W90nkBwi8aMrHsuwL1FUx0s8W87IXrCWMb1NB8zlTnDu6nBRCcIuTJGiRY3BIXmsxpemNp/B
A15VjyZh6q+SU/Rj3pGNSDppbar+Mi+uLLpK2ZsyU1ACLfj9GLxXirltG4zE/ubLtyXoPl4kgnse
+GzJCrmEzdt3dJcvKgC6ZFRuZuwba0gfKjkr3gV/xzOeCABR5Yl5NJAlp/sYkNgDJ2yr0x9fpmYG
Ulom1YlJVrSOZ2aly+JArDBBTr1lkPcTDM6SDouP7D98r5bvnQGNszd0tIBGef/Hl7H1mGMO+UW0
1M5FvwEU5Z+l4aPqsIbrFNnDyfz7l8TTwwkE4UjOx/9i6ryaG4W2bvuLqAI28VUBlCXLoW2/UA7d
5LjJv/4OdOq757yoFWy3jdBm7bXmHJN7jxf++1yHN/agOH+7PgdVP0Q76ILBMV1uqho7/sTOArCj
FOCaLOlnSTYCETEZ+0S5cYNoh78yUFK4gvFXh+LyjG/AXbFnQPZSK7d8uTGzMb+RifJ4pjeC4JZI
TblNaGEkbsktCzkEwyStT1KKVy0yRr+erer0eOpxA62p/s9DzsIMKEXzMTuY4lfO5MKPSPFRduGI
VuzxGTQrUU4Ey0WfMfQR1i0mgPoAc96WBtVq0uWXxCZu5nHPzMAujKOmrmvmSYi+lped5aaz+NlF
VSLOWx6yPSfZBdbSOjFEhSffDPDIjotCQqFVs6HdJ85G/VxSzJsGDn9TdBHv2ozlAqPdhtzxvFy3
YQKk/P9eHf//q1OJB6PMy1+Lbv8lpQt21uP9EMMoVZx3F18oOcQ4IvMqCGl+Zzp3kZVTmCKWUu2G
h+P8MseOfWwTGPNaFl1qy663ekqRp9mEr4KU/jbC6Qh0SPsoKzqDgnn3C0dLY8fmWodOncJLFyNu
rLXPQVisEijPMwAVKhOgDK6yxch719K13AZsdmHf1ojOusTJbxg1wIAk1sWJkYhQzyfExMFoWttB
A/IumFFaMxLSYB8rvusm29GW/UtMK/PFdHXcalV6ezxV6QV7UkEzN7TTeOfmHP95duNzt0jilZ6c
I8TyiM+Wh/99wUlrbVcG/SUYreiYjPhiNQav5ep/7uYLgQ9h4TLHqXA7RiVtFcf+4yBuWSjtgkDF
9mKhk7qlat69CuyOzZS65F1Omn201BHJXUTXfC7lR4GzCV1C8K2qSr7WhGyvvVPHZLEiZmtl1X4t
GYfTVnPiCkWspk0kNk23PLF4OLRAWxtdJcwoUufNpGAVsLI+OLR9S3unT4zgYNSZRl7DcldTxN0e
iHFEEK+fLdfRztEYxrR59UPEbBYNzfKcFSOvKQODfXmMluY/zy0vpAX57Lb7iCxRGEIAgDY8RaNh
FSl6dU7NiOBmAtIMLttXwTSH5b2992rW3mNqDq+1GBi2ESQ29IrRv2EosuPjVRD4/XrSgoFBd/Np
U/W/qDh772MKGjwxzZfHU1qqcorGqU+/xV49rlzmcuUyahs4u2jL9eM5h+AKrum0y2CrFau4m9Xn
wTUn33KJZ2xEnD8ZCooFRqJnDAPqGZJT9oSpgEETIYD7x8PHDS1tCIp6PfmPh3DeCGnL1VOfN2/V
mJnvOeZBL66qzn88hJh3zictfQ7xWIdKmF1yw/jVNSd7D2l3ectsD0F2n70nC+tH6lELCFgOL2of
/+d5DT76oS4I+H18l9s3gIUB7B1riSqcfqpykdCBx6Sq3yammZxl6P1Cu4/JZ1FJAsnwGLitG7+3
Wv+Bpr27EWA3PmupslPNZjqEVe5sLIdksErN9Uubahkuk6j0S6d17s6gIBa27P6308litLAqOTP8
TkW6l05X9+lUsfZow7z0q1ADPsoqZCjuZeDVUZTRs1kjEqEDY25iTD9oOgE95SHRdyp2uhWjGIjM
hFseieeNPX7lbj8RYPNixe2N7Az1y1JVNL445y/NiGIdthcSoOWFtOpe3HBAOlao80VQBm1lH0d+
Y0n3pSnnm62LT7PAh5VxULaaOUpP6y39FT0h1vuikd6jLvzvQ30pEx9f/Hi1nlvkqXnpFbVS0v7Q
zZvhUK/WtpvsaBqHEMT4E7JO9r8GZyoayV0/wRHRbcSvoYkmKWlFeO+w89L10KqvKYOakLbmjHS7
EXvIOqe0x4QX02V7V8DLdlqb/hsFQcFWnH0j34rXsROm9yYaaj8rNXko5K7JEbYNlknqTyCGA41y
RBKdNu5D5ACoNUsVlXc4nPShMnyrdsnqdIrAS6vMvOjCzrwyn/8EtrIUQDp69SAiJ6eYza9qSNA8
hyWZDYmzl8xNN0k3yKeY0GRvVBP9TJOS5PKUlLI4NMcjSgkUk1S8ieqUBxGZ/bGvTISHTh7fqeDT
SRebsJby0OateFN1sjy6Ose6Zq2FFILetzG9q5ZGVjYm+r0Im+k9R4EcYqx7LYlqjnMAyixF5odT
vZlJkH+pbUCioSSPC7BNS/dypTWT+NHnHHHaEH7WYII3E0rjk50n6SVG/wYQn4xXGD1MSpA/HbsA
fRDR4e2ZYjHdVKJi2piGf4p8lHjL5++qQqZL4kP5WtECYIgXKn8VBte9Xn/2Q/mpid85UftnflD/
XDlLWDxGtt3j4aQ1OqR8oPbj8iUx1AjULoRV22TdRu7e6vgPUlpdGyaxgNycxjw5WfYvVRcnWCH7
J86IfpuK0r6mBiepcO3q4uKP8zub5MgizfpdMeT9saBx7MUBhISqwaGXNN3lcTMv91QEGh4norHq
rQmJAmC6XgXZLLQljG6IgVTGzS/L4N9JSZQ/TKHx+hExdDdVB11yqE1nu0ediliAQLzE7Jizh8qe
j78NhjhaoFs4h/SJaLexnPN7WRUBgQDCfXVD3HG23YefumBFVN3uVzipb5iMwlYj7dhFVtyhTLQC
VQOjJP5ABazQKrI6cLWONimuxEtqhslRDGXiBRnzQTw9bzK1xl8ZRGfm/uU70998m9sJhGFHS8+M
nMyNwxr2AfJq3xj1+Fvrybc5dvK1B5zpRbPsD3omelYJaDjQQWk2M577RJQZLRGHLvK+fnhCvfFb
jlH5qWdYpVmuylPQWwMpouKJTmH52evWwyWkH1i51VcZDjhJeb5OnXkbucMv2a7mJmmD4HWw8wPo
4fTLdCuSNp3YZenT6juAUtIelueZnkNvtcyLkRjRNRsMG5VGln2BC/k7DXZ0H+xiF0nB3i9IPo2m
0N/aMo+PU4XjpCBs462ZW9VHH1JvH68WyFOQ+LAUPV7F6k3VzAj2+HgYqeZLoNEFfDyyQLG3qh1B
poGwSDdkR2Eljk2FKsvqyO3KTK4+kWUq+zmJnANnRbavTd042pFB30it9VMXxJpf66Z2Ls2O5FWX
i4h8k3NPXIpaxMehGymWeuhrazMrNOZWCfgrF+MrxiFEjDJoTx1A89Wk2+xHCE7Ega4Vr80U/gzS
Hn6J0Nxjdao/SleQ41kU+TkYMcZMTO63aa8W74qWnLFemxt6j9lpdIlLDRE+3PIQcEcYQu61RZLx
ob4O+MQ/AZstJLCwIHQvd+9jJf4+XjdcIgc7a4rvVgQqs5uQqJH8usXE3h2jItGPSqnZnmrjGauR
W65TGuLvJrvpwCnRo2MKoGnNv3P8x0rn+T1CGLSOerN5ivQy8iUk4COzaP1Y8oau9Sr80ygmwbvw
CHyLIM1znkrht2qrnQwllDu7r6E5J2q0V0YRH10EG/vANupDDPL6EBli3jM7Lo5Ombq7tK/CkzHl
OFCbBG+fmCUqxTZ7Fg1Bn2MJUevx8HEjyQeMZkPeEvhjz44dDR4VF5fpr8J0g2foFPOlc4dbAzrh
Rbhq/qJh0y3YD926mjaPmCGqT+AgLS24Fk1Q+whzNIAKvU5weJbulLk3ic5m7WYIhMpAhZ1rVWH6
oZn9R8qR+JsPJJcxvwBo1CODagLrt8jz77CotfcYyRtGzsVg6Ook8s6sjIzI8U+WveKrI3tisyrJ
l3GmeqfCgLvMfRJsXZlbT8HQhBuzci9xrbEDtInmYFxtoBcoxw79MbKpNQwC4c8Va1rROi7LfvSd
jUJhfo4jUltyt5enl3HXIRjFkmil44PI+s/KVT9MaTR3BSHYCckgzlkjSj/lvYrL/GBI19f0QKI2
Bvq1Y5/35I74MOF7di8W5FdfJ5Y020gO6+lxExrZbbCgdPLmRjutaeuV2qf9tWW4fdWXe5YeRL4l
0Bk9nvvvC6ynmedMIQbr5Yv/+0LduDUyfZvlWADND4zwJgY1vxdTU+Ig0yH1Lg8fN1M1Xa2MJbUs
w+KO7m++RKbuS7NkRV+eSjUqqqE68o5zfZD1eM8KfbwnbGHJ+guUw+O5Qmm7C8re/eNRF8e4DXUu
Yr0yV9vHNzxuyiQ/KoORXh6PFL0hnM41yfRyghM0Z+SLxMbMwX9uijqZ8KplQtm2Q5MfpTR3aQYz
N55Vexk0Mo0Bi09c2l+ts7StmwbOQRmwC44to2Z+S7JTMuZ4FZ8EoyPvpXeazJfhdIK+h50Tz92S
Z8jICp7oK4FU6wQxYHSNVUb+CfLyT5uwK+PQFwd7fo2DDhdj5vWwZIUWrw1rG4Y4Qvk2t/3tzIhU
pmflyxqW3HrzWDVU7CqgaR6b5lOcjGsF/WnWrpvx7pwkPPhK/qsQFVJ5m864jqM3VbFWCJZXZDJg
3nwLHToAuFei7m2MCzSX/wbn75gChrQTWFUEccas7FuDej9W8SFNGgODsf/h9+8Dgs+bq6X90Uda
FKhObKJDlPbNnjKCa7+WX0cE77NeeZaVbWX2JeaPKv99VC1jsRkjdvw1jjS44MZBCN8gUglGmt+g
XFI6BOHlWfbH1ky3HbHcg/3V1CRLlp+uw3wX0aoqP0JwS0J+RQ1WIni/ib4rhwav6odmw49oP8KW
xGuOc082Cscafj6azuWtaMglKNZkcaxuVoTOLQt2/F8RmlmK/o6/VlNR0Winip/TTWI9S3ZOUFRy
mjUqoL7mbombOvgVlyBQB+QZ2bPBlqhedw7Ryc4/Sp2Vrv7Nxb0G6+WiOSE1CjL2zxR/W5A2jPg7
xwzblMEmUV9TzLXBeBO8MSY5KRF752y8BwqTVeOQDZ/0Itcd5vQYASoz3JVOmHEefKoxMMjlBKBr
1YmbUvwI9o5uzf52nXLMJjzjtfuLBq9UiJuCQDHr/8K6+OuohArxBvTtjMiApBAF6P3iYI7emv4H
TheHMCGjQS9eDGhzKZp+N8dIX2FZDt4tV0Mxyk4cfCmySYUgjUDbLKdbj4+pTUl2QtWXyp2B2rD+
wSKG0J3dmzvte8TwgCx+dWQo3yA91Ym3G6cqkSwrIGPV4GUqhgEvHddYpxbhubkAoTRD/2c9x8EB
tTxgEwFltzzMJXhS8iZWNEWXAFZDO0Ct2M56+NbBuaCng07d+GXa3PV7Dws/CL83oe81/ubFLYja
Zo/B2iBD1V2BXl2ncmvIQ5MTb+/NJXnTW+cFCdfQ70yHsf2WJI1M30JErOhy1AflD7nYaf6WZFdA
orOxkwR+GFwi1mV8pL8I2phLubTfrG6H5Qbh9gyyGiJlfGRfVuvPhnUC/1Jw5ew86GJN7c8E86WX
UvdSBsM1VyEfQ7Kq7DDEBcA1oK7VxgbjpdWdne48QK7TFQWN9IBkXVq/AaFguy1gm5QQ6XXaHV1n
S1K9GHeA4egjQ4idcXRG2yXwOT2o9ZNs9gi8YNT0JtJa7Lmek+NJY4NHd3CbTFvX/eNqL3Wzmcub
0A79PzIzO0yKhEPS+G08kkdoBmOCr5WDrhwC3AJEv/ZfFRG5af0UEkts3MP6XM83hId0hHYzl13k
jyxt0Zswn9qJt5A0A0mU2KZwPmqFDdtGXJAAo3Qh08uO4xclCDbBy4xnuNVe7ciLEx8Ksmseqph0
vN/FPytQNKwJok5gclE4CMejZrbGQ4urOjw4NJ0h4JLTFF+l8k8Vz4Zyb/EghU69QSqygnyArXNV
Kce4+gITtqZLzGnuul4Lf01hZ8IKYt8aeO/kmtD6QoHI8bKu7rcV7ViImdIsZzKBHoBT0AZAaBmY
+u8y9qzuMQDf0UPSsj4olAiqhUtsoDGOaXaMrJp0rGjMnq3iVdCwG2uuIxQTRDMm0h9nJgnptiBc
U713XHrAWSAOiFeV5Utc5unVKNlQrUCdYeKB79sxLxr2GH4tbIGmejfkZ6e+D5NPE6vtb1F/kboX
pPG6Mr604Z/VXYtqx2Y5wKSJHUgcXXK84DLpaxHjiS03OHHn4oldHit+X+2i8dbAGe8IzqGHs6nH
Qqe/hlqQMhJsC+lyxCdZGDshnJyk+5orB9Ir1YGBwsVKPSIHzM8+OcCSkuQzZttlokAiN/u2aM3J
seSPWTu4XgmQKaQp9LYFHA/0pr5CiG++Zz2ANIdrLMTLUW4aJlMB+ZMnlU4wgLaCQABvgCmEE9am
nY2BCpkg/shVzQeaYd14cAM8luvl/Eh+kmeuKN+Y72pEGhxOid96OY/mxby0M+UaVk23KPPUTY7h
vfqap1Owh2KC9zTcxcMuJPvpo62fRyBOKGRZrFw0pMQNbHucN2Sc+Py2iWRgd5wQ6DqUX61CjjSt
qSuETNVNVihh9waxKCXNZ4fFsw2vScV5VLq7bkaYzTDHgkHqzbFrnR839rBQMeGlzWDVwnJbp72P
kmVea/lE6u6WOtQXhuWrstrpsJgaVrUiSo7N9NpUOGPp4BbgV1b9qNCOq85RTDYcG+LsVNsVsjeX
iLSarS98f5ChzDryjmzwHE7oTNMZ5hfMrfEsZvzehc3nfoyfZV1HB6jwa50W3DGT1bcbtolnK5Kw
6M7ewbSOfJFZ13p0k6ORYEEahG2sTNvM4EKE7FFKTqHxJ3QikJnBSJ0BGtuCoTa+tL25jgbgRJNs
y4MskF1hvVkuWfE8HoU5ZXhT+aRiwjS1nd2+mVxxs9zYd0ri9Vp7Y7xKZBwTEmr9wKKeghgRJ2Tz
BSUOEAAFqN7i7zYvvyulvs5u81nO4ZnWVUD0zchVBzm5ahY3pZYNDkBuaL19j7nzVmacCnCFsyMB
YzEpIbATuSglQ3URyGbA3c2HnMvgmILlY/st1K+5RJ6VUGVlw2lqJ2XTcP2de/3otC8RyjKkR3Ah
VqGB1Q+d50ZNFsMk1gVzayLhHhFZOoiiOAxa8B4s/ddVz3OBQ9eF5bPsfVy7bRjtBdCMgAKrjwE9
ph3Y/noxE8MzORiO/T2WOKaftOilxcuj0GTzUCmsllLOofRAvSjslXvvd+EWK9gXolysULkfAluJ
j7iTvlmaoXEZKn9EQAOqZ2rQfglaghvb3SBnshhxQeOGe/ZrMGtzfoW4qo2BGwJ0i/JbEfil83zh
eMJR4Fwp0NGQWBH5jL3zPbBJkNssr0ArBTnfIuikUWoxXVsZ+LXm7q+OgRhq+DER1XFo5I649NAK
z7wyWQFpUclpQGKz0viS4OVxt54ytMao1FcFV7IJVpsq97U133rtlejEO9akj9gC0Mq/fWddu+nd
KLVX57fBJin68Ku2+BiPYHjiF30csqdeyaFfTJwDChO1HjdzDZAvY6QPygagLH+jRITGAhJA98wy
MKnTjGM7gEBLVYWvEeEnFHLaT476O+ixvXUYch9EYm5Yp6sUeHZgNg5buFuaM19JTeCbQx4oexPh
uAJMGZ6/dZDU+QaLRzRISsqEAiLriAplmoA8wYi8pJXWnoVviMa3HgDXW9uNxCM2kA+AdR6a4KWU
wRIB2FUrl+SIg9nx1YZefMM3I55On7b5SAASgQilnyoXQMDLp3UllQuNRyU9hVjnXLkr1auDopDB
jcv84SW0YNLoPpgIvo1R/koUbIfo1iw0m3D4qIuGo6K9uGO9GdJhZ8YLiPcTH+VW1ZM98pCjHReb
gm66Kf1kvJjWW9zlDPOeJei1wFPTCWbTv4bgiQZRPefCTJq46idU6+QqWc2/OnoZQBlNzrSVHVm4
w3QIKjzLseXn6bY8R8+Eqq3GFdmRnN8bwYY8Zn0i9Y5exztsACiUvdhxYbGLPaJQDOFGTGGtvscm
wfE7hYMLBBSsMx8npIcYEX4de+vWvq1tw2HL/XIgi2tDIohCdLtrXBXHI/gdXXbmyXE1Vxtzl4FO
p0hON848Vesm+zuY66DwUJY7/Zb8L/gUKr8lfj+WEa4HyQ/xtulA+bYJqah482c+ixeluUTiyuhd
WVMcK0CxSfXUjzWFYLptyaDXvJF4jX5fsOKMb9SzCDdTc1MwLYxWFt2pkMAr/hDHi0N4mgcNRXQx
0zTdlumWM4LvC/9y+efVBt0v5JNIW8WH+Im/1BYALnnrCQN8cus/unaEN5VVpHmskdvXpEmXEHK3
RCs1IK1kgnsIKC/clN007MhFksodjx9BBmvKvfZqUwPV7dVMnwYFCuGTS10ny5Pan23HGx2vLHGn
e3P2HgX4rDxNgfYBAX47kDshfFQgzuy75r5gqeAIk9hT+3F4IA0VZgR/72zuRew5hLWF2J72xku/
S31xaXfIRX7n43i078aNmcTyJvlqxoh44P6YjKehBQqHuCXbalOt+r2RHnAcrRoxAVshgVlTASby
VvXGyqJlCqQfrN94ZHwtin8XtTqPSzH9UpS/raXuYe7QxU94O2hBFWU98ocFwIfpMq1bS/gW2gzi
LXpto7vOudUcj9EnROj5ZjZ8rL8DcpUdX9MOiDx04HX5tZmuYcJQ9EoBD8qGNZswMLY6AQUajApy
HrrKy7O3Nvlwk+sCLMN9VZ9m+SdJiYc2L/XSSr+gil6L/KxYZzUl86pl0xrTeTw5E4z1b9Jkuxgv
+bmIVuTdtOk1ST56MIFJ4lGLCnoTJNIv+xX5uhy9xGaDHhZ+0z3H8wtw6lzXDpaebab6HqNgyKtu
ndsXgp4JhT7o9T1vX13Xhoi6sZXFO+Un7mcfgJGq7277B/oEF94tynHjbxdTCAKKSf82C46TLmLs
j5YfYrxswa1n6l+F9MYm2UXOGRKwEjzJ7Nci8HKaX3J6CaAIon3XsDbuAzWn/IQAp/8QGLrH+otj
imJQ32l8XCsBWphoJhIg9Hd9+hifJwlz38h8SmXXc3tmZEfcuzaYiES/V+4nGn8mqAfF8ueca/t3
XQq4IxuDA0JsD0Qlr1c3pQrN8MdejtseC3BIwi+nWjC/LBkuBo7uXL/G9INiwnIePwtdwKZLEFk8
pWRtcdZzZTfqo8behKR7oFjaTs13g8uW9YeCUKXWTrI7v54CM88C53Kf2IH00QUZLJ/XnWN5jeBz
yek3bJjIF4XHjqSq1LXzRZDUREC1u2l6PjMWez3U9RfZLYkzxyT1QLCL4b3RLwIoAAiCVWX7tfWB
AmqddUCNfCXA08HCCTurOTA3djf8brNKJEX17ox7mDaC4SM8qwIXU4cNGllRcWEYa3oTTTQ7ErZn
U9q09oRNicOgBOjBu0vVJoTrJqyHDdl9TjxkXm5OH+AbFL9xTK7WnfCKD2RMaNrhD5D6lK9JiW+2
wDRrThBHAC/rXGKAUJ4P2ynqLLoWxMM6Ci6t2Qk8q/zrjOI0xdRurZGM56pWiQTFP5FnMCfmrHgq
K5pghaJ+6NXgTwWpr7NXC2uPphKgh2S3VexnLySmsFVvBT3joTeedaZqIKwYfSlkAA59Y/zpnXSP
r/I3zhgCFgacidhhfoc7YQVufjWYRPoGRfedmP+avTMl+xh1d2eVv26S0+PoPImRp5zC7ZRGTxPq
l2po3iydX0IVaMNdhjvFcJfQovQwddbpJLxsnDAmQ2YK/YglehAjHaPx8e//PS7FIaIxYrwsT0iX
MV3MomMMM3GYqh6tw5I9J6bEEy5Xzmj12qOq2pKQFvBxKgWsvIRjgNs4Cpi7d5docC9GA3iUYmHM
bU+BS6Gp03uFyziEs7a8tnxNDWSly3b1heYpJqtVZZyomloHhAJn0M4FOhHRopD7nqphx0AkJfiP
rdqrli3thZvuwL4TH4y0uvFrIZOU/T1iy4jG018ydtJTm3u8VZtAej1hcSk8NSt8YobLnPx9oGgx
tLMDMqbmLkmFdX0TwavJPCpbcd67q30bvNoYg5uXJLzI+jZwYCdKn3lbdycBNKC8zNotyA5R9oox
BJ7uOuVvBg7WqxcwK2vqpMjdxTVwmkOoXBTrPm2Ft6BFlGsJ8KG+BgVmKKj5ngiPPdG+EnwdRMUs
vEUA0Ee88Afpvg/a1X4njqbL9jSb7nwRaw/DHTaIcXOLzFPb7tXq6MqXgo+rte2zE8EOKsTisCb/
et3KJ+J0XPnUcs1pMMgX2CrYjKl/pvgMrKYcvnXlYoxi1d37+qpq+yLe5tledbhE/6QDhIT9KJ9U
+esAjum/9foiRoTsl4JE8NBzQU4wvmdEqVGWBnur9FvIWI1+g0s85QdH+4x68Fp/C3c38bP5Bfl9
tT0cKuI8S1rryquWe9yp75L0pKMavRN1wyKP5T9evxX7MtOeIqv4Zzudr+fVTY3mHxlDExwgE+UO
KY4U0rL8qXoOpkM/73GTFc7ecPv3QQ88var+DoJluOOD0lYMzZXxuZydYyKHH5dh4roYtD/IX3Y9
QhcjXEbLCmIbR5126qxRHWo5mw279524ee8ZBkml/TX08IAAqMU+iYeknCi/QGTAaSMRikI7Dmyk
VJNp7bXIxA7U8x1KfEV+Ahowx8cu0gm02C6e3PFSVeEMFr6veGk78t9dw6l29kkkD5EYN64Uh5Re
Lp3DhmMw9h9JWnJiJ7c0SojeKyQRvGH/UhuDr4TurlAD+JPlxumii7EQSyarxdSSsU3JtPLe9sFa
cwvfReCwrRK9w+jJXkVzpwS9M+YolfloZ5o/Eumjg2pgI4v8bjpata1x+wGRzUKPODC6YYP1QRLf
1iD//S12c+sQV86r2mNyIB+2fpdx9pcSYNfP/XSeCuLB21gdPZtSFk1MsbITspmr7pnOBks4P7Wk
GkU7B6uEKC23GjKSLNwVE2u6ZhK8TYHQpR+fa4k21zWV5yEUbEGO6tJn1inOM/bIBwmrZ6XHqk0f
2KCsRub5HFtoYhJqN9mt8NW1kLqYyqlVpdybIC6f0IisAsXGVzP1IF2n8uwsKj0YL7/pEAXXTHkt
BqO8StQ0oz2bkD4LT+knpDhd9i8aQtOHlkGybmF7iUuJoEBN8KY5VhjGJYgzmBu2MGVpRJcTEU7E
26aoqdbSYDvTw+ZwMsK0YxG5J0FoUWDmMaww9U10dr+d6R+gt7B17HkT6uhkoZlGhvITEdbntPaw
cVXJlXoAHPaTguftuDTRkXQnhiEBXGiD0DrAyj3uueymGlxcVERrgDwNy6KQJndHY6GEhuGPgb5L
2YikGYQf4Ttvc03vKoUsB/ZHhXUHjbNTTy5wW3QmfwYuRkb3rTtMaa1yjuCWXpJyuEeJRYcxMflk
0W1y6n0rnDPE4LTr3UMAtAXmdHGIGXyTsWU7R1SKaDYXqBBXR3g4/S9REnj+N8RQayvJuyTTIPAM
FJ9HTWnjfYqQcVL5YY8b0WJ7U02wfUAsUAqI7VilV73pNX8elPyEZEHZdVXILpr4L8BEhzEyLzKe
qt0UTATkuCMxDC3ESLSUeJAi/bVqthhEDE9XkM+t3KrFc7Xc9N0fIw1LP5TlWe+FdlSK7n9v7IFQ
WVMh8KBZ+mD/vdHjln7t4/H/3I3mAdkKf/Q3cratKGOCsjmpwlyH5O1IAyro0kPLBPt48Dxp9a0b
xe8MOKWJWm0HFYFwxqE6t3ol9mHbvmhpPb1hckKIOsiPtkhDkrgnnO6Tknth7lYfczpfDQZotwiC
aiyAxDgHB1TFJs0aEgscUOxq2e9T+ttTNom9U5S+kmQ5eyI9gB1ASCbmRLc/qWExnJqEKy1AD7KO
BMbsgN0C51C6JrvkFrR8LEuIM7VLuyRgeXA+FDAEx04l9sINV5qjFR8jrpU9DxhSw4KsiX7X1fG9
kIwmySHPo+e4JlwkW+bxagLlN6J93YluH7pm/pzlaXHsJI0eMGI2W5TaC3XTurfIGFZanUJ6dQg/
S2OiOYggDDcBA3Q71Q9xVtNLyKuI1rhxsHJBOsXYnWa0unR2tIsxNP1Rr7X7EFuvdUJvTGVajx9w
M3d1sVUS/b1tx4qD5rZerFTvpebMZEXjhRpI2Lm0WPY22myQO1ZO/jjRK1JH2mbO4JLZaBCRg4mb
o2LYeyDY0zGjq+sQ7HVh5HiqVXaBNrJqkomro1JrHxoo+8XquySmoqE12hIsE3zcld7R7KsvPU7S
qqYQkjZbUvOEAZIhFeJDOjGT4w2jNe+8rCkWDXy9ga5us13KE0YV/bNGi2+ThQNDIDLGb0y9MOfk
h6ATP4pmqp7EireypXVUArZf0k47lI9i39UgQJ3EmFlFnJ9R+dbdodvCVL7HcchG1sRTORe/tEy1
gwEX5GmcuIRLsunmXDvhwYkJD9c/O7cnIUalDVZCcVq1UwJjIKrudpcJ8s8S7QJLitbDyJRFNGdR
g3CrCqfa5PH0U40W8oGxNg5DMv3UxIs/Na4cn2Ku5vsySBkxtcb4VOZAfFxKLdLYoK6P0Hsr8m+m
SpPb6tqEkYcU1nlCnOY8JRJLZkdvj10Wl3KClcDPxX5WNQ2kI8Cp0PdBlcQlsdhiflO+kxnTvZsS
giLEr8tvETm3yTBhCzAxCDAxsUF1wc1/2ct1UVfgkTFDK9yXxMRVFP4zYVYsxIkwZOCTOBuFBK7S
vBTZizBIZGD1ifKnKdynwBbH+VQPZzRQK4AqegGMwqLqMxhYNJPf9TQcR5FtTIqDGMAcmsFjFV9R
4K9s/OlVB3CcySs5s1xCvNwl+iQcVpHYyfo9mlgvd1JmW6PeT9VZQUk3cAWXBxUQcj4aXky13VTN
RiBubu5NsZs4NQxG0qjEFk4XOfb/j6LzWm5VycLwE1FFbrhVAOUsy/YN5bTJOfP0++Nmps7U1LEs
Q/daf+SBtu6B8T5CXOkWRVwWDYUsg8GZLxT8ROF7A0UEQU3AflqCFjPDKaN9H8gUwu3JH7QnAsMr
wmuPFDrp5TOEk2vMLytO0w0hOriH+kcXq7aj5eRhcnGJ4jVadHbIezt6L9SNzZ6SDSSf7wz5yaHW
ybvOOqlgJfEdDf9Syn9SgRyTwE5+DiUPpwDcwNgN2RsJDiRK/wv7V8jqw38NDCxtiM/cXxNNaoVP
CsSJleyirRRuffM7Uq5tdAgbV1WxblOAYB8HijZ960lsEtleSz1FOYHEN3+Q4rM0vYT6CdAD9dFF
r7RAJvQKLRcom1Z2Dlbo7EK55uVxiO+VfRKQ6XGN/9hrV/G21pv1oGQrI9ymrAMeGVWCJNauapeV
isyrZ8uAsvyiyZa9D8SGHxcvCUBaUvZdaifYdGtFnhO3ujWTqC2RjrBAaqCueu/WgH/aIKnQljlp
j07DitfW/LETKCwenmFV7OekUbJjOH0MaUCm+eYdCEJYlP3VAztVvZvfof3bV8qaRsFqo5hcGGM+
6wonVxjN2af5z0szVxtDm9k+WawZbpayZy+NzyLcjsmHJYNybCSfR+2ma5dacv3IhREE1WuhwcvI
1YDb5fYog6l53UcXnT3qlXyEf/EeTCoa/9W4QZLsmIQ5eOyuoukgr1aV/j5EOyilpYbupCfBo0AK
1VaOJk5keCIHgViw2z+vtlwipCcJgkN91tQ1IPtJeqebvUYNSUMWVgH1JHOP1wGMPxHN6TF21Yza
6p4sqOZiPWSyjGV0GTn6jCQvd2VwSeAaeQ3nx7QM4ZKadP4emG94HIIzgZsxt63SZLjw10269q1N
RJR4NZ0T+Zh655qNwVP/aBPTyWseOIYqGDqZ5sIbgcBQ/UrQE7tQ8YAexnrNE+WpP2wCfXscIar5
KVUiHYL25LerguAGfkMvoghjvs9tVxBo1hRL41ZP9U23rKPpqxB6bsifViZqZOh3Os8W8s1YrGfy
HkIHO5se5nsoig5cx6R+BZPXSgDdqEBKOkIietTScDOMmyGZowJ4SpR/xrDmc5SdtgM/DbAH9YDw
lSEvxbhJNANRE2BZ+Bp9tBFEpMl5wbfKXyfdA3b61VY2+qVM0zLTjqgp/LPc+f+GmMFX/5S8WmoD
XjPuARw6BfHO2DlR0/iWays54cVrrqKCLxc8io+JSkv04OAApl1I+4JYBnYHvOM0MMUqpys4Wazz
ULXXTKDbO/bKoa133URrhRtrvyaV3E3xRqXmKjDMQ5P92tlPWIJnK39SUq0U+2JhPsmPYUagu/mU
ytCRg6edkQbJzKqBHMEMmJQgFYswsAjy9JfZ+Km0KkHD18F4x7u6beB7p4ohjNlq3vj3CoHlqV4v
qvoQ+XzJZPlMfL8yXQj+DxZhCrvmY31YyNREFR1xGMVnnMC8eftaO0HOxc1HBL1OgIZQim9tIFWI
f/TbY91uavOghoTlGqzlReISjiPQOOlVCmqLQ5LuUTm5SV+yQloPLqOYwOGAX49ml+Ko2Pc0iZYD
VZs6dEZBUmx0sMnmQItSynQDdfYVkfmqArdSifhWaK/SVHXlaewXb+qwV6sHH10RBpabhzfspeYW
JS9l2toyZlPkONBD+ancksGfKdA6NIZW75F/tMSzg+wDTSBdSa3W80eLCII+auE19Nkg3byjFXTL
ERcZR48VObsF1lUddqP9hlZkqu6GcSz1F5ocuUErr/HSbonPsGOF8ybGoRUic3BD82LlThU/Kv45
jPdU32jFLsDyqq+ob8+qO02s0EyUrXUNl5TiqPK+5ntD8Sf1fGP73Pv1vVvcYkbcWMEl6EdA/mMd
0qm5ysxrxQ0El0vlTb+rCldlcV8YMQ0C+xY9hXBszc0Rw03RXe2gkfFP7WoiwO1jXW3K8kiHBs12
+jyx8tjsE+wt9q6sd0I6RMouVv4aWi0HgKm/wHuFYoOgB0JB9Y491S7AHdFzKH5P1vjSvFMwPI3q
x9A+ooI4Vrcx91WrIV4ICC8kX+0Q1u9dB5n6lhl4MTe8EKAggOAHZE5+eiu7q9rWyzq8hN0jKNYZ
efEcRZlxDBVsbwul+405Aa3hXVM3bUhdVbDMxDXy9nwB/Kae9KMQ3p2WnyinMk6v+SLhQDIxdzJG
L2wufhvnDiXQiIfat2DmLfZ8wwgHOu1stQ+qowfz0dpUoPzI6qnXLmFBtqiTyUy4BZIrajEdQz92
iIvKuc+NEWmmzWYzIeF/aIbWo8bU1Tk9ReORftb8jyQh0Y1wHZyCqECkdBv3O9oytAxmFfuhy+4p
0k0lnLSPOQWvQUqE8j+KF5As8zciIWnbl9s6pfwgP6fqYdTXIPusaTGIhqf+K1s+1yZX3zz9ZuT4
mp6UFUj1oZ4Q43RAksSpndvyeDCyvVnvlO45lDmGdbr1YlB/n3f8pUBdV1uvMha9+q/L/urhhaAj
IJAq3jaGsVTk+WmJ8pOky8w1zyHeNRn0q76MydugcBMd7Sieff9SdSbErWp+l8VRN5kK1x2zUYYz
s95Zg6PPvx+YormiSKVQHp5FQ+W1qw9E20y010gIGndy7KSWawnXQDSIsXARIhHLLmO9M04aN0KF
2TqDzd0kMiKPC92YlL214okuTaFMMNqZyiGqvgseMskp1viDhs8yO6f20VIOgXcROhDn2rhKEaG5
r5JbI4wOIwnFqBCXoAN2gaUtvvvcj8iD/RX/xjj6hChrzW+NlL2Q7fPOFx6NZ308FdMmsk9B95Vi
jgDqVf9x+ESBSQUqUusl7hG1eATpqhvhXC5puR0QzyJBMfZ1ceR1ywHR0G+KdYvOSIveK93N9RUz
VTTeqP8lZIxk+xxZW3DmzjeRCCJqOCvVHnEEaVkeEfSoG+tFEh+N/gBsa+y04TvoP9EIo53lX4+w
YyTiGKGEv+aqM8RJNp828iax5UuU1d86pDDugOjRlxy+BzM9G5ydj7Y4po0rU0VLWNd6NJ9okQng
TjppIZkfLcG0vC66E71C4jzbLT0X1OGxMJ88k2rjU6req6CngI9tcd0Ejq/s+/ANtmJRprdW5aG7
zsU5DPZocM6VeQ3FG3pfxH8eS6V3oWSeyRsF4mDs51uJ+diYjl5oMbm/VfGmtraeeojZ4krqVcur
yqwdELG8rtQHSyxOlk8t2xuUk0CAqgd+f0hKFBkT+qGavsedFr6S+ob2rA6eneDOvVbxP93cSm+9
5FLDpYzfA3Fi8ofVfFTdm61/psrejGllQy52yW3Ek7jzKOqm5S0/mNGbHrmhtTYRGHf5dogper+m
9afaP6CYNR2Em3Q2Ap60J/dCPTzqngYUb1VR31o9s+Gv9O9cEPCqJe4F456p3331LPQUnqw01pnX
IiICB+DHybPGn+ju1QNpY+7vxvLTbI961Th47RZlmyLQO1PSiCCSeDILDMWLoFXyrUyWNAWhtrWs
Ioe2DjpMA4XBFllwArnekD66RnM5C5C9nNOAThr5kXE1DefcOvM0FKRfRxtpWDPWDNGdcDEKq21Y
ntLR7d1EvNMUvJiZCrQOgisfwTZVu4NTSAce/b45FoxJPY1XzQc9763JkMJ6z8Mi3sLsOSt4438c
dxE/7508VzTIByZuJjkZD/J4GbITa0xBe16/F/reptwjLa4UeHF91umHb31xaXGoCuuVMyNylaEL
RrSrdvch+dPsC8dQqXE/LoB8moDtW9+p8huNDchOtpPsjiAU3WvqP+ejSLg+VLp94cczLrT6LedY
Ut6ayhEdStT8wjB0zTglC+nSR59k1pJxjeqVi177F2MACOZnkRNZV6CklKtXv1OlQX6sY6moRONN
pLi4FiFujhMHaPGIUfiHW0BKJI0Cvp0n0lv7bIlbM3OK6DoWn8AnEdRG+NMh1khvTb2n6bWwP0jF
F4Dow1UafhFcTP2fH++TypXJgmezX2igAUO+sTNl5fQRskrNIz+g6BjKZU5QPR1sagp60G9lbyfW
U+iuXvq3QkUi4AXnvAq/M34wDqA5+46dSgkdMVKjJ3dON0bnJJw2Y4p9qrD2BvoOfgO5oXgsqJ0U
/VXv1W5Yf5Lz/Iok9JWU+roelBT2iHel6UzQp6/ZeKfYybFJIV15zWIkxFYglpNl4QEkNZ2joxlu
9Nst1NRahkhuzYT2ViTwYKoAIuidKJPOvjpKMSbKp5AaLytCfhHa6cui9K7CMtB0S/lO0UMZIrmo
iXkI3bj70JsoXDU7A9aBDK1J/qD6oeeJr3d5vbbkYFmK7SGqb9V0RMfHuq6LZ0UY5BxhrHx0CiXH
31wVSv7W8UjTdSyBHuwsc1Okbtjf0SBUFevxAjU1nfB4g0CC5C3K3qz5Q+EdKAhTZn1Oz/Yd7kX7
hyTZZagATs3QJrYfSb5pm7N5sccbGh0M2ixjkXVFgdSDAERWcZLsstknyazV1gcGpy3cftekCyO8
ltoPRdGFSqKuKhMOszE9R0A0l3brBNmpfs8TCPyVee+7O2lLS3KwRfZTBWcNa0It7/N+aZBtQxKu
lR2K8TaVdw13N8hMjQopO5Ahs2rZHhJxBc7nP9kYQqSD4ZF0e+2llHdbFfMywT9UyVFqLoaApROH
tKGS5VRQtoQdVw8vYrwZ460odiPCXB5Xj32xeCJvlqS9sHFUjGaMnUbKD00+othtLZ6Kiks064is
FjP1p7El5ci0ay18w1GHZ1l5cMchZhfEZc6C4ll4Rx452lLjWw/2ervVqr1It8CKZXQyqKDiOO0e
SLRVykIpa0aqEg87ouQTrGbwfB+2jiD6t9MRaxJ0APZTkT2JKTldMloLTszpONdTSRobvoPrQg/h
kojq3ySYskOHiQPi3rYcb9W9tLb4IF3yKQsEkV0m0cWVYbYeGSbRICL+yy/YcHUtgPPERuYRhXCG
neDkscYT89XAc9W/MhlSbo9KP0r+jfbOHs5MZT21SMlfZt1neC3K/rICFnOGkfJLFxN4QV7x1c7+
0RYjx5/VzOLCpTyU6qebzo2E8t9JEgY9d9KuyQAydRDFiTJ2TUaxBT97McVPqR/sf3jy+d/wdXbT
mqOmGEi6ZhAxHa91rXobp06QIhc7y76LM9uQuNrvPfuB+lD7F9JZKmZQHoEjxv09UHYieJSA9Oqr
Y0KIjxZbsrIukJ1Jv7wLNl0ZHtpcsoCIfqKASurjX7kjXs4oWcahZOmBeiYK1YAbeTZeGz96TeA8
moy7Mn6m0VPq0cSVRzv/JcRyEQdrqgo6duEvlOiVcp10pzH2rDp8g+Zw6mSXebL96E2mQiNaFgYr
yuD8DIrmFhQl6njTd0l2oouXQ+dQd68Wp1HGbIl3YsQ8ea6p67HchOonxnmJ/1X9SOWL3X3502sY
noXxMAFO4htF4l6zpYgi/jEN6gy2obGxIodYIaQeWbjJucrCTVWi9UcKe6AtqqS7Y1wRxdKwl6O4
9LZ5s409N7w08iacXqn3hBOI5jztg93edNtViw8ysgLVNcUmkS5Nv6qKi2AE8o5FvxLpnmuHYU8R
d+xOmJdMA6sgvKcj0xHLAYukhXo8jKuKSdvRbVRfjJ9D4aaKkw+EjmZQ2MsGB4ZMbvAFkkBvj4Pu
cnMI/ShRo1XgntminR3DN3jbZh0bw2/mhZsYycySeGwOHyGeqWcCdXUkKJTeCvx8OGYxy6jPXZOt
5PooihvpF+zZ2UJJkPEysWey7xQ6Af6ES1VTuyjeRKCyNpJDWljMrbjQOKyJS9Y0MN5H3F7VUcFR
Id4EmbprBDFLdSqXpfHbapgTFtRatlVx9yxAa2A4Ok9WqZ1vhNmvGYK06EXIOT3J9WKR0N2asnKd
jHznNdYiFbhzDVqKHdt0EbHTD05nSRvw/VIvlnjwm4RmEKdN78wePFjGOhbIT/k3pfwR1ru6WlLD
cv60avmfJ+m0cavzj0KT2FSUAjadthBHkjL4AFS+CWMRbsHkAtw4oOfWnL2LHdkPP5nqIOy7ZvGY
WmQPiCT1CuyLa9Tmc8t5vWIGsfwvJV335neR/fbQMnjzOXQ5ivCaeASQk8MUu8WbJJCuaAQyLIQs
po2uYichDwiJkMPlXUNFs9HxInP3rJL8R+J2gcNaSKjJpD/fjleElK3LTFvOgFttn1u8H8VJro5V
nyxS7LfFZfKwy50i3a3sC/NQD6QqHwekvnRe97iKVSDtkVA137yVQEEjXKHZj0v6hveqVTumZqJj
ZTDhRUtiosH4b28YnDCNlp3M2IpohiBKm++9p7aj5vjA67Ir6VgNWqZ4vEs1ol7ms+KtJCTVu+D7
XmJ0RjN2ssUsoJ0Qvud8OY7K+xVJ74ZCf4pCOF1HycK1HN8nLMCFvo6Md1H8oErP+1dZBCivaKYY
v7P4WIqvtnwHD4vR4GJq5AF0c605Vj7b3N1MnyPpWUvieA9eLG3xue0zzgluArShNkRBBdwnym+P
dO9BFmsUWzQ17judTho1RSWMGwzJwqgUqz78JHOWljSmUX+dC3Dbh03cE3K6gLuW0VF3C5RwC/iA
UP+1qo2ZEtWd1kufISXTH2gaCjj7AHuIt0gKtyjxPe+b8lKGXwaHAo4dpn6maZI2cblwRnvoUANk
/yl/rnWJyNOdX3EWK5SEYhVhB8RoOq7QpQSaG4JGxdKq0d7juZ8xCqjwLjdhFJ1yoGBhfPh45ygH
yxZLwb2FiWCDDA/auaK9Cus+UqeC6SQQQDHVurExrvnNOvzo0leHXMVrPZcA2jV0EWWczQqwozP3
am/ezTo4lKCnLdgJcDyorE+SesUTTHUxIf4i3mTlaUg2g8kD8jTLB2v5Fqca52VRXiBGsAwBrHgd
cz9WJUw0tfUjpfd+dtcJe6OAmBSGWI9y5CQNoSS109McBb/viP7bIiU2bx5i0ubeTkKeqamDhkN8
g4pDeVXWiLS/W7f25xRbK4WOMtxPCasQVUzgr9/d4B3FXMyWYhEsUWOXFfbcARMYhT2KHJF/2vDY
jvavLsw7CbfM/T4V8SEW0rzDakheS9uFzyCgwLUgp78OPg2dCjukvipKr9z7UWHyC+PqUfFdKNT8
oWpLIGcUpHCdckx514iR2KaUm2nWXs4eosILg64jQ6NmkIrMONBpFatBue1QTw0G/l09+Orxxky2
4Zgq/kwUdvNHm2JyY+7UQlHrAwSXge178Yo9CUQ8ZjiCPx7Ch0Igecdky9iWzBQoAs98SZg3uYE9
Am92JElbzX6Q2qboovMWku4dGbe0nr9Nqzsl81u21Tj/U8nfw3NIFqs/inZZWdLTta8beTfqEud1
z1r3lgCftyxqVdpQb/MjywU2F3IT85PiYyO1CBTvjU1rkYtYo95EZhEiMdfz2cOAyCcNmQoZErRn
UdOOCrcq5+9WTQZLdOnan1YgEmUVGAWCRY1bh/ndLq3VQjfUP1Nu9pyQPOY/Da2AOEWZ7OrYeFQk
7zeNRrKKutVVTimPhXVA8T6jdHVHmnz9DgJVqYZTN8oCeE6ZAf7hVMsqhT2LvJ5fSfxNPRsTWHX2
R5LGQgzfVk1Hl+xd7LYAoasR2X8aJJQZbcFyPDtQ7PaAZgyJuOhgk6Rlhwm009cHnyMZV4DGiVRZ
99nB1ifRauZ8Q/KdG8O6E+NGM8aWFGC+v1WAOo4mEC/+GFGV1PUVy8vGxgVMk6Ia4PPTkg9S1o4j
JGtJxRLvM8XqB4NoOkjchUiAWGGFDSzdVveKusbN/hn046TmsOoER0ZITEGLQaiTrtLM2Bt/wtDI
uyM1etChJzu0a3fKo28V/KjcBoceLkaFYYUfg3fzuPTV6mwp92LPDUZXFn+miid+p2oYLVErUERw
GercrRE7e95n5BOqiN81FgF8xEWqMZL1u4j8zZUdRcqyQRucRbxaokewb6QmmxsfzauXwuTX9Zqj
OZ4StNVJT+5Kb7pg64RhIDaX3RJaQQNvzeO3okGXrQRHgRwmmu80+xhTptyp6a5GwqnatI1RX81c
H8TUvPnULSDa4SMbRr+2mYlTLhJP2TCVE1RNm+IxmtXzvkDAU6R2sullk3BpW/sm7nM1k2czzoOG
6csDsY16blSsyX701UYc+UCaPjjMdf5TlLOvDVS1epd1Cm+MvSQ/tOYJ/Me5KHAkWVl90H+DmhhR
tl5mdHmn0XsPaozENNegnyyvW6HM/asLTnutqZBYk+OC6Q8YK1hJFmaY6MvCWZyfqz6GBlxX0ktj
eom4GHQ4LhLdoOhFdTDkXcEdop0rTSz+cGitZHLxhaGMF9R3EilsywwogFQFNNELBuasebPrkVBH
+ubrB3n1Vffdix8xnVv0wD268jTYW/63zHWYJK+0OkZGzs4oRcugqe6JgH7wpX5JnJWsrsDmoDlo
xqUFVvV2S53b0WYeCZYjwQqCe1Y76rRuJFP+HU/0u8zx8iQpGecyw6uPFSQr0TEbhGeI73knB6Oy
U+j61jV6DnYWKtQL3Mvprm/5QEyVIVFD1nCP23f0kxIGVeAe5O3Vcug+CTZflXwi9mPmP52hHK0U
sttTrn/LBoGedA/zW5A/MC0onXAGYni82V3kTtHkrdAyrVq5Ipo0XBlYbyui7shj48QPBfD0d4rb
IurJ78lNNkowQ7YTauEXMZbTRRWjTzZt/MqN3Pc34uO2toVANUoULv4odolto+dyjBCdD3RpNRBk
MgPwYKrUslIsiWF2QXQSDSWKaxNNLaFfVgp3aorVRFZ9q37R85iTF0D8VkW11ZiyvKw7nmdlAgVH
dmqDcEaMnhPmXoGtP7R13DXpT9qfGH+/U7Yq5XvqPqyUumsQMPkgtQdTRhKRyO2r8XFHlmFbrQdg
mi63AVGMeGbtxseUmmI7VjQ9VLGx63z4yWwcHyTVUh6sHLxeUpdGjx4jf9nxRPbPJ++dRQvnWKpr
LdQeYap+Z6qY4WdefU+q3AGfIKKqRRF1XxHxEHBTYtHJ7FnROHyQibRQGoLFsP+aDUwb9STm2Wc4
0Yc/G31bUP81TD7CgOVSrdWc3zlRYcxeOuLfYPOIAwEIYqKYGHmFvM6zFxqpCoiUQixrAHPAQL5T
qYGEs6384enUHZ9upFVtVQ8/MnUKg6861YZQk8amHghfsT/GBP1P9OcZG8pnePbeovIySCcs64Z5
Us3z1B5CP/mVLPk9r46CR02fn0khYzgjKPTH84cNqRgGphJ5U8yAYjL9REN3pBLxzoCQUA+nE1vM
sg5a2tAuvUK1ZfVvsfSB4WI1hNPJDke39wqn7hDTgpYbX0Nyya4pUGJyygYgwUFdiKpe1+qtH6c3
QwsPlYyWRtXTp4XOwhk0+V0J1fzo1xniB0QuX8RraVq/HsJ/Bu5qGohyPCxc8dhTn9a4J6t3KdcI
SWqi1UrTJlgwbt7lOaxYxYLfj62K2IF6yt4bNiT5EuOQxMiPZeABYxpfEXdlP8gfw6TQdSz3YmX6
4VaNP2Nf59XyhoaLkO2mq0KOjBYlexzjyS30EbZxeB8N9laYHVoMfmlNfKsZu9r8PSrpBy9xOKk8
dv4/v70X41bpqUI/BfUPiGWnk3dSMvLURb7Tp+hYoP1yW0Grg6bbW7Js0TbI9Sv3FWZrqjH72ozW
LYViXG/yx6j7mzQx0b0ru9xTlxM+V6t9+coplChN+PVAWQk2uzbKtq/oj8o06zX0HLllYyA461Fu
1wSmFUaJtphluWlZqS2Ly4netVegkTU9hpR+xh5znQ471xLXyCezFqVHaHKKfqCgJY4gzQmtvkcL
bAUI5q00rImivEjGh4lC36O30MRBQcYry6eE7RIJx0ZtXxlHVTrrq8tZxNMtlh1Lp6f9a+i7GxIe
vehOJ3wYEvzg9iAFvhG7pR5+WSae/MGSsGYGbI6d9EqHcqM1YJHYbVvW2+SsaSB2U7upWTRSvXkG
AznOxHW11qpL2I+VwaENvKjTxyhJP1bE0q7MI32UUtHIQPCiFA4O2QILj8qbIVOL3QdribpCuijn
Akn13Mn1HfXjiqIl4gm8xbiWQ2TcHVh2ScqK70Yj6s7y0nU7wUqDqBVygbKU5ruOtvm/XokvbYdf
bRxLiohLR9YJIq3T+q9oKYN+I4nZ61xDuxrePebfFGmYb8lXCWns4Mto+30yH1vLpr211YcUXMkq
GF95MHxPVI0tQmlp+QfNf5m128snXvwluzSYENOBLp018sWi8ZrFP5I4hEGGEn9bVqg59xQtJuVF
to8hP0F2g3hXthsr/FEiYPvsNmh7meJMa6+De54qzHa9CpWR/6aB+B7N34o9gx6zOQECbKnF6Do7
45IfZSIdwGfyhEYif9PRfe2vZ9AhilAJdzSB3u1RfdLH+KN1XFTchveaaEzOH7qJioBidaX2v/So
0UlgC77kwKuWiqX/eIBVQXAY1Yaitm0Yvw8oBNTzSEo0yc75bkmlaZGQI+NU+a3DA3we2XEsb6Vj
J0S6YbHRAuLG77QyI/qXgo2hcHU36b0VKa5zqf3KeBbYZiGkjJY/rCH4UWb7zkbtUnb4II/7a6ow
LJNNT/RI8xGEyiHR3WY6mHTdxBdBXk74bgQbDk2aoy3tNg7vZAMdJmmfesC9fyEFXA0x3ztyUDFy
yng5R7jInR1f7ekWDYBfLyshkOw36C6e9xaoRF4gkDDeLU9+UPqW0qFpbyo60w0cGCvSC51QRTrd
c8DQWYO41gMVb+km9qdzRQEgKX/TFyY7Oqt7MLZgNM6jOmwg2gitolSBRFJkLJaD/4WcnXfcrzDt
CXq2gKyfLZHjhcEeLh/j4gTHdGMuAkftM4tn0yEp7L3o5D+57G/81jkvqkkoSjd3fCd7vXdibZ03
KFIvBXum/yb8s2l+VaZTFP8k6aJGzyzkIyU7WfuFCdCiI3zg8OVfCo8P/uwLDrtHormpdGZGUsOD
OTixt4sHJBd8RqftZ1uznkQnsvPOQ1jRh5MU5MGVJDIL4hrKADhJ+BcrVd1aaQhdX6zG7C3wCao7
mgY8jFsNaLItCDsUyr07EaGgPqvgrzZdum9IIWywxUwaWGFNorKpfCUB5rIiGFEXPWTlkrUHdl0S
KaAjEfIUmr2t3tTA9ZNDCsU1r+HBvm7XU7EPqkuonBoZnGsjFcsQHat/43f29VNQvjTpvW0XlY1M
qTGKJVDo6D2RjthQ6TbIyETuYDynHwESh/k58l5WfzeQB8YbyHjUPbJxC8U3fLyeIXB4wchJyrXG
VkVgmDqeGhha9a9BcALpTh4Xepq2d43CjaDjDGo+8UPsOl6mORxeO43jdJdzigdglMMPCvOWMXx7
gcZ8U9Vc8fhW26smv0y8cxlq9p6TUE92sXrEr6zJB0sis/uov0nqrbOOgf9Wj1/EBcB1rs3CXmmo
9OzjVN34s6vAbzBefYj3hljaVCfsRUFAxx/RHK5OJW69dAnUf6oPsKJF6Ysi0hL8TtjhgaBD2smj
6WH52oZeAy4eXkNeuKMXOdH01EnFKR1gfWHuhQB/Oolw00tHvrImdYuQ4Kd+RDfCPpWC5C0IOtSS
LfCYlqNNncdRCjxH8x6VmHHM6BmOJBaXUrqiJLiD/84xjyJwc4VKNjIExdIHaWOKO0Z0XjhNqB3p
fIdHaj5zj6or7QLoOkykhPBnirgFjJgW9ucwkst56yY3qA6xtbHNd14vYe/DKP+sUuPXCBXwATCs
vgmRMiYnELrMQmX36PP3iR0A4KoMTh5vpU+Sgyh/7fLXmuJ9HGa3QphveonhQWnrayRx8aM1ylRd
MDuom856L6N0A2YIvYZGKoP4CyGRJu1eELUirgEsY2nvdZm/7cYfDmN5L/qHPoZ3P6TtSEFDh5l3
PHbBttD2Y4B/pT8V4a71rlQPNj6yxu9k5jtwQRTAltVInFU8BShmbOhi9bBu+wTJd/AphR17KLF/
2Dt3Rll890kTOshRcwQ/Ga6JzH8ZqqctKyP6lsz+EJY2zYxG+BFlCJAUmwOsid/zIoV17g9aKmhI
1Pxw3atVTRQoW3Y2c9cJSuu6AMz2tBI4/B8pLbTN6eCJPg/6AZyCMqtB3naZW+T7GF/q/H9do+RU
0n+ovGJrG+M3ADyCj0c4lkk6puVevgdWy32GPXnR68UJaZa+mHLsFnOtr6iJQ1IUNrjIr5RlFKD/
gbvntbY4ohq2+SLLTy1JGMFS/xThCpag6x8STA/SkQL1sa1fZra9XE7qDadSWREVuDLws1orjB/k
KvmFQ/ZBq2zHiYTTNb+g0R7zhP1ol+dbk/VHZ98Ho9ukOKFJkkbDA0qB3rbXDla9oShTe1raUwt3
Bb8VTSglEgg6f3GiLSHbDXkdIcMhH8KJC2W11Ihvn5QQzW0Ny0OmDx7FjZ8eBtUdwzWwm9rsU8IB
gusgMH7wpXGd9vuxeYeHQx0SxPIhrb0HRRqANTCNciy+kghpGNa73ll8yJZ5FjVgUct4ImcMU+gZ
0TWZF9F9xnS4eYjOoETznOi0labvuWbpHAZIvlLWjNwPEbajaAjzB9dQt4uC7pnkhMdM+hbpid+O
NE69QZuIgnkzxd2K2+OdDIUM6iG6EMSNK3GlJffFtK/JLpiXhUxnzqUwnkU8o+cm0AdO5iC7T/lX
apPzYC4Cddd758F7qcFaDvJZL9yNaOqbDTeqWXM84uJl8iyPendNENTX6qFBcOuzFyF5WxB44Yr/
HJ3XcuPGFkW/CFVAI78y5yBKIsUXFDWSEBs5f70X/GDfsq9Ho6GA7hP2XhvQ7MNPkeRXM6wrzFP7
D5u9ydQ2zsz6r8nmK52SsV1tEetlx44oUZDjGjv2DOnRce6cw2CJsbAJP/VjksPH1Lc5wyhaLyiv
Lk7CS99+snge4rkvXoDjlgUhHsUTT4job6zAfxOPUT6xLF8EB/Mn/uePj8q/teXNKn+F+MKAPEw/
5YHjQlH3Q/STVecgPbI14ZydPiUnByl0VrejU4Kl+ecpT+PCgfielt2zrxcmKC4xXuKG/eyqx4Uf
6HcFXXW9yb1L0b0HfwEgNPri5hw322T4yNDsJDUC46tmKmsy8P7sZU/Yer/SGFjwO6QrkxyaaNzG
1p87DVK+SD8RpFx1TbQCpmpogKAA6Psb4T7K8mjFexeHuPjhqovJ/lt4bn8LWSJK5iTaGhSOFv3a
1klDt8YoSgEqwv4j/0iaP1V+I/1H8TEz3F8qh5mNaqvLVwQA5kg+5/Kf3X7l7sPT/vzyyH2nmBJG
NxeKQhTnsuem79r4kJIOSfxveotK1IpG/kW4EC6KjrsfafXA+6L4xsYykIc4IBJqD/15xCOhae+Y
3SbZP9JJcAWr36aEh/eRZEt/uE3Is4phKQyYTyVbig4x4ZLBQBtwDDVvSFfLHnHEsDCTaZ06YwT/
3lk4+78trFOYl433pruM3IHlfhXk28JmnnhSMDtlwVuJ2mLcjMpSfOUtO0TcAB7TqQjXtY5vOuE3
LOpFBd/EQPkeviRC8rJ7zVuRs9IcF6iNbWL1aPqBIx4Ypkf6T+OSQnIgLXemGrekXBVWcGgA0Wp9
GKxwMX94ZrxlIvdpJS+JpEA/MtrRZ6Lo2FO9pc56UXbHrn4UcI1bYByOstCbLuA1cpeSbRc6MKY4
C5M4KtOaazEHHs09FK2Uwbxb/9mRtlWYUqXwBOoxQSK7J2J4qTAlrtw/SUVHdJPaAoVG0zRprjC9
6BEkDtJUmSNaLKRGV9/4xbtNLOUuHN0VU1zPzBbzmI2n4/fjmmuKs8ktkAzTJpG2ulZjs3xThzrf
SKlKElyp88U6zIzqc3CTf0ynlmXzLXvnd/ISzWQ80goCEIvqK+sWPAQknvgRkowX7W1szcvqWzW0
OYJBTX9pvZIuPUpxC76YpwIxVDNEgfoK+ShDCDrcJneOdHaLTlugjtJEP9lr5zQBmcqN5qLksewW
FF+CmUOSuKV3eHlSrEeYW3eFESxxDzQi5ZZKodGYMCLJKV3VeLZnlg6QbwiGR6gzRdRGxs9F7SfT
TFYW4EZFpUAWtP1nzbaEDxEEX5O7cyXaYeQgCtG2HW0u4M03WE4YgGHHFA7Pe/Oxdh0urTJ7JDaz
yobpkOoYnLkqEwdoyN8WnULuts8UuUZJY36gPsHZpilHLcb/HcQsRe1uWEnDfmhVdcIx19hDAXDF
epJZdOoZC7HQxqpdRUSW1Wg+7Wya6GKKhjWMckxCEqogWzmkzOOB2TtW8Kck8MCbumYpGZTrzHQ/
C6NWKCfbr3qgJ3Bq6DL5bNCrZl64rA3HRHlhIv3wMkS1aqtj+gbBx0I8aAVWD8BFNozXQuNxUINP
JVcfCbJE4rbazr0N3tMMpwNEkbPQFNGcDOYd1AjVahYpBLLAykmazKlPggMScWuBK0lJEGYTJ6hW
PvP3XHHXMm9pAkEh6ewIirrm927Eexll7do1Jttmia4jKLJ+HwPuIBqUNJSswddLVFVI0zwr7PzG
yPs6Vr09rwd2P4UkGQ5OsMvtOWnWRYc7qRo+lDS/aomhbRLt/3FATdmQR+qVh9lUbaAg/oiE1HF2
vovsigSU366OCmZdRQ+fneYuYTyqF5gdgiL5KJ0Hy13KdJHfMy3XVvHIUrSGBhbH6S+PaoqFJM6O
5vQ3YrjYupIcwFqRA4ehUxZdBSSzyPwi8xSMKP3tWFWLkxKrnLaDkVCaEy/a61e9favF0S5cZBDO
TvhETUwDPCcdaOa4cRqTWkhSezc9liJmR/mbwToijRtoN6SBEWdBQWrxR2KVqYV8nF4ZwUlGkD8L
8HOvcMbOzaBsYLR5zocnhFj3w8hdMf1jElshPFJtwpFHh4I8hLWi7VSt/AbRPmLTyY5G8UQv2Yx4
Dr4Li5BkAHnqBVIOLhzvUv/1hKb4UG+N7OjxLRTGr2k/6lfSvixdzJxAWcZoDdvqjy+Rl/9ATCLT
NgfkNkisC9znBS4QtrDMaQl0M2lKa3RawrH2RSmWVnxo22+d7adJFDJzqqF4lwjrp1qmLRhc4ObY
hx6MVy4pppB4UjKAQ2wPlkO1zdwWiK1YjOi8zdTY0DwB864X+OymQ6ifhcPAu/IdEGMXqxcnf+c3
kyxUOObdcVsFDGK4Y/H5YSKyFgYdaGVtGDIVERxo462hmuoSaGJNjQmX3VJ2MvVtoe1hnnY08EqJ
dA7va45A9y+pwWtd086GER1zuzo0U5e4YxGnbIXy18MqNYIfKMD8zuzYM0acrOME2hbdhBLmJOwb
bynaNJEjqNCgV6yYd4llPTzrhn1CKit3rZDUC4mQvZhtZ/uU8JdI5x+GSTWj+FPZVsJdET86S5B/
fKTsPQNcWba2QzBAWdbkZHbxFQABo6nEB2L4/EDGrckDNrky4vjZlP7c4VlP+KFkyOgSkEkFduPQ
/KckC8r9qPyHgHH62ELxW9g4RxlrLF0flBbUadNcIUv0yTmXKj8/vFt5vuowypnRpjWw72kstLP3
gH2xQd0Y6jVGa04ZFcuGte/HIy6jSDsa+sHo7xVPnMvrIsIP0JGzwL1RRaHLMbV3O0Uws2rFpmi3
erIcx21g7lEr+LM64oo5eP1Oaf7Mig8JkhkJudlnkWGpJD19j/Iya29dsdXjW2eDTbwUxlvX7VFy
IWHEj1gFF8zStf7UqMgU/qqYrig2gS8/iUAbWe0TGyZ5w9TAukrt5jTbAl8toWqzDlTAKAs0Ly/X
Q/3+rZUH/NTCOVvpu6ci81xriOvVq4y+cWrk/ZlTNbQOtth0o0/IOe7z6tzwBa0NWNVBHDILUSFM
YHedhZOUewYSRXuq/W2SJ6rvCJad6ssboSpAz0HMS++d+bfCC1h43rz8yMtY/JsN6YcMT9L9o2Cy
1WtovS3b9M/zX7b8Sz2sH9Sl16Az5nr708fHKDhHxqOt4clOzqaCExLzr1Cm9SgAxp7L5b1r2a+d
/glr6/Un33gr2L9PxHSY8ei/GsEnjCWlw7YA51Q/x8pa50Ut3NcwnHT1nbt72RLbVZJHJd1fqaxZ
ibjGA42rhkU6oJM7RGIde0dRPjvz7oUXXbx4yIPuk39je/vJVT4xeC3+u41TbJhijdoOzzoMXBjS
OO+EfhL4+n6jzDrzfFiOh6Cotfd9+juxzBH6IxerqzeJOan5qPJ35tCyvXJOGsHJz6+W+kuDRmRQ
ifARNaTOVuvlWs8sf8kcU5GBs+oozIsEotwgj4gHVkX2VbBJ+AJwj0jZYV2MMY/v0bTfYZnfcSSy
W9c9soU2Rb0r/QdLmG2YnnU0qvIg09fQXV2S3FUs/LZkzYU+WiMylZlx7K7Dkgt3H5aMpg6jndOI
n1mi4Smfjsc0AS5R2bOAZtbXMYdl98B5760dRB+WErMIPiUkAh9rs2/cSYlU84OOoaRZ6HI1+Ddh
drMoQ++ztcU2R0LLtLhhuRSezQFY/k52W7Nb2dl5rOj6d7W+rJR7eHKQ/QXwUc6oJc1sK7ODEe0t
cWJL5S6LYhGCIa92KxBcuxo9r7/LbK7/dVEyVluX0Xue3/HMhM6+8LcV5IkaAu12LK+CV1XndF/3
zhb8UZ0ctG7vpZd3GyBsghoTOZd/VKMP3T8G5b62ESQf4WHUzlVlvxn4R0v/Vygrxd7hkcrDDUPG
pTHDqNgxlOyxdmzMkYd3N9jrEdo4io1hPWlWXAY9y7xgv3HWSGvlzG9RsmaHlXThsEzl/j7yrmCy
JFmq1jGV1wBSiDypLsaTRUdYZHwylzWyun+XIIRmae8jeqj+TgP1vyTccM/IdznqwmHvk5NVbmX6
oGbcQ6h7tNoXCPzk3iPQz3ZZ916yMw33mCOFDkZyGZgPimBsUXGzbrQDj1bscf2c+J57E3DRyXMO
QPXadgFaaIvDzErf7PYPWj1tQszPAr0RuMxwqVtHuUvto+68d8kSw4/wNqju2JKZ2UZad3/YdgyC
wNzqB8tZdP0WN40ilmq7QS5LMhgiyiZcM57jwWS2pK85g2TE1mwdRedQWaFBAVIBvQ4lk5ce8MkK
/YbfrTOo+jbhEmGdmFtDsdUQtzWtDTNI4BPiDMeHYm/x76vkWpZ7RsmajsGiu8S7APiNPnI7XCeo
SuPvpijCxhWXhDTboWe7BrKZCpIRuM6gBW9/ejYCb9cTWuE3ALussfjKfYmSJJGPrnfhm4JRUqDu
wObAyDCyFE/Ar4Q/PRwtE+FvucNzmbCQa5NxGSbvi5nIz1X40frHmhyNktkMBFDfyTf2FHkE5yVd
ZGWynLYcQaW+vNRG/o98KZS0jko5JRDW/IRiw32Wov3t/RFMcqww0pRlu+sr592iRZYC1Ufmw9oo
+FW9+93g90SKTMVhauvwnbmixn2JVaK9tgbRApecuOGx0WaRklqrXpjTCRACbOvWkAH9Bb3olj5E
qf9URoFGfV4VbPPqM23gsfe+EgdFafRyO+xCfTeA4oqDafoTbATyWtcmy63L6xvy/bY86M0nWaie
v2vzXdgtTVVPZxnrfumU5SYfKbPSqxIM1l5LN+gPMR/gS3K61l1FjsuYArchavVsWxYbVCFGu9Hc
lYZK2pp3H4NxQv/dZWa/Dlwov1iIi9HRtjZ5A7qxHrN2vApVZm9GJeKdKaAIej+Z0n3CdOQwPYom
WWMqM7XumI/8mhqXTRtDX3a+SXhdIwVEzaEpNxe73ALJm+tRfPrEAyTrmsaKhKoeqKQK2Mjdduav
C0XHR1JrMPccMNWyUq2zUywOeM/zYdNqL79kLAzM9TPDJKxr9VuH8dXyhlld6kevXNfJXuRbhnZE
NaMihbSPAoynIM9+QMoxMNEnym6Nceh9SN4sK4DyJbco1WGHVlyqvHssqL3h7o64kXt+dGun3fsY
3hJiYPWziUUTL0+mrFQlkvMGwvQ8xG6pOp+xvyOLkUecGSGLq6L7chF9sxxxYQ66nnZRDMV6jtp3
VYdIlh6W7K+oHLqCjSCsZv8zra9xTVjCxYCBqGMt3etEFEFeTHYNY1MDNYvCWNeECjZsXbluEL1P
e8J41YLYcF1Kswl2YcJW9zjacP0XmCE67LYRVm453FHkduEHErQ2OKfpNjHXZvCls7fpnGUaB4ip
L+HgrxNEVAmjFhBZKZshzhyF/nC8Cx/r4aZQNwa3OWQo0kqQiTvsc/Aj1zMTf0DYvCKbbx7QOTl7
WRjfeyHflL55S2g7i07QzqLvypeCBhu8IbE8rxjVII09wzob5i3G1yMfZpgeKGtW0eSylMeSAUTb
/zX9MZYkglBdXIJmWVWfdpNzisFY3QaCXdfWHnluFfnmwprJXByS+Mpb54s9GQvUdHiLKlhC276+
FMpPyQopt7Z5sG9b5jjrwX9YNrNTAIPCodfJfGZ3jYdt1kD+kNXN1oJbhnVLr/YaJ7eMdabK3230
1Q+/qf8BOpaUR9JNacE0wm9/cqRyw4jyq1+1qBUVQNoWV8NUfrFrKvem3IqWLfUuwIOYMxmdmc41
L5YpFJQu2Mnyw+u2JTNSEMC5FYKuHqp0X4TsROJ4Vd5RKOlLq1wyd2W5UFne3h3zq6vtIBR3JTui
Ly4Gz/8M0k03oIOXycrT0IMADKjPU0YHr1LUstBlIWEtimTtZDeXKTqSTaltg+qqIaxJk6cwDDiT
SB7RtPvHsmoOhdLxvQU23EX9WaMxaIhOTa+RczGj38TYey4z201OPhrqT5aonWQN50jOS61FaODZ
3b6KSYeyKx+dXn1I5OT8dDFO4xrXblCBZuzFF136pvgpjABkgXaN7hf/rCn3nXId6D6gLqhezahq
JwGDquYPS0b6VnXZd0cg/YTQu/1XyvmUMS4jD482kuxB1iCMHD258KlpBhNyPY2g5Tv1rmdFY5rW
Q0lSKDhiU4a0lGYmeTLZHkvG2V4/PHGczce5ET3t8tuyNtyo0ttQ0kQ6dJmjCjRJfROTTODqF5zo
N7SvtoceZs2QBM0PvLB9qK/RKRnu0nrZKvR1BMD31DlmNsykR4rWxWRn2S7GcheTfCMR8x2d8VmP
6bzJf6DX+thhPCSBmDq1eu0OFncck7NdU32zEezyXzRJaeyiA0vOtYsVFhk/m7VIzKvSvoseqFVf
KPPM9fe95TIZH+bUTKb/SIsfVBVI/JXykERXh6Jf8/Y4MtCg05RDoSOEa+mM+0K9KSBlEeHNfMua
lfpX6M3gfs1r9JEJ31qtHBr/H18jBvswuGjA5EvxHsTUAF6chSHReveKnFZtVBcpSJohfJr4wzZO
jFYynYdRvhg6zFak73gJKscc7lFEk/vhGMF5QinVw7fKEV/ZJgdKPY/58+EWtULmmABqGAupyWeB
YqgLHw0fvO2fmCrNMZ2x3AfxnC67GvKVjgUhriBlkU/GdDr0fyZWkE4BJFhBZc6JDk+0OMzoQBzi
TGLrDmM0by0kO5es+ZcQo5l4fCwSB5gRMqnG48/AchYFprEtEmXdU9T7eGKVhtUJBQ4tPHTvnJe6
Gd81mEArOYEuS3TxkCoU8y3K27n+sO1iV+nJ2vf/nBoJk664E21snKvcZS49h0qzg/SaRjPGnpK7
UBt8Y9X41mG0wvmA3kybjOcw2kNKQ5NdK6F35Hq5jAQfTvM9KOZK8v1K1NwlG6uMI71nzFRiKZBV
ScVW0SGbvODWAoj6vB1PYkTwGPJckiKoYi8Lm3mlZXyoJtJT3993xFsSC8p0N10I3jsddL1zQ866
BoS5IK94AbEhHCagJfyF1AQMZptH7JYxqkBeuu3K91NyJ7WfJHF8lOY+8lcggjopND3hWIid1UVu
APv8TBm7+f+vDsIvs8R/5aRXyx/o3MAK10JhTk9R5+sn0vzUYSmglbJClhvNCXh34cpGcAsim2il
If3Kym0Zk6YJaUfX7U0KHLZu1WWWI4zI4XVUQ/AvUnmOfW6uvsl+0qjbt1bNVrM+xSXPNw3YWAzE
iTqHUIs/1CEDGWj8AeR7E1BcS3FNdSYOxC2sZuIsJopblDYrAIM8mHNv/LRbDaOresJ1NqsO5bJ0
csifLeeovBNLC7IQViMy1UML/7sGpgwFOiE0YOSvoISDIoHTD79G+KsCdAjk2ViqExtItPwkVR7y
EdMHcVpdy09rV6j7vv4IebudslsM1bljuFftI2YqcfJddr8ooJSe10FfsYL1kq21y5jLxfkvgdvz
gdug6YnpZLNT81eAX0zBmlLbPD09kozyE4VrBqJ1qN2HQEROa92E1IGDt2OvOVosEyjERDScggxg
X4r1MMYCSiFoK0uVWAvmYZ3W01vvO4oJFX3MsIVN4oc4xoN3EwkVVMsxei9jTP3TkAS9nDrteWkn
skc1XpvxpSKzKJOX6fwMrkENNo233pXm0cCf1RUS6MOUmsH/G8jYBMvjXEfs3hKHg++QnAITwQOD
07L6F/wCgx9THD5idK1KHGzApJ6iGrwx8UamgkWRz+nm2dqXaRMlpJ+tXEXE2DP6AtP6ClqC2orh
6UQTHgsZMJKOCM9+H53BY830iNHCcVAr7DfOEv/9zoY9oFKHFYw67Cid3sHlJPwfimOQaUudqW6c
RYuiM/Hp2LBNICL0hOwhU3AADrcfeU4kbCk3KpUV2YNtvIM9URNB3lq7LvhpmmdpLbPirQ+wMc9w
LtcNpAddX5RBecqSnyA5F4idh+Y8BJzRtj0r8ONI/FWG0+xhDZNCobHOCQ8a/jgr/Bd4zqJPHi2Y
vBAWfLtR4Tup1EccY77Zzq3CY2dsT1NiDuibfNZIuBovxruD1btkBeXtAq6OWEfFyfbLZnwpjbeB
oEbkvnNzdOe6/orQTZQctl4AnsqaFeWPpPo2UCBHfO/ulFaWchvl6PUzc9gcM+PaR1+eAltt2p8S
VRP7ANzJK9QIPpHiTmUPjIsMp4tmEZTh/ysxzbTVJRsuKtbQjubAb3uEbB81C+/BJ2FNxJ86qthW
zReZDR9FUHkRrODXm8A1HwFmB2NoYAs4tyCvL0RCHwhKXWv0NSOTRVwnlMi7KkoWk3lWYmdK0Yql
REoWsD3sANQ3LlSdPJppGxOtDPz8FVLFYdWZGvax97xhGduwr3z+0zWV3FcPz/q4SMBREGzXYsvw
nL9ShHMbG6omsYOgI6h+SYgVJ12YKG7MBRGYHVmKOlykvv0JC9L6bGduqv/amAwPkW0Dv18PUHXO
dfbIqvqd4l6JkXNyxXa0P8AgC9AjQtka2HnCgRwAAFP4vU2wonYl5j5+G2SwtRgm0xrslDuTXkXH
t2FvmZPH6VdMw9zWeJVhK+XWnsm767eLHFYQUzYyzdT27g72xmaKRnlsh3MfMZ1Zrgst5/OOGWjz
gIDpFPFF5YTpqPRh+3C7mfUrkpwpprfiBE6Ceq7hACEZKuo/ev+RTBrdZ22pTBtQek1dC3uSXOn4
UEfsvruMpwJolnQ/Oxe3zLcX/GQ+jv1PSQinCcl0snNHv2VAACY8jiodVoFbLiT3etVilIuHK0kA
cx1/6hQSgg+OfclvjxiEmAEChL5YpDeNuSiUZwOahyz5dcdbGipPjQIkicdV50qKZwacvKjWHQFH
NPJs7yCaQgK1gn2G89QlQ0tlDookIfv9f4rDl00K0HT8/Aei5Lpbp/0qIYk7/5KE/9AFZkDsJAYQ
IhiYVYGSZYJQkQ0W87/t9H6ZxmaaqfL/kVV3clNsx95zWmUrw9n16QqiBqKhjob7l4uo0G59eRjV
nUw/EqiXCu7aEU4VimU65XFpkmgraH7d4ama1m4cADlT5BAsnbNwMvGf6fzoFavdmOxxgAOhTabW
YttkKK9oYqIcY6Gw7b4HxV4mH77zz2FdUhURIOBnPr1L7JBtv1s7xQMaadcT+mOyeLmqjONFyh2D
Rq63xcQ/09pFSrXRFQq24nPB4tbnlskZJemtt2jgh3vdwJgSCnlxcuIPtvDwSdF7snKS24BkmOx9
xK+NVREv9IYEVp+iS9fPLZI1lASCKqhAAcRrGlR3O0eRYrMZIZsGdRgD9Bqd2URmNh2WNFDcY8b0
BVsC7TeYal9E86rHaCkATUC9Cx6/d4jmySkj47sb3VkoJZ1kTUYWGWNi564PR/w/ZYWt69VYTC3K
fxNOjjZRx/lvz9PyVZxj65VU5rLy8AJWP23waPx2rTTkMozp0kc154hPBKhKqVNI/jFgCYuHTn4K
oh6poRRU1nUFXUXiTjYug3IFvuJTxEif5FH6Dmumqd8u8ELhE71NkBJIRXzkiCAQnjg5CWQ0TTkn
toHNQ7UvrvXbBdeQyZsgQ1L6q0bfOf5VI0967F00tHxSOoVxsWc/AvuupOWSG89ccYNX6k7V9yQs
rxws9M74ipp7kBf8mNkQkcLo43m/tWggKKis/IOJQ2N/5ta1oeOWfLqMrsPgFSo7wTRI4XOdNpOx
C9+VMdK68L5z5abNS3nPCapoXRwRk3ezJH5AtitqfBAFwBvVYu4wnVOmVQajnwjXkT1uYY/TAjBm
zL8GgT4x2qoPh7PQaymySBS1V2RfvQNJH6ZYKvedeUlq4cZvu0WCSC/LWDnBVQA6GufIUYNfO0QI
WIDIg+LiI7Mq8cjRCzuYbeJsZQOGaeUe7SHihFw1XwkG5BrVol8TFjnFcO6EghmQBqNuno7N9tRd
pKg3lXivVA37Vmce6ATc3Emd7E30MCN9IwWivm+JiBHI71m3l6M9N1aVz94HrhcqNoQW0ADeK757
k804vFGwdvmfKB9aQTXD9JWMgwVe/lnD46ABWAzXjQ621AXbyb+IIEVwzU/MYEpYZdgIfRGTw9Te
5CS9ET8JG3hD/DoGqB6F9z+P6xqdI/8VIXpjv6mHI4KPea94bF55VLyzF74Se1iL4SZ/MrIgQu+F
i61ArjO93LFEq5p+jRwwtjksZHE1VOYrzJ+ccDiVyGsHnCXddLv3N8LOaXqKGRN7lvBR8amwzwCC
gvB0qHcK/vQSe8pAsTu1YYGHJ568uGXFHqikL46dbTeeErSn+p/HJ5QztlTyzxrI+7TttfQfjlC/
sReJTsnsQAz4P1whWje1+a5Z0S/iVaeBFBGLs+U32m5w/lFi3u2kdJGuX7NOsLV6Nt5HxfPbc2QV
lDhh3reU6OZmHDCA4Ekjcw2ORxS0Nz/v3jIlYSyQ85jj5cHvzPol6296dbBwSsZzrBCzBHoQQ002
7tBgVKEuR4WIRGl9+jQ7pka/BVxPqNTXdrUWxsXoCQLNso3InTOZCCPSjHZvIPFnG22mDI4Uye3o
0MBmoEhbYX3qHc9oia02QZ3nht53qlI82R7TqD4pHx2ElmhnGIdaevS+zozijeua/ft08nl8GJJB
fUGtleflug1SZLFtuletDGJOUX/1aK2F6YdrwwZpa+lBu0zy9tmgbQZ0YzjXlKXwQG/PdfHKqmM/
ciXg3FK5SZZ26C2jlHUsSDaXXeufilpK6xDqeM9Mcpak9SqtLHy0AWLWVSAwNFr+NQ98Vp6DCRCB
7AX0wBNjYZoyJt+Oh10Qt4Tjf6XRyEtMxZYVDDEQ0TJKZICop68M6DiyL6VvZ85ka8q7CYNM7b/s
VQSadpB8ZIN7IqpIgdyBxy1AnzeaMI3qTpl1GYP6MfppNJxohqTinTA0jlwZ6q82HC0SrFA/h30A
gXqCJceT1kVNw4UQDfCE1Pxo6hF1Wcn2UmA9Lq+dx3Sql5NcGoI3MpXY+bN80mUjnuv2rAYVaSf9
OsqRSnulwYaVdIFacTZ58C/o1zYM30wN1rlHwBM0m075cir5ZwfEoubnwfjQVMJZK3Ikiu4f8Abm
20BnHJAo2mguVSISeFXAdfhMqltoZUGtcleGCYcJET9abdwQUaje+BFNx46wDmxx2DWSGsgwMbWT
N9YvmmhwdzbWqoPtQJ2lraQGD7xjzDgTnX+Qk1PJGj/FvatvNrEVnrigki7z78RgeMsoYOiR+IqU
FaE1onbUXVqFpot3ad0sjdFY60KDMRCQKiIt8l0z5CuNDdQ8V1hkovP3gm+yPTYWryIiLABAWmfu
g4arU0+cVdzHD8cBqTYM+zSmMWZftBcV/tKKMAWIkF5yML6HyGf6qm+iAa43hIjGI+Bb8smJpp/Z
If6mVO4KmigLEyn8fXYoxjylmOoTIkuF/a8n1Ypvi34i15DFldN2zfLYTcqgeRJDKjLSuku/W1VV
ecEPumuxGGJbJKgQ5ywYYaDvCBOblaVi1y3cjs0Sp/IwgSPb+pbpeJzDj1i/EbbzITr3QTtYAu7X
ue1ir1xapOCwACL8UE1ubRQzCPv2G+WSVvHd0Me3zEfP3ohVyE7efvi1f8o7NzgapkYrsqxzDjtR
NN1xACEFUoF6VyflcAhQO5N/p2NWGR4lcwyvOXrZh0eLkvqLLrqg4UsZ/Lrul/zV+CX8sfaJBMzf
xm9VRPug1bNU0TbK8I24IgWN3+mvdMAGZCpwPHLvC+4CDtL6H3swip+OPzRG9X2VB+QlVXhTyxJf
UqMqR2NQDCKcxexUvdv5nsPOOKBmI+YkgfxqpAtLZTn645UbsPQWlkAxywEso7Ho6ZdkE4G6qT93
EgVhZq0L/2D7f2APwPS9x7AMyIUMf8ph19XJqkhMYDeSuTNHC0ka5x5DgtpfhnBRyJVlsatcahDT
bO8Uenw59QIGA26qhTxd4wt1LaMF1/xtopTMCtng0DWv2CimOiPZ5q3Paf+ZjPEGjCDP7MGgSFa6
rVGgEUcwlC8KfRl5B7f6oBhO7ZPegpSz7zYxfSNyCrwkYqr7UAkTGRzVn5rF9PF76MnPAVcR8RZl
2JKbcjs2bzkYAipbJ3qO3H4adxCgv/RUdPa5zaCklGlNmZR3EBds1ECWpKxqKWZx+P3BeNTW6nBC
9ijtbb2z6azLcNVAxyd7wt1CpU1laC46SzKVxQWRJplktMaMNrGidfylkJtJ8DDwdqjwSrrFm0sJ
SSfEL2h2Olb8CsusJbWjZ7MqzyzioAeGQ2q2sTDWhBbC5KREv8Vyp2CjY62qpqS6dDd4l5LLPe6b
TW+QFeaZdHkpPuJwEzNrbWS08Sz7jWGcT7+Usg2QhDN6+j7w8jdfIqSovtFZCePQ5EExb6mJQeBs
Iu73OOA10jVnp7QpqfLVs+wAR7P3afHl6dPA4BH3JRtHsuhjmu+ol86CGqvjUEwsqrqwRbJUVuPN
H5Odnt6bIHwRprOrgT7Uc8Ri3G9hBfQpm1y1+oE/2GEMi12T+OsU95yCpK9Thmdc5DfopWmSY4LE
3eAI/2hZkASRGQwJMujQ636CFBllCsEXdWeuxK9QJgeU2FuVEzzSdygP48Fd2MJBxE2BzSyFmamN
JtW1256GFDWOK6/hSLhWa6NQ8wqykiBXTaenv4BIEqNYiJadTTtSf8WjBfVOZV/V/RuxFh1sjxKS
hK1wUbXMmkBvQ2Ai+9zufbKTUYlEOZ9IC39OsSUrwqLsF6XPFNNyiYQWBbPERHOx36W4FDWzJhQG
l0Vucg89ZBrevUQ5l0g2GjLQfDesOLH6eNEG/iHKbgPZWdgv8Eml8pYrPUEb9bH3BwIYraM3BMTf
WP8RdV5LrXPZFn4iVSmHW0tyTthgg29U3oCVc9bTn0/0Oaer/qZhA0ZWWGvOMUfYijPPofkJQ3rK
RkJdGRHXmgMumd6rxSSRwQGWHXKKDKK1c7VfG/jhdMRi5bm4VrIrwfAgLh8QLs8SY1QcFogblMkZ
o3Yq3ABSrtho+ziNPsNa2+vcrJr65jf5UoeZMWJ+xo1pMcsmCmKIjLWoSIQ4QbvVnqIh/XSQRiE4
KJT4hYjKQjq05nQassnWsIBH+WhgBK9LEA6qEmQEf5aIDJwqHIfroFPxR8K5Qw9PXh8mevJriq8l
OSuREx6UC/6cQkHOk1qdhUdG3hUKNBASI0Y7aFkHKU/kTe2BesnmY6zkI8Jo2GKi9k9nvlHCWGeG
zins1p4FMWn8pkXuCZGIsC+yvmY2KcQiH5k2UHdy8t0kqRH55DLT98jkYcPA0z/EMUrAvVmtZZC0
ZKnDJ4HZyEhrP35GGBihejPoXn/8zgUcr2jlkDThj5NuTCZ2kQMLaepvMr5Ywk4V6H2+yWiFnSeo
iWNqF90wumU4pb+5jov+gSc/eEV38hQApkHLIBT4IGOVd0rDbx1rmfGSDlsp3zL7wQNMUg+9R/eE
PkQGd/LGz7+Arw/82ytzOf8zKeHseDLBbXW+XxhZejK8Ygft+t80mS9vMhI7Z9V0NVcxsW6uBxwX
zIHACdhshG9030YrtttBm+5Ww03g9+NLG0/FqyzeQ8KQKfMgLtke09UKQQjPdTQh9NyZAu2xE5Dj
Mv6DLULv5VuXpNVcCQMAPDynEddue1J3I21IQM6xvMFDC6MPhHFriUwF4RNbLjHbA1Wa4Y1UFAsW
Ymvi/dN8pa31HrBv0xYQzcte2VZZgMdhsfbauQ8TcG8dBjz6pvBgjp9GIhhnbCHxVgKf0RFPqJ4p
20ovkJVWcVc3mVxiYhVeiXfITkPDH4K/gWPvss7FD0WaBlsdGMQmsxxKA8cKwvfSgyTuGFN4IvAe
K252vJ7uvNjo88g/uhUh7jOqT4yIZ1VvVRS3WzWiotD6YmNEQNatwf3fPZnl7ZTxBC1+lY3t9yDj
OdQk6dGA+kL+w0yZ5AmAeIc2FVcTuDva2Rj2BMFAluEO6Lt1xT0taauh2HLH8d8EVq1u0hQZwoUU
UFWtHRDEBkK8tVDVexSUb2mvXeiHHH87hShHei6I+TYLHH0sAdAYhUtULb12lFIUwo5oMoR2xH4d
RPQjw2+vCxhkS+5I5nX5tKR/aUBx0R/UYDupa9aBWkCQjYxzKatHI0E2NQ9CoyPqUSUIz2LK4t3n
0RGOskSH28vRWkldAFsopCLJqSzISDoI3EjtogGnCGxcqdnZqx35xLL3k4DNQSdNQdEG5pnqQSvu
zbAHn259FcMh2BMLHQFX0mNCsunkJ8nSKbV9L/yE/ZvCgrTJWyQeWJeV5QNTb4kaT5OfnfwxdghP
2QnJjJz+IfYBD/3kNYz4UEcQHD5mUm1rwjjRMN20U/Tjms1djh5mZOQbnrCP4a8Q8B3SEwuz13yj
Hma/lelCYgR4l/iFkWfprSnHcm9Nkk5yh3ansoxicvs95yp09iCiuUl7yAweIj81b16ddR18FOpj
ozETOviBO3lnAaM+2MUpou82x4vDnNaLEZ6/QQEMuR24NHpTysEtxA+/QGhjoS4TU/o3uRBHO83f
VG8ZGAhbeTduoyOAo1XOTNy1bCt18cWNBTrhaqPBaQfMrqiPxKWP3ahKadnbWAo5Hh2U9IGYiRaM
GfIMEscsXbxk1Jz7urjKpvRjFT9hOjFyg02AIKkCw30XUMxaqyG+U8VhNYNTFVNP5pFknwE8kAwr
4dizQRrMdvnPovxt09SHrWLd2MY0m+Dgb6GS1pnOjNnP2bzk4awMJgAtYY2trJIO1NIzMFz0fWLH
bxXKHEnrEI1TecCPEstjSxyANmoLpbAWoMmONrs69PkulcurlHWXSaivEtI6L6B/qKSlNu1wszwL
RvZIkRoGlcjeUSyNjAWBrlkaUAzyP4LMsIbL3jJ5aNbZCNu+kotvTe2R6eALmXXLcsAIACdPDWlI
J17j9I7YZxGLnHMZh7tg0LBPuUXq8EpEMEAxnMPGIFFg7EcPW4EcB2+jJGB3tdbqa9IfCWI285VS
b0hZ4yxv2/jexpjxeUZ3VSECJYdCbWNXlD+nBOaL3zVL35hI//qQqbuCGCm+Mt3DTDsrHEiHTKgZ
vR5+QwXPpexbu2mk907DALRQHQZR14zI5syA9JYzFyZqD4USkxf0cyYaIK1a95QiHS8M7p+Y9IAU
M2lyrZk8igiAbBx/dUR7KR0w7hQYL8nSc8KtfjR1YOhzhu+DnKROMzsIZGzVMsvbLQOyiIkvzBHh
CCiEq+6zx18mpmeZx2vz7TGIP5psEK0ElGO3YqcCT1pImnQJInDjiqpxT3SZfqBl8ivLwjavZKxM
ugPpUSkbLF5Pdcx98NtUwVevQeeP1YdKbe3vFHVPODfxlwHO3jAh5fo9GbLDPCbOtD3hvzntr97j
kahsCxl5RWa5PhcBPbTo1PySRPZbhIdGPe609l7BOodXEncXpV0FKjEweYv4OfyQgZd1oKxK+R0R
TjQQnfM3INBaJUoHlyF5zLHgU5YCVZqCjYpGJt/s2y7uZU9fi733E/r9eszbn1QRfrGzeaYeVp7n
oGZ0XOISWItrIYJgrEpODQEnNXbjCzjajLeOz8Qhf4uFz4h1brg0lGsJ6R/0ALikY9apXDxmbpZV
JLYl0ElHRNdqqmp7obRWLSKePHh/D+5Fj1V6ZOIA2moOsRvLcC/NGDP/GlGQsBMr4yOBsofUbqmh
oWox4azQI+niozOxNscwwfOSHQK7jj5V/fVC0Du1Wuddug9UwdYl816glvNjBGYSDlzMUbmXDCHV
4SFS7uTYJazFSlota3JIM0alk/xb13stGp4Wjrl+XaLhwG+asYgOv10NArRP4k7lBs1zf9m7LSfR
LBC01NlW0fbmkNtqAgmyY2e9dRBrFfWlviwstrxG/W7wIMD3hni3+mCWEKaSDeI1RumY05zL9D6i
nAEYxEdVgUVW4qSjmulW4MLJ00hnL/ePqJHPfgPS+1tC+kKFqSqUxDFk4bnc/AxCV2ox9YaMG1eo
bPp1mRj0hxhu03IH40/rTfC4qB3g/oogzhPna0QO1pQHiEOS27RAjrJf7v189gTQlgYdZAb51VBv
CtfA15R9P5DVgKdA2l2qkSqcUQjuf4O1rCArBAZ9nRGDDOI7AKCpDMBHoEOjATBNJgz+7mzbre5d
ZWMWe1CQ1nBbIW40nUwzCtMkDjZTIluYVFOeejWZZ4GAd1W2HEv8gAr8lViX5Mc4frTFq8q/Em1a
evQQ+hzhhHmEKgmrIkUDLnRbC9CVZ3+FBNLJh9kS/oLJ1XJMoxXWNu+igrO80Syqf6qg7YOCh8wz
9lkycFWki189x+ZW42oidP1iqQ8hJP2IlZZSMsGIPjE86Fl7z58nJflCL38NUUK02bhq7b+JcbjL
ImjoChnMrhxg5u8bBM4QXQhxzMCbq8k+h2ZXTftKW+fjRvdZt8sv0vZQuuCpqr1mIkyDXW6Fc0aI
j6CvbCWAVAVBkcpDWdKN2oUknISRC14dQ3aqtNhVOXkLTbE0q9yWXzqahymAApD3QkbbKjl41S6E
zsKk0kROjQMX4zfoo5gFEPmOT2m+K2TVZtVKaTjr6FX3JykbAXjhqbIKB4Zly+UzM7qNHEDC9dDZ
1E+NJiTQfntIXZGsHgIeJpYkFeLKtBSUAGc4utKyYyKWFuM9q0YgDkeY/CXGF6yA9cVC/d+juTKZ
DrNtTmBtHq7rVTqduP/WRtZjE1OeCl3ZBqGHoeev+moVyIDqL5DCtyrcJpi2pE85bU06BphAsw6h
cnlDchR5CDRv4u4mu2HaxpNMr4YltfyRaDiPhhUljtY5uQxXjF8zC2TzGJoSIruRo39199Z6FyN+
Q8TcUqEaHmVGLJPWdDWaq9CfG+sRTRrJc5h8Ivine2sCIPPoomvZuuFS6sVZHJLFUgGiKrAXGayN
Po+Fs5xz81IJlVCN0bHKNzOXloLWHuMwVJ08jl1TVuHt+bTHY/5RNQQWIYPIsSZPodjmAOVkrJ0B
quHfA69yhfriX9fQ9KluobKfjTFauv4QMiCUExH8uq7PKb7/atcHHxlSf0ugjc5rH/KSAemvVMkm
G4fXVKeOCSWyUvGBChYawbi0eTCjdQ3mMzbWV/nDmgIUAki5g70/AruV6/JRbcaHEMSXtL5Z5XQu
R9mOUSostNRouNx4/kjiBWsmVgB/JXrtTtSw4BXaQxodm7o5YtaDX7/MVSJxPvM1VsN4I3Xmbkj7
ZcTYJIeVmQuXifn2FHDX55SkBcoMpWU01r3VwSFRjJPqzcZw1Gy1vNQFEQYJG5Ih3nyM4mbYOSKc
KOLtCpO+S5GSjZexc7zcM1zmZ51RzmaN1qPWxsMw1IPT5aR9ipjt9wTa56SjSQ2hfAaaruAk4cpS
MBRWg9QNyw+hcPNfEyqmhX1JUF9TMRJhjfrVshX6C7mLFBTiKTWwGjMWNW8+661oXqIuAsNKCrnN
UG8yCXKqz4ou5tpPjie9nQbhDtGS/8kFQT7ZZlDU4HshsvQxw+xnFEWCLa+IkJs4UcoIfiwSb0Zj
GcXzNE4k8JgZsqyOSwFmpR6fPFU/RAJah77BmKRZRwrmf3p3rqQe/fzgppIAGwlugmwCl6Vye0Qi
TufMpZZI5lOSmZ24xGXJNr1xb/Ssm7nwbORnEXyJw5umlVvKRFzWI3je+lGJtLmLs9v+8ujLswVS
kcD2puzLgnDTxtqbPikhFH0UTnV9V2cTPWtK1nXXtTz58xxxXDfqsKF+bGqCoZDY+DqOBTLkoBQ8
WVWPnlSvadGhX2fhP0ky1yHblZUFX2ZC5kOPiwbhqQiZMelclBDuCswZK3jKHr/fxIULI87SZfhI
MXgSVX+2lcRtDTkwIKlVwhLHap8C0+QuE35rJu+VJ+N7mNsDHAngnJBmz/8SZ38XwBqrlriXNRY6
qud9D52thX1PHD1o2IIontR/KzuC6AEEmNcyVxenHu/aDmKCHD7ihjgQizgIGlhFYFuxWDrlW01b
n1B16kp37M2brrfU+cWtDv2DVDBKZagwR8PldeDgCJD298brnRJdbi1hMZ+eoilnLGe6qK9W5pA4
OuYgEhklRoiTE3qrrDNxSEaslwkE3MXPHMihSFAOmflEnlaN1Nb2QBdCbFgqb46NBZYfw1NAE59Z
lFk6QAJWr0b2ZnlvGvPy7K4jdISVSA1+k+5+AyKajw5pab1x8/DBL8x8ZzLCrWbKdtt+9mUT4Kjb
r3JRf4ccaLZYi5Asv2Iaeu8mYSnRwXNt62q41cpdNsZrrzKgqvnOm6F+YsyFwHu27GN3WAQ8mlKo
/5NG8dDWA04Clrf1CSL3sCISOAttfBSRTwY84qUx3HU4NRak/l7/Gmt8slusWzS/OzelflUwWlYJ
OvfKL02liMyVFfTkD0y2z72COqYhSy69RBHC+Gkr+DGqCqwdGJLVsu4CPXGPKEC4kfrdA1ToUc1S
89Xlw14lmGtmSWXTsK98hNGRVzmN2jnqrMkg3CWciKhQf3vxETAbqHNMw3IiU/UzgqtUlxnjqE4t
d7Ywh4lEP1UeMFjx3SZh2e+jjZM11lLFBSJlwjIkSyxaaX758TpHIqr8TEw2GO9uglzYFuDWvepE
FsuINpHXINBc6SSyiujQVw3SjMGjtq5Lt8AflO1BtSLX4s2GlvImlzPjSRFxwhBKZyBWs2JW2SPf
imt1F5E5QuzjJaAZIAhomQ/tO67dB4UaofMAbcMrqWiYK7SOpID9klCHxojr15G+hz0rYw9p6Yki
ZC5sw8IlbSwaUuNCB8GWFOHXCzUiKJk/ihJ2O4NcfFRDtVK4L6sxdng/OfzabVCkbw1uuhn+Rt0f
q87bNlAAxP4rYUmPJNK9U7Rdc3RKRNRcWqF5EnRyZaLdkMfYuLdHXDWo6uwGqCzD1y8nSXdpeQbb
U7xN0OTozVa34JTSjO9kjUadmKVKL44j+6sWMHRoK+xLs/GsR82/NAxdkfRdK5SesD+MOAXeQuaU
xjO9kHEKVF4j/57/U+CYjqb1gMeR7xFw61WEuAlbe7x3sAeO12qcboe+YdDukW1gHkHjMQqNfxIs
oOu4/heNEM99ASknOlhtXM5Jo9NwEDPcO71mQ2S3yVprID+xZJTZpvmegRWUpHrhvucmHaFbMsuy
PVEtolGag7h1kxkDtqK9VqmY32Nb8upb1e1zwWnNcFU2yarHCKQg7mto0qNqtQS33ScLlc1sxW+G
zMGnPr9WGeyDFmVDll/xgjlMMtnJolvR5dQMTnoC7cMZgZI1XNMvio9txqzh98ETcWUh5gkJv4Bj
bG/kpPKEq4yCP4/Qp8Elm4iMDF3qXKasmQ0qm9Kh9Ou+6jpcH+wQWw02AfzAUA3rBHOYNwsvoSLR
IWczGhbWnf7wo9RFWV1khetLyUpl6AtfYZ3Dqyg6YTkF2jrVCKsjPySLvhi2zGTlIEMAWQzQsTry
lkiCzaZ92/FwNLq8W8L3d5Y+5mYseVKNPVVWh9m21zQuYs20NE0EWvAY86kB18+UJNO/77Ha0jz9
ffr3wfoNmYpvR71hO01knHrNEWMFWUqzLealGHplxjUYJ1yIhDIjV5vP/vulUZYXmcl5LzEXiucf
+DuKvx9FHZAgG9h4uZ5vp8g6MeqmC58PSa2afBsnJpGp85f4/5L6oKYcV34gvoJp8d8r5DHZdCMW
wnCs23Lb1cn/fvAbaa9IEolzRT9r9wWdb4gyOcgy06e/3/07jr8P/z2s1PDRMueWQyhR20HEFsTx
H+3MWZzQIowmPdZ/zsN/f29QBIv4Z3+XhiYyZEJeY/S0Thd6p6IBhmbMIoxk1gj9SI60KihLMSLV
tYckVMzXoxkyZwjuYc5wb358NHPK8Ru+TQ2uHk1qglaWUPKnlh5dGY7z61FwcobmD4nAFCaBfxPF
1cQQGaSkUkNjzVARGZEVngONJMZqlihZlY+th7QPVY8GQ9DW8nyKPaiVWSNHmyjKlSW18vHvfP99
iBXwnhhPBnQ59HDafCyTGRZb9KooL+PXGA3IeQKtk0FN5S/1/y8BrsOm41uLatvCO4BHXRXbv9/8
u9JmA2VtDB61UjH8C4dtXBIcnhG/nAjK5r9nJg0S3W0V7d7ncSK5fxc3k9gXUgWsI3einl0m6ath
W+opyaEtsljTDLl5/17j70PWkSwqWSxmf1+STWSCOs8n/++D3hFbEJlav1AjT+eqp/j1DCFwtWo9
KXzrrWAa9fbvs3R+K/gTSGUSuH7BLkz56hkWBgUmSKJEy/+fp8bU4QYMJCEhPeb6ojBMRvM/7wv+
2P/+5b8/n08tAkWrWhah+H+HrZkGaGJMD/D3JPVZtU+9ibTzdk5H9YONaOVXiF/pNlSIYEgLVrC/
FxvUXZCUaxW2CagZ9nuQdo5in77R2UHL1y8ipzIWWeT++/6F8Iog5L2IWtCZiqWiw/Yo9WEs8OTB
iL2Jo7wkGwY4Z1ixClxNiuys7HDGCmODd+/B+utmdbgElE6Nr5L/vc4qqIl/y0WkpePSXlS7auet
8c6AvgCrYOmvEMrCZ6IR6TbV2l8N9pe++GbUSbUzKu5QYMHi69Ey68ARo+Yk9ihEtN4bneSYYNt+
muASpStdWGKGADAhvfA4vVnQR1MH/ASeM/+V1cZ6kN47TkdTcnC7Kz+Jw819FzYACcVzkB5dVeWU
5grHOBJScMEyG5uXw6HRKOB+QxR1GNLRFJQqbglgVyRXOIphowQPoH+RShzYaO9JGqyRy9JQ1l/5
t/KgHQLkSWW8vDQMvVw5xOmRGGJTGFsoM9Gt82E/0neTENy9ghtvbubvMWXCBRXsIoE2aie0XdTt
ymw0KRDxIwMv475j56kNH1DtFlizaNQEzvxvbHLME1DH6ZCW4U9AiLDBb9KfEacCEBmwmx+82dDS
aygusUCzjQNGzMRsBDqIIvZJ9vAknGufDY7cuAqPNXz6zCXmQgwIL3ILnB4s1kTyUhys3KBAIW8H
dGEx2bOtUcvhVv/0Ef7NNf4GIgTHT29JB0fviEaLc+2HCwFcANcKouuYY1On2WSskUHdwVdmfFO5
4CIx3FZspZ0ob5zh5uFDBrEV9sT859CO83eM13AjDKEHUCEz8at5UlVqXHIMzpgr2PAUwx/rBQmv
ec7CinSJIJJWHb8o5BsE5TLKDO2JmciTU4exlWA4wqt/p1BKqQZ+EFF5gtM9LOQS6Mvw18aEjKKd
KCE4CL8e2jXjQKTLPECn92FRAHdyNNq7X+SgCjGID/9ThbC1LQtn+KWhqd66h3QYjoxjo12/GZ49
5qVrmNHwy+UlFsMMk96zW/akK6e54g1439XT/M7f+QEONLtor4ie6AYJmrMgz4S5RYWFUmr75+Ay
vfJ3vgJUJechKe3kyUXlTuB+qJ7zSG2yuxuzrBF9+0L91h7y91AtpleInFGef42fmW7FMTxzwzUM
OXC0nP8N7wwTZy0arNam5GXuXVz4aQ6P45iHNhBCMRB7QtTm2wFuhihn6XYoPl8ZeF7jEhOAFO7J
b5ifvCC/UD1JlynaPa8tmES/cGSYxTyzC9xI+rUIcvDTIpR1EZ65OLxTLj8Hz0VHSjAx9rCP5je/
HL/rsKqShfoJwal7Ki/+T/3kD/g/tGvp/F1uFv8n/GluPe+TEz7AhbdpLTkJormpGobaZ27SmCER
cS2jyyeY+8IBBgTBoZEWXYNVNj+moIvJTU7mO9nARoq154GMwpOw4qQRtDGXYaEYttojoEiwFuY1
uSlv/ETxCveMI+vP5KajNYFp7eon8xpuxm/9yhPPkoKb/XzSeb+IBfYwUeV3k4SCS2otRuBexOBw
83chceEwuJlYowPmzH6xW0SvGM1BthXP0T8sWfA6+DAu5lndULBGjJJFe/wSNIRa2F3wNVC3RSAg
TLccCbSC7VbWmy/Rw/YfSfzOmAH7skbnqOFKN4YCYZh4EskDpIemNVex2qjrPGuJxaUlX5GyB6XH
+q5chkhosS+EOr3xJtDFUKNhHvKLhIUBsAB1c9bKAHdCx1yUic17plvQDmwiG/z9maVxANxcC8J1
4IhCrVuM7xmWn7+AGnwBCsIz3U9LBYthuI4M1WrHGFj14IEsFK5caVsl4ITN1cXJjbvGjVqFuEbj
N2iG+CjjpGPm8VGqQmD/PuBsc4BVH9/jGhA0bfofqwXImFxuHLYQ7py2xR2a0ZArpailaAxsugeI
1rgo4RU9a+nIYmCpxkMJEV52mn0fiLliuK9wsG4BcRs99ogeyPXrE6Higb7V4AaAMPpTgwVBJC39
n3pscMiokSUqSY2WcDIvbg3rm2cxPLMgtxvjZX52NxZvJId7LJA22Mp/6p8Nq6Lx8n9Y2Llx5iXi
FV3EyvG+pddscOrEZ/UbrOJcHHkqIFnOvON6Oa908abg8ycPEARdHGoIGQUVstmAygqJFjEH807E
zmA8+s/oZj3IV8deQXkjZDvSPskF77HrQIAxvUW35AYKAVo8C1k3zPL06hNfrGZ0gMbhco1goaFY
bUPydlZXjFLXTYvGcIGrhk/gE1HOXPTYwSgBlaUG+0dcNxnI4JmnnkyPR94i8L5WH2h6Rxi5ggMb
3ICRytzENgZW2Y4ugHpsYKLF4ACL0ZUAdoGcilBeLO7QDUPRuEk3VnU0mvm8FuFRHjjqMv3qT163
mGGzk3evT9OH9EFqAbB/tmhPMBBrNjKMF8lPYl7GWbpUzwyzgHlJ1D+nG6gJZnMsd7whyLE76Mft
O6t758PbSKwczTz6e6e58A2sOX+Um7CVbvW7xu+B6r1nF/2711zWNMztLvE7Z3E2IbzxOKQbDUKs
y6ojf6vf/jvrEdUrG0PwBGCSv00s006Ni7EWGymOD9zOFCzX7CUg2EHc+K1DVidjiQHJqbLUehPA
o1xZHlPxioyzrtUhpY7B2lRz/BO6rjzifAOBoMDIhE5rUM2zkrYFQpiJHCGTBEN5gmGVN/U/vaLb
akwxshWl7QkGx0WfdC1mQZtWZwwJ0ROycOe35DKDx9bqtDIDHglNM1QIari7SJq5y/nrbF56saR5
wbnj0K4NSMW5TSodlHDgCxCymEnusED3RPz51lz3GxnSarfqPlCiAQwWThc7RL+Y2HujlJXt8BvT
2a5+EnsAS93SF08xKY8Q3SnD1X8KVKd78gbyGkLb/MfeLKMRdxmokmSSYDafLSYIQqybb93v8IE3
RfImYkBI6BEd9vRbX/lbxbDQKXDZ/WO7++A1mg/9H2QSnFu5EUFBcVbRfqkVymv3Nv2Se1d1TvOY
flNz4YVL75//2TwIb9LvKTd19FDvUC//hRQRjA+g7oiL/u5fef3+rpyrD05S59vNL7pOQuUY2UK2
xL2fU8JRFAfhyyOTZXIQXOWYzIPM/oKwNpx6E3Y0NGh0iqgf8FSZDzCKF9Vv8EBrQdHCTzC863kD
ED5AW01oezDP8CXnstgiNoW/I0HMXOSCCbV1RytAbQfvTiT/FYopzGioMYvuU9y2L/0BZZvnlUIJ
xTwbJt/jYQV4RxTyZb13tK24HKG5fK9gEop2fMd8N+PUEvD5mxNEeBfelZkm5ES/zNi8C9A7XsOk
wXEnEIBBWCbyLO7ASMV+hd9JPiRpiUXLLz8CrStH7lW4JlMgfuQwMR77lVEcYqTNn9Qih4FKi1xJ
sMV788u1rj4GYBaCL/9xszU6nfOCB0HH4gwZb+9GWKOMqxpkNHZCbePrK6XfoHTnbHI3lYId41A/
7pPe5arIEt6rO3TgsxU1py62IwvXAqfFk/Ph7QSmBQmxgYs51AjLJmTwHVp8/FgXhBSxe6nGCdN4
5Sm+h9MuqmA4LCClhzgcUFnpc7lK0RTpS1ag6EIpFv+E5+QYs2QQ/Ilqi0qLEihL1tS6E64QVI+b
yZp+/ORhFSULhwyXMYo1NEW9r6KCH5jxRdW1J0TQooui50HDR61NpaNhHmP3nyOlYAV7cctmwNoi
PLpykF0zUX5rkpfTb9BVllOoduwpHF+QOWWLJHmJHJcKVTY3pmL3xjpvQdjPLAxRvRRb1ErOvN3c
OML0XD1pUajUqGEpUvlEoR95USZ0L3Fkq56/QZE4gbdZxXJqafmC/pVWJvb+S+3VUfmH889Q7oHn
0Dp9UpFx0HyKGil4IlAiphQvV0pM3ldg4/JGj522K3okoLmxditwHHX+OI04cjv0IcRaYvoMi7R4
scL6IOQ0kyPnzWHQSeUC+UwtHfE7lBcoX/GqMIit5tVRXlNTEzLmuXMX6Hidtk4qgQjUGMIYOrhv
8dRCebwGN8KBK0pSTgHiBIZeVBvqkheAHPpW0ILQWY4ninoGcn/tHEdOf8bBz3BiBX0SypEjURGa
UEvm4lR4BE8aWWGYBVOUjnyCoRCannFWbFEg9hijaPPf4pv47lpzrAHdDOQHyEwLWlaiI9k9qNrE
0pGv+TflZCgRxEmFCYVAhtqHD+0PX+DKDbg5l6Q1zyZqLm7Wn+hfujdLEV7bybd0dnWUJeS6f+vU
gh60OdsDO7KU4lwOgbaRYlRuuK/BIQrPrQLnN8qNbh8OjDAjlsGowggvNPgjrYHGWGI4lO272CCq
XrQeTd39lKrwSvVCdsxe2JXGKDqaMeiY7+AioXjSSp1QM8ZVJ6xjjbFFB3Db+ulGKkGvmgAGaqvn
3J0tJaAkY04O4/tbzKJoW0TvURjHpA6irNM0nxI2ZqXuJSoB5jakKaPnkdP2OAhF5yqR+q8L4ZGI
3r9RIy27UKHrBAwFc01eV5Fg2VKIPqAvWpi+RFNOrZW52CkIIN5OX6lkozK30QxIbWGCAqqcqC0r
j9y+seQmSSZc5csG1CbOJpwtFxx0pO9oJOgRoHHRq8x3hQpHcTozUGwRpKAcZvlLLHknxPzpJqqw
9ZiozKQWXokQw8pKbxAU7w0A4sbw7hhYkS+CWfXCIyKyLriPMk+tHFFQ3sI/D4gJGx0RT3fGjThm
aBS6AYVXPnS0z01k7SHFX6yehAkRGJxIEerx6gFTZ9h58MmY3UsnDVtEtdbgSpBv5yb6ZMFv8Prl
NMIgC7gCwUSJo4MrM+F996VZCVZOuyaa/X5T8i8HLfnknptwL37OqwLcPSgvL/4fGEv0d9UxIP5w
BLPbBTTY+S5vPmeIpV6ryGxGlxQRIlWsad1jftmumGQrL5bUOFhRYzKNbHmssIHFXnrY7QdJRcpb
3QYDerj+zT/RPbFU08AFjjS6uoojnEsOB5LtHtNKWoZoHc/GXwT2tsCsGGBmy751E2Nx1nAQNqrv
jNWlV8JsNQprxQw4Io/qFN0d2sNA2Hb4qE9KCeNn9HDr0VNH8KXxLm/idGqxt9Y0N9QxBmxH5tUd
Kh2EpIswplQbfPUlmQ1DAbxohFjOdtyOXCqCM70aP4SkgewNXTgypM9WnWiZ4E86FkF9ow8ZJ/VA
uJMeaHeCfyyr/aa2EL0LVfqeTKdjhe6eRnNJC0+Hrw87woYAV7gEwD5zC23a/lxOszGhQqTn18Fi
XoxiASBYvwDP6FJH/DDxS2GrxTff3+KuoJjdVhrAoXKVJHojxJYMpCbzn2lMURVh1FnVYuNUMrT8
keGvFpsoXU147Wj+Fh0+35u0iQx4jDza4rDz8y8ZcnzLNWlKkEVxapHLTJiWhsIqCHxiPIKfrkKw
r5fWMT3zGGb5KvePE9MmFDTQmZ4SYvIYzfSu9E6KvqN7Yq8wva2nfbPiouxiWyEJjNW6F0x3RIY8
lowdRV37mBjTIv8r3SQOqJ3M9lTK1b2urZrwY2NZ0VEG7jwrpANDkEUzoZBtfIrfx+jDq12wBwtc
TGNM5nLH1jRw0V6G6mwdB33nU7wN7ArExiIP8w9YcHsFF6++C6rOnF1+HyqJsHMwvXlhp9FO4GXI
Gzk/dMYSl8yqXWLNWzYngxEBRVLkwAhvtH44aMNIP+9SEsAgTlBFWdsOBoyA7Go1tbicNUm+h9X1
oevape2hJhcJYJuPtI9+0x9YwjUfi36zjgf4ENpbR2yFSqCNEmDC14tYlaiGgi1uyE7bM1zXNJXd
9Cn63lYr0LGEReHUe14SBEp4454h6Zq6obo1N57L4mls1U/oSGzvjOWAZQp5O/UO+2H1QoID0hfg
XgPnbAtESEq5+iVchuQQfuhIdpR8Cje9EL5XRb8cBEFziwE6pd5hIZJwylGG4rMAnOP9D1XntZw6
F2zrF9qqUg63gMg5GftGZWOjnLOefn9i/afq7BuW7QUCpKme3WOMHg0thqSUQX4k7npc+YtWNG6N
w2ByVacFv62bbz+X3WUnFbckQhpKg3Kt0RY1dO23ahwDXQbAqOhMxppqg8sEQBQzN+jDUVdIhxnh
8B6hXnOTZMwsIY40gm2WNmU7ywpUF/RIillBFEikyyjQ52QtBOL2SaAHLFC+NPjquS4z13Ea047e
nbHFLnF/rcyNJ6Jhz9tlIYColCJNg4nYr7S4m+cF3Tk5OwTRU1qpGqb7kmoumqT9MyT9wGxRt7dq
qNGiocWtvGdSkbI8TGacM7SkBpg2C8PG+wvEEY3/g0lsa8nERIM2xHITSTVXTD1y/4F6qcKlEOsl
WgxWJgCnTo/kgDkolVl37iUR301ypVpCApabCgOC8lBfpapgCxArVDX3SL95NAejZMTIt1BsaA3v
ZI6Ok0wZ0vA/91BQMlq6V++J3GrYRMJbW+wfeOYFp07XtKVTcAt5eOGoQl+h/QDRl8xmci5kMdkI
LhOhkvAMbkAHx5gsI9Qd2QFyPiInPvMED/5CUiepOE3OmhfKf/mhP11GBbwApxjfxO58D/byA4QJ
jLK5k4SCq9xFOqf+H05Pgc69Mf75WwKaAYFnpyJYctVJckl+eaQ6dn9zRnbcsZai1AdpUh/pVr+Q
hwsn/tC9vD05qkk7z0R6jRseVqCgtu/c1jQXPPNJbutcUnlMpvngvzljFTgYH5s03mtv3p60l9wd
TNLES5t39GzdmvA5uc0AlcB7mBIFFNTc6+1wD5bWGohAR4rLOWZyLgQrjiz9I9LmYA8juwHxxz5N
L5lthWsQfWCB9Op+kpUDnjNPFWM0QGUyVbY6EnGgWn9MX23ON/smh8Mwhz/yQWFZOLc8B3yJ2iLc
uiurmgt/wwJcMHqRcX8QZoGgAEW5Trw1n3kE5U7OBdSU/uWn8WXdaN4QvjtrQz+XSNsIdSSFOw3A
uIHGk/TZ/wJBCn/ixXt1Z2drHtmBxjFBVJ3KUjvj/MQoKVrzBHOEHRt1wNiQodJ3zjmJ65p3Bfql
6YCGA2TchKYxzyf8cOFQWMrdphTWrn4eT7yFG4hN+sHjOENPm48OUxrjozdj08L7NueonDOwGtZY
8yIl4arKj3cVEzosFk4IS4dIwNrkZ+ELngSqqiEFt0hfJ2QXUE6mNFYaHAK6ijNHBcBNz2L12LzQ
JtP4wKo49A/qAByh4a5j5WSp7TGiBNWK7BMV/LX4wYVJCwFel42zaensEybavvigPy/OGdUxgd7E
1EKgXgbz4JQK2JqO23eAAoM4/1PueIayKZmG1MwlDFVogKQdgrJcgIxD3AqzMv4aktsdnIosHaR3
2n1Eh/gmnGM6NEh6EebgswdInQGrjs/2MCQIbTUvaEGPSHu5wXSvu2E4vGgQ0BwkKXmg6v3lZ2Nm
doBPqFMF6DAau1FmHRo3MFZZ7x4SuljzVGY7wKJsEiUCzBjSI1mvtwkDR92Yz8sRpybuS427cpwA
G7ZRvYZSiBm5raefqgyhvXJrZQDlFtXtyq8gB80M+W6fAeWl5qotwRpmlIWcakB4jMM+sEWircZy
l/41lMe7QfgCiLMYIJDtxrCOPTg242De/VTUf4T0TtsU5KPUT8vRzbkW74Nos7eUcwNDwk0C1y2K
wrJtZG7IKoIRE6fVvl413913DuNNYbbFhIZReBY7yx7JL+HFeFFUQ9tQHUNujfzJr1shwLWhb+AC
+U/tJdYL8tmRDLMWPCO/WoNdnP+lcdxmVJ3qU2Q3OhE2WEsv8cH9p9ewq/rD/a0gWYhmcrkccQkf
kf8UOJORUf4n4cQEmByDI1Rhzh3AH1BWj5sZBySWOBdrl9zZyrlb+M/WZEbblPsMoIFzRtFDPTqh
qeOIT+S5Dsqnjrxzqnu/XZM4tOqLNqmC9sq+3c9iH+zzK6DM1TrlW94yscOD+gQ3JWtoZ3t68SGP
YC2Z1f5Sn4S0YLAhhObFFGh9CtY5vmwOoDclYkzMMeIZa9pYp+LcGbk19aE+Ilwc58Veg5dgCseb
uaJRauKdcetfhVdC40lZa0TchOU25Zq/ydqqZvMJ/fLaSwTZaln0prkxmnanW0IGeV/uiO6+ZsMm
NMEK9yMii9fOqM5DBQsXWmgn9cM5wFdFyejOQ7yGzkCuh+A9tSAkQNLglYOzEa0Hb2dRVhASmHiQ
2A1uI7BbxiRWwP8m/ayx6zn9tGfI9fWwdi79EyE5IMeTAMQV+FfGyA96dmY3Z8Np7B/Cl3yxmMZX
2oQfuC5CEhtNSwrMkgHZNWdcY0Jc7QKKzTITuIjD9A+HbJlCi2yZ84Bd47jAJoS85kU2PeLawxS2
MKZz4U1Qs1qAmrL40tHByT7JxecVzAuhuoWgfYNekNzQErxwHKSD8xMLvZg2Z8AzbkNIwuTMU4WX
bC7hQGvrB/sK7GXaei2G+ifkQIguPpgL7VKNdy5tL8CuIyhqS3+AdCIaPmIdFTrWau28LSltt054
oHul3QAj1j8R9dCSt0fVdjbyiXJD3KeQwtCU1k2GP4IGpr0pyhJ3ml9y7JLwNfiQfzJAQpCxmxFM
tE/znP9Eu992ybz4D73gTsElZ6LuLZKYP+yxaZkObmSRra02tN18BOUt7P8sHUvHvcZ4OnQjjOT0
p6NVSnW3SIy6PRYgRUqs+NU3EeHVx0cBlJaeqqURoVbEZhqk6EBrVckP3t6SMc2XkZgmUxcKEXXT
JKF0MiExwxi7M2PDEjKAuIDnxZ1xIm+ou41creV6ARVTSscuP4buEYqm+irpRJbOfP90hjPBzFg7
T/1hrRXbAGIP5pmzHfqTKJ1DLihEecCQY6BoGmpw5nIZUksDLm2y0CGZOC1rwPoJln1NZDOPjKYd
4UVEYqQCZkPiVRVw1oLSAXrvwOObG9UhZiO+TMSZ8GH+8T1dvASQoBwcHZDFGU0TPA0cn+sBuC//
SDrhZdZac1k76OnSandcQmYMhU8AILpDy6vzYBXpj+w7gEPXtDl0HyB7M/kk6YqvMt+PtIj1T1Bl
oVKkEEb5gdsSKSgtXHCR3owAw5Y8eLTvcX+M6x5cp+zn7Obj3Y6YQALdXmEjQipBNOTJ3F6yOiIJ
7CZs9qCN3DAgkPwvTBy3HRkboYE9A92J082pEk/aDhiIJKBybBBHWGZoORQ1+F6/BrILvEphHh5U
Df/wSoQprjBvW8CPkQ1Wjyo2BmzPkAI0nLOU0ynbfAH9QTMY1n+oMZtkq3BVKAHglBR5reFAyYwk
ado/Y0elsau/9D4XGxv3n8H3KcoxEyL1oOXs1/rFzwi5mHANq0nHykQ1+oM3MSg8fxCNCSQPbVrk
UaCKUxF7IGlORxj4v9vMh2CGzwoCV9+fS+rMapalQxnJFoqZ1aT9gS2h7ZyUykq/Q+1QZ0jwRZoV
Lh40gwvyP64KEhYYimGGS5D3Vf2B10OVsBp6Y53LNmg+ti7JV/gEp29ZJpwBvriJcgm5+QS+C77F
4l14/GONkDf1F5xnjv6TtYr3RrW37sO39ULKECE1AqNvBptGYOa6YS93h37Gt9R4EZ5J/atv9QG6
JEkL+aH0NqUemDPLY4htivlyRs5GMkDSR4VLjsyScaoF5Z9YLJ0cswW7bDfmxaGfc6SZ9QuXnaQO
FDpzbJcVMU5ymLJZUAcn3IkG2qtfV9pm7ZaZARW4K0bP6Kygm5nwPsgwfyhk2WzpoVRmAWAooYfm
VZ8MUja5apFH45ZNnt69KFmov8mByzmSElIJYjBoD9sQWg3nCSxEEcTtQYnH8mdfShhzXi+Qmry/
t1vOyA5g6BumJDCyRecN6OPBlwE7sHnVYDTGUJodbtlcBC20a/S/6KYRZ2ozrokPrbQrfVThnfyl
Y4UeWN6lwLObRnW6T8opoHIFxVPNmBIsVIA9G3o8XWgY5nLS1DTMJGAOPBtSWA26NmZdswpCW3v/
VymSo2I4xHpB8z7Do4oVA+8lwGf8EY0TvAsPxkpb9fhH4WfBwFhqCwBSWCc8LDAVqGe0i1TktPIm
CheDTOPnLKaJWMVZcVuLs8iyR0KQjQf0uBTh/6caE4T2g+1t2G5SWqbgl/FzxZTendKNpHRQbjNz
Pgw3tm5oS8lJZq5yVvGfyybBkjSLmJiINobCQoeozm70T9XB32ECccTQ0aFk1S64O0kFxy4cdcpG
jTaMUZw0E+RXiBpjIEotqEYJXnW5hFcCgCPpk0YVAEQThDQGcvGVTZiKBGoFRsb/hVRik3Z/rZN3
5oWUSqz86k51Q8rBqmbHflDVUR+P8gR51OaQzvmVTRYZiSuSOlpnSAnYWpoXIgKCYBSsiHRgg7A0
3AxkGtTgVHV499cPEfLFgOOYkqPk+JxgA4YXSkyP2tQD7Smm7SfZ/BpJtlZQk0Qq7EWsUTcLQrhO
VdkGJeFA3FPQMMKflS2YwBz8ZNGs1pgUGHjwLsk3n5Vv4F+l0/gBn/gvmcsxpwAIUacktJxvTn2J
Hp2mXDZIfzq2ZJCvABaih4Nigx7LAU1tUq7gPFb8d9pZf7Gz4rzSBkoOwy1CulJyKim+y1kVLbG+
JDgo9NoNY3qGvownNyZo7FSzpogfuCB+Mg/JOOnbk2DOUR5M6BTgyUE/Q9TAR8A0i/WB63xKJ9e5
+vZ/o3N6La8hDkgvtiMuGsmsP8k/WRP9xX+OAG825Vt44IKM36P1FnWMtOTn8n0ss1n05cxUtyVd
7xaaCgq3AWs5mR4mrGgxwYyDeSyCqNGpMmGrxRaZGzRv55xu9af4q0IbLYcp2+QSAYYm5bSVgbPm
6o+erlp9gUyU2JqZNNEhchsJaYIztGnirXPtEMsjhVqEG029SPWBBljmKe78+ESsHp8kb2DFo5Cg
P0/CO+a23I2ubCfI1CumxGEgYSsSefQi1fC7wIvvEVjJrUi3gmHTD4gSlrXPfJ7RMBpjA3zoyBLQ
xM1iZviQJJcMfp4ox3pj/MLUYRIuHK1ffY//QDJVjnlmJ7f2Q/j1btEf0YAg0H7oAJ/tlJ2O39If
91JuzL3yCSvN8YJbvRGu1i9aYjIy2ZnqZ43DwrrnH97NwJACJRUOdvTM7fiXI6CzSikcKULySfBV
i+PJgo0WN1E2Z7NiZyJ16nQ6NFdER69jb7BT7J06xE5jYpVWH8wsKYZFrS9CfLZlG1RvvFhcpugw
+EsWjnZvt2TMNNm6U6QFSAGISaRj5kfxhaCBIFyaI3XdEX4ZNsIwbPozCGdPOkCRXvyNfsV0D9QY
EkxReCjhLL/8EyJwcTkAYwAwHpWABMAPvvDd5XWiOSGUk46hX2BjNXEx3bDZEvqwyiIemtWElFwJ
7TabsVHfOB4qheJPV26cHePoHsQPjkuKzLmB2BfcZfAVXrA3JEgTidsfTp5xRB3wQWeXcKx29SYZ
z6nXjfqO9ie5pbRFieTx/Uf+E8J2YAF0RYaAWRnpIVcdjQncvDLRDZinUV8Qf4QXXsSBucAqWqIf
n6exkLAYCfB+nZGIRPi6W6BRaTfmI7qylIKjFcBWzFUNNgjnJcQG8Sy5ZTANXzTCQtNi0ATVB+DQ
TXuLam1WDszJW9bWwsO5YwCgtlHTws85DPdTPkm9gYjUMRyj04ItR26Z4rpIb+3TxDgDe+8Z/tpj
P4Hef6jYPKNaivYAxwttXW9H1JEA9eJTOP2cSCzSKQT7Ttn9woqUeAct1kF7uQsS12wMXSCaCHo7
FeurxT/2njDOmKIo2XsFboIjhY4UcwQ8R0QvQTRBrgqqxd/JW8hwYUlIdZO7/LRO2R349Bp9p9s3
Hkkam14ZYoL1rzCnuAD384/DiwwYoQFMNM1iX5hP9l+oc2nDCSe28wh/R2jiiEEyoFwyixX2w3GM
rvAqnYWH04ZU0pGIoHMho0DGXQP5H6g+9pNMd6E2BEH3MIyxjXuH2rRCKQCCHsyZsiOENvlgR7XC
z/VM3WQnpjE4o4bHo/CRCYAzChfyPeNPY2NmUhMpNe2UQAU4+0JZYCn7N+wU5gpQm/A8nE64FeOE
9si5TM9aOJPwbgxn3LdESUZ5cX8hFDbkeRAdWflIQ4JuaYS2Ei7E3NaIjH+42MPfoulhiSRfBTcY
qQN5dTZmSBSaJgNJ0S2hKOGz/4UEGdMetBlPKbopfi5Ear4P3wqRExWWFi66vwJlC/ceo9+YsuKN
dzmfFFWTFy3GL5vPuTlNijOiOuJkvurN+RmNpqqxQKN69iDVmbBMbaZPub3rIwaCZBI60LVFh+e4
U5I1sKxKpOKsTaAZ9xRZoy6dP44Xbp/JC3TWPbU9cDFWpEdQopFCVF6wKr9kHuoDKAh3D2BVaGo0
IoAo+hMYgISTAouUgtK/5ZXI3fkfFqIxoz7j4FCGNLeOqubRy82Z0NzNeGM2yZfzIInhLhk3xBFr
YLNc+b/UwfECHT33wz8wfcSqEeI9yUO0E8gRh3dnSDfyGdCens/CrXRC2w94RXMqqDRzbVt/a70V
nqlF1T2F0yA/v3hwAhwMt+yxIQF5NqnBm2hIRhKBlId3cC5Vz/hhm3cEikfKx4flNcGI/JoHMCAp
XFN8wwg4APx4Zg82YD0hoBR2GNWRlAMkk6Dxeip1EhjwIz874HgxWpWCi0BcnKoXoAvsNmcD5CQ+
guuARCLPOStrgJszc2ZoFOCEc2hOYpZAxU4Tg4mAU61EWYshNfaHswh4QVpxISt9rtF0yTnJDr67
B3UMfRtnI4hz3aIRZJGixQNLi7FWGy8576Z7M+vVIyWlQCpR+UCx8owxJeJKHmtxj34XkSeLIsd3
E1JCpkcKjY4NVYPOHf54RCTVZ/bdMRfjylzKJ4R28y3iKMTFIg2jAse+/MHacX9ZXlxOoCyOx5eG
ZOXbIh1iXaQibqJjyc6y4mqY2OVRf/m4CxGPgYSxiQbqHIMiP4COUMxdWRchPQbvNQfwQXJnvCj9
TXfBOkdsDPuMFCQ7g70KL76e+QTwIrqZT/GRaucOCOUJR0LXBhETvD8D8WSwIl/+wbIGKRvLuidc
LlKecZ1LM9hqSn0Ilp7xFDaFXvVitB0IgTxyEGCjkC7Ai5SVgI98bYpQf8XTymj6QReLx8J8RbCm
5Mkh7lBj1ktc/hBu1s67y+O6MghUaCQwh4GMuxJLGG1aK6MQCKyiIoFXYqxzHGCmnNLT62jFzFrK
sdb4qmT5M0+bz3CLNhAHcHpvCP3ffDHWHJ+GLQIII93SUsl3OA17OOjRPZeuXJBu5Z3g37kjkO2s
+ZUPxkuBixSSCRsJPwfcsn+wdDlSIr6xYBTIyEjg5cCrOCjDjtC0FSTpMHG/Y/8IRUPONHlbf0I8
UV3nD/pkqCY4u5xGPg8XALiEP4pP7mP+p+BoIyUCPsLV4G+gJpz3EYo/aSdOkXqh7ODT8RoJv0WC
0qF/oqB9gyj1o3jJyIvjBW/NK8Fnou/xnQhbRKl3ZEA8pX2N9tVf4LaX6BtF9BYyj//khPE1+JlK
h2NXxozhCmN/RbwN7uyD0Ex0PdzFZ/sA/eZMdHD9xVijNXcX1z4XAMo/sr7gId/Q7BFqTPtCqkVl
D/nDi4AGAGmhhvg4fMSGrR7uZcI3eETfzsU/hqDUwEucIJYarQ0pQDJn1JoE0Bse1ksjpZ7diZnW
iVcc2M9ZVPfhxQFbMoJ+zg+8gk9NnsAgohObNs6ld/PSzsUnH0g+1E/ACd6YZ9Ig4V85ovpMx5XK
eTJde/xso+Ke/rgJIjdIzPHSsS1wbUq8ekficAgKJkSzCxao+QUk8+Ndyq3Gjj5Wyn8kw+SDpKIe
Xhw3H8XkvSUiUSCffWFHhBwpODAxAsK3jAcVPUHub/Cu19gCxtjElQV9JkIgb9+mDAqasZcxsCNL
bWo1dNw0o7fb/Ap8090JaQ6TLafpL9kA0JL/ML4pmgTCEm4OKtIDm4KN16XMGXOIAepz5Iu5ryEd
aIaGYdVs9kSKvA6FvLev7uyAFGgUh97ZeVJQs9i54znvi3Ib7euZUXcMctRGEWLWawwPjihBhY8M
wxu9Qx4lRn18zC16WrSiwrC8O1UGN5DJK3A9CjFBdmcaGoWJOhDylDqISEZI0tws2ekRo9zlUtt2
StnsfUZncLkbap8ajnhwZGeBJRHqop/ELYNp4eqrOOrVta431mLoTKZwhCD/vler10FkzlzFsda1
Z3mc0PzPk0p925Tm2O0OOampXbKRHegpLMCgVhDozUMMdJmhRxedQxc30GKlrQuJaZFJzYBXRq2N
w5dd51QXlrlpUrSiphWW35FQLizTE+6x1i6yiiLP79rmUmJleUActspkk7FikcRdovg7CRw4dXzw
u7TB5tQRy79sGB5SoOafrlTSQya4nG0ZLwNJYTjD+4GmdHEpG/TQ6LA4VkCTdhnL8o2mVMphtRJW
mR8otzRL//uVFtNmU5Qe6GvaI8x2A3En6GrzAZLo9zqWYF2HpZXe0b8YsvBcURxwHMF62PQsi8rf
EOjC5tceC84T/rTZFOUc5t/j37LxwSpJRDMzUObvv70fKjEPZ2Zehv/f34bY6mdDiCzt/bL384o4
B1RHdysVkYj4x9MuZRiMyFTzI9GAXUxVrV91Rd4z+6DSLoruGyAW3nchNWDUUd4eYkdsD++frC75
5FKJdHj8n7/Xmb62mrjCf8KgLT0J7nWNlhYLLvY8T/fvRQ2GmzBJdymN/1v6LaJaTSywoDJGcLOm
v9NQvH2qOgznEIrF+7cuNaad6Qg32UefPmCFgF22gTA2yr8y1Xc+W7+mH1BTzDW6OgbNttUc6yLn
sxOkcu4WyPjeT8PqrfULQJDYM5aWm+s2eBGQhOM6U63KcWbL1FuSwxT0Wp6tLIlePjeVO+JAql5q
FQi+DxLty2jDPZ4B/j3JkZEbMg3c40XRHEs4vh/8Klbpk0RZWTOZsGmN8qIlnnsh33//ootJdcky
i53IIodVKlqly9RQN0wriDatyzSIOszEoyIwh4npJidN8tVlbkj5zc1VvFiifl+Ov/lYZNNnaUrb
938OgUiULPCCGvROXVax668MpiUwgVU0N1HRNYtENMNDjg+AbTSqfi4iIGG/lJy7X+MfV/s4voa+
fDQsvTsnEWumMumrSZ1Mp8OLCRAIUn+pCtK8o1bTjU1WJe1TQVRuBE3+Jbl9xahJJf8AOgYxxysH
vhNBzpBn1qkKsAySDas51HlozAlA6U5T9GoJChdvFD2n/1ky8pUjdOF2CFH6Cjm4h9O2xqmyQuPU
4oKpalm2bBJu+bwwmnvqY1Pj18an1RTG3DDlfvH+NZEY5kGsXMc1Y+asQS7PddiDS0RysH7/Glqe
taj75jf1ig83wn1fVBS6MlIB5WTUSdfIw1pdcFv6Pp0Oaoj1IiUiESQ+yDT2X0WmvvKBy5drKM5m
cNV+QY//2dH5zS9qvGerDDVuWBZ7Y3yIdcbPDSYgWGLIbDHj3/QWsHLy/p84UjaqVwTfTG1ZNBrO
LCGTDJCVKt22aZRgG3V2VWEjG0sDwoMmOcmRyeCsLM5Bdscf/dY7FBmoITZyzETOs5PnNX+p5oVf
hoUuRIsUAXd2DJ9xDUgZ9yHfIKWZsZTnDP5FP7HDg0FbpUVwjGosqVBmZ3h0Z/0exy0XkzYHtYlv
Jfi3MVwkTxkz6tZ+cfF8V0P+nfVENt+psQgTPaxNGzo2Wiv7Qef8LftSdZQVCqQeO6W5lxcoJ5kw
fDStU1yk+HaNDx1eTSvHpDAvgwb8Ez+B94PcYRIgjg9myeLjnkU2rc97xBX7sleSBa5Azc4RFBHy
2TC3getfjNB1Vn1kituSL7QxRyQpscSdbGbOOo4wCEqRGjMuLUHairibDMsdbg7d37iz6XLn2U3j
+4eOWeZiroh/jl49dSblkhKBnUF2LXyMlmZiUOFnYrnQwE0isTo1cntXRWTXVcNCSJELt0EnM2U+
e4S46gC1l+bd7Bjxnlq9fIxZ25HO1Nu4xrJMwWl2HpaySLOK5S1pyJI3rSqKCOQLkP0+LjcO7YOq
l6tLvS6HheQSBxODGb9cyPQHP1BGVDCshC9/SXxvh4mIs1ScwTu8HwLJ/+SORw1b68IpLkkWGyfW
f9uPrO+636aknmQ0Yn/qU+Ov8mrM2EXZWKmWVu1U1UAIUXT6RTQEsOgulBZE2nyTjQ+8fFN18oeZ
Z+4ts0xrrglMmi69VrgKabM3oA5pWiIoW54/zxQxuhdWpq69QsKqJ3mWjRDsg6QfpRxS35EskLa4
A7S2mLUnAqS8DPNKsfG6bz/jKD91ikRNXtG8g6AXsJW20EHT2x2TJMW5nHrtemhkd19ZwUVMJPda
ltGi1xV6+gywGrIF7d776QrZJwoHD9pQHipQfSFAbKzjIpXEbbqwNFFY49NWbIkF6TzTKuFMFgTo
4wdMmm7Cz6DPasbUYt4cBYycUhO/PRYO5V8lFAIWNpK27L0Y60tRFa4ZxuZR6V6kjvPstjL3JSuV
AXdj78JuMDU6NCzkAPEgahtDQAiUxNxUVZbEe51uAIRsUjsrL0WqdnsvqJgwOj6IrdLvdUu8JHIy
2pR9xUhtY4ZHRHGmPDRmxC/LVreQWHB7ebkEbcLSPXM+USY3dbPQ8HdU3Jq023BMXD7E+KQxOrFN
aYHzoUeW5hAjonINZhuGw+X9kGLLb4picOrb+Cv0aB0sBYll1rv+ASN85PZKs37/6f3QDRIuPDFD
scq+1bfvh2gg9vkStsbvXz23sOZxAULuhiGT2pzsFkllcnRF778HxauBeJmmtyySwtloojbYF4eb
/DAUdGegygXxZ1bvQnerBK4tglSiElKUUtzVtV7tlNqMZr4It6cGsoz5ISHMVHUPM2Tnv59Qn5Px
uv7SbE0sp/JR728p1lyoakRheo0tgxKFo5GZPpyN0kJramgHeYjFc5xn9aruWmDB8T+xQFRnetcI
0xL3k40sDyaV6/jjMEajtA7QwWWqNHNVUd+3hhquyi5Xlnqhn6QIZU+ZGCZCv95rMEFk0KXU4AcW
DTSq9a4rrjUlg8J3kFIlwZbskVs3dKSNSMfyh9SAMdWyczOakI7jFmHE4BYMW5SAtRsjbVe+k4Wb
vtc7YHMjRmAHycjm0eEMqtGlRgvE4CoPAnkSp/VHF8jCZqgjRlGr+d7tk2XQOsoubeCNw5xWAEXu
1V05pP89hKXI0CaHCZm+NyQ7oQLcKJXGXCUO5YBAIeFrcr4sFLRP/eBoG5IhDBFqEvyhKW+WZQZ/
AkLRmhZoMB1zEqlUtWnpp9su9I1Tp+bB3Ff8Cgm4flBqL7uEYcnQz8wNj23OeCw5U/HDVPtWWjCG
g4ZJUDGdnJU2qCKdsx2pu4F41KPhSIud2M86VVF3Dmt7pYaUIoObWWhddGHRMohg74bykjTpp3Vj
cCTmi7eT/8kHJw/bzsBbobPOCTtsNtBOB3DmiT4j0qtDr3tP2WBQkhPRg8NGvAraeFsVDK+xZHTS
Wb3E3jGB8NDPCsiUg89wuUqZ/I1Vz7Su5YUghhqb7kIW5EumJHTcXrkguA60oD+yAq+I7zGNm8VQ
vBosatBsDEC+5E5JpH8HbvOT1SpcnNT9DBnknQkuSj4q4VK6p3eHXuBEpw24xvyYuzsdGM/ctRup
1icA2dJnBKRdHjH3rvJF7P7FLXH04Ju3rHx65TPAw6H7oNukDm+BdGK0bCTd/PjsNifZvytsr5Fy
KIqzGW8t40oGkCHooaagpWmERhVkCwvy33ezIsjfNx2DwIZyw3BiUoTR3CSO5kCXbr0gpwWng6gE
oYnxqhuxB2pjQtaWv48SMmWE4ThaBTGwsswZhxcfwstagKilD98fD43TdLkVFYzlqMOn3jg4CWB6
hRENIAyQWf/LRdQPaj3auVi3mnHQ+NBg64enGX1uwhonEg14H2Znyav5T4FgsQvLBy8mMsT1yvzl
OVSMVNjdGYMFXBPibtL/ms/uTAZ7BFHONkpAY8mUWU21eeDjJAB65daSD/Tn0SmE0l8o9ghmES+3
R94bjzMgEh1r9DI7pbjefYOWa73tCli5/oEw8oGxbfO3qItw7Mf0z6ehBi+IaNr/4r5AnxsrCmpt
J0y7c7PmLYU/ZLPxhCNnmxYFpT61zjUTQpgTPlG1aQm9RauaiMp/3j6AhWBycK5rj7wTahETJTU/
8RZYkdE1vEz/9GN3bl0sq+EppwMcqD8KSgfOf3Q2n/HRWGi7bmmdXXdafMif3Tn9w0EAWSkCkNHK
Zsb57Bh9vUgxciBV5INigEZLAiZe0rxIlv5UQL0COoMW8pwuwPSxYpsg93XXfKxrd+p/lWFFhq3s
GsAlM5gZ9L0kIOYotHpctSZehsQG+4VZd86+4b4GnZnTsz6apw8GQjqDMk2sje6dNSwbLFiaac/3
aZasAoN+ilECtmjlfSMfZDrJWWvoG0DIrIvkfBR0Y+CYBT5SLejU5Jiod8m2BdZ8sGSSDYEcxw9p
HhknVz0iPUcHhUAwmCHlZjeY+vkuCVbRq8YmFMXPVU6uXJvAmKEEY9XXvt3Hc0gCJ8Tuj/Ghqyx/
6sOxWQNDMi+KaciuuzYiG3spKacEmluMy0bIwhswXJ2wcG8GMpGbKNDpOvVotAbULFYNky7TOTNe
6+juaEe01yj4zqR3jMvC1xLlcdadFWZU5ERExijKJmhhuKNfy6r2EU6IySqsDk4y5z7ghmMgq3yZ
MHiCGSb6vWdi5ST9M9RFJ3936mGMZN2CpaZJNv6RLWF426Fay6fctnQIFHu0DNwC3Q9rn2GgmPhj
88hkD/ThONAxjZw1HDe2FR/bhMtP0zEwYZ/dtGgnIHYRba/YiPgF0LxzL35xXmSBMKS8BnsuGVoB
Urhm5Iib3jCdyLKFlH1YysNTV0Fu8wQWFs/X4PNSgzk2004drwW3e14tkmTf00sf0OFjZR9pdah9
FDp0OtB5mfKjzqeCL673BtPecrtFTwa9F2wUjRaiidwtVQY0wiNM5FfjM8tt0iGQQqpl7DJh6sLa
S/aQrX3xIfH6HwlGrp3r4V31yD70I0ZbYX3AnrPlNnWumn4Q5B8U85gMk9sJWAFiAANmTsuw96Ei
4BBtbNu94IAxud/BUa34NGKDafOwTUzk+unOu4Q3ZhgroFouFtWbkrkhwcH/ktlD643vrw1WXWKs
G30n/dTA0YxFkL1fMf3OohNaUQ6by2BOH5BBXNhJ3V9L0W4UWzZtbP8LZnvpX3PR2rbRs1c2TJjW
PXj7Fu0KedvEPVUfjAQRA9xFD2m9knMcRQzWpXjRtwOj65s/3oTWtDTFq+9WaV9c96xD53HCgTLk
CkbnjLEkybcbnx1xLoQnksc0m0faytgoW5R/kbdvAqwPd0X9aiSFL/OZhj9G81en31Zx4bKoyqaV
mJ+6wlwxj3CG4SopcADIZWCCIKIZxlduBdRWBmkQ7WjWxLkLH/WNs8kUZOa1Y1qDRcaU9mAmGssp
FlDGZxSeouih45mg4kgKzXwKzYeWfVL65dnRgalsJu4m/cr7dVNcEF3SQMH0bcZYh9E+9v9o2laX
3MBNuqxIdPqz1/8UxrXWMBC4DgxH1Y/gSaYDicK0AeZQrvQci8j7kH9gu98GUBS7jklHbJg1HpFj
L7kkbDNrU4U71n2OWKFHS2abB8c7AxRDKAXfBl2CX2wnOgPXdqqAf/GHoa6MYSYDmWQrTTor/V+i
LzpUkSFDa7679H9ZOq/lttFlCz8RqpDDrUhEZoqKNyglI+eMpz8fZp+pGZWtsSWRAPrvXr2Cj+M0
rp2b76YZ/SUJ2QA/6rBfFpfkI4tOgwjp2Kk54/BtIO6JrIUSstC+Z4eEV/51jR3DOmxPVLgRQySH
B1TKdpKAA5dN3tvKlpLLIHkVGPfpW3tbR4eeD3L0NX2LUrQuu/DBF85eJkisOTaZyjMJYqV4m8WP
sf5BEK8bviB9hNZpHl/q/p5nnrl5z0KbeBrIhzT+dTzOmH1+ppfZy7/JG6JUNHj2QClLn8o3HiLB
eIgaVzvmEf0aMKII9yhBStb3k2+w2tHOXD5ebUGQ0D2mu1Svrew1o13Fv/mEG1Z+0zbQatfONIDT
jwYh6G6ZDs2hDo3ENI6cMJ3iTAD0fP+mOmKRQkgwD685ItyRnxVhY2c7BBMKb5Jst6DJND46PlSs
gojIrQ8p+pi7zN5oM0GDh7ND5e1YJICOV27OhxwHA30j93gEjQE3gwFtyy47Ux9518Nyl0WB/Cwx
8z/hziDW6CRpSVPB1ruAxMUkZ5TQfVGHOXMEZ41Qu83BMgfT6GMl3tBczqTh2vM36YOxfupVb3kh
hAGVj7YcU2LioNP0OO0hA6VO7ilpBXGWJg4PrJu7ldS8dLzKyc2a/ymS3UHs4cHskvd0TPea9prL
53QkBsoWaaGFiX0JeASnEYc6k0HtFPqZd9GMUC4Gw0QonVt1n8PkJcRKUi6tfQUjCEmg/L4oQYLB
53hxotAEiX3VhquatLsKjaXOjyWvDyPu/Wj2ipBnssN0IbyW/TGufrja9ImkPj01Lw75vZlFuMT0
JOnTrsI9hxyKjLTfEj+P8WjANcwtr4r8beoR1c0QkfPinC4zbCEdeTCxJvUFBm34limQEXuUSOhW
5sAoOAyI6Y0EL2Lpn3Gw4MSDLce7IL60Y+HWmOIItVvAOCqz91a+RQjRc+iuVvnEruLEahsDmOJF
1p7l6hnl0xMab/wH/qnCn6xfZWSKTJ/De9Xfzew5rJcn5R3ajEioagTtZS4upXAysruYRwSd48NX
i3sTOnKCQYKABtyIDvFyqHCbVFlzVbJgr4BeKyulCupHqX6Lf4Aow2eHJ9TT+Lyc1u/ipfiLnxGD
cVqrH+2yl/32YNn6vvcQ+jxhsmUv59k3nOncBOm7dYDv8MJuK1SZcmk/n5Q3zL80nnB6CVJh4Sym
jvGmfU9/XA3trUe7e1q99S29pMLe/BtxZ6Lv9DVn9FemcWQaGPL6NQsn+F3Z04zF+ujMmptNdi7b
8fP8NhMRzfBJdGO3NfvIfk3pYCgeh6MueCZNoLovTiVdlmnrnOmmw33Kr83RizKSAh2Md+PhLI4+
DTDdjqZiGLPHBr/uuDOeGNVCkFG48jOJVR7PnGWT6UVrSDy1RRVc9vSBKrqk1NYzpvD0o9ZdgfQ0
YRdjiIBluHzA3NuQbQG+HLULln5+rpIgom7UlIrtY5NdKcgWXHlSxhD4SI4puM3okeeAOXLscJes
+LR3mxAS8vQwufS8QBX4nTHDVwiVaBLXE+RxsfFWw6FSaiI22Af+GHFgnLpd9YILB/sCxORoCzCi
kloHDi8aU0ivKrO9eKpUu+hselJh4Qx/UclAlAJRJYna1cMAg2MILwaibxZyQBKtfMHP/kN8BocU
sX/D8PgdFu9CSBBpLazHT8wSMdcdyiCYGywqeIwaIn1foK+aTlxCjl7+F11TOmDUsIty4Mit98VE
YqTTgSTJt4mfOkwddoi6+SU3EZ0IIkbpjawWAhU7Lrl5jI1LjPkd+2QOHrN0NeS1FNP6A2c4jegH
c58TeIMzzS9f0ThML8Uncx039fzNDE7KuMmeIMWAaSe8mvET+86C3KNoz3QGJI6NA5/BUAdRNyYI
oJxMD13nQfBDLgXHIP6PFQJ3CHYzPKJeQ/i0Z+LapkMLc4AnenKuQRF5Evqt2lbL3YxyYtpGLb4z
wxPDonYH0eMdMUQymvYiqXtH+QsP2IRYty9ldUzIIv8iclhJiooOoXA2e8JlyCNBHIHmdftXtWzt
SGNjIj2CLoqDVIQEYHvsRJ2jcxfqV4lo5wG/FDJ59iPm6XvOIxIzRXwIwUSnHfd2BfCV0H4hgd8n
5HSWDk7qDbe3QKrxrk8pwkjnka/gVv9EDQWp4eO9lXZk2uLATjstVPRUNiJRMlka4Y6LNc+aFaJf
2EW0C8qT+Vt+N9JB/9A0lyPN+Kbk8HBY3xzqHHMrZApkJ1/6F+WgvYb/FtZYWMAxRg6ugc8HHun4
/0/7HPoQ0jXuYMSS8D427uVT/6ivqz+x5nOsQ/e5ps6QYTKx40SFCf6VlzuTL1eDvG2RDtkBC+4R
ein4kVsQftXYWW53s89VoBPWABkilEj7HvODzZ5hR1SiSGP1LHxzIAGBMSeRaTATQ0eHmUZICSAA
gkHwJO9prtN38aQJqIz3BMNynGbTcbwoyV54A4rWxP2Eq6aKZSU8oKfyF+l+D6Zrets+jcQicYei
mUYXHX2uPOE9MCF0rdwo3fG3E07wcV8iidtYgnb1yUMiZ3bz0vwxn7IAU6htJDghk6kggO0ijlTo
CCYrSTs2bzWGdI1L4WEOwTCxR8XbPg/CP5Mkas1t172IdqSjsIAoOrHmyhSkPz4n4CyeHlaJTnxX
V/saUJKwXZrC2g3Jzy4Di2hJkflzq0Ns5ShCWrl1ZwiGZm69kE1S5y99AFVWHVw1d+R4DzsQXASS
mxh+DabP0wav5iGEdpdvDk8Q7SC6hdYXonUYNbhcYkCFkhKnYGAm5AfbtN16GGZQwjjDxdnBubEX
jkoaUBlb1VlmeJBuKRw3GU7mYLsgi04BBpnaFdxvsERud4QlA2YNiD+eKKPYyQ3ahyhzpo1MFr4k
B9BrtIk2bXv42aEjJ8VqRgjfSjnY5N4//JBA2CGymw1QcrXVT+VgsS5ERat8380HhObGYagPpwMe
60Z3pNHlVURw2awLpqMZLt9SsEo3whGzxQEzwAq5oLejxuLsso9kwq48NEH7CtqWsgMhgwukZIEa
fTW5Q8mCDoQ7Mpy1MvMqbJRpA3l/ADgXOyGxucC872m5MHM2ylOVOUlqc/2mK4ARmjI6bOoRzbD6
gevor8jRAUmaSxxCXASb5Pb5UD+iPyoWn4UrQZ/NadlEHvkPFBPKCOzlb6oc44jQ7kzDNmFio7VE
A3BLPtPn5m/4myZP+W5OBCK0F9oUnvtbLzx4vw7GYbwYB+1Y0KbYAhATMX20bIf5Md2lo0oo7a67
Z8audOpn47t0yC7zZg8pO6CM6VeZTd8lvSWfFL3cUd4IKz+ll+aERzonuT++xRf9uhmqsjb+A76B
58bblTz0zNwP8g27S4hrg2tdqgLTPVfNAlFyya+buSqG18LMbAFlnoSLDmbIfP8vmRkQ6CodohFD
2OXNru3sHn40XDzcuEqS4zAX34jBSkwE8W4S4T3bvYuqqM2vhr7rkcp/oqgrEPNhLSIhFAG+v/at
b2oHzXyJ8TzCzhqJCJJdm2ZPUHYG1Kcc+KhU3ZgHI4ODjOp4v+qfvfIVjiee6Yw5A8hsS5T3UPw3
f8Un3R2Fa6AyAJHCdVzJy3QFmc5xJ0Jv12wBEvngzki+5L0M7w5rZixCEfjwElS3N+xW3SvsPSzU
WLYkHUIkWvgM0vfS7FSb+GKiUSE0M3ZWAAhOkw9WOVBQCnpV+BeEcUKC/ZexJBMBRQMoKeJGc53Y
N+4UJCYRudzPFC3277mAe9jmVKZyQIaHSjyI3YckbjZmqgKp3RNwnVxJM/EwaSN/E8If2Bg23wA+
m/UZPDVAgJ/Qyd8AnkJ4ntRsjsjJs0YHHGU7/LfblnRhW8ygbKDLJmOagBUaZeIBdvR8nFUdN2t1
q25wh16q+wxlT7C1+TBHHEOX2fTrGKz1SfkRFxa7u4XHs6DXeNI/0Sa1P8wluYUb4C76176HpxhL
Rez5oFIyO5kYx/jmYjP4ZZDkkZ6ib4LHiPSehxTCGS4cwOX1fbV+jDsWP5zIPVkhHLhkndE4AG7/
hT7PG2Op/sEYy7/9N2cy7RH6TwsyR//U3CbOvueCLgf0ese3qfpj9y+R8UF6QsnQyIGqH7CDqYXA
4ABFsMC0zO3LzUGWH0w3ZN5+c87u6XU8tn55Ha/9M3078ALvWYdaCazsg7HaBMwFDvhovzc1+3n4
WFCyWJsM/n/GH1wOtsiAn/iDp/+Uzxzux6fxIryqvzRg9Xf1p32z43rniCRcCfxFjHbTpwRAbR1a
Wl3RNleeoScOXew+3uimBw08GZOvE4sABQsMeii8QMgs6CBaAZx58TOJH+fqp/mhVC7vycNwoQLD
K2RF0R3H1//ZuMDh04LqYQQISh/za/Sxvor7flcHUXUy/kg9hAak2Dm+RL/SKxxhCNCw1lc7e/Sv
+g/bJs4m6jBkVDrhFNr0Zb3pwH08ZEQFPkVucmKQXQ1AlbP8Qb+Xf4N56L+9J4FwYmRJ+mvs8KYl
L3zQr/13/MzItPWByH48TfWsirLETpMsZbgFu4WKobsdQvX5aXiR6v1WRp/lP6IkX+X/uiQ82yq2
Kjpz5Z6alcK2J2gU6jCrDetp4mf87+n+fzQTQj08JrQcQZrsQ0znibraaUflmH+0V2xUwNTKXy12
6ZowVKHRpn5MiLuZ8MA66z349ciwRI8wnBmWEvo4mkREYciCv7kSHUcCAiGuDRcTwIXFyAuTHCMd
jT51mhfLK9G6Z2YAXopOM4VvK8mm414ZUf7t6MW+NBZ3I+zKnboyW12sdl9e6ZiWV15rjBoMXA7/
DIaBXXHnN6QvC7HdnIlVVDiXcXZMCAkkahfjlZ34r4EWyo4Kf64VH7IdwGGLIb7ob+gAQgRvQGqH
7KF3yg9evQhrtX7qf5ez+jJ0LxOo7Cbh2PrB7SmTbaOxLdVjWUxxHV7Ev62lBVSBcAX8hS4F3Auo
MDzCZuIOjhs4ndsLVEjRRbn+R7+Z0KzTXdZ7VkuUJoackNOWN6b5b+D5zi/DS31ZgTDaXXaIDuW1
f2C6BTUVMx2owBgL6k8hk4/l1g8R/X97WvCEXt9ycoasDdJYcdru7bVwYmVPH6xC+o+e6mvOOulJ
2Wcem1DLMV+lB9B2+hO+Mo1f14f6AmNS4J77M765SIu+o2ROf/xSEZ+6yK+j4xD53IsxLS6KF/MI
k6rJXC3cU4Y6BjnVV6Fmos7jlYD546aPQe0zjXf63n5wq7XXad7n+EcjRDiOj9VfToWXeNOr+q9G
QgIHEOl65kflvmbHCiH4nU9gYsW5y9aBaoIY88mUXI5HHWTJyf0lOnF0lb72QwHVEEa8g9lTZoGw
KK2c6pxw/KKBpf5TfQk/0X11hlfhws0h4VLmj8f0WpypgOVD/je9Dl8tjj9oX3jT/skwEkCZt7d9
29IHC4ED4C+8jIeMuIVt1S/gGKOmMros9bzlnH/or0wxMo6ootP/cuVThUG0v5pf2GpyO/BWmK9t
jSpsV0TbjbvNAkhayM0Nlq/2Ovr1x7JSyZsXAMwUQB+JO5cBZ2Gn+tFO6bas1HhGvfR7WxL/6rjo
/HVAMFwJ1p+ty+SNoRgBWZyrW2XBEQXoBlEUfsygMhRz4A4UhG8Axty6gMLDjRMDrmlJe8XMhAzn
Q3wtH9Z7cv9vCQIeTksINRzaeSD9kKce8eCFdku9+9Ye0GB0MD6sRSecwrEF2jdvDaK+p07xYg7V
N0R8qPJ0AODR4aNCBh520kCE2m7rgzjdzmgzDYXeYNOIZ4wmqY1F0BbxCeS4R/DZsYcabfSXAnI/
doniJr3EiIO/hJBT5kt3h1+++ZQQWJj/pkTNNrcQYh905dcIr4Z+By73wZ592n5too76WWWCQXla
sxlJy1bsaD0haXI1hnP90X5wlg4vIDjFH0Bv2h2o62waFViYo930+woMAm2a8cSKuhkfIGbf7NJE
82jiTIyjBZes3He5T0qwgaEUeAxk9C8Vd/bXiZAaDepqQDRXMR9T46glh0IPIMXgiqyjjk/Jjke4
Cz3hkBXoFw8QMrr1knNFaPMJ7EasL/rxeoCdqVie0Xt1so8quwAIUiHVc78fxBmah4tRqJgE/Chb
rb9b2BdiE9Z5Y+eLcjAArm427a6uHfqWuJurkryE6ynLcHnf6YAa3d3ENinnJWAkw9bwCR57gbYw
c/gMnV6CH4LCCn0/9rYE5R/KSHmrVleembsRQO0ZpnVWnuPe/OLmmhKwHbshaTcjsM/LVj83XibR
nZkX6RRQ3rQYfRwkaT8U3Ma8yQS77GiiogYfIZCv7aFt8XynTBj4MThW5Mp0LwRs9n7Il72vDzAR
KnbDQL9uMXWcwSski6n4UhBAjgw56Y5G77O5d9FtVbgZNvfgXSPi7OFE+RvvR+lu6Hxvl/gsYHUx
2azvaK456FRcCdJXEA8udbR5S++3FmQICXZkm7ZoJNUhhooz+q2ktgg5XEXVb6LlIFmty75P0j86
3YMoupfz2S17ItJYtBVAshn/pXV/qLJfA+1kgVsFTB0izazTKLWXOJyCtjwRhP63WslZT+MzCcVB
y8rAbBCk88eRQpMtMWbqaVxGWy5YpKnra0uoZs9/uE0mpYG48m8wcNVAKsGbZGrPai2gYswPxeqK
XKrJ3v53Ag41twbk1q9SePB31o7DDGmRpZ63shEmu2z4bBOTJjh96XACxBbYIRItQuVDes80WEQA
iJ6oG/uNO8FYuAk7Jag77qqyAPf4KLbqQc3vS/wjIYgdaS8MHueI9Z5CEvhUHRYlO00mjW4HqJBQ
sAXtZHHcN3OzMTtE31jAgTWJgmSN/8ZqbDEzGUQKXNCI8tVivMpV69EVKho35VybFCqGeV3uXlmR
jgS+Dj3EiKxP0DOg4cE0QKmWawxdllmuBXlKE3taUwwksV9JgaJRqkeKtBsFBsK2o9s323x06hqI
L9ODKe9ubU7IdQL60JQzsKHi6kxSoRTdm5CY5PwnHtPQ7zNkQihCQyYPUZCdusN4NubnDxZy1xll
p7A9N0V2I1oSK9YZ0eNF0PHpmroufFhiFuhzdlWWst5LliPRNX5FMEHBXgNgUwacmPQxI56dWZWo
9NEy+xCY7MoUfLnFBUFvN3/uGuV/k/ePBTP0NBmuS3WECeiUCxZpUn5ZUjSkBO8sKhQ04NtWuuuy
6FaKzn2DRPBJFv5a9SuJvTiETnXqOQcG5a0nWY9IavEeYQjBqYO0C/cgjTuWnAf5AL7Q5HcjPJjj
xyp+S+kjl56nU20GYfUFJ26AM5cKh255z6g0efWnqlDc91Z77MpdflXRoUo+RY7xmK6EEQ/7DtbJ
yGcB6nB1Lr2xgJbuwwNZ4H+jLwRgQV1x6MaTnlwTehSOF8XLNjMDG+AZ6YKceCFQKwgr2DRc6rMp
erSATK5KtzcYeHO6KnAmQOmVJbMf9zipHKPl0QivLZvWjkHD7woCxlwRhrPoLSBG4qk1fR3D8mk/
wP+RAx00ebGeE+Eam/h5jtRk2NOYblfXHoQ9REtGRYTShU3eivBxUEocA0OIG8iXgCgh1bAh2Vf5
jzw/lOKmbNu7GkWx7q76pUAO3LBzdarcLpEaC9GRnfpEfdL8ovwWSB4xb7ERLFwGg7mIMGSWv90E
GQY40C3CV60FHo0Z00+d9I4D8rxLBTdqWXM9l5aPMTcR62nkWst5I5fPdoKScYEUx2LJqcVDFONu
aFxW2EO8PdbNEu9jdpyKlF64Z4kvTGejjAE8ZWQ12SWRumWvycJH3mqeCWrnzBbbMi+PqAkkG/q6
8kh7j+ZWFC9lwRDU+4p6rAi7N59itOSxTbObVS6PZgQn0Vsf/VURjzPeRblNLDuTkrjc8IuV6+Oo
wpxHQOgrIkLBXTx4nPMmzSTz7nzk68z75M5vrT5I20fePoBks56ND2yUh14Eq+VNiiuuREHd5cnX
+sOIjlw+sLaVKn/FjA5Dh27f3CV6SwmrsvuweoO9RrbU75KCtJZLl93wSBqV54EB3mgYYOj39c54
IRGTDPaBXdqcYuVkDQEdpwastPIcK1XvsyGE5p1nF9ptk2/OOr91FW674aDEx0JxFXnvjJabZP4Y
sSqCPhZk+kEhWjs6afVDzZ517d3syF8+cLTP5aXhxpPX05AFo3URA25H1BcyUAbeR8mXoBxJXNQG
N5SDWjhVOXbVnkCcTufUlr+E5yb3KpmbxDPBFVonXxyJdFTTbadDmhxzaW8Wnma4XUo6iRNJDAiQ
gGmqGvAl0Ux+5neEQzybovySoSlTAh63qTnHlteQQ8VJQKuDtZJ8bDEZlh4dNufSzUiOpeHFUNcd
sJJIYZIMddYh2UBfA7d30KXonJnLXYCM0T+P3PUsLqElmXs0bvt04L7xy+rDMPxIfhSEJXSEL+5S
YtEk3e+bmxYG8oL18y2uWAHv2lZ4KyXrtbotpq3Ag8MOU7FF0qew6GPOBkaEhLj6po5FnZdkQW1d
oOhPh8F8rqVjNThWyfLAi7Z9xGWza0uXu6wuD5EoZIl/4FXidmF+h5F2K4iOHl0LizJ256wjwIj2
jcLCx4dvkM3ejFp0RKw5e1RyWKBdzmruMXNcWHBh2OY5OkUR/Td4dO5BMliFoBN9C5IUMa4doQc5
jqUfykDcPf4d5j+ySOXuWIdghydot4IMfknmcepLkV1D9oQ+F3Dx+Dz132bvzH1kjBxFXfVjkUHp
6nCvsjReSYOGZW15NUTGBWj8CawvMRxdfx6HZ4r62rpUWkMPYBxsDKvJM5Zjr58i/U00rhCCJ5QR
mr/WHh9n9hiMznH6tIYvLPZW3C1MzyAAsDmN85uVfXav4noZhVOiBJJ4To17UgSicE7JThadGBNc
/SyMZ6kJNNQpNIBYhjN6/iQH1TYcHvakd9LY3WoMgpjmvLCSqA6hfiiFoGleI9GzkpcqovhgLjVZ
xGdjKoR3X3Tq0xeBbn+dn8v5Oal/Z8SnldTYJ7X8q/ug3LriKN6l84EQacX0ReFaQJ1Fn0rOAJEO
B5IbF+s8djZUpbp3yc6MYQ3KymmIHVXx4S/FTojNuHJpJkxZmobBUxLXqyEOJy1Vbk0gGacEZyoy
wOiji+lC9E6pIuCA1u/13TOlm4WrVUBpn/8Il7X+OyHAyzigQWvW/KSUfk/Boi7CCKvsRvLCADE5
nny4zvA3HWQUC4hEkvttsjcItGKb37AiJueEXQS2ys+l8CH1cM48br9FoWW5FQtWtEfBctORDC2X
3EgJwxMzfCvEk8SqOgsmZLJMYIP23lunavWN8c0C6LMalqZ2tZ7UNKhkT4gP4Z8uLV5sCicTJ8z0
Xi8HMT7xNoYsZq1nQT4q05uwwPNwX1UxoBdZO5t7cW1vkvarsYjwzRxb02NmIa1xqcmGeSdhU0xg
vx8pMrUKmgpFBbGt05WujBFDiVemsYLotxysAcHIFmELmp32NogvRVX+7yzia69DQGmG75QtHrGr
TQP+Rff3wjKuM96kEE6OLSWcFxiXuQAcIVtJimbKD1IWn5rhmwz+NTqGJ1g7zLHMwYx6RsQfRN/n
L/FH/lKlF62gbHRdBS8hzMiPrnefQGIdg93qQg5R2LPDKoQtih9/ZtPxPZAVwLWJ2Zsz1w+Ko8BC
QZvJaq67TTglFMeq+0oBN/GiB5HbDO01to92YxHE5tTlO57BRnpp04shfhf61WRDhnsbi7UaUGpc
700Z7XXht9YBRhs3TF+XibQTuAlJsB5CGQk3D1aZP2aai+k0D2fB+NRQZxoXdDzg/h0ipky+jDp+
Tn6h3iaUaua2RonuE04gkRux3qseFm+U4OvpLR29BgXR25QyZeXvHQZrPemyLNBFLXfraL2VMear
I7ILbRQ+et8MKrZMSsA+eIFLpQkv0vA23FogWbDmNb+kw9s20KQCQB18A/kw4PH/t0TPee3N4C/z
+ku7VIYO0jmauZLY9uiBykTKj8pm5nLX1KNZHyI14EJUyTsT/ZKjMDyBizIzbeNareF65GDkyeIe
uUoz3qt6t3VfF7Vl0wvFvA03aG4lQE1F7e9ygIiYQlNrOTqGnWX4reHNlBjTYF7dsu7Oi85eDlNj
lhCzdWH1o1xS66mcCRK6j8o9sd7GyZUbBz1uyBWhxH6k6VGTjgaAm3LUkRTZZZSwDCEsXQ90LGly
5Usv7/GKMWbFAlt5a/CbYQMCx439MNQaDrvQpFt9hwjb7Yr2qHVuBOmcleF9jV6F1FFaul1nsF61
5LFWti6f6+G1C71cddXBh/UwNi4zkDQ6YhzoNbRhj/U6skPg0Ehxe7QvQLdf9QcASftMzHq9LzOk
BxAFX9kqaN+s7yt9zy58fAz/PfsGrKPeTSG9sHuhaBop7oC6l4PCS4xRdIMqtjPh92DhFyoFaoIx
6wCXaBCzvyoY5R1wBKPzYl4ZRkBHFpaeGC9fAZJhjHA5SmQNwH2Q5VtMoDaEg2yEkWdUPcWnWLsC
1GjdB/VmjJgYXGF6HkDhWH9OcvhVRNOnGeGCCTzbqR8VvPWY+DDVOGzMM/xJdW7RQfLTHL7gfZA/
LPW+AuZiIzCNL1rxocwsiP/xKe4EsEq6G7CRqSLt9pZjJ8WaWLrNLA8soO0hLNEPxKd8ecstn8cH
TqFcHWpqUYmblKC8Wlgx05n1DsSHrf8RcSLErgJYCx9p9qOssM2dgKRDDiKY80CQFzUOSBPQtFOO
vSrNaXdAaJdNN8hR0xyY5AcW78XsM2qAbJXivoq9ybBl/ViOr+W2IEDfNR3b6ajK59h49NZVMRyN
NJFfUkDoul0Bsnr4qOYbfrXf6eZ2VNvjwGS0mV9EbK7RhqiA4gcrZXQLFNHHuiUc3KKrsYh7ISLY
Snw076UWpOAHtTuM6H6/c41EYS8jER1OBEMtu7rqourvivKn68yXXzHOEwImByewKW1BQvXSFQwY
+x5yqmW3qjebN+qeqDyL9YtuHKHsIlwtMt7Se7UQkG3HdRCnD0HES8aD06zTQM2BGHpj7EDZX5ke
sZMHNQDf0zliHa5fIfpjGKipP89v9JtLf+RnYCyUZrqM0yIz6pyZDkQpmFY/iU5TAVRjE8RpQf8t
IxchDfIjns+9rDBpXNLJ76nAonYKrX2HIV25BzwlCadaTPzfsWidyBiDzyQ3sCsP8nC0Oo9Vbzcc
4+1Itllp6xJ0PqcgkaT12tbrGIvp2kBjFGbbQJVvZn0didgYydzZMOk4dLX2ZPbfZgNK262+MscQ
H/18PoBoXdvmNEjb4WveKvnR8aW6wDDcWbilrGYNk4WWlpxXVkNKc+vYq06F1zXOYLxp0zmxDhTV
ASGf8JKMx6E5038w76nhWcxQzx5HbC6TXUo/RwiG5DnzEBSC3RElPB3yEKa1i8izAl1p49UfwZbp
5cFkMn39yUrztZfZ5Up5EnyKWIIq7FsZo+EYiOd5fBcwEltZDcNQWBpnNH+75siCBrKuhHXXclQM
3LcI4zgU0KPD11q7RJyI1R06wyQ7Vm1DhVnGWzG7/CJKrzXRgt3zPFG2KSlW9rDUyxA9J7DV4l84
q9N4mov3cWJjwLROOii0HqN1l8TTNWcbq1qvty7Ah3AIxvqWhnR51GaWm6W87g31Xg1fE1oBxR4F
15TxFPfW5Dypn7pxE0t/lg5l5GFyuDBL69RiRkMbllzy18yLK1rMsFn/LX+Fstvjwz4ci/5nyT1J
uLAZghRQTRtdyDCdqb/kCn1NoIeebrHjrV4a7v7UcYBvlZCZAwtPd1bhalE53C73tMjt/gM60tjW
oOUwDAnHFjLlWr7Q5/TJQY4+DHWPKgbfw3PWvsV0G9pV0Y8bpSCtoDnDp+RZEzfbmf7aUFBaHdwc
4rt+jpE/GCcrOrbxYe1OY3erU57J4qlnkagld1pCRnjUFyLnXvyRIRQOR+Dl+G9k/QfmISuHJXfT
5hKR8NF/axpB0dE2XdKU5aG7Cnt9cdPld5g+tOwhcYU2iEQ4MK2s+W2JAg1qEIB/eVzEg1WAl1+j
0JvnSxmSu7EvW6dhtyqRXQZMv2/109gEGwWsdlklZslJx1WJqrwub6v1onV2jGuYXfLgFP/65EXO
ng3Yw+H0iYlCOR02wiFYe3iMxJqAWSxdVFx0Ov1pn5teC1MGppBgJ3gXQVVS+cMASG7R2LdOyE6D
KV5XqNpKEAq2IZ6HjNOJS4UHMIfFvEkWMpK+WdalLnx1fktl2yAF4u00jy8uUGoCPQ/YKFbxqSrt
AX4CRmCgRP/xMNFxh3yppqF/amC2e8N8lrJ/Eju13jokMRzE5KBZH3rFDiXJ7BhI22B1Y+WyF4Wv
RnYzpJdK2HhN5fqZ9hVVJ2QVoDFVGHAwjrLuKf1vadzM/hJnjjzvS+6ESGBRHf6HYS1Ho3k2ILwV
7NuU/F84scRMjnFyEaNAnz5m0mTE57Txtty+9TfB1Q+bEuRouCKLR3j2dC3TH+gJG0yF3hfFpn6o
jw1eqKuE0B9zo+k/UMQrSAGdWPeL/jC8yBiW7VWD2CgP0bCOwZFsLtgOdiIesxj/JJLMVMWqO0cK
AtpcTPeUWUnSvyI4hl0SsMgfMrdv6XEPQ3VsJbaQbAFiA8QeVBdydQIpLuNK48p+MuqTgc6zh2ZT
QgSTbPZlu1p9Thd034GFIAuZWndp+nMPoFRwoPmW4VaFrXEr4mtk7aY7CGAynyLriPqgm2wojkXu
syTpOqcgzWSx15BxcC9u4WniTWu4xbFPrjH14+RXULB/V9DGQuzpKk6dsPimESzNu97+xizdGMwA
KtbRTejkimNO7FP7F3avNLfGAJ3oHYQoVo91famqQ98HJwHNO32TUyV+1x7z8tjgUdd52YBRM9oV
471u26Batnkw6h+dBeIDJRIrT61HCXsJc6+zSAZ4j8VnSLCS8GJGqE+OGrzw5q3sz+roi6mbq76o
HNAe5MKlz1708Gzg+TYcgamW6GGY3qpAzD0sJOjKnj6jPnosXSCtp6nx0FtyR9O9oo6jB7IqdufH
GuMdjSH31KyBZMGd9MzY0/Cf1N8GZVuVAMH1PDsxOnBk0LghoUGDjBYk5rMqe3OCftZbqqB5G8N7
x4s1/4+j89ptHE2i8BMRYA63EqOoaDnfEE7NJObMp5+Pgx0MsL3bskz+oerUCVZoDT4hGCbwzoI3
8W00OFP82IeE0PYME+ze9CPRb0xYxGAmVwnZbLueVawbIsD/n5GiIB2OOjTE1R0XUtO8PHaZUAHs
g2myUWCHQpVrkgC+KRhMIwXrZj7oRdG5ont5kGvnwB4GJVin10k9N8YRJWRZBoYSSOmFP4FlzwRK
0r0MIhfLNP8aI6r902DtBWbFsIWCeEFc7VPJtDEI6Ab/zhPlzaGC+pz5GY21fOCGyBsEdcB1GEO5
XcVacfviBqW0Gp189vTyKGYhmpOkPHWfEZh859G0M5aMliCt7Ml0B/G7y0i5OkrGMTbdNHHBi1vs
9rntBy9lsjrb/UTGcgBBVolDhoAGbAjGm+hJA8Xwl9V/yMdkcdsOgNErWlfE8AzMIEJ86a5LOKk3
ESRzhIw3o4IJFeE0b9CDF5Eitz0vv6RHw6eIHMadVrn9FkLulPOtLHHvAKW+qYxweH3NqgSZLWif
6LoYQRCLM0SvxSdTd7YWmjUr8SjJMouKjT6Ra5jR6aUhyNi8TfqnlXmEO07DmTQb3JkxaezF8lSW
hOuyp8XhyAxqeGzz2uVxKFd3HTy4V8yVloPZ2/X6JLShggmxPpyk0pfmowpxd0DMskNqRyioYwwe
jK94vXCPxPWvQnvTTC9j8qXLt6h5Jelx1jgnDmMcUieluisN7xDXmvosay7E6yQOeTqAPEnKmj/W
hFvh71QAyl6m5SXlrsdiWoGK6qYPB2JIhOCLryPsXKajzEgz/dRpb1ntp9OHiSN3REBB6Ysp/Vko
tUcRL7nlM5/vQuPSF9BcaHgcJLQAN2ubd17Q7ymc/yjt8F1t7CqlTfaF2leTe129T+0Xth41jXDv
upF6M+cA/J+pDKsYvFRaQy0/uqvJ8MCp4WiIXj7A0xueS8CNscQ7U74SvQl/UoPCmszEQ6Ry/BW3
0+jX03OeRWgMFloFcjTH0jylWFauDsdLtrr0U7RR+rIv/slK/qLkF0sL3Fl+yjmbMUxJPWHcuufH
7/Bqtz85r5+AFayZjeMwnBX1bOMRHSncmhknZgPeUeQyW2aSXtQRCVdlQAhaSunfwwxglBCf02Sn
yQKYceHpWOoe2jx4FTxFEw0s6OwCnOlUi61gzx/blXXum1NfcVXYkXiayEdc7xR+sFhG+Cpx2MZn
PIUEVpbugoxq8bkcfD5/SQK48API7OROigtPQu/dRvFYTBBz6C3yh6/2xym6D/W5tbwecB0O6Ss6
rlRxUXWk1nHRzplFifEkj7B4PRILUFfD2ZymEJ5zLh9rLWSm648LSojzKkOjSK9z9ixmRJX8Qzlp
ytsProl75XsLaHJ/HvrvojxPK7RXoNpAaU7tzOTHgxmkmJytHhttxL/yixEx+oEyse0ZRTXOOITq
kvFYexnihRcF6k4iDIds2j8y+qpDowSmyt4nRQAACna/JkIohf+gFCbCjKk6SuYPygom/QqYwbxC
STiKC9Oq97nlgAdRt1wLDqYAfGKj2SoJBMi0f9VwVCEoaH8SzoXGHGLz0pD4w3SXRInN0R6BJmb9
+0E9icolZ+e2oTGcitV+zHvROJQPunD2BGnT1S+ws9Ht1QWUwIOT8ng8I36jcqP1ZL5hGfA/GPwe
9NXnnXP51soR9AQ+n9XdIsjzdHr4K6PbxTcys2Hu4m1OdkIFJozWyXSN1GOKLapol44sN2A5VXWr
lrd5EDo7Z1dArgABJKMg5v9woH4EGVL49Rg87GiAIORtFQYUDkuHseuK6sZl2ZjCRIJsh5warLFf
x9yJq+EwBNHnn8F0e+NbNaNjqdImEuFl0NUprK6suamd9fEYGqofqLsiidsOCEyXBuvgG5N3S1fM
n7hwQd16qmsPXF+C2MpdfITulSHPQS64MYic6AzXaPo3lhaExViGiwcktWJvXehf68zA7kYJBfyY
Ce7I0Ek4qITNovPBAHZ57zNOwsOqXx/AVuRBrE0T1IRi0SZTGTqS6SKm0DE2AI3d0MBd+wtzLf+K
C0ZStA98V8xTgxYERhF+BrINsDGFPPoLiDYjKa6RQ+sHkS4O1/WNO6h1p2X41qWTWsNFhIJfVc6M
oetqt9ke92I5hqsyBIh2UKsh6cTPyIUNCN9zjp8eD7gEQCI+5ZMqn/qZdPLYfcxX9CwCpNnHbZDe
oZbO3yh7sHtFukgQwoNGObZ8qf0ZCA0CFlh8dOl6SezFZc4um5QrBcnGhcEDx4MyyYTPMeRX3gck
Ces9JjgczFM6KeJViKCo3dKHj6VVupIdDJRL8wknEt17D6uXPM1jKvkFRE8YfpDrf/SHrTWYdNiF
ZZulnchQDU8KJ2y+jbQZcSGf1f9B+hFIJCfesnZWxFRSSKiMfiil0HqecMVWsM1m96srbl8kJvp1
cTRkRgx4+YYMHlvYA4KfzUy0KUjONRbzigzic1KqCz2WhOkNjsGUrr80usQg7YDJqgWxyHEVSZNy
cIY3Gwf7cOzw9W9cTNsXPOAXuBKMUtT2KvauiGaB4RKYFUYdsTs8HHrCPEcQmOCt42cNuldPeZz6
5ViRzYebfRdCxyOBE6QBDV8XUCYwkjKhVCFjk71ROXLF8Lzlr+7Gptcqf2RmnzMhZYhHBjlhxDtK
vlj0GD1kpZspV6pSM/2r9YupuG0fUAQjj6teuwThIFOU/TQzxOQsZJqJAQmJA0G1XsQeW9HXpYQG
cAYDTYgn7GGuB2nhtO9YlVo1xYP6L1oUfMVgpQKFmM8mecDmkcYKjjYoIPtfiR2oYTgZ8leQMwB0
aW2QYlrNsNtuVgc9BDloG7xFFbZjioW4ixHbqDrwwHJzP4NeZ8T8HTWo89LVWu4mUatIM2Rbxzr4
/UFWJC4HZQZys+G6inYctJv1eCkWm/MZCAfXQtryFupvjowSz61gQtePd7u0N97MP+5LHWIFAkGc
o2nfdMTEe4UEbgJFahY8Cb2HLAsH/dDT92M7MeCICXMfzyT1Ka0eV/B/nBRs6Kj5ekH9AZ3D3Lf0
S8m+6dyG0TALmuaFST8eKQgR9orOjE3aMze8wkjFLy9ffb0Ia/SVWL487C4/0Gu2cTg9VXOQrUcd
WgGOG7Kr4L8LB15Axk2iAROtgF5gpcbl7oYAVzD08xo5UOnwDMrlC1PNsX2m2suEi0z4kWUF7eqK
9dlaCFZ1DE43w9clj2kNcwrRtKG0MmrXdfuBW8iZAj5G5wfxXnQy7uXZTdPHbYolt980m9GOshvW
rdi5yQe3pymSjuuP8RmE2THReujcSZQWAWyQknFNGYiJ22/KQkg8F3xfoYN6BiAHNDPF5R/OpSo9
jcWn3feAyW4C3g6HDZU4e5l5o2DP1HuZu1ZBDuqEzpiK31hcriXB8OACRKCYCHEgMr2vDd8dY2mI
195e7u6KHBo5XFbiF1vm9rCz5Ui3ayrACDuxQMtd3hlrAw/jiiuXGIVTCryC7yJswBYTn3DFQq5z
uDUhHCUdfxWfHxvYgAK8XFjZrkk/DdoqBpXoJyJ5ry5sRRTyZbmXCKSpbfiA1f2xZGfRAaeHwWgS
hYg1QPpApXcwRjfFTyV1qCBphzydAxUTa/gSpJwTD5X7ZX+IBeaj248ncsmj30vjd715bdVjQYxc
75rcdAwIDKTNPuC/+aLP6k/fNsEj/UxmsvCO2AUwd5/wecDqEbXX4lrrVSOLUg/xVYWgQbQvM40H
vDnGqNwghQbMAwBNQQNbRicLGp44cjILB5bngb0NVJifWuVsTxKqKWHJkGAIuFWj5ESGhO+UqF1h
R4I68ci6yYYinEvOhlPiQ64h78YfPo9iLldwLysD52ys366a/jbHrqFfnqeD/JUN3F+gFJ6OFzis
BhLTBHdO+W33C+63IjzgHaxU7ni18BpCNESaLptIGV0NpPq4CNgtg8uJFExYOOnBonh1gX74qem/
6YEpGZcN7/5hS4FjQ2WaHgg+YeeTTHE2Mc0c//hIFdJr/ZypnO77mHN+7uMHIVqwvkXRGdI+nJJl
L600bOqcly52ljNuY48fyvECph5MTN6BhNZD8cs7EFRWAGV73G7sh6TYOLhujFwGF7n5uAo+ZppP
uGF+MfYFmANFwg9lMB1ozHPgMlvi9aAyGn+AmWSa+GHHJE3/YyKTaAEztPZuhQhG1dfqvC1Kct/R
c23KVjJUd+MbLjF+4dNQuvGXcp8ZMVJxEMSFMHl0c/1EdSan7oK1DjUhCJZAKARV3Z7GcsbDDEnA
aivIhrt9489XS4Seu4OhzWivdbGzDMVYJzCpi70FjSwdOuesLYsHsQgj+JxGMLCykYWh7EFBg6X4
CdeFsPoWfO3Of4Wai7hj5Tsjx9tYff1v9sEQgmfE/kPGxJxUaYNNe3WXPhhjzy+xtLtjTQ2WyD+E
dUhIWvG3gHEL+BupcOsrBSKg3uc2kgsm1WvY7YfPiV54196p09Kwfx5eEbr9NH5GrcFJu0XV0eur
I4pT5PK525zLKwDGAxcIBmXH6KbFzuToB4gernCOJOqTXe6lnvKJORLk2vobwyX4bgblxo7gzyPy
Arf8WZ4UrDN+NnEY1OSPVXIpY0ByMdfgns37p5xbg/7C9KJT8aqiekBJBUPMJx5OdqLaBR05lf4A
4vKxfCSX6cXkh4T4TpEpcZNPJQZM+8qxLsaPdYftk/5LPOOaukw6ov8j+Ijpk02XomS3kpq+q15t
8HMoEWCp9MJ0S0Q8vGNccur+oIrQs8+qD9uwdnO/+wIDGQ7rNYepj13Vh7nYnYEUYC8Fw0genFQE
KMT9FDF688S6U197yCN+fssumMBntH3kRiOm39VvhDdHARUPVgkFhJY5WL6gM9m8wjf1CmnUclLH
CmEAwe4cnNa2ShfsALt5iFXI+uFMOPI/QPFxOJR2c8J8CAKsET6u+SuQd3Qicwehw47CpNVOil//
Mt6NsReqd+NVfnHZAQ6lg5+foivHrVu7saNesQG+pvgV76a/5Ed8QSVAJfE9/CFfQkK5OUwiHLyh
sXFTX3ZIOnTQbU0fVbYDkjy2YeVJfudNJ+CX7+xCiltASvKpehn4k+akPOGg6UYXMnquaZB6wFje
eGdx/2o/zbJjov58a74jca+xJf/Pk9Ku82V5Kr6xdkfxBpEf1ODddKDI0Xz8RW8PvycpSflIXthN
PBn+YuUjQtTe+6tKLipfVjylISjJ0a4DKHz2EMpvQiAcrWf9PIQT/8nvix+dqfppjNYU85c7IroL
L82vg/gpP0susWyH9Ialn6vYwzkOV9SA8Cyeso/m3AYn4cJejG6wEq7z/6qk5tycuzO7ZOAvC3em
8lDsos/oJXp5FXULQc9WJkf5Lfd5Q5i8NH/IK1iAKyUvt7jmQHiIaJsxTnHZGvpmZPYMdjLL+6zz
kgmjNEznwJMCZGRo902MZ6X99BV/0c5Wy/aYcLmlzCUCrWK9SC49qNl4o0DPyYVTpFxr+FJoFoOf
g8mViHwhelXiIwdWVlygO30ucDcQk2O9UCHkdUdmLTWmnuiPGEgiv8dCALiPap4/ixlcTA5aKeEN
phZcQy2EOlXcyjtEFWjd6tUETmIpVVgaLoT6vAIgISqaO2duAxQcc+aQY2h8xG+IKhixTtKhT56Y
CRtEA3BFk88hH2GpojI8cseVOAZVO3d9R84JX+OVdp/edbUOCaZExk57xuIGab0pv1oL7PgyXvGl
MDbJTKEcJ4pMHcTeSFroXOSB5t+jok5u3hYE6AkoOeca+YOSvXXSHtNlNAE5Bhtkxz5huehbYR5C
OXLKYID1sYv+oY2FbQu/6AQ31kcW6GNc4qNvD5ez/Cq+Pn6rp+mLu/S03Io3JgtErk3bXb97/Gko
t+NN6bOFqTHCA1vFMsMlXlerTv3x8Swe+vepf4rDDnevp+Q5OepP5SmHbNcJFbYDAHlm+lxNSuHL
0nTvh+FdySvdSVJmk2kj3OuYPK+Uw/ajv+OFxvnWPuch7CiOtNlmes45Jiq+CUUTruoKjzjsKfEC
5Wf9tQwn8erjdN44AlseevTMCJzTC08biHDNk83x3P9QJgNVdAeyJy6ojPCzML6LA8fDqxBdIJhl
FtKHXY+izTE/EKV6EOWe5neJzHE0ZymQ8d669O/R57I4SEE26xMIdisdbPB4ro8lQn/UtYs9fMPH
+Vz+zccBSH2HXKS+INzfrRK5qITi2qDTEMaSF4a/XKlk5cX1QYB+/4d/3lvj9+/JsdFk3GBMDGXG
D+K2mKPLO/blV7hpife0V91XdOoOaCFQaPrVXT1iiRUsTWQjizzLf2MgueQYfU9v5Ul8g9v9E6sm
Im6WUaGv9xREBBtEMqUnpBvLOgPPpLzkaMZbQ5Iw/BXVg9WSfZA8fsY6wQVHR3RY6Xl8jpqGkVqX
kwX6YhbCqdY7yY1T8Q2UKpde+uazMT+6imRIToB9JpHU7MBHndgwtF38DJxV4Hp7vFCgnlLbz62T
kp36U1o7BEPZAhiLRcpB2zCNc9agyYaLDTkOc9GDkbzgjc6gTUnh8l8Gzlms3pEAmTaT7RwKYkKq
256xC+tVDCd0PtqWQ4y9sukAoI1kQOJjWB6BFzHYlcSwpo5QcZkLIWvMjMoezMSWIqnPbOdeeG8A
OauqtPxMCjFjwk3V4iqROuurReuByldRbKuWoWrQPlSJgpQK6mokTYda096ogqbqijBqZHEYe8ot
deGG3I/zoRmuiOOIUewRF/+KmyXa/qbK+D4lbfm9wDajkltWfTpTtmEpgd7nigATBhEW4OQ83Yzi
k+lHu9xF5TlWn8vRm/m1VyRiol9tECL1tVOQGesA6aDQ0pGHZcdYD6Uapaz2xING0bJhCfVrmuNQ
eYd0UseegDaInsia7/N6BhaKqmu3nmiyNFxTtP2Y8aS8imOT5COsrlng28UPBsCku478nDqyeLOm
w1i6pFFAjx/zcz85ok7LtOsuK4Y41b6z3AXCxvrEKqltmsCRYFGOL878H8Q0kXKsdRc9ha4e8+Io
JAHi7jH1oRWCGCnGUQVPGk6MPgXEoaACWul2SCwb7g0nwl5zC5B1or3127xVbwkxZaodRzYmCIxp
9Y4p5yXWaAzHALBvYFkIHBecG7Ivyr6MG92gUsdeaIF0jA20E35gKOMOD2Kt8avfSB42kZVXVX6J
rWfR+jCpnJZDnkIP2WHCuwMxTcYPRXlTsvOAILWsjrSojHAp3y3BX1GmaedlCK35FIlHidCubVKP
YZbbqf7LcImJsJmQy99gbGIftYDqYTerH8Fb8XRUmQFqaEDAIfB9QdLGsRwU2pVh1r+hC5ruVKqH
8RE8FEjiHulxzXNnIkC8WMpH1lwFPZxLD8fZtnBKLATzU45Ajmh0LAQZ/P1gCZCh1HtL0eOxBEGd
jTtPNs+wQzuu441LK/ltlTsDX7wi5Rctu6bmrRkZO/ha/j2Pz0YKKHkd+rNJCRz/krJhDM/kxjAd
p8/OVR+36zEPReb7BPhRudIQLQRAHxv5LBSMJX2Fg/gc/0L83JplW41tEzwQcyxrvijCMa2fu/KS
Yz/SPRFuswV5gz3HGH39L+zMrswRWZ5ISXco3uv6EOEmyD524xn7sBC7rL4KZ+Ha4BhDwmAAnrrC
X2BAh9EQqB/J8aha3/oTcK5xUi8Fcjvzr4vR5r7K1UnAKQhyW+HhiGuUeB94ORkr0lETwaDtiWwb
bKcOael3Cww8t9NCWn1Nxpqio3IhMOcYnzviS/LtxELrzzFGk0ZNV+0bt6kvvB6y+0YjhC7bm8TJ
h/rqqqvbns1xi0VbuAJcTOHs9pT8SVcxP2XpeShfhzQw+xcd/zOWa3XgcZO5Y87HSL89Xh6jA4HH
PDfIlrbANmx2t+A/ghYKNwJecuaT8MGumcbXvvyic2ixOcN3agte3fUnZudnTBUaVOtzSGT7v7ze
kWxU65jcwFglb4lFk9eX+ss0A8yDzPcpKO64y5wXTmJOrHf9VDmYBu5o7na4NZxJk0v0/y2lARp/
l/v80tGpVrZB6sO+9mZOVxyUY3ekfKNxZe8qDjI2A1AXq7bJMXLMjJ0arkwOD3S3ZTutcK6W/FR0
euWqJM50C9FYOHqgNN53zwssIkgkQKvc8eW0a3zNnnmznL0Uhk+w5g4KnSuFL4Rf7HexXpevopAA
ElpTZq+T8vs46Y0gOFKFr6YinntOY4L1OgdQ4IFcQXma2/e1vg0QVAW6STp1wgwxOoIZsvolGIL2
k8o3JD8NHdcO6A9gqKWXhR+MQI8Aa3yp94wrIfNQOQI+baYIyX58bwlJkvdyRFnItgSFmjZOOqUu
8PADZqjqFipKJfg3DtZbRXoqmrNlefC2QR+puwUif9nk2Hp6mI+qFb5lBxV/GEDy1kOMx/C18CFF
LP9wHYTYAGXBkK7Sglxp0+2ZX5vnwGWlL4Ob6GK7p1LBH7hYQ1nDX92tsCuKNtkAkINN2ZcB7UFx
o2LEoNuXNsdYjUK4iDE9OEQ3RUYCSkXT/iyjDbAt+GAPkeoysIJLy7/5Paieqdm7L72w1QMTxrNx
H9/51Rl5lfhkEqkLwRmK7dH4VT6gjeEbuyOse1L30ktyy+/ZSQlInoWazfFOH0Wjixx2hxK9nG5i
DaHowuneGQTnnGm229lLsHrAwgV/meskOcwsVOijUdjAw7Zs6ar8L3Cn/arBJ6GY7+L3lLAwNdTN
XQShiN4I5OUT/tEUrC/yd36X2UVecyEeU+CEIz91iwVVv7kFT/O5uj6ehH8ssybIaeeR67Esep8N
zyesENJm16rgJe1JHrZklzxmowKNwhvSnuP78paXcOz3AxfSGwU5F4ifM956qt407KMBZqsDv+02
x8PXbmSYuOnujQlG3Z9CPjfdKV+u2q5xX4aPiY9htAeQVf8v72FoclMKWcgPET7ayYFyXh6w+acp
6nf37JO2QAiwbFa/+78tj/gTBaODnPHOJa+8jrf5i8p+ISr0HymgT3ifSqbNdq7QCmMzBAbAzwJX
gkHidn0oxHgE4anqlEiZMXzM7Wl0+erlJ59/6/+IKeIQ4rdM3yKsiYhcgPLaBOnq035OBjP148Kk
msojQ08NlsK/6vfyR7uLt/KHGhPobWtv/6EXBPSmUukOWpB4HZO+7ZOTKUiGzbIge+FRTQgQcNiz
bOGXDQYRSCLVdg9NloOEAhaSOf07bdC2uDCKwOsArlRkGwbmjKDFvB1fb/DydTLKGf6EJua3CJPj
dMtfpZ8MrfqNhQ2BXdMgPTixgRXJztrVzyBmOl7P2PtQf0EDZASyY8HjAZrVkBB/qS6pW/lCDKBp
lpl+2zgvk7JMGPOWpzyeEO/gKPTdmC6FFdUaaBWDAo5fEYkXR+tvA4THXWPik0tRg+fgs4lAnubU
S9807OBgil7kGpD+jL5aGRyJdUWkIl8GZtOP+NnGT2xNHqN5il/l83rlUxy0WM4SPM6Pp+SpByhc
3NomKBL+NglGpA3gmYXh4z5vbZzOUJY8nspD+WfBBthpL2piGwk9/Jnbs9Y2w8yEGxHOJ2ZNdCs/
QJk63Ldt7OYsXHv4UrZeaxJmuYu+t3WEvSZ1KPwRxK8J9LSD0l+k7DzPnnCd7lmIuRGua9X7ILio
3I1/hKm2WHX+sRVZaJWwn0+cGcUSopDgZkiaK9J/SyYa1k+x/yBEkhXDuh2mcE7+KNc7n/G7kkI7
dSbDzcH2BBQTJ45Atf6RNz+5Hdo8QADlJ2lvq1vHqFqEK4PvjRCN6zAaZW7ixitVRi1IfG5DFAIJ
RL3L/EommI54M9NrDBBlhNc4LbkQtyymjSWWontii+HYW/+SyqPtw1tnZ75VTBahIPQP71GVNlk/
xL/RLq8EtrSoMqEEBRrmB9BNuHkfeGlhVRwKIDKEfeW/ZCGRckwMCEtYBQYp/EX2R+M1xaKdPYVX
1+DmSlAMf1JH4Qxc6pG9MjJAj/hZnsTiEe3mgwb/JwHx42JTd2DSehk002ubUx7sddONYb+qQU9A
NccYTq6jww5/ECeF5ckHSIMOMytFlQsZ5hhVB/4XPjvm3pLpLhwZ9+MpaNW3LvnQo/0/6J0q+hPL
pfyMzOdqfTKjcME1P/NUmEqDW+mHWD8sHUF3oZGFTXFS9VNeBeAMvPZZ5pkGVb+PRvcRB9GA9G9H
oneDu9sr/sfwKYXsQOKVUdqYIeDijqctjqkQpRiVgC2IEg4ztAP4QtgVMiHCKRt2KhEGR8pUClEr
35Wv1cf6sv7/MJi6YMy2YKkibFfUjN8Ct3WCSwXYNVQXZvpbMHsuUO5BXz7K4jGznG2N4iEOfQiT
xhHHkf1qnI0/ovZoNvLqYAw+xO2Gurx4spRzVLc7u2TJP041TW1/mcgQyMPIREHpGzivwOCunViB
bObS/8EuoX3GgQH68AwQdUOv1DZIDcEAbNjtMrw6ChEsUHTbAhjod1TyQEK/qPAYDnSGm0YhAlVW
S7pCgfUfXrIcEpiv86Env5pWD1uKLZDSVnE8y51I8fvRtwToP0E2nlD+SumPyZUTFcyS0R07vD7g
AbOyk8pFj9uoHouEC4YPYlQzjQwsd5wPU+8Recs8qoodk+kDrSeOExjCVD5YNwOntUX0FTDK4PzE
m4XKcpAx2oFg9KYLNtZ+0uo9Vi+yXKN6kmE8sUFw0hBAnuzZcgYcgvMznR2cL/heKk7tGMELIeuc
Zy/O0CiwnbmRHynDPc3CGnFBBf0cKtylFTxCDSv0AZJN4TemL0L8JLV0JHwyLS6WK7TxiDUCODuV
imTioNCIDmeDLhFmON6dVFZY/Rce+DkjdjbgVn/ghf1/O0b9ozMWwitBpk3xmN0+OOh5YpmXji6b
vT1RikjLoasPdNY0vQ+YMHnI89eB9ZIEIf1Nw6BcPxX6pV5uWFOTed6Zu6kGOTj2GDlWfqfRIx1T
8/kxYtl9jKlstprCSdlitMpreazTa2W63LgN8ivs7QTWfHWSFx/EbEwY9hx6zCzKl4LQjTTMIHLE
h5UQiN7uOELM59x6zmSW6q0a6M/fGoETPhRxBoxwX+nDxTgI+lVYyEjYk/sjV4f8cWpRXTIkMDCf
vRa0ninmXpufNG66Ng/RunKNJ5qdPc7l8qxg3Thm/xpB/I3YAn0MO2YAjptFVgMPgn0JfGbdJkwi
FtRvsjuV77J+UmOc/8yjNt9E/BASLnNHFO0VkuJPjgDeWVPQTzMbbnIFddNUyaPVnYxd8vDhNDGq
V8H7QSTx2Zd8/X9MChrBNNnl4qK1hXegQt9YHCt2ljJkIhpJByE7Ar9QJi3uUoUogB7DQUEvRBnc
ORlYju63eOZ3ZEBAkkLuQBK8x+qCnMTjZ/osI1E2/AxkvuAJ4LAHUn3EImdNnIQsc3gb9D2mjdog
r/6h/xjK0Mohn+whS4C6JwOu3vLdEonycwjsFFJHxv4HMSgmP7FT/VNQ/uEuxPRU3f6uuGkDqXoc
pm5G6f5WJMjQqJVMarqw1K66Ci9lb6Dlf3BUBYpJOAL4TktXfJ6rU0zgR5uGJqi3VJ3I9eo/eMfq
42RgeuJU+ARmTh37FFag0LyoOgOG8Rhv4spK6WIrH0bAACY5NW9MQP3+hcOhYJzrjC8iDeY8g5ns
qMEZP8AcmWYcoVdEZBUszrlDxdfXau+ta/yptPGh9AALCUPkB0LWp2qKzpNfXO4F3C7Glpwt654K
HbS0eZZd0x3Paji/zNCJOONekpjeMw4G5mSktdCQAI/JyUeXut0315VFQMpyFGyoFNZzXJweKDVx
+rBH/VpABGKC+ImHBz3EW/+pQtPeEXo7OEBgeOn+9AwUwOo/ZzyDDnwLS99hPuXSemCjXPsy3nHs
Kuw5XESGmJSKI/xLV6Ud4QNU4iAAcXeoyj2uMxMT2038wp1T9YdtdCBcFxYHhDW4J+ZqS49Dgxa2
tQ0U9CKyOMwkrmvvTi1T2h2/JR1B1vzfSxAbw2N7nKka6hQVom39PUq7xeIq95XW7cFEJqiML9Hg
WLwYHhzhUsNhi1PN8c4rBao36stqQVbbqucV9nME+cL60wnk2hVLc1hXNdTGKsSz4NjFwk+U9fA7
OkeTDDeqxl8IuHWg6ulnmlmvv6nCsXCRVRIhX4bx1RpOVAFo8wlYYm5rYgqCL3XFgDu9rOQbILQZ
pbDB3cDYaGl0eUWKtIqCjrh5kjMOMnk2WNNUPneZrEGD/Fqz32aFAuYZdGLavVXj/Tw/lzkl61nl
OMn37Xmhhhc9WT4bLXHoV0KeyFPiO2NKTl0pEU1CltzKzIMD2dXxM+ANFS8WVP0GIv8xNuivsA4H
7qImSHYbUAMBT7WtIYCNKEpf+JGMEdaP/VUYAgXkotgt9LhKwC+McEEag5K5RkJ5CspBUBR0VQ/f
diiozBjyfSWArLipHuQawNNJw+cLHoHAjt7aCAq/jQSKinSzHAhU0yWDefIH4yAuv1HlNzEa/dvD
OspY93Reyxw19cf0wNGY4PTUHhi5TqDMlwnLFiRzPK55i48AyCFyBTkhRki+nBAb0h/66izWzyYw
fvm6WAepDVE0VLGP9rTBr/i4/rWKOzAJlQXbSE/ptGHH7fy8ivIRBxKiafGkpyyg1nHq9Nylz1Nz
N8fXFD92GFKP6gj2JRdBr14n3E8F/QhfQ0h/GpXsKJDTo4KJLXos8al7PD/K7xSqHFBqQGldM0CH
RWPdmv6tx85juo7EJ6yHut1rjC+jcx69iICsiCMQ+P9UrTMNb6acPuXmdJLa/m0W8EFsYyBqmscE
IXnGw/99iHViA75hdEJihOIXhNwIUoiKi2NNwNV1PzAemu0iwsBOc4gzn73uzq1L7t9qPSXF14wh
BrpwmreeFDy+Llk1hKusR1FF5hoUjS+ur8x4xvmU4PwEn6cI1S26DpCWSZ6xy+/pO1WSnDi65nCS
5B3Ej832HkcDIJdLlml0dphGr6WGbdY9zotXndysh3iv13nCYL74EFKosI1q+oqFfYz2QP5OK9iV
b3GRUDVGLQeCIlAdJnDHqpbcAZWWRlBhiLQMHllLxXttHlHBZTWQI6fp7C7Nu6gvTNL9xyu91w8s
z2W4WvFh9tpz+lsJEF2ckW4Kv8LQgEGjUVlDvmjJQDm0+FOKubrLIM/N9e8w3xvsJOHCEon2cCwo
CAhSMWjvYmeTSBGVYIRJ4Ysa0SkfFsT3Lc7OWBe7x0eGcTkMOi5YyUUTAsUXpnBJxhMlgOBDyiJq
Rn7O8jfkhBT4GHPrxUWDGspky1/nl0Z9FWuBTe8b2B+NTyUEh7zevFsPAnAzVDPYSf2rhh1Lmdor
BuDs8lh/SqNL1TwT021Ihyo/PtKTiZEGyfBt5RH5ZTHt4+qHzYsKW+CbgisLnjE79UqcXCA/y6mX
Rk9CETRc4NOP2m1x70iu6VzH39m4pdSnGhFB61OrfTb0r/Nh81iId/oxD/TtEdRYzSwYm+DzR9P9
2PIn6v+oO7Pl2JHsyv5KWT43UnA4AIfLlPVAMuaBEZzJFxhHzPOMr+8VWVVqZUpWkh7bLO1a3SKD
N4IA3I+fs/fad2N8SBiX7Zv9mCFTWifWD30cByirD5J+N2Iv4AFkiJ3unelqgprLG4tWQMq5q/IO
YSDBfYQq1ovSPU7DqYWJk+4cBFeL9MeTiwC5Kgf+xHgDEBg9xzRI4UBnoOeZlVKExIuqIpWJ00EX
ncL2SJCHrneOvLULJEdyeuhb817IwV1VEc/YJEhVieYnt2NK2G61l91WMIYpHmFy00Mg9w3NMpq0
ep3DGH2ND2eaP7SdLpS85EiXZr5nWhVZ18pl0rloNKx6JGt4+NZZdlt6z+0FyLPq6m2qwdwtzOhG
aKhZZELSLOK8sGVrnVJAEVdMbhpIGS7SzSt5drbDZrqfUJOlq8Bftm/NV/AF73gAdRfS0NjjZPQ7
mrZMFejMvKWALLy1xrtbrAw4VtcDR5ctK+HNdbCUr+OJpldJtzpiAHSo4oe+Z6F8b4MtI9WI8jXf
RPdM18hwY9jCgROfcb6P5JqNUPTniBup48R3NaIURG+sgWtf5yVBY0cWIiRZVLg0HSN67PSWSsqw
G1kcMGTlqP8+6aayAqlLLg/NtiWnJReQw1dVLwIMPsgnYXdh+CXdWh7jccvUFPs73fcMOyXsjfZe
Q+NyVxa7wYzK7uzioXHFKmrnp8kmPmGAXWKRYpzg0w+cEkiJRn81tIDnLI/znTunV5M1MK1KIZx7
df4oKsp5Ybbw1xDd08ekmXsY5wUjJBo3xauerz0MEONNPK2dal+UHKfJocF+sTP1ym3W/N6n+xa9
oCY/aTWl+/egunVwVU27ChdfitB1QYBLRCO8POl8NTAjRYrEnoe0jV0wxNBHb+RVJi9pexys+9al
0rkEMHT2DU8ZT4ZL677kzHNoAQdxTzsEjCPuxV1ynj8ab0G8TnZIxjNrDMZuIm9AVjbMGOfLg4BG
Tdi7yIMOQJtrm1iU5deyvCQttvjvAH1A4ETlmGw9NB0epirayNi9r1lqtiPCGLV2ilNg7T0Su030
xsy8r3kZ+Qp5fiJIMpdEDWzn5iTDh6zZJuRSQfi5HbMVwY4GIxuXNW0lrE1JpT0ffA8e2bbH3eGg
6F8U1iUFhvXZeTSQefF7zkFzcqK8jOIMuZYoSBWtT/i5yosREdqYaCSWbXGdiVM1L8PqyKwT4BD4
zngTJQz274ts2X0ppHw49XrK6RuB3NY/tHD4/KO8xIxv/HHnhdAyMIJcs+oqDqHx3m+oHA+mvyXt
0TG3BcgLoFD9oWI3yTEiHIkQIlUNHlKptrODO54rd6PJGuheST01P0MYUw3c/22paBzSKFhaDIuy
ZY6BnsEQNw+6EIQnYl2XuxJQ7LxkGpedNJJjOvnNWrKTcT9zjwi5LBLn1W05ePQRaOzev9BoPb0N
BB7t0feiRRPyI8fHsGIMe4U9fKB7OZGyvnamVf8moFGSd54uyFhc4B9nPsyggt2dAg9cJTURtEdj
WrWkN6LFQeYBryhCHXpNt5W4IMjujQazCTKJJc+aUpjiHQ9ydvJSR6yqgMFI3GMx7I3mmAcmMisF
Ymi+gENtEXzqCgRt6ONcczghuRbu6ZpfaVwOxXVX+1x3KI9zY/6oYlrGqUYo2Ls/MjHybT3aKMVw
qxTEYC/r8tha5TOETHwRjYORkIInaqcGsG3zXQ79zAQN2HXST8YyslqoTM2utmiF+vR8mPtuXYeU
jKcCca7LMoX8vMVegLSZT2wJvCY8eYW7l6AWmJtx77kzXu3SXGiy+SaUEKXN/QWfv6joHhmz2R4G
DJdzg7ugzYyEw7fYh9k8nKLJwyTX7nRPfnJqfnvkLUEDi6I7qqaY7GbLeUrkKSve6vaRcZOH2e2h
IAjBCQ95/dlZT/bAvLE6VP5BTQuyPwj6JK0UAInjPiTy3tBgsmllmztFGktzI2hVspi3dwYnIqt8
Nd27YbgvsD1S/Q3dZtB3ZfnEc2K53J2rZG8Hd5ag4XcxTnSYdHCqxx9xBHqYR2wytlx7271zcwZk
/rtdMKfchPLBhivXSJqa68F71M5unDckUbU59NIncnWtDsLEzqZJMSoj2jEg4RAScsCohpe4XHlk
qfyUMenn1z5VnRYPstn3OLDyL/btEE1SgMHZ1wta0PQwruvAQVFnbVk90Tp9jyRYRV7w0ZZa8wMG
fAK+/W6XTEf8DKC8B8WRM+ZA2z6rgfp1HF6DzGpo/n1w7CUIC16NFXwNBtjFSV6Mo5xHIzIp3ISX
x2GMlo9SKdEIpy0TDgkJDIZResyJOYBa4U7Nb0UGZB9BIpHGND7cN1CaU722FIV0MmvnZhruR9IW
SEnWUUlDxf1wAtahMkWVEmoSIC2c/h+NfqRomY+9+VCioTD9n4g6XwxfVrwIs40Mn4f4ZOonQaRr
Q2RZeOIap82doU9OjVHkWNb3LPDkiRXhtgHkg8Sxq7oLeZ1jrltx9Nh6ij2139Uo9wIGdt6rQfUD
fscalnHlcXBwyArT5PNFFiKOXQ/9peW2pwL81rnBv2vCCDIu7gkmpAoyy9EsHulZtxM16TlGzzKc
awsytEleowuSi3lT2Z4yfEPjWw0rg+W/x40BvuhlwPPLrzAKICUN5yZeJfIYhZ+hf/LYW0TxVRn4
OY6GXLI9R+FX5Bwlktqh4NsfuvqNuNzS/LAumS+ScbgBWxMhhOt99JTwE27rZY7UODcfKqZUWftK
H6MqH5xqaQ1cwrkFqLdInFMuH02e3Cj8wU1VeFl9xZA+KvLnULTduvYYCIYhg3AD8Io/PfuOcQia
Efhqc/s6/7TVUxmjJmJBLXE9ONZrpah1wB0Zn5gNmHH65EXUO8N9mBTN/hu4bS4Ux9B8zIR7GuuE
5fXQvA7TsS+Pc/nNuUjyGABIoDnDrDvMVt2wakt2wmUcPwz9QzX3GCZ+0pyQkniX1zsLdaBu3nV2
zIEN2IeBuqDOiIBXVz4DSVzVJfHQrKfxoXW2InqwTkl+V8p23fFzL/nx/fwBj1K73ZUj3t3uVsKt
UWgcXkLrXVvrZNjmzb4D5lfvgCuEiKUYW3Ri5/H6tBqJIGmZyEDsS+erUr1m6Ikgctow6QdmFo9+
Ej2SyDga0b1LvqzzkCV3oziI7L6x6D6/R/5jgsKsDV5yxn0gwdqHkOuAOmV+y48BesB4TYD2fEwe
SnzHA/+gvUeAdGFrZ3h46o3Yiu6Rx4HfmwVcGWrOFLzDj1LdXS23Y3SPsKMsCWK9zo9M31zvsYe4
hOA4K6kfaKUuLzAnfZclH5RcaHYpXloWzzi5T4vPxI9CiMHpVuUDiWgGlGHJk8y0l6kz9yNcR0+c
wvx+Focs2HGWzoDAScYj6aUrxwho8q3rlufRb3aGc+ootFhLR+NelLsU8fbIrA2NKVbH8hAim3bL
gx092gN1yJVwtg6JX6jq5TrNN170QcSpne3JZncuaNvNeM2RJ81W1lc0HNLmOXduc+zxDqPwZmfC
x57B/rxMAkFNZzHx73poAD6wOuIv5E+Jsr2D0cglsuSd8R0EC+zV5u7KhQQYew+Kiz0M22CA0Dmh
m2ErzV+z+M2FjJ3QXGb4s485qffPk7yz8qVT7RyUbs7J6vAyxysjuvWseyfHWVctm+x1nDYthU/b
PUrvOe3eXXOZRMCmH9nooqbaCEIgSp+mUV/fZd6qSIeLJ7dECCpC89oDoFn5C21R9JihR+IG8oto
Ykqb0+BqcgghXi7uQ6nvEgESzjS4Qlaut0aE6Kw3K4Svr6IeWcRyDGNWuwkwYlGhYruMzPaldZdD
sKOAl+Bzs/skek/leRzfrXSf4A9THJ0H8KZQYTLrxGFRTG/FBDp56byxbtXFZxcx5wcuDLHM3pvl
plUn1z0YtUMf9cxegtQiXOv6MUHkJFh2fPMurh97vAV2+lCHAM9uZLoO7H1KPb4PGmaU6CHyG+4F
moB1eV1bDwwCC/lpG+cpPNUflVoGzIHg5DPQWxGIWDg3UElaF8rdi5jRq9sCn/Kznj5EdZ/UYLiG
T0e9JgMimCVtwk6vc+sQtQ+2f2k0FPFdGxxmd1cCmjNXLhM2JvXsluWTAkHoZM+2v8n6naz2HSD7
8ntI36b5qKqnpIHO+5HnWzWvqLtUSn8DygLAGxiFPx3z6S6lLYa8gSNxx8zHXXfYA8Ml+ZFKHWPG
6d54YoUjhw3lr/wJsn3HM52w7qCzR87DXLMMrmPeRoFEgtqRgxjB4fsWeTm6bmtr2QuCF31/Deyf
3Nfk4ovlpOxXb451S7ihB5PePZXyHVGjzrc8+ir/DqHw+ac2Qy+xrqI3H/xMGvO/9vOq8rfhR1KS
lmiZ1EVNtLCNg1VTghEOHr739WejKLHUS5/dZPUhsveOf+/bX232o3DLx8+m9xgj1a0psS+svU1A
r5o0rmzr5C6EgbMP6RyXMJ0IA+FGt+cz0H4ymn2BdzTFS1DNqJVpyw+Zta4L7S47Fzyn0UeIMK39
77fykDF8S6lmAjS+qj5xbAnNwzh2V6mDxsP176Dtp+WODnHDocLYCvLs6JW5yF6MmlBh/5UZ9lw/
DsVh8FdtBUMdsQhBSBQ4xIeAzpj3SXJr3OTZh7DvzeyMwjRm9ySERHORQWX/DCBrwjPNZq+poFue
3P1osQht0/jcN1DonQ+2kKg6POuGvk8XcqL3LJ86Ca45g71pi1zV8tbNnt0XXaZHGe/UNCWMn44Y
zqHceOWrhVWPGIeFTi4GoLVf3Irx0QWv2DQrOb7W84rpauM8NsYDnfOCwpZVor4R061j4DMIe2bU
ZxPvrvwO7Gu+OIijiSIvv+HDVMHOBCUM57anGw8CBXH+ohqAhJ3qgRQxLJGEvNBMqUkIZJX4/Zg8
Fk/pDGbqpYDhWJyyjdW8sNZd6Xmt9FGhGwrQxIvjXC25jd3hPnA+e6xkg0da5vXo3kTD1panQh5D
JqEI3uIO6rYJ9+3ari6xowauTuOUps+kCXooWfxTAMQuVjd9gQx2i940N05dhGoABIjcDtkyFmvO
iPqdN1m7BhyNHfpR04MXHl5dVnAnfnW7/tTEapvcMthuIUjgf0YXTMtuOBbhEciojrEd3+EBLJOn
vmQDdo4p/rpo7ukjv5bd7XSZCjFXajeZSRop9MhNHqB0g+CK1XrBrZbWULOvzfzBrhbueLL9MzVS
Ll8sRmPusYcV8cO14ReaWttenmO6gt/z9DrXPGYdlWZ+sLDVYf8Jt0HCUHOfsZaRipI4b2Vyqjwk
ItA/qLqj7Thv45kG8HkyP3uCD9ZTRcom0sVLD83S61Rdt+ds3k+I7Yk1wmTfXttkR3HS5b0mJZZd
sEp7bnx6OD2eJAKm5sXYM8W4Sqs7K6OEfKqrzsKs8ULrRaAB5SIM7xx1Q/nKCJAGp0dDrbrmIxnO
klcX6m7CV/HS2HBNVjN5TBGxCIsr0LtRSyIYM3F4I7/85V/++m+f478G38WpSKegyP+Sdxmtk7xt
fvvFtn75S/m3/3vz9dsvjutYytbSdpVtm7awleTrn+93UR7w3eL/eKr15FhPJLcly9KDGHA9/WA7
8VBOpYThkDcIsm8JliTJ8csL6G31BPP2ir6/IDDZRqlwYgw1h2vbuW1Ic8hfymnV/M7qMKPbHuW7
eS1z2JH/zTu3nD+8c0940jQ9C9C5abvatpT7x3fuD86QKJ+RfxJWFYS9S3i40521c8Gk9AaTB7Ql
fhiAk+udvW+AdLNmIV9MIioKWfsfg5bMGoaZg3+tDdRIiuGV2d4pPmAX17d94qlT69qI88DP33gy
0Kum92//+RWw1B8/B792l9OGsB0pTEe5rvenz+GRgFJmRCfVIaZuswTqFdlIYaww60+DwkcUNCgK
rLSwzxUNf7MeTp3MmoO2lHGsPF9T55UfVTIax9BbOkwh9qkb3ceeN211E1CoSrPCcNIPyD702hOD
ca/c3D+KKWcgELbqv7k0jv7PH8nSWlrSUo6rpGv/8SMN9JX8wtWwrl0UN5107+rM7dEG29Eu8FPz
2Qzs1SDH7r5qyBfLg24+emFzLqc6/Y6GCj6BQguaJcfQvJKjsG//3x95kkLpjeLHSqX3btrq/e9/
zJ1w9+Fd3oB/TEe7v/VBMd007RBQYRBzVxUlHUKF0r3vAYQOWYT3pxmbdVE2ZHBm7ak2EYfbmNtu
5qIDCdHGmPgU0zbHmNKnUnH/9DbqJtpn1KNduYvlRekuaB+nYTASOsNfVV6Y9PLSre5T5jEZJPcM
Q8zvf0sdss9+v3n+5Q/Pb/P78/xZ8OmjIGz/9Ne/PhQZ//3b5TX//j1/fMVfD9FnXTTFT/tPv2v1
XRzfs+/mz9/0h5/Mv/73d3fz3r7/4S+LvKVNdu6+6+nuu+nS9h/r0OU7/6df/Mv37z/lYSq/f/uF
oMW8vfy0gNPzL3//0mXdEtxx/77MXX783792ef+//XJVtM3wnr//+RXf70372y+W/pUn2fO0tqSp
HWWy5IEH4CtC/6q1Nh3tKiUs27T4Sl7UbfjbL4ZQvypPCMVK4wnTdDyWm6bofv+a5f6qTWWamhcp
x/F4Hv7x0f++BP/tmv3XS7LSlyf+P67JytGaBcFypCsc3uWfHx+vDcy6zUhyTmW1Cat2eHbTGq04
eENQcDVbsCEy/AQN6hVtB3A7zJ5GeGARkcSZa52NM3yvuIwnDBETUbx5zNzHq8v7Wgi9tbS4G3zr
J21bJvMVJSLth/HZrnsMZi4PxDlNKYtE0whaKJMfbAOzTaiZlE8fpnSi8kKqRDjI6gJNpeoLDhyD
P/4E4Zyh1zD0vUw61NpdW83PQZRDbWmKkONaUIGu8mJOViTSjvlLn1czJ9Wk614zgz6XrHxKhswd
Gf6G/bQ0Uh1el4p0NYuz3HkY4MN6DaNP0zYJSM2stNsPUSJQqoYxSqTewbAVmvH0rGJ+f/RMKuB+
04gaCB+GcXC87HuOsNT6XhWtbCcqPs2w8Jl8BhdHTFZEGR0iWpXcIWlHSKeHc0K1Q/9YjSZmgG6s
s23s+xjRPN6UG/VYe2YHa4LQXJVQd8zDPPvdK10MEW43vQ19DCSZeVECgWC0onMpDMm7Gy/GeQk4
wy3T2rquK4OKuzVdXAzpwGXoIyHvCm8EUzxxzzK5N1TNMja6OfYdwREU8Tp8ldRwjZd0rlC+Kl1g
LMtt1BhBAgcLrMLSncv2LfEzvLqdNTNr9kvrrgmGCzhHxAIAnz3vRdoS4hboQsjj2Pn+lxnH6jaf
+c3AXEL6wAtMGmB+gCbRmtBjlrNEXFRWbrrxI0YodhqYN56r+w+yr2B5VX6pl2GJF4pV7XIsmS9D
oaDfz7JpHjO7RnFHnyzYSbNwQQBMAH3FOD8qo9VPY+IRdYyzKs0zhjxjxadvQZiagxdtRQ5DUvhJ
t2pqw0xvSgU7WgIbFzD5Z4M4bN361mZI1bewFEe8IEgbgpvs8auXCXT/OR9vvcaomEvBduom+G2e
jZMr9hBcxMlUooMJH5Wsca0M5rqOmnZRyvC1tFGoW50Vskt1OScJtM1+jbgxGCRXvqmtVZtawcGn
V/gw2Ijq7QLAOAcn3LKYepM0e+/yrn1QQuCb0P5PXsuaSDUiUqZQY+QLpurLLIvwJWsr574PHaRz
kyvTh3xCYGtQPzzEhUkjwZQxz62VEM0sRuRqFlWbmJg6lvP8ojwH7UPv3M2TEX6lmVPCE4OaOA/O
2oo0W1ypmaCF1HKcYWIMn/GAcGWu5aE3/ZPTTvXJbEdmV6XNeUPS+ur7+SAn0ZzbyVCHuGRWpWSf
f6YIoRDbtNW9Lwx921U1wzmV54DEyEU2RFlvnNiacKroaTqzcIoNIsUecbok0k3k8cFmMekOaa9b
NEtJxqJORFpPNlM0jWCdCvmcxOO5HFGlBW71ILSLtLHrwmedpuNzWhmexXy7kHsZSByikZTI5FKg
qvFQHotMYNimLEquRUNKUCFoA9lYL6aqoO/apbz7ym6Dq8uNhC4mGvRMBHtjMFcOQ/Jg+9oGhFjN
c/aUl/hyhjxAduZ5TVttnLRqCGkTCYx0KTOHxGXWteFRKFWtMeEOy3JOZ5LehkjeWJUEANnP/pua
K9Zcv+9BtPBvDIiBR8GkRITMsLmXXYSxSa8YqTgBz6glG5rJs5KgP8bUBPAxCjFmt6KPzVc1opAQ
lItDUsDV01ep8K9qMz4IKhaWYR4eZmHRuUhRTaOauQld1qhypKtpdz3TWCxAkzU6sJbK6b0qM+Q2
HTberAQHEPbtqe+wRuX9DJjL6JhUMcoK2a9PWTrsChXrYy673qGh1l0I6ZemYa+np4x5GTKE7OxH
xPFEWXOOi/BcGzH8IxSra8dMAcWmTvhlWPY8b6NkEGdRY/IKjYTejc+RI3BtprVBaq9dRW6D2cdf
mo5rZzb6kHgRuJNZVikukxCFJhEVz1ETEpUwt6zRrWtixsprz+HMBHhW0874GutB3eogtM9OG7v4
IxlxtlUm2Wbi7CkxAgTzXY2yXEo8rlkHYQQ0293MPGVh5+l7hl6jc9NqPQUOnJnWnZrjFBE5PCjm
FqOM85NXm9nzwBaCZj2xb4qAiL+KZ3zruXXMQNVmGjqZFgZ9XaFlb31AK1QT3CgDuaNeJd5Mn8ck
tPF0uYCNOidyp6Xrsz4bUfXYiNLa2yMgtKRNlxCOiXHp628n1+ndoEjcHLNyo0wVbuupWqkpYKLe
GcbenHueuNaYj1PoW6tgMjxJhds8GbkfgzppjNs8VuWP5fvVh4rhstiFVRCfYw0vGqqie5VJv1uP
rp6dm6yDyR9Xo9p0k406oy6RJlZB+JzMKfmaoqJ9IAbhc4RO3sPKkxvHiFHRsRymuMpMQGaFeTkS
ZBOewNafZrlIEgc1cakKhjlGXzUO5iDmIraykaYnA4KYuM8O/HZ5XGd7cm7dND3VbtWYN4ndBUen
cLFseymSrETOiP3mrLffvHREu2U6BXBwpT9mM9UF3WKX+X7rTHfdUM2wg7yZFPE0D26L1OyuhfZJ
og5CRsFeP3dEa5KWMV/11jy/szZIejRwG6ssCxFShBUO1Dgv5HkSqtt1k/OdcnufCmv2bv04qQ/+
ZZQVEiJwDFyCUXU+FOiDp8tBdDTH6DVh6Vy5dhwwB+gwVmZGlu37BJ19nI6I8EPkp5MF65HV1dtP
oSrj28m+oMS9slp6bqK2AwvrVVRTTrW1L56qFPdkTBOhrHNz43pT8ybZRhBDEfeTy2K8Vg7JmyMP
5SL0vIMv2gZMx/gxDp3AVD2O+SloWxP4WFgjYRSjh+2lbLE9JIbhDqRx1c244nEsjvVEL7cTwgCM
L8bJBGvYFLmCgjkWs/gaWUjXho7C8SBaYbo3WUGWkh1lAxFZKbpwm1rqMfTMDhlXm4v3XlfhUyp9
RlVGOmLmVSyPiqY+kOZMBUH9JY3ERTWcGG2KdwX15iKf7FhuzS5DaVSwISPJkwLLQ2UFqIGNKL84
h6OCMfDk2eDy5r41sboOub7oithMaItHbqWf87Hymrs0rFHghuw2xt3YxDWIYIHip8FtYDGgL2oX
9f0YsEFs5y4qrZdkLAWCR9eLQJg4vqKNHubN2ziWcF9VlkU1drw4CDd2NstkNU9Rl7Gtzew5tKYa
hIj2VCGLrGY3Ju3PFV55M6LhNgHUOM4HNS59JMvAaOC6U9/fV33mW0e3i4EDthNXJRdc+00+dcxY
NWEIsMTMpu7f867IAUL5jGnOYaYzCMghg9oNuzy6nD5K6e9PHGS3SZ+UIH38KVrIGrG+GxEgL+Mi
+uZcj4JEsbRcwsTyebiRYwshvnSddmnxhsHC6TERDOfdGUetXY/PY2RjdCFYaSBQxUxqgxFG5pOh
1rcsKZRI9gh2cX7PjUiRnu2l9MTr4pJUkXZOknwYVd09zkg4vaewc8Z11NrdixmUHB4Y4EOIMgbM
Knbg5Hif/cLAGuELibChvazCXd2iLIyS2EmodKL0fYqdgtZmP4lTmcyJ9TL1Zb3N5DB+eV6t36hX
kvFds6Zxa/du6vgxGuFQUSuUWVQwsx4bVQXCg6gZGEhPsybMUrEwPKbtHR7wbAhHnryRvPGoKz86
GaO/LLxWblQcoGWtZIt9fDCEfxddBp8h5fuwCEzpEsbhoiihTiAsoS2te1kRC1I2sCuNFABDFspt
mhXjoqfEga3EgWLTXA4Vhj1DmfQLrEf24IoHEHpwPTPjIS/bBmJDhpmkVOMzFRCGHj9msjTJ8cec
NatJW5fWbZpd5OStytZwx++iuunwyqeD/+VHftkjBmjdR107NvETfXBXzP2ASC4iqCIK9lMl8iVC
G7gIQlxi67vgowLynMW+u7EM+1DWI2yJEW1mM9XOQz+SCmgq8a4io/uqTRun8Wxq9JU6AN/hsDYV
MWqpOTYGPK8pwtepwJoZ996nn6WSTJ+OWNOynhBb9KmFtVY5JCoOHCSv7Tx8byobaEBvaWR+9bRr
BEb4MLEID5o8+LuuGNKnAZVklQ4gRkVRjUw5nIQen42YPW8wtOUeSyozQ7FMPRKUcgXSMwny/DYW
SuDdmjj2TfNZIRacY0ftrdFnep4iAkh9TQ5mr/InO7TAB9gxg6NQmO+iHJgHW0xwvcEj2UnLCoYh
l+vg1H173QWC298th9xeTUXYQaVtYGmZHTbcujEvLFCzzSC62epj7pLgkERDDpxVF/x8VcVo3lOF
3CK3pwHuYIoc3PAIoxX9pTXg2cq4szgdrcYeffeUdKK/5q+9Yuc2MV+1RzbDt/99I+p/1mW6Lb9z
FIzf3+3hvfz/oNUk6c78k1ZTV3f5V/QfO02XF/yt0yTNXzk68t+lN2SRPU0j52+dJnpQJt1rVyvH
1Mp1XNry/+g0Wb/SlnKV1p5Da1h6Lg3jf3Sa7F/pdUuhPYsGh23SvP/fdJrkn3rojusp3hidJo8/
LXrpf+o0xXUXGaYsnybHNs+6ToKbIbL929EX5XRVyR7TfpwQsuHrflp5CjdYNaCndE0bBHrf9eQr
UNJlnhkzfrF8JLlDG745soS0oBL8vU7lkJ9alvIcGKTLz5XZbfrRAMUxDsEmKziZWDkxv6L01c6L
Z0aSlRyb535I5GIaOZKEXYbKiFmqBwom6EEhtnVI+neV3Om4rj/5gwZ9RjCmkwbATfoRoHFa1NFi
HBtE6qmXlY+OG4BuLwSlB6vOpwkqodPRqhzsm7CssD37BaqOOa3XOs6dQ1Z0/vuYERhd1XP9ZHUV
WOmeR556LjEpoq0uxw1VKzBhlcJEOhv+faE1u4/fVkitanhpKUIaK/Tbm66fwEdoqwcE6BeVOPQl
MmHOqWWSbLRnwoN3WKh4XTGQrVLS0hamAW54JiXMi/PZIA4zB3LddlHwmc4Kr0cWMESOrB7MnZ5N
EmrKcHx2aVasAp2iDlCtvIp9AxLVHIt3R07NU5vOHqaWyDzT6WBg3fpQQorOtlYmeymKL9OKYTOR
Gg1RuhVvFOcIUaYcXZqWLlKGsbBYoNy06969Fpd4Tl8KdzmdyEMdR5dxqduJ68bXMQl0Aqi7lbno
g6KePObOnv0XQ+QJ7juNTV/zb0sHAVYdxBdoDVKHQKkOVAcWZm04AUpc8N5TZM5vEe2axygy2vWM
LIvCfOc6XfHTeBXbUGsFS7No8yfCJj2qax9+i9PIhZwkeoRqQq5hNd1t3poSU3LGhHQOwpVBrwzA
udsAdDCIhUgGw9+ZSYC2lzMizj2eCxwLY6Xvc7sIF3YcBbgVFKRqSf0AWCm02ePY3k2NR4UcMX/g
fNvEhVyNvkm7xByr4qpOlXEeBN4Ujt1h91TRyJNLq2443/gOUfGoIGNOolMvI7yKiGajWlcE2BrV
vJoLTkNXtMnKFsOFj1VNNpKUOKfxwqekcmpOZqGhdpeK4LmtVf1Vtp0DMzmBhFmpxnnL6W0CsKE7
iHyyNsYXdyblNkt9+7ZXDWGLugDUbGR0ap06jRjCZ7baegBlyHdN+hrhXTAtHbcYK7oeCYEFRjLv
WhkEZ2sAeT3ikXjiWTgVvhOQhZ3b9UmLWj2IKCgeelWqFztqm6MbZkA0Yl/eTFHggCNCxmRVdklW
CiHTXBoyNnqJTrIu01ePEvJjqH3iuMU0f3YDjhJlS/1c2D5EqJBEdZqnPn9M5b0X9d6ztoLpLVRF
gRpAofn6v+ydx3LdSLauX6VnZwRFJlwmptvSG1GU4QRBkRI8kPDmue4b3Be7H6qqu0mqTvFWnNGJ
6JkYFDc2XOZa63c+oPhA4XaU05TX4OEVZvxO4Hf3U9D5u6FDh0BlBtGoTMWV4+n6zI9d76dXKXli
TaZ+9Jlwn9phK5BHC/9TO9b0J6h1b1hShkt3AaerSgP1LSSl0inYZU3ftJ/7RZYPgR/y8fWIAWJT
VOZ01hYWvl45f2cmmdz2frymXlnYKvlun3xLxEy+QhTG11E8tPSVOsC/SuE8PVj1RGxT3F5VGiZ4
Ra9xHTcdfkWCvMNK9/pMuq7z4Ico0No8xkdTRS4miw56WKkW67yL4cbrKM3vl4Eo5aavHfg0yB9b
X+IMwCj2bBjLaadsooVs2xf4vvWoP8VQX0xLNl1Pk88zyqIZ8mSOJCMureffFYkL/d4zsfORwela
3hTDQAls5Op819cG09TR4KQ9RDaRCGXsqBbnwayLPlUuy+VRdwuO3lJmA7Wq1YQkOXYMC0kbGPqJ
WhByGilaZh8rWjDHwsf4P8VKN6+4mMsG/t8XK7sfRfXUPHbJ0z8+/jD995x/VD//0cU//rEljKt6
WcWsn/RHFSMpSDzPC6SnqSAg8vyzipH2B1uulQpzSWHbgQsq90cV431wAhnYgW/7ru9qdy2K/lnE
SOeD6wWCN06DqAnHs/9OEeP6K9D/Ci7TwObK5xMdwULg8y1eUhgGXQ6WNQXxxnZjy6BMSWZT/Yyn
oVbnS1pb1pmC/PQUgyRUT66sPcKmkiJ4nAEkeqxFRg9Ln2lIW9VtfF8W7M1C8coziKrDBGHslLfG
XOjOdctrT0RtdrEkYTA+NE5F/M3UkeKG847XWj9jy8oaZOn5KIaLubEX/I+nNGZe1GXTAhPSs7us
QLesqwpMKo0sJeBkO5U+zapBW9MmnzMbP6OhlS45MnVknOpYjNrD9dhFXOBgzhS1Cci6TZDhzaTq
vvzSx4iQ1nnHAL0NKEeZ8UeWsYDDGHGzGrIxpAJa2K2SpQ/zUgirbHDb9mpHxtuxZrSOT4sl+ggj
qqkXNPWyXJjPoPhwXcqYtI06Nroyt4PosZ88kJGNVYPtA4HlxWjjaBqozP1Bbl+pb8pxyhYKHhlb
Eqem1M9RVNIltSUDuWkax6uhp1x59qohsfjCOiqjj3EigvJiNFUDKoOj7EzImlW67rPnD06FvYQw
y9NQ+w7yha7PCv2gBtGZp8nSS4+suS5cTC7gMlSf3WrqluvMS4YAA3u/Gr/0iXIyCHNiVs5TEbK5
P9HsKu+JoOxwgLzvV0RpLJ0vu9uwH/shYubGCAWUxbcl7DGgBPlNLd1S4j5ezI36vHgxtLSodCHK
0kND087qipxZZ4TXG1SVWvvN0qL4vhjseO4vTDYX6jjqJYkJS0lsn/vQZ8l8suiockgDY+CIhYaR
wdcxtGJs3l3jFNh6Wkkq8qO76KzCvkBpeNTpzGzwpIWkYg5qlBlOOZJa/4TxvWb61UUBceIjsN55
JHNjE8i2NFWNdpsKaK+zoCtvOmchpSUsmxGflKXn/HdDYNr4Hupi5F2jrU1QrFl1XVWnEbP1kia9
rp0MhrlAf7cUeT38bAKRqq8Fb2VLXtCYS8zTWpeWY9PLZiEZtU1cbnoUJV75qRKuoke1objd1kHR
I/5YfCqOTa5Cf2O3IYgGVq84JQ0Mts9UlgXeQ9flyGCLRI+YGU6l4xOh5Pja+tLFbKc3Fvh+dMde
aGWY2JLZvBoNDJSeXoFzi18WVIMuUou+9Gf7yjULYpWoiJ7DXjrNWesx0DmbtAAqSOzMCk97mOKY
dmqeAdQ09lISrSg6KwiuoU121e1gJ1N6L5xw7e9N2FQXddJDD5VR5UcD77PNvCPORyZrvgsURsBA
WKxca7chKJFnjViQxOuCkvjMSAakezBNDLdinLPybk7CDMZdYBc2YE5a1zRHY94AkR7taIrUMQag
w3W6KoRHbiX91nhiSq/HjyS32mnrdirPflKmkD3gFXaKqVk06EZ9b8dhwJ0w5eXEZHE0osInX1oW
5BS9pC0TUS1NwVADRIrHfmt6W5mnwjYF4W+5r2l7lDv06rxbQgMPP8gFvFo3ik3xaQERWrJtK+d6
FQlSzmhiz7vYP3RhPY9EMcDXRH5TsXiTOgASiQ2MHr2luQqWNm+hmo2dcfD47ObB/97UYdNj51jV
2YPllFZKlUkWb0Z2xZgFyT11jkoIpC8DHHpz6UUe9oCts4gvdbv4mBeZrnIlMQeDz3Hpv9q4gkgk
CxQ0QJ5MszgVQ9YAfnBA1Rhv24mP1wGDVB/O6TgXksYqXIpizEA7fIGwzFmXCpQMUdoQ+9J1tA4x
8goeswD4LRT4YUUymefPaeb4UJYT9p8JinxuykwfAd5IYoRfyOD6e9ekNa+/WLxwhSCVNMONZftz
eRE1SY9/bZMFVr8fQdILNCEChN3iu/UTvuQTTwL9T50aXAp8MwuSuqayi7+4/Ns7WsK0wY9iCQqP
lGe4a3xw20GpXKjFbhOfiooh2Ugg1Lci65BbKeOQHRXFqle3fdeWWKnocMbfagpJFxaMtE5aezYY
mFTUcfe6SyN928mBvWTH0o4aBnRoXoi0lKFDnmk4SAuQTDcQcJtgDOKPLQMrH2umnC8F4dcPQgsJ
yFBDvp86C6efUgMo7IFIaixf47qxCLWfXctOucyJ0AqAowhwhj4NtWumusRTrbNIY+wnX54ntc02
DszcMchmw+xXIaCIVPYzGK0YoDZznCl7mmoV03ONNFqohg35fV7eNuNZrVfGJG+xGoej8gbjoyCM
WCKJB3US3p25i9wIO6lFT9eQCyKMJVPmeNzzRoTEyYegTaf9ws50Uk0iwHKr8g2+FwnqKD1nA3V2
kCQyOnVLKquGadwimsfZ6iDjR0zH40u/L4vxuoOlYN2IKghdNEAOAGK6mfMynZfzyRYtejdwpd7Z
yMgK7X2+5FmIEeCgUNyhXB11/8R9lOlNXvVe9+QoOwJXqCO+62PCvJdmwB0Li9BGxXbaPyRJwGa5
b7OsFE9zMIzxcwedzobUTVMPkux5dsBPgTVl+H9qyynYyfirOr5sPJvKjG+nU/u0AqnwL02STMVd
2cBEILCEvrXbboZgN+01PJp7CiDz3MRxWh91zb6cbPyaSxXWq2WJFS/IjYouC05qk8r2k8PErHiY
na5sxDbV5YSPQtEkNU5/wuLN36hAhgSup3g1zkPQqhNw+wGOxzL7arkPqygjV2vytVteQDFZXdG8
plBYHudxln7nkWtormnclvFhrhqDzb/nNOmlP0wy2qSJBye3SEBAHiFLLMTb9U4Iq9pPnPErrdBC
+HefWRmzkhp2X3Vaz7VoHni/pvjUs/1WfqmqcE0OaUyW1PC+59HVV4NpR7SF04glStwIU36pECTi
ESQm/GGhHsW9hCUYNmQNF1PRodWBlFudTnYeEK8i7bRN6XbBwdEwhG443HmCzGFrU2sxuOeeKRl7
CbBzhdGNzWw/itO1Ziu9Or4xDJlZItM4qYPbCT1jeaUsW1sEa81muWEbbxRiAzwxRpzrClucd+Xk
4Nw2jw3L4lyAot5FgXGyXcCziTX7nDISBdkomvrSG4p8emorK03v/tOi/d6iQbD7qx5t+3//T/fj
H8//dTpUSfPjZUf22x/+3pJZ9gc3cDWdly8F5OHA4TN/nyxb+oMvJFNi+Le0bOsr86+mTIoPClYj
k2fo0rbrC/7qj6bM/QDX0GawrOnZPJbWv0Vh/G1u/O+WTAvlwVywXe1ggQS846yc5xes8ijgDWhF
syUyGOrfJt8N5/0hv3IQY9ib7p5c6O2Li/QHifIlj51ze9UFrocMMGXyOS/hBjA019+/OGQzeBOY
HV4hQ9yNn+rRpWLe2L6FIK1fu8dDSSXpn/tVkK2tohwQ31jaTYOnJU4JaUXQHiV1gky19XqMjYJc
x429F5Htk1EI2gxeR7L6YD2J3KEiCudqic7DpFTN6WhRP1xGnQ7MzoEgYj90Td3M+55IiWTLhJkE
GUcUHoswQJvBtTCIllOwZXBxJTMI6cM4jqzJdQxRKxLDvI8biacC7GpJKGyW2M1Xa3Tr+pMInYlE
6LRdHfSGlHpiQ0VSYAlr+yh3Wy5ReJ17eaX3vdeClEKC9L3hYgS7qnd0CZnYidHCEzZIHJc8LPYb
j/iQzMTnbq2N/tk38YzHahk2Q3guK1Xog29PDmmmfoslAEVX5p62g2jCk6iJCMkriwVmAXyuxfla
jnGbf3HbFkLAZmHc1uO3HTOQhFEb1D+mYFDJZp3FYdnKbByzambaUMzEGGIqV9Y5hoNBk1pnOtEz
xVMnquXKctP5kwu1m/TbcbCW6iEOYvzOepFC4C4pMtZMlIUqIJI1+d5C+PGCF7torG3pDo6hvh24
DGSrhRS7uZtTqi6JFRb0UEuwulrbEBcIBJ0IJ4yq3ukJb8/JDsSwLUkvLCuJvW/RFH4pEibhCK/c
1dc/HPPLPlo66xApy0kO2rgOwYblhDSvLKOYhpnqM9sDqzrBKWMSOzwphsaGbVuDdG54cqyvUPma
q76f4p+wQ0qxywNLy1u7MSTNyTEI78p5sb19PkibIVq5yJbY44GyeTSjj6aHjYZNNel5RlMRel8j
GCPM0CTMHDqJnrD5zlQQtzLAi08BzTxCh7ld3BOP4sw+mATmyQbhOvZ9oJaJwZaknb0TA27jnzHV
xNnC7SHToB6aCkihNVARDLUB19+q9gvMstSAviW17S4gpTrQpFLFboWghRrdXOZBOTjMG1PGoXBs
hx9B2lVkY0bBBHvL73xMugvNzqfHtbhOa5UhOY/6sjxZihJTeTlxpLEvUFwpNWEDzwQY3poZF/w0
iwh0+KQxY5/gpGFhwRFKkfdXsZrAs2iszXBiZ5WVXxRUFu4uY6ZLxssoUXP6XoZ5paqmaPmIrK2w
AVVpKmj+WA1uZqPI39CmScsTyp0RIqxSjGdLOU54hEFYtn5iRpXiwaYcnBAjbkaOa3US12Qjh/iq
+F4NIsD0ovbO5nzuyktA9bjYpuD7CfS03qv3De/HxyRawuBr0TBUhpGVf67dCZpJKNxk3EWFrzqo
n+OQXEldUZNAYxJPpggmQ8CFCTDIjaEOMF6y1efGK0ISaqDm9hudlYAdbqorC8zEH9qUrHTpi1uY
DTYskW7C6y0n3uycggc+AXQzdvGdCC0snhq4i8NJkckRW6w4isRpvXjZSieEXbEdOo0Npl9qGZ9o
qmNsk+wyw8oJ0hBZomML6OBkDqCDq4sipA9ZdH5sK1q3Xe5YXnb0HH/Ai2KAfbmF9tt8gZJK0nXH
2/LNVVMRk4Phkk1WRczfNzCDS7NXLoM8YfUp3io4leBGwjwMETLU6hmPM4FPmIb3juxStZY8ptBJ
CVeZAcLuZy+3un2aQo86KEWG0V3S9hb9Y5sz47B1CyOQsQUibOl3FerT3M6TC4iAZbnrQsckd/a0
WPmZq5uuwzuxCNP2kGGZEl9wDcxjlXbtfS9YprdBbENOLOCM8vrWYTnvTd/hehrpWIfXix3CcNTV
UHUY/UY9HhJ5SMRmxdyKR4v9/Di7SpOhRZtsbXUpEKXaSQNDIqlTRLVaFmbEmtIWGGJnadVjslnP
917Y6/SzisfoqgDJlcgP8zbaznQzw/lYezHRqXWeX7kC3t0FS9qAXwQY5qYSmsUqChQiKFbmXpPo
ldFUP0Kasp/cfhT4UfaWUEQNBHZzHmi2z51EtRPtprSofL4FQq1vIwUpARdlrZHiteGMYXrbkCfj
hQUx6VYicxIimMWRpRB29lma8cfYakIc2jZBC3jQZ/MSndl9111m7A7OowLMvQeMwYdEm2DKd1xj
hjEdEMuypWUjiAe5TPMj7tyKS+pR8+/bOXUg3ZgMa9+JtZedoLAiopsFdnF7miHYhpaJDGE/tagE
Sn4xoXpNWgscF4Q43dgj28FFUCdTtzHAYAQdyGiO9n+/uP3fRoNYZ/v/PbKwRXfTQLB7Wa+uf/F7
uSr9DxKBDLoaj4m/465Svd+rVU0dG4gVQGCQDIF9JSj8gSCAEgjtOPSaQiBO9G0+7o9iVX7wqSsR
8ECUcvmlkn8HQPDUawWeItPMA4Tw+SSIGIwh3lSrrFrlHBCY6+YMk7etWCqcDlo9yxOT6wGbm3Cw
/fvKYaRLqvJC+sQMpv+9ZuyZnxZBfBW1ZriCUVQcZQmbQumETMnWn+yrtsZ0UeWq82p6x1RhlA1S
QBqERHgBVt6KGfB5rJ+GSCGAL1OJrzoAeoywgPKG/EyRs5PXTI1njPoT0R59sZTJhQklMqFDnHdj
cdOHnc8QLs6hVmj8u5m5Ey5k4ADwdqBr8cR4B53SkNI8pauAIOpT5xotojg1UEUT0uQZKl0kborr
aOFO4/wpS7ps9XSqhoOMdWV/oyiFpj32rv9zIn1kXw7YbBtkFW4Z3KlUEtcHr1ney670cDgPE0Ow
e2YkSc6+EcF1GciDZt5NyAyMsasYPTwvfyYwDQ3jClihjLv025D2wrlcGBBiy5EsU3zfxLr9ki+m
IFC98nrc5tvMtRgGdFWriisvixBCxWGDTzKrMwDzRuLHIz9mpbbMds5yfzqykHdPczKJ/NldbAX5
A0YjbhBMhQ+NzVaMIZA2uABKL35UNP/luJXUGf73Ft7MfJlFIETaYbLz1coifPY7WLXxVdKliblm
Okh6Te4MtUZW7WcaRnwIF+4zsiV2LG/G63IqNQH2uT2Sp2NPWF/JGJ7FqQkKcuro4vFymO1i2ClW
aR8/pjZDxEpTjgsWM4Le/lo67kyuEoNi97Jkhv6lqOJ5wvYP9AazpUVaA/pnzvlQh1FjcHYpiukM
WkyH97ALNnIJX5WxOKSJ4YeMQ9NjDRHT6TOqkt78jd4nny/aetCgToFOz8Ni6InTS4ehfu7grmCJ
Usq2eejxa1j62jvWMrEU5MJIy/pWW2OD+wqX2ftaNpVrHZNy2teSu3JMmOk6H6WzCqTy3ooBpaJy
KSoIspATEg/TZs55Su90bfyPdYQEZ9NPfVuSfcvoEm+yiUnOXIUrZbQJOnyWuhUimw0YBXfFwkzA
jXA0tbO2IMeyy1C0IG1pnmRWK3mp85qMFOQ0Db6mbFcUOUzFCDjNdXkr01HNlzZGRlgDN/icWaGw
doEok5Oo7WeyqEzbC0xcp5ixsGvp/j7SU4URhl22ZzZMexiGlPEwajt9Etu1+N7xplSnjNMpBEJT
o5sTcYZWQRuFL7Zfx1iV6CqZf0q5dFgH5bXKr8Yxyu7YphyB8ksteH8sbYETcbIEFYY9op8+1onj
zc7K4PZFSTJ3r7DyTaph2dDB4S0AW7o7mwfI0VCmiHVow9jtn1lAI+cU7k/8XLJm5PteYO/VLTNX
YAw0c04jBXavY05nhVdoBE00iTtESU2jVt0sdW25xTDNF5dl73aAFVatvYsok4O80WFuMUQTyeKd
VlldE3JY9LabMfuyLesWpS3epLpuBuen45r+6MAYplXVzTztZmAcgV+0r3piM5kZFqVnySskAY4k
PKHBEHHiw7AddCc1nmWuwvlxymoLJqrOk9O4lWTzYtXVOqRpKWzQk7oN7oKsojsC9+1c5oWhdUfB
PXyzC+buJ24nmvi+HQoQKqh3kHfbPAy/z0p9LNLFx3+2AfHCSNEnUiJhcDaRA2/NzaGnsXmesu6b
54+pdzfC3Vq1+fZISokdJ8sT/XGf0Iitw7q9FZcah7VsDEifTxDUAdnMEtWymfL4mWorEp+GscZW
H95sjFTEmVN1k8dS1OcAgCo5DVXX2DumkvoriGKM0iGzWvMUMI6/aOZownS3NZ7EGb5zvM8676O7
qWrn6MpRplt45Zb+OoWcqy5iU9o3eVo6mOrJ4bKrZ9N9ieFyFNssqzxyFWTX40Xaeq39kRpV+NuV
z7gVmb8GhMztuvIBdWXHBjYeUUt5Rjlb4QqipCLdQcbAj5is+qXaDojXsMN1l5gshNoKqMusuW12
ULlSTXgFLfjBG1AiZnr5HqW9j3aE3/+IICphN9J6uD2qBSZRqunDVRw0n2qsGp8EgPLWwe4k3y1j
T2zFrFX+nEZOFx5NawBFROxlWFzZxXRTtsuCj0TXM+HwY7SIoSoW90roGu+n0huFS6DHaEef2Zya
8KBD2RYnDXXq/M3tZXtaZrbwbyfW+mQHn67+HstUiOuWda7BNXGGIBMOBttfP59DMPwqAi48mDgc
KgCEBPuzkTabQRKdQJMzU5nmnG+CUupHnP9kfI4JdYdrYKSRvh1YKur5DPlmSkLrMg723l1Sv8N8
MofLP+bQo+y2nI9qUYRIu7C2CBSYnZAdNpOqODMuZCAcEOY4gd/o1Cr5Fvb2/NgV4dxsAloUc+xk
QCCaxzhMJ0rtphx7jbxKvsyFF9vnxk6d6hwcNv+qVe/RVlpBXT0PmYofQxiF+lvaZePPUEMBPQFB
ZbUt7aiStyo06U055Fn+vUSxaxh3o22jhy2/eUI8F6W9GkanJ9FQEhrkFqq7rqmOJl7iavoZqFY+
VAPr/jEPBNxOht1ucUYFQviWay1kXCOKpFt36rpurxNjOVdZgyUYU0d5BYESOw1rdIYzd5kD/5Md
9hYB3Wmb/0QUjTGxqJco2I15lP7QncL3WSVxcR36RtuXqZuhlUqb1aYEDlKFLW9I13xRNDTEGJo2
w/TVyBTv0CHAIXTr2EkU3gzzNNmnalD8yItOjjsRvIF4nF1WU55A5GFbBL2IzDbTEpmGScKqr2bg
g0XqXDcK5AgLlcdEp8WDbmLZ7Eseb0xYh67HslGVOieQqCPDKVL2fB9Dzr1HB9Ck/D/u1caTVkIy
hArguoZJRMIGroKshhP8902LAhwifz3U1q2D4xUOnzCMgU+VzmR1Fy6eqwhbgury0Yqmvj8zASM6
sniHzob/h9jQnR/NnLkSUVr81NeVxijYsrr22EbJcVzCsLpNOoshAEPfn3Ye2gtUw7GJ90vssUh9
ZNTZkOrkxBhjGVNi7wZIeLBJ/RNDQ8ZYofcJsvXkmKJU+ME0tl+eEYHX7kkYEt17kOy/hsg7eC14
BLte+BEvBkIxGNXW8z7p5wwv2WHpigtUOlX/pLQq49NlbjSkTi/x9qO7oPWkIlAlY6zCb06DMB6W
rbc4gd6kUxLbW2PF8ycMIzCb+0R/H5Z7kNi2OCxJ4y1bpCfjFS2jHG8xlMFVKIT+VvdLeFp2qY6P
4QQ4eezh+V9i9Z8CixUhNjGuib85Yyc/iyLDCX9yPQwKVRZVDHNb1OibhQEf/rPUHavBkuXtRDY4
VPVlbf8sYb8kexOJ8GsOn4OXvNGYLwt4ePMMx1DHcXcyoc7DZZ3ChsAJZfO8OUrU/qHpphDhKXLr
eydbnG8imFYpDtuc/ahqzxaUT0zpSbtAhnSW5ia0Pw2phWH8kpYgVC96vj8Zwq9s8X9P/WEJMo3W
cMkD4TOLhxP2egRPxby4TcbdsIt7q6hv2kj9Dgu9srt4OeaX8tdDuLg3uFJ6jnCwSHh9iDhCCeY6
DZHy2MKDne1JKryOT6jmo12/+dunA29NSc/jONDL1u/yAlGIJ6+dF4ZojfO997/P5B39zz7fef35
CdrQuYKgGiE3Cr6FE2jQvzrwP7kb66V4czdeff033P4afHVClUm2OXbr4aeQ4Gh7av+H1+jt/QhB
MxK0sYZMSrI2Q139/YvE8r/ayFBzMT9/cxMwHEkNPtsIMjFpnmAO+EC6u7++Uis09OZKvTrG6pH0
4kbXvcMIGcdn99icOifZ0TnGJ/jYHv/6KK9pir+9HQA6wnaZckAqfgtQrRxfU6psV0+guuAjhzTC
7d/2bjuUm399KLm+aa/PSHMsG0wPspUn3r6JGdytoUsZSB/nPW5SZ9g0He2dOH/vnOTb0QkcThxR
2Jq1hhwq3r4jbDDGtk2+IxfoE/7td/1HHB734Me41Veb+COA+iG/LL/WX945w/WevD1DcEqt2GmZ
HflvHjzcURghcobjdtzLHbmU23hXnqhjuY/33s1fH+zXdU0HL4+13tkXz4eThzHKsHwXdpi6/Wbe
Gb3zlP/6rnIEaTMAs8FNGXu9PoJv9UOQkU1SzQ/OFDxkuf3EmPKdd1X+6TWDx20LqaDtvkVlQ1w9
UrpSrpnYRueGqKAdGQen9aF8eH/1/PWl4pQc+JhM6GA5vn3cl1YYYJX1ESQ66YyZ/9E9pGd6/3dv
Deuyp23aO4dx1W/P54tbM8OFI4Eh2+XhxjjjXT6/t+P8emdw9RE8Y9IBGv9lEwhHmVSoYgEuhJPv
Aj2WeAi3PoKGpEsic/jr05F/drj1ecaJzaZqCt48CEz2Z4jA2Q4Fw67IT1Dqn/g7rP/MuTqSqraG
elo37/l1ydeGQ+vSFEgNJVvbDpNyLCpeP36rW5C/eOUuP7W34IM/mK5Z7tG5qknOnC+67XAPaY+I
bcRXN/L0r0/5T88YSQYwwTogdt8c2+UhyquWhzI1ZMmmJYF4IA2HzPbjs78+0htWwh+niX6OubGg
Stdv9pIpMK7R8Pry02zakTG1SbF75PquqwZwMtkB7xMT5HrHXi9UXNt1xrwuVBK/vdfXFtLg1LqG
fPQx7JdDUraYdAAWut+U24cDpM0Q09lYWwNpkS4Uq4ChS9XwCERlEu0dRonHiT5oPPnri/Gnl11x
47Vts3SvLJGXa1o7jVlslfkO83uvwnbeLHeDJ8K7Zs60/87C86ePl3aY/PMm+cp7U4lEuhmQtZDR
jEby0CyiRgILZ/PSCSp960zj2suPWm8ZKPjPf32af7LmASBAcgNhQESHacTr8wTjHgN0drvgziU6
9oDAZxudWlgLb4ud9S4NZb1qb272q6OtV/3FcuT3iN3SwezCJXTwdHLOlkrhSUsKS0xa3Tun9uve
+/rU3tzC3q1lvBAJu64Vyy7e5gfrylzj0HTT7NfVVuCivxm/p+8c99fdcD0slQwLIy2k++Ytapck
V+l6WED0ZsbnJ6v2f31m7x3hzSvTQn7MBLGbzJq6g1dhwOtm4XuLwa+bIacBPUpLoVDg6jfNSgsR
cRQkVSJaYy5uxdYub8gaTCApgI4vGYNSDIP1UgWQly1v79J93aqsHR5ZRcu//4a8+jJvrinE7LbR
1LWeNQ0+g/HAusTUrHiYSL94bmNSQmenZheIi/4/Wih6glULteqA/tUv/eIRuK/7xw4V8GP+j2Of
lD8eX0KX65/+AV3KD/Sa7EwKsbZWCKH+CV16H3y0T6jxQCKhm/1mCPgHdOlgFciyymwIB0x2U8We
8C/x0wd4e6iUKCWQRVAc/S3s8s2WBssOCuD6FqIiX394W9JFYJd+PjzjWjaWx6g6gk2Sh/xx2Nrd
mSdO8Qh4SHbvrQD26/bi96NS79juuqy6v12Ul8uc1kuUQOx18NjdJB/tLSFM59E+2LvX6UHvcJff
EIx2P+3tTXWn3qkXuBUvlthfj/1m1ZutIDRR/eweu9P2mB3HAwm3J+07u6P9enX49ShvqhLVzn6z
mOdxO+ySk/yTvSVPbx03hDsy9nblXm6bjX1SHYb9vMv35ti/9wXeu8TrnvpiJ+mGPOjz9hmbEsQ2
dT/cehM8jg0P6/2YTncmtg44ZTAnDo72YJDruvAsRmgZKcG/yUgQyegn4FJ988PF9E1Wwtma6pPB
B+udr/reDVl//+KbLo42Vdo8z2frDelO1hvSvHs9Xm+sf9wPuK6/NS4Mv9Yq68VBhom4pjh+Tp2L
sOx2JSFfOL+R9vViCbj5faN+NV7609v+4jBvqoWhxOFQcJjT7tRFhr3Tu474U+9ebAgqO75zsNcl
GJpFVg2cIZhrSOUJfPlenxMAOmNa/QTUfMgvwmN/S3z0zucBw+LmMN69X538slq8PeKbdwdNrlCV
enIfikd7627rh+wHksdN8zn/KO//P4633pV/l0Oc4UompuiDDIwI1PutNn5x12QQRNr1niDlXjiH
lQYc7+Yb6zI9SffRoTp/53q+rof+OJrHvMNzHRdZ6ZtnJMYl2sndp5W2ztT2qt0659W9v3OOUCKO
7kYcls9Eah7Dd6qVNxU+x2UBZKln7kkxTRv6ZvOOmoCEl5aHJhxZLJaTdQXEC/VZ7Mhxe7fElL+5
J//7qtLG0Ccx/gREYSiJ7vbNczOP9dz0frYdq2mGupsQc4+GfryoOuPeJUvm3eKzNmd4r6VtOZBS
6dXZrTWIgUi3JMX6ovBQd+8Rmo4NmwM0PAbVMyMwBjYiSi+cxZvzTQJAs8/SuWjxN/ep8+QUh3v0
rfaz2zcMyNsWP+mkMLuuaADiE4wfL6cmtr+gSBwhhsVd8GmCerU3bWs9dvUYXYTh6Ih9Pk1PBMJM
lx38h9M2aH84ogl2fV2OZ303dhD5zOAfXdvyLlGCuexueY3l6+8ww4zw5Y4FYvw6mC66ThchH3AS
hao1+Eb+TFeIYkqc/MLAAL/j4XxAwzCRigBSeY4mtNtmIb77MicKy7L77Gube0Q4whTHinWEoT2p
pTvx+4Egr6rKyqd4jOuHHPjiPGJCgPs9poq4CjIUSrDxjNKQ65MI9/+xdx5LcmtXFv0XzfEC3gx6
AiCRtrwlJ4iiw4X39ut7oUhJrCTFkjTriB4pJL2XKLiLc8/Ze21fj+OkP2C/derAyBX1PivHGjul
CtFCa6UeSAbpedXIQFRqsdTI4D5ca7aAXykloS5JyuAjKVTlVtI0DdBWqZNUhYDUYZCHnDgGw4U0
xU1Q0KYHcwhjvwhjJNd4qOJtpGMlBXBaXg5hR8QrIamfF8JTN8BIFqw/S1q7OBi/4JAin6FjOlMi
E/JrMFve2GL6G40UGv5CZlVqzcaxXtTi1MYoD+WQJJY5N0NfdazPA8gGwCOQqEq0w6dUyT+1jah8
BhwnJMZrshnBJ412BAMncJ0zKI0HMfvMJ3uQIhLJFcypA7Uupe1gDN3eYUSzlaHLM7Nn8g2DpnRL
xH/uwij+Iq6hMfUMUS6sqiJIZrGMvdPN0bWc1sXnPuTJarDPEupTEw844n5CXSITXdnbYD7S0Izh
iOYWoqMoXWJSApnfMSQrnSsIXc5RwiiD9jImJp04IfR/jmjbd9aHt8vS2nVQ6DlYlozAm7LQOCsl
2mSuo5LoOzZrV0lvXCylzjMmXXbs6UGCvrOvefuhfD0ajou1i6Ox39X0s8WhsZnpxy0pJ+UHSbrK
zJtMu0DM8s5Suy5pb5YgfP0a66kBu15mC3h2TnKSosN0Ok8+wC3ZQE3zPhvbZCdu3ltc1z/37YFY
Xg2+W6s1xZTPWzaK0ectsHjir5cNQYl6hZJ9kt777P96OjQH1o8VZhqDZ+SshKkKEzc91jGp6fYJ
A26eQU/S+mAxs5cqrhAWA+9rF8A+kLTM7+isfznT+nW3ux7cxPSwNusRQ74tA2YB8XOwJDeWE8NT
8cFdlolZfN/m/cuD/Hod14M4a4/ehpJw3i5PnLTVBYDjhZTfHAAJsgFvLp///FisNenbm7U+6RwA
likDuvNZTUOPMe5AEMymjBEyh1wcoZ4+9KDYyEcxo2C05dX2no/WO0c2fj0/dlkOEw9KRA3exNlF
jCNk0D1KiNCI8UnMVsIXSbRhrW1H2ZzJBRxpp2uMpQPkKummayO8wox326em5aJhgDGJFTRzOVaD
ehSa4UVK0rwUq0bJRb6Iop0vMba4NBffnLyQTZKeF+t6ljVrG6ah8pzXYAqmlEjiVCdjxECR8Ak1
TbGFkykdtc6YNvBA+2MMaeODbPbdJ5jCSXOhFmZLwwiO7KOUKCVsp9Aw7x06SZ07MVcnOFMMR6XJ
9Psa8B7TXbtrnic0+FCn+2gVXDu2M7sqA3Vzo+XXhl7vImkz2CGZ6ZVWjJdV6UTfarWVy3cWm7OC
cl1t2N3SrdYMXQFUdl5yZVmaWuUabulPwcQURvvkXBKY5iretC3vCs9+70399WVht82hCC4hKYP/
fPuyiFQfE8j3XuMTteKBP95Nx9xbi9jZJ6z2Qjr9p480W3kmaXBKLJX+4dnxML1U0Mocz573g5kE
fKZ8O70txJXRd7hYpuDPh/v19Gym2ix0DAjNX5XIA7PDSuuB5KbQBEvA3+8sA7++ofy+CextHdrR
gjg7nUIYA08Pm1eV38d9NaAkMCGliydLv2+WefPn0zkrjdfnw5bXUhxjLpgAkhHe3i5YWkSXGqqH
1eUUHakZPHlPcIxH7PCGrep7T8fb7RuH4wmkKUlTBUWHDKH07eHqorUsJ6KgORCW9Do6IbrsQNHv
/aMJ8iPc4vr7unaWtXH2X//NXI3/a1L/9bL9oXHWiZjS7k2/bP03vvfLdOuvdROEM1WhSEW5zxP4
XeqvqYRrWIhyfkRkrESgv0v99b9shxHEOh6ns8zw6x/9Mg2OEAsM/yb/B+NEnrD/IFqDgcPZJ4pJ
APUE1CLE29Ri53u1JJsnuTNRjphCbZ17B+Y+Tjws+a15JypciCeYAdYMnzDTJnrCk2bmWk20bKl0
H4DMM0mQs8am5skiQHeuwEtdPEySbBvuuExTs4sACptk3hSIBvU0GxpPk/JJuWwqLVP9JKVkvULn
VycXMXIj4xLPvBo9zX0P8dyD62faJAEM1SuOrVdbFWmuqrZWvGXAEU5kztcqYNArq1B04CaYCcBJ
lOBM5bvEGTRxP49dGC8HdeyFJYRrGGmi69tikjq5vwH7JrLQqwdJJM6lkesSmSAa3jG9/VLIqpNp
5Ht0vd2iCy/D3pxJ9ioc0R1C5CPzc7TIVgsit9aq49jUbbnDc0TdxAhvcHq3QxzbXTuNWqGkxTXb
7CQoq/m1kNSSH867bCDEBAsCDjtwBguxg4uzBlQ4fOjC2WO/5MQ7Bys7bNpZtexdkxgqfqeomayg
j4yQPNmuKCGtZJAto02lMjiE2htL5MrijD9qyiBIq9LV6os1AAXeyRD75aeoXCwdofOQt09jVcEn
VCFyO1emPCXTXpStYR9yFQbe3dAv1ivuj1DsIbQLdcPmiAmSO46Q4DKvUSTMCmuQFH7d2Ikd6VoY
2jCVG6lJZBI1RTwaQYxaswrSTCpBV5DZoHyVWNfHj92oLGbl2V25lI0H9VmYt5opEnWTlp1JbpaE
nmu+XIq6Ftz3GocGl2gaRg1wrJ0OuCZyZhSFMQu6kaMxy5InN2bmXGZdW7W7lAow/apKOSp+bXHI
qjJAIt2kUh09W+BRvppTPoDJs2glbrg1g/NBH7gQXuss/GCvC4oKvc7bjlpJlNUO+CyGxpSRYIFu
1Cg+EIMSG14HnwldR4uvawN4KzfZvQ4msG6jVtIgNjLklUIHq0yjNIkaoqEhQ7EdNBNlrvZGg5Ny
ExYSt7wBJx2e+nJC5h47rT7cyUuOHwSSAqQL4g1z8A5lWiVfca8oElAEpkNumutLtqvCiRByA2po
8sXuhgH7hdLAtO+aTkIOgClGRSCfRPElFoA6+jZXc2tvFxXjLKDIKNQTsiHV3r7SO2WEJBLz3lRe
1ChkKC5m6+Dh6Ya5nj5q0TiCa6lZ94ytnAFJ9EmaqOTHdCjmr7z29uCVNrEHSHMbxNmeKSRH+AYC
H6CYCTkBxP0OyA8JWLAmZ8QnCuoYEo9j5xbEiSYsdg36svKeAlfBgTN2xE1XPKPzZSRya83NtnPz
VVRYLf6Y0pz2Ka/HzK/VQqRgJCtUEBuQXHgL5BIW4UUrx0O1pSOGXzJmvQGVvWAL97GHRMNOrxl2
vcRZbGAtacOmo/UIc+bGNks1ib0iGhTA3o5iRdvOcCLyxSMkAi9mP7bk37RyIkoXXDHiz1zXp3nZ
SKa5cGKUrp+z1LqwyOQIPzuofUkcRrsLLzEtqZ9a8nIEzz85ZQmidbFJRL+CcOSZiPYMvmjsGYMj
0o2RMKl3rWVehpMAhqVcAgjXzWvc1lZNlnmGfU8Hcvww5KbSBUurIxguTM0KPVuupzYgIxqCrG1H
KkG5S41dts1JMoImFK8geDubH+NJkHYwAqFBfYC7SdrXbVHnrogy9Pk2PDy/x1dN4qSjN9WFkeld
elU1akxhPqck93U2WT5eMdfOvAX/kVtBa/WcsVIPBDoUPSbxFAZcfj8DtomCvCTD/crpxCJfVWBL
GLsvTTscIExH4S1K0dHedAOIk70+lbN+AtfrjCfH1Mvocaw0fQ1MF0W4VfNK+sKSZkS164C7dfGV
EYOLZ2rd5MA2womcJviTl6ibnrGGVPOOdgHkzW6eVdmfW2uadoCZrHLbTqHAM0POVCfjGIFTaUFL
Sqp6r5d0mzbg6oaGSZLQuuOcAbA/dl3yDO6/28BUakDY8OXb5iah859Tq+msbeUs9eKDP09hHtRp
mmxnA7in5DrO4mS4lDrLSbdlK7fJndSCFrVOlh4S95ghCQ53MjYqCsZiwKFU3udYUMOP9PptE801
uu6IrEsdZOzFQu9w8EOzqBUQvkr0MJoFcDbe04ToXcikLh8d3hF8Hnbs+F0B6g0Reuv0ASDNtLgp
UkkRm6hryj5Iyip6kReVUFTihGJ9X2oVIcL2pI3fpWT/XzX+zaYH9K+rxu3Lp7fu0PUf/zFi1f+i
50KJpyP/cNhI/r1itP+iVqMnw/hAs2gy/bNgBJENXJKGu4pZjyHrCtb++4BV+8uBa81clq0pFR7/
2H9SMSrIgt6UjIyeVswKShlGnbAvf5Fk5SIzRtzvG5zu5rKX5NjeUPtI9w72bPqsefOkKlN4TVCa
ssP7nhzqKSPHodayNYEBx2J52UYp+aR1vGig6EIzJ8g4LzCW9qOhHPWoTslOmktSwaAkelCc4nSb
Wp0zXRLekl4NbSvIoJjoSQPNaNOr0gDguMM7ard+Ax678Iw4iy6l0iqfHBLnc88xIyM9wKnlX1RS
zAe+3RjdFUll5VMm1cYed45JxnI5GN9iSBhgjbP1d6wmTIcA/bjVePj7lC+zGfIByTuOauKOfcQn
MPnSOBoUAVoSkbhpjYxUEouyJmrLtr/V8ZPhUrBlsW+JCr5sLMI8Qk2XLsBvhp9nA5S2IIaDHF9n
DjS1SjFyZLANgd7LzDMMBZxjowzaI1VOdwMlDyxnGuvzUcvT8hRFEyRDEZHMnMgWXE2dmGePQGGa
L/DUHnFtjzARjWwPKdJ47FO9uzW1WDLdtDXnbxGL/Z4/ztpF01x4qSW1d466CN+cw3GDdGnyHKli
JKaQB8DKKy5KRNZ+McKmhiVAW8tMdOgQa+42cmUvSnXjZamliKggWSc1p8oOWmdNVFfj8tAMRQLt
pMz9gv/RSwFBeiEf1Y0E3kDy6P0rO7K9BuFLCwmSQAvHL6ZhiKepUdovFWl3XxOnqT93BMdddrgp
9zGejgOogmZHqkfSPwOrAAYAjy3vnjNCCy6jRvQBH2viMw1ZnbaMaZKPFYY56NeS+UHuw/kmrg08
R1EobXEjppE76hYdq7EGVwj3IttmeFavWiZ6n1FlE2uNFWyX0dViOhMrnmbPa1rxShhvC6PrIQMP
NsFz2DkcmGmPSa8JvrAKDyPzz0XDYtKr2wGbI96MRQJyx0WXj3RcRjCTVnnAy6/edrbWPbaOLJ0o
aMbd0hvGScaTCqdwru7MJB0+DGZh+ksuUTDI0K2ezEhJj9OY1BdjIscfB5b1D3ajw9bOR9PY4hjN
O7eNlhmavBPuS35NcqtMkohhEvOFM0TYFZV+rj/1ohoegWHn94YxV9Q0tvZFDqNlF9vDdAu+FPor
H2kSep3+Es0rusFJdzZzATC6l4qB9G1B/EcSwjldanw9Si2O5O8Nd/MoyT4MHWcjUQzCd0vs7Kbl
Q/cpVYnng1NP83xFfrWIjw46ctOtKOX+USsZaoATDK/yJmlO/dh9GXMajO2E50XMA/3oYpx3PPb1
FXZY5Rmq53Cfta1CpNyQlbtYqnKi0uIqIvi6I9MqzqNkszAgOlqDjZV2kGT1mrLY0rw0LirF4w2I
j1k6NbqrCzJAKk5gV6bjlHilkOw7mG0OXHd7vg0nlZxzFjUYDika2NpcGfV9wiCFw8SI9VG8PVFf
iAthYuzVQY26CuTAa6xYa2gyrrAmiidg+/mgPtrEnlKFkigGpaZSGdgw659g+EsmRB89m3uYSHmP
ziGbE79L5hVqNBnyY66B9aih8m7MPs2fkyFcvlmVcDaNM6i3DSEbe9wDHR69PlR2uiP0rYg7do8w
t7lJSRTtO4l4Hk9OKvVk1zMp7H1YXRPIW57CJKcoI6EM36819dfGMBiBnqwx77MojgW4qaeO8BIq
Lgv7PN660rmlplCOqt3nNzG7Pt0b1LY9jdIkTmndg/Os1Sp8oF+Lx5HbOeXUKyTfZW3X7Q1n5G9U
7OnEUp0d6Ko6m3XvBDcnnrvP1DL1DUFd3XPjlDpx67JzYCs7fWskc/DBSSl3UVrC6ZaJPj2BEehw
4luhbzSGtI8tGxpjMig3zSyn14utTtTTESYaupGTr85Lo3t2WjvXVjyWj2mftKR5IYLZWnlFuQus
Vet8FN3ttzBbuqsGB9CLMy2kDtnRSLBWDjP4VJIc+o3GNN+fFljC17Rg/9LNgLMAIbbRtQEB5NKO
wuY5Jt/sKdUhjGvq9Oy04/QYp0yRvcTRxZ6ddnRZQVMxPN1KZ5BhzP8ofouZrxkPnJoc6Se0JwfU
KTQEuj3uZGj4yotEl5N9q47lU8XCsgfi6jxqFQJFXwbmOPn5inl0w6nlryd2bq8UehXIkyY90bRi
R8kmVvmiGFV3Zdf29FgkDAc2k9bIT6u4lTBsaVSvdCKC2CnMzEI7dioAnPLKQ7zffisXsofYYeQZ
sfH4vJ4KPXOu+94Al6OzDXoGGaWYHvhR8hs1Ne+uCpC51yjBo+M46WzzZpoIO3PhEjPPHJKDaJ0C
ckmSKycTCc8nB9T0jY1pCII1vx9WAPw4Hyuq3E7kXG1j4XYVcSrzOe6nWQPgEMu7STF0fHyTMtae
BHGW/7lCfuJaVmsvxGM3AIMq5MiqO+gzlHuy3ngUTftRq5losN2uReMKwMeUIaoiFT7RloruKlIb
78kOlJ6sOBTzgSCoERJCJwEvXJPaNpNkzUzo+/6LbmfmNzLfrMozkibayeNiP0Kqbb4VeiJ9bfDK
hn5U56NxxbsPjMqBlsyeFfJrupHaYvwErFO5gkAmtiVf6W0Wz/0tYPDsM07P5W6FKO77Rq9uErMd
6MuxWXgwpDp8aUaNSA47cqxv8MHLxiU8S/Ey1umr2Qq1ow3Vmu8nBU+o5eGxox13yKOI/B2bFWFx
dUctwEEnIfbSQdIuiJnoTzNZktsBu+lR1YsGYkIstvjpgoZxc9GQGEZawtexwnllwlY8tmi970oe
x+uhwyDYG8uyVacIlzWYN08ITQuAWTCGyhhKJ+gJ0vQo54W2lbRZvphZvi46yKt+PJkRpkbSxpBL
Z0QX5bB+qmw2XqAIw9MC93ZZ5qoI2oIIjQ3GTvIU+QxtmBPJl5PQM09Ku+JTXFnp02RjHg15jtih
5ysqmEWIuYN9nagGoYcs7HeqFoPzjkHRtiPOyCGVnRsjUgGpaiQwjKQk7chq6zyN3kzt17M2JnDo
2upKAFP3F300vGzq8SySlTd7U072cE2LIygNYhEZR9pe2LfWvUSux8msYiNI2h6YbspbbIkwOYQ0
0D4CW+6DEsKEn9SQzYaXytJ9AFLpRWclgHNDq7walBpAr9GMnG6RbaEvSZvUJEyAalRsoXQDVEji
p4oP31aWsnprJpFxydIIQkM28WSNWnWb1RmvM2N50hTK2a9xfLumPCu+RBKMazq9tSWOVQSxnBn7
uNHtgGZzuZUdWOoNDD6vNFpakHh4UCC0PAswAz1JB29OfK2V78E4FAGJ6GxNS1XwW4q9MSfW0JDl
98Jk8OM7iHu2E62vx7aIwitIBnjtuzj+0MtGT7eXvzxpZOSWeH75Vq+qHLCOm5z3x68SZ/Hpi0W7
rlWbhx7o6ktDy+oLDREld3OnfJwn7aJpkd/z2VfduFdyEC0RnyV8zwC9NPMgTAWjagHbTxkL87Co
nK/I2/jUyLW+j0d5eKFTCwctlfINbSDTgwCmbGNNFgc2F/OpiO3yqUhIkJjFkr1o7ZrOQy/az2tp
2IyOPF31ixBHA2qpN4N22BuzTW+WF+wWtY28Z9tu7iW+hhsY8ERx1kQXzubSbauiijemNerE6Sq1
1/Z2vs+Eql+pUaORwYmDfYcbsdsj4aaEGUJlzad09k2eRPdW0y+A7OCdWHMPglKqtJ05ywnoAO5p
sGSJ0XpwkTEGhGlylxOxe7eQqXsRlRkYRmFpN7Cg8x1hfPnBnAG2Lx3cgERfkedRZuxEW68oxlJp
7qw1JNOoVvSjCttjD1OteNF1ASxXbftd6LTG84S6/gWlEKrNhQ8GUQCv/mYrN0hJynB90/AVzqmc
dHJpBjBvYZ6KDx3l5MckIVKAB3sZHpJoSWO3JKvwinb7sgGBZ9p0XUBeI6HpvjnVXDyTGQJ2xGj5
cwDAwRZTAOdWjRRDDATOHeB9hyCjxrabxRT/im13x0W3qKzsxXwS5FXuclBfpyJEGY8KlVzceiz9
KuqMPXKvZTtH1IDE5eFP0qv42gEz8mSFBUK4KiPaCLDcUbR6ctlDQfjIrDAjXS+Jrzujr4JsKc2d
WoJXcXOY4KBvwSoEdUUFRKViX4+5Lr8YlD1fR8uwCUEpknWfh29myjK/qEfHje2iOTmV8aE1yzV1
EWIcqMw4KGd7fAyZfQd6mTfkzo1301R7IfcyCMMuO3LTywtVRnqGyParyHkblNkcL3L0adBvVHnT
rqI1VrGQ2iqe9hZg/XvzVd2G7119EqvkrX1Vv6WrEK6V2bloqzjOIiT7C8Fr6sbQeqL6wDtwj2ct
Vzbqd3XdKrSDUE4TkA9bgQBPMfIeOV6Y01vcRPStEepFvG83RUbhdKPUejYcW6WuEfbVkaHfFKvc
LzHr8cRKY3totSHxaa8CJhhuiJlG+hCHhg3TrgHAstUn/iA3WipEWhiDSVKvV4QD76Qtxx6tPZaE
stJML5Mb4iiKvJW8rC+NbdFr9ZMu6MgEUwOX0K1h7sy+BQfVPLam2V0srZlVHnVPdM8cRt6XODc2
Tj+N902idJfkU0Y3eUXcuUfeRXMCQidd1BRBzMmmCAxSAUtv05mpAq0yVHMUJLFGpnyhZd214sT6
piituvZVuY4PjpmpVwlgiY1qV+BGWoDkA90WXrIgyWmL3kZVREJyZuRbQd/WG4e6qdFmavVwXdYa
NjdtzbukERl/YyJF73psaS7aY0laZz0SSk1z5FQMYAz00XZuBqWafCUeFBm+R/jc5ZIGp13KpSeU
vdJjx47zxAc+urIGVdtpFqRlL9VU59CScrDvovFjSCT1SZOr4iHM5oaYyHHZJVb6Nc5zzQcscqoI
TPJHefxCITbtQ1U7Oqn9aLQQn6t572RcgUHSZy8zY/ui4hxgg7Fsa0nzscU0thMsBh7Eo3FFq+as
rdk60zQ+x8l81+vOQxL3pruE5SUR8uzzSe8YGgXnC5/GNr8LTUG21CLd2mHLtwTZyGSZMBhMREn0
2SmMWv25UKWFKOXuIQGC4GlradmotDk0gbdKLGtmbbaxukk/QC7cwV9n0JfUh0QjfDgpr6F2PkVW
MzCLgEMQGc7OGsLRi+Pei8K6CZxmgcKRlgSsUVT7CBjqLePgJRjz/EM79DeWEn+2VqU7dmP61QvU
0zxpPkz6/KUnq6EfhmvFLr6EUXe3NMVn+hrONklXCCLU7mX+WBjZZS/nIWOLm1hhqZ7alJ503rCj
qPbt9AHO6A0m5wu5T24zO0JNWuwydEDopW34tcWYHmx6En2x7ONc3FHM3Oiz2GREhNkNfH9N+KnU
fKNwNDwFOLzbZhj7gKhFnmw5vswEdpsv1lE46ujz4O4TKkEYqR9p68ybIc2PsjnMYDhl0C5kWgCa
tyGWgTar7rVifiBMQQYqUd/q4Gb6pruQerHVLYD58RxMbXdNy/QCE/ED8ag+LombtomBp1wlzExt
ujCIlElkAyzuCVh0cDioJoVbYVhjHqNu1CEnCV4ZUWFKAoLD7ENqxZInquvIyp+KeTw45fjVRkBG
t42AEDpgEwH1DZHVSrcEDLc+ZVX+EkXRfS76i0EkW3Oot7V+D5loKzNXYNp9a4MC9NQwrwPTKh7i
+Y5cXrdqb4uc4WfV+Zm03DfzLYhRQDQRSdWSQ7tH5w800trTpXVLyF8tOtfOdb5a6lM6tZ+FpQSd
8kAEhBeaJ1MyL+V2XDalmu+rJv8GXYn6LayIO6nv9cS6d5DxpmZzN4atX5HvGeeHbH4OAeZrH1aC
7dLFTxNKLpIDcOEmbmHT2BHV+hsIS2dPtcBXgRVCGZZ+1vriEt3zU0pKKGkjpctjwCzxxYCkFaIX
yrM9iSCXJrrfIUt8Z5ICzBobNNw7rUCERsOpkEe2384dv33XNA4pgcVzZnaEIFzxHZ7F1RgOriFl
gckZNhHVTmhJ+6UrAgE5pgmfFAhCbmRnOyXHGEOlh+30YFaJj8jHRyXudZFJCVFu0673UZRTI0gB
+J9A2HcOKcuTmu7MaPZa68GEAFOQX1IZnecMyW7m2hHZFxhtiyZOSQDnTg+rE57xPdtFaxcKbZvN
Eey6S+SNu3IJtEHZJ8maB13fq2iYZ5K7SQLYyLSjCEShxT03N9pg7ejif0nYTmaq6sOTvYBZiE6b
3Zl6KRdaANv1AYwQt1vdauRLh8180YzVLS7hGCH1p8lMP9V2/jkvy6NaOYbrNPIuruj3tN/A0+9i
a/ZnO4BqtG+i4qjH0d52RDCYiyekeCOAu/TFeMXs+2ay+Cy0EslPEiE9SkeIbQnyOg2THus3kYgK
aJkA1FvjpU4j/GWIndBr27Ci9enoS+ovPO07MrnrABZed6iHpLjWS835uEwEQEtc65HEauIM4qMp
zVjwwz6FriYfpW65a+nL+Yklw7kZaSulACjZ+Ou7DltuOMzEo4x2lGaXkR06M8AdJ33OZ6P9OIws
NMvQct87kk3MWD20wn5u0GjSaA5Bz6Eo8ZpSyzZMpGlT5GnL7YB0hua8JNlEJR8xgmrtFwMLgZSx
WRvd2h6pBUIFTOuWwAHjxUBHKAfMcMpLp4T/RkL7uLwYObTjj6Y0RSNfhHnAL9Cy417gmCv1GAjy
ZYrILzolfjGHMhu9hClo7qqzKO/jslSbr/SMpVsriZtJ7GSDfR3oJEnl8+TE8/Ihb8pUviNnHjrx
BPmGBAs0l7R52BTzMaKcGIYHY22fX4/ZZJ2yseLxC2mAuRLD2O7rTwOrH3qvn81Bb7V5zIFsemqk
msEBUKHvr5qnny1Igr6PXcospLnUbyelmw6a3Yb7Px/krXz714Osf8RPjpncJG+bLjMF0CJ2JCAn
G/L7dEBEYtzaA0Ax98/H+2W4tZ4U7kaowOuM61xfjcCbtODKcUunvOXZdOmxuWZLix71Kaw4Xynb
7xPQf6lEPnNk/zhFED4Ox9MQLZ1dR53NLpEVBDRvq712SvAEFbver1zlQnpfEbj+2D8lya8Hw6qM
tButo6a+Jh78fD17NSFPBzkSTV7DNQ8OGkRc/mDsXOiCW6hg/p+v528eEtUgOd5m845f9JeTE8sw
EijlNiYYMMAArtlLd38+xG9u2ZtDnD0io7DjeVqjZGNBj2/cdshVIqKF7DutYnBePfz5cGs8xfkl
RDLKQ08jlXfAOtP6E4xHBDqChtUL2Vw7+YVB4m+6HXaM3QYXqMeGFDLdcsXHgooZvce7IKbfPTK0
Gw2gvyb0Xvnc8WQo9ZzAuHPhnm0tHFZL9bTaMJsD1b07ps/vnPFbO8DrQ/PmcGc2uQZI5VBH6+GU
gBI20PuL2Bs2yVEcnPjynYO9VSR+PxjYLEt2ICAzAj97HWi9waFbvr8O6ZFYZV/e06P+r18HHRIz
83HaWvovhjxJKirZgBianADHg6LfZkHodwfFQ1aBk+N9j+Nv1jMIHuucHvG0TELj2/VMzKEVkWDg
SkeDyn4Djq7yE59oAq5niYHpcfTnO7yV3jtXdf3ds/f+zXHPXhJrpPODsu3n9z73ROIh2w9sTvS9
9/53b8mbA54pncMhzPOaA8rbJVj84TpY7swt/bjNK3ECzuAe4c3dcPNvXOP3zvXscbXNrp4GnqAk
86aAqCtG/rvQR/ncBLPfX4nNuyf73hHPlgSzs/p0vas/VlX5ArvM91VVDeb9f7Wqvrm465L401cx
cbIyRT7nkvfwyQAE7+Zqnr/zJVTee1TPLCTOmsA2ru9G5nX+5DvOLvOjzfoyKp4eb9R77bB+ot5L
rjnTyH9fAH56RfTVCf7TybWiriJqQLc/yJ7q0drKAtsPd2xlXBmLw/t37zcfkJ+v5jnAo5AlaQh/
PKq6N952KHd9jo3kF1QY+cxNwNqKz9FLg/d4Ta/OsF9eTNxjqLBtRD3nwDDF/HHweYugYsNMTqQn
3TNO8YGx7L71IxSxXhn57/t01d8+tT8del2Jf7rQehRpk855E4xMsMad7pkIX71oc71nYTg9gYg8
pkG4GW8q7R4l2V3sv/firO/F2ckb8qs9GeyIrp3TGqYUtHNMc9oR9WXZWPqhN8ePme5Qb/Wztsts
Ddn9P0RW199/+uea9XdfzjdHPHtzlsiYzLxclyX9kFL8kDr2+kAvF//GovubTxmVFjQuzg1C/7nb
I1EafSHglUpBCcbLxCdq5fVT1hykvRT8+czW9fSflxKrB3MNi6JOgWa2Vq5nb2tvI7stHMuV6QZJ
yVXCLL3JP/35GG9v1/djgNcAcbHKySiC3j4wRm8XDD1pqJOEC1//OqKD4ap1m7gy2S8eQsHHPx/w
dyf10wGts6XAFHRTqcAYUc7eItjQ0QWR4tT781He1qivp6W/Rn0hdlO5hGfPRCnDZO11253E0W7a
E7nz75T42vp3nt0cQgLRIBhkllAGn319UyNOskUPXXHq/HmjMdE7kqVLEM3Enrn0ysklZvBWu2Gg
5hNB9QTf18/J4+CVo0W8s3O3izyGEopnae8s8785eQM6gCzbKwAPS8Pbe0q0agtnl+dGmZu7TGLr
jCndeq9mfrvUvF7in4/yeoF+WmrIw5FbO5Fc0uEDmjRBQr/qZHxEbuRlG9RNxTtvw2/OCisAYH5E
j/T5zp9UubS1pukg66dEMg8GEigy1rd/fmx+w6YDeKMBbEC5AqRQPls/TejDy4S1OH2sH5s9OIdg
2NVbyRuo5axv3U2xfffb+Pab/Hod3xxyvc4/XUfiKEMHdrg7eyP0rufq9L2iAtp20u/o2pfX/V3x
8N4y/Rt85tszPXt+NY3UuBagvNES9jVZl5KMBgmfwQlKZCApxW5ohpckl+5x2bxzJ3+z5rw547M6
Et2XYa8JAQVtMLlotm2K8O+BpO2LSsSb1zv6/2Lkv2EC/Onh/gX+dPxazG8MbK///NeXtvufv+nK
X6iX6GUhu1nJLGsazA8HG9JiBaoxbX6FPSitoP8l7bua68aVbn8RbzGHV8adlKP9wrIlmzln/vpv
QZ6xKAh3w+NznuaUqty7wUaj0Vi91u8JNu3/ieAvxLybZWBQHQOcCNR/AckqRBclwk0pgScKU8K4
4f2HEbaPO4LMcCtk0hbAaNUEAxNdP4klni1CYOchBXrdJM0JUkx4do0vupbXivp4GP1jCYhscOYR
5+hZURnwWnCD4ElWqxV3kSpfQLk/y9X9ZuUZJQrPDHF4s8UBgVYmKKrjRVsEWUoC9WkREuamydlX
NGfVr4XbuEM23sZOqMrTjME+oPm+AsGMuz0hzauvOweQwh3AKyfzOdyNnuZgJOQ7N6PwvKTO3Ggw
hz4j1ns3uZzd0sVFP7YzJ3GAC/HEo3yEuDHnnKeLv08uU2edlqar2s0wmtmY5HBK3Lz7HeQmYLEM
ePQ71K3ilzGMkWAbgK0ZOezj+sbQmMPrKp4hignv+iUeoC/BHqbvcBjXOwFwrpO+yo8qRJtvzgfQ
x7PvV5xaeE9FLYNJfYmmTLWEzGynAUDrrAX71Nrsa6HkrCTDBMZSwXGsgOwCLANUjKqSBVnGEA9B
CcSJnalOL8E6/x9LdbKAH4xQAZqbmE9rZBjpvCm3ZS86QFbdlX5GTub+QXCQj/9eo70t2wdzVETK
YTJHigVz88vsRkdwQsggcztmXw0PIzKLDbU4v/0meYhOW+DehCjmgM/mqdjM+nnBiw/MYzTs23yC
Oj0u2wDdSQt6X3jyCbQv2v58oFDH+ptNzBlrqoK5SQzz05Gi4PV7WTq8HRHGzPGNPq44CQFglpwx
+7cq8uPigoLKJITOIuj+RJpcspClHPQ+sDT6g7P60NDydce4kp3kCG16/D/Va4IkqE7JxXoL7fbA
9GPUhfLz+tgGkc9jsmestkZYP0gXF2eQRrelQVAhq3ILCiHpZYHYjgcJT7CNGU6yzy/zW222/6DN
8PESQFb7o02qiDJnDO5IxGZJyM0CaKMFzZ7M4vMYAenOzS9LmghwtGRiL37iHVklFeOfkN+ZX+Qy
UB/B8dQ5oYt31W/W6ggoHt3qOvcADOIVqJ8TA3zcWKZK4nQxoCjeEOEfwGHXELgMlRO0n9PqRwtU
WhVMOZuXN2mh/Ckcv0agI61XcLxKmB8fdxIe9s9vks8HFbEHGmgVzX7wXlP7Uqv0wdAreDToz7m8
oquX2k3HoWpjO/XbiEXdcyFdpooC+LNssBc2RgqxoQUQ7i8SOFlKYBpLjOGe94pusr2FCOA4YAnH
mYNMjtJte/pXlobRwQYWMVsUBYQHmFAWkRdje/UK/7+39T5ZpEIDyPUUelmwqNnhTX9SvSrQvOUZ
o+duBuZhXmONFYlbB+k4qUZVHg2Y66vn0PqGBMQJDJ4Bajsvc4k2zEQMWJLbdIeoSD3OR2KFxdYH
EpubEg1Y02ns3j4S0OZ4kZDt6HLx2msAu8DECE7TwYkf5ecaDDN/QFjPjRHqlBdCJUYBAw9rBYhY
W4MgBHqxIQxX1ZVxIIcSry4k/+THc4JQ5L+HJXXmYweOfUaCJB9jT1R8AknQITi93HOWlpWMt4ao
095K5AYwZRhSA+G5xMV98LPr+vAHHCzkJ59ziUogAKut2iC9xcnUXKqp9g0q677cgmIO80y2uAaa
9YCUhg6F5K6YYIBWMIAnEMfBtIzagXgATASY1nhMFbPlxDCxfea30XkHUyprggE5sgrRbngjK413
8o63F1k5dLPY5J64jeOotgQLrBkQVwIZ1jg9L1XqdiaHNozupNMJxqISjLRWgJyQhVaD4Zv8U21t
0dOdxBu/tztM+NvI3QkGg8B4yYtaTiqg66gEw28SVOnA+Zj+1KenXtX+x+9E55ohFM1IhIF0H+1I
tAK96hf+fyXZ/bSEVMLJsm6AVDPsdJ4CORZ3ekANaoP/+zkHyeE12frkRohpFBcTtEFr8DIeycrn
ApJKOZEJTW/gYRK7dTHX72WHwqmP4wFvzRCgsdzoiZMGmF8O/DoYTEClhFfZj5E5xb2edvqbw2Gg
4SW9cvS9cbF6fRC5OniMeaHCSqrQTpJBtoMHZ8hMUOdSHKnVMPch2ErwKDDcSrBouoYjP4d262AK
NOWEDsNDuGaAiA6NFkKD+NHDYpKGaoSL9mrqxxmiWQUwoOdXkWeC2nijASLuObLAtG0+15DKAOz7
f3SCWrRemru1S2DBMIMyjPxS5TFzMX0wEAEYxhYNiX6JystWQBMMJDeSUNyO83DfTwmncmWaIORp
BGD0GTeijKWRtKaJZRJLuy5exfH6/Hd4q+up3YPnEPSmcHVGXUeTs0lVkWMCCqAx82Iw3BEJ/YRZ
RMNPPMFrXOB9Aa7PDxiallz5dXAlpz5MR13m+Mm6fuBnaDLa1aAqQH35MeRECMsprYSfgfnpEa0l
3bE6Zz0KjmovPuYNq2sZyi3Gtc7LHoxz5oNhajdjWKFMpBmGCS5mPfXXy8PwA1O13uCunnivN17i
8hj4mF914yxVSIST0K1aS9YcZEmQhRRfz39URkUEVmO8IIIvWkODgi4fuhlEEeCqtFUoR0MLMkjn
k7C2mH1aed+NUalsTWnULSRcmzJdepga/RG06T9lj4jtmFdAdUe9N73MXgSaOkwli0/ctMh0E4+Y
wKSpDJ2fTlHRZ46xOdQLPGDWp2xX3aQ+OFaui1Ml23h9d4q7yFVvz68u6+uB8wcNENzv5E/0iZAv
XfJJg0iAIt2CDQeQ4cT9GwsAEgKjRhStqNSFeeZ2FqEdakvQGtzNo6a6dWny7nNviC9666O/gFQP
ZfjPz791kg+11sERMNDeqk51gwmZ+7X3zMZOXbLzMKyAHhYGMSFFjEuX6ILC3U0SfwI2jyvtxlzW
919Dv9u2szxA1ga/ptPFQCOqKzl3s5OFO+OxQR1sOOxaNEFxJqS4gkGwvPKMXRUQ8SJRBa859IK4
6ElmkEKsArgtvBJ/es83snAxwTsFYrB1gBw0JKCm/diDg6HxzwcNcyduDJEfsrn4ZUsFFlzcgzCW
bGLuXzxYyykzZh+zWb6sXZ03xmqG6SAV/O0WlTaFSIwqHSKnNvhZIIqoqCj+SlBTQlgcLfnFN18w
txHwJCVYlRAacJJkAEkJ9Ovbz9o4OWMwV40x345KSHTK6yEQPPWOKGWINiSpLrjdf2ZQwowpEnkB
pNSPiwq2vVCTCK0b+skA3mVeEh8MvKzbs4OWh4uh6BjMfT1n/zMeHVDvWfAPLS8iLEXV1A2A76Bw
IfR0DhHZahwMVuKd2LWCHCNeDm9Z2V6+m6NCp5LHCGRgMEdmR43kUDYaJzhZHkGmATIvUFkBrEUm
P2Hz4YR6BglcjGEZckuQe59IRGKqwsPcA8g23OLpfHzKpH6kdvoHe9QKgvYd5BGDCCD2V8mX3B40
fJqLdvGhv4sO6M67oqv80MHN5+hP9QFEL/MPiKZxSlByzn76EZaEDI7HSxnn5Een27AGq0BCzmFc
lX8JreA9gJs5WcUTgb4CuwD6ZukTGEXDzJ9RtyhEMZfgqcnFcmkAJYEVNhwtaL9N+xKEbCqAWbxL
OiNwPhimCo2xjdeuE7DjzS65wzgfBkNNDnkwiT16DUGNDPJbQG6lTxMDhWEUMdTpAQRPTlZ/s2Ky
CEoFdlH3nBsJoxCExiKZTMBG1zT6/NFXEHS0Agw1gJ7PpeYqTRuMI+dVg+UOCjPSZEf2BHrmY0hg
+AViiANWbIlvutHEjNNV1h1N8EOd3wDMmJAlOEPe3EDpTW0A0KKWWq3LpK4HzsTJ7zQf2maeciE8
EFRka7cXkFC17jlmGScsVvHdLJVKMkHGIPOKVVSD8WRgVBFALJ8oDIF2JI/ApOH8QZuYZGE6RrZG
qUVV8joGzTXqpUiALkM47qopu1DkLxDgdvv5pm5f+/F2nUBLz1NZY52DH/ylSnlwTK1DKuJ7kqu5
5Kb+DIIh05180S3cdHb04XpOj9zSl+cxtfFAmzUUi4zjtxAwi1WbgS5EmKe5Bh/XLq5ewcCO2bpd
mAICZ72e/8TsCP79hd8eCDeZXNbSogxrfGFD1MHFg0pGA7uMrLh5xdn65LOd+axvOtYbS9aU5C0g
HLC04gVKrgc7GzAFlhIN0R7sH1pb8XYNK6FtIuntGNuYTHJp0KX57XPObq6eCAF2b0PMAPzoeOF1
9CNfjIZpE5W+DDwK9ENpWSah7OdCIdk7LiOolAC4lyiou89/NVankxRNv62QX7HxLDegx5CTOnT2
MzwIlF8m083dKniZHdHPv5WX0/2a2f0F72GR7Z2pAQJKCkZawtbSMYCIqh8Xe4zcNhaSQc0h0Ge8
eBh4BQVGEvSdGG2hdn/ehA3G3mCh7uK73mgvACw7dVME8t849EPMzoMOuuWcFky3NkapfV8JIL7s
C8TmkkFxFQQSQvLK+WIyK/zxvovJKx2YOLoLNw1SZS0hun7kpR3UzcGK9zbox/qKpz7xSkBmgYaR
PFRoMkDB+lv8bOJDyKAXWVqwNvr9vr+afsQunohyovp0HKANcPtX3r3boxZQrrqi10DoZC8peAHs
uo1MKPc0K7hAOkOOX/LKAC3YXPTrzWRWQ4VJa7W3vD4ShUcUx9kKLtR0fDj/q1gFGxgqAUwD3MzE
c/7HTWKKS2KCJTa2E0y6yuDsALVErX8pNEyFoEE5Qr6kGn6et8lc+a1RcqRuVr6xlFVJZ5zURIYb
r2Uu5sRQlmK4LvcscB9zIpd1hyI0nL+dpDIBSAQVK5zf7jSz299Pl1XjNwE5s1R/wTgYX9yLtUO3
FqlaBM9FYB3vcD7Pgw3+isnTfMG0Gye9K5+Mh9kEtgDT1Rfj5RgkPu+dnHlEb61TJQk4FRaQ98Df
0S/34c90CrogdBty+cj36qnxwezrnf+mxCH65NqapFLS0iUQ9yHJtq+uCh2T4sq9Bfqj80aYKX1r
hdpCICxu5alHtBIhj+oWfN2hDkAxkVdUF398FA5z0F4M3+MHZc8xzXOQqj+0XAJ9aoiYHf12nz6v
JSC+dnm1focIlD16iidKt39Q6LH3J9pVkkGkeOjDpM2N0awTrCuZKtRntwObHOYo3ezBwCOT7Iq7
6GV6qg0y8bNXj1y1QVZFgkmGf+3TtY8Fxuo5IkU1kuRp0f2qCuTHAjNOsd+4oxeDhip8iI8lHoF4
25a94u+mqU5ECCRtKCUw3Viim4j6rim+pkXB6+vwzFAZcJKzpddlmCFX1hzHZ3aMfbK4oqv9KHqn
BXvYACjdX4CA8PgAaS/A4iEVQ0NmBCtppZY8OYUpZtwB+iq0h/MxyzqxNxboy3gdl2NqmXi2G2XJ
NdW7XOFdBpgWNBRZBkZQ0Rem9uOczePQkV44uJCPK6opUNFyNh7z82xMUPsuBm9NooEmBWwS0A6Y
nlVjdKWOVywycL54goHepAVgqfR5VlgvUnkE5xRKUrAGuKI3XEhPhFLiCfSzwrfZwbOu3aCTgfES
FCS4jYOUn+Mpc6sBog05L4zPf+qBa7kh6AqIUuwhbr92WeE1knZRt/19Ei/Pszr6fxEdG3PUoViE
YgOlE8R9vAKsmV6O1uKet8BO1xsT5NtuznkiXGYMwMeAphYFXV9AEtuu/ToDyg5Sey4mfY7gBVt1
PFskvvbKsc66mOPJ4vd6Uqeg2tXQ+EBhhdSpHszDeDXvQAAzOvHttCfKrFnHqzOYyXpjkToEB1kZ
BPSsiEXtefDAVwkWHxBfBRiubTu3Q++29cZHZXUmUJsMf9CeYu6WzS+gNqQ4imAsSsiKK9mTBlKn
nFBftJP6V1lzY4jalskKYcRJR/YiWROFYj1dyvGddCSNRgllhleOrq59S7gj0xwP6bnXQgaD3ERi
yqgRTQqhN8KjdOIvILr83wKInnhde4xUjOY/Z+/8avWQ9s3QX5Q8kKzpu8TnHQnsDIA7IzgTcH+k
pzTGCl00nPg4EtrvpRSDKBK4LgikiJHl5dXDeffI/v5UsWFO5V9j1Lk3zJ081Rq8A1euJ4LJuSk4
CY1d529MUHW+1WqRAA521Plm/bSoA/i26htotqALJ2nfu1AR7WXtfHHVajst8uu6zi7AVcu5LfMc
JX/fZKHSspp2meBoW7Yeeg8OlEk4dAwsE0iWwPRKOtoZNFC6aJeoGwhxv6VXbju9CnXLydYkWdFf
C7IEmBECZTAwA9TXSiQJrX1QpNu4E+7Bg2irhXQMl+7ZBDva+cBgfjbAYHAPx6DjZ8A7RDpNCH4g
jZEOH4HYt6MPhZWguJZ3eNcG8RPHILO3tzFIfaFCg3xARr5QEt1bC7RYa19bjv1o2YKEOXPI32aH
zpRcCAy7500zlxW4flTW4Kz+JOylgHkSvG9wVRFbSIRgWrA6zHPirvOX84aYEbIxRH0/TG3r8zDC
UA+CUShA2TK4T86bYB63aGT8dobabtA0mK0yQfrI92D1NMDZ9zjMLmnokVcRtKPbx2iEeBEo8P7g
NZt5ywY4AFRsKGAs5KWP+0yd27l5q18IrgSXz0W1Yx+EX452EDGvC4EyXqeNBeUxtiap466v5nQJ
SfMy3+fX5qP4gHnhRHeue9sIekc9CtfQK3Wz0IbU7yGHrqTZ8RaddR5tfwJ1EIJxcxjAgEM2S3gT
3qDP6ENqity2J1d2sdh98AcERaxw2l6E6buRUPSFQtIBJqWd8BAZuAUTrPPkDsAdAypucSE8LEeh
0Pf7vCB/36TRMZVGkKHC5JInu1xdp5MC3ldxEmVOE5zp28YQVbd1edgsYQlD6qDfpnkPPvyO+zzL
9MbUybUaUz0KkRX84E2vyJFKkDRVA1r7o5YNoOssm9wCOSV0OUpOnmEMEUHxHWKWOu4WGAWlAY2i
MKqZEqL5B2zqkTyM5mgakKfRjjMkwXwG00ENhNxtQaWIbqJCEzgXjASjGPnJAFun5kE63RcwMlj/
BLLNfMFuIOM0fzAbxlrTrWUqx1WT2Cf6jFNQvshPhM9G/FFeRV5yodrii457VZD5Wc/ZgKxo2Rql
kl6BDgXk1GC0J3z6Flgf/xFf+v9Sj7HOiK0F8gs2gQ+ccl5qIz7dWH0pu3jfizdR09jCzENXsgxh
EBhzxLoMACQNgsKoaRh2RK9tFvU7YFi6cbrMCeHyakSceGStmiETrSOEJZ6ZqaxVqBLY0msEiRnW
oHGsQLD6k3MakYWnKxZDAaMHpBQw20k/x4ITXgi7HCagya44yU46ZgEAVocFAHe7cPk0KcwDaGuR
ShzNJJRSFMHi0tphAHpwIDrRnEsfCVxGhe7xodmdd5Is0zkfqSOv7g2tyDJYnOPxBN0pUEhKwaBE
nq7eFqv2WGsKeMVFTsgzmxVbR6nkJRSLIE7E0d4t99WOlGmgpYGUEZoST9VN7BK0Tnm5nMydWe3/
4Phh7fTtD6DCR43DNZkL/IDO6x5lR/WmH9blaBd7wCHtHPjRyNc4sF22SQxF6pixBwkQtc+HKR7C
liy1JMdOKZ50kILWPIV6nhFqq7fD2EOeAUb08DoGv2Fd34F0k7P3eEbI3zf5JI8tfRjI3ksBTk3W
+0ptLiqePDzzwDFAVfLvelGbAaKzstaRGQEQ8ttR2OF6BzJnkAmDBADyDUGMMl5VUi9pgvN7gvn6
sLVMbYpZBBJJ196mE9RDeDB2SQZOH9UmDZ/+trlK0NHl7ENmOts4S20IU02XWSITGaoBXZhrvXz+
G58w/wAOTyIdR7cCoKADSVkSfb9erN7QJRAtN1BwobX1dfkuvP6PFqnDtFyX2tR/bbFaduVveLl2
wJtoQ/esO5l+f8NvrVBULW+ztwYerH97Se0xMElXYvzLy/V5xh3FW085ZJSORCm9AunwaivfUo/7
yMA8KjZ2qW0Xo82viMQu1JC99nV4iH3L6b3ycriunWWn/sVtfesmtQHjzszEhSxtCe3NaBbcIuaU
sOwMDbSTBqSxhqFxyqOhKRUximGidwcvPGAtw4N4Udx0N/11dNAuZ2f2VsCMe08/yjtrz3uOY96M
CNzq3x9A+TgJkaFlAnaEsFt9tLMD5Qj1oOoGqnjrExj6cS1THPXUXaXHwm2AYb2sOHuSJk4jY1KY
aSHEm+ipE/6Tj3mukiYhGchPmBwBojmOgLcUMPFIJQJK3yd78Vl8kb4OP4ynIiC3JfAAt156w5uq
Z5cFm99BZUKrL/sJM4xkqn52gQlzm4vYrXet1+zLw/TEfSlkdTO2flP5r4l1My1m+K2CqhYUxztz
T4Dl4omPDiZL+Kn+2LhG5T0g5AvIMBFTTZO7omIc5UW1HCOp3fPpiGeIOvDzOmrrt3Cqk8kt9a+6
CRWRkFPXcIzQ71W5kP/zoZJ0Jyql3dYYotD35z2hKTfpsKTHLDNLhIzOW5WIsZv4S36NV+TE+zW0
J+MV7lq+MgKyOwrMW49/M6283RX0/CVEE7J8JiiQ5DG5XN3kqOyKIAPSYpc52QlnteK0B/mIEZzb
mVNCsU/m93ChJzDTejVrC4WjDRnKm/aekNhkzkuHWyGskj4FD7XH+6JUGozDBKxjpJ6CUvo4Qav3
Tpxfz39P8k+c2QIW+QmbasoKw1VayTXDWtMxCdYcDN5hX0U8MheeK1QWSVZJbGVCPgDOe4AB7CT+
Huo3531hfyCdQHLJm/unMSbIKvcDWnioP78O3ngC2Qg+EbnDNLGLuABsnPeFeCbpcaZoBjS4IswN
4qHuyXmPWs101avivr5sb8Fbz33BYZsEPBXnIqj+PknjVno8lWiFkoSs+LpTBcqtpL4dAWQgBUpm
M5i2V05yYRc3G6tULIqd/M+Vt3fNG5BfTyuhNvIhY+XG35L76h5gXT5SnRmeG6tUeLZS32ga2Psx
L2LeLul0Jct/MfaJe/z7clKRKfRZGRkkMk3CUhpf1Rav+iWo/U97bGOBOtFiKGiWOjnRskfz0AX9
U+eCkOJU+FxMHnOXbSxRB1qkxBjKIM0rCBQCb/ITXfnsNgZCjDSwBgBvOjSv5N3fVaAbu9T5JlXz
LKNzRdpz6s/+mtgjuMNRt1MbmojcOYnzfmLY9WPWgjSsugB6CD+FOPXzvr6wUqgp6xHvgYO92aCg
AcJTA+O0OtUptiYxMiCdRqoRObfjyc7d9A6MV4C+4RUz+SLb/CEJrlHq8tJqcRFZ5DOKgRlILmhT
MDTePkEvCkNEE3CrF+bf1PQbN+mrS9X2RSeTDzh1gVG9mgZvWoLrFJVAGogHK0RVj8RmvYeuzKLb
sZNixAAPEMZNabrySd7x2AbY5evGMyqDyJo2rxrxjLR5ksIe0DwuIYxLRhqc+BAW9t/MgIHyTlMh
4QXGzjeWw+2ZSujMpMGAyR4wO5DeOUq1h4AhMFGKs/4woT15wzuHSJL6lGLeTdLUp+FatwYOPtyT
DDG8Horw0tJVaGwnDnIbjx2JfRZsrFGbIjVGEaqzsNb97NEu9IrIlmwom4Ru5+e4D4UAUmPwEy9G
3GOIhP45R6mtEelg7VfIfiSfE+MEjp4G5LJLyBQs6Py8ckoK3sJSG8PqZ3UYiaujH4IfZ3Syx9Fd
vpHCQneh15WsfnlbuO2Dwqk2mSffZo2p7SLnWU6YhRBE6QCCqwgv1pzJIp4FamdEhp5pb19x0MEC
DqCPsHB6Wcw0vfGBOlq1NgTjK9nydSY6Uv+jz3W7ML+c/0Q8N6jTtYZ4NiTHYMQKTa+OQ0CgnfMW
eG5Qpyret8tUIFeeeYAGnfnVNDOgvu7/NyPUESqm3ZJDVzKxmyL+WlWmA6mek8W7P7EWC09b6PXh
f0BDUN88nwxpGkmFjLcSyIqfKjy2nveDCX9A0sPjCDjhAFykHIEEZaeXxJHlEN3KXgJCRSgmXmqY
6rdcHiE5s0+7sUYP4U2rklQSuSJFTdp+x6zvy2Imt5laX7WY56gJZEXWbhMQw/sQOO+9884yl/Pd
V3o8fIw6JQqJ9d7qj4oINcHmLzbp1j8q36V6C9lOYmFRSjdeT6smuud9YB7MWxNUiosg+wldCaTU
zoPkopt4UoOUOqClhFrxGN7qgGs+nbfJyqpbk2RdN7dO8E9JeTmRLN5ZeIdQ4/26iq9oHOtOCzmu
88a4DlJBr+S/v5JffKsuVfAUAhz2ZXYkpwOen39rYRYdGK01RTCUkCYiZVHVozUeGszGqIGE9qGy
m3fGBeZwHCA13TzQeJ+QtZ5be1SiBfFEGEkF7A2LA8lnd+131VdMhfT28GwFpmlr39YcpT//ysHa
AVvLVPaVl0FoegLd0rPkyoyjQAh5lCE8E1T6zXujjNMJWyDJ6/2SXlZ5veNECG/96JzVhsaYqjAx
QaPcnp+j23VE3UaaB+I1GM8T1Zm/EbYm3sA3xzDdswOcTgyjBYZNvevtQrdAZhGDySa+tiQOdRmL
vQPs+7+Dku7cdbEaFtpMbF1ozylgTLfgP/HKU3wa3dmFBIoC5H69k25WxzjELdrbEBhdTjlGwfly
KGQH0HUcOFEI14xMimUq6XT9IGFQE5V/97N77C7xJnkVX6F1AvTDS3ePAfur7phxss7b/Oc5o1Ta
Ac8vZDvRvESwgnU6USF4omSpM03xkxXrV3LTKHZcqN+KTkMotACpQ3U24MQa8ezcj6BygyLjH65I
OBePk2f4VVCAcDjbS44GWAmfUoC5ezYLTaWGtio0U0+xrnETY1BU1Bp7SmL3vFNkC372CQAd8FpJ
oNehLgSGlYSNlSP/ZPVp1HW7hbj12HpDJbgibpIgweWUZEyvMG4AbVhMcqq0NtkyJkAZkbQTGXf6
dOzjH+cdYr5AWQCj4sESJQz2DXVCgVN7ykJ8JXKHg6xuhyb3uDNE/AdIxIHLK07JPeQej7GXZl59
wbvQMR3c2Cd/35yQ6yjMUKeEg+L40AKpPYWcsllifrONBSoOhb4c5QyysxgGi25rcFF3tgXZDCiT
AYgwQjhsxSNbUkPfEmeWNnFZfJmFomWIAK4CbgWxF+roEPMU+l0Er0OoWWQHCzsD+NfbyiE9ptDS
8M5/UuLPpxjdmKOOkVmBBmptIkZnYzfP+KLhArq6x/NG2Cc/kR4AklMGzxS1qnUoVFFCgGpE3Omt
0shAcTPjoTty5h95YHGeSpnvMUAV/jZI7e+8TmMjW98+Y+9mnd2/Vl+7hxYzxqKt4uWs2nfXoi1/
txQAJnb8DjgzUDf2qa/Y61aULR0cHjCL3oUY6usf/mZNIeOAZ1C0+kAK83EvjFGJ1KJhLxL0wHgP
AcYbkG06wk2+w6BEYNyft8f0CJyJ4ELTwaZFI6/WpNK1Bjxh4PQAMWR5nZo8ro03xsdPsbgxQX20
IQTQqZLhkXqhvMT37X5+JoA/+SD+NK7Ug3a1+im4isad8M0c7PIRwrJZt2v2Kzinai4dDM9h6hOG
MWamKwMOh7NVYAYNLXbMqnPOPZ4RavupQ5YMqortJ2Vf4vBOiV/PfzXm9t4sKVXC4W1uBEYcS5r0
iSutr6bw1Vp5GHG2ERUSahqmFD5xy4TjaqqtCCP1WLeSk6VSL9lmlmWVk2eWzuO8ZDbaQFMgY1xA
BOUijZvRU1lbc1IrpPtkF92q4MpDSe9Lju4TnrwamZnXvSSh9zk0301SF84BCuFlKyEYzNEtE8iJ
oTEkapjs5z4asCPi3RJ1xOryLKagJsLwwBUA7251INplcM9V8UqIZ4Pc+YtqGxKc0DTVVYhKyPQ0
sDqbo1gTgoReUW77KnMUnGvSlDt6I/DyMqPMIxhivENiFgTDx5R3vSVEgjDAu39PtxYlGBgSBhcT
bIDTc4tb8mGoDwdtGpA6oevyNvD5MUuChUBDQQTn9AsdXOvaMdxbHeb1IDfqTRjpPr/dWDhpE+UR
CjCwviIxU3Eizv1UZzPM/QvpkoRjEj6CcMGTHNmWn0IT7z+O3PG5bEg++uTpxjS1tINYz3Wb4u6g
2IkU6AdQyX0XRLsKzH2t2Ri0uRdP2Ut+EHub+8LGXOWNbRLUm7osa8u6Lha4TZiz6tomWHQVBVO8
m0oodvBG2li9iw/LTDLSxl7XAR8L+myC7aoe+/vM6xo7AjTXWV5My17u4WPoDIZz/uuyyt8PZqkD
ahzX2mpJcSgc5cN6rxyTg3GpfV+/q9dv4/rQQLaLLwMU5EKvfeGtMqM0xdMJyFIwsC9qYHj96HQE
Nr9yqbHIqzE5hn6qatNPoh+SJhxFzOfEPN4gRiba2qNfT5QuirWUxLJVNrZU/1ylO856khLlU8i+
e6RQJUxTC0odjljP9GTt9AAKo47yZF2uAfDjgJTh44IQmoBXiFCddWojl5eQeD5S+3UWOnWICX9y
J+I2Ef8w+s477ySr9jWBVBNxDQQpmkpPMGUiNHErCR9ocqJbQIO+kHfgDBlPlAF8jD1eRc90aWOP
Lila2ZhGYq/SBG9dCzubM/e8T0wTBpBfGpiWoLBERSIosxStHZHFVWu003axOx7Oj1XAm+K7iU8d
7HoBFSAZO1OD8CCDlPKueSBCwkSOGiQnQXlJhKOUffmQH3gbjXHYf7BNh2WOTzatyKRlVtpli1k3
OfSt5aazZE5GYQfHxk0q/up2HKqZEFNHP5UrM4AyB0S3e8sVARfDxPOh4xUynE9HI9712KgLdCwQ
HeisjYKGKXrOrmZUgx9Wj/yCTW6edW0AvwK+XNb8nJfJyXRoJKcqZ1vx/KBOgEmIa83qYUXLoqAJ
ra+ZJvAkGtj5fvN1qHxvmfg0PaHEGv3pMY4ux+vUhSb63eDGO/MpeZV+Whek4gS+6Esb8DYyNzio
G4il6W0yhvCRENMQjCkQpk+ERq3bg7UiUG/P72rmh0OqAlHq2yuE8vHDZcWs6wKZ0DVz1TGW2z7T
7XLanTfCKt7xAPBuhQqPcglHzZiRceUbPej3+Yu064+ttzrF9XgJ6pk/EPhixsrGJBUrjSxYs5DC
ZC+dijnxhS7dn/eKmTE2FqhA6SJF7wdAWe1o0dsnXVma57Be1jtcpgE+yAXQbJ03yGoTfVhGKjay
ZZi0voBPEwCnq5t5UIs41h4huxLcv2EZ+2CNOlN0cawT1LzEGugZT3gpusuPABDucTBDTpazt9nl
3WY5qfNlKCMzncY35yR/3K/7sbQjj9wSJGd6XUExy0uL5F/8VIngJgnFTKKoSV8pFyjqmQqZ+ZWj
1WuXH8lyNelPY/uiCRCvH76Ps8r5guzd9m6RyvyTNhVFq2BzYwAJ7HfXk3YbTxxCDZ4NakevAogF
zAKfrTe+m9A9Xi/qhpM02DeezcpR+xkkOnE5yLChTdNgxzXwYGXXa0EYNXdhJ17OqeCrhRhUteaE
VboTDADuDAD1zeJCtIbCnqzkEk0FDlCEvSPfl5fa83rcz7FI+BJly/DqqXaspnRKwfKkgidTxk4v
76aozd/ma7+0RCGjGB5GUBnUOY/ImmeB2uxxYxhlNMBCGV8q/brLJZUz4MtcLku00E6BKuwn8keo
0YNvmuhNhZVa7Dpjaq/mYa49KB9Ih2oQRU5k8uxRCcWUoqmLInyesHxapMhZk9c6BSxz+HE+T5J/
59O+3vhFZRIpbUxtLHGHyaTFzVvroM1qGqiVcSWo4rVGGt9JImS8Q455sbFAXkVmVNVPg9lhieeT
ifQOyX1YJ4j4H+or4XgRdysvOJhHAVIWmKYIpztYEqhzWw+17tetVLJ/8WMrF2C4wCA4qoQLmbfh
SdKgl3RjjsZ2h4bc6/qKhSMtnHEfxXtC/U+YwEWRcARgEtA7/xGZhdDWJFWQQzvWqjVy75Yverfd
EwFHAQhr4UICLUHi/wVHHJAvoFOVVChUIkF8XNBGnkt0wOGhnh8qpQVv5V4dlYe/cWpjhdoCpaYm
ukGUIoEIEkBuAa9wLTR7wFkXt3nl80eSn/3pw6kWmQGHmNunSfBiHiehkkhKbPVb8B0ForCcRrl0
pNHatVPCK59Jij1njzoZulbQwoGwmkdCBTINyfgR9xjeT3lke6zsiBFKEBOAdBVSIlT8d3oGaaEV
m03FRLslXIsyb4aIla02FuhOyCyv4AYnGT5JQIwDQrfUNrL51kpDb1h6Xi3C+k4yZvUVKPjo8IsK
v8wUulYjb9OzKmFW6KaUj3nzo9K/hzXnqsa0BGUbsFCDyhTmPgZ62+EbzaRlKOE5cylA+wEUctpM
flJa7sRlbmJ8KIDfwFUGk3gbe9vmm5uhMFTlUpJk3Lr9iTR7Unf+LjgvRiC7Mxp4Lm+IgRGBHwzS
EdivudmSXrqemf5ahU9FGN41WnF/fivz/KKWsbMKfdQJ34/Vo1UFnb04jjjVIisFfnCFKjKmBWT4
MaEWaYFKiaojbk5+7OZPWovOBDpk6UH/7+D3DxapMIwGeZlN4lVef9FaMGr3vIcH3rpRGVCVxyHq
NMRDRXg8pO/RPPOWjRHhcMJAXYMcgL1EVcB9pfVz32PZepcAoxNP/XJrQp4b2Gis2ZEI2yl29j0O
zkcEC1PzwS4VeX1IML4k8jQBzK6lXwT6/QruHr8HmIX3ZsRex3cnqfhL46UysxLGVkWxzfo+FP+C
phua5ibIX3Au4ndTKdaq9UkPa8QC+K7Arw4wO/iHOUsmfz4utjZo0JdejBEwy/9EuARO2ihyDG92
ZD/3oszhQUnYO+rdJxr41VeiJOekjmnd7DL9Iu3iO8tZnstLKG3dWNdcNCLPP/L3TfYL0SKowM5N
akLJB23W1ZvKz53sV376g3eGMENi4xwV96GAmR1FgLEII6/N/5F2ZcuNI1f2Vxz9Dg+WxDYx9gMW
EqREUktJJfULQqVSAUggse9fPyflaheZwgjtnhdHtFXSRW53v+dUTzlKeivnxf+EYN4vzku44tmk
FTLj66mfmkeOxMJHCpMv0uHPAbEs2OALccIl7yo7qoiB4xpM2avVwmXNs5lcJcr3z9e1aDM0HRBO
qLKgQ0w4pjligGqqsCylntyotw+ksQI1T3efi1lqNEIrzC85wgn1BjMUNYUczk3EjSFL7umGFwpn
fwo38hd7z6fEJM++XtMX/LV+OLkz0cLJye2AMgXHHpKlqMs8dKqEgC0ARXwBL02zaEBJNk/7Lhsn
xbWmnjwoszqvtHAvq0g0OCmYCML4sOjm6DGpbUoRcsp7vvz8xKfjquv4agpWp+cXnwMHukbCDShy
IghSmg1GmQK1+D1m4dKAocp+59NHLRCZKcBlTmv6ZfEeoUjH2/9ASSEWMPRypvXQ4b5GDUhE7P1Y
aCiksZVXuLiwMylCZDQMoCtLOaXp2ICdKfshldqaKVt8eGcihAeRhFqlGxXwNsMHEyjGNeb7gICU
AO0hvYmPvKqdesn92vYtRbXogQUZhYUQGs6p8N6BOVupjPOwyRnap9qO2E5ikRPy8dxThUHHgnOl
PIK95G1k8yFjYBCrmtu/8kzPPkPwu1Kqts2EEW3UoaLRS41N9qVEP8bO3CAJ6mnH8F4xr2ZU1cFT
kx3WItHl4/21CYIPphQYU1N0JAmlJHfQJuSqyVrX1fI7tNBuCHho0PF+qAhJpIqrBm8jiQGlYW+i
PQCNh1fOj4HQesWpXD5W9DcC5RatzOjLuLSCeVV31ZTi1U/7NHHNDVd53RMHwh4P6214yqL/dyZO
OD6lqsAfwGlJ6a44ar1b7XnRXkJvMWkA1RFh/J3uORXc1VoFc/HoziQLR2cVGjqGODnp2EbHCMS/
xJpXknaLKuZMhOA/WzNplLhGWmSgQNsuy6kN0mgCP6lhZysZrbXVCA6gScu+UClfTQnEHnoyrTV/
YkWCmFYCMa8U94hxHHV6HmwMwybdX/Iwf+2XLijLIp2Rb+Z3jxxkYHejSeXw2v6YACO63qKythxB
a+ox5ud7nrLKZfkqBUaiOZKVM1nql7SRnfrjLYnNVGbfDz3jVGu1B7Bll+wZ8+gXRfe1ayWwPPqD
7EbX3nan2df3jerYB5R8ub3zc3hq3lrZZgmb5+J7+J6cebhdWsgRm3BJWq+ANkyv625vuBwnkjgj
kHAx896jZtS66GOGQt20zDOe+BP8S2RQNpCGQYIAMj9NE1MNtYz+30Lj775AC9RQgPN+rXa/dMLn
IoTVDq0qkZRPM+ksdzT1Iba1lQu7KEElOvrIFByyGLxmCTDddAvnO+aNJ3MjT1cDZH7nRV8Qut8G
QRLQIZEHujwzybBZRfjDtu//NXdRB5wPnfoRBpVXbOmSJ8HPwrTALwVoCUH3l0BvLNAbzu+H+sO4
tQDyrly9Ja78OrxaJ8VPN0a0ytOztInnfrYgNIpUu0RTF45J1u4iGj1FQzqurUxb2MVzIYKZkbQG
YzEDhHDgeqPzOsO1dj0yuWST+8VJLdbBJdbWJRwcNe2WSgyuQb/Rn+TYNZ+qI680WDtMlmYuNTZk
XejaOgWLU9aVQvMJQpH7nxwdfEe8N1X6nffxF5v1suxSB8ZFlCTYnWiIB7mWcPVrDA5oG/SHBfNV
/VU79vm+eeJgtzmuDeiGt+yqRx7xLyU+foVKYua3QPdT03EvNK3HE4BHd5qVrSDJL7tEZzIEs6Ql
RjeHPH3D25l7BAx+Atoqy0mf6b4L1qqVSw0Y51uqCZaJyI1e9O+ZRCMY1B3ZAnjZCz1GPSAvT5FX
XCsYyFxH6Fm5sGIMNipRqEsdtnLK6LVWh/vWtsqVcGgpsj3XMMI7HGKdmFMFDQNA5IBjpHFEkmy/
FkAvLeVcjPD2bFtrmnaAGABW+0r3Oqzzji7q5TNdKby0SQ+NsC4gArjnt8QfA3XHW9/q/Xpv++Ij
O1+O8MjQH/0TRp53d2CK3/zSoWzZuCnoTeh9emhTsCb3mHuy5k1VguRkLdhbcmTPPkB8ZRge6DWT
N3NVgEtiGfHixABa6lr/Lt+zD7bu156K7abjOMdjx/c0VOnrpEd+qai+ncd3rWR/60u2oWq6Eu+s
3BTxsaUGbZD1w8rQfN9PQavEmhZkWZyoKzd/qWESns6/jav4vDCcMMbDjMX1G9kFHZ2MtpxhPz8p
4BOfg6H15q8REOjSmx7TUNs1QJm1dfKfn7l+OToKQzZBut5XnhGHbphsPvceliWgUsUJ4MF0KWjJ
frBiKulwhrLqKe4HJ5lL/3MJy+7JLwmCYkTfLInndy52/a6huWvOd50U+lH/9rmcxcwzwOH/vRRu
Zc82S1UoYPY5g0lieuG25HUc2aFfS798UXzVmYJ0Ddx5bWnC8VggswHBAkxMROzIqQim4GwjBrNW
wbYshjv+/1yh4HTlTLLgVr5fRnqjgR6VuTGFUQMCoj8FE3PMtcGSxRWi00LljPaqImJfqbOa4DVD
onbqPWvfbWMg0TCfbQvq8FYIxDzbpgFZw8pK1+QK11LRmEQUibcmYORCCsqdBCws9hZecxyF/jgB
yVde5UVcNHM6YESIKoPRVBOOc+hTox94u+EMPCxn7I0NEtaPXZshF1fl3yazMdzcrnwUeFdizqV2
L1sDt4GMcpr6kXi7y5napAoI4fkEMLCqDFe/MqQ7HuLNLlCLb6fKR5QSUnfN6C51BV6IFkwi2tmb
GTlzTDqAhgAEn0A3CfKNeZRv5Fc6enAF9+tQBKtSBeNYNLFpl8MED1S9lmfXeFQC3nsSz35vuerr
5HGyzbXyzbI2/7XNRIByC4cm63sNHQd8mzV7a1SuqrzXEcHEcR1G2yzIR6dn3nBd3cwPf4lIEJuN
tgAMr/PvEF6w0dkWVg6N0UrRxlLv+qhYeTrvlZQP5tgAdS1Bo79siInHJm2TItTA6cJnpbojnk2K
WrOHPK7EHDn1CsO132eEWxcdYu1bXQCO3iujnXr1l8wXqAugNwBv/KH9syJSEuUx/5RmdppRC0y2
lklefLNnIgTrMgH7RA/5BCHZFscGHUzaFliYq1Ori9GEdiZHMC5jbXUkG/FAeSiaedpXzEWl2MZm
R/eAAltL+iyGE+fyBF0U5mOWKDreBz/FAsydtUMeeUCh/U6Pw3V/l3R/wmNcVLtnqxSu55hJmpz1
0AWZFN5H5ggQ80a5K6hyDFPUBz9X8vyPfbioZ8L4x5zZ69zWe6vt+e2Qqx/KMBiORGXAyKT90+eC
lpUNuDMIaNo4aLqgbMpUy5EfmflmKpsKVzEBDcIYtKCuxvxge6uNoGRdPUIernxc37+lvqNJna2v
yccYmSxIRU7+rrkLK6dwC1c7hDcmSM3rI4idDED0/YmM0GKU82u977WJM8mlVUL7WFBzdNfucg8Y
El7vaFuyKU5rT/w9u/TZKoUHqIyAJQS9CneQR6/fVdvOHTc2gMyJm/qdhfb5cR8HgLJIeUlrY/qG
w9Ma7WHNkC1rgl/bLbxQoud9Rk18SIZFNxhnT3fG5k/Aj/IFfbZg4WWOrYFiS8+P9X1EoHGVBqAL
qIHsjAAJ4LVl8T/3mTjhSSZjOTRNAXFqoTrodWnMbM2tXLsuwkMcSNS1UQ0R2S7+Xm5GBKUYHP5T
EET/hx79dUpCjB9KGAIjybu+ZkeGR9htOk/D1ZCdDEPYnz/8pb0jKK0TzHDCqxOzsIpW2fXApzns
CdBzNSm+ZV28SsHHL5Z4QudSBAeqGyk1chsXb0CtoFe9FPipltf6Y7PhWfj19N2Slj4XKKgzuapJ
MvMuqLCzNsVknZgMHNWp9C3J3n6+gyuiDMFhInNkNEUHg5Ao0X7uO6cy0Gp6a6YrNbdFFX22JjEO
bbQxVqUem8iLLsNd3QL3xnatewtjiQY3ChhgWnMHlwzQuUxBdWFKhOOYwt8fJ3szktKtLFDWzCvW
Z8kMnEsR9BJNNQ1Vd2yhGYa7zkQCso89VQ4M1XZaNVoxqv/HRpp82gCTpIiGcVvPdD+dyRCNFI4K
75HXPP3qneGOhxGh09/JX+lhbRtXRQr6I5fpNL37KpwSpMfF380cfQD8uRxCuAPg1OavaEX+qv9Y
paBGWCvnk23huqQ2dXXy1FtrF3LxcvDKvW3oaK4VL6Sa11leSfBOGl4DBPx4y5kCOdC0q3q1a3xb
Dw4WewZAcweQKQsk7h9wyuAuNBP4v/91djXvXecJQntL+m27XSNkXGiVMnWNAwbCL0KeXBP2UA4r
fZhTXMzGl04WcgiFUz1ypTx/M54rL/1iFQ77roNhG7mTtQNccHAvpQta02RmU5Q2uqV4ZvTESbEq
d/ya7nn3ECqqL/rDOhDcxzO9lCkoTlOtmsYosb91DYT+4SmuaqdOe/9znbnwHi7EiFEmtaoWOCtY
WuuFtzEBn1q1tTxtS49h53KTgCLxiqVbsKuXMoWEiaWGlsL4doaHBECoMxgqMqdDLP8X68CX0gTN
aSV6OSW8cbVlGwyR7GparpVvPlrVSxGC2gQUhT0mfEHDXjpVd3xKt3dKX/mh+NymrmJfrNwNIrh1
caY3Vc3lkS2GEXTbUVDt534dqFPkV23P0RLC45rYj/YVw/6EgB7UAk+aLQtv0EqZTZoJN7LLrI2d
xt5gTk6kg15kjUJ+8VbaHB5UIYYBXmK+AWeGIZWLuRt4zY2ANvM2OXI3Jf8KDJP4UX0FuyVYJtdg
pRdSsljemUzBMmhm0wFdGJtKC7jLI6wrD0YAaFcP3uhzJnl7xf4tbuiZRGFDs0o3qfmezQpnr051
xxjQWSe/qep/TmZ5uTZRgZVdM838wijxN3monCkPPtcjH73XSwGCtmLAaigYR5yYmm9SXMHUPX8u
YOnK22A6tExCEBiLjRBq1VZJFfNGCPp7MZpgngMxbbFyIMur+CWE//zs2hVxVDVpBSFNJzkJfZHy
tfhlTYJwseVktNjMcLHr6UZtLGdQHz7fpzUBwi1WpaGcVW4o80kH8k5xFWb6XzrrX7skXFtAOtU0
AScCZumtgDLL1/Lx7vNVvKevL+MUpARAnwvKZ537hoKJkBQp1TIVniEvZc1e7M6BDi6l4rYCiUzv
gnO68dqvWmC8ZSdOS6lvNdd8hNfog5HzSvPLrelVpQuj5udr05YLW4xvA4w3+EdlEEYK6y+SUdfQ
64H2cO0triq3DtcaMhcUw4UE4bmOEx1pKSPI7TPZ7Yxwr/WZIxGEvGvslwsZWGw02FRBPwjOViLO
f6E/baJGVHAIwfCW3jR308H8mmm+9nW8L7Zkxwsn+e+l2/de+gx+75kPaTUrDuzC4waVHc4ZxkVX
wJ18+e6SZJYxaoRXEYGTvU1Lv7G+JUnlfX6pFtd6LkbY1rJiVddycmvu+6uWZ5lec8TM5Zv+tTgA
0HjHrjk/13BvAR+rc5SX5GkKipW1Lp3t+UcImrJPxomVPMQyNOqO/Y+hqDZRqgZjoq6sd8ltBU4j
xoJloJHBixOUTUJmK+y51qe79Miz6/ylAEtpjzFk9HfEgJ1f43NbXN2ZSEH9zPFUFZqE1Y3dk9VN
KG8GFH2isbYyOsCPStQPgI4DvpoKTmNADl7emLAZ2y7k0UcILH+MI0XHWasBX6xaGVh6Vb+hKP9R
c0Ut8Xv4mVSuGc7sQyxVch3zGoFEwy+lUR5IVvye0u4qlu29zAdhPr+xi+/ibJXCAbaIuoCdAD3Q
kecWFDupvGHmKo7IohROv46aKVwuMXosLSXTzRlSpKAD0H10NRyrW3rPS1zjj+J7c5+/rXV7LDl4
eOa/ZApOeaYofU+4hit8uhv8JCDlZg5st/ab6+FLKoPGeS30X1Lb5yKFK1PI6P3NwVjktBMKtYVy
FcbWimVc3kmAdgP9CODIH1o9pgKDCjzdyuSA2l8GUOGlKxd/TYSwCmLX6VzwjUNM6mpSB1QDujHG
lVr68l79Wohw0eWpY2YS4RkTGQwomlez1U7sxRfMAc5/7pVwt/VGLeSQL0Q/cTZLtq8edPSpcIyX
ecsJgch18grMDm+NpXXxEZ8JFlSUXfa9QcCU4/TJ9dhdddazUYFIGAXHWYn8zx/wAgsHpuzOhAmW
bZj0ZIh4gZP07Rc0Me6mXHos8u6oaOUzM7S3QWFfEr24IuZaP4Soik2gLGPAWsM4PIwr0kKXykqZ
WVdlpOasd9m3VBuJO8f5EzhxUz+cV2nwxBvzLg0fKQNABKgXYsQ2VoAtNEZ0WlBNig6TPNT7oq3b
FeO5KAUN3UiRY3z8g6qSh6JmsZqjGgX0c6ch+XAbJVa30rG1tHMgNlPQLKLr6K4QnM8CNem2GRLq
VLQ/VPLXwcjccbhRVGnleqwJErQgqVhoycCSdbQ6B8x454zy5A1IQpr9itoQLz0/nvMlCWojKZKs
6FtISqLW7SMG9ispCG2UUUYjsMrt59eeX61zOylKE9QHGtGqdmwgLQbQKtgznZJGTtauAMgsXYbz
NQkX3NYmZlQlpNCEudOErohpbeZ+cSEKMFzhRCG1KnpQKMRqrRZDRKXuiSSfbCv3BmVtsmbxcM6k
CBqJSj1LNAYpYWlsx9Tct7lxW0hgLDGbEnuYr1yGtVUJSomVZmflXN5IdXCgNN8UPX5CO7D/+S1Y
PB+CnVNVtCV+YAhUQ02brDalAD6PLM/sNPkRZGzl7edShHYkk8/0A3Nat7GBBNDyIvZNGEvJxHLl
2wDCgsS8jpmcsNgdFToaSCla2Rw9somx4c6sDVnaK4ZUZC5J1Ty/LULQ1LmKxKLyO2xRB/CQLqTV
FCTjzJTnTmvajT7Ls/zw+TdrMn9vH16ICY5SAzCuSKWJ79EqEp2oABGxdHVGhKv3/SFLZO1h6izz
IScqMOPhTWS7Ajxh1JXyXsndmVbZBim6BDjhiX4v1bo3J+HwXeksO4SNHkBzraoDBnv0tshdltPs
YZ4VTaaONGojQ/YnoqVTNZoOpBeTdaGEhuIstiPNqeRuZNf9bDahS+IWLISMKCGKaFbSpUoKSnNt
zgMyADzqqZ0bM94WcZe/6AVjKoZTElVya0Pp8jcSZfrwoNaj2gcWkkJoBqmIVSfbOjelenBZOkkI
ZrVGe+7TUSlcTF4m3qh18WaeWISihZTpGPuvq3TcgIXNutOGVEYCLgpD4qiDzI0pKeLEHagcGl4W
tVVgyBPNnKRn2intO/1kGjjvEecnOXPSNoeh1DEQITeVelRDs7wbpJzdJoBBfx4kC/3GnQrKk1gZ
0XucFtRylJ7knlq0Y7KXc3OW3Ckck9rDTjX5RlYy+OKDiual3Qw2utQfS6CUb8yyH0efWQPS6Fre
pyfEZBq7TlkcflFSO/luplVXO8lEy8ohVRK2TgnMWR19yHFxHDWpjQ9mrutT7oyZGXdukldsDCPo
7DKSwoPZGVHZnlIVpeL2ZI9dlg6PatuWuY2XXDaEOHmWE+CVJpksDVvDqHSt8tQI/J0qOM1CIwvS
NGykE+gtSLKZDTn7MddpkZzUTi60I6DoK4SHaaqUXox1pbsWwWqyt22qXadZFNrUUbLaSv3UsmfF
tTtTB73YPPTPhRkb9FGWS3QbOHNWje1jDiRJ9HwSe2gey4LG+7rT1al2rZ5mBgMrYq5HngYsUql3
jLykKPuN4KLwNSu376Y6xw1VmXRlhtF4neVKRz1aAjluL0spfh1t0NFLlbJmckIAHZHAJhkrb2It
PxGdWd0mZo0UPfW5xHCcsH3T3tBK9qJSnd7XKVNkR5vRyd43Q3o9h5S0LonQ7ehLRhHnBxPqF8l0
uBkWtMg4D9P4pKWtHl8BkbOPMWSHokmzCassz7RthJSe+rVls5X7c1E+WSQ0xhuSWlmUH0ppypNX
q2iaHBD/YE1UWifvjUZKdhRNd8luxEMyAhPjBCrA84bke16yOdyZkky/SXUSE3/I4kpx5rrIyCGW
csU4wPOrMmBNm9KE+zhSJ0rIq8RxBM2sBRB13hdXdTwjf6lWETX8AihMxhVyepnNe7Pb8Gakfa27
tW3V3/GZg+yXRlyfpoEMz5T1TPWRGhqftaSMj1ShITvZJKYclplJma+RojGdZlYKeq/MUb5RQLJe
eqVZzYDOKOpUcbQkNfsNGCMiNORKXQ1yVlIC0CAeS8M3RqUij/PQ0ttZmlVAWdvKcxUh8/t1znCF
NrM0NvF3O4ubbJ8BEYRt5alh15WSjCqaI+QufFaqulSuFJ1l3bbAnIS2T8bCzB+pHpdumkZ4Xqpk
5d21ZJEyB9tdLdEDm2I5kPJImfeVmRq6A7CT0XZipZjpPkuadI9UipJUDmxIcprTahd3EqYVTZ2l
AS5IpbuqKpmdU5tp8WbRkqiHgoLArx72g9rWjsRY+lqVilzt0jAcU7espAxc0L3ONqSL2I9KTZpm
9PJSIeV1nrXVdN8aSqoCZoG1FdlCf3VQW0bWzmTXpLVc+yYzLMlRbDTkujYoruf0seoBzZoG4aCl
lQk6oWhCntIZ9MZu79I60tvpGFMDsNNummeydVf2tcU2Sl8r8eTEeqTPj0MbDZ0fx2mNWaOE9JLD
wrzoNpVmSfJOYT2KyFYPAAg/bJRpcKa404vSycHs1hk7qldqi6tqTToIm9Up27QaBWLUmDywrL+T
qOEgZX9n0GwNU2zRabYUZAvBPoS6uuC9xBZIQsCojCsP8OfpulHV62ySvXlovn9upQXPQjfe3dgz
SUK+0GRFXSEHTQFP0SVuPd1z2po5QGP3Xn6yXpXcrxtnOK3Xfhc9pzPBQo6wUCRNRfQN7wCJ2T7f
KWSlmrIsAJgbOgAWQKDBf36WyBoLFdCOdgR0kfpZrgsnXR20WfQxrV8S+M/PJFhq36QagYTe+FbO
VwVCjZy9fn5AazIEv1lT6nrOLchoGlBiNJgOrB9Bhb6ShFu8b+BJBjAsglsA6lyupAa8m2F3kDKz
wintxIkbstOTH4nd/ofpo/f7BlZYgNgBicHQRUmaitc4SmBqAaqcpdRHzLFdS0W9EkRfLog7zMBy
M3SAAAKaBElU4QHBHyjKMO2+j7GhFL4mhYS50KI5eO4MbZCDvux+vB/Uf72O/x29FTf/cmybf/4P
/vu1KIF0GsWt8J//PCSvddEUP9r/4b/27392+Uv/PJVv+X1bv721h5dS/JcXv4i//1O+99K+XPwH
SjpJO912b/V099Z0WfsuBF/K/+Wf/eHf3t7/ypepfPvHb69Fl7f8r0VJkf/280e77//4jUNG/df5
n//5s+MLw69t67f85fuL+AtvL037j98kQ/k7mp6gyGRQKqE7iBfBhrc/fsTJaG3LAIkI2J14OiUH
1Xj8j98U9e+6JgOZiGAGSjExRf3b39DW9v4j5e+2BYAzG++ad+Sg8eKPT7s4o19n9re8YzdFkrcN
/vBlWMpRV1DfQmUIVLUmCl1iGmTQxkhKpZJ6pTI6aG7yaEt9Ihe7Km7dOh8c6BZMnuROqhtO1DcB
VWNvlFR3lL5GZXffG9O2VNYoKS9V18evEh6JlcKhsxt81Wi8mKAW0cK1srzQn/KHCDjnmMhbiijr
JgwZrSFi018rXrYBF8X8jqZab2e4oe7Znfi58RcbzfNJv4LBD/JE3IvEiqbJsCqKflkEX2Hny0bv
6m0YpFR3kWrbpvbJADpiArKyNFkxBUIq/qd03VQUXCdMP4jAbiPG9ahiYkPNjjOoRLvQHp0U9rvP
57tsioLaTPwao0RK1AZdRpw2TPazJftmHD19vhPcrn3YCETEaPtAbPShB3auO8TEEja+Lp8bNMCa
tzZPhllfLBPuUTc4ZS9vPhd5aUN+rv5MpGDjm1LLzTJsqKfNxzJ+LuRjm999LkLwIz7KEMx5lYNe
JAdIqDe4fKo2PUaBft09SL6J3mWGo3aL05/pErpU9D/lWgpgBjWu6kXKvUlO5ZBZkEu0Zi+1ltMo
WjDN7XOuZ4rT9uPWHBQ3HuWtMateIr/Mneyk6jejpFe4hsBjjOFID07TT5tGv43LBMMAtXmsciWY
a/3LWNpeoicHqYy2pVEHBW0OOTE3kvQ7nEPPHvOrZv6W04eupI5hJEFnDd40yjdlUvqdmm3HJr9t
e0Q9JNxO5H4smjs9k0+yvLcj86q1i6BviBO239L0UA/hTkokx8pnpxsLN9LJK7opPGlUEMVQxPD1
rlXV01Q1fmGN4JsAItXADjYGhsYRHIr1cK9b6bZDC3xO1UBuodDyOai7eD83pV+k+kNWgfVg1v3M
7jypTVzaVacekEGoxXPopR32+d5m+k1CzAD2YtPU45WtzfCNjd/LXvHhljozUYEmliFIwSwMY4hq
8/C7OWjHtAC0RWU3W9Sddk1DAwMxp4xYM5Vst68rhEb2NlRk3yD6dRIzH0keT25bB+AVTsYqp49j
d0orr89IEBP1GuX8O1IDy7xSMheVUtey6Y5UjxYA3XRWbAZz3KqT7RVm7ahy5cIOBLUqbZhu+pHV
BPL4GJcREiRv6TwEufW1sjsntNCxVuk3xgBnvst8GkYIP1U/7aenqZIfSNpvGygFKndu25QbtJh4
U5mvZOCFUv3PqwtwKOTgUd790O9JoiGXkgYq0cpSr0LokkAHmx1Q+NSTrYe7Hhd4KhK3sbqrgRZX
+P/9eaqY00zSba51bt/0AaAWvby+TbrIscPppYyKTRHTFadt8XVz5QlHGgk9TayzWNKYhU0LpYXu
tC/kR34Tuzhjr5CcyuONzMZGe2D3CnU+1ypLiutcLH/8Zw520Y2TOY0QWw2Kj/yxU/Vo+0uJ97mY
RS/gXI7gLc69xUfJoCDV2/iL7FuPHGOkGJ0+qDx9n1VudhwfDIyVeKtwmUvmAH43UQF+Y6oo+1wu
MVYNu62zAfpr2wJyKvGNPcZ1oEr8fAfmVwNMUVbvJ9fWK/SAFV2t9x0vuUAYJwadm4qGHDR5Xn5B
b+FOTf1IMeaaexSkf4Sku7G6G+XOmY18+/leL+nrc2lCVIZcDIh5NKx3lktf0udAmkD5UpcbZW3e
a2lngb4Mpj8L4QA8nct1DYpao3qN9cQ1XJsyBvTHtO1aND42ozNZjTNPcPPol8/Xt+S6nUsV1peW
RaNNA1BGrFh1CKAmlcH/XMLibSWapcvAlsNwtBjbSGne6ZJEwMt7Sl/me7rj09jlvW465sP0qhZO
HFAHWI+bNW7U9wKn6LsQOOoYF0KKCC3ql1s69tFka5aWeDXYStV3hlvobeuRI9YUkZs8SBhl5eND
zclAA2vsM2Qcv4HV6mGtT3dJM6DogthBA1ICys+XXzIpMhtTYoCBrp8OoPUOEs1H/LHWnLKo+EAX
iWCS8xQjrryU0+eyNXQaNJC6jW8w9omSgUt2bNti2j5/nNEyG/sVIBJXXgn3yMSN1gmIRm2MR5pQ
uZdiadvRHo4/vKlaCfTmS8RGF2h3TmooiFDuaJS4K5eKhxQfJBpQA5phIg0gVgFDFkfdQFOegC7B
jlHuSoK+/+4KJQqflapjWbJbxHvTmK7CQT7YxRq4lLakGXSwc6JehOFkYF9crlnBrW41s4CNATez
npa/MyttkMBG6cJwJfB1mhgVM0gZaMrgNrXim2hinssXUrLdrDZbZfjOVOLHTeLbZbgb80Ntf62l
LJCnfNdTNBhVGHJEIr7qx8BmGtL6unWtq/Yu714zrd8Qs3xsuWdlqu5krXVzCbBx/zL3BgihcJrQ
RmiduVwfguMBlQ/4Ox00fO/Jvh7oMrKyzuRjYeyOBYqTneoAqfab+oWVGIpw01d6u8pytKSiAIts
AvXXNHHagsnpRwn52gkqCqRlRzY59Y75/ZXtIrMbH1UgTUFzeCvXa0kZn8sULLlVzUVhMm7JffYy
epKDgtKV/S2/x3jJNk0clGEeNRc320epql3rZl3SFtARaKlWdTQLipVIwH72KshKEi/KG8csdkr4
NZ5WCs5CJ+LP8z0TImj+DGwAbZJBCNnarwx6cOQQV9vqiTxNnv4IoBpAiD2v7ezixqrIk3BTgMKk
cKtymxOxytjYriNeHrGN3AKSQ9L3OuIQfdQc1AucrDHXjNCShgJrwx9yxWHqlppZpmT8tWJiQTJQ
fUXsFYYDykkpgqnrJr1CycWN5D2nfbZUDHlXj3gXLsnvdFPaRghZlKlZUWOLV1tDBhOcJgZiA+Fq
SwpJZ5nHFGmB3icD9dPSXvFJF3MJxpkM4SrbSA0oSood10/h7QiSMA5w3rvmbXONWtOfGC9d3Ooz
gaKts5DgbrKMenl4aEPJHUykSQCx3PXxppp+kNxY2UVtKVlzvkT+RWd+dy+PyjwpWKJ1CLdF7ynw
+0NXcwCF4ivIhd2GXumbezQSH5EqQR+b6hT3+F9Ak2juuOV4blMQrzywtbMVbnpdyq0uTfioUC/Q
r4eKZfWwoqUW9cSvnRaTVCYxujzjWgowUhtri/RP0F9xUw98myNnpc7dtcTYYhTIbTz3q5CCFGei
GyPuCKugNkDd8FQcu7uJoCTi6l+j1CFAJgBBJqjGnfkgB+ODvatOdF//p1Pt/1Jepo4hRwuBAGpO
gvGNslaqyxD+VBqdkvJBKdc6cJf01LkAQTtGfTkaoQ0BHIiv2bbBBMg6NVhznBZfp4l+Sx3hFNK5
YqOvbhlTxArIkffNMbnD2EK/S/bJYb7VakxPhlfs/j8EC/q5eXxSAo1AYBwSDWqXjNUQj+jwiMze
iZTEHdvJTTqUwBvmE4StdZjupglgVEXr5gV4ZwaMepTWHq26LidsxB9e6Rtb3gcEPmBnB4HmxwGO
NiRm18GD1B3AJU0+QruNLDk56AyRabkrvBRdqd8/fz//y96XLTeOJEH+y77nGO7jFSdJkaJuqfQC
K1WpcCbu++vXUzU9TSa4RNfM63abtbWZTArkFRkZ4eGOv3shisQli/Zq8N2gaZZFmSeOox06KW0A
UXL6+iBJ1DKzozC+k3YDtR1L1H5OyBgUhgH5Qd1REE6n9Y3cN64cvBvdCJjjp4RkjdIpVkGBpmok
txuhs5cNyIbFNpE7j4ohfrG2RBWRalraaPqyy3gGVEHbmkK81yCDF0mtrYXhSzNQYAJeaPqZqLof
DhAML2LWNDR7o5TaTU+8pAdjsUCtuM0sYUh3A23dlD5rieKp+osIvE4P+u6uBNNTK3kAWtxIqGuj
vuz0Y24Ds5Jahh7bAfXHaLSVGYQw6H9GCgn55PcoT/1cKndV/lAK+kFRCdLNYAnrhI8BXdnJEO37
HsFfkFLbSOtNSXJnTLVtQXUHv2AbSmELco+aIhjYe+JIQDoAyRCOCp7pPxD2WlK3N6RHASCO2Zw9
xHq2Njaow/fUynT1MR9eyDD5UpTZA7DnhSo4QwYmKyk5hMBahPSNBAhLlNYh9DGgxJJzH8ghb6iH
G60ZDpIxHMShBldtMo07GiMejZ57vbbBYniHng5b0gJfEKrHNIOug4l3Qwugb2C6fRo6sS66gQqx
e1F0lDq0BAH0pfm0y8LOAVeCCwmGzTAo2xT1DTTGuJX4niqDRSfoGFaSW83oT2EQGrAlyR3ZAt9g
92BwA1jqXUA/Zq4Kfp+910BNQftoJwujFRN4S/0jrzW3ppVtAlYxlamL0qYtpto+RbQ94sGsf0R6
7mt6YYXRaIH6DnzSkpNlz7kkuUQBtoNWbqEQaxxfSZn5ZY8jNOmejtJ/KdObRB2tWYrsLkm8PMJb
G7z9CcL1CZmi+VWEBiPqELZUNpYiVn7aQlS8oQ+dRKwQGpG9eJdCfDvV3vTwp9kqn3J4I5eN1ysS
2oNVqCo+kw5gjbm0SvISybdE+Z4Cs4edYlMp9aiC7iE9OSLv4fY9Win70TWrBI/Qyg+jJwRlWHrJ
boTSzjQE+OXoqN0rW5xi1jf1iO8e6psubF0jkSxCkCkwb5A93HRS7uRjYAUofE3CN1BIOqiX2Tk4
d4kRAIJGnKF/r3C+yADoeoA32NBvZtrYw4B6CmiexsE1MkCVhgZpXDAxIbmsm7/y5r6N00fRyGwj
bP2sEx1Z/hkKqBHU+zQd3RH5tToc/U6565MJOsqdg34Qr8oglKHPjggfZsw5Wt/F7iPqpcc01o4Q
if8lY5fIUb1rs2mXG98xlVpj3JTVQ5sI9x1QblkXHqLxZ9bFeMX2R6IKr7DzNIbjbqi6HwKWuI9A
Mdb3njbPH7RLP0u5cFpjhrPoXK2bXkWiucaQf6v7+U5t5Pu5hY/QZFuV5+feqHZqEP4KpvBJKpVX
sajvOxkFCJLYtH03wJIxITk7IQdUF9Kmrke36bErZG3+NNAWqfQguajILqFA5tcZtjFym92wiyR9
L5LSVoTWRg3jOynaQ2vEqVXJnaNBOyqmgoXy0l3dgNI2qaD6RT1ABve0LLzcpN4YpXYE7TtxnuGL
UmMTzNVNITWWNuc2IWBGlFEPs8xwvtHT3FNIdZtPpLGmBAKA6LQYjOqun4xXradgLMrLz6lI3uIG
4kRpNW7GDnca3hlti8SvltyoPX1v0uIJNQKc1EDOrNZIdjOANTSV3DKbnuEFnFmdbrL+g+KNWRlo
9QvdqQfJK6Jz0aA2GY4dGexCMp5UYloh2EZKbbSNBMSR+YzEZGj1oKAta/iECJRNeW1X4WhPQ3c7
KOQ4TMq+EcDeIRY+XryOjBz53MsWTr89zKZFOoMhBK1AR9JvKPxYBnA0rJx6fgIDgd+H3+K69Ic0
ABh+sLQkeunHeEtL9bXryk2j6T9nirZLKGpKQGb18eR1EDmgsZZDdrWzgK6yOhFVESPF5wqPfQW1
eOFXJ8NX0h2gTlspVNAG19gqFiSc6GacVU9G5ozMd8D7eWgFd9C8D0aq0O5nNLv3wmOgZhv4cQhI
lMWEvA8+XcXmSMPEN8j7WPduGpqeWhk+RrZjbeRwvl4XVLetotpZ2TpxFL9k5njUJ3OGPpe2GYtX
s3kdWmnbVrLbCaMXDU+kNuwJLKB0gDppjnzEUG7a9EU2PrQZjGpSu8mTwtXjt5Z+y+jkBOX3KCq2
hfqG23EDwbQtk15ScUu0FaYDgxKrGCTkxO2a0odgtFOB5DY0O/R4jnZMX2rMlo6Yp1SAxTBCR82P
IXiFe7VAy0YO6vxf3aQ5qYn+aiD9NKid17hu67k/tmHrVUgJUfNJyAU7CYSNrqPMSBtXKt4qINCE
treTYRubjYdN6KhT7Erxs5gFTjSFbjW9XI93OEbh34EfBAwBQ2BSf0COnIc7pR7EfYuin1MJxzRs
rDJP4PY6i3UVdcnkUaGwDDr4dFDtMvDm8TiaTkUFF4J9TifJTpZINiknH0gZ7NA1Yv1L0Rh0ng30
8aL6CwjG+eeZ5ii2iUkQcyv4DkmBH6Kg2fjMm48xFrfXJ+MiogBYKERYX3SdPDNvR+bYzDpYIyAb
k1xG1tB4qv/Fr7HOHMmIjvh85ak17olqqNVYaQOs6cdxL2+oD++0HbYZnp7Xx3Xh2akAFcVgKgZI
V3nZzUFCTz6dcQlVpLQ04SbJV2lkLzw7T03wvNDpgBQz7Vku5VH4xR6d880w2NEroOBQTdMS23hd
bxW89PA8s8rtjqqW0TKgfL0QpsnSnfAIj2lPbv80gFW2IhsBshryrrSE/XyQNtNHZhPv+txe2KBn
n8A9F8zUbCkZkK6J1B+5/hNCMlbZdbZCn6ohXsnbrE0yd1aVMK6LcMYkJ+rPHGDiSf2M+vvr47n0
6jobEPfKZTxCUVVOiSPc5/vyDrG4rdyxeWz2s0u98HE1fcCyTdw5UACEZpU7bM7FO6+kulZXGlZR
xCUfioNTaxAZUwJLD5FF70SLRB8h/rdOnzOEYF3woCfqTQT1lBkw/4p8zjnYXiHtEVevEYDm1Ryg
tWIP7gMrSfH9AXQr2n+zeP9/rNz/AT3VyZZhWLwzsNwBSLnwe/Pje32Kl/v6pd+AOVX4F8BtMuTi
AGaRDcBz/8LLKfK/UIBCyC2g1/E38O0vuBwRAYqDf2dYOmgeo5ULu+TfeDkiqf9C1UEErByVHfwF
9Y/wcufbTcVdh6tEV5j+jQbQHn+lAGxSJ4reZjaab3y9GtFcJ9NXeTTcOcnwxjC7xyoaj314X0+V
36giHg/5c6r0OHPFLV71slMFK1jPcy/y9U1oxhSQfAG1w1JrCy1PsUkzwGP7/JiVmRPHP0Y0AskI
MLp0Ja/CixFhAoBmxHRi9GDtWVDoDtSIyhmCdzYTqFXs0isdNDB9V3zZK6ETEjkpQlOb+orVOXgb
jk6zpU50T4/Khjh/qCy7+BjOf2JCotAY2sDuTdki0DEIVrPd7E/87V/Y5J6Pl3ObaZtEZRTBBOO9
1V7kTYqh4ZHzRMEit5ZJY/v0qjXOf86QMzKqqWLWRI+gtRx5UKTJHJT0bP2mOlAf5HVPeGs+gPFN
sMSD+F35aF/qh+LxT+nYFiNnF8pJLivADlc1ipErAIWIvTXNloAX7U3sUjvwgscvyljkYMDFiAzf
KsOxfJ72/2vmFXQ8MDagBUmuDkCXpmXYacG7thP81omAusmgD2O4tVPvA3+wQREEavDAie0S7Wb3
xFYPiZe6RWXpNph0/clp7hiPlPqZeix9Xb2eOK+739vgDNV5ntVdfCNfBaJ5a1TdjG9E5LID38hL
5yOz+TG/xofBM/36oX2RHOqhbjxYa1cfV5tfGucCGKWaStrLMA5EGBJDbr3tj5lTgDyHjFbtRrf6
rnDQWrZqeGVlviLhk50hgD+pB7j895notyWqubPT3CcOscM9lMf2ymbYU6f0lYeV+WanbXka/7Mn
eFxAHEgx+k3Rvti4qMm3OB+AtdjohTJswZHgYf4MZ7GcY+5AZmlX9WIDg6Q8Jtlhqu/V+OX6oM4D
7KUJ7pzhGsQy6pjNGbjbEY/dXni7boFDzPxlwsC9yjLTgHGfH+WyG6VO6TAKkGJAjv0OUL9dQKz2
pvtW7fNbldHEoHL5vl7e+aLDWK7Y36bZXjrZK2iMC2SjwOhap3mJcGbbPWP0TTeTq3uMrSb0we3y
MLuKQ33pS8iO7JhUnObKPwqn2gJ6uCEr1BfnsfByPtixPvkovZiSTg/wUWGKDsT+p9n8qNGJc33W
V4wYHFUtHuFCKVUwIgtI104NmrxV5Kbvrlv5f3iB/0wwj+BXIirGBts+TG86ki11kxzj53JD3wZv
cgpHrSxpEwDxbF83zOE5FpPI98xomTnHatTDPx9EL9gJz5nsKKjn3NU4mQgOdEiMTugNgjxa8RSU
R/BEy8iQVf+AOHd1ErhbGr3RxJQSfIvgB4fpV71VcQ3Ern6L2nvrxj8hQmgLN2ssI5e9/99TzzkH
PeyNaCCYeoreRa0y7yKIk1hGUN7UWmojC2eXU+m1ZuT8N1MPOAcgLAa6SxTuPGu6IchA6+PaAWIS
XZiWAoJNbSscOz/41lqiX+2BMPg3seegWt2Ttkm9NYChdNFznXwGd7bHXs0HZNpwD+yiO5na0KX7
ugqQc8alrFgawqTelzaxo6GOYZs7iLg5ZJ1r9OJJO/kO7jhPOXpIU7b6gz17IuhG2ZccU1v0QxXZ
eqe4S9zysKb8umJV5c73lGWGkgRYBDyqcb5fJArkH/m8vtQcqubfp+zvsancJT+SCH2CUsmOt2AH
qNJ9/r7xxJ3kyXbvZ2jbt9duPe4d/5dVvKSgoQ0c3sKpJFLR6TFmtHGbF6lBOosRN3VOibMcgMM1
cf/BMrKhLK4KcAWB7QsMwAusYYJuGNBUFcwoiiMbUNg42lO8VTyAetZimC/g4jVj/NOhEtCvXMJY
7wFMyLTCEWO7iVPs8kfjTtqm2+RBcoRX7WF4Quvv3doHfCW1rn0A57ICoDlko8EHIPeL8AnX8lHb
4vG205+YVHyO5AlTMEbBAC8oyBTUbvqEW3KT+9VG2BWQm9RWAPkXV52pmOPJw4r5PBQjrEYtGeqv
T4q/o9zwEzVSPDziLTzZP+PtveRBTy1yHiTINMYUmOON0T10qHjGGuDJ5UNeRXZr3JhI/5N6DWh5
yWud2uS8RVNq0P9q2Sgbwx6NAxUq7/qhXbHAk9TXQTzJEltaOZZ+0GJGKUVciWAu3ngG8hq/qZ+W
XEzmXLdzDxs5Ci9MHMoy0AfusvVCaT22w28zdSQngsDrGsaELQq/c9G8aoDsSZCAuWOO8SR6Mvsx
G6mMRevy2Q2UR40cRfFZFw9J+6Kp7//FXJ4YYy/mE2NpYJSoFDUg/0FKw8juYq1dCWQuvblPh8Nd
phW4RYo6wnAmHXwRhWCjLlEFqA+TfCUivLgvTsbC7fZqkMhc6y0eLC3ZmVS0M3Va2XqXLqXTwfCb
Gwo2WZxgMLnxXEu3+nwgzcv1Fbk8XyDFQAuqpi9wyrSsGirVGEWDxnVzeutDAQUtF+pSznVDXEXl
9y2E+OY/lth8nqx9oUSgRpxhKdl238dH9r6EZD30S61yt66+cGFbg2+MpR51lWW3uG1NSB1IYIDI
UamagEMrWuSrZDH9rmdj6yTyNHqTIsu/JENIqpUt+PVuPT1S4J1CazDwuWj7BSKZR7Ei6amrM+JJ
e/zRO1nrsoZUxoGrJ1vZps668tgiemcWGc037KH1Bpfu+dzmXT+1wjz3drZlJUW3ewb84Q7aPL7y
0nxqT3g87BO8DGtf/pb+LBwZjEOohvt/uMT8Z3C34CB2Qwk2Y/RH4haE7trwUB1QOvUktODrFmP4
vW6QP4K8PW5LBVo6MDoODNsAuqBHj0a0QhS/mFlkDJGDBnOdir4m7AYuYhOKoumhYMPeIoqv/tB2
8z531A8hhdzSb3LWTLMmh+JdW9vBD80r7zN/LTPKkxKy7J1qmAaaz6EXgf5QbmJBkmKqA3TL7Tan
tpxSqxo/ItETQKCgItCQC4jHo//n+uxe8D4qtjBCRrAMQ7OQG7pGGixliWA1lu+n6NOcQV35h4Ws
L6/ANqyCdhbMr2By/hqKmpMRgRkWFFajZaDYOoPDxHy6PhJejILNH/iSJdHQVEygyncrRHKsUoVl
Pxt39opb1RPQOO32oKQWvlR0ALnC+wqtPauJT36LcpZ17l1RAE+jtCzl1KKabqQvJRpWVwbHFv/U
3fw2oaLdhRFvLzqozEKfxamFCaafDDxCAmejWUCs3OX3o/8PQvsLdwZkzkD1Da5FDe0f3JqhidEQ
23Bks5ne6rFVH9tiS2wNLCsDygTyc/6eAe8SWmtMzIuYFgUhLB/EM/EfXL18o9SYd1Ip93UGy+V2
jEFeYxeolas+pC+6berMkM/drJ0+/hzwRrmLvmmNFBEojEbkYALUFpDDWK9FE5eMgM5bY6V5dKXy
qFs97coKLGGpDY6qPsitMrxvo5/Xdwofn7OBwIMIOG94DwDiwd8SyUhSoHfRDwSfkZZgpqu2AihA
gOKqXjuaPMxxw3j605WLgd8wvGHOT1eVak7oBsfgQG4aA6vbqgepBK9d27rXh7g46bwpNs8nUUao
qmMdk3n+uoLiTSJCDMJDM3jlaxDNUsAIh3bC9gC2LEAA1zOkiyiHt8+m4sR+BXoCXUsw1C/GcrAP
FTY96G6xBZ/V9s+aCABw5xaUO4ikbUax62Csm56FYBOlKxuGD6I0iImCGxaXH3IW+JfbMGkXarQS
TfDwzeIxEyY7SbMaGEbo1zaZ+RaGQAH2zRCsRNbL7QKZIjBNCxJ6QZZ0N8CvxBM6+1Dfx2UQjNtB
yJ1O6B7lulx5eC1PnYbjBmkUnAj0rC8bBSBr0xYiIjUzsGR9B1oCILtWWj04YBVbJlhhyrvoaAKg
iEfxB2mcl0VPkS13DF9+AjGpG99/CL8CKB4X2ByAmCWaFf+U9tINWaXqX9QLvswjC4D4EOSYIBA6
35LKJGdV3vYonFmzR2/RSHADWcENc5xMH344zt+r4/pRWHobdAcKDFCGEjsYcbiTEBW5qaQ15raZ
wK1gPg4i8HiMZk4onThNvGA6jsP99eN/YeeA+gb6t7LGAAd8KlVAK3bYigTkv7SHVMfQeyDT30Ov
Bl1kvbISGy43j85axrC+JigPcB+ez2tMk2hQ4iS1A8BDG/NIxk1Gv18f0AV/AiOgg0bHLiK/BVdq
NPZlpWqBYPdv9RZt/Lb+MPsF3hESMoXR84o15jBOQwkNorAn1vgsaBgLxkSCHDeELf/QgG59ADkj
2rFftcfpzTxMDkQiAWU8Rs/tWoFlOVK8YcAcgbUDFxKwD9x0hqA3K+UUj4fe61xQWyluAZ8d3dIn
xvG5mu/m1ZrxJDy3x19KrRaBcBuPh9Yp9xAhSA4MMZYhU1fY9Udqk/foVnByt79NvcC9PtGLrcPZ
Zj8/uSUysIy31MRY0/JXL8RWLn0Df6193cjiMHBGuAMYIihUykCA9gog+C2w8doETSRGjtkqKx57
bTzcRSQXKh0zBePpwnsjf8iy11R6vj6ai6/q0/3BhWEt4PSawfYHtDEeqHsMtj8AmgYipfXXnRdb
/LODwM0dl3lJ9S7RW2Zszt6baWdOK+d6ZW34pCKqt/MgKkgRJJ08gMYeSb+kmb91PfhZJ2DoV7bC
yvrwV8DYRl2tEPhibaauTFUrJaMLDd+VOG+BJ+LOlMblIUitgfdSxbT1nvo2QZUOOaUb1Ift5q13
69vOqZxiO250VBGJP+JgJX62D4G9GW7+gZbuwpudLyIPaE7HQkVn69fXSL/QN0Z+BL8aOwHGIATy
ptqP35UfaOtYR7tcWl3EEwqkhsArYfLBfJZFXY8uuM6WpsqdUup3WuNREqAhp1o5eYvUMZ8D4VxJ
mcRKArxNDwgXetEzO741LVTvUIFwiNs4obwfXxRP2Ky5sEUtizfMuZdWqiEXMGF2IdnkMwadfptD
5AJJvc4Jfkj7+qB+qzbXncCliT3Nc3F+piamXLUFoHAGRQ8W9Gl7CBx1CfCeGXGum7rkAU5Nce4G
VMdzY4rseqCCrRZ3Ivr6r1tYnUHOycg5CY1JLzq8ZgOfuuJN2VpAO+G0OKJd/BSAcQodKfKum13E
ZYwVX0NcBsETcFPwCX8SVt0oCxhY70G+22s3w1fv6lo9efF2wMZnrJVQkcBrXeW5RlJhwGLRLgdI
dy9TpFciaqn6PV4Zuzm7y0niXh/WBReHMAzKSYhwTfQIcOGDSasgJE0/2lVCCr/C89LvSp3e63Mp
ryzcotyIrX9miwsd0k5Dg5uZYRu+xw9v9T7+IoHImBSKW+wSSAsDpjDdoMyWOuZ6hfzC1oRgB5ir
MErQAfH8f10ZTSCdR0A//2j37ZP52hU22OQ35AD6GnC7Qy2wtVbPO3smcFciFKmAlv0iHUSAfR6z
kBR9wRlYN21hF2/IB0OmIaq2m7vkfq1LgaPmQUSNCT6xxWfNtAocx8SQcmAAgD/JtoKbupA1/pZi
aIpFD9qT9G3wZhcV88/6k36jHnF0Z7wz6Co+7tJkm+iYYNl15tA5lyMHQaYXMSa7j7Uf4AdHF+Pj
9Z27dGpflFn4+8jwYu9yE5tVRWaoZTmCaD91JtAhtEGAfHm5J3Xu/E+m+N4MhehSVYYYTFUN9ySP
n8IO7OKl4A+xuMbCeyFgw3k08A8YpEDHxZ9IUO0phFBAlYQdxH+Jpd9EkKhiWtHmr/Z9Hd134Vie
G+SOZd0RmVY5WpkZcmRAXYnVmgKfWI0PNspxg95nh/wCZztajBmYqjwMr2tubxlzIA0Lqldw4kDz
BmXV81PSpEhBg4y9t0U0PKYBCrmlgrpa5XbzS4gi4fX1vHCFnJvjLmFSU3QeJxkbcg8Ad2PjeDQg
YNxWDogb94WHjnKAStZGuXS2ePGCVwkERwxQwlfXUhVNzVOK54Sk9VYRf8rD97B7XRnb8uRJMpLa
KEqChwCCkpxHH/RCkFFOgu79Pb1FDc2BuuGdYlX7asvwC8T54zIBCJxhEdrYyD6h7YsHyky9Dq2/
eGxxIccPswf4md8et/G9sVUezXu0R0hWis4i4+H6SC8OFExRIFPCjYxeifM9gz7U2IyzFA+16LkA
jwC6i//83MsaqliMSQYIbD5jH3S0hZ5IiXdSrzvtOHuBPDtgI7ZRnFi5HC8d+zNbXOCUBXKeTiOW
bcTNiNZ333BqV/ZHEKtQ4MVW0U0X9uKZPW72irCYwJQFN6MdBlexpwN9jxygpg+jK9ogfLfLw1qe
hP3J86sQ+wQi6oKM4i7KxNydEEHxA+Skc2tnMXpz9X4raIKrmA9z8StQkWfTsv1QaWsTe8G1oOoi
Ip2H8aJDhnMtahfU6MaS0GAMKcraU34NfmVDklL7KT70INoy3rRjt5UVSx/sNQXwZTSHVNeJbc7P
mH2cB1KtUKTR2ngfqxl69xMdRGqN2N0r6oinRgxBFRTa4j9UdEIscG6am+yynJugAy2ujTZ2u4Xo
uALxKCqtBXUXttHZCLltW/XgQdJymKkg01F09F3uoMOJbvLrZ325iKwEg942XPXIcfEZZz0nyqx1
Idp7xM6v6vxxMAfWDx57IlX2EyquK9tmOS4Ngb7MJN5YkZVPq0kkKnpjIKltJoqbiM8qJF5KYw0/
vIxhNANUO4ap47nLmMzPXVjTpqoaCjKeLnWBavxP6IxYTd4g6l/LEy6dpS7jelVYXxiEhnhwBcL8
CkgHlpkBsyPoPtBND9DJir9cHvAzI4tOEHjLNGJ5DMUPdrnXb9Kt5GW71a6c5eLADrpwBThlEeVM
bm/rat4hFIadbE9vzWar7kFhbkFPcSdNXonhebUPaZtyZU9ciJRgF8gU4BnAKQp17vPlErWhNSQm
wAaaAgvlP2OT3qIogRhbccg9WqL2moVmt1+A64Ohy9pkK3HL6gdwpy1Gk98oyyP7gOC+3tZO54YQ
1LVkEPsYTridHM0LtwTQ52GPV9R69vfiNjqZAe7W6HqNBuWIGWBQlXgDsZvAAaPdIbDYHW86080a
WGUB4tBUVM0RCOM5DBEHVNXOJ30CV5KQxmDDogVESFBIK0vZAUW0C82aToWGhDL6VVk4Wj37153O
hW2G0yKBJdFAjLEo2EPWJ+2kBJYD4KcbqoGSJLChsOT+b2a4RY1MgJDSUQelhQSCCYhiGfMzttnK
5r2wcqZqokVSlTCRS0TONGuBGKWFPXevubZr17sEGSbj/Hr/8pgKHmNAcUF743yhYgImoEycEFEY
g0XUySaC+Bj21J3mdBMnylva9R9lnt2ncrxyPVwaHJz1f0xzU5hFSZnM5lDYaf8AfRSrJmvotKWn
xuAQASqQWZaZ4Oj54HSFTBXNq9HOq8Mo7AsVyeARTD247P54NwBrw2qeqOiAKZQ7YaQoR3Oaw8Ge
ik8i/KBkspS10uql6ULRSIdgISrGwE+cDyYXihZOFcnPrpi+qWHJ6GOUp+vjYFPO7wYdqHxkWqBa
jXL0uQ3UDoFwJw2yLbTrd2ZAyyMVetzXjQgayFoGYSTVv3eD2awUpy8O7ks0REeebtHnlbZTgssW
QQ/4g2oAr9r0z2MenSkyoYb52wK321JofwexgAMbJyJEwFq3aQ7oylvpaL7gfc6scBuhTCmSSiWs
tJV+FxXFAw3ROpSP88p8LdFBEGY8GQ7foxUmtQIkKwxNNQJkK6hs8MQ54gPahmTUTAn0be14/Sph
G4DfICDKg3YKfCsoRLkNEsZaCiLiBFVDR0RvBWQAIMxtd+gYzV3hFXrF/8XBOrXH9s1J8RAqb0YU
lkjiJHEbgPJrvpNz0B0Ehrpi6EJtAREWk1E10W6P5w63cjE6mFMtAY/NYJtHsH755FbbgsJ4vGkt
lvtr0SsFHiKreL1+5C4bRi3YFAEgQN6NO9dF3dOqD5HMrfXMjI+NBpr8dy0bmTRdTkYauTF04iJH
VDM9g/IFHiJSBaUX9Xtq/szUjay9tYn4SbXUnG9F/FxawXRcSLzg2wCPwa0K7AjygueLoARiGyPZ
9IVmfiFW9DY9xy4UNV0c1PKhfBduQmQkr08Lu3fONxqzicwScr9gnVc4150VVROpSoeG7Qm6ttse
4rlU+eyMQyPZ1y0tfR4sQWcKSRA8GRapl3pE+5PAsKaZ3kGr7aUDRoxEg29E+8cB4gzXrV0o/Z+b
43a0TERkP1RQHgVB2+7ABibZVUNGbZ+RuoesIuuMkKsARcNI6O+HKW/2EPbQDknVgSQ+q8oVZMeF
1dXBP4zyD1jLDciwcBFAX2SdZJIBoGJrcLtbUIvY6HizyQHosV20AzJpZQou+chTg5wnViuwwg/g
p7LVurcrvXIm4WdZkv/RCneeCzXWenFAtlBqTMkdgxjFwZQq2zkOZ/f6ml4ekK6D159lKL8y/CdO
SleKLFB65LRE6UEg26n3A5yM/8IG6GKAz8YLd/GWlvMiFsYONhp1tPVwAAkdsgP5GjRziSkEA+tX
2I7M2YWG60EsBvBtR+yxkm9l1j4HQl0kW33qIzeIKgh4aoCbfEuPayd+Gayx3ibMoIC4A1U77sSX
+ohMhNlDAHzUE79qjcyHl26ObavGPtgRyUr4uTz35/akc6+WSmUrliY2iBgAY65V1hy99mhENQn0
fhMnVOaVk7bcJucGOTfahcNE5Uls7TCbtiKAPnLJah/Niuf8CtnPXSfsfB1ptDgt3fUA7ctgnDGw
HhqsDwqYJyJnRtPYbfILFE2jyx590afhjj+kNe92aYiyaEK4kTGtLJLKhWjOZgHFVXvQHqFDagtZ
bhVjujJC5iL5AZ5a4VZOC4kGJh6kr4QW5ClNtJOIsvnT44Y0PIQ6wLSPeHTBO4/7FsKDDeYQGs93
USRaCWjJhaj/uG7m0p4/NcNdBv2shkZPAOiuZNUzu10aEx80PXZOJO+6pYsrczIg9vMTHwVmww54
VsxZnTyEeETI6Imh4vN1I5cWBo9+bDqsP24u7ghD1LFq4hhtTzT/YYw3+vDtf/v73MJHRjKOUome
zkCCYlU6g51wVTCJ/Q1ucyHTBn4g1GLQosG7IS0IZhNAWWgIerMHgRv0g0s/U/Ty1mjpmVc4EC6s
ypkxbkByUCQKMvrUHstDJ/uq8Zqoj388Z2cmOK8TBpXUlS3Go5gvJoghKSnc6xbWBsFtYiEq4YYG
WIjqrahPD5r4KUrqytZaM8J+frJ/1aSPSQuhZ1uQ7hOKFhMkCrtasK4PhYlaXlh9DcIxyMQbi/LU
PGVTJpTYwbqBd4AwaRbtiJ/Pxu0EtmRDmdxM6bfQR/ChUueIenRbgPwxhfD1BMxVAaJwmQm+QWId
wnbAq2+nWLsT+xQAHhMMnBnKsiDyHhBUofs1n30kfx/MdBsYpheHUFFOdLBbz1YMeq7rI7vwYERT
lYBrAQllNAjxZbGs0OqoyLBKgy3YgguP5pRg4H4VAbfF80YGZH+M/6vt/bdNLtIDX10VpyLzB0Fp
I6/g6DLxUz1bcdaXghaWJEP9FEE8GPU4v5NCK3UOA7TaMnARIgj5gw7b9qZymn1BvfmQ7Fg/Xgqu
xCdUqNe4r5ZPFcwsimRfYdlSHiaqAA4jEkapklTZEUUMd6VIdG+YX4fsW1tM8vfra3nxLLCuAbwk
kI/hc3Zh04FBucBwawjfi2+S9lCpK2xpLDpeeMETE9zKRSQKxw6a5naEYrUDPmBwWOdQ9A4CZNAD
sCKWQmCRxKAuyRTDvz6+C08SzCgOIQp/ePwvYVtjWSUSW08DXOr3zfcG8ecsWJACVG101s+ZlaED
MQY5TeJcN708/4wwFM9cvIM0PD45NzNGIqgtGa27XmepCwxLtI2KOV3JEl3YsOdmWFxw4s3wJMkH
OcbrFgSy9+SINJELcUo8UyDmA0V1P7BUOwVvwnHYrNE3LDfPuWnuuUdaUcr6vKC2FB1QMLPGbKP0
n9dncc0Gt3sU1NwEI4KNInuNW2UnNJpdSfXKw/2iFZaz0RSFyV+wn59MYidrJVUFWJmNDxCKWer8
biJncn0oy4OA6Toxwq2UqWTGqAp4rvcm+MGIYSXzAKZixW6l6LaZTCuLQkhB9Sv5vQtjw9lmLAkI
pkEjx71eU41C577XM1vt+t4hklHuIdEq2ZkZyitBFVuM86MOykrkrdEbhLfrAro0pGZT6B1rfMpu
qk7ZxfJB0kergn4K9Bq7bpVumEUcC4MiWsbx2EOvDJ/aAct6pycdTjejCvx6nhzTgwkgKPFBh36j
rD1KLpxphKKAu0gsZbpsUa8mo5LyCAmejkJsQE+i5n4YRbK9vlMuJPIwkRKEO9CMjywzn8ijIjWQ
zajZuBg+iWmCAcMHTu8Wog7o/pfQNz0nVpVv1zIqF0d4YpnbpH0DZnxpDtEuHXePQyHicHfz2vt8
dXyc54CWqtw0I1rVGndwob3rolkA1Oip37rEbx7B+Z3coxEWjDdrUOjlDctmFtgodIuiTMVnnUtV
zzUd+C87n8XHuJjBgA9V23CyzTLfGFq9cv9wBMsMknluj833iWcB5CsoU5BFYCUHJEBEKI1YReqI
gQN53bG9SX3GUEadubDL0gMT+s+xd6PUL9bh9ReXFnAm4OugjLMgsTaIHMVh+39JO69dyY1l234R
AXpzH8lyy/Vy7V+IVht67/n1d2TrnK1aLKK4WwcQJEENKCqTmZFhZszJpgfhQ1F8U8aN27/6VWn+
gd0nlKDJuPA0KHUUtWz9/qoO3uy9um+OgMwdy0V4z9qL3rjduxbCRcCNN97BNS/HN2VcHQloUq3F
iUIpnWrcgG05vElyOD/aHa3H3fV7ubaD50YWj5GhTHKUJ2rqzYh7OJ3pJpCMXDex0u6moElABlQa
aAits7cHRp0dyUCNNfX0wqdcW5xa9CVcyUJrIMnvIAVCGq82T60+vwQlqLfr5le3UVBw0CUG9rJM
uxu56NOkdibPqrQns2iercj82dpbI9VbZtS3i3RiDbbeGT3LxDRPg82VaKFFG8P99dWsgOrEZv6z
nMVm1sw46CbSQF4A1Dz0AoYGgtvgaDwrgMxTlaTluDVcvLI0SB/EiL8goCM7ers0e2yNOeiKFGEK
hGtQ6zBQK/L9rVbD2tLO7SxnDuEE0gJHZ7x+PAAakj7LDxTIquBW3zlH7RsedChvt9KTlczPeWN0
kR2ZklFRTS1Tz3xWDvnTHJJmPkrefJQPyRe6N+2ds8s2bvbKxOFbo4vDMuSGlmcjRkVKNhDVftHu
socJCMyJkRmXcsRpNHblB/mU3waHP4fwCeu2I0BgIiVcOJa0CJguc/ie2a9UeQrSYN+0jzoqK0re
7Le4XS/YBHku3lhbeBhEpqrYqfOUpqjlDt+qGX1dgVcMd/JT+Kh8onQOGpvcn+tyUO8F9UZGIPmw
FQas+fI3P2RxjNs6YhIrzRCNgodN3qe7+S8/5rVqb/+W+msf6p9tcPsv3Pi52d8z4WfPpQyrUo+k
K258pJigI4MyfPHlrQb+ih/nS6IDyiWlTbf0ckVa2EXhszgzNB8Q73jJFOnzddez6gaApFCvArh0
McuW0Jjrwx4TcCOPLji2YxYiMuWPz9ftrC1FYyGCq04wuy88XGlLqUIQDHHCEN7ImfyrEQic6zZW
D8O5EfEjzr4KHNgjhJ42rOZ7/VbbwZsb75zMLf9iMtJFsdVTkbl7AHeTbcGiV5fHIwjJGmQAxNxv
LVt6azZGDr+Hr96SOwFOqDdevFUL4rWDG1+IBS7udx4lpVaFgqpUjl0nurE2p3xXvaZmEG2SGzHT
tXzSW11PJzVJAa8eUHqjABE8W8xmeyPTnOhBEBt92bq/a8fv3OTii/VdlRhdkGBSyw/a9DIlDMj6
1sbB2LIi/vzsXERRmIyZCUjWd3gKqqiL3aIZTxosF7vrR3DVkmmqtiDQoS2wOAcw2NiUAPlKxSgj
hu200r0hGcqunAZto73x+4svkkpKcI7gbpJBYF10sSvTGQP7f7hQ0DCMGWZUdwKSHxzV74WxZ/hV
k+FDYahhk81//bCcWV+8ADO5CUJfggWM1C/IkfLY9xoYUybV9uphDB6bBpLvLQ6yC8Iu8fCcL3qx
wUYR+hWiRMLssI/u7F/O3fChmPfxj8ICVYBUs7QXI6qTsR/NQ0hduaR1a4N23W2Vlba2YDnlrSqm
1Nspl76G0iCAA7WG4vxR3JdxDxlb4qYP40Z5edUL/LPry1aNEbeO2ndc0S4d3V5hSk/pts7Vqg0L
KBwwTBlG/8VtSWvKhJKEF3Verc+CyY/m00l/tN3oCWbinXOzVR5ZvTRnBhe5PHXktI1CZabJj7pl
jn5lox50e2Ndlzwt4ujQpKMfINiRlth8U5/SAO7pxDO/QnkNFpp5qniHjGPzoXgIjm0pGv3vmEAQ
40f+Sy1tFiLXdpaciQa1yYgHFby3fmjuAq1H/R1ilsJxZ2LTpttf9z+rFgQA2aGbQ4a7eCXkUB1K
uUYwdMid1yLRnvrU+D+aWFz8LpkGyYwUGDQi3R3Gd9YWSmGlFo4qK6UyQ8ChQCgtYoWiKuWuhN3x
d0xXv09Ooq7UnoSUR/Kk7e2/KD/sru+bKn710pme2xQbe/ZE0LFp0lrBJsyR+wkBDzgN3wenkNPx
FYnlu1bozguVsN0EaQgCfC6YkHE/fyxKNE9dJQB6uDWTu3piDWbjVD7lCtOkFrVJ2ZoJ5+UghEWq
Y/fC9PG738P/XutqE3TDxaE8Il4b7HgAjtc3Ze0wCUI2C9QjvYElA87MBKQFTirxst45RihXGpX5
67qJtatPxZfZNXSFLhG+8TxOLbM5+DMrP+XljFhhcj/VzlZuJm7W8vOe21m4GPjmKmSjp4SJj+Ak
NWgJPDnQJ4i4pucD/4uNg0JVNOgseivLKEB3GJPxGzxo06VuNr5zxpvr2yZeuYvliBFUjXlt7Iht
PTutSIMF4cRUzu/laKf2ZBz1Q3LYGmBZPYC/V0B1wnTILt/aqWBVavq0Fjdx2BsHJH/vhCBE8/AC
uSII2ALmCedLuj+Vm8yKq4WDM9uOgPGfrVEytRCsErYFkYGkeAZh+4dyP3s1D3pR7oa/tsq9a4fR
IrpQwYFTe126Z81mhsOsdT4byJcS7dpBrd2k/3H9263dqnMrizJBETatNMlYQS14F1SyF4LWv25i
be9ItUA2Krx0OiOMb/cukvWmlU2Y4+odXY7oJPQNK2Ymk/eiDrHNUCuelcV5NGQKtjAWwD940d9Q
laqtlSLFHqqcdhO6eosYtULe+i3bZGa++Ex0u5l3wV0gowUH2eLwl1UxJLmEMTVDp8P6Ken0wzYH
6y73EDOiQiz63PScl69QNIH2KpiE9JTpzs/722kyPCPGB9fFvRb8DHTIsgImNKG+rfqXuTs1aElc
/44XR4WfQJMPqjwqdWATF59xNCUtBxbNgcyRZ5hQpg2jjaOyspmU2alEg0AlOV+mlVUT5E0mE8OW
jnZbmCgsW/JuRIfk+kqEf31zQEiMz80sggZUrzupUkn/Iz8P0XRXpqA7WJNv+LdVgUy2F2ZGJm+4
4QsviVFScoItChvKRZ1/qFUzsrMw+c2cmt0KKpTwtJ2TrG0hvCS8lAzNX4Ih0IX0u9IOqbyFI1qw
0k1cWZ42dbvrW7hmhvKeIlsUGNBmXASPMOlaPJL4jaiqd61kIRmduoFR7v/cDEVEcLe0Rm1neeaM
QbETKOlizzDSw+AwF1lGJ6hgNqLxy1qN4KOnnkF3S2iGLcE5dUby6mjYUY/Oo/qrfm/9TVl4W2ie
/2h46in92d1tVUnXNpGmAX+J15mu11vHCCWXreVpH3vgmj8ATX0touiY1flGL3vl4rI4biy1GtFo
Xlxcelu545cc98pg/LeWsoPfzc3GnVo1Qq2BwEzgT5dtLMcf/MK3OBAhMxsK6r0tld7rh2Ht2sK3
AyxEJaG44B4uBqCac4Z3ALZ5UiaCXtO86buMPo+zsZotUwsPEVe2HbUh6kuJVuAZiue+pwcnT0+5
OvwbU6BsZPpG5BjLm5RKia84Pq/jPAffNTP/zIWFZypoX4m0NiK11QN3Zkt9e+AAOxRqEjAQXpnd
XpHid2Oqva9zbcPM6u7xfQwx8EtTbnHgbLlV/Kpg98oYcbA2UJ9DpDnMqf42V9LWnMHKwQMsKuaa
qeQCVloYU51oaMDrUyBIytM0o8Yi/4/o6vfx/wU/i6e/X4Zzsb6VbdMg5RGjkrC8XchWhH6cGqkW
4Ozsz0X4s52+TfEG3usyzYTggeEChSkfXUR8C4c6R4yu4Zo43B0aWNqhR6EuSo6WTGplfp/3ChLg
BxnljI3jt+b6hEiimDdk3Icay9szgdL1FBJ0oEvKRNl8P9+Ur4bihQe6Ja7iKXv/jsIONMp/nJaY
BEyQdjHwo2hUkEUUdxZRg1/LGHwRvWfd3Bld4055/ufn8I2JxS1ukqS2MtVPPc2p36uJjyC7+tWo
y3cdmPXrvukSsrBYzmIbDavU4QAEp6QfY+h90TWB4HPYVy/OIT/U/cHy9Mfwnf3ZJjzc9/CTmJ+k
3ZYe9spdOF/wcigRedVxlBzQc44cIlc+uZ1zur7OlavwxsLimILJ6OSiotEOLVk8u1NVxa0nZY1D
bpJXirVxOi9C+be7utSaCMxpGhsnRiBMHx91q9kj/nRT6c3NnMQ36rzFw3dZRMUeV1DwI8AldSFD
EAyJ1vs1XVPr0bzVvWwfH8IdjNr3gt4ogvhrq2y7tp9cax3AEsnDRQggN4UUDLUBW7lTurb5NNmT
GwdbAIUVh0wnljIc9DFIvy3veEcG1kgVCCypbCq3zJ2Ps6Q8dxWTDkUKG8CfnxFB/sEQiCjVLG+2
WUhmH8ysySoKV51KNx01hnu+/xsrfCSDJpvAfrz1H2Zctf5Y4TDlIPTk6X3AYE/IFNF1K2s3Cv6U
/1gRO3vmpQZdSyw/xoWYWf9tiGgGtXq9pSO0eggYvBJ0TPRXl+9lXDVW2U/kxrF946P5108P0Vai
v3aTyB7/Y0Ms9Gwhup8GRleykFL92Mvxvu3HXTV+shLzoMQbmeLqcTuztfg0IxDAthXgSak7qnG2
V7vCldPJ4wXyrn+eLUuLzxMWFmdYp8KsAe9vgsZNAe8XXenW4/vrllYPwtmals+VI9WWlvGNONBe
G75v6tfrBrY+0OKxGvu2GepcnLTiiWkhN4NXcUq+Exbc1dEWsc3WiVu8Vn6QGC1wSTqdWX+gB2Ds
ewcyQLOAG/j6stb2TTNgIKI6C0R/6Xoqv1flaeIsxIJokLQji6bddRNrh4CCwd+9bgYrFp8myAuK
MI1BBDPp963VI2v5mqYazLRbwdLaNzq3tPhGiD1kcTVgaUS7umoTdwyLXQ7tRDreRKDy/2/rWnyk
vLKLVGPmnJf809g8pyV4e/XZyv5F1QUOkP/s3zJqUGfTrkuJVVn6XtMjTyqeeOT/b4tZ0t3VRRoM
cylgjlJ/DKJxX2faPdzdc7qFflg72+fLUd96Os2oNbnusJQKbjLzyZdaV5U3cup1I6LoJwLYC9KA
wdGmQIEwwDPzGdl63Q3TU7HVJNwysvBuk+zbjA2yEt+WvTxFLl15SrYyj9ULCgL0f1eyuD1dH41G
PrKSSXkOnDtzUDY8wPoq0JoFai7SJ+3t9zDbnLaw3nOM1dCz7bveBKRUbXyP1VVYojFEtxHk2SIu
lWYU2PxE+AAp8pTqRx9MG8vYsrA4VqYhRQyMsE+W9mtqH6JwYwWXiD1iT4Z5/rOExT5JYZ9kRgFO
dvCCd/199dG8jb/YH5WT/8Whix8JHlGzd+X3+t02B/2qDz0zLlZ/Fh44ZqrkofBsDjXz3n9uu+Kk
2oDMk60Bz9XjcGZJ/Pm5pYBam5SzjyA+AeP35a+qyAKvi9SNVGX9gxkofdFqh49u4T6dMrTmWQCr
tRywuqp5ul/eXPfQv8/uopLMN/uPjSWedNBCSmuxIr4ZGrvH6FTc+jcawE7N6x7/C/5JcQau2Vsc
c/r1ZAxGJ0BR/lH0YP2d9hLBcC/GY6u/tnD/l2QZv8/kP+tbHHo564vYGht86X33EXZ9xqOmQ/Fe
25fetnbw6ut6tpmLCxCUtT0EKR8sH1DdjvOfxmzbbuenB6XNvwd18/X611s9iSLRg4CVpvKyb1n1
qAfYNfaMjCpVWuxmEdp1pXfdjDhnF98MyVNB10MBaQlkg9qkVFTxvKq6kbi+Jn2OrPiLkwff/bS5
D7LcPzgKVEFK9em64fXTCZ8081mUtC+wMyO+HCw8LXN/Uj2/kXdWkd6npuaOUXCfdvVh6AeXLA4h
28g19I8Ses2ds8UbvPZZeSUJASHvveSAzzvHyCI66V48gU1QM9neK9G4m3vr0zzI902abRBLrF18
ht95bJgkgUd0cfGjpOmHXFSWJH+8l1v/LqOVf31r144ORXvRBYNv7GIgxgr91jJL7qGqP2vtrzp+
KJO/rptYLcyhWYh70QQz0fJJK4x4MIwQG80+fa8jn90eUsVNnqW9kL7LdDEW0qf76nX7Jq6+RUjf
wSDIuaGTunDSqhQNXdGzheE9C/wO1ZSXnfIDOstqzFCKAAz90g/mKX0ePmmIveyvr13E0csrc25+
Efj0GUpKxdiTrErJTcdYTCMNN1b1Ljarnal9COQ/nlHBz50bXARBahODjxJvxTzEuwoAob1Vi1w9
lGc7ukgdKvhK7SrEC7Ry/eRHw14t9Y1DufaGny9ice51rbSaThEfLZUzF7+y99PvkHZPbqJWu+tf
aPUCMMkOUIbuH2X3t694hq68khe84oETFp5sZhGv3aAR4cE73dh/bo03iG4jDSwxlrz8PLkxaHVD
WY6plOcoGD8k9fAoK/nGBq4sCqCCQp8RN0VLf3Hq87jHWer0LSanPpBWuk37pc6k4/WtWzkJhqBd
hN2CsPsCfK6GY+GkCcW4qKherCl9mcjqrptYWYhoJ9BPoq94OZnbW2MZJAk9EdCTt5MBGb4d32qx
v7Ffa+VS7MB2o9GSu6QM6oNGZwQXJl6EKg1XKHxU9l76Nt6qB+jabBfsRXDYAmhe4oB+z+US6QuZ
QEVddnySOplTVQlEEFTfZP1OA0biuxRNu6Ogpq7eD7vhEN13OybaTP77LstdmLL/fIs5kRxJhdDy
gvKgyRSYjmsiv7o1dsHwV+fo+677Yy0lsdQzK4v4SwvTYogkELaz9jGR0bSb/ppba399KSve9o2R
xV1OnUIJrREjRl6e5JAeRjZ1kqsS+qO6CGusdCPTmL5udDW0BNOrQTGAvgnF4rcepI8J+23t9/MG
UOGU7auftLs851gd0sDb6jb97p8tnxQI/gXsAxjxxd2GN6GII5vWyOBVH51Tt9cO2an5EHwFN8rI
4HH+2EH+W+zY49vsU3y7pWKw2iA6/wHCe5/lPdUcA+IJGT0zadOgM1L01XCsU1NoR0iT/1k2cAW2
XBfPgdxp8IsZQ1u7hankGlDuzvxm+BqldHBan+UsrLNdVQTlcNRnjqcLoKUvTlWnQNtZF05w09gU
jg5zJpV7hkHoLVz/emsO5vxcCh93tpg46YOxGQUFd5JFQnFxjHdho/ufNWvWN6rJwrkvvtxvNmMN
5WZbo/3/1pZTS3qa59iaw+5zXc5HySf7qczX2SxOaC2///Ol0bQQc0EMkxN+vTWnxEkXTwK07HeR
F2gHuOapJtsbG7jyCFAMBS+JRKZKerpI5LrWyCXZJzS3qucu+27RIfnzZZwbWHiOdo71cDagahpJ
6Mv0pZy+dtZWqU0RP3P5beAtgFdcCJdfzG0ycj9mdoMrltuEw1o0jwWkU5VVfEpqfQ9cpPMKG3ol
s42erEr/jnT81lFci3rgOwOCxP9OoAzffq9Q6eZ2UjSiHqf+oVhS6pKKjS6P443dV1tuf8va4hZn
aPaMLZSy3qTVgxsM4LlUpf8iR+FnpWj+RUBCtIO2qGCgvxyjzDJYrjudiI4JR7diTgziGRgbN/Lg
lbMoDiKK82KC+oKfocjnOm9CzmLuWN/6dHoqFB7u68fxcj7o78P4v0aWLPdtafaA8rhWyK6jeXDX
7gSHgfMX/LUGQ3En45meh/axeE0ftnqsl/OhC9uLy6YNdtyiSiDoiezjvMt3Guhd3Y2+BgVzZfGP
8hANJ8fTgdAXu0zamUCyvw/5jfSUvG5NA694zvPN/v0snnnOsqZeNUvAfZLG35nwiQ+h7k7zVtF1
LfdniAVKAeqhFt914cYAgjIOFPGW12z0vBNCoySOd2LQOd9Hr1sD3Ctn6I25RXoTxnEUmgL+oESd
OzJt1AevGydo5eohcQhLqhATkC/qeVbXWeAnSQIEM2Z83+9UZFtzdNCio/lqHYf7CtD51rO9FuLS
MMcmvNHQEC4RiGNLXaUpYoJNB0AHGN/GqxBA+252aEtZv4RewFassnJEmECgU6tx7SkHL45r1bZq
7Vv4GCCcQIq/2UkHG+aHje0UiPWF68YKb6pIdkTn+a3fnAq5ShIxwhll81+hmp3GufwRQ50QhNJR
68pD2Ot3mWT+mEblcN326gI1DcglzI5QVS4WOFTzICGiSGVjaN6VfnzIuuF9UIW762bWYj6LzpZQ
deHcXD7l49xWyvB7Bn6yvbZw68q1ds1+3BUv1im7DZ7LO/N++OyEMP7CbSB0nracz9rFINVTZSFQ
CLnBYpuRPDfi1J8TrzWGE9vpmpX5fH2da6E0U3A8gAJ7CcpjcddLxw98bcKBy7ft/d+DZNa74eDc
Vo/BbktOY+3jnRtb3HRgW6qWhjgwqUG5oh7Abr1o8ufrS1q769TVZObGUHG9EFhUR6PJjYZm+Dh+
GqLbJE7dvn4XF9+um1nJfGDs14n1SAz4l8VB1IYwbLKSJK4cjOkQZxKDZE44S98CQvLHRtWrD3EZ
hTWa9L4f/nkGyUicQOSCAL5EfQQzTNN5h/EIQpIh1XfjbLlTtrGTl9GzAsELXIqCz0On8PD2mvdV
UVUQeoArhFQmcD6B94O22PYqCZRat4VivDztAvIpmKwAEzJJtdjQPkknVsWYgvyMTmXkpl+UT867
+bn/VX8sX8bjdMo+Xf+EKw8dNQCGPIClaTCkL6eCAnlsErNigfpRlvY1sMlwZ+6UW8k4wOG2226V
rVrUYEIQCQlV7eV1w3OORtoWxEvoqMDvy+Dmo/YSf1Q8SA8/bDPGrW2qpoJMR4zLFq7s7SdkmoTw
D+5pT85OU6AibbA1qLlS76WGDWhbiCeSjS+nbK10DsM27wVXgfM6TfsZ4JaHupbQwRM6PcbD7OXJ
DSg/w5PdbS956VTe2l+E1VVOgyYxI3I8Z961xeeGee0QxsGNs7K6k2fLXDjKSY4nVRoxI9p1yj1A
ruZYHEV3FYnGL90jjAx//pizMgG544WlULpMTywpG2vHZmpmTBmu0hGm0LmH1la6d+kwMSOGkIj1
+IbL+aAptyedGT8qcc7kRkgNjdmpnN5N5sYNX/tQNFWYeILxTzw4b89iqw65YlJbBCTCexkYOzO5
Nzp940OtfSeGohkopMmC9198p6zXeqkMsWKZBFsKqp74kutnQV3bMR0VDTFPCk5xObgl1bGjhi02
2l2/69/Lx5n2xj65hdM2fuxPwXG8jZ6yG9rGJ2VfH6nITK7sGrfqLnndOiSrv4WqFKVE2RaPwttd
DUMjn5OOIKGaOxpyn/XS8GYxZVWNG8te/X4Cx07ZVkytiT8/Sz+msLBjJcjEDIXjqsHPlj4SuMCN
p23VRQokFrI/TCIB8H5rptFCo546zAjFK6neabvfHEsTXARCpzjKicOuf8+1hYk+tSjZwCC1dJLw
Wgy11mJRa5K7Qjumcnz05y046NqHYs5VoGgJ5S6AtNTau1ixuM1N9rOHzEVrfhZ67fZ/LM1kUp/4
x84yW55yLfP7EDtdG+3aHJmR99e3a+2GkVog7gFBE6tZnLgSuV8nlyocbjrs2FHCnq1DvZLyo2KI
eCS0lhTuLoA/DUyuSRjxqJSfeVLqG20HJdNBv4ngL3zKPzGvvwtP8mnUd+rL9dWtnj8hWA0ZJCfi
Ag7kZKWt1Q5BQbXPPhqk/bcpwnrBTa4cpaN5yo/hccOieITfplMslgoYrwvdgIvsNNH8QM9hW/Yq
510dVIHrDBEDAGNwjINyrynlIR0miTG55FlOY28otjLVtaMpRArpxMAmeEHJw7Oe0ef2Y8/qKy8e
1X0RTfeT/BpuzmGtVP1YK4EPwZZALC2BE0PW+3HQiQFbXFadV15jP3XRUSkh5SlHNMHv2vJDqv5E
O3zDfa0GKsx+/6a74sFbjskwX1mEVs41j+/t0hs7T//V36DXfYAUofTqO8jxnpTalY7R9/i2O21N
Nl0mDKz8zLz61q/ZozTYZchXhpb2YJWFG+Spq8F4UMmm1+iTOzhbmNPV73pmcuFKkVkoiOvFinUU
EKYvQ+UcCmhMNWXLua250PPFCZ9x9jZYJGOzTX/BS9SbDB2rPH4w++/X78klZQ6e7dzI4gHyNS0D
bIiRwTOP0gSVBJWGXXtqPlNx/5Icg3tr39/VMJoqD8hkfOiAHEA/fbr+M7aWKjb9bKlzSaybxfyK
lDHCqrGJyCKonpL9dTMrGA6xWgGhoEZ+yYrUxRGZJENXIsiIXMFkpUAEln2w9vlphvU9+azDVrD1
Fq5eUIpktNYEhf4F8IfTkpAX4QuavfNd34+nFvpLt7gpdtGh/3J9jWtbeW5rsZXqPE/jpJAN+Q30
iUbvQZzhQSmwEVKsHpxzO4sXSy5L3wwrPll76Go3q7zhF4S01qF7kLzgGN3oj/59vZ/35p3mxfAy
vGu98r+o56wUWxR0GvHzjOEjT7Hkuq9peStNyqvWfi41jwY029sHrjoerKO6k0+gW69v8MpoIBYh
5ETQE/euL6sUoHR8rSl4zDSLNrdkvxZzsQ8RD+jKl95Svaad4KV2TmHd76qs5+VJkfWOd/Uce069
2blaCx3gxOZNh9kR6NziBkttY419L9LfZPrsS+X7sDNwhCotdt+aHwznMR+KewldPDke94Px3Kof
eo3SRm/ATKMd5MDwINd2y6nzFP6JPgbg5l91GZxm6bUBNyndF/IPP3T2cR0ddPm+jLL9IMNWXfcn
gA25q6v3s4y6aNq7YRd6PQTPVSPf2epL1ocHJ9LcTO1unUjZaEVuLX1x1uWgls0hdmTPqOq9I9/U
sbm7/rFXLFAqJGShM059dBmXpVolt0iOAitAJ7OXIPuv5Q0Ta3EZcRFtJTFKDa5scZOGulDKLiD2
0/kgcHI4N2F+oO1827rNrv+Y8bfiyIydugv3zk46XF+h2KNFoMQ4P6NIBgEaI6+L45MPpj7Lo5hG
j+V7o79NyUD8unDL0N8IFtYtMZKugLOBQGzxcgZZNaaqRIjSVDT5GTYN3cS0P/ugDt3O3GyGrn06
vP1/zIk/P3tTehuZ36kTlAjTcD8qw+skb1HgrLkCFUyPBXclTJwXwgypPUuzVoJQ0h4T09Wfh/20
bzw4bOnzvmi1G79kX7LN9HTVLLgJAV8jtqTS8HZp6aymQZVjtv9c38c/VCjKJM/cacf8G1qeJ/Mu
e9xqKK00XkjmsGXzciJBuDylvTo0VZGGf6eQooE1iQ5W5CXvmYaKIBEM77eigrUDc25SRH9nX7DL
4QDRbMZsKnvaSelz7qTHOXydoy3J75U3EzZ8EiOT4gOx7KKi1wVNbUa+gFVnyesAjUrXmV5rxs/X
r9qaGZ0gGW1B2xLN3bfr0QozDHtx0esCprCKGW4DZnrb3Lhnawf/3IzY1rNtiwe5CUIT2nk9HG4L
Xbs1isP1hawFNEKEATVG4bjgY1uYiCrUecQTGN/0990xO34XgX7slv8mMhSPO8VWKIsuBUhgkuwl
ExJQz5qzj7mV3RWK8j02041pj9VPA2oBLhgN/MTSN8V+FDVDVkFYXjU3zth8DmAZtMvxzwf9BBD6
HzsLp5RPut9WORsnpdJJ6fPDZP0gpds4AaursQTfrIP7u1ACMZpGt1OftEiplPdA4F/DOG1civXv
r58D8ZmXbwesEg7ZpwwRyLL6qEE2k6MBInJc4hyraiu3Sy3IrZPyU2gVD1WOcIaUjx/wJxum13yD
xYw2ouYCVb5EIRW8HMrcssS61V+6MXtl2GjvF0RAyrDBJbC2mxY6VQRYNEgJ+t4edkUv2taxid6n
zHfl4FdNYK1OH69vpXjkL7byHyPLyZWImmNmCqxrFw7zS1am8W1ea9FXBE4Kahiy6bYzE9XXja6s
TAOQAC4fwg4xIv52Zekg9a2VAwIpDe1zU5nvxm74OtvNv8iZNcZ+qWwZxDcXMXquDJI05FLsJbKv
HCIpfLXTbCaR1AtXt4YtvsbLqgBVNJDQAGHps130eIfeKKdUxbcWpXHXa0zjBPKpjBtXm49z07vz
lmjE5WHEIFLkYARIBy46QoU6650CKaWXlM74cWgD3VW71D+gQAyHRxFuVQa27C3KHjmTiF0FFbeX
zDIKES9pXnsQv7rhljDT5VPCwricfDKhT7M8+qnaa1OSNz5zm3fl9ANh2usHcCV7EwbgXGISGbqY
ZVSRTY6TxEXt0y3UDtMDIYXXCsYVEsf22Jxk519tHaRSeCzRn1keeTuoDV9K+VSIZoLy6akfzV7T
9YWXmaNzY1llGGwUN1a/lpA6FacSu4voggqZY5eVBlGuFpq/RtloHyrDU8ZpB3+B023c6ZVPBoaB
+0z5k1rDsv9aIyUMcSapeKBMh1HqdrPy5+s5t7DkXnSMPteCoMu8tk5vZ/l71uR7Q/O9sd/UEREO
6K1XpI2M6hl8XFwt/O9bB9XljVLODqhJ/ZlJeOtQHZ29ATWnGLDz77ZJVVeiXGA+zADgDXkOL5Jp
JlljhENYm+Haz8W35ERD0iNjAfDjQamyizYBKZc+mJXBq24xGUAfb9kpTHPD8fVqyLxq/KoWr7av
M/e9MYG1UvfCCPURmpF4qQsKRl0bY7+vWVZ8n98AmioPxl3xU9p3B/XzcG8e+q9ChMHZCKpWJgPe
ml34qUJVM7McMgcgTHBKd/Fr+xofqEwRWbnOPrsPnjSvOoS3BRJJf1lftkrwl+/AW/OL562ahmpE
GSnzOn+80aEBksIfUvJBt4rbPm5ujGxTz+QyIHprUVzOs9CbLzmXesk+Oyf1tr9Pn/J7/0ir4bH/
y3iRb5Kb/lv1VN4Wj9LNVoJ2GUC8NS3O2ZnpzOlaGCl7xliAjfWa50i6N2flIc9zVD6+bfht4bMW
F5MD5dBQ5NCCcFrULFRjTItkwJoJJq7Jcs/RIBFlXr3TXxsZxjkQehbK3L3iHzLz54b1Sx8n1vqP
dfHhz9YaJ6TkUcGHtV7re/9XchoeimP00N9KgLdRFakfKMhv2BRn9dqKF66oUHK7VVDk9pT5SfGf
HeuxiUfXzqO9LP/Mm9mb/ZM1vKRlwWD9Fr3jSgPtzYqXnBBTZedxp7Lf2S/9F67oNfswvxu9roeP
vP8g7f7FpDEGoWvF/VpAlZZloTgy4043EPG0H4a9cLzBUTsOu/8OlLdSTH5rTTyhZx8UrbbSTich
GfrYfRwPUAkeg0NMdhk+yR8RHf6NKkWYQd9FN7SThvvpJn3uNt61FQiCTjWH9itgCoERXFyhCa4f
EzoZEK267s4T40wpArbq+BCMxl3VagfJxnUO40Mtyo1t9BxEzS3VrveO813OnZMd/CibmBJFE7nd
EB6sqnrv67CmOrBWJsOuy4odpUbJ7cNyI0e5jDEEIB00Ek0G3srlRB6g/m6OIlkg55LhpVJD/UQF
Vr0rqtjkt5hbVBhrLwpTZgBoYOKzaPAvrkMO+a1h9hTz0sjVfhjBPgQufgCovZc8Sb+TPgBQegc2
49HYEDlYtUzpnawY/ltSioVXlyK1tp0Iy/7X4mPAFGxGjrmHlc+t38mHdj/t0tvodauHs+JewQRa
pJxULpULabbGpBTVKjJh1Rx/mYEaRJHqlUqz703nBmb9jVWuPF0qOpfsLh3zy3pE3ZhBqI8jGUVk
PDfZLc2xfTBOlO+zXUOfsy+m43UHt+JTVQFuxq2C87wYg4QzlpSqKEVgTE2BnmOiKgfAFGZ1uG5o
zZe9sbR4JP3E6RDGYCsHj0PT77jhdzE4hBTtVTedXfm09fFWYqw3FpcXezAthm/i3LvrYu0jGkQf
d9fXtDLSICBYCKYRqzIZu+wJZWY9mFOZw+h2Gg/2UaVQD9Df2sEKcQj26hflaNzmjYsmtgew9HaE
cPDfoZv5GbzJuAIB/1/GywCbHT8aYcVKptk6Da06H4JWGTZSjJUoRwCbaYowvUcfbLGdaqgl7dBP
lJ9NJfRmHcodU0vykzG1xzFrbuwhcY2peKfH9VaEtfIlIc1jeYw46aBYlpc/k5pIzzmlRmq7qo8O
w/iS9jfXv+ZKVgr/H/UswWEKKH65wKCEJMtxSp+HgI+p7yvS0uI7LIv9Hpe2OdRwefUAypIBU1YH
9kyX6e3rFyR96WQoCaK218yf28CuQzeL6dZtnNLLzQNvjDtBOwOSjQtqVj+Lh2HOGP9SmpLpnmSw
YLApbP1nOwbtRmvu8kEStkxqB7RgWNYi6ZX9yOpS4n8PXgnnYwSHLuMFVh6g4JT62UNRm1tVny2L
i2Sjl0tn6Gvo3mWJd1Cr/PQ0tck7ujbS16rvhnkjIlzdTTHkRpJNZr8ELJrJEIBvI60PfAnajhT6
/HH+QtX1/3P2Xctx49C2X8Qq5vBKsrOyZcnWC8thBgSYQBBE4Nff1T5V58hUl7rmvk4QGiDCDitc
Y9Rd2h7Y9ClyecjqftiNWWumZI49TGzyXFUso0u+OVVKnj7f9R9fOHyxd8Oc1/ddDIZKK211iABX
Kyh0QaAfPEW0mzfeFOzihMCxNx7ZlbDl2tRWO3+MmIgoMsRCx8K9BR3DbJvg/6MTiJkhVEEl0D2D
4Vd7EYVHKtLeYt9D2fxh7h3niVYRks7PF/DiBkRJCZXAMEUR8MNkQhUuS4RjjBxgAs8kN4ouW4CM
pw1tI3Vl/10bbpUEOVJZdDjxjLY9z8Mu21dO0IDzmbql9tU1k5SLuwNXrh8iG0DjZ3XxtsZVmkxY
w6E7+gTyNA3fdYu75FOvATML0isZ5sWdAZ3CGGwJOOatgWXKD0gbMmz6KarioUyzdPiNEn3mXgn6
L44DZX6oUqUwTl/fvV1F9GAl5tW0jZJlh2okTrSx4+Y/b44zTQ6BVQqOyQcINQ+t0nLBHR/LZdNb
x8D6pc9OttL6sJC6vjLchcsJgWoKzQls+I+V/d4gfxYupqXm2Ckgz1Efe2ab7diP13Cl14Y6r/C7
e0NII5R3zhQXYetN0OFhDluH5ASNjO3ni3hpKIQbKYjFQDJ/ABUPc6SX4aynHMd2nzF52+jxpGvQ
yD4f58KmSFGOw+2G8PsjGtezYO8nCa6loZc8KZVysNGDNhmvRPmX5nNmMYKdA6b0B3QJLFI7NkgN
9Waik53nJHNeS0imm2r+9/MZXciaojTDZEBfRif1wyMimIfOowMJHwBM7kkLwQW6H3eo4eZATMIe
AJ2Y7sHP+e5aEe7jxZFi1PCMkoANwYegI8YmjXWKkDQiDMis3vVJXvlBfQsaXnY7ico7hV61bD6f
78fL8cyGQPiBcOccw63uYm4p7zp1ZpKJgMwba2oOdLgn3Z9xMiH2sU2Mi/rzMT/umr/HXF3Ibis6
RQNQ1hoxySLi7Rsf+H/je2BCAJmc0QMAKUBl+U9u9e6wBR51RCCg22uD5a6BIhZcK5kB8Cn9j5ai
55GgfYx49MzkD9M1UQYSRZ2GVZ1ftGFW1nrcmFBcKUuvklwMgYQpO29/nDGknas3xdh4EaIztpj8
4QRM0OtMuk3YmR+D379UCzJdEV2TFF9tjD9jQs0f/CXU3PFKr+oWfgvdU9JzWzSevmsns+TcRWsB
bFEYM4bxcOUmWZ3wP8NBlglRwRmc/cEwRaqQBukYmoKpMU8HrGINfBzIhZ9vvXVODZcC+MDhXLsh
sEjA969CHBdgjHSp9Ih9UZW2hWPFMri26MmENmvn/xjaft4gXE3u0tm9yQh7DGu+10C9lWk1X/mu
q4Pw4cf4f78INoxs79WDKNg073mrfiVN9x/PwZ/54jueVYcClGVW5xtU1FSZ0RUIVu3JBzuazfTZ
U1fbhZemgjsTyEofg3zoXKtqGgY/W0QxNvswtYWg14R41xD6P6v1fojVajVoGUxOCq8bYdzvWneH
qJ7+CSNezF73YhX8quEtxRbvNbSL2LQ9eUg8BtwI2WaRgbjGeLN04z3rW/ros/6HS/srm+vaGqyO
6ZLWFpRdrAEsG55oxPZBa54+37/rYxLhLUcEBqQllN3P3JS/d8xQ1RGy4AzuY72fj+JrE8d5ZK5F
zOvuHpb672FWS+3xZkmhrgyr5x3OPDmBTonmXnQ73qR5sIGp0HUL8o+Ldx7yTBPFFYe9utqodT8E
VjmYGfF2IYicJZwiXyEl8C2d4Qax88Fhu07fXL/2/zNR1GgAtER3/QOZzsaxiSxU34vwLbs3pXke
H1lp9ukNcJc/mgdSmK/0/poj5eql/zDo+ep99zbZyEYyOX9EmWUvnk+LOpnvqtGvYPpGjq0vtp9v
Gg8QS/zJd02ZD2fnvPrvhpz80Y20bJKiVWYADpm5fIkK7XU07qBMGLQgqhNPQKG15ExnwEAPoAU5
d7rySbpLDYkkXOJ0CBYvHGWCN9HHyY8wdeQ/jpkY2yZUGgeus4r0uybzE17YniSndqokDOxhclxt
Z5PpPnfgNe8WLarw8qvqTW16eAMiuDf52HB15nhLmxqbq86OFMA/PjXgf7f1EoITx9G37bqcjXRy
a8DFgeh6oKZvm1fSCCpPxJ/kufMQaSNN3kaTdoG2avDoTzlTfeSOuYzxr86OX51kCCJBKmyafEwW
Vbd5yvrRGXMV+jZTeZzyAEXWrKXZeBoX05q9VbIZULLrdDjpHFoCGUV9O3RnlW27kZj4n4WOqWQF
TBdhMJIvnU7goMyFbbeBjGW0p8LrLYYYJ8pvdWhkesy6dKiPyu8D97Awv7KF7/Mg++VEsxxA8qgH
Jo61gmjhPuG6bRAsBc2YZ3VaydKyQauysrZSgM4H4aMchuww6DjeRelsX7JZNSVvB95u9OxDxrX2
hG1K2YRSbZjvL11e1YbcBk2r90uT2SNPpDhW4+R0aMf4/G4Yk+zkEj3rwq9n9mq1dJ+JUFERkyrd
ZZODt4UpOPxo45GfTVfTLZe1f+P0bs9yYlt8OBWL/q1vfQ3Qv44zWEMy+j0cbOrn4Rik1U3vy+VW
M+5+C5Ke3iVaoI7Sj11/VNr4ctvT1EBNE6XlN2+M0sJtF/3khJW+VUFTlWidR1vP4j+sxjrw83k6
91YdJyJ2NyxLVZeuWLomd9Io/eF5ypAi0XV0GKNQ/fTiwSuZx7wXUELN3ax4+GL9Vp+lKFMLiYMo
bF7FcD4wgxWeWyLlTtHMHSOvh5BpJr6346CSksZz/3USFBbvQccHiAgIqe6ImP1y9CZnCzu48eh0
gf8IM0IfGvxepdDnQsHtbkkDaAq50/yFjcI+2C4ZRT7bsTkOygtK1aXejeWJhXwps9khAIXTxwn1
gCcB+vZhqSP/Fi8j+ryDJlsctygGlouqHOwMUDz8mZRUDmo/22h8qxIHZB4b8XSTeZPYdH1v7MmF
ndJYchrH+47wZY+1xm8wNpiLKAbzIWsXfiuZdd7Sfgll3lInu6vSmlZwlmBIW6jU9GvXTqDgV4oH
3xvq6mPswBcGEQh56DteNTkqCM6pwu2DJmAQodVHaMq+w3YL8J4GtstvUVxPx1T4nl+mdlTVzuni
8am2gZG7SsHoHuhMTW7dIazvqDHVPUk6ENTFlDlxUTcyDophipZ/WEbioGxlq+Cp0eDA5pYxt8r9
1Jn7B2lrXQx6Tk6hTaTNHVGT5odtUFaExjAPtmQY6W/gepXK+ZBUQG+PNNoHyTyeIKUOYSuEQu5Y
uEJCXgPIwcbkchYhnI1NzZ6zaFBf4BlQ4aqgpMDbFt5wUEpffGOiB7yrw/nrVhRi7GIctn41x9te
jr58jGHG9CuRUmPcuWK6ZKaxN5CTtFAX8Jodi93lIQsWPIiQNy1M7QyQVkjY0+KY4HdTEbEzMh6A
aMiieRNWdXhgURvfxTV3fi7QG8+TKk1uhqBn/9SatiCDqGwzRF59B5NOe0wCAvkJoLBywLyXjRAs
2fPULOg3OdBdHkC+vYNVyXwnF4cDR0d92uQMDzt81BOx9IWjMycp3MGpdiTrvTIKpLzrPaibdbSq
d4sMltINB71z6ATFZn/yzO9Mk+ww93F3U0vi/a7bJNxGfjDtAjAS/hUost1mrvAPVZzQE6g66mur
cTONHP8Kwy7qPksJzwd/hCICl8sJtr7BKeXer6BL8ZPIYo4JqQHfrPUcbsHiG88iDcNB6aW9r1lv
t109o29YL/5jMlrs2LZJjrHxxTdoUTl5N1TNNrBLWGqIxxYRzZx9MLDgi1uH8S8acs/mrex4qXwi
oSrcVNMBTGX3ENdM7V3h6Ac1saDO4XJFvwGdQLYdwG5lSKATDihpmM++X20ZGXAfen7zGNqw/5q0
zH2Iqqh+rjSSLtyb5Kuywt2GFN+xnzgrFreXG4320RZHsmWwfO+8V3SUiIO3p0f0MjXDtpkDcefX
znwE2Fk9d3XXbdpm7HgOYm+z4XUwbXyMtVsyX3g5jnRUzpV1/oVfVlUktcFGckhW0GgOSwW86PcY
YBaWd1aIJ6x8egKeRYP/j7T+sWsjSASHZuw2ktr2G14GuWFcj7QANDgq5ULmG9X20PMK6+xAAGYr
KxU5eeNxem/QKr9x27TfQhTP/4JYYNjObkK3sRlA2DDWKXxEALsGT8kNlEyGGOves+eR07HUY+/v
VQZ4cxpXMU56Pb3VNm1+Upa2uYPi6c4hk7OZhgAirx0uFLlM/q2Gt2DJLYfvmY7RJJ+n/ilFP3ff
mUGigNaSE6lsly9VDGBDMEENA/fMfedGwynQ41BoB5T9NEVO2du03XVN9aMZQ1ZQ5t61XA4li9Jq
6yleFzUXyUPNIvsNpZ7weXJ5t6HooW2J1UGJ7lIELRgAbxOAWMqhqVO0naA657fc3YpJmAfrLv5G
hhQcdM7EExSk2KvWGv7RLfPeDLA3P4M+6h5UWE95suhoI7AOt6E0YzEEgfgFnVHvIRFGlUQw/YIe
QFwO8UJKGZr2AZlHdEJzYMrdCjRkMtf3Mnb0I94JnPB5cmg50nE5OIlfncbB8KcBgPAtVpBuRzOJ
QwMJxR8AJbANhIFAdtH45OFgoFEnY/UwdMPyTybracscV21NZBDTtGm75UEIE6xAtmUbz9Fvjir9
lGvcwUfqx3o3un1w0wc89TY+lAVvfMVFWTfGe0DIsUT5MmfwjAslB1EVDLc7P3YH9FvdQRxn6Uc/
G+3Oj4DIejdM9jWsREPCDyE0TH9Z7fhffLe3xUJN/c13wmSD50pvnCwQZcP0+OAuEy4Xal1BwJiG
rgdd5hEipkH6K3WnBW+70Ttm4/nkupL+kFMD3TqSTY+pquacNqgneBoymUtM6b5GveqU8cTbzsME
RRxNFvy/mfct7ZvxFpSNcDvGi3OjwZZCB7CZuzcWTRFIo62dnjyns02eNqqe99U4+uNDGDHr7YCP
MFXZQFeg5NDEBQ4+JozsQK/xRd52ae2WgRyDccPCoYKRYMtuQ+tUe6hvBT/rblneloaHJ+4Z9KEb
+Fy88CFuTtSyugRzInpAyNWfWpzLXRICyAV8h9jonvtbXkXpI3CgYNC3kcUZXwCj29Ra8NKvaruf
agJJC+jabzTt9KuHECiPsBnzPo1BVyLc27pS9zs5ue4uCAXbg6Tv7izcsb42lozYHgRyg6NuHmVj
VU5dKIyoqYsLPcZZ2Q4Z7JICFT1Z38aYjwzzBO258sx1f8CDMxdxUo07l2Ze3sUsOU4QrSrN5KqT
tDP9PeIUxoEzlV3F9caV0HYjLBDbkM1RPjIouIA1621Q/6qeZGe9PXGjaWeAcdrEEelv63js7idK
ko0bKbGpB5OU4dgB3IOiYJyPsapPYUaWm6w9exQACpTm1szdHndQuulp7R26rvMOaRv1uApIrw5D
y5NdIzzUgA3cyMpU04ggCgGELfFBvGkACtkvuOF2rXD57dSn81uWCU3zMFimH2Lx/F+OO40QgDXz
dzIN9NRHrTlVsSX7aHSXJ94mEIxpTZeLoFabPorpAaqL1b+MVcEXaNhIYEtY5PJceYn42pmKlz36
dQc1eO2dmyi+c1pYT2hiGGx/IaELQdhma5fF380GlC1eT/yAIjK5Z9D9nXLhL17RzhOiyMxXpW7n
roziSkMeX7rHRNH50Pdsea6SGvdmhLgYyjlxYrZs7PmPhjTeoaphGh61cE5MnFDufIhFlCqZU0Rx
tHntXBYeoQFAXjut002aDUt36CBedsSK4q1hDmvbJ2+gDc0rkdWvOoZ0DVwgPZBGeIBairLD8to0
LjQ2lyDYo8nrvtrFh2pB7Z3wlDq7bsygvZnN0/wAwXc8DaOrFqgd298U0dR9isXbMYMXNxeRcL7W
br88gugTRPnsdFiEFiIcXsErzd4S8I4eoMegXkaUsXMD8ahtj2L2LmJp8pYslTz1qEiOB/9Plhp5
Nt50Xd++VSGHmGq2tEZtkszj97KW3QYGisMBtAp3j8ImpGrmjP6DR4G/QtQ4uZsXEjdbQ4PkFe52
/kOyQJ8F5OXM+7eiKT4MnhO/FCNysRqfYtOogW+5ztrXUUvo/sOWKuU7TkPKS4gnC4g2LxCRMG62
HMeoXvb1QOLdSHEDJ9RPurz3OfBXQPdC9dlaeswgDlTnAzigKHI0pFyCkQD/kwFoXIRUh4cB9Yaf
TpAuJazGm/vRplWfZ7YBUxTReruvz2FSny30tcXldtSjpshua0R7cmD8ex1VbJ9WWfDg1RQaKaNx
tqaN6sJJZ3oaJmTACiYs/3YsdEsoR7alctLhV4ym801WC/CViIQwO5IAbAkvsO2zaVlz8gcQe+eI
RCcgG1L0YsJGbgJAQW4C68OlqZEJlDy432S3uuHikUuTPIxC+vYxJiN3tjQG1d0ZJ33vyQTnnEdQ
cgQyYTj2CjkhiAkoNsymggA8YVlz1wzS7iSdwn4LIGHk3PMp9eRRcYlEjrfjdFJeCmx2VAMZxSGQ
7VSz2dRx2B/gUuZBLzurymVa0MWxuPGrRZ1jw5DcwBm0+rbMNglzgpeiFMPifnEy19njckPeOYKB
M6co2prJs5uGhfYUcp7eJ4jd9w6IT1AXa6l9SAkKqEUrk2mHB8BscQ0Pae6mjYEmeVZLABx97K5j
xmn0oHDcXxCi629ONiTPIk66A1VR+ku00GYnPjGbCRHiDsWcONcz0sTQ0uQL0ZG/H7OkfQAtI3tU
2ZJAno6hCBg0c7MzCUkO2MohUk9vKaKJZyWByHg+GNoWHrISklNkwiVKZKqUSasfrG6g8T/A9tUv
RBiKH8AekA3yOXl04gk7Gw4adwl4MKZIEzRkMQlGQNiVuIRIXPlboMWhD+tHSj9GCtpyOCDgnzdt
9YzWWL9nqMQ89ZFjd6032jq3cbbcVqmuf1c09G4kvNDyQaknQYMO1SRU+6fR7o1dUtSdnB7UJFxQ
04B6RzvEt+656wBfqRKCLKzspfNMoK+ehwD+bj0NT7JcTIZtRx7BokAxcjP6vb+de2QY3hjnddjC
KQf1pl204PGKhiwsk2hyftgopBtvJKrfwTyl5iWKTvOh82txjDzJ3RJljwFVuxBBfOkPoWUolWkA
KIVKzWbpl3SP56/vi5EKdnAlT9Nj4mTtvuHGf2QEXJrCdQcV7jReKmdPUFgLyiEw7Q6mxc4xABgN
+rcB5aKwqWNeOZCGP6CR7sC2K7PJjUU56MZrppjlPodJDWyVfSVQO1BVGSkyi2KA3HNTNjKL8A/a
7Bm5Y/UIf3iUaB2tUeZgMc992fhIdhJ6IGEmUTFOEvvNwrtxAAA3YWBvMGbrwlOJuZmZ9B58W7Xf
nADOQrl223rCceiGce93/bLckzixX7OBpHoTIhH6KRidn23nLk0Z+lq+4MEFjorChfrJssi8+LPl
KBkOUTfkNlwQGsMe+4yDD0ekKspCK7AwMW+PktXsPpvM9CwDXWFLxKMKEZ616q1GP+6hm0Z9CpxY
/Apq7WwSx2eH1Ov6nU4IQkImyF51rL31EvzoHDeNMx8iXoe2cCwqCnaeqs0IiukvhPbN3hGmufEG
wl4XB4cud1isf89L7L0wt64WBLeUPrsz7mbTtQvq0unQQ+lsqFEDoSq+aaClVDhycG+QljWwgGax
cQs/7gjUaaFmP26C1rffHOwHeYtOkB2Ps4qmdK/BWXTxLNgU32OsfLrjZEBjrxmlnLaOyuIRTfVA
DhDLSdNafRsa6HO+JNLBXk7BzLCoj3Wq3blI0tnTFEK3/YuZYxu+dqRFJJK7ox1wF3MCOlJuaafS
26auxztNqBvuWzMqc5glsc2xEV045xnm6vxK+Oy2JJ9QrCDfaVCPXoJqHfINlIJMkMT3btj56rEK
zBw8hspNq8duxmvyZQFY3LupXKTTZU2EGXJWpxS1qyqRUOJ1AO94YOg7AiCTGqTLg4+teXQaNPLB
dfGSqQrzvgIn5Gs7KgVfbQfJx0MlRRpvBp/XYjctmuLPpmzy8Vz4QZXaZwj+LCgeVD2eN6j/9emR
6LSqYSbd4JKYAJn3XuE4hIh66YLqmxNCb+ZZqglYk4zIjry2CpnAxlIR7ydcGFDVMTGK8dicU/hC
tcQm9hs3mTdqBkalZCqq6905mu7Krh075Prt5A25h+qKfEVabChQMqkI8GsNwR9y4QFvIdpSD1Hz
hQCXyu5nUEDqRxROnOTow9myP2DvTHaDFtn4TN3GqcohHGOxmz3Pm459XKn2tup7ufwce5SOvqNB
cv5GJDIzbJPcxdHjIWECHMt+riJ/q/GX65sU1YL41jdIGe8DDkG/0ufChd7nmMKMaVP5mi4oXXgI
Pyy8XhbP/ZLJquufRpR3yHZwAvnt827Lull/7rgmWQblJA/RLFQa/261KBiRhGF77oTS9lbg4Y8S
Z+cMdkKhVe48AUROYq+1zz92zzAeMP4wGgLDPFqrfVMmaqgMWNytaGuyoh6qYedVYrpmyH2p/4jA
8uxgA/j2B4lvhoJvIqdZFrMevqo02PSpwhuRdL8/X8SL84khFgKZSxA017CUClVwkiACLkgyzrcB
n3/KWoS7zwdZwbP/NMWA1/jfQVY4FNIh8mkNHqR5aPOhvq1GeeQyPMjYzxdcPbOYSk9fk0X6uIT4
VO9GXQErQnhINsOEMEChilP330CC2XTpNfz3hQU8u69lMbR+AQRbU3ToEDhzaD1RiC45ET5sdR/l
ny/fpYZ8CFgvCLsucNKAEf290xMooQdz1E6ASqkybo+xzTkq7HGegd9i9r/gefar8x7qJW++z1/q
4zXZkwsrCZlVSDkBawlA6hrbUHdBK5mXiiJELHUuaQ31HenE/vNproEwOM+gt+JuBuMJwOJ1Y9rq
tnPQ/ZkKrqI72svjnJA7jYZNThN++/lYF3YkiP/gRwDsg570GoDLB3cIfJhaFPAlCIuxEjlu723c
ggahktsm7u6c2PmKttI1ENOlpTxLq2JUqOUAjP73p2xk7/kJ2qoFUps5H6P4RRlB86Frv38+w0ur
eZbghRwYUDgfBFHEYolVNMPtGHZHSoYXLu3z1Pk70YdXLuJLQ2X4biFAIwGceFaIgihqgcOtfFEA
IVsaLOpEnX3qfkmcw+dzutDPR03UO2+Ts2XlmkwShsZLWj7NBYEyWDvV+97/gUbUgThk4zXXpCQ/
TisFTgEceTyjACquhfnrCOSjKWnnYkFOU0DWdTyOGuWIygZ1GTlBe+WW/Lg1/hpvLekKeN5iQ9lA
66y7sewONR6EhZ8v4EUYxrs5/ZHReQdP4CxzPFFjjDK6p0/iAZ07sIGSAkKrWcFAJyflNamNjxck
pgWOdwZbrTP+cbXjvSXrRQzx4gLox1PL9J6kZHNlWucL8G/UBcY441ZB8DhnkKurnlCNR2xAeOh0
oAe03g6Sg9t+NvvQ9KfZNyUlsgyA+MNVwm7dhD+Kxnlhw3RlfS/O9eyzgMvSA6p1dRIcFiDNcthc
sGFA9ajOoX5cfj7Xi7vk3RCrt1SQaqlgpgVlvFh997v0pyNRvPX7a348H2/I85L+31RWS2rCBdgG
iyWFoiizITgsy0ap+ynWZdN8hzSAapIr79yl1QMg+CyEHuBqXhuOMI3nDx1MWXjNG9xv90k2XTli
V0YIzpYn77Z/PA8JRbUUe1EkddlFyb1aUlV8/oXOX2C9Gd9NI1hteGHaeUwmDIJW+gbZQ1nDADXx
AeVy37Q9dJRd2f6XPhVi9wCvpgfRxXUMNwuKLmIHmBPKSoB0LvnYv0r6KnVaQHoDNn1VMcv4Cp3q
MnTt3airjTgFTjS1bSURlHjolBYZFPogoayKZMeeut8DWjIgTH++tJc2/ztU3prjO1ZG9E6MmUbT
OfFnEHpT7YKc5irY+NLl/26kZLVTKjS9GlQvJapGwatpon1LsiPe2tMw68Pnk7o0VOZF2PIodkPO
aXXSosZ0KD1ICVNRtGdl1JSdnvpcMv1NTekVmOqlEwBfCrh+xsjRPojmGXecwxRVARSvv8j61mFX
CATX/v5qV8woKM12xivZVQD23jfk5fPFurQDYKoM1ZCzMt4HFYA5hnczElZZLN4vKG0WDFxrhlri
56NcnsX/jXL+ZO/uCZ2hxdFPGKVGhR3tjXxEJvb5EBdiGRiE/N8Qq6cC5QoZsgV/FtWDvtvOc81c
AE0dWuW8D+rH2pP19zSywX90MkYyhnz53cCrL1S7Jsx8i7llk/hK/fSRCamvrN8F9DcGiUD4RSMb
DOT1Q4gSExrAmiN9tbm3NYfmDSYhPE9sAVMZ4FozYPZ+f76gfwKJ9b37fszVxDwPIB8PJU1IKYdH
F6qXdhP7u+FxKFCXKKov5KHK9W/5D/BN92cd3qsKFecBPvwAAGph+QL/hA+e2F0MN6maY++rbXfX
/pJh0WyqAxRmSqfo92cLkejHqNBQBRf7Wlhw8RKB8tzZ3gAKdOvkCRVEj0ItEGNrWJTSR5EFm0Hw
3AmuPW8XL35wZ/53qNU6+66ScY+MsCA/TIlqm72Fan9JbsPceURDk/xC67D8/NtePPXvhlxdkVnc
jhz5oSxQ9ytceS/ctx4v2+eDeBe/3/+NEq7u/CVWlVMtGCW+VeX0UqVFx3ds3gDN2t1KuLllKdAL
hRfsnLQwO38fP33+C658xDVngijtiKrBDwD69ucsmrHwBJPop2d9gb51tP18uD8ZxWrDQsXyrGcF
OCZ8EM7L/u6aoxrgTj7hOUXNMcohnpMDJNnjRuK/OyVoMS0jKQHHQpuyquMaaGZ+TSbkwpf1UT9B
Sgw0OvLU1ZclsU3Q9I1lwcbHBVjiHtUh/+fn87xwm2MMOPNlwJ5DGGR11UIjx9MCImfgLCDo67+i
wXhl61yaBSgZKI6gDvSR7AIE3MJHArcgAxmvrU9fMBLkRpJWbD6fyuWBYjx8mA0YxKvlsqEDb9vW
yCI5dzpB4buXfQbDQTV7V47cpUUDrxaCCrjNYlSd/t4bgpvFqRslodbuAUHr5E71+/O5XNjt/vsR
/L9HcPs2lf15hIyyZ1KBKQMw6oOHZzevA/dK5H9x4d5N55xBvtvqtW+JCAM8t71ISteiOYCSNw77
le+zFmo4v67nTBfy2eAWgmJ4/h3vxoFtYSO7Dq+r2qJKl2wX2IaOJSyXzq4215Prte7th/HOi/xu
vGaxUxwqjAfAegn2Zk4HA8GtLjdc5ca1OVveKlOjrQ21dXnN7PbiJnk329XJGj1g6oIIo8/x9yV4
Tpvnz7fIWq/tf6YHEX0s5DmtX18PFL1zH5Bl3FAbH1n9twVwtPno0gJQTv/7vAVetjclOkLiRwND
sLQ81zD64loN48LuAYQLMXMELj1M0Fa7Z+gHZ5Fej6hWdxYmXcFX7Y23nSd+fD7fC+sJgij6wig3
AeK2fgC6AeSHGJA8NIn8Yzfye2Bur1DhzjfE6s4HHM2FAAamgrtqtUEb7lpnWDBEJl979RKLF0eS
fOl/CaIAWOB5U3VXDsWFWWHI5A+fCq/MelY6tQ11GIZECnsLHPguJteCkgsfKAzAPo3PAwFLudqI
aSMb2oUExbmB5SMAK249wy7xWvfn8jAQ6ozxcaCrsNoHUZC2rpocFN3dubtRoPrt6AgAByDdtPzP
WwFBpHcuuINg+0FuoM86L2Jg+8G44Sf3nw2/8vhfnMq7v7+6fVvbtHF83gdwHUJcJZq6oNXg5q1p
v30+kwv3PDSxzq2YAJq7OMt/X1GT0An8Hgzq+qlfHXjAD7xtwTSJm3/bMXv674NB0BTNmDPLDZWk
vwcLLTCAcY/BarXr+pseiE4YfJaVd+WkXlq+/8femfW2kWVb+q9c5HvkPSdOjI1b9RCcSZGaB/sl
INlyzPMcv74/Ol1VllSdrnzrBhooFOCUKJIxnNhn77W+9dP7vO8kBY5fmjkqrUVAYNO2G4xbyx9B
Pstk++df6MPNA/yKKaCA0H6meLzH1vim7KZ2YIrVCrFPJxl6Pcm/v6hfPj5GeAemEdT0tAagkry7
f3joalk1M0t1kABWU/uAP+Fa9Mi4cjLuM8dLm7VyD8U0X2NEuP3zr3j+42+WJJYGNqUwlKQCePF+
ptrNttkKtN5n1Uq2URpwja5diljuR6kiIo3GXy0XHxbB7+8IvwZ8Ks6c91dJZqoaOQWpdl3qbmp9
PCBzxHYXT9/GyrxySxoLY2SwkwyQq/35l/1w4ZDnSuQwdHJubbqc7450rHrRWSrNF5FWeiNqGk3d
2eGvZhcfD+kZkWxDXIcNJ+BGvL0NZgsLytDAF4syEoy7Gd2V+TKocBUmZenFejwt/vxrfbxMeUMY
VUqnsQSz8N3KWFi+IbLKBwnUEyiDix65iSx+cS/8m2PHmzBrdXTFvP99eGwsCvjZDW8yD07iyXw8
5q351PT141//Mpi4eZacIdAfIr1zn6myM9rAaaW+aeP4RWFB+etvQYOdeadgbEGi49sTlDlmiWQb
+krZZAw4S/c2L7X0F8+QDyuvjTkJbvC5I0Ap9f6ubtAYqTpki65ls1x1WbdH6XWfuulN2slfgJP+
zbkhWJF6nv4zU/D3t5RjhVnQksNDBm1zqDRockkcohLL//L7nE8M6OBzxpJOf+ntgUPHk+mYniCU
pAbRdWI1258MBxPgXz0/CpzFeX2g0cjRe/ccGTLbaQNTgQjDeyhGd0UA+i+ewB9vGZpERC5/hyqe
oRZvv0nRNemk58QkhaW4t0fMsjaK/D//Gh+bNZA5znt78d3y/WGL32oTYkcVpgv/SI+8vMr28dpd
dEtZfU/aLBdkMv1iKfjYR3Fs5l+kX6EUoNf8vhcVplNkWjUyUWvGr2MGS3wukFLp27ROvXWyemFX
zdLVxLJHfxzrlzSv1o0xLM5+kMAEoGPbu8oqA6/Vml/UBx96PHw2hm5nLQPtSQ7L24NeRbFe4yiq
FklTXBlOsBu7tt6EQyHWha6u9XPloMBX/flp+PC84ZlKZw6CH0fkY1USFIyLUUk58GPVWm2TzbDW
NvXmV+CjD1cUb0Nb/zsv1vyIqPKHMMsZS9Z8BQLH5iS+kOpX+4cP9/n5hpDkn6CeAI3wftjfJ2Uz
624cLUbX96Le8CxMOoIb5fsR++8v4/8KXourPx7/zd//h39/KcrpbNZt3/3z78foC7kzxbf2f84v
++evvX3R3y/L1/y2rV9f2+Nz+f4337yQv//j/ZfP7fObf6zyNmqn6+61nm5emy5tv78Jn/T8m//p
D//r9ftfuZvK17/99qXo8vb814KoyH/78aPd17/9xqTnp4vn/Pd//PD0nPG64/NUtO3rh1e8Pjft
334zzN9p2HFuBQUbAghd/+2/htcfP0EcxAzQIreLKtvkYZAXdRv+7TdN6r9bZzjmd/oCD+czobYp
uj9+pn4/U8B0hHSSJhmv/O0f3/3NWfrXWfuvvMuuCgQ4zd9+U28vD57LOhmnPDLZrNPUo657e39J
WyuqIsR8g1VtbVaPZp6AsansnVMk27ZPENi7000/pA8x3kWEgos2qWa8UwMMjE9Dhs8fG7U3aNa+
q6g5ibHEWj6pdq2z2WKCtuc5Iz1ZMVzP78EUgNlNsm/hFF8zzrswmvgQOeV1YV/jEv/y04n48WXf
fLm3i8f5y0EyZeOHLu970N755z81W1o/JTXPHxyvk9O2F1fk7i0pey7CKL72c8zMs76YlyTbLPOA
BNf68xTMt6FW3WVJucdzda8N9nbs/GUWphuQrRdgmVv/So54sB3S65J4U5u3rn7AOL5o03VE7JoK
9aUSKZrL5qrpiv3UukvGy4iGv0WF9cdd9+am+/kbvl2nfnxByJGkKdhnIhFX189fkPFTEOCRcRCg
1lALoqtwsneW3R0n5e7zyNhAOLgax1+KDd71ef54YyRmrMgE1LLhebcs+70hy2YsXWwhDwXeatnm
BxSoh2EkfLh/mM/1stEsioI80LkByiIOIgvgM4ab0DE9faj3eioXTncajH6ZVLd/fuatc+v/X1uU
H58P0Rb5Ztx8KP3eHpjRtSnWUMR7BdpdsxmfqnzaZGI/MEM1p+litNVhtMaTGDNk6uGaKcPRbpKN
qL/qvdxMfbAqxnYfd0+pCrb4dTddYe0G1T0lbfVkBtE132r2tdoLhb8t6cjEaofXyrNLdVdN7glu
KdEtnSfL9pPeIc+funFfhdqjhMcDGGSjNwilM2hqjQHjwj6MOpT0ixlvlzgVpbphf4n2MgjXbE2e
9Sh7rLPsEsMs6lV73WY4H7ThxKDlUkSf/vzgGfbb59IfR490McmqdR4Gvn/oCifT5jwZXCQx1Qkk
y7Udct+HNnrt7qjL4tAaL50wrrU+utfd/Esc+p/dyXgKhv5SBgtVlHeZCO9NsTbNeTcLezmHGD4S
/aUNwq3eRosa+6tQEBks43PSyE3UrJ3U2PpEqaRh58FBWAWOuW4Jc2XkcDDGaJUC5mit8E7IZUZU
QNfEqEKCZenOd6HVP8dJeN/L7GCYy2a0yc8bmq2uYYKJ8cIzOLmziniXwy1JhfbJ6RxIBi/ukC1r
aR+LsD9iWF4JzVw3cXlC7L9vrOg24VKFebcxL0Rgby1RXrhGTtpzuMuCT1oQIWvQT4lfXvm8By46
66tZWwvTnbEhkR4cg94w7GXry5MYuh0sjJ1LLBxIiE6Yl44oNk6S7K2431ngTmJLvkDy4984MqZx
a+c4CYS2KZvjMHSXUWORB4qb+Mmu+0MTFusiDo+9bDZD2xybWSxUbC3AYS5bM144fnFBXPQh19xN
GxgrYy7W69jFeCxLSLPVPpQN7eZqOdrk1kTutiqygxNNlzF2ZgeJRtAxhm3l7pWJ01HF9Sky4s0Q
YsPHbuq1aI+1yHnWK//Z9VSeH1s7utaAm4x69tgp5xAzsW0wJ4VFQVfAAn8gL4rKOaSjtlJ+sunz
YZUFAFWGYZWmzVbzi0tUYfdVnSzd9GLsu30WoqyIq+0QBKvAUOvXrCuuYmGu59bewXF8iK3gW97Z
Wz+9MUpz7cnBudP74so369t4NEiLL29tiyxpZWzsntZzb4prn6BKakkYKPFXu7d2IeuP7SYrhgN3
rWU81vI+KI3rzBSbYHY2yRh+xXm9mSa5Bn3LjCi7mMlS8FBX3lWVeYrrkX3AeFHOyVfNrp7m0V/N
5KRN51XXbkids3d989gZ1snwuyNolM+NXl4VU3bhjsFJF4ukCHbxU7mSkmsEuoyu8OQDNHeH2Itb
A3s5d7xdcUKltgKLcWuB2KnnzZRZp5iC3JizC6ndlw7unda5M+ropfXz22om0Lo2N0k+PaSN3ngc
3rXRqa1fZCtNG5cNjBtoDw/tZGyLKnvRbOExL+NGrG4Tla4wub/oRnWdhdoWTdLd6EYvsS88ouzJ
LohfRGyd8ExUdKCfId7clRaCdFNbmZO8ritIGa7ZnIIQrYRVb3uHdRj8w6JMww1gn9vaUXhR/P1s
Jff989BxPSJAWOSVvRrdZNmloYdj53R2OszuN6uqXtlH3lb58JBrs8Biq3Hh8lx1xpj79g6Xx81w
sBLtZYw4ubVxzQbtokuHYxPaJ7OubpvMeKhfEfUQVAtGxRsOgXPCCvXoRO51ErfLKGxpgmReTzim
l+bVUxGFX0MiaDCmJPexWXdrO+u3vl0eBtO5C1RE90klywKWf+DbW+gdV2kzrGpSavso/VyE6YVV
mKcs8prE3NV5cas69tiBLh6Syb/LXH0j0nJT2OVOMzpnaRu45MpzKWFQZ8WzTsC0Lr45SZ2swyZ/
8Wu0RpQt0VzlS1zL+iJMnQMi33NynqOtiAUMiIhaEsQFf8c2MAd1lSdmTFmhXAknvQWVgE8GZkOj
G9e6sE+FHn9Du7sWpXU3NrrXluYLnIXdQGI4BseFPufKixNtL1Jtr4+sMA4e4kW0lE38QDNr0znD
tsiFF0Bk0tTNzBAttkEWk0NX+P1C1eVtajw2dnwxzvURd+ZhKNIlyN69T/p5H7UPWJe2ZtDvdBk9
Mra57Ds3IA+YaFeDFt/oPE65/80AY9HaFTIJeWz8YBUfR1nclEG10kU9edmzFaWUq9qlnIo7JOQr
HGIHtBSxN0lzOTjRqVbJap7JDOoxLoKgiwaYVxXzgDC6FlG/GNNPdHi2Y8s9pos93ISFEjG0un6L
L3dpmen1mYksDQ6t7BZVIy/MLDyWkbPt/WQX6Ruf3qTlxruunDeaP97pqXXldxmWtl8KAd62C388
oJlrYTJwGKE47wrbDBQZuL7e9aCTENP94AxnWMhlriZaebiFxxKx3TkTN/AEST4Oftf22hAvg3Zn
NOGiDNjP/Pc/N1xv9hX/3Na93/3dFRn/e7+he7MR/M82iJvX4ry1at7/qf8r94bslzhQfxTs/2Zv
mD4P0dutIS/4Y2uozN8JrMNEQU8ZfxIOpX9sDRXbP3rN1JxIklHP25zef2wN3d+hFisKfmTTNqJl
Qcn/z62h/TsDFDp6hIvQ2aVn/le2hh/UJhZ4WNsQaKMM2mrfP8XPm4vS7Wc/gWuECkzC6w4nKDyr
ZFLVZ435BpLiwbao7LGo4s5wXpxKQJQcUvjNq58O2r/Zx31Qp/FJdKnO7T2Isnh33l3uUcTQPGOe
65mDqS4s/JspYZb+cDPVWfo1zfLkpgtM0n1kXJTXKQSRW19vFfV6jv4nw2R8m4VVtfvzjwWG4M0u
g1N3PszsLmjY0XdmA/12l5H5ccwqPY+eOzp2DEi3qOYLw0yLbWwH+aMZDQ1TfB1AXugY9TqZ/Xxf
d2l9bacwNnNHzw6hmrJLc266NXvNYd8ErbWaOge/lQElqzZG2AJTHtFrhDDA5lMV2CHnaKd6KF5D
PoVLoIeaWBSkpcLyc4r2chKheRUxmTqC7RHrXDfMTSjm4Falmr8Oq2gkXMgI8vvWN8db3ILR3iWk
8WIaSFwA6RSDnbHrelkDulqGurHIODUgDEev7MV0GY4C1mER6murlPlONE34SQRWvsRQOR5mq7K3
XZWqncI+SbyvyKJqQUfTvsii83+tW5WuQz+qBk+4iU0FWkzd5yGaRspi3Rc3UgDiWuDcBIJVakPm
DfE0P3VBn+7BhXVQQ5Lx0OsSnqJqOxz+ibMwksi6SNGfsi0wx8+i8ofNzA1yXZmVfUEufQC9SaRL
P53Di34u9HRX96G1ZuQCiF7P7ce86Yfz2skTI52FuzeHOr8tSguMUQry4atAT7AxrFi/Ksxalldq
bKo2JMy1aPIjj3ZNYlof+gQ8x5j4Z8u62YWJ50P8UJd9PaclOBb6rF+oDV1RrTrIK3A+cqpoY+f6
owg/Y+W1IIY7k52wybDAHVzassyqT9x5NaAIt64kKmq3nMELmkk+pMuupZY+0AGpTK4QHfrK0UCh
FZ/UnAEibOMRqE9RoHABTeMDohhpApuPgQiQZNSQRdSqift+OJjxzIshVQXM4gdraILLlqQUppg2
o4h122lpvA6Lxg4WnRZZN2VVogDyEtPUToREg5M2AznwZIHzsXSqRn01ZB5dt87QwqEQZrScHBiG
Vh4V96KwJ80DDB0SvJTU38zQp/BrLAlRFVPNBOqmCzBMVL1WUj9i6u2iIYewrI9Y6mIlqVvNzFbf
9No29ulgwYmgQeMu80pPjkZjtV99N0hMD1CBby8Iki+flEqoFVOlpStiu6T05iA3TpUYJ+SCjeqk
F5mtZWMAV9W2HWW4AslEO4v6ZyNV1n8NuOmeEr1q/O00QgOBDWWP+1jgJIR7EJfTfjRF8hqKxr0H
69QOK2uUGSCtUWT4xtq2ltxLA6T22p6aWfOcrM+jyyb3+3WDcxSbtWGMmNcBYwISSaf5a+QrYJVW
Eq8A1gT3c2r5ayvTkm+a8pH+4c8UK256dy+sWHsI7LAihlSvTtnkVMu5bEz2KJX04GM2YM2gR6Qg
wHajFXbNOe1hXilS8DpPCwwdYnDsXjSFUV4bTU+9LFR9qduBsetLNnZ9LLVda3AmZrgS8wIeRXWs
5gSEftG3j6kZpT3ced+lMT+bK1h9FlQhGc8nCatv7YZxt4uhIDMobuN56erIEkOYQgu9HycQTNY4
rf3MiKGTtCzttjaf/eMwNDBTx/PtAEfmC1zf+uuIA/olDgRZsmMeAOqEYAexARS/wzS4rp1F59jp
1yCMiDmJom56sWqQw7YZwSlxnGy+mZIK0zSI0/zRaVv3KvPN8+7G1g4NWuQrIWdxQYpJQcvCYaye
idHfNmZRrGd2JmdXun7Xg5cAmJeVQBhcaIeeGl0gqZXsyGRQqq05YTiai9WkVeVDTpF6B0+tBOrT
lPYpDB11r8LcHBZaKMA2asGk32hRHw1eHNQSrD6whI2rAELpJZQ9D+SAVSz62Gwn1qI0uWbSmb3U
emODyqxUcFe2efAt7MDOdHOfAeVxomwNtzH7XNezwp0gsn2aZPnOyIWAVcR5HJJAgx4SRofIrotd
5EsOJlPuZ6X15toBybL1rXHYSaOr7qdWBEsnBIDqOQFXgt6U01Lxkk2j+fZORMN4OfrZ9DUx3dT0
yoDaObU4Hl5QtXq+HGvbhD9agdlSYrZ27uDC5hF+8ikxQvV10IfyEMWNeVcm9BXiGMweSWm+Wqgc
p66XaIn7aEWarTAquuqRqqnZtgRXbKssha8lOqc4Gp1Inu1Rm+IlsR8sUxUVhQNca/KhwOfjyJ55
zIfnMI4UrV5ZklgQAeN7qmgMBKvKigLfS1hGr0L2cwcny+0bnozwZGdL5KsK2B8kR6v2QTsm1pIL
l244LfrhhdoA5ij1XHuwo4rniR2X5q2T6+yUnRD8LLN9g8dkZm7IN7cSbxgjVvNqkkgYcpH2k1fP
Zt+v01rWn8VgdbZnlA7UTo51ZqxjsMjjRjT1Gclegb30CtXPuZcHPhM3A4PZ/ZTPsB5qSv7guoik
mml7Fo6zkHk979yqr+/6wkhv+7Tg7lLBYCGnjMLyiudOfwfGDsoRNSefnMdQvrRa27yx0txfwwkR
i8Bw+nVkJ1awcPI6vwQW1R+KIQ8hkLraUz8P5+fKFMhdHOVMJ2mUTotggHMJjL+9EarUJ5gf1riw
/X68BApXvFRuASwDDiFsrkkzbqPWZmM65OxZwMnN8BudsXUXJCmbwaFOwb/20+S8zElg3IAoNXbB
VAw8UclatMlCDMxrAM3Zzs0syA7wlOoNCTOd78nQGY8jfLJ1rBXJ45Rm1kUXaXJlKBuI8qiZ8KOU
nidMxtpqn1hjdWnV7pgsVJmXX7k6/VMxDNWmrpUsj+itpo2u11a2ygNcdRBKHE5Kl5IKPvsdCHC/
k2t4Gu5LEE1qJYq8XEUMhohcyut7rUEVz4OvdvfwSOMVl3RKx9cAPyudhPsA8Gzn9uPJGgBMeUHK
prfA70bbUhj3UouLTw2kwYuWwn1axEz2jqNvQE9DT3Jh9gSkA5ilmaqG3A89U87yEoJ3uyuAwAL/
kWqnjXqEzyJIfGxmVAXCa0KDqmkYteZTCeZ19tD9FZ+tqNafRp8bzcsAHl5mcQ1SBLhvstX1sK8W
ZVcEe+o0+V070l+bUZydYjR9z8hJCOqaAHc0Xjefp0SpaD5VTJEgWVdZvQN9FawdA4iQHTv5Z3Mo
spcKGPJnJbVwK3Utu22iTjeWClryuoeOd5ECj9nbjekugR+k90Us3Y0tSp9HPk0GGplD2+1pO5Wf
Az2BvE14+66bEpYh3SrHbVol2l3fWT11q27FO7C/2oOUYc11FtkoYfXRvc/QSZwU4pE95KkYmg69
+SA5L3QTrUQYfjr5LSkQnqHKKJO1yA5AwDviQCpJeG3apX/ftcL56iLXvE1kSu5bmAS3rl1ILvXG
h5mDVXKpic7YSFmdA7+qOlunhaK/m1pk/YGREZdRnGv3mqaFwR5uqnEKppZHl5tM6YNRW421KDQu
XE06/bKLBGS/QDd3rt06x5wNI0+kLJzHl/w8gjDTXl+NLFG0fMLRRwsr7aeh6dUepB/ttNnpbku2
f6ySOQrUReiI/mbM7eoEC8eevRny23NgW9ohGkuJErunUaj5wXiIQHaugT8Na7efiErLKp74HjeP
vUWtRo+qH/KVtKtReGHYmcdZTPaqGXUt8ibWsQOMqRpPZ6GliaeHmfM4EC90qiEEwwQxIFOPTNhs
wc3IBiuAcevPS57TWgBzzR63fmb7u8yABjjFrViJnDXRnwz9i9kL42lyY+cU2HXEIEqJe1aezPVq
6mnasa1vXbGm1Utaz/mlD3VtAzmwjL0iMrJrnjnaUQmtp0npmCfCGDF3OSyuN4aZ1Yan4jJ8VV3X
XBWama19UZeXYEw1bgw7PqRGZ3+Ki9lam3NYANlz1M6kJr5LA5rzhtuVR61smpNlTOVdoUqavk5o
XHVWqCmQng4NT4rJ4lRXVXfrFEOxDrB9bWNhjObK6LSKbB2tjjYFgKqdTJxaAxFeJEulR2epru+0
xzwuorsspc6k7QNOiQeLNT4UkVluRevEB63XWSO0JO3u5nI2Di32vEcjms95xNOZFiqaUw1XJPGy
ubTmhaMqnX60HyJ9YwGFY+8nYvSmQHOOuh/rh5JZznkzRyIP69/4qvVN96VLGxqpBRnvT3Y1109O
oIxq4cd5snPsxlpFppEd506Xq5pFdMWloD901GLbOjXmizoYskd/6rtdFEvrqz3m0ZHJM8gxe7I2
Ej7hshWdeQpzu7hMjHO+bqijsgQ7qq/jcEo25GMl+9mswmuN8lpjQjeNlBu0S0WTMtSGgficJJGB
RaKYaaRimv7Sz3W6zWvHOlilVT6VwJ8eA2D3SFzMdtWbEa1R5vynpLRixIdTdmVXQfIDIvNDxPCf
tdH+sx7Z/3siClqYf9ooe9cm49d/KCh+R3UJiuA8ySUoHI3wP9pkZ5kEsngCP6SJEJVnzb/6ZLp5
VkkIkkzPIkciiHjVjzaZFL8zdUMzi6cWFYVD1+YfDbw3Z+j/IKD4Lsr7adQskNegCnQR8pxnzSjd
3jaBHFb1oEuatdGMwmT9C6ngq8KA/Skq13lUgL5Yl20rnJsVZN5vRLXl5avraoR3qKKr4tu09o1q
70aJgNZoQ7/t6XPVOxWb/rCNUDew9/cjM9mElV40B3vw+1XdJ4qKTw+KDT44xut24ybDJmvHplwh
uozzZVaWUbgpTYJ7HoKsevDTgYG4tPK82nJfwvaXYxe6T40R1qCxUpkB64YeGa6cSprJV2cYrQq0
72iH1lLkoDq/xmESXWaqgWJbwwkNd13WFuOGyQHZDjO7HJ81aUYaAYFgMC5Fl9cr37WC8nF2qvpF
2SPDEEkKw0NjhtKHBy+scikybmVNp+VUlo2zNpR8MYcOFv8YhVZ867oN9H3cMC0Fzzwmuf85nmk9
mgZtHZPRbseXHOdhqcWzk206CjGoxaXqJVUau/4eSnIYer7SRmONpSilsGx6jQbDOEvEiFqszRs3
t1T8CdJlioTFmouSR2dN+X89ZVH3rawSeYN7IAVvbPpiMVlsyQ6JGWbTJ/j37pXR+yyIi4aDguXc
p5+zGSdDBVdO4o5wiCHynbTY5pylZqJGLwLBWR4KoU2SRwxGH/+6pDXTM+drbfVSsksP1wMnUz+M
ZlABpAzJ+9iYBozco02YgXOq2oD1CcaRna1qks+BrLKhmTZ+Jcm/kKUMM6YADoB2dzQSwwOCVdse
NN5Su3f4h3VdgfgUTxGkIvnqlkENZD0x0zS/gIArzuhXMcuRdqPmu6i6JSVRu5nm1DTuuMp7f1c0
ck7UtrGBjc7sgOJE7EoxRvoX2MKsjyD3xMB0rmuz8DGmYHuQDWS/G9ZiEV1ltel3rxFz2BaknWKi
6fU1m9N+E0xzGBFKQYIE7ZBFC4uYOAiEGMdu1n27XouaELMVHEQ3XoGMapjk+/SMdk1WNnQJZQ+8
MfPTvNnRNK3ai7jsVbVAyE5l6jahxgDMmYtm8JQY9eoTXMrM3rROaqfw74VI5daXNUztsxBYeWbU
SbeHUKtiPhnA4mIMBWkI0WytWr+JTADpSVIwjcusiKQqdjw7LdOKZt8ZqVVuXDkWFl+6po/H8a/n
azGEiV/vbc05f8TJ96NHXjDMm4T0huq5Ui5a+gjue7kvNWsiFMEJ6yK+nOmpNteaDnF9jWQgnrex
tLt+ZVaJMr6ETsOdIIM+24cO9ekxKaZCs7xkHjJ/nVmd20BktqJy4cvc6r8pZxyL1dhnPThXwcbY
JBFdU10kmScWHU33ej0NXEdtx+Q/TlWJeBDoshU8dQ6diuAqCBO91bwGZjwaD9VNKGSDRW5UGGNd
tGI11emlywGa3XGhnBib4LICBx2KW5pweiPG3ZSGYME1rYymfRIU/J5BCzC9YjRh+c9dzsUzLCuX
KJutBY59Z3c2mtOq6cZvopLFvSKw2qtbpyQ4oLzwUz1DxcPugpCZDFkKVyInpIENK4OW+ol29N7h
ePebWVBLLJho5k7mVSMLyPVg+GBcpwaqpfLGvoHurFW5EYG5111PaBUZaV4Sw6C/CwrLrIDUBr31
OPlBVRxVVzr41qdAL18jizoP7jxbSg3WRUzAal6aF6WE6vgNWrLffA6snt2dmKuB0jCpp5WTwIW/
EmOd3SZh8FAjiKDzYZqbvjeJL0UIiJuZJIo0XScDJMR9Apwi2hlBB8eSK/IigNXzGvYDOZAVMKb2
0j03Tu7BFmjyKu5kDyu47yJasSnKWeMmD0lrOfLRiRjKgqRZDTKqtUWWC/csc5siPVyOQ02StF6X
JSFXRluGl8HEvb526jIOD1IzEvD/jQYrJbe111Cj8lrl5OT0Cw5K4lwAWM3HFQF9rrpInMyJoMe2
6SFl0k53RyghYo9b1tpFqRmM3VJ36eiPqSwZSBt2e+qTru5e5qZ6kZ3V2VeSjVJ86szA+pwTX2s/
5CRS91ey7eL0EZbp+NqQUdSvjJYQiFXcGCXjWq5G+7PL08pYdHXITV9X+q5D/7cKzSETGzHnj3YY
kvKyq1RhjTdygFZ6sjPhdLsu1hODybc5NJeZG8cYzecisg5OUgzzEwDoPCkXvQLlVkHIA/IZOnaG
/CGquKoKpxfcBqxZV9TrebJK0bQUq8xKXdzZ8dCUwbVGXkZ+yuY+rxfW2J3h47PqaJhpUVsjO+t5
qG51uPm7tkrSYCEDd2poxWfS8uYZvPgnlouJ3sfUmYu0qkvbplbPx2HRKlUET6ZgkrERfVpThSRW
Ceodc3hxhISoeHI7YXrZaSQ3L43KrPsHugLx2gIKCeR8ylt7utL8fPAxHBL9pzwJvNZc1GpUtSd7
RCxLl7ocC19RxJ+Ckg840Y8LwWZWSdXnRxrQEVsj36pJbBmiuFs7PUJ97kdV2pdlFbrmxtQ1ahLM
vU4o0YkYwll+ryX/f1mNNtn907K6qIsvX4q3A2he8UdlrYnfKX9xpkPjNHWy3vDa/6u2ZpYscEa7
loXaGHzLP0fQ3+fWBnhBUGtnFN9ZW/mjtNbF7zbWXx6kOH6YQiv1V0rrd95sZKUon9GqYAxEhmhR
47+trAcx0tBU4qVZybW1kNs4WVhXuIpX7SbQV79iVsizZvWnQv6Pt8NUh6Tahmj43kEPNJFxljm/
2OTdhYszI0PfZTt0bIdfJdq+G2jzzQxCnM6aXdwNeFPfu4kiCWXXKqOXYTEu5yUt7gTkCKSRJXvi
6/xof/3prP96gP7H+3Emz/Nz/g+CxNsjafi2r8eR/awuy4vihC530W7tz9N6XqWr/JeBvR9PnIGN
RMgzsYjT9sG04U8p4XNWzYmbVkBz12nrEZCzQoO0pYb91Zc7T//fnLfzu5G7ze6Q7hL+lbdfbvzf
pJ3XctxIunWfCBHw5hZAoSy9k3iDoCgS3ns8/b+gOfG3iNKoZs656Y6OmGEWgDRfZu69NrrSqTLr
H90BiZmXbBZ+TFPZwrX/WG8kh4Jkk7+mT/q1dEEAwMhZN8zAgMbBP9EmrANucf/oIWK0H+o22DXb
xSSiepdNIuf9UuXTAc7FQqDDd1t/vKYiFoATsB/iIdoR3OOyFG/pJ6//gRNo0YuvXuWXplZ68jEO
sjSx5h/pnmoWpb/juxF8sHzTmHbgXqKDnQ0DaUFwAOaVLc7bWe1X+ol0ib+q9eFDvzIeuC7YLlma
yitbPU92y+2lAb78td8fbt3aaqOeIzoTQ2P4YBFEsPFzgnvcXMKjMPedt8GBA+jExU+19nFqDfcg
kyJ+zG246YNTlgkXtDB/fIjfGlg9hGmW5FcVEzFuN3Vw22rHMnj8+2Sx/IWz1/RbC4v27DfTBA6C
gvtS6cM3HjRtN1WUqmSDTPd/b+WPLwrcKTZiXPhnk60y1UOZ0grUizix0Axa9t8bOJuE+Nz8WRNO
DRnsCzHn63OI5IyoXSl9xPuIQ1TXvGXKuzIO6m5qHJ+sTOdCe+vlQ1LJJv8VQ00ILSN21Z4VaKFF
3OBnC/OXGDJlx7WOR7FFLoJ3qSv/4eGWyZWJnFtMXVZZaL98pFpOO3lSjY9laVRc7qdektMywSYe
uSSXJtj1rMBxGZm6lgY8kFVLWZs9Rs4YYt7le+/lexRgMLLE7w1rR+GBBdMuTKrnHcMgTULBCw2K
DH3j6jXGwzzEwTi9g9K3zZZpfNhd+FCXWlgNoVELO1Hsp3dx29cu/iSW+uCQOGTN1W5xK4NBvPS5
zlpkMVxKGexVSDbxqX79Whq6cA79g08l5Mw+evJJFrjwTGefaNXC6pmyBjlcXk8fwi65xnWw44b6
YfJEl1sK5xI3bSU+laRfbcFl0ukK2MdWfS+o/QgHs/CR49OH09299GwDhmrY4yk+hPklo/L5KrFq
b9UjJkxEIVE6n+kpfox21fZXpeShcXK4QnXNC+N4+Wtfpr9Va6vpz+zmqcv4VobxlMivnXVIzUtU
knXdsH6BS0Hz2wwriiTVzzxQvG/32SHZKlvrUG+NCwPpDw8iG9z5Ye0FFgDR42sridFVeibLnxJp
mOLwUCrET43hpcH0h84Az5/lAgsaluX1RMQF3MQNbvCZPBM+Yptb4NxO7JI+fGdtCA62u0f9JbpY
OVxqdTWg2iHkgDbgDVpc/iYImzq7bU7q/FFxg/33obXcL6w7xJcnXHW/Ma6qSUBgM9R2cI1VsLkv
b/Tn/gY1oUugpwcj0KeQAKY3PmPY2PwH0Kg/zB9ffsJqdEsE95Rjxk9wzO20CZ3uajwuExYKyVN+
d7kwW1ypf33m1SDQ/fJfQ44C/hNOLCZPZEgH8r62nTfVrqN/G/blm29zR+mRY3jlby4Nw7MqBBne
7/1qNUZGv0cynQafun+KWWUQvDlYHW29efn7512pnNlbrhpaButvg5GsAcQojPfpUO9JVt/NWwI0
t4F7Ednyp/H42xOpK1phklSkAdOPtBtXppJf5rF3/6FzAydzd7lzqR5ZWzTXD7bGFUg5RE8lCT57
L77NJRBtdrYpthbw8OxU7U2vfVKexV23q7zS+Q/67PKBVvPo7x9QXbrYb++VY3eLcML/6bO6Xd9O
r/6hvmmeki3qxM+ysSvym6/CA0fyj3//ppeG7Dp/IewmXYj5puIhiRzFy73gEN39UGen2Qqb3in2
1mflMa2Xh/qpPgjuRaLCn781LH9AUMsGeDVnKFZHMrxZ/Sxd6wGRd743vNgDKhrtIb2FrFzctNxc
qpwuNbqaJTLuOmCZq59Ji9p2uKokycmlb39/tWeb0X8Nl3+ebDUz9Fnb4GgW3wcHd6LT2M2TsZEO
8a7c6hfAZ3+eAf5paTUDaGqlo+ZSsYp7kfAs6ASyyyfJr9z/4xOtJgDZD1J91pVPFc6rGbZ3hOei
LL/GvekY/WLRPM5jtUuSkjCfS2/zz+vY/3/GX5PTb4OEeI5Im5jYm03xFvcOJ5/FQTkm3Jxt6o3s
yeEW8IZ6tPb1xUOafzNI/ml7dSbEBeOsLYsK4qYWxyJhVEzx9W3qhp7hRI/Wob8vwRDaxb56VE/q
Tjxeiin5U2XHHPHPT1jNEUbKfbrEJN9s2lOqQA/hzC1x4A+ktvamzy46sf++uvvS4qoomlBjo30L
PtvpoYy+o/xnFrpQd/35xcoaUDtSFDjfWw0RX8TVhk75Mz6prCkaEONtDmhdvQ32wa11AKf8ci0d
RLd2BLc5Fhc473+YBcj9ZmdoooiAsLeaejSrlceqkT9MmA7ldA95N75Y9P2xDXa78BXZ6gKo+Dq3
K4nZGqElfRgPKumEqY3fgYx5L3gynoTX5LZCeAQZ9uIBzvmuFzYWqTpcuhoiwJp1sembXTWBUPpo
DuG+3ueeuR/vF0xz61zes50/49e2ViUmKQ2ChMj4Q9W/GR0Z6t3kUAZeKC5XuJ+l+lhaIRNrAbQs
/K+vb1Jrg1poDOlDupkMN8Oc7gYHcFnXMoFsd8bn8ID94BI3efk6X1fmBRIr8e0Qp2MfXA18Uurr
mKjMt3gf7KRfbJv/6NiSo+U/NLSEanB+D3fmjF0/o9hrEQa/9RYuZaxLxs+YmzVtM2ZKctdLY7WY
MskLNs0YDatY3PlyalzXQjm+ZOLUXwVz3bpa7X9OyLxeFAwDtROQ4qXiBUEOX7qjP1lD7eByTQVh
C4QZIcmR21296Z+tauyrctPKVZLUO00vZX/8HggdV1A1mWifXErOCVo2idvb20rLyEGW4rrKX8Ny
AFi/HftEJT2VfJfpm5wihbFLJQxk5NxVY1UvCE2LVFEBFWrhWLuVHI1M26OBTpREcpJk+/HTJ04t
DI9yRkqj+UgooBoVG7+vZDJuu6asTDcnODJoNrWeypHTp61wncrq3BEbbJb3kiBqJ64lp6OPS+Kh
jUiLt3UjFd/RixTPdVZWz11Ilqke5eFI7KpgoVvVKrm2EdHiuVcBa6YO+BDVnkKfAFzSCeW7HOrB
RxJZ1bEbw1An/VEQPnoBWoBb9FLuYyLTudomRtA4WYEkIw7Wc271GqN8Nxd9BWGlulur4rAJS8vc
yEE/k6FMFJOlYhWpsMPRHUdXrOSYXxJG4RthVKll83KSn+3QV9fhqOYHCVrOfi6SDmAgtVhgZkwm
IIZVx4f+bKepEt207Uik64Jt7Ht8ZtjVcTgPUpGRHirW94YR9xsh7IxTBIoQaXUvoHGGa7bvukQm
L0YIrvzWH/yjPwfpXZ1CtrSDTNMI/x5yyKO6SYIs/yeWW/LUj7KWKajYezw+yjzcJdUQuwv1f0eG
drYtRcREAiplO+jLylNbjOZ1Ul8pSp3YmtHnG7gZP/nrXHIWGidzqtEfhhpNSc4d8JFsevp6NMib
wGJ4J3OlbecMI3o8kIkwZ35/JROl+coXz5w8KMONQXySy0XplDoiv/17qGjBtidcbD8ZQexNykhF
P/cV4vUpQu7AFUEREOWIzJQQJIAEOz3D7JXkTzEyMbnKbwKtVA4Zw/Xol9WjLAn1j1RL1Ru97KMr
4sEHuzTS5LoQGvgOedvhPy8eJRxAhBA9T73u20SZdo4c94Y7DLysKLDixz4yW0+SCskz4E54Kl5S
t6+x+aVjgy8tNudhkygSKeBWKl7NwS97PVCgFgHMRmj0Zls0sWATvN663LbHhGgvnMUoGz0pncjZ
Nmpi1CZJfcMcn9iGUaJQZVgHNaGUlrjFq1c8xpE+UyHKgtt2ubDPhBFrSJ12+raPjfJ7qcbVqZL6
6HvSRQclaISb3iy7q0jtMy8hXxLjgX/H7XxvY+jMvylSO960+vRaj/I+DkndzKBfAA1Rn9qpjmFU
8HZCA0ZbT3JGVaFs0QhJPxWDmuEjUR+nelQPRi3EdmCFePOHSuR9IKPGvnQ7dwWW+W6+CqQS4sMs
lFLiZRXKugOCjiS/VlTC2Ue1LTRvjIlE0tJyN0TmQ9/Xt0OhMVkgYCaebyTEizXxOSLjILXnticw
VOX8ipDmsb8C0hTekkepPS+CN1xgMgJoHJ5aGJn2pJBDydsqkSLbhZaL92bMvcYVpptEP4qVHiQP
idqnj1FfWaIzmkKaX8MjhDqBEOoWwbL6mMhKXRNWTuKwrOi7wldvcwAPhC0W807JpJckGIOl10k3
edfLLjnUbBdM5UNoRI7H2znelLP8lkXYLjnodvxIQY+LRpqSFMjOWzLPaBUz60YqrevUD8JjHA7P
OnqEXg/9a31Ud2aufasH4qoQN1pHQdIAIRk+kTrh6A4o2NwIfKetB9Jtj0T41DTG7ERWxABQH6w0
jbaVn1gb5A6JFwcwaJUSuY6koB7BBuD1aSU+jdqCixFH80YWSvTLhlDvutlUDnMhTTYiTxOSgJa7
nEo9+JXSU8v6x2kCqzBF6a1k5M/81cfWkpNTlac5/l7rRtXKZ12M2PyP/eQMqMUd4llvQz85tcqg
20Gr4M+LfjRycqsoimx3Zabf611Lkq+Ka88wQsOpy3Z2BNl6kmD+o+w07n2p6TGbdHecCWJybGTD
TqQo3etckAK5skKSnnFsMhlWy5VLyAWNEyFkIYoTixjwjAWd0lSHJkPpghmvRctqPUYYUkuifOzG
QhuWxIXlzIF66gsxcssivoMSu7NyEyKS1DywEnQgVwS3GovvEQeETtSOH2UoNHuG5z5BzOUYJrq+
iVyzDVBUgIqxlrmjkCKfjyyScEXVm7Pytm5kVEL6YrPFZOE2iXqURvwrbRE0qKa0AG9TlaJ/jUts
ofpOl/M7NGEvYdceJN96V1vxVovqx7Ytr4rAOslZpaEGFV7zYmH3KP2tmSXPhIB/1zusMnp8rXUZ
U1dTyjAdgk9/HjxymPVNTU6t7Utz6yGgKjZVlqv7Whe+xRO4prnkLSXorpDddAlko+pqGoC9ZPPt
FFQI35v8JUplHxAaRjK5GrG3FthKlPE1mo0bTNmvZio9GkZzN0/Dg4bBwFYW9M7cMLqjdoZ8UacM
8+hxaLEAymnyqBFUbptacV+F9ZOa+xhN8woZAQgKO1BiT4yih0nAuljkqeYgr6iQZcH6hMLzYgXi
cMrTDmd6jr1rNDDqIElW+Idm7aouGu2gbHaTJf2Y0IjdpIi0PK1B2FPMcnMqMohZqlYg1Yn7ez9P
EeLm+k1ZiC+YM9CPQeVxuyZ5xOUmXMvDZFFvDfc6Umdbqoh703yVkxeMeramch405PIubKYT0rGt
lkbfq6ku9/psAJ1M6oPYtJo7J/3J13ID6nVAEL1Vv6AIxezaiB9VgKFAZ870mF6Oc5jfGhqK16pv
gvu2JQXEDyYEqCaqKrMlitDxxSYxjsi86gqFdghwm2hntkwsu90YK7ZRq70DRMS081bur5QaCM/c
40yOp4X8YWa4Mq1a9lIfYkzZKd2mG9Q7PDe6KxCnuAt6ywr5fpAxcdY/yclouJKSC85staYdR4nv
pbMRXCkGd5CtGM9elJtHxJbqUU2rb5Hqf5AhMjjcL1/p1GEgfCqC3GbsV2MThHamoiyHVKOieixn
7UcGf/OaY4RxE2EI+04Md+5GkhEfhBE70kYTYlTdSV1S9+j+4DYM7JOG3NhTUMDd+kAuSWwnAgrd
n5Y/DuE47aUxSd1GA0nAfiukeMFhJXUpCICx/AEL5tjI2kE15gepmfe51qlOSLqwyCn5junyAUkj
jqJUVfYkzgFjwEkUpGXulEkQMdz15hRJIxHTZRBdzUnWPRUQME+Zj44uIe9tH9DfnL72xZ00V80b
qnZ9X1lJ4DNrTNVJ7/r8pGnoSxPJLLh3qqs96utNEOno+6okpIwnlzlgXrpiQniAqISWAUeOJ1P9
Oq2VvXfT/D1I52antxE0LxIVg/oxSJhZukR7E0bAa4EgP0a+eai1fgtF5iXpmN0yrXocovB5HiQs
UsgxaSRzNHxzuOiHrWxgZpmiwDZMbH7NJF4niEccfSDwstAr12jLyhHK4q0VZuZmeGRL8jqdSpU3
8yjMO3KX1V2XVD8g3ACVSqmHs154ovr3nRr+ll1X2L58Qa3dKCbYxBa6Ck5TqEvIs8tYO4BnTR9B
5CQHgh70B7HWphPL/LMPutXMF+tPSPDthM/OlhCXw3zMh50m1xJwoia+jky+AaiCkB2VYUGno0aL
GkLG84HNg29R37G4oZPcxQE8Z/xb/t4MG69nk7Uh3BsUVSuWTlRpb8Dij1avYcI2pVtMyQsy2e+x
5s6lo9Ig37IQt0ZRStRI0niKp7R3AjZ9Dpz4fl8NRrERtPFOTYTYCeYmOYoFso0EMB/U8WraEIvJ
FF5Y37t8cRJysoqfnk5WQq7NuvCbPuEMSuce3XFUwUaDIULYSwFtcsqznajn3VHy9QdVjz7KICPs
I5bJ3e56cyvP+mulw01Q+poCv6X3R8n4lMNyt6eeDaAa+j/6Mfaq7B1EisP1wTY1IgAprZo4Zsrh
Pm4+qYxdjQK2beSHxhwe6gn1pT9iNwrSV+b/J01LDsqYP8a5LzsFKuq8i28DUGd6miTAJoVtHijH
mFjFWAdXNquVW3Fx6IAPcaNpZne3KEDxSXm42o6ZGJFWP5KamdbJNf7v18TICF2b5X7P/udeg17i
4Nv4oVelgEm9MXZxYfo0FimMDk07aFUm2V0aFYdi0NKNoc3sgTVseTGdzksnk0h5lRugZn6XR+O7
CHDlOqpF9BtBkyuCJ08FIIxh9oE+quwlg1HHQTmDo3DaftCYDtvOnPmWYarbxMgYT2UjR58Ftm6m
Na3gAnmbNtNrIAjZe4l+FZPjTA5j1+30oVKvUtPocT60oivrYXysI/8xT5XBNmtj4FK9gPwgdMOt
xk0xpIzwKTHUU1GYcK0n83bS/Am7B9W6GY/ljRxiHBBjSX3K8mHcqGZjbMUJ1XMg5DncPAE7v+Qz
6UudHO4mwjBu5S6RvqX4LL9hCOu2uoIXxE/oyJVhnTDO4jUB5eJZaa8e2RQ21yy3vsfWhyLDKrDj
F5PmMWZxdFJo2FNb1BuM+THdh71OKhk/5VD4NoDSzGTwVtSKTm5Zk6PN2bwfkOBsVbnYk26rbUrK
BUzk072yZA8WXbmRW4OKbBr2rebvWuTDtlJlTzXybEcd++u2Cz8wsefohYtdOOr1ZsgAFtacPm07
WZm9ZBJYIKqEsFXHtHjrAkdWtq9b0xWmAS73a0iBvsrYQz+dOgm+78e2a/HT+kZR2Q0HW/YgpcMB
r1Fu2Zm8kP/ULALMkYyqIT34YwIkrRqk5kUDPbLleMQCf5BCeRAV89aSYBm6fQJkxCnGrLxqcbS6
Bqh1T1cqZeMXlJSzVf+EgjZ7Kkp50ZmVSnhBpFrdG2y3TnxWDiENQ+ieSVpCKMqr4ico27GiJEJp
RnWWJs4cmssZSofAXVJatxjqwB6DVMKuqb5XknwSGvkpMMVsq+pdl9ukhTxPWQlfkGgoQ480u+L6
HmV0cWfhTLQDNX6TqrCFgTt9hEAUMkHbo1k/VmVxZGd4IxdhCTFPnzdlqLILNh5L1jtbY79LT73y
a8AxbY2XWNIT69AqFIxJN7eLdlxgc2+omyrVDYcrreK6sJiejGK+K7T2JZpV2Zuqwnia25eiIipA
SuRvc2f6jjoYydYfh/wmMscfcQdUJkRiDSWn3taNFtl1hKFAopDNm58WptCjMPl7sOoNCEZheNbS
eP7oSKMubF2Tf/ArXqRo6u0WLOUWB+lz1QwF3TPm1KZUHiSxufFxEWEiiRq3alln1GJqwaTJ1TGc
+/qUctLkCBUiczGNm0Ntpbh6sCDZgs46kZFl8dMcp/ZmUHTg7Yp23xvC9dCMT2Jb7YGygwgeH0MT
joaIeTpsdpB23LjNdqFRLTwAmDnhLtTAYaTBMZMwMNeMYEXyvTZJnjrdfBvrqXB1wHRJmN1IoXw/
JOGuSWUmurHZqn4d8+v1bdWLXleYTlVmD0aXb0cxYbINj8GkX02z8r0XqVyMIeFKvJk3FKDbqMAj
kBSHIFO3cSq/crjHV4xPotluBcPctnWwG0V22LHUUNm1ey3R2RoJsoblrFD02tbTdPTfzH5q/VMI
sKl8YXoWGoLPzHogMbjIj5ClVeXW0hJ53uIlsr6rIzFirHNafSvEQdDv8lHGSjT0eH8q+uQ3PemI
WdK1zJHEqj0CWjq0vfaIs+R+GGqWpdbSd32Fq2lozOwAqwZgaZs2lCORFCgvZsIu0DaF2G/vQuzd
MkazNvxW9AEHVnLpl0eOtssn1NnC3cACcNOIzbYOlBrjrRwWz8M8ye+Jysp9mAYjjCEgWq14HDoz
GU9BiXdto5lyVbkATdgK1pj1CzuHaQeld5CTo4/JRtFAABJCd1QTOYq2DJWENT+neo6eajmxxGvw
Gk3p9kEI7rHsBnM7F9i7OBwmuf5z0ahzu974arxRCqloPYIdKoCRnPlF1wF+i9lNp+pFjtr7uo5P
nTGdFHYxCwo6rypx0wEypCaR7pjvrhqmWJvdceims+81vmGkm9QK2YiKjT7ukqJs/Q0nHv2TTPzK
ixk3QbXN1Kph6xmHrdfOYfCKrY3BUZJTTk0uzGXpAH9pBKIxmqKWvgVpWkX7GoE9e6UA74wHZQkr
DaheKKDt3Koax7wKJkzDBpmj4LXKpkykmlOGcnytWV+vYK3Ih6EEsgwQsKXStGVdqBhMQ3otsXnI
XEMwSuZGrnUkel+Rx8J4tMSAoEvKKbA5ltIpz5ypWmzTarOQO8/XjOZDNxpx8Ko6k9qflj8zEW+6
KpL6q2IUdZFiLQvKn3NXYmyhl3TDlZy20eC2uFrvR76FPWvdm1qIAEmF0iwQYGaDFpSAPrHHi64g
C01wxexbgRTLe1Pa4oHhRKgoKSa2vp5Vx0r2pat4ypvA1fWp7JwOxXR4K/I/RADJ8UrhlMFcDAQ4
C+B1vvWinGS7UVC1HFRo2cOPqfPULzexIBryLh8AVu/kSDM/cgj54NkG3/jpw7jywRZnGnwcdRwa
ykCTPaNtBWGVHRtNkJDN+zGRPnU6GcLdTJL55I6tqbULHByD0nXVjY2ouGGUF4TkNXGo9odYIFyh
s/2q6+o9HCYoCWkWzS0XI/VAbA5bD2KQ9C1m4jR8Gkefgw5bVcYaBEhqKibuXaG1Thpb1uGpaejE
zGflKJfATuMGqFIXRGEwbjmcEjrgRb5assnIEjmRbmvN5C+DZsri20GvIaFwl6ENBM+NMFh22mxR
yKtjOJLkl2BTst5jv0qhoYeVpYWbrpO16GjWISZaneMj+hufYsZCZwnZuOf8Kev2VhyAryvR56sq
cFbyluw0mobwbQoG5YcUCQVbGrMG+MPxqJoa/U/J6BXAMnUaVzdBLI6658+tJD9pHEM+WR2MQSdr
CcN4DuHZVW9WI0bVXZ8zJUe2nJaa6jtTwpGLzIac4/CbrsDPm9i9n+k/BwEezzGNfLJNtCiH0mpr
mCZ/BEE1HvjPYq9UUnMlYSxW3agtOCZTZ3UYHH8kmqVwYvA16kOfS5ppj13XRfu8zRv1itN/c3qQ
KdXYAkwTIhb2LXHO6UursEK0nHRtel72eEyNceH3CjF0mqchA5a4zy1FRuqH/bf/TloJxyS9MTTN
c6HMybU8iaZChS2P4ocxsCaFWdwBQO2gngFhCSyVuyZFCsS9xLY6/ZynKWctomLisXTuMrKdWUyN
aJdaQSApiQl5tpl7i93LBb3Ecim/vj78/VZvpcvoukAwEJu+LWI0ptPSG3ccR2/G5/4e5/jm762d
K9+sfyU+KXAyz9NjjCKt427uXrWKoxsUGYG2/XsDv+7D149D1JlhYCEBZ792V+SZzKrZy68Ipd7L
U3SvOiSKeNGWDR0LkLFVPQ6GLzR6LhFgAVKQp5uwNbFdLYDP38VRVrnAAlTltf4WXCueuokfat+1
ruejgKpv3LTXxiGfHc0R7QhxknplFhfe69nV7PIDjCXvgXJKQaTw9QeUmpUZWRK/5eG9AQ4y796E
FDDb7F9I/zm/sl81tLpGV+n5c8+TcvDqLq82dk238aBS4ju6FDd1Lk6iMcToKAMRXhHOvtIlJP5i
1zWTt3QvbqankOAciv8CC5ewTy5pvM70AUtbFop/ZPGo/de5KqJfihyLV2/RZAA70x1RbY+Tml3o
Kefdc9XMqqfETOB6U3dvUnGV7jUv9doX5d56K75J8FroIYuI5KJ08EzySqPEkrDJ0/DEYHL/2jtI
vkitqO0Y4gP+rdQtxXuAUcaPRZU0bkAOI7nY7gbb+ll2Ln7QSxqWPz41tipMiRpZTmeWLipKVsN+
eGPbT1J1Y88n7qlvfDc/aqWj37Basp87dLsLc8GZMoJJBlUJ2p3FF3mWSgnHYC6jmTJlMXSBezuq
P637vrXZOltO+glKdi+64UZQXU2wucGbrEtitPNxSRbMEj3Eu0dcf+ZBjMuskXnwNnVM3VXxJlwX
ByIRM1u5h9BaXUW3i+xduJhH/odXTiAyAbi6iR5A1Nd6zSBpyzxMDb75IuwLHS6LN6SlMANKG8hD
Tnr1X8/tROr93uJqDqoTw+oLKX8f4KLn1xQ8l1aqs8Vj1cBq7kmjOZzU2XjrvWCHL/2meOqP2v3g
SQ517wMxC8XLhQ50NingYluGDH5anB6GuHze3/R8HKTFHG2ovESEFxMqNm9RnEKqq1JHuFocM+IL
Qsb59kK7Z2uyISn0GfydJvxWshm/totDQi0HNX9vNv62vYk93y03/afO0gWe8YIu81c265cVk8ZU
2uOeFtUSuNqvjRFrkptVXb8nz+FJ3fYny1u8suWLdK9sq318Xdwuycnj9//+GXE6IZdSTf71K5Xp
93crC3LRIpZ6126mzS+Xgafu9RvTZpXcKRde6Pl3lL60teo5URqnWSU375b6ASlqAyceatalmN1f
2Uq/v0gZrLaMS5Y1BFOuoqy+WhcYY5lM1vtwqE9cojjx4+zqTuwt0n5fxc0Vb4bdpVF3NtB/tSoT
W2xpMlGqa3G0EhklOKvmIxhfrZvFfFw5hADe5qEDyW2Qfvl0L5svzwqBX83iWGOzSumB1u1rrwmg
D6k6xsXsk2sAdGe/lJ61rTiE2V4UYK9H/tIYFnWWMQzWBPatphYrCtpwytPP2gK8pNiKUf23c8u6
hVUPYV8cdIQefmiYxWUHP6aLkMipTuX9UrOl20tr8plS8FeDDG0NAh7IqfUQH8hgmTmF/Gy9dC/c
yPnG8uIb/yRc5Vw6OsB9ry42uS4DfjWpK4aMqV9nLVp9Mm7GiqYS6g8pOsGO3cSe6UbDcfIWm+FF
LfBSyKwHg/pbY6tCp1IyxSo5IwNdhNmfMlGwE6fhrUJpCV3tevImF5HAsOcuTHMuzC1Lf/jaOPOJ
SJ4aTIMFJrZ60k4qprJlbmm/gT0aT9128T0nJ4Pj3n3hRt4lqf4fvibOZwI2iKtkNsUo93U0VGQB
jenUfAwO59lO7pImZeFMqJ85o2A8mPfWz78/4vmIWBpcJhruHEV17U5tK4akILcfWRP/6HWhgGo0
/C8mtK+NrJa/UWpqs6/aj/Zb9Tw8Z7to07/AEWm8wcOrfJ0fOPTYwln/+6P9m5f5z7Otvt4ELCtP
yOgraq+xrktsPJxUCA54HfNJeS32+QZf4vZCo6uEMXaKPCsWSBFKBtkIa5+qoLRybeX9R5gi3LpH
mIwQWnWL8SVGglX5V5l1CCPlwqOu16V1o6sXzEmsEHEj+2GCUYvER6uPPDm++/uTXWpj9Tbh/IPa
iboPE+YaVwxpDtVI2vy9jT/2xt9e3mqwd0pJ3ChtjAmAiBLQlnChlL/0EKvxFesWUs6+/2jHB1U+
FtFJNl7//gh/WEe/dABl5eeSOApN5rHDX86hfnZn6pRBhaPuUe8izdmM21R/Cdz/ydn8t4l/f2yW
xZtbDwnzLdb2rzOHVMDSMrThYylqAw3BuO/C0+HG2O43zR60HNlJuyC8MEP+6X1SqFDY4sg431nn
IJJ1LnE/srq1i3GTVoqt+pcqvPNZmIKEgUXQK8PqbNc3WYIJ8Q+GE1WsCH8WPQdUDWVbPE6NO3Ez
4V1c4v70XL83uVrGSTgIS7B5rDp+ex+U1z72G39vbIyrND1wd8SNJ+a4i82u63VihEm8hxpikLtJ
Cbj6iGEoFhnisZ8L/6W4V3akqG9FT3EWM2d3Yc5YbynXbS2/5bc9iah0pNT1xs9RhhGtcJuAr6Zh
EeXs/cKIuPRUy/f9rSVd8tE4j8tTDZvqPveSbWtrHKBVD5ef6sw7tH6s1ZcTYX5F8WIp2CfXkqsc
ow9LvSmP7QZi+ibyv1cXfDXnBezqmy1d6benkylf+4anW06y+sfl6SAGuM2e0+vLHeRsglw1tpro
m65Wy44OotlEu/Aq7wWHYwj7u7DFFnG5ubNK71dzGv5tnRXtLAwcYiRATZoTD7JT2TghmFCUrbCV
8Yf+vZOcPxg+ceAYXL5RZ9H3v77FdjSLAKXoe5NFTiBfK/2FSeRsQINV+v3vr3q7NFmA/ar2Paxi
R9MFVEv9JkW0+venWNanL/XiqpVVT5+5tSRHp32P65uyR80ow80m65Ggbm79psj7e2uX3tmqq+dl
VrbQN99r/nhUaltRu/p7A8uSvn4chfMmTtg1TYXs8PWjcH/aDE01v6cYuepZPFaVtE1H7YRCnUQL
w7w0lM6nJIstIHy/BZkiSWt7rJWNmgbt/F0mVyL32//H3nksSY4k2fZXnvQeLeBkMRsQZ8E52UAi
koBzjq9/B1k13R6IkPAh29mVVFWmugEGI6p677mjc8b248mzUNKnRetIHVnpc8z67AooiC/f6iId
FphKq+rVyAn9+9Gv+OeLA83Hn7P62FoLGFFViz9GtdzW+Ws/76uwKlAG/jR8zP0g2w0y/QtkNmiM
TCAk1PKt3/aIUSewMVtZyWkrfDzxoz5thqsftTqGSeoY6UIn/uhCB34CnTTaE5ei0s6efck1fs8P
+YN5yuvgi4mmq4qEb7Iu01S+di/CLN+KkWz9sPyLCvxGqeru96P64rvBepJ7FoYUi3PcaqKZvUDn
gjD80Cc6EvO8cIWqfam1hSg/HwStOHTJdPd9yC/H9O+Q2vqYhsSsaqvxh3+ja6hcgd+cmj9fzGY+
G/AJkNxYOtebuU65N6YZ70dQ/Wr9bUqXpeA7vnxi4fwjqlx9pB/CrFY2VZ7LvGoJ8wYDmKT8+N7e
mb+sJ+wa3dFpH63Unu46087uhrOTlZVPL043aKgnnyJzYNHgy31cIei1FwJ6AvDMMa5qTIC4se7C
P1lxqhCBk14Kh2wTbdLtyXvWMqwPw15FXn7Z0barRaFWUPH80boDaT/c3bbtTrWtbeHmD6d8ej4f
KpZgBlxrThe4EK19+czYiKVE1Mmjwm9yIo/F1kCPvGyEgmBrL38XOv7PmfIf7CVH3+kXZMSujtq3
PHr7YE65/KG/zSnVf2ImA+aeyhrfFlJqTgrDr6b9j38IkvFPkaloWDIJfhGI4r+8KWXjn6wtlmIt
uHfyOTrz9G9vSkn9p0HOk+P2cm1DWyj/d7wpFW11ZOJvkvD+w1YH6xuk1uupkuuCMIhVeKnHqkwn
dq1atdfSFRrSZtuY/W9BhvG0ndREK7Aun+kpB+WiI+wJZAUmdO2D7usqGmxl26S1BBVd0hnNBkxZ
bj420WC+tG0HVitXY5AHo4Ux8FaEDWdBUpK69mdRD7QylmVRVAOXl6Izbq1BlLKDgo87nXV0/Aqu
jEI9upRoeGgcZZIoRICqi9obMZGEykMlMVQ/0Ftk+jVwkt5J0Z6gw0Fdcg6lVS9v+j4cPZryzPEA
H2XGiln748ss1aYYvHe67t/mcyfGO7noRBpCoC1JYbAXLNOvDlUrK6F4p/7l+5xTxQxuhdyqtRi7
7wwLYpFfWfM8rvi3sobnMhiNnB66skM52p9rwkwfz0aNUFOCFs8sZb6eIWqq5fOkm1mp3EhjqNZY
4IT0wbRuJlZa0l+KQStMLaiQRKCVijadUIsNupcVAfFeb2eTMUNJVvIqoG/TgS0mzih2O3qyBuRj
f6l6taRW8UOocQKm1w/HalDN9CgHffhbbGILya6KqXz7g84Yrb1XO2zWBXuYUQ7oP8QiRAv5iLV9
2MeiF+JhUbqVgYhcRsekyoJtVQ2EoZJ+9eqiyGkDO++CurHlXjRvBgy1EJ0OGo09nTKWSE/z4meV
qC9VYQ0QnZqXRbryLFTGSEkWq+wzdEmda9HcVdtd36g7yOeLk3JRn2kmHoSQ3VSnqGKoctArdqJV
IT5qQEnL4LZ+VHGSnNFBB5VLxIqe6pbc2o1ZqU8Culhw352pP+lBp+/LGBs6gIb5AhbMMXpGUus/
NaGevdCHLFANbavgpoRkhpzQT7vLCBCYJ9ATs9G6vHgp/LL4ZTZJ9+BLcQRVsuavXVoO6KJptXyi
CIHARLP5n3ttG5ByCHcBfL1x65vCeM5zolE+hk6yyZRZf4ZIheKxayppwFR6qhg2uARnyicFFpw4
WPl1LIkWGPVerp3KXJjftO1FlBzUWNxINBtrjhVF8q3oj8YGzZiPj7bZJ/xQmIodHYY71Dotrqxq
E0m2kJscWQI5v2zqttsvLg/XSpsZpT0kI7AYrY2pzpapfMFxXT0Iki/XMPpCEDdNYrI5myD4XBzo
C8eAFk1XR6sgZkaC1Z4lIg3WSL0AI3DErdpdMqjqnZGPReAZtdkJZ+AsIgzsS/Wxy8Z6M3fxZEt5
EhbIT1T6Fsc8jxyTnvencc7jlB75TD3kGTy4w6SrvtuPpfELm3GU0InQ3TSKUN3XCSKyiMZNNM6S
8k6Hutq4wdyLeyuPEmvfBKh1vBalYeIsCnx64AZUjgL16YAmPrrPXFmuJLZHXyQL6suV/EssZRk+
e56ckxyN96Oqp4YtKwW+6kIcJ8p5Gmhm9WbqLfqgxIf1aY9qo80/MP2eSTi2qNOUgzyLg3RB8/OY
v9HZPIAf0IMU0ZwW+alHTxxn4rKwaKqv5ox+hEoHP6SiQLF6tBo98sCzuiNLJjoNZCv9tx+Vg3AF
tDZPNhLwxPhcjkTlnva0yELnORTDRk97yUIvLSrCC62kRfAkBPCsPCFp/Gw/joqmnUd0xMtPA6Hr
CDV70qGQSprxd0u/eLGrhGT8bdRJMrqSIMPPnuuuVM8qC2XJZtIVMM068qBnTASywplr3JjZNuay
3USmNvZO09HC6NDK18e7Qm90FhwW8icDqgIQuiirzX3fJ/DkJAgiqHiazvw5NAKeMfBwpJSGUmpS
XhSJtHyPgzW7GQoMY2dIhfXKag7kjf+7qdA4dMNPI+Jrd0b0qyq3Lml4nhHH3pqJYBazTfMoiWUU
J4XlGoog3elzKP/s4zm/60URdklVhMDlaoUuBfQD/iNVTiNy1A7Vjy0jVZbdNFK79MUYAzrSaktJ
mGMmjcb8Z0hYllumsf445i2SqxjBXnReZeOMBo3m0nAAOIQdOlxE5L2Xfj0ZkqPhYm+5ok6/uI1R
biyxDwmd4swdJ+JNolr0oSRRMSpbNoEc3UslSm9YtGe5U/CV1G5XNq1+YeWNAXtD6icdNFyohTuK
shJyfkVQ2ZgV8gTALLTupoCdhr26ZdYBnbi9IJfnDUvXhBd+gbXUoZTjId1FTRJqpxqmVvc+fPR0
i7IQPRg8Ne5Jq5N2lxZoX3T5vt+Y2wGvub3i4trFRH4ytuZG3J06YK/vR5ySLMpeHOy1BWj86c43
89UjuX4OstadxgoXCu/oYHf911H9/+Vddl1Eedv8xz8+HaqXCNwlNVjWkoGd9ypxVgcA44R8ev7j
X3yhahgM6S4QURdBZZM41v5kenX1DHHy/hhxdaEvwowlqZyelzsDGKsJ1Cn3FcOhYSpzy2AjY0P9
/SCXi+vxLeVPRI2TGwV1vBbXaa201kL2I4AApBAgahrpS1bIjexqcwLpUKla/23C36M5i4Wpsa6s
ZgxO1hTXd7TlNyxW0ZS8dVxG1x1p6gSapm2UZw5AXljdo0PdStLsofltbbwh6Ibf5nFgt22CGCHZ
wR86DzhDBFD1BNNNyq3c/xrk7kRCTv5qgh3/rNUFrqoT1n1TflYSY5Ok/jsF+0u5yrbzUF9BiL7U
iye1QtA+RJdphM2fVKOVwbuiz9DuzZfGAOEL1RddjGQmgwXHIl8WCL+KhcKnFvtm1OzvX+ZXv1gT
dRwtF2PiT01YswphrZbU5xFGUMQuXuEs8b+LwLXnw6VWHox2mNXnQaH+1f7sOHN9H2Cdk1jmwvEQ
li/k6NZczDXpakV9Dupo00KrMZM7XZ13etQ73wf68lnhZ0/js04f5DqjQ8u2mDZYMMxk+VLPH9P6
dq5zeH3fh/k8HoOclEwromzg0L/OPwQ+qm3Dl57bJOsBbSNMrcvYhK3B2Lib1Sce3+dPicKMyE/W
AI4tkPePj0+zIrHlvPY8GR3qk8CTfZDpWo3rQX82Rg9I0U4E/PwYCcjCv7TG8BH/WUOP3hc73qiC
0nmekONxQOXwbwKx+/4ZcsNdL1Ifgyw/4iiIOWWphAr8WbM5Mu84heHN8gPTFPeHbkfXueAJF5Ob
eskdoJnz2BFOLsynRrnaCUS914fO8J9jPllTepzQDn4/xE8dwCLXT9obJO7rsmFiVv1xiPCmqt6f
xec2ky3YuBa+OH3GCmwayX01VwaisDz39MB/kcmm7xWl6S8T0Xw88TO+Gii1jSUXwWbOvejjz8is
SNCmSHke9HgbzcVoNymWSgDgvb6EdU4LHVm7Kg4cxRp+jip+RMaMow8wGQU1ZWgeuGIKm+9/1Je/
yVRIzCzNidhyffxN4pAaIvrD50lCHzDl2n0wynffh/jiK6V5lcYr+jrlJTfyMUQEoqEyc/057CVQ
UdaARjLYDS3dJky9U4aq60oPr/pDsNVsjqxy6ORUf7YEchhmej6hb4sK9cTp5Yun9iHKasou/XOV
TpQwRqozB4DytOlEiFMDWZ7q0WcpZKmJ7kt/NnC3spMhd6n1vAySufv+5XzqHFgemAQwUeGQRwPn
+qQHf6tMMQN6/tPVLV2XG/9afPD3S0v3+Grgtq55pw9Gn8qm66ir0Zl1FE56skTt3Zayab+DIm6X
l+Xhv1AUXiXlOPh9HOJqjktVkOc8ToJJGy6Nw9bfg/D0WjIM21Mda8vf9fHI9zHW6lyTy9mA3YL5
TCYPmc8PjO74iF+sMrI14fb7V/fVJDx+c6uySUjFrk8IFUi6m5jzpvR/fx/gqykoY1BP0yQ1YG4g
H6dgHpKnCJv4Beu068wSPaC3+1luN99H+WoYTD0ysxY7+KflQcE1jPyA8CyL5SYMe69gdf4+wpdz
nAMwh8GlmEku/+NAxK4hgZWXLz2trF6wEx8oxQheZtnyPVkVuvczN5c3+uR+H/fz86OhVZPJ9FLW
5p9WC582lDNMOetliiTMadI5vWpjGHlkdi2wXt/H+lQIwtpTxM4L5RA6BVIwy485Wi8AjiaGPASv
viaSWZ5uy6zCl7zYtB0qlDEjORpeY97ntNITxX4vaEIIzco1bETSFYqTCByhgJL/qIx8MwsnZtKn
Zrw/v86C+7MIY9AXrabSrEf6giF+reA3FGF14DB361vGtS+L2KoMSKv0YVfUrDk6L6Jr7SHCOamI
nEJPT6146x49fgvcBXo66TX4I6j4+KTYhaeykOPXBQGSX2XQZaaNvqkvTt3+vph2SyAYsHCAMChZ
t3NOIYzGukhe1e2Q4qpih85wgec0S08+2/Wb5sDEdv67CiRGR16Fw+IC3GKAq3lQzIFOaql9zXEA
xHEgilUbqfyJyfbpm4VUpVOz5Qyz9JwtBZXjyTbkWZNXffZm3EmbLt0ruxGNWn8QN2K7X2QhFv24
J0J++pgIuSxC5ArIp9EX/zEktQOtrsQSFY713N+hAnUWBpGy7T0Fq/QSs/m/j0b/V4ajDMe29A13
GdR19h5V3a+PZTj+0N/0ZZEyHB6/4oLq4XpnMj/+qsIp4j855FkYDZNq4Pqn81/yom7DpUAn/hMV
EznpZR2gkKPw9/1dhhNk/Z9ojOjygzfHp4Jc779Th1tOD//ehPmyKQ3KlkSLPydbk/vTx7ki5RrM
tmGpzfrzLi3JtTfSti1SJ27VE6vJxy/hcyjGdPwloNni6CcQKuYEbet6h5XAOJ/63j6eKv6KQic6
l1x2EXKAywnnaHH3Q0olbWkIdhlPWOmRG9CpKOqWY8jjjYDFixoLdyybWFFYZ2mRucKyi+L0cpkI
LWp2aYMp2cXk929H8+KLLN5Xo6czjPmEHED+1LnhNzqVHZ8ql5ni1d3KV/SDbr8PsToq/ufY/xVj
3arRdElIEYAYrYu/Cy0O8abdNRtq/WAmTkl8TgzoT3336EGrZt5qKRRuG/NJKkNVfVH4xvOJEX3c
gP5zRAshHK3t0nn/8W0CrqlHq2VEo6w7tdU5QWig2T40Q0i9IncLFQ6DvE2Fn98H/npw/4r7hw1x
NDgrSKepk4grK8KDNVjXmZ6dmKkfV+lPQ1tnPOkRwQlhIoSRNE4O5ztpsl1JJe37kay21s9xlqTG
0VBquWvGtiBO8jjRdkIBI0LLh4lD4S7ARBp0cch21ejKP6l0X77o9eKCHIQmXRa+z1mgxKy6uEoR
oowbnDJGF9qBk+GXt/Nd6bLX7BYrgz1iQqdHJomBTOn9T8Z+9AOW13w09sXXNiEbQGn5Jj/Xt+N5
iQa2t80r8XoALYaz5tXJo8ypQS/v/Shm29fc13NiNt7oTjREh1Azwrvl+NTaIxbSdo3OPyB1L55m
qH05b48GvCz3R8HxhyqTMCG4uG3d7lF19F8N2WpX8KRts5cjhEf+qYd8KuZqC0nzWQsSixV3GTD2
QR6lSifa1p61BY2yDa5OlSdW6v+/p/TRKFc7STXHQKojRhnus0daPEocybzkJnMMp0eoumiPYLlV
jth62L8o3qIIOtnq9OXSRJJYNhEDITVeLU2tIE8+Eg8m9yQ9SZKwoey+n1VjcPCj2FDC4OClWk+j
abmjpp9oOP3ymeOAYOAKLHKHWe1ySc5LTkqFJxBkuzxA4DyeOkaeCrFeN0LNrwCOC7aUYf0o7ZRO
2n3/eX61VXNflknxgUH4dA9T2njMMNMX7Nl/M1rZltpz3bwxu93sByfutV8ttotGVKU9G9nAWnKL
k1bbdzmhcHLB+Oqu7SNHH6+/H8+qUPfXvDyKYi1T5ujrywS8bKyUKCBBfBtTyt2ieje2shvS3Xfa
Z2CVrf0ccDUNLKvGYCohYOuOrv4Yu0Cezjnqe9P7yXVtmc/rxfx4cKv5gG1Q3wgRsTAO0iev8Qxb
fKxe5T+yxmHTcZnBXOoR/+8JMsdpqcmJV7jOTLOOQ0GviS8pv+ZSwLLybqnaf/8KvwoCr5lSiQpw
gSvvxzdYFqYU4jzGWiZcR8Hvqj20dA5/H+OrD+s4xmr1MqN8pgLZCXZVJq6vP2izeSLCVx/WcYTV
0oSf5dwaOhHqemnjOvOlbZ/hn2pYe+yj/gejWRJfXFPgWa+Vn3pp1KR2G+Z8djnoD/1JDulXNxRu
SP8KsHpcYazQRwXZwRZK8aEwMbOW2vJsTntPHMKH7wez6mT/64M6DrZ6cr1s+kmAktXWH8rzmJoV
KZfGFhdmpxtsoXCEj7SEFNC/8gvlOnj6PvyXM+PfQ10TzuagC80C7zq7rG5yjPrz8H8ZYLVe6HMk
a+0SADM9XJ8e9Kg8MfVODUH++AH5U4XBU0eERM6WBT0ITsEfv1xlj97RWpuOja1cj5i72SlZKQ6U
ryEybuO1OFe8couZivTy/VtZJth64TuOtwz5aFWvjBDLbot4VmjaZjZtwbG484g/YyM6voCwgrXv
+5BfHtrBH1OCQ6ooc2/8GFOqJrGMTGLSxXLQnfJufi9J+8PjXgqM+eBhh3GunzCmWNU3/579R1FX
p8dEanN9qoga7xdKYuNorW1tlDOcx4pykwtnMof0zehVG/lMDBFK0m+J9yxesNmp+vuXZ7zjJ7Cs
cUdPXdObrrOWibSUIszH7hfd8uaBwyX+4Z1LGn+/YEzlDVfb4Ly/0KPNf0HW9dWet2wF5EdolNbX
9bhcDdAozzXLAYi/3aJqt2pHymz9niqzyMMIvNmRnHabbuncAiFQ5Lt2OJHP+3JPOvoRq/mXUN0M
kpEfEQu+XY8/MfmkA/IU1OhUlNWMI2sRmpm0RBlhBvu4QjZY9usnvqUvlwcaQmBG/gGrrhagJBIb
deqJInBOMPV3sTmxwn09jH8HWK8/QoAVnsS0kbrKHkUwCAE62BONAMvc+7QiHI1ilWClcW4uqoQg
Zv0jVh7U8YqTCBbcF1VunQh16oGtXr4mkunIllCgSvY46dlGd+qgf+qRrd68oDZUEDTeyTA8xMVz
ZzwE6amOoD/9Jd89stXSMkjlII4x4wABll1iS5nYSeIttcw/x2NveKru0MpjzHTqtnjqCa4WEpqu
1bZZppzRSrip01vdnVg3v3qAlOSWVK5Mb8C6tybVpBTtJ2MrC/wuBDppTVgPTX5iKqwqQ38tz8dx
Viehqh+jKVg2or8splgF3n1wf7qd3FOUYQ1S/5cDW52Ggg5oQewTUK8nAEvKZmHkhEJ7YoH7crc7
Gtg621bVfuc3qA7s+UdHlVvEQHkjexFnLsxbq4v0Fpu2kzWnrz7i46CrpaiThLYJlpWikYtLPCs9
Q0/xY0RwEOKq2zbe91v6V9PwONxqYYrLqPYHmXBRQsluumyhuHwf4Q/scv2N0flE3zMpAUVb94ma
IXbzZr4s4XsfYuK4k7CTaren0bhfjuUo0OpjTouwSKnXcToJxI2qynahnNqOvng7Flan4gLexqdh
fRFLwzDytamAkBw893pmi/JdjX4VlJEdtb+/f3BffL8fYq2+K03vVMQSS6zsSc7f1PLe8E++nOWZ
rF7OhyCrb4kEtzwKFUFad94U3uJa02DJh92EkzIF7QBXuuCkj9P3Q8MU4uMpSk8DzDlDohpGYrfo
XTO2xX44Jef+YkIcDY7yy8cwcEZmTSkJM8rXRvJcks/9/hV9//Sw0fgYIJADP1MMAkSjgTUcruOC
5ulm7SSBvP0+1KlHttrczWmcaasnVF3fiBjQTOZuONle+tVF0zIX7R0YKRPbuVWUVjeGoMqBBZoX
o4tx6AaTSNkTOc1upUP9VrilQ98ulYFpl76eWte/uNF8CL68zqOztRQgbkNewutSHrPgTtI4VkhX
vrLNm4sOht3/4IHq+EOBO6Xirq4mRx+opU5Hub84ZjtQz+w+fBa6/fdBVl5wfzZHZIT/jrKaIb2G
g3iWEiU/D1tPCd32mjOG7y6Zfr2wAazNj/VhcdI4dcD4sz19+rTpXqGdCVYndlQfHydWzWpsSbFv
I4XAbtPfVh5NTGV9IbnLEWegY+MWmzZcnb30bfQyNzqZjZb/0hkc/4pFsWlZdPfi/bJ4nC3z+uil
alGM8oVZxecRBvkbztQC4Aalgp2CDRkG4BgRCJblTWYlKaWNTiTMN3EFF2hr9TQbOXUakvFAVYeT
veY3k+zJagYyHoFbSQOM1Po41Mt4zzioHPP2kAqGPt+LsuQ/C1nRcA+eyjC7F/h4FK+dIlX0Cgk8
1WhXRtzItSeFna9Xu5AyeaTapVn2NQRzXYvlNwrjHUhfZW61W2uestl0q6HOehwgpXIqfvhqKDcc
Q4Rm2+jDMHjKHOSLg3gsWNdIs6KhtK2ILqxND4oabaCM7MozmkzmrbQ5l3TOTtNB8PGQ3g5Il/cC
UClQmON4MwvScyWQ1bQK7Qrnxn4L09TaCPSmnVs57ml9lvzsQ731uiwRN0XVTRsBLhZ6Rb1xpLF/
blNa6wHRPlm15UoVXbm5LP9KtH5fzvlDKsmgVeU9l6LrOmquQm3BXcbDK5pdN6r1bWJOD0pdnE1d
6GZFvPV940YULCdRkrNSQ57JRJ7Up9p6APPH9VM6h53lqOCADCgRCIzeZiW3cyHfylmyGSa6ZcNt
o90l8bteCTeIXSmGP4ZG6k6a5A467S5a1Lv52KPl4c3ZMwK5Wr7PS/ki09v9EFnoAjMv6qp9F8Lq
QADLMSmcQFBZkD3doMTbVVLtcHzzrZvKujVDLMV5gMKj5I923WwU7VISaajCCUXaS/KZZaDhQDlx
XVQ3gnFeDT/6ObUFWsya/Wzct+2rChgoH7dj4qr1RZ5tx+49wmU/Gpxk+t3ik+2XkjvNAERTd4bn
lCJ3mnqTbGCyV/OLFBB9EkKY6pATkhcQazuTHhcmVmA8JCpou/Oob5xGPR/MNzW6nhtETtrBH8/m
eSvEewkEKpAJI4YnIZ1ZKqbuOU23zW4eaPD2b6sYP6XgRVxo1ICR/PowGbukCyHUnPnWRannO0W6
artyI8xAWbQK1JIjhmfWuNVIDaQW0tDWFcQr7PX3SfPS+7cxqKdRNGxOv2ejf27W3VasWkfvn/3x
t15yp3QqEFdmtWvDXWbuu4IMCB79eu+0JrSF9wzGKDpIBXbtqGzG5l1oCw+ehjeNl7qfQ8U17Ck6
Q1CYC9emUMEn+FGGZ5Rz4ADk0rvRHESqIepuSLcBm016gKXAwrDxm70QXzXjRpDP8o7/Il/X2Xnh
30LAwwJ/6l/77HesbhukikjJ5PDnEL8G87Pe343TTwhZg1nZA7I2qCALyqtr3jQo1/NShJ5nT2vu
DZIndXphKOA89Qep2Bf9vuEjmhKwnkj0fL+EVSvbf7isEJzq2u1ZU2mO3rW4J4qGUwo3ipK4fNaO
hsOw2eOoYChIxZvmfMJ9PHes8kGOaE9InSZ/H0E1xa4ykk3SoME0dwEtwoo7sBBpgLdllptLo3nN
61+idsgmE6UCQFj8U5JrUb7EAk3COoQn70fsLRAiMfiUH0Y0pX15GOazHLqL5EvgXgqnyw8my6B2
PfqCoydIxvvbAYFQqStOo6Dait7gLHb9Za0+pe2maZpNxAFQ6y+qHlMwH4ARDE/ZThZi6VWRXqXy
z3i+alNPNeyIh9KiWpXbS0HY8MHI/v0s/h7FwAm6d4PjePM+NBdC+CDU9/J4nsWbAXtX7bwM6XTZ
mqIjVZFtVDs5vIgiaAnnYXFPZ7NDwsYu4GtywF5893PldczPdDzq2y2qeqPYLC79AcGje85GRQxi
1Ilimdaam7BVbmsJVlW7zVi3u10bXMYA6ywpuvThwfiqYlvN5RDsI/VJr/D624Mxc/t6W7XvI/og
P3unneQXaFCDws5sXoJhReQN0pSlJCstsBSvCBBdwZ8PwUgDSHatB/G2pAxVN++p/lMrEiebZc+I
s61W7noLXa78qky5o4gPCVpIKSgcCDNOHlYbuAVGjWlA/CiGN6F/N6RoPxvDC6SLErLu4F9MurbN
ldpVfAAhdckvKpzKMNwJYXBjsWgmmVPrmZfr58N4UbLkRcng5gUaZQ5tTbWfzMxVR+DY+HpYXsqZ
NQ1JPqTz1azpAKwu4ya7yxQovK2SXOf+oxTEZ0JguhnPa0hib9Zlh0SWp0qFE+rPFEBuanU4CNPk
hLwhI17wjnB+hvlRYZNU23QTD/7lOHaOj1Q4GZ87cVq4b3bPioZU2Byf6pnlQE4fZ+E2Hp9yy7SN
EKCgcSn7b6qSOnohP1vBz8bfx1X7BAgcGNCNBqyiDi/ECXKxdN31ABR1Eg/pS2iKNo4CHaSW2t+x
uoABG6FusaiP6R7MB4lhoWom2/QV9VEZNG713RyemZhowjeakttOuBuy7ABd7kYvDFur+x8gsS4K
GRFv29qhpo+2L+bVQU+qQz9Ld4k4XJq+eVX31YPQyhusMneAcF7hRv5sLdapsY8yd67SzkmFmfcs
GY4pDGyyaXmJ1OWMPyg4Vl+/KcMMziO4wvfyEPui7lYqK/1YHEgB9LLqmENr10p+nRXLTjfNgZcX
M0vzGJ9XFQ2pnXWmWs3PoQu2CO/tLpZJl4KD8us3NK8cDHJHGJWnWS4PkHDPe+HQK/m2mq9k6SzJ
/Aep5bkY6c5HR5tjwWCrY/AzEcHV6SWHhzk41M15E13iu4Ov0yWaYTup3ppcBmP4kssPbeklwiat
MhcQdmfCDRYcuT8URmuLdePUhodQ2+9+lcj8yuydVc/SrmflKf8lhHsTV3Qj/yVzjNAfYTwb0btl
MOzHEQQVWNBW95rCEfO3ud9Y3SbUuANhi2NNrqDdqM8GgMA4xShAuxXMOza8suekAvTuobkRohuh
vJOiq2Tayj/y10FzImETLZJo7YGNZc62ln4WGhsLTFG2SUGDuSbrDqnNyJWN63TedLz6mkeoOX5+
K2nXoeqipyIVnbzmxpmKNQGNYONZaV7F3aHQnWSnwonyVHBsMvBrG56fTMtLWdDY5PNt2mF90CEB
b5PcAUSf22jdGtPWW0cz74Lqwifb/RhhmyXix+AAaW25IUfxLisOhu7NCgw7DCz0hIxlDXmo9DhV
S5qXy7da+jDrXt6HABvtjKxYKN346s+ws3XFS12+P1nkp97J0mGCalJnTqzBopkcZLu6/gvF9NA4
lfQSlje58YbbRBWUdjy8lPXDMGZum7+XzHP/Vs32cQNzx/T6gRWbPW4Gv0a/vK2xJspD+9JU2kaI
dia1Niwp7Jxfyr9teZLgYGJ1Y8T0iJQcWjzxghWkHGzD/xWAJ/CdbjpPsF4tKK1Ob3FOza5zjOYO
6ULfXY+ZhEx/E0FsmV+tbjcIZ2nzXLWikxu/ijCC2wBDmxqiDiPViAO3iBMHLrKtQUU1gtDT5RkZ
OpVnicNUf9YYDtpwAF9DHrjYY8DfjFwOwxz9mng7IlOXNhX932e+thku9FdAwnYnbKti0yWuVniQ
qwsPaSTuJ9wLkKBjMdIiG+HrsQuTbY3rettprgErTzBlW86gN1OpUdV7s2YDMCs3icm2hJ1XaLdm
JrK64xvOpVHpNnn3LnJSZksN6e+HRtagoyXNtheNbSBchIO0w6mw36j1VsVZ3DobYYk9TbCnwsuS
TOV8nqhuo4YMxST76wXQ3XoYYvDEYWJiHBma163w04wP3E8T0/EnO9zqZ2q9g3YZD27GnWzkVgS3
zFbp2bpVXsM7Nb1uZ9cQndBwrfLRNHbVT3H+gTpDwi5bcbhxhpWtDpv0gSNnzndOdrj2mn4jGl5F
qkS0u5FV7XrOOFNd0HNnBEjwgQTeGNnvMgeqdzOUV5m1S654Hz5fw4AxlPCYkiaig6zfhFFoU2DD
146V0Hd9NMOmE/YubDtxvgz45h0V4aPMevkoCpfZQFHQEfLnlq2ilB0h41PcSq8SnYaKndwVv/2Q
ml0H5X6+7F4WIlJF2N00b3r9TD/vtVsmtQXFLt8FqS3/xqK1X5Dye+t5uEywPvllzbZueGYCdtKV
yqu2AQK/p3tZO88lL4KLJt+nDZuWHT5FXLS4hWbsbRuhOSjRNk7sga5D9GjZm8ZBXvehAnpmh4uF
q7rZDfMwKs/rYVvhCl46rXEBs1MGxWudD9N5mrvgx+F3RMWePEksXvOhDNXtqDpjaKelG/0O22e0
wqbBh7PlsbPf0C5zoYceJiK+eF/ET/ADh+wyD66jyBlu84HL1iVySnQILDmvoN7Cu7S59KOzuDzU
yLM1MBkvqrrt5Cs1PcwplLRkEyrEmy/FM+OcmjvXqIZdB3hRqG7S9F4S3Gh0pgF+1aYq76t224gd
WvoLVsf6p4K/GdDHC7nYRE+x7gTFASXlXFz3N2Vsq/lZxAYBMLZ2UvxlpkN1lsX/n7PzWq5bWZL2
Cw0i4M0tzMIy9E4SbxAiKcF7j6f/P2j+iCFBBtecudk74mwd9epGm6qsrMwfMi/bwzix231Jdhtx
14aY3u5pmQkv2z/z3748SMJh4F6nRt0+pD1Y7WWk2ql2bKcLNb2P5HsFNZbckeM//OXysVa5sp1I
cRPforSAnzUnHqRS9ZRgn4p7HlqKzNpyrQZ7UbyRroLyQsQT+WAWPw19N+SeKV8Zk9derI9aODt4
ZieDapcNTnzVb73GVdYrwJsWnQMu4hH3N696Dtn1Yl1nxkX7dyX65JMtKlhDEyl4MoTYigqz186C
k0inpjnoABWAcOM+ZY/lO8KBsd8hnzIIGe6Pe9yvZ0l1FsNbOBBNnttQln1LwEP3t0l3au+Ho1tG
lxGubhX2ZcgELeWzPB3r0Q4XR8UFkjSZ5OYtqQ4i1NDuJONT9SRIbtnY2c0gXnTqYwdqTLQmuxK1
ZuFBJirPXCF9NIU/fXRYxr9l99j3r2p/zT0rPbfyZGvzdVP5BQfJ7BzRuIvr3VzdZJNvas9IB7bD
70G8ytQ/arNrQvamszyG3KZl7HaaYIedU78Und+hJiDRqWKH4hu28wAwDkIxY+pNd+2fLLloF7c9
jk+rOfYVF2zX4cZ+Z2ZHob9Gjt4vsRPDg5TUf28EeyXGiTj40be4bt51zWXEfTA/SGG9K+YnvXpE
HTluH9P+1xA9COPi4DWc5ZfIydS6m7QPcfgjEXwre05M1LJoGSwfsAtN63uDG7SM7MJ8ay8ruoGF
U5nfqQgSh8cOY+eRGKC3crzOXGzuehAUAWuafHAt8cbiYLT2hArgeNsGV3VBZLNHOGh2UVASSk9l
A5uRpyHQl6K4Sq2t/lEgDibvG66Y3nzVFcysMzvHeCp1cWpHzbLXXbawZL1Uxl6PrhvxovREjYTa
m2REF54QZtawK8sfFR5j6b5Emqf5pZMFzeU+bU8iBKd8cQUDttFJX9xuvh6MnTIdwvk2GVCKIUYD
3Jjli3a8LyxkW2Qb68E4TNx5xk5NP2phZxMC8zXr8JCU+2REuuuPRk1Sb05pdbIWL6C3W7/Qqqfh
KjHJoa5zFBp049YkTZ1BDeLq0DSIVMF+SjEHvrR+0vmd/87Tq8AH6ejKu5zrnYXIw51+pwaUFPZD
f7uQ4KaXgbqzDBXuiB8io81bGy9OErs9KYdH0p3yyr+RHPSxlxcHqXGX+4Tn5KUjzLoIkJ7nXlXd
onZ0c0/GrCR7DZmqxW0sbn7eOPyLC28ZT1X4WreZXYmnpFtfAK3i+msP3eArbw1/Ye0k+TX1JS9f
HEygpeEakkqE8NJwgfN3KEMQthtcJ0SHRFS7UrOLvveTiE1sZ8LDGnHnz73+J8AmMdlN9RWGbe2x
bB8ywrdxuhnApiw3Tgm2r1a18ma3UkKAySZeKwU0jr5ZyS+7PTaoiC/Z8e86fGizy3y6AY4qlb08
zPz5n7Np+pH8w5pv2j7elWUCzIRQlH7A35j3HGpzv/iqfhK6n1F6pyW7FbmKUx42S/EG9aBBSjOL
l2y6UXnBVsBUfUvwei/k2M5ryDlYvcg+5wUfyiR+G2dvDq6Ubt/I+HNy2HnoXgtcw0s3zV1u9uJ5
eloQupDt1tql2g7wSt1HP2oo64xEiByhzSX8yEY3HvasnDj5Vj/bKGvuGlZUr51Qd8vUXUIk1G7V
6lq4IRBafUdTD51XoTnGBVJoz+F9LhMrDfsaWA97MflkYqCJhwqFeuWhL9zweTblg95d9kChSvUU
R75JAm9dqICVGUbaE73JzWN7RAsEb9yDedJoeGntSGaZn0Pp3kQUtwmva5y3IhCiVrhUooa4+Uqr
wVN7T0v2QuMo7d1s4Tx7o1tugp10nyBGWPDChce0vV9x4JX4ZTeaqzd+GfjV4I5mjyrSOidUAQF8
CIg0eTc9BZj2RPtq8eLXoUcPKbMD+RZTzkzf5cFBYWtNdiLvkuWYabdFivqZA7mQmBeoTjuhGyT1
Xq4eWizr+B25PRiHElnD3+qNSnae7/DXHkR/iQ5tdipBXh2yfZ1wNt7PiVsaQJa2jqeYBSPKwXoP
N8Y08nsw/RqF75DH9mopfgKCWsPbIvpW/TSqjozGIUaY8XoumVBc01Z6hQvx3Dhy7gTS00hWBVg3
55qdvwmWRLvK09z6YF55cynIiregatWDsxkBFqVgpVxCzfxLA8QDneea+dsNzwlip/VNT2LJsQv+
Qj6MNa/7oxUeD4tAQK16ZuGv6W10NRLwPSB5YwedM2HXnqteZCQu9jd229siD2mfP0hAYGZ/IqGS
cnzbaZ6R9+MPts9U7fq6uDA1MqafQ7nvQzJzbjLSvssyB1Tyx+dmsJfalQg97yRU+K4T81UIHmKx
t0Hf7fQvxmTKq1Vdczf1qZ/VLheq1lwO1UkY3Sl9ylsPrcZB8NR7rHHbyG0yl+pA2NxK5FrjIUdS
hWzwFiYIjkDcXrW1wz25bg4qe9DwRvl6RheVAC3kK+xIQgt4I9qbPt3N0mtaAzpVBimC5ibcvlGk
omyH8zaI7orzD2nhJsCbVXItk7235IZh+DSVMts3x2wzAu2Siod+iPdKRfAozzlYA5J3QuehhXkl
JdOL2nRu2E83I/+7KS65W8f173At+TQIiu7VVjviePxCDWd0+o611cY+8BGHfIyRePVkVB12Wtkn
zoCYkIiuWL5ETpou0iFOkdmckya5K8OMrGAQ8TomCEdI0U4KMb+OZ2E+Fl3C/8uifFL0pCiZoIrH
phmjS/y/wmsch0nN1FSdMd+dY3yZFbHFK71NgnGnaUl6VMfyoIkDUH14T5+feZVmwx7f4Juuqwa/
pLX9pIog9gGqc1zowoNWYANrDU6ilgLikKKnlbMnZvUu1dEBtKyrRpuxMC3NR4PzYgzRccrje0xQ
D1neuKnCcyCD5rc5+7JJxUtBKCD7Ac2j8bfP0kHeYQb5kCM8cZEv+jXNm796RX1M2vZYKEhElNZt
vwBSpgtxbzIeIt08xaLxB8FToom00XZ5NCFcYUC+6xThtQ+Hv7FQc12FMRC9JR6tWeS/B3h2T1Pz
2lsNtinWSJHaCq+Ntm9/GFad/VRrvbiQIjLKcSjMHS1lyV2b8xA1SUDWNc76PuEPPkYCu0KPx/Fa
6SoB87G+7h/MWJXWd4LyoZvPIrLdZltmyWs5CnF4MYbLaBxzBb3WJ7opyuFumiS+kwRuz8UkB/za
GZU86b7AOzvwJysL+1MpiJX0CMUsQ20uU+sGc7NmJj8JxhT7ZWMyhxdKBD2PviCFjBhN6bExgkZ0
sgy7ahviY245YpKqL0OWyOQpUstjZQmS9lJS++pPoVjG8S5vI5DVwdAqiiRL3F508ZD9jPPemvZo
LBXzYdAsVCQVDTN5njstFf82yHlQT2mWkHxJTMvx2Oqy0HsWNckS5lHZj9djOLWr8/t6jxYIwCLy
KqUV8knh0FeUQgJcs2OLdSLmCgzA/hipw+PanJqdxhDLqdzr56YBmOzLDkU+Z1HEcs3Vg2qUbxRE
bsenCNENsi3DmnLrusmmAQeNha2yT405uDPrSI5faKabMmp2I0IjHeXayE5wHebtz6derSDHF4jG
ONEcowyQWUq5hiHocPYTj1SVArJElQgLD0x2UvIacCNbculgBFYhhF4umCn5lKDkWvRLqrCwuRtj
OWh+hIYaZA25UYUmr1cEbfNWNqkU+FFcAqwWcTciHJoM7esyZO2E+rsa/xmkZPjbDjEVQrg9M04P
+iQWpFpDXCYHxRJQsrQ7AZduwEalG9o3aYmU4RB0UoBkvJxqgmtNlaDvKhF3ET/sLWHXTQoSicKA
LqIzyuqIxBI2ptTWtcaId+okJNVJKTUcf7NBKLVDo0vVXmqy8HqIaUHaSWYHq1EcicL4xyzuTAQN
o9yWYwtAYWZHrwYEJo7lc1kNgVOHLBA4NdIEbqayE7wiH6bIR8N3Lk5Wt8jJgzahxbZr8kTmWWsT
Od7pcRI85zFS5249a8GzKfbSWz1qvPx5XMjTLstbavAV1oCmP0VBUu2VTqzl66JozaPS8X5Pcyk7
ZT7Fxz6PreQUxAhOeHKd4ecc5V0XO4swGMR5QSz3XqUHAU4240gAn0zqjG1hKQcuYHr8sy6U8KVC
UnmyLTGIS2cIM11+Gwuzq39XlUyhwBT1MnCSsIMmKw7827OGpchuLfRRs1cEgwmvFzXhTo8MSfhd
FlzVAAyCeNci7qk6WaNo8T6Ps0hz83rMUdANx5jCTV7XP9oZ/eVToU8gqvrUTrNfMqHWK9mA5U2v
FEvC0vYpHgZLn8NYyOjnqaUO+DbkZ9AenkmkIH2A4JItdFVnuVqYAbQ0q8j+DgMJ/TXolVa183bU
pP1YikEEworOL8VWY/gpRk1erVqZwVGfSsR306ZZqHVGWs6EmpIeEgp33SHVh+ZyimbpigrXqLpN
qVS9N9ULwK6WIzbslwmsA7/N57lx80ZasPMc4lnxm8UCx5O4QJSbTG2TcG/I7bS42qzGD5qQ60Re
9QCqLPRNUfPqqFq+SsZqiROIeSM4XFvV7Mptvpa8Kyv+mQnUsAHXoZ4/yMJQ9T7WFUe5jIaD0lf9
sk8nmBhPzVLLQELtnFHRN7r5oRgkV09T4dZKgvk5TKLlChpVF6AYbNHlnk8odfpGmEaio01IQLuz
OkjdzsLovd+rhdrLt3qLCu6tVppTXbt6pi11flSXWRN+hc0sTn/bkNfgukuVoEIEGHtAjRxJ10Zq
i5b+MilmOeH4toqb2kWIFbld1z1hbKk2Ju7TmYrg8kgDXjnpN1aOGfyeFqUYa2r69bU7vVZiRApz
0RK8mLMz/DTCvo2RVm7T1ZZMCUp27jJKntYjyepmepI8yAjbA5ewnLotqx0xwlJZOY91FpRk1Pkk
hJMnytYEI1Ke+pVNWgZ/um62yn2ho43sDGk5lNjaT8AUfSBmliMnE8WIXqxGaKBDjPxurWjWbGdd
l0+eIMnZ7CV4vIM3KYGh7BVzBHSVhCUpgN+wyEZ8thanfdgFigkano+3aai26XFW4jD2ptJYyh30
D6mCjZxzLc6KFUNrSGZItkU/5uF8MtHOM8HD8pWnMYcQJN+60Mw7xa5n/hyQRY+SJsCsXM/CBd3q
6yam0Tp+Y1nDDnngJBzeGoM4cl8kFnq5EP+KYP4zBpS1RseYjbS4Re5yEpddLsSmekAJmPfpQlbm
WHttxgw4GmtvlAJdLW2SsKZIE5ntr0KrB1RcJRhA43MkVOVbmOricpss3UDlJ52Sygu7rjHcSSm6
zrHGMhaf1ERJptswiIG90tpUkl1ZNJTCa0PurV8UJiU2RgiBKbHLUsj7XZl3KaEI8r6zWyU8KORG
uTLvOknVk4uxw5Xmpx4X1g+xn4DoLDG1NA/VbXqqhTGrivvRROvZTVev+wrX8lNZxNPs6EaLeimS
LClEO35B5OoGbh6OFSK85kijkqHpW5t64fWaUb1UC9Jmdj5OS0YFIgs0V5TmYXYEVUMDdO4aKz2M
0Ti0vhogeglWUycJthxK253QiZqLO2wDEYLOlDI07STh3F8UZjJ3XoDi+uLoPR/HKed0MN1FxzPV
YzdSrIO0JUQepCJzOUYtUtyeMEU9lFFroegyRPk0XMCORR7fnCMj9yDvT6uUUTc1QGo1sM8Sw+K6
roUyqfejWdbCPYqgqumYxWiaEBsQ76V831lST6KuN0c5GNn5kCwN/K2GiKJUUgiPvRkNzEEcrP6l
aIUy3C0ZeG6F3w1Vd3FB7TqR4XcEXbIGANx513HTKOHfVuqDkVjIgBjsBmlajDtB6oXCk9PIKN3F
1MZ411hlG/YXhjL2AhWombQah4q8N3LZa8OkRWRZXAStvTW1QA/AaLRQ65/p5J2AX5dqjF0BVYjw
OpbDkUrI0JjjrZ5UYvBY4pJkUh4edYl9E4rdfd8Vk3LXdni3eiKKIBTk0jAho8NRoMofTHSeUMex
CDXvUjUbzR/y0hq3SaUJV0YeqI1m67OUXC5RUlWvlVVbDeVVuixdeqbsTOEc31WmTI+zPVeEVOEu
LBvN8PquUlOvnwSFlBHF4sFNFrlQDybHrD2GIRITh94YUBWfBczSoZ6HZpwBLsxBdpDSecLLlqeg
9ZcqCaTrSkw74bo3pkE6VKoiVHY1SupdFZrV20xmNkMxUP8m8ni/zInmRHGHRJwM9kH4tct6BIb3
dFRJqdPXYWjs+6TsH6ysHCU4MHHd/Y1SIspdOQ89lfA0qHWvRyqbdDOaBLRWuWfSPX3AS3lJzmU0
Ps4FceeWYcPm0ZSoQzZX6KLlUJpao+/zWQIY7vW4K8j1DOVmFpSiORloo8z+tFQETcLEgT7FqP4b
FwRoKaSg0VCR9QgH0m6LiFc59GJKPdWyzAmpV9logLEkfi2K3oWKfFJCUA0Ypzavo1ElFJ3bBDJa
3GpycxD73iCV4Zg2LlYHac9Hb7Vf7VCrsi+PgmY+y3lWKTDgZqzo/b5rs86HLi1abmO2U0VQIGXF
kUDKivdWnug8aoWSpLU353Ea2VOazdoLOQBTF7QexszCISRBT9OsmCfg2EzV532v5hNhbNAJcedX
2txjbp3WiwzIvyxR81plbZI/T3Bvmrs2rJY+tGsUvbqHVJdqQGkyBV342Q9CN9yj/MRf46TNKAyP
haVXYIsoifeAnqJe6AczkorAGYrAtI6plQIQV4MFwJgkVrlcz4IscrtmPZIfZTwnw93cVkl5z8ar
al/OaK99kLWlC3/MEMmyy2Y1eidx10DGRt1sYYLI4kQS9F8VEVqQrgWG9W6fPSY+Bwdzrs2LRuSP
+qagzvLtf/HcB00DImGzs2uLcrzOyc3HHBHNQcWz1onjSkdQjWtWcM+Qglfm7UdO7OpXgpAdty0u
VVtObDwq/ZhmNEIPP00fQLx1Qm9tG4xlO36Q3XQHYvJ/GRLVptUUUTb0rZ5vNs308K4NWxmk453u
FI2PidpucZAbuaV48ecc/XjLvUch1fwnF/ffA25Ff7hbSVoqBoReGqaGUw+Cc2ZOW6mLf0MgCYhG
miFZ6lY9QY5rqzNWbqBaLmrnqwjIAlMXWT8T38TCPe1PvQAKpkpXclOEAI6F3PwyxBY+x5mfsmXn
I3WhyquzEEKBIl4lm24utBW1oGlF1U4uTE/3Y5oy6RN6w6VhF+0bRzyd53dvF3gdErMtC5kP/nYY
5h+J1bOlVlqWLJgVZtT4Fl2FJ1Defz8veUvJ3w6yoeSnGXdlIwSKnf9VXs3j/Kz/NX623uzJ3vwn
el3tvitv+ksNPbuDoFRd8XB7EEvQ76n8wJvPNEEoKyn//cn593sQQZd1VUNFztpMuq3iwOp7Uqsw
RwM+v8JCDUvek3Ef+NBUj80DVT/Yik7mmgfhsqudqrVzojon+j27pHF4rE1e+L+S7fvUB/fvtxmG
afA1RFxVNg0FLZGwNoqVak+aF+fViyRG0KAjKGphYrhLnvM4JP3vJoiuQrm9WFrloAiHDmr0eE4v
c9uX8t8/xeKngCSiLrIh3Q+dlijmVKprExlMlxvc2Cz8igrz4vv98am3azvQ+kPesfuxVDElI4WK
1dV0xqXJsVSs66RQ7s2oOeW6tQdSpbBYW8jQSuaZPsBPOiObC2ArbNJnS2uNERfAakFQPtNcgS+p
dUTyw9fvvp/p9iAwlCUa2PKKmCqgbrPpk0pKEWchHjc06/2yqo501l5ZUeELgnIY6+Aom+ck47at
Zv89ImGHvrrmGlsFi7GaEoGsBq2vrHMtaESzeLlA5lOe9KU+d3+t5+b9udoOtuk1o3VBESeJwSjt
XQS+PNEiEsA86V2sG0tIz945fabt9bUdcbOgiwqfGkgRslU1XBQ4jizjf9rbqNH5ikEFjUzm+smk
zaUcJzgnWHECu7s1jIOSpvkF0VVzpv91+53WUdBawvZXVGkz2T7mRTvmalr0AeVz9TmYf8fiz0hO
Se91O+mt/ffbcPvObAfbnDe5lMCLLAZD9fsiptQQAlGP1PG/H+bTud6Os1m6DleXuZ8ZZ5AFp5Vh
84tga6N2QGU9oXQk6neIJPpRN57biedmuN2JFd41BmUdO2o94XpxsXHxoHv4cKHMewlPQur31+I5
8ZtPGhNMWLbQ313lmE0difmPF1lQVE3dozFPH6ToUNNhwvayhw4eNVgTqi4SG+s5CB4GR9zJrq4e
Vqrg4Zx81/r93p/D7c/YfF/FSKNETMcA1kWLQkBhBm+i0Ym+WqSSGwaS4Z/50F8sN32RJpUu4jQT
9eGP8xbJ5TUhY96tp/zUI/rsbGNXExtmNn2treYl+o4Vd8+5V2+P//pwyDg+mCLmD6sg7Mdx2zBU
ogo7MjuFti90v3GL/X5mXw5A65tqkAvon6SbE31WsatSVVsJQFjhuBe2rAnTmbh6e/j/TePdKJv4
CAw0bpgo0zDz+ykLHsSh+WMgE9wVh1Z5/H5K282xfWy3hxISdpbjBGcvEP2FYP5Vd6sLzmwqtkhl
+czUtjtjO9rmIHbLPEXdwNOOw99LYCZuP5LT5ap65hVf/573W/7fOHwhtgOZCdHzx52gaouaClWn
2h2HkNwrs46jnO/SAZYHYf/kBGNxl2uW8/1ifrE/cJSwJBHvkVUIcjOsoJpjFMZE7EE7OQ3YvlxJ
Z4b4KiIkGETZTTWwnPkk2xWuBcSSFmR7Pq7OHK0PFyj8s8otLrRbwtvCh+vhP57WhyE3Xy1Aupua
EUM28k2s/WiF/8ziRtP5XB8G2BzcMR/SoVtDS6oY9iidAv3t+xmcWTVwzo8bYq5E8Ix1m9OItlZa
uW2d2sn9AZYOG92fXZhGu3NyI59PMnbRomEhX6ygrbO9COcYOz2BaBr1T7BSuBYD/aYRFI5SQsOO
VqHvZ/n5dMmox3LzqaAAGuocHye5hJGUmDSZ2lMo7sM03eMzaGug/f/5MGxxzFNWV2Yauz8OkzcN
iS91Y7hCvpG3mPm9iFHkfj/IF19shTJwZUVkRMQTajMZctSot+RBs5eGJjH4E796vT3hPu8L+VLg
tCNnrkQzlzXIP+LRon6RvS5lfFPFyd/Smn5//3M+X5Mff438cc5dp6YYU9E0MsHsTDGGg2+ykwda
Vmhn+36oT+3dOmHc+5krH8eaYk1vwCVZX9h0PrRhdqrgKHvY5255SH6vyubhzjzzVT/fXbKuU0am
oVrGzmir8VmnQtHXGp6a04CJUVs2D4ZsnhNP+GIZ4csQDmF8phEUbT4qLdbUjzsORJpqJ3kwaHmg
nWGKroX5nHDRV0PJJoL3jAKmvQ0G1Em3lEaDQlqqWDsW+IOVr6sPe3zz/edad/vHp4aIA2t6GeSE
x2Z7GiR61PK2MqGO+s2h9VPE56mT++c0KT+fbYZZfYQNiQ8kb8GgkJCKMiTDmMawN6ktJW3miGe9
uz/fWAohK/iPhC/S6mj2ce910sxiRhmvCxWkxo73GQ583ckc/emUXsKBdyUHwve9IOxpRvl+Jf/l
Tpul/Pdcr4Aiui7bLYhL8lwkiTja0GsSrLt+L4fWGU7Zi1rsdOJ0nFRPyLaHrvIrOHO+vx5bwchN
Qd2If2wO3RgrRSqnxI5KT13JAW4vDsZuFRUvIqzoHPnV8mGpe7FrHer99xP/YguxfTAxkHgJLcDH
j4veMOVxkWdAnoouILmg3bOHSwwBoXTGGSb+2Cf70ajpkw31cyqG0jqz7apzIkEaNVGBrbzuvHdw
Sy7iPlWv/tBoGsf2an6YOq2rHOXdf2Na5y6aT3ogHBb28v8MuJ7cdwNOnVbldBuqK3MbtQXa2OXI
gWztJDvTpc2uduufdeOKOwW57P+NfsTnCXP9oB4kKmQnn246Q+jUsrVYbhcf6KvigDgILevhXts1
UMRs86D42tH8CbWjv9Cc+YAv6w1eEj7uMO7bGWX0z7cuL5yEMQcbH6eD7SsX9gFFVqiH9ljEVPIf
IrDF/3hz4YyBwwLGC2Sh2/spLagOZ1VFJ6dc/+rzAZGA9qk28ld4C7sAPYjMzI8dG//7YT9H4Fy5
qHPIq7DRalb38SMPHZZboYikRqxZNIzA7bTolTNgD+g7SmlXUA9234/4xQ25riRitv90lMTNPo7S
pS+FdaIZvFmBdslOK9DQORNJfjUKOSayyhJZJgDQx3mZQppNyaDNttYVBd1f+TjTyQj549Hskbg8
EwWdG03+OBoaJ1NuhoQY2mzR7tnYmvxbFnL/+5X74tI33s9pc/dh3TxFodiimJTM1K2XyDh1k9hd
tYUq/o0UdbxoZODu7wf9vPNh7nH6SB4sjuEWTsZaXlgZiJAkChFkd/XKQJzvzCBfRJHrKMQASMWY
GnnGxwWUjaAamnCRbeVedCYXMmPiRmim04OIcgaeNOdRiM+BB0NikytZpEWf/bGA4uU0XzIZoh0q
b7px2RiJry538FDO7I4vru4PQxmbrMac6NuMQxgFujw+C2W3U9r8oIs0XmXRU9+pLuXGY5WafhKn
91kSQwQUcXSroSn/Hz7m/8zZ2CxzVmj6WuaEQLIofob2vogwzPdDfD4KxprQYxLF8QZV22YdZdIb
lQxp16wDT11Gd8nopo7PVR+U9Uh9fA7Xj2eSvJurZZa1ubjEQO0h+HCNWMirQD20kESeH4dDcViF
xyUXHMujFnPJHtqNrvJknuS94KvXxYkldxHs2AV3hiueTO/7+X+RFhjc41Ra0T6iJLgFF7Q2oke4
HOiF3TUXMs3g/W1+lPaC1/+UHPrlLovb/KzFwxebmYIriNo6rGRsr3E+54D43dpXbJQvWaHa89S8
LAMETJgHZyb4xRcm9KQoAbBO7PkvRHsXF4zW0M6pBkM1eFSP6IQJzrrW8rVwadrhr8nHF6u2z8Ve
nwQZdfLz96NuwA2jEIReMhhV9ieXyvJeQ1yBXGu+0fwVGlZ/JHQdn62df15YbLtNlS8KTfBz1NVq
2Vi1IcOqvn60Blukw4b+4ethv3osQv/Fh5CWUPECVOLMTvocbn4cev1p79Y5K0yzCEcE8lS/O0h7
/bDWk6uznodf3E6mqIkyhXQd26VPGo1IQEqxJK17xw/3xFaJazn6NUM5TnFW4vKrSb0fbDMpRD3U
Atjs/0/qFPudp+OAfi4N+yJ4XSfFhrFA+FCs3tx0QZlKSjgwzqptKB6JmM2n5nra6y4i7W7n91Ca
Dp0DW4c2oTP3/ddz/J+x16vr3Ydr5UXKR4TD/i1oelznqO7SnXH4/iB+fpk/TnETDvQ6eh6FyjAm
KkVDeUrbcw7GXzzLH4dYf8K7mVRNOtJPwRCtB7/emR+JP/V/9pvY7+6Gy/FFPpddfpKu0zEZe//l
1uvn3Zh0dGRKPzNm7Um74SalT3E+rDcMyCn3Z3aVQapI76dH6kTtTX5/TnL8y2VVqPjixigp+mcw
cJrkZGH8lFxrlm7gIZ25QT9foMzw3QibVc2MVprSdYZTK9w2U7FvOjRyaGb4fn98/fXejbNZSb1Q
ojHR15k8TS69lX54XOVrl7WQ5qiUdtozCfK5pdsc7iRtaIz8NzGFuI36Mf2gZ+b0OQb+uHabZ78u
8rFdFOa0XlbiZXyLgzdiHIDrqymsgmKp8CugMbh1RsMGVv1++C9P9rsV3TxCehlCzgsYvZ8LuiKi
i7x4klU4c/SDSsqt0rFdn78f8ouHzzTxLFd1feVufSKM9SPvohl1JIaucB/uCxfJf/GQ7HKndkeX
XrIJS1JbP7PQX3zKD6NuPmUMS12Roon2zekyTQzbCgP3+4mtu+9jAEc2ga8JVzRI4yfgGNL0qIaJ
Rsg/I9B6bZCZnbMk+iIW+zjG5iYuBLE1Yf0TNKDoR4PGvkUQTRypCcanAn27mEBJvtL14o+h3RoZ
sjl9/GAgyjXQv9Rbkv/9lL9a1PdT3tzYWbOMiZbwKcXqLVXuLfMMxrl+lM9Lyq2F6QkX1xaYk1Bn
FA2hXexQpcfUjJ28vuxoVBmks3HRunKfhpIo0FDcUvmKm7tFHuWFOgptPIkZ/hlC8zZOsCEoFNrV
TURL0BoYqvQtlKzKlYVKc1NBfJhpj/5+Qb+csATtClMKbAy3aeOYtZWR0idiFxxCWHH2pB/ltjl2
anJmt341koGplqwCjHMUt/PlQdCHgRpyIFuNHRrkwyJt2a1O5wHNAtmZhPir4dClFSlHrS6dW3xX
mzFMVRS+ZFC/QYFFXgiGtPJHiqsz8/qM//C34+apkkexbbbcBzrdJPpj6Tg1GwajUVwpNHeyoisM
+uyYZnQ9OAOlfTk1bTWDFclWsCljZ7173wWRBqKugqKfBDoqLn31EBThcDMpo/rbKIvd9zvky+vT
pDjF3CyAhe1zLk15ZyoteeKqUK9EXvMw3CgnwHI7Q4kSeQak/uArnosBvzrq74dd//u7WcZ9UwWz
gMqYpSIeNu+TVD6zRb66P3kZ+HqYFFsQ5T+O0AqZGuoW61gVCOlqZn7Iq+pemZPHMyu4ohPbo/5+
oPWDvpuKXnHTQEknl8zDyyKkoGjmkmqr3XzJM+iNAG20u7eXTZ37Cp1C3w//1UJiVQtljBvN+qRk
DI2qyXG4Qc+w7g/mqN/A7j3n7PLlJnk/yOZrWZUSLln9b5MMSF+3/4+0M9uNW0uy9qsUzj27OQ+N
rr4gc1Jqli15uCF0LJnzPPPp/4+u6t+ZTEKsOg3UAcqQreCeYseOWLGWEx2pQQvb1kltYopDfsxv
V3HZv94g84k9tTpbQQA+vttMExvfFC/BodhGd2hm++TXre2U2xaO1h62Okehte1fS7EvxDMot/+e
3NnSWiUMwWHJF6j7EW4Oy6me1G0L2de7RlMxaX6IkzK7voOEbQqupjR/7Az7/Fa/lm+Ex+Jz/31d
xnBtxWchXpVprduPcFr65XjlD+OxLtuVQHUhijwb9yyOaxMFzKrejLbUQsQH/2upXjfwman0ukdc
Jx9v4SWPN4kgUBKkdEAt/vwAGRlNwWYVwDunJV90HbRVEu0986dbdj8+trQU8tNdQK0Ch6BQgZxF
GHI1uNaY/lrQ4m6qTe2SfbOrX/I75YVWaCe6X4MLLm6hE4uzo9N6QBDIrU9PxPYmgVu8mVRMV58W
S1mKs5HNDksz0JPZTQ7VvdWP0XVwtLbylfIofy3t2olvSZP8H6dydjbaMQyqeJrKindoA/gWjHHk
0FSzV161ZxdaPmetb2LpMibTJP3SEYU4fXY1eg3tC92U08x9Yetlz20QPmrpS5jI1x69G8GaOvPi
STuxNwuPE68lPqMJ0R5lAd4Vz732I/iLPp7IC3glD3pW7veoZnsyT8cxaaYd0u4KUCi+ox9107F+
aGAN/U2xab6699bPWreNY/dVeEzeqJ/u1u7jxTN48hGzbaoE41BHPR/hD9pBr/2NP1zBZ1cYKyqo
y1fJiaHZPoVClQgnw7VM8cYIfKmXf6m/wm81OdDwe/zs36691qTlU/h7jmeb1dS7TInppkIk0P0O
xfE+OoxXQBNht9tChHqj3GY30k/hCPuSt7HePl7haUgX99jJkGcOGyoIrZBoTYdTqoMouTBsr2va
vdpCwvSxpbVVnPltSn1hHxkMsxG+pMatbLQ3UdNuw6Dc/N8MzVx2PWpyl8sMaeLzzOV+OwJjauLv
cff4FwxRf9UklaQX+dfzu6EdI2L6qbzWCu29HAHAj0x4ObXhOa/6Nbn7ZSc6hfkgLkkozNEpo5zJ
JnXkKYnu8Tp8qpzMUa/gH+02YNifg9Vjt3wcTizOVgwIQa/itwcOvxwdxG2FYB05xPv4TiafLW6U
Z3+7dtYvEOy/PM6J0dnqMf4gkWKMRkHyHRAoNHchfUG8iLdZFdPlW75D1/dV0CkQjeNKXL64R38b
12fFPqUKLBhIMO5VpdPw8g5GSN2Fe2Ft6/wqtFycuxNL871Tx01ptdPcqtvyKt21h+CG5uC7SV8k
v8tfAEuQ4A6fyzUA4+K9cWJ4dm/4Y9oNVoLhPpgowR5bOLg+PhaLLgX9kqk4C9bNmN0ZGp2+aZL6
3IRJ+Wh53aFx30fBWrGytDuRSKNEQBIDAOg8XIqjMW3p6oOUbQNhPczF0T7kknfBTxWqAz0zjIMZ
SN21Vo6FPUKTGNk8iloUS+fdi73ojySDpgmMMtrM402R3rven+ZqM9jyCEH5kz+0AL3NX9vo4IIn
CrE0ZfAhZH32Hm3Bqe1vKV17k2TsKjxscWwnFmebw/WrmObmGNeJ8kiKLpJWkEWQIBSH4/LjXbKU
3yNP/3t0s20SeOjK8CZsbQ2lZ3vcqFskFw7ll+Ehuuk21k8iiQ0U9Gtl9IXdOZUH6MDHh1oXebax
LY2uigDNwEgE4UUHofH16H36eHC/MhOz401zJ7BIigWaREH9/GoYetXXtMmKARpC3uRQsm7UbtPu
4Oo6GoCiwvxe1XaTEnCyLzbjzww9DpSMnPZn/eLRvoxaAGSXd/Fr0xIjR7vU+feB0zyjfn/iHNhQ
RkmdNjQL0Gf4p9g+RjEsfLq5EdvnMf3z4+mQpn3zwXTMsQs5FT0jncR/5H1wN/WpGNuERYZTHXDI
2sAWV/hkYLNNXEkhrw0AKTZOw7UjiyggrOht1bRvHw9rzdBsB5eKVJSpBDuQlmqflSY5Kq1iV8lK
VLpsZbrzGdMlcnEEgBIHJVaaCN500S7F3ilgz/54LEsJDbbDbzOzy94K4kzxYmYt+CmjgeJt4ROO
o5tBeNB/aodpk5I7rY1NTPgPe/bghPJRzBBnj4/N4eNvWbiizj5ldnhgBIvQBORTCkQC/OzdGl4/
NrAypXNh7DSQzBgwBmIGdWnLLdFhBz+sHv/78SEXE4EhNWyyB7/8+0nyzexoptVzkGUQENG+PuwK
WMFbPd5YkEl8PKJpSi4O2ImpybGfmEJpS00EK5HhqD8O6dEXb7qov9J6OqfDeyW/Hcq1JplpP3xk
cfZwgIF+0JuCxEhHAVQVq20NK5AWVbsWjsRChopNWtkWi6t2MsbZDi0A9fZty3SKHheSJBwC2rbi
tXEtbr4TK7PN58sGwNqEcWUZHeBBEnzx+2yldWop1QO20ZKhcOEyov30fLnyuEnzLAxg/0afVLCB
5kYP/o57wCGUfx+M4zpkbtEHn9qcbRHPlNMmkHk/lGCsxk288bb6VbUT9vG2Oygr+3EpjD8b4Wx7
jOjFybKBNbKTNxUIAKp1uwm076+4x4V04Jmh+a6AIrKJRAyNfgeZpjc+9Q1tppGE9OooCge5ENaa
56fYfL71T2dytkUMCTodM4CoTUM2x2/Sm3IEX+3diPDtdsh2Q8ENU3krjdTSjJVDsBg2AXrUNbj0
VEBTs0snra02EKdHGV0XL22AkMmBDgIqyuSaH5vEofuTdiv6V1YxK8u79sT0dHROnIwZGzWcfJNp
NFnsHlxT4qTX8r1ua0cY1B6Nh7Vu08UQ+HS0s4OSSpkVxhpTLUKjrG7Rh7ohDN7KEE9CWQ2qJbC1
FyhRvnVrQI8lP3BqeXZcUrPsoGKD5Xz0tG9p0F6N4mp1ZnHvQolBEKxZGmt6PqGq0oHeTqbs2ld0
SoqXiEc9fUhbpKpUfMG4rR8ByG3XO12W51UDAWjRkTB5oXPLgoQ4YEKTF5az1/oN2Q+AY+VW+y4d
tWN4He3iW3HN6S0eG3ofSJgQd7N3z23qo1y1isr2Ca+a13wH3TZwlvFlQgivQsimU3BxRE9szbyC
K1dxoAc8DsUjGlwQR/9D/Xl0tJ90uHyBL9b5+AJePhwGfYHwTPDonRdjk1IMYtlgdP09gdEWOMIj
4pgPk08PD+E23a9hnZYd+onF2Q61IrOkZYowSTDSzyUcuAPU8JZ0HHVoJuN9Cf2V1bwW0gCtsnWw
qvuVEU+//3KOf494tp6JAkuUNY243Azb5il7bO+jbbjTN0g6bKQX6Tb+nj+v5oeWV/a31dnK6lkM
Z9DU9NDvwgf0IG2ILuGt2WqQw6yT9awu6+ygDGFF0x7kubzB+417hGRySswKTu9ITvc5QYLjuIYd
XVvYOT2KSiOwj1ggr/CG4bmIgeiod2a3vbkTxTu//2YYX2MEECWSKpHVrezkaQIvltWEUpYeD/qs
tZlTgr7NDUuPCYYJ9igDm3UDgOD5MZQ/J3LqaMMKD8fyjWaqmCSROuWNzv2CJNZakUxJN5EX75sP
ZcleObib7pt/p3+FCJwnxra+i3arGLvlkf42PHsodqYaiGGO4QC5qcbOr/KdtzXf6mN/dG96B2bC
7cQZMRyqg/68cngWt/HJoKefn9ylWHXrKsB2DR/SpN0t0PrErppQYe179cXff2xw8bCe2Jvd3a1f
yQLqczhfC+Vg9XNrfh6QgzZWV3NtYLPtU5SS5UHtAyjlFs0MZdfso2fw9I7x6D1kD+tX2doizrwg
NRtfi1PsVeWTGtfwkSPJZBTbUB32HWzonRutxLZrUznze7DZu17WaJ0t+PQpl4LdQ9Hextm+zPqV
s7h8T58s28zbCQXE1cOUAlT30zYJv06+BxEZO7+bMvAl7XLy08c75YKdiQw8Lb2/j8XM5bWREuhG
ThKw3ki7/EE5IPYg3o9HHRy0O2w+tjZN1qW3AS4FD9zUDDI7/EOt1pY/Hf6GoKcxvqQJjFBGYpe0
3ybtCsZuqYZiwRFAby/YRRrmZktHaUEUmykEQc5i29+0V1OvEq8gwJjGi8w5/3hw016fD07ldcfT
ny5o+rDOD3nUg/WDKZScSuS1mxjm6F0ZquZ1Knf6p49N/XoyntuyJiAYKDCR/9R51r2KAjOy9Kbn
NpZ2nXmNRE5LeP4mojODbsQWjvQp1zh1PljxgW9C0C5BLKvCIzgVTFHI2K5Xcy5ngK+yFO0X9I6u
35mbGwskjBOT+N2NCOF36s/iacrypl/kH7K3T1+lLXydq332S1ZJz9Pt+YukZB5XZ9mkad6H8JQL
KGPmpS9u8oSOY7jR65UTugB5/zU8GP0mdCG/93yNUzmKwwamBJ7y/ucYIPNX99m6r+mqzhypeTA3
VCZ2g7BpK2rk9V292rV++VDhAyy6mhVAB/IFSE6Wu8CALIIHcBVuo+GIbsDKGV3wQmBSyVPAhqKb
JqQU52MUpLarhtYDrPzdsmw0ecqH6Ho8iA/uJ1KAkFlHb8APjuqKJ7p07Wdm5xnqPsihwwvIfPbl
16h6ESr1zgpqkvZPXvClW33xLfl1Ax4wempletPmgNRJyyPMIzI/g9TdoCmwraXkl2RXDWfpx6d1
MayEcRL6MUpIlz2TfdOiLTvBxyYGPDFz4k/Wk7eHLZniX3jtb1F8K7KVZbycThiVFNEACgt+ExKK
81Us4UELdAmRwij5qZcPBWpYUfqMpMVGguIcMti1QS49+EA40tqmqQpdwzP3l6uCGUNdOl1e3iE7
ThCc6TmrHv6F7NaiLRiBCB8NZnTuaFJfkVJziuXCq+Qp2bpXP5pN/FRONdSVSOrSudAcaNIDogG7
xcfMprG1ABeVrJ8dtCixoe7XG5qDavKKY1m4hilvijgwMi70XM8dupwagxhPjgVwVmDD0ni0HA8x
GWCF/lZZ6464vIexBjsJUBBRpetqtlZZKg2KXDAqE31a3li2L/wZygrMl8FmXOPzWLiHsQb1HP6S
jlOoZ863IuT0bVWP+pQdVHZW5Jiq7e8sAFriRkf2CcDoakfegpuUqW7gUUwYXy9aMUoYogN9wmeF
iCR75iHo9JX9frkxiC1kNjzkwLoOaPB8UBWaJGMUUFEUc+EIev5JD8ar0UqfV3zHkh19Ap1AOADQ
bO6nrFL4J/R0is98oJ7ttfyttm30H+nGEzb4y7XdsTR5tMXCbqBZjG5+ujpPHVJ0Vga7Qy5Yl9Dz
XYmpF7YfiXVDZ/PpMltjNndpPmgo5qAHmnnJTdu2yB0niJIO2wxBCiXXV1K4i+M5MTf9/OT11cB9
bekF1EKK+tMafhb9KgHHJfAa2NyJhZmXyDSpydOJvIjK+WMmH5Imv55UyOIaCrHIPYopcPbyE8Ki
f2F3nBqevYdkpW4qJcRw50i7gdYmmR0S7aeXJXh55QXJaijA1/GPC1fa+YhnsXUul4OUpBieMiUp
nCK7EdH5iY2UdJCIaqe1XT/Va/tm9j6qgM+brkukp9E9YlSeU5nNTYv2a6V1jmykK0d8ITXDINVp
l6oK/eHzs1cKhu/BrjTN7oQQrBzEmSMYwC2qKINor6YoLmOSc3vy+UbVx7E3Co+oHqJV9ShPMsWj
fizN3Y8pAeWhLmH72U1uQKz2FzJt57bnZxLCfqjlsT3xRksVCrFOsJ3i2X4Llb8Bxv6vZFHPbc4O
phqbldAbzG+7U3YlOnzmQ6lfSb96jaXtaD4E+iu7aO2uXfQHJ8s6O61GP3YF4hSTWXdvKjuXYUIz
NR0aJGzRNey/t3Dn7FfO6mXQcj7a2VlNyzx3a5PRxlfBAVFBbwuw76rY9e/rmczFnUTcR7JfMmSY
Bs53UqhKtSyToUBvTg42EUpxjW2Zlbyviya+8VqUvT4e3YJBBVo5Qj8JKqCLo1I3oV9IIoD8aNSc
0MqvEAKzO+87cedKCXBh9bDEseShrfC/medBOCNxI5mEQaeWyIRqsbq34HRauaLkab/PX9g8D8ga
0LB2ienxlZ6O7alm8o+G6vzev0cx/IDGFoKWyVf/TtxEG2EDqSfqoAeo5e61zwg8//tJBZ7UEEtP
/JTkMeY4UKXRhkpBdRF6iMxEGSl51iX/GZjcGlJqwbeeGZr5VloDOr9GswsOQvMrinN27Yefxvo1
yb9Za00dCzHN6QtzDhDS28EbyinA8AtSETTNVDSnwyi55r8XrmWgXywgby5Dvmzn4JC30pRukvcT
83yyr3bF1VSBWlulpT1poR/yK6lNF+DsuGlJFStliUdxTRNQBmKQirX5+IAtzdmJiXmZAEksvdNF
TFgCkrrRLRGNDTPO7mMrKwOZJ+g6VNwao+YW8E1A21K+bzRhLWZZWpXTkcxuOY+YOi5bRoIU2V5t
2u+jmN7Dh7TPK31nRlzrel39MLr8qs6zFeNLburU9uyWGxu9bCy0VpAYOEbAqwSldEqCpFRpV2Zy
MY1iwT/2K9dJ++TMT5VFWhY1tLWQr2gx0ZnqJAfpWnA6Mp8/9B/V5+Le21mf/8r6/TY6O8V6qaVC
mHDHuL2F5vIBBpjDxxYWCjgWOQxYpugI/ZWEPL9amk7rEwOdSVt8rDfK1/ihQnjMLn1oIW3zLbrp
tyn9BSi2SM4qycvC9jyzPds6DW3gY59OthHlSftXdJ9W7rGlZTszMdshMrCqss0wMYEX+01R7yaO
fctxP/U/TUCbj4AYP621Zi1syzOj07hPXihS4wuSnkw92ugr+SoFqupJr1CcE58+Xr3FCcQV8rqD
I+ziXSwHLiqHJtcJAoqbTr8BNrvmdBccFdfmbxPTWE/GguYuDFoaJiY+l/QhuPZ/xDt3kx663bBJ
fkjv3fVq8Lo2rNlZizQURyo/4v2lfUXh77X2yvdekG+HMbsedBA7FNp8aPKV6q7P0n2mP3dyiYq5
sP0r0wsxj86T4TIpkCBvNPQZYzerN4srOvO/fWxgukhmUQmT+9vAbKMI9Zi3+oABCS0vmJDtqO3R
2g6uMhGGyRrl3vqnqa4Bc5amF1WxCZQKTRh14vMldaM6juoGmb3O5/ZE2dpdzTlc7JqJCosylALb
8pSSmpnI/Soy2xxy4syFwL+j3436kPfnqKX+yga9GAyWSOhphKoq3ebyzFKDuCEVxBrR7CZB8lHO
ES53zc8fr9MlIg6uA7I2BGwwA0CWN3MjhuWmg25mVJ4i9VOoCY5c/GxFOXd0hL37Ttl2QwdShSeO
r2xWbE+/+2yTYJtMM2kpaKJEfR6NSLmRIsCK5nqn7tSjuqXMvSmHTffDtEs7PXq77MvHFqdbZWYQ
YCPcbpoyQRznBkUPiTMvLDTbD18D7bsh3Bb+++AZk9KjXZiPH1u7OAPYMDVovihPQAM+z7ypatnn
XRZBDYKg3i7wOjrck2qT6u5z4xnHtEVLcwhyUIEa4eXHti/b90BxQi4GAZdBiuwirT6OyBIm+WDa
ldA9SIiO9aO/M8zmkMTeUWhlhks+Xze2RlTvU7hnSOxuFPepNrK9kSOkXpWboG63iXctuWtb+yKG
//VxZOzoGpto0mebThhMzauS3rQLX/GPYp6jfiGgBF2opbsze6/dS7rRrPi8i7tLRh8CfrkpCwoH
xnzxIyUcPVWLyIzU2ZssukeU9Y69hwJvH1uF8/H8X7iJyRjZcd3UePxdpOPzUslb0r6GXTZSulMr
0UXnNFIOCdquK0d4YTLR+ZjmUlF4T81Ru6aZeBHEnSi4Fn7vH2EkHbaBGse+beVtUzuNTosenfiq
uQa1kufHCaysisgJygcyDcZzy22I2nQODw6qG+FoPVtRbmVXcDcUTxZ8W/AZW8LYopKctDmanAmQ
r6pH4cIJdCHKHW3UMkjqobcWV0Lay4OH8jiNSVNlkOBvXgtR4yEReOfDMS4HBHd+TNJ2GI5K4ap2
KrS70IdpGtncfdat0WhfmoZ0lHKPrrFDcahTbuUkqKCEUflyDyxUSvz7TvdRGdCKm1TWdq0Yfimy
4nooynvwo58+3m+X0S61bPow4HVBVEq5IMlsdE32USjU7LQIKZ8jIaorT1rX38VuuTEb0SlD67qp
4Jcx3lKz+twmTH5QFiia9g8Np0IyVrLZl+dtIkOFCYIzwIt9DqykWhWLJk328P9+b0nQKyrUhl7s
wJu74uwubkrOGr1vEvmHidRqfrLHHtx62pXIl0ZfcuFrkH79eHIvf//ECsp1r9BSO9VRzhdVUfyo
VdyEJlNXkThKhdI0V5IU/gUXdW5oOnAnu2eEX9iVBt4nxIRAX5vhrum7ZznTwq3Siyv+8NJFYQw5
NxYJoC/rdG6si4a4TZEXtRNJi69HSXcfaohh9kaqrtV4L7PwyFNClc+FRJKaXNVsBhu/tIagI+sW
XnUvEih/uvSf3c0Pba9stSllu8Z7cOkU0cGALgoyKX3icZrdMKXW5ojk5rIt6KpT1Llvq72f2fAM
X6kCNWzV7dfYcy4xF3gdOgcRPoK+5pL4ms7ZSaAzUezWoqNGFdqDlkifXY6lE+SBaCsQudpcc06h
Ujql9+wejNGxC9GHyrNj6lsbqTD0vR8Z39tAcPzY+2pEwEfbsV95G18ezfMvneKkk31W61YYaCNf
Wsmfw1hF4lUjq4E8Va0HK7542RSvDKp0hF3qtAtPTCGBjG5NiClPFvptH457zUWiZFLeHrRiBbR5
Ed/9WgE4n2mTQqZkHnElepIi6ErElQfWnZa3DznlXloe8hst1d999O6SqlxDby2OECyVBIUX79X5
VmsDU6f7lhEaQ44WRF1s1bTc+B7QmnyUr/wiggPafwojdZurSFHHSbpVCQXaNHVakadQa+n3glqv
xLqXx9vQIAsmrlbwXJy584kX/LpKZOTE7bSlMckTBeTG3XyX+HK1MuuXqQimfZIxRHMJXBlZl3NT
ZgNHEwLTir3h3sPMUdn0h8BpNt6b6G9rR7Tz99UqxeL4ToxOy3KysYpgYBPFGHW/S1/lo7JLebwH
jmjZ4Z3kQEe5TiN0WWebDXQ2p9oYZ0EvY1OzqQW/kAPxthFs0Oquqv8FnNrSzpqaElAohfDkIjNn
aL1m9dPOEiv5SfXSwinSPtiYSa84Q64Pu4+vuctmy2l4J/ZmbqEbvAKBBOxVW/9hwrKPuyx33P6g
BNt4N3FX0TXg2X22taKNBrvK6EjjNn38F4Azl1fu9Cm0LHCgJvzHbEtJgSnldYAayVTVqCfWofYw
AUzb1+aheIgfhVWtvDWLs/2kt4lcdzEWxRwMOxdGUf77Mdr5oGbbJw4rT6gTTEjCzryjxnWVkxjZ
ThMLu7k2OPXPcVvs/OO/X7D9tbK/p3O2soGcN2VZYHnq7PPdfVk/TnYDRzoqPxVllyvH2hns9Hnt
Hl6b1VmQIava0MouHllNkIUHHEfCZPPxtl0yAfEfLP/iFMXMUSBulXehMDmCJmh9O/X7yPYlsdx+
bGXx7J+amT7jxN/ERSQq2XQYqdE8TrgnfdMfgRCAdl5XKpl2wlmigvWayAUJJ+mno6p/bswn0VqN
I9PmNdBhdBq6kbf56Nuae6OP2koL1JInPTU2G5lYtJoaDRjL2tcInoPgfZL4Wpm+i6uZHDwpJjI+
EwXyRT4CMHVqND7NzeXXZps9+YhwbqbuJ+FFy53hDS4hGspcR3qT/1y7Ki7c6C/TOFEVbUgAuLPJ
NJpYQ1kR0x0v8rs6jNwfrtYrVxqs2kdvNFxzZbAXEzozOJtQgP9BL3hxZ2cFjXpjXX6uxhphaS0K
154+l3i8ma2Zo6y5IXJYyeljVb8OwktuvoQpgj7CTa9sTbWyB7imoyrbKd23j1f0YovODM/8JTQN
rhZ7BO+DnB/bGjoDV5LDDTr0d0lAq+sIy/fKvC4upMwbhFTDBGWbjTVNo74TdfKRQ6PKwZVWl54j
mEZZ7aKETJwNqWWQOR8Pc9HmxMoBAExFD2HmwDyEoQZSZVyGll4/WpJQ3I1V197mplg5GuJJaydl
cV4NiRZIYrdJLu386MdjMOhZRWmqCyPhIAIf/ZQkrvhjQHbm3vcbalWCma5RDF04UVYTTT94QXiq
w588OyON2kXoUXNGJLO+FpCBL7y1noppps58GiZIg9LdCSqc3MjsDTjlsOq2ggCr7HUniJTnXnQf
jXFSUlW0Z7lpkWDy643eJZ8/XsKF40hmgDy6Cj4CJaTZEoLWHqwMPjPbVITxObD85NpTmzx0lDz2
/JX9sjCRpMQIWkANTq+B2SjDphhiUwau7ZXjbRZEd3W/VtlccKUqia2Joxj6xwtEJ1oZzHHGWyOt
9LxxPClMbKVrYRPNAYcFMIkDRy/NrL2X0hxw38ezeXkR6kT4Uw4ddD+AhfmJKALOOjk9IDs745O7
J+y+8r+otrVv9+twr6XpJHUw8fHw3yUvzigHQh/g0SA1eW275B4MzKomwbS5ZzuTzhtlYkfmAX8h
1qkD1OmCGAjNP+Bzkl042W2CZrFBeiJ/Xo3Gpj0wt0ddmpILsNXLivvguggDUXeBRb/dwNK6V+6s
x0nbcT2QWJg/sOec7Enkjeai2bmWPCWSUgtTrS8ehlh5M0Phz483xMK5PjMxfcJJYATPyCAMCQx6
bZv5u5Sum4Mf1J+9bnwK2vLPzjL3ZlXdF379D4DVf/7o/8t7zx7+MWPV//w3f/6R5UMZeLxZz//4
P7fBjzKrsp/1f0//7P//tdnfus/f0091+f5e377m87959g/5/f+0v3mtX8/+sE3roB4em/dyeHqv
mrj+ZYQvnf7mv/rDv73/+i2fh/z973/8yJq0nn6bF2TpH//80dXb3/+QDHzYf57+/n/+8O414d/d
Bd57Gbxe/Iv316rmH6v/odN/zbxTDKBMqbPm3fv0E5kf0GphIecDxsii9euPv6VZWfv8I+U/qMVM
9BGA7KEuM7gHq6yZfqT+BxpyqNnSxjDVPnni//G/X3a2Rr/X7G9pkzxkQVpXf//j/HozqElZuAy6
0eHSIUc2r2rGae9HA75X7AXyZEBEGxjBLVdu7EBuaRJTxJUqxbn3/1+DnACY5adi9+w+LeS2cYuI
lkg1PA6yf20pqd20+u5kAf45zNNhqdaFHVLQ9LBQ0cQ3TrnO82OgRb6SJgiIpG7TR/1eTy2N3qrK
N6QrCMzG4SHoleTFFes0u7GCSKCHuvNdKDz9zrWuCZn7lzLXU91J1UZ9pMQg1PfUs3rtEIh15ya2
NA5jd/RKLRw0p4sDD5mqyhtdcSPmo/hmGF2abOGV8rMrY1BDDYU6udRvXX6f6AxeJmR2GluNbquZ
7KM5VIp0NpM133lhkqFuFcaHZtRqm7v0LayLb0nXND7ZHL3PndFQk/hP083Dh9ILCumReCGI7cal
d/cQ1VH3kxpkZH7rIsN/tTqRCptlNFoO75Qafy3kUAHf0NWhfO1bwssQq8XW7CRjQ9HUtBtkuV9y
rwzyPQ+EsUQUMh5fs0yzgm9R2MeBAD69yQZnkGMroW5aeNF1n2SutlE9BbHGUZayYa9G0oORu0Xr
KGOoA+rIx07eKmiND04zEIofs0QIm10c0PcmiZW+t8SfiDH17btS9EO8R9Otiq+zQUkL0LVGgIx9
5rtt5qSeaza7wjJ9mhatNtdgdGnSTr0W5UaGfsr0ZPG+CKriT5re8gApblnUH5VGqq4KN0mHb5Ff
lslhjHLKm1bWyd6LIaWyejOaRRHAzlL26p0mi/x2OhOLfSmUIq9KOekfRl+LWgQ5NCLqwFMAog1x
mbwJUjZS2WoEiP7Gro8cPdbzH7pvlZ8FD/FDffRiiOiLpDp6XRHAGBSb5bsfUgt0Eq8U/6ylfmem
ka/zPSzc3sw7MpGeYbrVZjT9sLhq8syP7FGUMsMRfSkyHHS70vA6r8adpwqeQDEvEQU7Ejoh2kdD
FfjIp2pwcWmWITqB6Yq6w/3XyE+KVDfxRixdJNWCTtUTpw/csv4Covo2l3ytupPaQX5IrTgwbkJo
a+5VI6/HvSXEondnxY33yTVrRXvph1CXnGLw+nbrDnl0I6Zim/9wlY5eykHyzK+yWFXyps0hWb3y
20wurrt6iI2HOHR9lbpY7SrbTAtC8bPcpZn/lie01W1NemNcp7ZGF5LkABb1QxFFNa12UdUH6Dxl
SjT+qEezF3e9GgPEsGI5hm5mbL81RmW9CZEwlLsw1UDRlT658E2j9mVhp+HUTTQaxlMdu+6fqlhC
rhQ1OG/bC8zaf27QSsgPkRC330zLFT61JRKldKVmVcsaqtanPCOTb/utVgEjqKQ62sR9ngZXFFIL
YROjzXYrRKHVHes+ABMb9NR69rpZatJ1U4u+fNe07qZnlgpnoCwheY7iFWO/KZsiLp3R7Zq9UZSt
8rNp/anVuSy9p8YMrQj2LNxZTF0wHETtynJjgUpeJLXSQ0Snj3aTNWrtOv0YmOJtqRtx6lSlIQcO
4HzZt03REyM7q6xOOEx4a4n3k+mBlRkH0d83TQkzR+5K8ZYsX/BGldlTrqqwlJq3oElcvqytoYIC
c39UuTFyJw+ylgijac1ka2quLqZXakc3RUf/ZSSKz2KRjdGxoAfuLhIE744mxrh9ULX8rdKCXdZI
9zX6K2SJSBFlg+h+b41IzHcNvIvv3ZDRCBKFfvOWZH0i2WnfZ69t2Pk/g5LghtizUmrbpZ3/lRZN
C7/XK17o+LVQoo/sxcPWdfX+U6638rcxyWgNlVvL/Tb2HkRunTFtIV3JrM963Gp3XW0Ij5XktT/N
WmyNayXQjMwulMIEUReZrmArrSXSE0N1GUbwkZrSoQ3i72os5sfUFabUazOYHvnJUSyuKoAewQ1K
rxD+ojqT084Ij1dgt1ok3gpDJuh7bczxr0pXJT9d2fD6XZ1pTU0FyhMi5SpOW7m4ipQkMz63eVoo
r5UrmFFwsIwwCDN0bqrBb+w4SrTme191cr6ho5srKBdKPXxGdjU3+f+699Xiwsm3TYT3AnzeSNIn
oy7zsrvS4iqDji2A3MNzzAyt0W3aCd1BDkhefMn6SDB2VSL2cL5SHIokWsAHGDHh4KwFw0XsPR1V
SGRMKif9Vh/rns6WWkZGwB+rFnJq3Q/cbVfqQnFow0iygWwHNXkzK25VkyQM8I50V2paK74XUaGX
PKDBB+1VJELHnZ5UYBMcpYnb/FGJojA/GO0gQV9j6MIu0DtTPlhxXijXipyHiUMWB02TdpSaqHD4
2tC6SjnEhV1L8cj58v06yq4TboweghIcVLzz+96trurSEpp7qVF5wSdG1Ew9BwEvLRswULNpZakJ
OyfpPUV9a3oc5tGL2iF6MITGNJ2y0et+n1ZFLR7dfOA4i0M/Goe4EAp9V4gjQtVxOGYKILtebK81
XwloOxJ5P+29woCP2QoCrX82AR0Bz9eoyxVQgBaF8c3qJOlr7wq9vDf0MVTtUPSR3c6bwSiurTwL
Pg2yViXctWFubLNI9ttD7hdWFtt6GRb1fa0FsnRdu4F2qHVPCO98N8y7q3L8f+x9R5PkOJrlf9k7
xqhJXClchKBHZMiMCy0zshLUJAgq8NfPY1T1lDvd12k5e12z7ktXdcABQnziCWiW+7rTUxnA47jU
vL7S+3rTtkWyiYXad58VtgzEIhQ8XG9pmTc/obFQj9tKUZJuU+ZK8ls2sdZstAqaxGEneTbcGFOa
863C7cjyc9baRdDCg/QNBoBJd4v/OU7vrboaflhWC7mhROIi2SZQlQIyFh1ht0x0bfwRmzTf8iEq
v2dD0ia7zu4SpF9mqtzAnA2uTWU3okdrlqpQb3ksE9CqJid7twE/2FsGOuSB2WIJvrEWVva0anWK
eyWWJYQpuoZ1+06qlt/Vjpw+iNHbc6BVtqVX2aQvtxneBdDPGJV5mAqb3qqkTfwqd7h2m1GI93p4
A+EP0OYmH32JxC7xuONgZydKHCl7tNvI4+hQEm9kNhgvQJXJV8F68B9qCcAslGMcwH+kmqZ8kxtT
rrqTgGIlq5OcBmo+ZOVDhvCETEHeGj20dO38MVHUHo5AneD3jVpaI2Q9GiMXkzcQoZMIGMB6TC1P
K2OVcb/nABSBx9zEdQIpWGEogHqqsuBuRKYUZ10wI3u32FhGG0PJEgO8idHOnc4dIxM4TTfXYnXA
QbeL5K4148zMfeikZFARXQnMT3JthP9oBCMiB7/IRknmjMKJj5tWJm6BZswgfkdGNGW1tZLdoghr
w8EbpTpHBdbPBMlRWWbZ2WjYo1UyL92zXTy4KXplwpc+XiztPz6U/z/r/T8qRdL5f896t11S/vWD
IMwRP7qT3Hf+//2d+xLksRZyXrjWoj4FHcIZn/t38gtg+n8hgdWwB1B+/Mpk/81+kRkj5wVUSdFB
jgFy73+yX1X5L2B/gJE2Z4YxSkTan2S/p0kiUFnoZQJ7agGsBMUKgBFPk0SnNzQ1Tar7oa+2KpNe
NRhIhJKVEt3FUTAMHjE0XM4UDtSsYYiZUcJSLTja6vluGPUPQ1vLebHKR2WsfyaDQjxc0lBdPYOc
Sdz9RVNU96I1fsJp6Zl15vdoAJ2udcT26EtfSK8BoLkwmAXzdVQ0TEuFqOrpymW8BXiVVPeS9zX8
g4y+Z5AbIO27amRkI0yTbEy9hQojj5W9nMoywH3V7RwlGmLPMHo4OMKzDtZxtZK9aW2sPFaxjuyF
JtRtCaIBh8BV2iFl5CqkbvaOLBwE/jU8gXnLFb+YVOdFzVT2rHQNfYxY2u3UzACQ3Ym+9UCDDh9V
ZjioIMqptX86ElddBckfZ1fyfmB+QW14GE9RTLt9QdmUbSHYV7RvLc0jckOyqH5v0YNo3NiocXer
Bi8U3Ku1/Ok0kaa6Vk+HD4Mkzk7TOQS5qdKOXgcM+ugB/wS7ajiESAB4VMp/t7iVIbI3ajeF3shb
NKOSjaxjqGgPdbvNoVYbpnkFEJYtGi9qa/puxkruO2zI3ozRqT7JoJeejAxoBEdghOPANLcQho09
orV4b3npZO7YG/GdwgTdWwrrGpdrghwGNsbvqMJobyWtGwsrayDt6gtRDp6ZVXQXWSpNfFQwLNvL
ClF7LdxbBqs2v41trseASo/Re0Ogr1bpRfcNGXyqeD2yT9/ueQmwR9b2+0Rmzq1SgrTkqklCHfwR
MYQOKiK7hBaIttM6t16dqZpaZLs1nEpyNtwhddQ2GiH81qpq63cPYOQdbdrpXWit5etjlecbVKCH
gyYVJSC9WT1alWWGuRA5KgHDqLowFMvCLLH0cKjVWvGcOioaNxuGCbgTpTS9Iukn0J9TCjw5HfVu
19sdb7HIEM3IIs9OUnQGLOBCjdIb85jKGOX7QvBNZ9gEuYAu+KGq+s68o3o1AKqcZ31puk0CQTHm
lmgWE88meufsGigWmPeRY6E1NdgKx/ETCCp9WvbOVo8E/nU80G23E3qk/i7TRBn8Vh9G5sIgBN2l
NkJhAEZvBmIdOUR3mT0gOK3LCsc3yrVbqbc1AgMtzp4a3YmyTS8yynwRJ80tzSyE7ej28VcRDWAB
pW3Fn/nUgVXvyBKogoGY90OVYgvLUksSH/+WArT3ZJk8SPI2yVyQfEfLB5SLPqjNRFvUOCyOrwzk
xTbJUJLfGGC0x67tIFtxh4ohGzeJ3PRdHUtvJKrW7ywGl2Yofovk056wZ1Cb6dOHCXvwt449A5V1
qSNvIEYxIiMVBSvdrKxBm0568QiOPgmGTldukIV1TwT1MNeONP6W0x5C/53ZBIUiM5dJGd0WPek2
nZJQX9GKBxZP3T23ukfW19YtHKSa52yw+F6v7ObJaGto1XMJTHtb2TJMpV3+ZGUMV8eoLWDF1ifG
e64U9a3gUfQtiTodnnAoZmmu2TfAnTCDp/y+KEUvvKbPuQXb0Ex76HmeDchkY1CTtEzHzkbN/RON
BPqmQUTnFuUalBUKXrUwlzCLdHYbZg4Y2zkvhaeYDW6KSRh95Q6mno6bnupsAHK7xRybcugxR8f6
1USq/dR2tN3l1kinwNbz4ltSOaMB/rAOaMWA1mXiwv9i2lkDImq3UnrF9DmqTj/KikVGkPNkeBOj
PbxmetXlmzwvWLrBa5fcoHAAfJiI7JuIE/o0ZaL0IyaBH8KV8lw5+fQtFoL6qVNnPxShWo/4PwNX
l2y6oUPqTLQIaSuU7gLW9IM3tBoLy7afatcewZD0bTGa22Sk2i+uqZEXRdwOrdyW+z41DMgKqlXx
YMCAfV9rebGtzQTk9gYFu9JSoA46MgcXZisfcibVfcKg+dZwFh3yeDJ/sd6ocdQnyJKVlv0Od6Tm
JYkqZrjCovzFIDm5cbImu+00hrVnEm1Mo+1qsh8ToTxmnKYHnvPhfcqt7iYiDRRZUA/QZne4QlcC
bYxpHvBOhwCMQqOohImk3X7T6SACUlbDq1Uba5KeF+IEG1ItqMQr6M3iiT59U1WT97nRNWGRFR8q
q+ygtsSN3Zd9cP31/sJd/tvwmiMFkKVwH6GJYCH6Wg40KGNEpSFCBYpsd3qDSozIFXWD1JUouAfH
gaKlP9KHwWnykIEk79Zgz7zVulVsi4KXT5pMV6ET+im/9+tXoRGBuaPdDQLDErYY1QLFsVEJqRJZ
YlOPQx1kYD6VnpHH1Y7ztkVirVtebaJs0YyKHkBszH5Ri1ELh9JQdmNa1+/IhPPvjRaPqlcOptmg
9JVUAZrtOneVsTVv29gCpUp0IkjRi4EnIrDSgVKr1i5LWsdPJo3t46iR9/2U6Bu0EMrEVdCx/qNE
6O9vgBYnmF5A4hpnYMJySBkxKA9zDfVh2vTPZpP9vv6dT5uN/wwBDgLkjPD3z3o7hlkQoakASNTy
Xan7+yZBufP6EKfNxr+HAHkHgj8mgPj6Us/YQNAJUolzb+j977xEWaecZBF0vBO70sLil41V+ao9
JM+K0LX99cEXZLnz0eeI+KjVOZi9ztGDuJ/pHIn1QO3KL8udPkIWtn5n3avC+C1bpeid9vvPR12E
vrCFANolt+8hPvIOrPgYiA+0aVhAv4RZ7deh/ZIZHn5CQUf/fn3Ka2PP//xoxjXCq7wa7Xs1dX4B
kfAThU1IvAyZ3yZjARFye19zsSYydn4vQc0PvX7YTWrKuUDlWLUVYuESXYE0rIR6YHmKaz8bn67P
bW2YOeU4mhvUfeNOtGU4xloAfIjcik6pUD41ypXs5dK5sGARpuhQ1lPRRz0daKy6GgGNfV90n8xO
Xb1+uT6R80QMUBAQYKCxiY4qChGnf1+AH0qGKg/7CE5ktvkAo8mbSEYbGUdrYPdLU5mVJTGOioLH
Uq2vgp9MJVr7fhbfSXYIucCHYZCAM7fxTrZe/1Ju/4xz/rX90VoFABp5OHBfS0pVClyWCgZZqBlo
nsHJQEL9mPGt0FdW8cJ2OBlnsR0MAywV2aIXlQpvjD9QYQji3li5vy4MglLRbCyOR2eGk55+qpg7
TI96PYyRPUzdi2L/NdZrLOhLY0BEBFbfwDOe+xtLpZokU7TQgAqmVYH50uQwG1wxUb44CM6mbaoU
WopLFBCTyGGnsQkFRNwVGNe4ENS7NaNid31rX9hvdNao/WcYc37Dj84oMUoGctoUoph7U0EWqBHV
ykTmw7eITahh2FCJQIhybnrSNyiQJGobiigyXZ3Wj0WeHtjIQ1pa72rar7yRF4fDuUEJaAYMLEuF
Iy/RYRBt2AIT4OaqFmiG2IzWiNii6lCiWCMhX7gbANfSsQ8sCKej7nS6gCW6T+PIutBqxsjrk/aj
5U1yiIlpwRKSrmGxF+Cwr8N6MtziEJn2IBHVGKFdkmbwulb0uzjOhw1KOr3PlEgLmhFqT1FltSDp
WOgZt4DIgEGaaNprl9Txt+v759I2ReCJQiDqRrPcwen0SYoGGJBHYZI0cPjs7ssRY/XGSmBwaZce
jzL/iqNdqjUwOapqHioxEwG6EYk3inoFpX0p+ABv+d+pLIIPCfhOw2IeRsiouRejZn83xYbzyrvS
CVTQuEEmb2E2kwFa7lcRLPISucbpXFB9/v6+892Fijc0F8/QqQmB6P9g6OGsnWruYJocoAsDnJy2
UYMCmvR0v8YgWB1yMW9ilVwrGjPsoRGgec5fqU88ROr7aj+735b3zfbPnL7+mSTYwygIQ5XAURab
xoKNIuGcHYg5+VmXeoO9Foyfb0tgmBEngw8MdiyAUKcbRqeiMuyuPZA4Y65dWo/EqD41K/H/fPcf
ZziLpeugMt/algiJuDHyB6t6TLQ1OOiFABHu4AAhAJk1Kw4sYpuikMCt1MmhIRsdQjc8LZkrHJoC
viz8COVht4/I259PCzc2avjmXONePqK4wEx0NvtQEKBf7EPbgcCS/PpfjIEvhLwQEduZzm1XCNPg
TgPH835TFOjS6qn9QjQYr14fZ0GN/efGPBposdnYUCQVKZVQNm79bHj0jX2AGxGKyiVbvmkyN31Z
e/LmP7l88kzDwuajBnpidPHNJNQpxzwqDo31WcEtlOd/pHz395QQqOHZRmYCFstydw9FJoQqQ0Gr
+yzTt2mrrFy4l161oxGWGtwFgAZg4LchynSo7/E6MGPxAcG9n4xZK/HB+VEFNwY2eUB2OEAuLTe4
AQOdMeIynIzPKf3R1xkoRs/X98DlIdDXADqROmeFiD7jdaqnZgjgwI028i0qhLvWXhP6ujwKejUI
c3SszqLa04N+ncvaDPX6exf/RjVDcZqVGsOlIdDZms0MMI8zKQq00Zhd23WI1jZ3nZTdoGT7XDRr
idvlp/BonMW9lpkg106DEpa6FSjZoyMy9JweSpb7tll5pAW0T0fZbNpe/04LkYW/N/bx/BYHp6MO
mcasCU1AFEGka57NO75tdwJqANvJi3fVpuWuhU7TGvNldeRFHm4RJmqzVTDyhI6+V//K/ch3Sre6
k/ArHe8BL/GgF/VzZcIXP+hRzLGIHhkpUBnNbby90RaFsMPUuiQksOTqA2PDD0C9pC9kc33QS7fT
cZyzCCHTfGgBX+3CrhGuIaEjqKf+/9sIi5PAMtUZzQF1Kp4+9zzgDl050JengHdR09HURoX19Hkn
gPc2ptGGLM8fUbx4HvVohXO9MsJXbfMo4lSImeLVtcNI23KUE+04WvkKl25YqDL9Zwr64ssXJgJR
e4oPQFD2dY34/K80Yl6b/KGLwz9nCmwg1CRnxZQlPjtOWQG8ax/Ge+eG7Kxt/VDczEJQcJ6Dfpfr
3MpVGbaLuxovE8SRUMJAVnT6eSbQZODHkxwcXaTc5WZc7KWlFGEkzTU7sovfCTQZxMqzNeISFQ78
I1VyvUbQHn803H7ljK98qIuTQb1sJjcCWL+siM5QbxYlSPBUYM5t0O5+JVQNrh+Yi2ndTGrCAzjn
rMusVU/L1lRzEbZFPz46cuSJm9OJ5l6s17ACyKX+ohMnDcC07HY2qeKHTCjf6zzLdgOT7UoqdGnK
x79mXvSjzT97rY11VR7KlG+j/JWKz5axlWW9mHYcDzL/iKNBZG5FsTSVsFAjIwnKppA3KHBXd2NL
XrmakO9mWlfQlaDaW6pl6bMoczTvLDkWMA4QtbMbRaLc6qhX3xTQMV4JgeeX5jSEQwLx5YcEVX8N
Mienvy5BSKWoRnuI8ukeGEvNnawG3XGGPm0nbmI1XxHzOV9yFElgLjFHc3AMWt5oKSCRUo+isG5Y
+jECS7lvbaUPGm6shFtfXZfTmYH6eLTV5ovpaN25YZSxlqQH25EsAOc5/xCkY1DXyEpH32daWvn2
wAGImHLMWiXFjQPpMleUFTgekwNvcwkVu3rktcd4hUI1JPu2HKqLwWCN0/0gAPcrTMiO0ZJEQQL8
pMtYK+5HPXF+VlOXPdBWOhQYUQh9SzN27hw2u02QyXwELrcPKJqVAVAS/ROfSKCk1gvqlvVdlFrM
AzpMfZFVbDFUN+iggzjhKPvWUiNowaOc/TOS/eSbdTH410/o+ffBqs3qz/P3ATJ1caXlVODc1kNY
dJ0n8+GxGWofqMfH66NcehTAOYSiGe5pwCUW75qeGoUBCm4o0TCk5V4t1SCC56rTrb3QF6eDkjZA
e4aNnbwItCbwKoGoNkKgHm/HEpZFYGGk4xD8L6ZjzzpBgAeeN5PsdCRGYlYHMCKAMFB8WluwkQDE
nvy6PtClVwDMqf8ZaLGna8g5TVFvhHVcfYNL7qPC6Mr3vzjCPAUVrFMA4BZfRgN6vAS1AiySOw4b
2hRp0fUpXHgCTm6AZcRhm3CwH2KCyk+7V2B2m3nCz57jXeaXXrFyu2lzjHd6CZwOttjOJqDDsJeL
DwAVp0HaEvqmW4n0eUYUBbQAqn3qdTT9pdmZ5ne6FQHqURLyl0aUYlOanQFWi84CJaq0e0Kd5AG5
fNUCg6uk7xSKFAfIAZk3etbyD92QclsadGQrudDlBUOv9euwQMZ2sYcjm4ORQtnBdLuAvM+q3tM2
eVZB86xXXVfPzwvWa2a3oW82N0rmf350aTJtKHTkCAcr3XVpAzjFvSnYyhY7P/ynYyw2cUwmUtOM
HVJyU5PvTTm6Vfp9BjBc32hrU1ks26T3Da9bGvIiqV+nDIKB8G836VaAMbC5PtQFXMI8JQpNUFxm
53BMySZHbaQRwib+bna7RO4YmIDuzr4ZxI9frg/31ec729VHw82H+OgrtWNUDpZKwolSAjx00gED
F+cG2CPjcy36F/BBxCayZBkoDIqciT1AKoYz4pZDkbsjJMfduM2nfZ07aLwNDNiRfEpdFSZ7GzNF
kVLojY1GAmMHo9eSD6HXfNep2gh2BXCMDAhYtwF4zM2dYgpMXlnvGrGGtwikM9dKQRMsBpt7IobW
nORT6Xf2+JIP5XdSgzRhph0cExSz3dgp9ExZ2QnfZqz0FJTjwPUZwJebYjynmgP/j7GvlH0qmvqu
r6Lxu5k4BMJoFuvgKUrYKDw9SvJNShUWSKpDG7h0Vk/g5R377+ddnAoqtKTRGEH2KoP+odxkozf7
vljwITd/lDf1lmzk7Wq9er5qr33lxTmptAIiP9hUyo0oA6dxZQA/Fr+e/GjD7qInsCGmVwArN+wn
/1n+tSoxPV+N14ZfnJ+aplZFdBLODq6oz984fov6fLqrX9Z0Vc7fnNPTs6hJgEM0jXGXHEx4r/DG
hb/N2hV6+S749wMuXjWukX6YoJeZSqpJL61yepPXhXXQmVUFNY30V6H15TcDrA92DyKf2JdtXv0Y
W6fWNgNSult9tPLPmMbZBp+FFys/cF7LK2ttLLqTiRjzjJdY68H4De7aSwUUsgFAqzSbrUGnP875
T9Z7aVyHLl4a2ZoMmfIsVd9Of12/ns4r+fjzFkJvhA/quShvDDR3rZfs0MgIlg2T3fBvXTrWHwXY
+286icW3VCXsBWVMZWUZLz6VSMQdSFHCqRz5xenFCE3YCDcJCeW2C3q6jW7UnePb99YnmFbGqv/p
pWvBxDQRyAL6dRYrmWbBAYeToVS2JUQ98y5sAW0e8ufr63le2QfoDQK5BtS1AZBHL/50ViMnCng+
Q6g/Za/tnbnrd9ynkD8J7BvATPzyfk189rxKeDrisltucBlVQEbd095hn0XbbIkA+dkqW3rTUIHE
I1bVACo6ZGOhXxhIIC4DbZiyDkyuIvldENaxu1aNm8GlZaq+W10crenun90a82+ELiyEWMD/P1Nj
KQChilNzAK23rT/5qHQ7osfa9vraXxpkPizQgYcMAmRhT5e+tVUC0SMeFpLm7yne/rdq4sbKtj3b
R4i0oAwEfgUEpdHt0E8H6Y2BdFajhk4NDHbcRZ0L3NL3NM6+Z0W3MqGzm3AeC9sVFBWIQ+C/p2PB
A1QfpDmG6OiowaCr3C85KFpJrdPNny4dRoIbE9qSkJaB6sPpSFSWYHen5N4o1I2aejnJVga4NBVo
DAHaBeFZdCcXy0YaQxha59wTY/AyyAElhbNjTr0yytnVjAU7HmXeIUexVhIVlhXlTVgm8skusy2U
917TwfhUo+7JdtbmpJ5dnovhFqs2SFBX1KEMieaVe/nD3In72G9vrWeQsrUDgv6HcVs8DbfmQ/J2
/XtduGYwU7DOFGx0QAGXeQZabQ48P+swc6qfUVyBgZcapkcb2BWBNAD+NJSCiny6Myf72a6NR1vv
HnXZBq1afTDcfP7133N+9E5/ziIqAKOpBysI+wfU/70hWjMoFaL8aTkKyw0QzazFDPuCM0SdYQ1M
jYGFGPmjZG+O+emIlWW9dLiBp4N+NUCIoBosPiiK37SPLGCje3sKhNO+yJlCkpvjLava4PqSLcT6
UQOfp4Onb1bqR3F1WVeBlFrS5NLGvQ1HbPNtRkVbRRFQ4XgxQ8PRSF4c4yEb6EZOk18qctP0GnQ4
hy3KTSnEhmNC/UGNdjJOV86RfmlnQ88csi/ASKPbs1gIw4HSyJAUoRVDU3EoWPezxAd9AhyF72Nm
6y70QbKdbYF6TDlItFCNoC8I/Etf61tgnMATDeroLUdthXd2tnNa2MeIMrMODcjJHtKTfmvavXmr
Qv7rQMa6vxvqyNgr6mDuoqiYvg+MMEQCo9yMeY70YkLGroMcfJMiy/FaJ5sKUCuqdhMnqf4ZO7L7
CXZx7yN8pCtfap7sScAHKikKafgPMPPo1S4Wo1cHsEvweDl2Mj2ZnTLu2ppXzKshJFCtJMIXdiDC
IfQOMCTE4JY7UAXRWkttes+swTiMwmi+STOi3/UamhjN5PQr5/bC1IBzQAERGH1wh5YqieBq5yLB
ho/5Yw19nhrCLEqlrsxpbZDFrUxNWLYWbREmWunX4wOAvujer73LF3esCeNxEwUxFEUW0aTVNJWC
BlzYGbT2KrP5bvHir6kzP1Khe5w02xpEsJUTPD9ai40BdBmE3wCFAdZuySXIIF1BeFyHbKy+2+rw
RiEOALrKCzyu/hpltI1pBuNi7RXq1O8Qq3mtqXHD9fHj+s+4tLyoZKD9Dr2g2YRg8eiZURWhLB6a
efMLv4L5cdxom07PVjKR88IJLiwgmm2orUGJDi/56UBF7VjCxJuTQMDM3Iitg+QWBCl/CtKA+WsI
4AtPCgBnc2KhaV/ij6ejZUUsIQ+mhkXV+l0DursMrq/bwkTx6wLGoUYfBT7TaHqeheqkaaAVwcM0
adlPu1Wc98oR0zs4oBB8nQDuCxK9qt9zQ38YLPlTs3r1pRSp8sStEQI+mlp856gxoTzSmbY/6U30
K0ur/rkFqfFmrArEH5Ymf+utIt5iveICsEdU0FamcWmdvoDzkJ+6YCZtTq3T51QNW/0v3KVuLJ+v
L9OlG+n478///CimAr1QpkOvhrIbcO+qEICY1GbbqymkDvL0/fpgF5IZtDQAvkMGhXfxjOoBSc+R
d7QJDZEnQcXZ6Cl9M+zYpMOUnjhtENuG8LvRhuNsrum3Raq1HusjDpGHgudw9dSiFPIFcVVDzCIG
0SizirVuFWa8OPYwr4c9GRI8YIeXlyZv+JRVpgbNmekO7hG7DHLdK1fmpbMGkpaqg1UD/b4zJBpR
I8WJZoEoaI7zb7MQtvOEu/lLd5htTP/6ss8ndzkjHABEVTpON8R6F9+YywQuUMZXmb88JNs4VANl
x1fW7dJOAjACwGSQwWZm2OkoNbOFyFgfFjVEJ/yyb+WznDQNjPWG4y7phdhfn9b8B8+mhQxqRmPM
ecEifxp1WB7ZPZA7g9gWIAfL0YJ8pv50fZTzAwgDeeRnMykeGnxLrBgBWyarMyfUY+HsppLBAcJk
a95t+vlcTkdZRNhCHxTSd0Abj0n2F9gYWciNqvIadbbTUe3Ubw0r2VZNDDEYizRPkyyH19pKyC0B
wgwE83zyHLuUkK81nTfaRNGT2YJYDJ3Nws0nsLCJEM9GzcKkpNB4A5GyayxvGjUVZnnQr/uszS7/
lgNucFNLu/GcptN1tx1zGBu0dgTK8Whsea/Fv7NsWivaX1pjlc7ao9DOBCpvsUFBqUxoP/YhyF8v
OQCGORRarn/FC8kchdjov0Nop7sTLNEKrroTzgAIx23sA176UPqpbyHY/Z54fVAKFzr4zk5GrnH7
x+hj6P4ej77Ij3GBqxKmQSGjD8L6RtYg3OdH7/TPz+t7dIlHSRInsDUNqfYbVr0uV8Ern+AeHK+p
oqx9qMUZh9AkdOQkgD1F4bH0tUMaev07XToHxwu1eI7oCGVQeHyCMD/8hujVVibJD9tOttdHuTQN
PD+gVmmgUZzJ3SoDq2BFrYT6vFDCctV45dK4NI2jAZZFu4ZORcZjETbmZ1Q192kMAHViBddncemr
Hw+yODXOVIDjkk0h8Hz7ZPpeJZBxyAaPaWvitufvB0K1f5fLXJydrhijFoirL4LAbFY+m2M027XW
w1e96/Q+Px1mcUiSLC9VyCgcBg/Wp4mX7egmCaafjt97Y5CVXnfXuFCW8ulK4eHyOs6sKpTI0Gtd
bGrb4VBqYE2oI1OnDdKkaPTyQnPbjK18sQvv/jzFf4dabO+B0NKm2Bc0h9WGAMj9oXW035NV/KIU
t2qepORH3Y3jof+7kThxj0HxxU2nITCs9E8x3biVvn6OZhkKpK0XE28YQqoJmLnYmA5NWj5WakdX
zrN2nrjNY8xaxRgAZfPFR+0q+NLTUguVRxUSWO+g7FhbG9818qNn5cF4IN/yp+LeeZ4zDbo1vTLI
b7J4/s5bkF02q+2n+VAsNxkq+MiH4as2F/BOr0roRNZlbfOwtePiALGBaANkewF7n04F4QCA/VEp
ApDf5d5BROx3Zg8BZ8NaSeoubjkNvwPAKxiQLaEdcqg4ivNtaKc9NLSQ/QAZ2VN3sH5cvyIuXXQA
K+gIZYGLPMuBDITHWTPpoeiad06MbZrXz9dHmIOss/UEcAgKANDiPYfFjhUTKaxti1TsyZD/hMga
QAQkvjF7mbtyiif/fzEglMoR8YEcqy2DWYYeBkNpJswLGCD0N10Czv20gcjzhPvv+lDz/l/OTZ09
TCESZZ37XAFGhDYB78OuwFQKJR3ceJjeCkBmVk7JpQt25kMqKAlR86x8XuogJOB2Cu1K5wdcBOpv
Z3RY0OnwmhiTKd5F0Ng8GGX+KdRKWxn84iyPBp/30FHwUHMjrVLcApBMKZ+TrB2Dyh4Nv6bjyla5
tOlV3QbFGMxPfLxFvG6rbVKZEQ/j6UFzeogxQrRZ5fAPXNPKuricRwMtgmnokCgJE1aY7qECeN/C
/NnaaKsx3YUiPaKuuXGjGghcz+xPTAGrgQLIuc7rguzbuM99KI6Cv08aV3NnCNXa5TV/ibP9CMIK
RPOhbIYKx+mXgtZubMVFF05oSaN28awU1koR6PIIIIPDoxgX9jLZKfImoaTJIXysouGduHVDVnbb
pfsCGRuKPnOOiG7U6RxaxP9GNmUHnkJKuEPUum30WN3kPZJsTSdDgBfaXAv+L21xVLT+c93SRU9f
jDJ2FDBG7afRJy695R68zLbCN2+APPPw2mzNFVK9dmmex0Mu3pm2TOq6Af9HeZzYP0ikaC8PJIyf
0ERyjUPiGQ/FfQvkigVBVuwXVPbuux29Sz/WzCUuHTxI4IG9g0U/75wWRgLnRKc6jAm0m4bBtzLo
M/amJ9Nse/3G/OpqLLfo0VBfLJ+jyySztZJArBQrbd1Al1p+iHAsPChcbEmQ33YbCk+E0CEgAcD5
6673Bl/3qo3cpZ52r+/jj1XojHbhzBz/oMV3KEQP/veA+tZNtK03407ZT17kMvg7ldu18/lV4jib
PfRYZkVADW4Qi82dQZU2Y6MaQggNXnIBaqipD2lWGpS/zaC4j+64L2djuUP9Ur3JrQ3EQOET33xY
q2Fd3PDoa6Cbgf+igXh6yqDpDuljChkcoLbqPnWd6HFg31e+9Tyb5Wzn2AIoj7mLvSz4QBG9bRIh
QxUlhNqiPrwbb0znQ49j0AVgkhQjuzY4tB8NbxantxTYk5Wd281cJ01A3E54UFT9bDMSQqwZfSH6
PBjRFmXHACbpK/fOpTOAQhscA9CeVqGYc7oiEmLKKMSBXmZ+5oP0mhq25P1Hob1cX5QLbT8gD4/G
mX/H0QHguUEgI2yEPZftvkAAjr6sZsNCSaA7zm2gEiFmH3W/SUIOsGDPDrqBYowWcR1s1Dz9kcXD
8A7RvkTzNC22PYgOG1sa9YqvwoXideXXKmvLsniTGzHWdQ5WUy0pLEsM8qppVfrUKTXfZHYXeaTs
7zSIKu0ZT9F4KRIkshpELrNkUv6ydDkCLpiZmy6KlU3f9v2NrPP8lwXRNPe/2fuO5rhxrt2/MvXu
6WIGWXW/u2DooA6isu0NyrI1zAEEmPDr70PNvDMSre6+9vrbeEa2mmiSwMHBOU+gA2T+SgdRIKul
jqYnxPbQhbLhTTslUPWdIiOFbqBZE+AFMhVM86nPwxHKYr4JBBjUmfrOGyQQaNAqTv24kdnT1Pdf
Ac8yA5dx7VDavHm0lUrz0WHMAyT235tcHcKEG53fsFjdjY2q3kPbK70Cp8beK9wuQxTMlCA2AT4D
B5qGWM2Fl9atFhbqyCBg2MZPMtW7DSPaj1gUbTjSnK3HYbRWtTLYJWQbnR92b9qrUUhtRcxmCICJ
GYI8K+5bUVaQvasKv7IAo0Xn3PTzRie+m6cP2lizq5LalT+49QN1JerXzgieQ68Mx6kxC0+FQPKa
xoW9JUKywIIE7Q7Un3ELbbP4CE/fCtILXf4D9e8RJqgCIludqWaBNat16EZReQ0k9D05AodRNZDt
dEz2SBPI4CXELsewcwcg7mE5zm8LAfTv2iEMZPVCr26KXnEunT4+CL6v7kxAfyEW/QTZgW9YbsK9
4ajDlgCWZW7vborW9ZqaoR4J9X7f7Cd+yIhG0eel5AiLvMe8JyVknAvY20hrJdHbDNyhG3wT8soU
kjih7CTCplDk0RAGBDmhYO3rnHG4KBjTftCKeFWUw1OaAhTrKPikFPBMs2EN4Bsw5g3yyhIb1mXT
hkNGz8PR313r0q7XQx8rkFev+gi8ET2kAy18ImvTr2TOtjo4LNvzy++jbOttrFjmqVU1oW1pHHtk
WqrxZOu356//UQ6CRoY+K4ThyLs8KnFV7aDHPx1Zb6wmywykdWVX42as7QBnz/Nj/czfRSx7O9g8
F94EPpVaJTGwG8CX5aogkKTsx0DlW01N99IOqAnKvWpuCb/EkvmZ1DUPPAsJzZ0NADsWOzzcHmAy
g+SOh/kxnuWLKrTJAv2HBukXx4/9POiekPjAuu/CHX/0+mDCix4gFHnRPF0M7EC5g0AX/wjtadPy
oAKHpR4m8KtlZjh8ZluxzleXSnEfxeu3Yy6eMtB31mRCdjBpg7K8Uurv0IdVk9X5O/voxkCJdgDn
Qo3kp1OA0lVVYkvtmNTONq/i2ylnN+dH+Cg/seFeBeIRqq8/Kf+2hMoRqqbHroko79ejgx05ez4/
xsK7e24AA/GKEg80k2YVrSUoTQ7m0EHXG6BtaDtK3zJ9Yz895FewkT7IK7a1V+TReOhzD2bZ4nDZ
Wvij5Tfb/cHcENwqiGu9XxHKkJmNsLNrsDkFzBAyFedRWU7rhug05Ki1fR5NBb3o87f9Kry4TMvQ
wMQBG5Wln8mjsUnTWgNgwIVL61XPKxIaCppAk2rheMotDqaAqoVdzDnAPbr6mNrs+wQ3A1/ODVZj
hKIqN5suLIskD6SELOrUCm3LQXCDw4k7fLcma9ipbZGti9YR+xpUnTvhZv0dXHi0HR5Fe+hrl+Kh
ArDm6UXKw7LredA6SX4YKrU5SKkVm/O3/TPHEGUaFE+I4cx5HGjH75+2RXUjzRtxrOJqhN89nf03
OuHVXa/cKmlC/ZrpLza4FmGMis+aqUPmxaWDraRGxUqVU3clkwEVYH1oQw1+MdfYLRoIDqA2pyVN
i/1AgWdJ3FjwVM0dNKklD1ulhAKqUaN2WBaQCmbQ2ZSZ1vjgHtkBXANl0GlTegN1Pdgm2AqHc8X4
2Sgya0UoE95AjSSCJUAVjGr6YFHrOq0K4RPkPh4lLnxRbDn4BIDN8MLjwtNYTBJkwoCCYokAVLvs
nQIoCnEm2zxSdW33cCeaygsx5IPJDyQoml5Amc16O4vJ7zRF2hpcxekPcCAXErn2LqmfSbfi1S/r
r+HNo3pmzNRvgNmW25w0236CE8qRJtVqLI2gniK7u9Rs+SBivU1llgfbEZDh0unVY263vW8mQ+uZ
lWrtZQeN0F9/NSiTQbwef1o/wY76tiNdjuhbV0+tCbU3dvfr19dneMMsK/izUyGv1doVozgqGVSf
bfGAxvBv3AFagdB4gz2v8ZNmKFBEBbDo+bXJh3rdUcOFtJXCyaVhPtgL3634eRt7k3EwdUpr+OQe
SweQ5hkja2+zmsKI+8/zD+yjrg2OuTas5rAuIIK6OCQNo4BHmRTH8XuP8hHZ5Td0K7zkSD+jWrul
F57eRwkNkCGvPrGAh2C3f39fLbdrNUERDgZQe8Wz/QnyWDn0OfheHOtA3cSXuyIfzW4UTFEiw33+
LAGZunUsTWNEh28KmRoO6zRMVvaWr9jevRI3MHkyVe9Sw+/SoPP7ffP+uGPWmYJBFX4f92s+HvUx
u7AZfjQEOO4m8MQQa/8pzEEOeJhiOmfYsgkG5DWPsYMDItov8eOFSXJpqEUyb+VF48JF70gP3WPz
owqSlfB6n6eechhDHfxQ5/aXVVWw1cFvAhYKyD+Bo5u/0psHCH4HhWkZB3aLBnGjeMh2gvN39VE9
D9YWJkoms0HzT4naBGtC22KQ0cBBdg/FNrGWQwMX6pi0zzHT7RenJ4Vn4SSMCE/52m2tLqQwV/DN
WuGbFnx1mNlxd48eY3LDYoeENkRgnkanH244Nj2fogiwj0Uduz5RZQe9UYhpHqYsdXeFoGD9qnCv
0VocmiEfC8ajBLtR/fVpAgonGsBzgRRRd7HiVLOGQ0PlHiGHgYJLEdb957JiF9b1B+Hq3SDLCdLa
GkTm5XWXyXAqoLrek1UDBewkviQRp38wFIpyUA8BnhPgpaVygD2YZIJVyTE1pfJ5gGTsDHBP76cO
bgtubBZ+b9fQYNdigFidWVE0s3lg6rnLvXHg6V5pmb4pbauEFIBlwZ6ekWeFO/09GBfpXh1whTwH
G9XTs0z4SV/xm5wX4Nw6qbnu4IbiZ1Bp/Bto/L8uOf+B3O2bdTl7z77zhr0dvlU/vr21x3n9wF/2
OAbMbEBcQJUXB565xW781x1Hd2Bzo6HeD1IFDgRI9v4xx1G0TzMIEyQ2ZE4QTAew+h93HEX/5AAG
DMw4ytiQ5kXn+FfscfAhhKF/c00L57y52Q7yEaBdSAj1xT5d9wmdhEvusqqWP0SXkEAbkvwqq++H
VJ/2TemqO+7axTGx0uJWY2ZzGDRrfIYbiOX3GTUC9OrRH+nQZs6pWqDBVqp7tPjqewgV6vcmkUNE
wJYvvcHstsyFbgvcNGP5ALh0At1fHt/QopM7U6hWmEwKkmujj6fVlFrtAQYCEKQy0sS5gnISHNSg
0Z9AP8/kKFYQC84uSWNdE9mqq1zG5VPusAl+aknSkCCtiPXVkhygGzYNamgWRGQeAQYL/g21s8uY
1cKblTvJo1OZ4sbMRZX5lT7CsTXTMhRE0QR1cA5RmFxTRYUJqTlwJZhiJd00cHZtAAmooYlSglHx
kpYkM1ZC7brHKXasXedm5Va6CkprbWYoP4ZY0EOb1ca6aykLVPTet4Ayw+MxpcZkB1ZfEFg+ZMln
GFPEAZC3K5f1aQ2PCgLydqxO6oESmW9t2D3ctFkMM7C6S2VIHZ1/Z21Ntp0+kDUsHZTnwoEgPORs
cg9OqeSlhb1l4XECPzfQ21u3xGhEXUugn1ZmXpuNn47AG4K7J8uNydVSbng2TIOHs3sMANagouCm
wY3My4HppFcDzC4QpgoYK/zA8ShvQl7CbaOeHK6HNlS+97M3RuajtonysdHx2oY9OnHwwOKU7EZp
O9e6MtKNk7YN2/dD38V4EYm2530Mgbm6q3HcK+wvRlITzSPqlHyxkxauJLKlB2YU9a2j1OkGrjn1
VVcPMAIouu4GhUyIYyc5AfGswCsHeqzLEe1q4lzFlQJ5ijrVb/taJmgvKmUfEqUCiwfusGGZpM62
mkb9XlPHLhqLOvnS2VZxW8a6vCmAqT1MsGq5bQRPdxrVM2hHtgR8b2dsD6mwBUqdeYZUF0Z4Utmg
5sBhrYi6rw3ISvstLjAeOGEKvTZTeNN6ExtJAMasfhOXlr0DvNSA22tnPBp5w3ZVRa0j3NqUr3Fr
VF+n0s6AJKUQxckLtaZhTjkmct+NkVom5h0vtWRVprrrtagjp/eNnhqwZ8yJ+ZRg04tUwUc9KO1Z
VceEq1Li6ZAJ3I7Y9e/Kxm2yW2bDeNQvM+wnPrPVsYL4jxRGCLF21BrYMIsOFPqoybUYx1xue0vP
hq2cayf+SFX9SasqsS1UBb7nLlNF6YuiGHoP/HGgVUHhKdealaab3K6KB5oId2WCT9TO+HIlx5kA
LWl0wsZ203aQE3SgmByiedXurEYptslkNytHDNkKLBMggoo2PzRdBcAtECiYmDGlq6JLpgfNga2l
Ozn9Cs2GzovrdFhNI+8PmWrKSAxM+2YpMbkv+rgC65nUV7B21r4q6ZBsbUbd7aBlyWbI6uQq113l
WEyDsmoazfJJ45gBq0YFVQB9KOClPRYs6Dhh6wqlHmiyk+ZGtEq1d9B/+QonY+cJmgTNHSyoaaDa
Iw8qk6orp3RoBNn6IrArlW4h2Sm/v+49/7sNYxtG4nfarO7uG+zP/9ilQvA/sCH/cXzpU/5+V8bn
/zats/VPM7TUnnVIAB6Cfs9/t2UF/zRXq3EgAS9QtV8LFv+1bCefUMYGax4HllkZn2DL5vWrZbtG
PqkgAoOWjAraTB5wf2VXhkXwu10ZOzygr6C7gRwDqaSfmc4xByQohTV3oNtiNTjWSiEu/LYoGKZA
IDQtulJsI6d87XYVTKzgwDUxtikafev0Yt22Ohypyo1T9DswZfZCwg7IZLvRFn5RwKGuRI+w1uD/
/NVpJFyttUhU6lxIg98YZLta6D91MkLbJmxK1c9gUQppB59C1ThRnRDc7OfY7o+wjvvSAHTuDbkR
ozZZrRWmzP4gx4woGvaH8Q6HPtTi7rXR8RXoPFGluJtgXyytNDBiYNunWxSINxVc3ZjremPTbnqq
rbmjebSJbyvZb+H8iXjVxFE6uFYAHbQdtAtDZnxHB/t7EjsBXEw9kcBg2YXfVqxt1YltFaO8tgjc
/mJy5WTP/XBfwtMKikbch8fz6E9N2oVSTNJvW+pNsX50CvcWQm6homrYVmIg12DFiu5bTNwnWfOr
HtqY4LxsKOi7tWLCb6hXwk6tfEdBvhJboaugdYY0xKj1QIUeTDfWGzcl3oh8RIWI2QidF5s2qwzb
mODOOq/HC8fBjycNBLQNE4U9sMQWJ05eGLLPhCoDgW6th9ODD7/c4DvdsoDvFb/3cbsehFACiEVf
gnIsDtivExbcAOQULmjROKm9P+3C+a9usoLKQLO3Y7Gf0mMdX0DtLCs9P42xSFUrJsAPBhQ3IHdJ
ZK3YWvGrDRRZt1o4y7tcKvWAhvbBKsSWB6Ia1jQ0OhYnz0wAlsBprAZo/t9xZ/BoUviDYa+pke5L
aOi4cbJpbCcca0hl2TApFvBhr9oNa+czmPCpm6/apocu/LPd/EkyZYPUJsw6+CmW06YSAcTdAwe5
mYLKf0OEzytljbsMGGWh4LEPJR84maePeX3bdp8V54uK5qyE+7ZW+mpXw2u98flEQpU81OkPaIg+
DBAt8WyCBAHeYL6mtYFuZkFiQtk6Lb/lOpDTMIJqdJTiJnNbpxCx1wEaVzu0stUgB1kfEuJ3ldM9
YB9En77zNVTvVP6lg78sNMbZ14TboYRTtl4ooXRBxkOYcGm7ziGB5yGHuVXsdm+14qpDd2PIzUAk
7r2qJ6j7pvs2K1A8507swVkxDnuze4C79A/4vt0WkJIJCFWxjri5B2WoLkc/1Yu1qgCQMtrlfZ3R
FR+VkAAUoFTjnQSFYtDHQPTpVyg6h7Wd4HCQ/ImO6zV0iL45sXwpevQZ8hGuxyMHbC5tAoSufTZl
a10013XrXFfJl0K741nmm/kQ4Yh0Dz2NgHYMCRHuXug3DJ9A136PJ33F4d+nD+YqRwezUyq/gvw6
YYOPirHP2LCNdSOQXKrIfeJISxHM8grEwGHfjyIAs+04DXAMJ7lfzWCLUQ87EIF02DuWZePZyjUd
c78Z4DWk1Nuia/22S9ZzSEvyPkRyuINVHFwlaNBYBoBaA5q2toAbGx0eUpQFpqQKYWcMbSCk9m5V
QTlqAq6jhrl9YsH8r/rKdLanDODqb3oG4UwC9wj0ZGEpyCSSzth017AyuWdo88OZM4gHdoXyI04+
xFmXBBqHeY1aj2MDe1J6ptD9wWxWzEAXJ1Y2BmIcEwPgFMSHM/M3+OppnoNYpGK6UTglwHIa/18i
I0TAhNCJgB06zbvrvhq8LkG8stI7Fbx1CZtzAlLXMYHomZrFgekCGZh0wC1bXo5fUHttPif5Te/g
W6xUAkWZaQUPxnU2DUHbxCtDLT1XXTEKLoxRBX1mhWBfwdb+sej35dQ9DLLGutQD9MGw2cBeswXc
oDXhmeHe5WBXKTogo9q3kTZfB5x2GjVS0ihG73xKgHewaOwlRdL7DHl3MOljKDUDhokGPO90H4kC
ziEwhVAfBTzQO0UCCVLuYAC41twuNDRtM+nibjDzddFwWLeTtZLlkUpgbd1CRwrDE3SQnSy5yzOx
q8B9ktQAGD3/a8/4pXTxunmp7kT78iIO35r/M3/0ew12bxon4v++/5H/9XP8Us9VkHc/hMA3Acbd
vbTT7QvvCnwUF/r7N/9///Hvusr91Lz8z3++1x2MSHC1OK2rt4kcGvrnEsEjPN2SP3Z1+/KuKPP6
qb/SP7QLPqEXj6A+OzihCIeayF+WxQDhfwIrGdg8gnQO1sX4l7+TP9P4BIjMvL9BFQYtzHl3/Tv5
M8gnyAACRAPVCjDS8eevJH/zLvZvQUaB/QExoQhFFrvb0Kcp1v0Y3yrg/G7ECGTZAF7mBSTI+3LP
v1df7M/EpqrKgb2+qZt2lRnQWB37dSk4TMsLuXrzvKO/vusfVVdGNVJu/j//eZ8L/DvGvJ2+qXij
aY46uFHGt7naPBB7AvJHBb6UVOnz+QFOPaJF29IQjWCl3tMbXsNV06aptqni+pJ54qmrL3DIRs8L
Cyo28a2jw2HdcaYDrEJt//xXP/Fslg4NriUBN1CK+NYEvTjsBqX+BuVYHEOd0dicH2LOSj6YQPai
hD1gBEVKDNHzpFvn1lB6o25uUEdzV2XS31jZJVOVUyMt8iIHqpRjnAG2mmv1OtGbTa7B29jRnl19
jGIF6lbn7+jEpJ1X47sJRftMgmPo3hBoGwLFqntxhrLXzPjwHWAaz49y6tXMf/9m2gogDGRlm85N
TBp5wJ1Zd6OVimvb4vrj+SFO3chibReo/6JNWTo3WdcdVTiRFUWxBZvurqDYec+PcWL62osVbrlG
VcEJiUDr1v6qFH3h1631dP7aixT8n6WNovO7Z5Q7bdMRuHfecIZkm6Uhdk/glre6gOvzQzHjKFkW
5jgTEQ4wMbk1i+nCynk9vnw0rxerntUaN6XN+5uOQiVvEFulvB2ygx3ngWU8Q6TTG7G/9vq2dz4T
JBkVWMMFY1dU3Zcuzpx//Ychc8DvlFoGL6wxGIdso9R/GvQSp25BPPn3ES3ChwrXcLge9/0NlPu2
hvHM0q/mDBQxxl1brbRhQoaXe0oLA9LYuCLFOJukbwfjYn9pHuiD52TNNYU38xhd8Awmt1N5o5aT
N4NPBzwvpxRrHMl6R/q4+8H5TBtYqa80WIKVbRNmLayyTeqRBgkasB/41TxfJcMlNACZJ8hHX2oR
lMoJsv+d0qQ3ST/8SKzqMIzqZwcKNLkBK2NRqNAIBmkqmdwVKuRBY3Sa1w9jH1EreyS61UBEtQtV
7sydue+NbcMsXDl0bvp55PEDyZWvWmevJm28Grjut8m0czTlQLo29tBa2Ko4z4xu9pKXaiDB7fRS
CzodjoPY2CmTn1K6aZ3sCp0/GN6Nd0gMrlQVKPeO7JQE5JOpLD0DYFbedxAUGZB9J1cI4Lu0Yge7
q5/cuFsbOtu4fbsGy/smtd3OYwrUYQtwGHQ2eMWYhygzJj7qjyu9GJHCIrQYauxpgm4MrbotClAf
usz1KlE/Tsy+ENYW2M9/JuQSqaBBOopZImdRJu2bUSbQj2awnoafNaQD4tqChIheHhBe4TwP6PYK
Sh7k92KRNcfBN1ORjxIssymj0dQ2q7YroZ1Xrs+HohPR2lpE62zQU9OFG1FkDuVnlOjnOutWb5ov
5y9/IlJbi0htQjnGsRuDRYxB1buwmu1EmrUOBbJYJBeYT6duYRGpe4WXgEVbLIIHJ+ceg7/8TYsO
7XUGmcxLaianBllEbKMyIBgWTzyaRHFslWY3qco1s5PffA2LoExarrmcERah5Nd5Eh0ZqmmxH0+X
LIBPff9FOFWs0YEEY8yj3nUGX7FyxdN4rq5zgWbU+Xd9YoglD2eEDljDbK2NhDJFUlHQaGzFnqlJ
8XvLwFwEvw5VuqqPZRtVxdh5U6Vmq6HNL72CExu+ucjCQE7IgNIpeGTK9A78Ac+245fzT2a+xAdR
21ys39JNplRNujZyM/onBYLbo5OMKNxt+8T6MTjqhVPJqVuY38ybOEEcpRD9gBBVUM30se6oV7v9
0/mbOHXxxVJG07WqTVewKB/d74K4ljfV8kKY0OZ5/tETWqzhQm+nzET1LBLqSvQiKMkqE/0W4Jgq
EYGi0+c4rwMm7RxKefnz793RT2t64ix3MKju0lXDdWgtUT4Fv3fxxYqOjVSTeetgu2CgtHQZ6E0D
eDQXlsL7xsY/m9FSuLnsSxxIUi4itzM7D3YDq77I70BH2KGB9oQKn1eXznQsK25d/9b9zBiKt3OL
2/YkVVijRshKj1LjqLaA73b+2id2iVcJxzfz1q3BqxpM0UbcNX90VeebLfnRdlpYm+aF09wCKP/P
EzMWy1voqI+mjQIMvtVmn3NHYd+hQ1migszRAcb882HHjsYFgZ6QN+sQ+7ml3aposYA+OtUIxTEN
1UFjT3ZZQcJez7Swz0ZkXkNsrDSo1t1AVM2+MHtOPZFFxBB5ScZRUUU01MOqUdiOGvIaag6HDovj
/EOfo+YHS+5VpenNQ6ddSVtXlJj9SPs2MYSXYOSpbDqDPKpmHwrKxm92mopfYl3/+/wX4UOKoYRh
DRMAA6A11qroUwuUl8/fy3yRj+5lET4A/qVV2yk8KkhWBjznDB6e8hLV/sTGZizihGYAsVJ0k4gs
J0mD2qozPDPIVOHYnq5+7wYW0aLLLG46kK+IYh0qGS6dbB9sleLCqz51A4vNH3zLBnb3Do+ImHRP
M6rPJYU8ZkH0X1KX+eflLvVfnVGZSjgUY+Pp2/7KaU33eXI7dQMFpfzATd7cnn9MJ27kVYDlzZyt
SdHlBvQxIyaN+2Js16IVkSTVze9dfhEjIFJttm0pRGTkqO8oyboCtWFuN/64cP0Ty/oVy/jm+w90
NDoKlE6U1SM8F9kEaJRRuZDB1owNjKOML33cNgFhaEsJAliF0PPGQ8Lg+pqRMDhDys6HeluLY5xb
7ESvlTsUUmuf9XaxL1MHeI5Z7LG1JsVXID7rmwbHXqCwaT1wSw+rRoU3SGLds56WgSYHFiilo6OH
1pIjMBRoZxUc/iHjYIATa7WruAT8LG0o9uPEbNEsUK19w8cB+BK3CERO84OhoWPWJjSBaU3mHg2W
37BaRUPIqOMVzYfpqheie2gNJdtmpoPmQS7gjNVrIK41wCOhCiniC4Hg1ANezHR4rBTTBOZp1NXG
virV1nPS8nlICZiw5fb8WzyRzb32jd+8RDsBeqXP+yZq0RbcuqVj7irLmF4anKS8Jm5zAOTMSza7
J27oVertzWCuWcQC0spNBAnto2zGzyjHHNup3hG8q/P3c2JRLduyaSO5QPMRR8CGAgDfwRDPjWOy
awVyvN8aYtlKB2XR5LFqwxrRcflaoGDgYVOLgVLnvzvEYn/Ru6LI4VjfRKnGj7AVxybjFPejYz2c
v4UTL+JVgfXNixBC4w5Hdy5ysNf7iQt3eMK47bcpTdb2SOSFROXE23h1lnozzijzsoHKK494A8IF
Bc54zA6TTS9M3lOXX2w0UFxEXsgGFlmtRb8mo5JHGUlZGBdpdWG3OfGktPnv39xBZ+g5IIbCjvRU
dffA9H8jskecIQ70H6Q5/N6e88oseTuM0pGpnXQ7Qtq2nar0tqY8HM3pIXN/d4jFnJLEZlATwRAl
UdajbOEn0h6Ugh4qvb9Qjj3xPn5S0ZiGLgad0o6yAsRuL8l8wBnPz9j5W36QFL2alrx5QAQ5LojQ
uR2lst9lInuJDTc6f+lT33oxi/RxtFnLVTuiJHOgE12tp66JvWyAj9L5EU4F2UUgb11F0gnG1pFS
tJ1X1Uo0aOp9KeqV4uabSUsupKUnsuClzJCB2iizitKOCHRO69gB/le+0ESDuyIAypWmB5N7yTL2
xMJQ5+/w5oW0IxN6xxu8a3A3D9IFoip223RTFykolty4JNFy4u3MQL+344BAjp2pNyxkqR38lqvx
maqttofHQ7s+/3ZOjbBY4orr5mDdaVYED1/fUvihqpyVorsv5y9/YuYu9UviFF+1aScr4pOGJlWe
lOFowTLk/NVPffnlqgb+Dp6unRXJztkXzNrXTNw5tXrh2ZwqFKuLw0ieuCozoEQfVVntmcxagYSy
guAh5BX8ClA1Bv41KtlNfOn0o8/L7oOVrurvXzjUx6BUCpBlNGb7yn6Ia/DkndwvxpVe3aPMFPDm
ULWK71BQVF9047kwnoDh3RmQ3gCyaf6JXaUyX0l6ITifOm4vKbFmAgxXnpUkcugAhwVgu4Y/pXtv
xqYn2nqj0j16I2Z3TVi2zSGGWwF+DwOaweQwQUULiq0yNvdOmH3RCPLU8luElCGDNIttF3XkjKjF
JPdKo8E5FZykcltBuMWWMcQMvlRwAmP0C6oPa4gA+qwVflNemZDJPD/7Pq7cQBH7/bsCMyJtcFqt
I7u/kV2PvF76BFIpUEpZwUs60LvPVnOJoPx6RP15ZryyYt6GgoTmIJClThkJcEvClqNVZo2VnXm8
NT830hg9nVnTdkyb54T294PrwE86aaZr0cZtULMefRWr/lMvOKD7Su01BayVuKpRKBzZcchKeT+W
ALJZDbgeeYYj95j3wNv1yQ+bCea1ip77qgtviSI1WeBQit+w2tSD5VBz4Yl+HC3A5nn/REfgGKyO
tlWkqMCq6QnzXKeXF/ahjycNQM7vLy7L2mbgFZWRPiXAKlkGUlhWB6Phtr4eDxeyslOjzKHqzc4w
6k2i4oReRAZ0k92ue7HZxh4ebemszs+6U89oGfMIh9qi0pdRXI7bwVT2GW0uleUXpqf/Pf3/ZK6d
ikSyROLbd7optskotTubyXZLlLz1wY2PcUjiTeNDdKcIikniGTaFsc+ssr0yRwUa7U0Hy1fs9DcS
xYLdxGH64KQJTqppKXcA4TK/552JTKMe7CAZjPFCsn3qsSwCZ1xIWEdWfRFRjfhgins4QwS/98QX
KVIqZWUUbZxH8aBtzErcW6L4fP7SH+csAFy9ny3EARZlKEQeFY3jGUPszxwUwxK3hJn7PjuUY/7l
t0ZaSreqwwjKXYd6l+xa6DBVmVdNcLFx7EPKAWAvms/gul/YN0+8C2eRHRlFAdykMaQRyFVgzcVM
C2BufalgvhCf/2eSOosoYVSK1UhtTJHLr3qLBfqoeIN1U3VbUAJmd1GFjFdx+gISwZqOzTbXZJAU
FtC24G3Zj46ZrCw0hWI3AfQy8WvtDsKbvkzuc1p6TvNExAq5vJcb+h3tWZjRbD3gZ7iN/jWEFpPf
i3fOIiQNqO5nmlkU0SjV5xy2RVxVLq3lUy9hEYgyPCIdkip5ZJf6buDjioziQgg6kRdB1fP9tIW1
QGwreZUjgkalem1q3FdpxLIUWNkoswEDt6+b7kJEPXUjiyTMiAf42EHOBHm9WQHnlK6b0bzQCvk4
gTScRdQoSnDOJssuI8vexqiJsS27BNE69bUXUaMuX2XBRxzK3TwPXTz9TYPS3IVXcOrqi8CBYl1V
dgoc4uHgcqg04G/V+Pv5SHHi0mSZ1tQMytKtWUYwBG4CQ+/dED7ALDx/9RMRb2YKvd0fE6t27LHX
EfGc8gGVmNZTzPixM8YDWKJ76D5/bzJ+YaxTd7IIFE0NzwkbkmkRSer7tAdSOk1QhD1/I6cuvli7
VA6OMcixisZ2gKdv8s0xSP17b5cs1m5uQtcn1VgeaZnLw37AplC6VN+c/+YnJv0STytRlYptLS0j
k5mQha6eTasIE7265BqGDQQv84Ncdcl5oXGT551dpZGqK2tGhj2CgWU/DvrWYs5WBQo/Lbd83OKf
glHCPkc82XiI+qT7MMIOJlMN3FK5mWQLwPje6Ix1C7jRwH8Y+T0uUkjmGYW113EhW4BlZHcbYXce
3Ji2/fA0KTh5GJafQ/goJ4GNVNbIVdiFQIdfRojz9pCvDGtbd9teXc2hnRMc4lDnxt/IDlC0Qd1i
b2FGguPE1962dpSYe1aaV6044Hf03PSI3gY9RCM9jUJlxLzGIX2PjcOh3XOq3RL7/3F2Zs2V4tgW
/kVECMT4ynBGHx/P0wvhtDPFJCEkgYBffxf9cKM7o7Iz7n2pqnTZzgMIaQ9rf6vKcV44eHBxH2ZD
UxU4O/oRU8aVv8dHGCLzGMA1e/aOii/nQH1iKBrqwIhHUBRIDK31O+VB7G52LrTtTgmNXnPB92AK
r8BHCAAvjfG9uI9kKNM6eSWK7mUjcwkuziB2YXnblD8BwSgi9wWn3kTkqez8fKwJWvJlKtRwQoc+
KdnWod/OwgUFfD51V+D0zyhwvJbAH43tpXUf3G7JvQF/CmACzuuCeeErPgNLkIdWOhtVnHrum0J7
AqiL9961h963e1ClkFpUxcpceAZcvPBGo4YhkAmOusPYtlvMqwfZ33jYbqE7Y5xuOI4EUM4+XYMm
xbOp6cd2kcQuaIbrHB9lXjBYwPstt4rb8ILyBRhYBBOo/88377cDobJoXwMy0NzpBnxvtww+QOT+
y2m/7Qz/9Fb8diLAO4wls0ACMvnJC8rnC257t3GfBC5N/NXK+E877G9HQ9yrUEE83aB8Hu6pBlsT
0fBK1mzQZD+NckdK9y87yR/2wN+120M7yBbe64gxxso/xj1kcv4c2b/crz/sU7/LtuU4JyHb8muI
BB8rhrrzOBxaw/9iJ/EH6S5s6v7zKBrQlg8CyEzvBN6Haq4yV9kTXrhqBPU42m0xk27vLdmxkO56
Su5c8/Lfd+Dtb/iHlfC7fLubDXRPiCvvhtEP38tEyyfpg1On1nJ4opCl38bj8je92x+v87fTRCWd
46o5rO/ioCZnDIsG98RVcbGsY7+P+hC1ywbTbH45whIaLsLJcVWAvfAuCdNocWVR90n8lxXzpyvf
VtK/pcdRiORAdVzckaaXMGb1uluHreRxaf0o9/0F7gENaDb//Tb/4YX7Xfgdt44frksj7mjcfnOt
XnQMZhwJMoIBvv/+V/zpen7bLzpDV64g1rlzwRNOJbYnTGXB81ZbTe48ixwXoN7+L6W4LQL7p2Xz
2wYSze5SxnOL7JyYH72vb20yFy6frirB1EcLlGfQlikv/28+V/+baIW/7yTwdeRBt3Swe+3fBcbW
OPH+4ijyh3f7d0k2rZR2Yn/s7qRrzsmIxDecPuLQ/GWZ/WEPDLav/9syW0DwNY3vNXfG9S+M+9sB
ejQduwYDioGr95GIxfwlEPxTNvS7nLiHw6yBP2mH7syhX08cI4kQ+OJfcrl49ouEqN8Of829/rDi
gm2x/9uluWXcj13i13eNU0WPoLiEX2EjyC9HxCAli0ZIHwEMrTHZ4vlZpTGNWTNsZ1AUyD0+i3cT
W4VyKWgfu8n2E0YlqcF8rfHrvyRs/xJi/cM6/V2JrPQyWVcm1d0IXkYb4MBn7CDaOJ3FPWKfRa7F
FoWpT99n+RaaBcGRRQDbb4V8YKAxe4XDX693Ehllg+y+A/EfX0GmbkDCbiNesP61Un6xxRc9qxFD
ASLSPox6QlVKokT6Tca3afzLSfGnxfrbphXyiMigwfWgs4eRUszDuvovi8cP/5VX/dPdov/5QFXS
K8tC3dxVMR8unhnaPO43suzoHULqRPd+aOODF8LLnepxB2K1KlqXk8K1mOqMRPCg4J4QphVgSntQ
GiwwITPGgmsHggzSJ8cGLzGwonAIeoGRb1IYZ2KYGIZFH7j2iAS1C9hZ1XggKCzzriJLfPLdqb9d
Bj2nTQCKuOljzIy67le/BO2ZwrIhHSRw1Emvf1Sg1e5ibxanxoYeCAuKngHzFhkosevJuLDxmQKs
NW/Vb7oR066CPvMEuZ3z7Ou5O6ytUJCTY2DZrJheijqJqv1aKcQU/bh3SNLktk7Q5zCyiAOHps0E
mAAUw2xHPEyQA5BeoVZTOecwWsa8ndoW5HXR4h416scyke6hJz6/RIkHFLyqJnZPOq95CEn5yhhG
bgUP6UvDHeRArtGYwA3X3exAk6GrzkFMMOvCLw0W6WrvrXC6bEVDMy19ejS8hx0opffBZo3tABmZ
BZU/gh9to4NOmDhBpojJX9hLYpS4pyeMFLB9OwyfqG9/t9LWR6/uoI1sPPdp6OfuSqyhNwna+qeW
d+xIeDPJVFA7XQXpzN6aeTygf/Y4h7HOq6UsbytHwZthdMJTW67i3DiyydHXHl6Qg8GpJoll+NlU
xt2vMpp2NU/qvW9Gv1hiAHMr9FGKdhndK+gIyY2tQYiCKAvdJWNywdhaSNu8OvHwA7iuGugbzGZp
kJc077KOiQuJRowmOwpc7uVYxdPBm6JHDLbsx7r5sLPkxdJiU2JsBg2nGx4j2pzGoQHtOoKPGGj5
eHD1K5umIpE4+bvhTCqKylvSF0Mp8rCbvnXUFhKonDlB3lSXB5dHBXAfAMZfGhHsElM+wLNgz6bk
FriuszsbJ2ur9RvqL1AhEbSt5Y7RT4JGBUxx5tSnO0q73YINkvk8Q2QHnkaBAf3dLJa8GW5F1B80
zPUUBhCoWEEtWOFTyTPZ9nuSYEp7fJ3LMBPzuxlRUyTYaCdVRKqFjup9XDGvjFQaA9Z9zj3/slr0
xnqdI456sN5w62MVh0N4GKiFPpOXZ9pNDx6q4CG40nk91cuRTbKFBRX6Zyly05uywhh8HQBGMnsH
XHXsDn3KaXXyWZCN/affdO8eXvVBAj6A+7xC0RWIJ6JdWLEbRHVOFgbJ5zTVmQIoOVn6Iij97f5N
Lp5kvRy2b8WC3HcMGIx5hLfkTiOEYS0gABjTSYYcp/VeIiBdmhCC3jl13fY4NO/clUeu0BEN9AWl
Mzupu6Xzct15hab0IPHT63ASSD2SEXUeFNjmyslN9GhcPA06pfW8kyW4zXbKQr3e4/8E1aPRPxLl
ZTOGMnEdhr8CwHwm/OfszAYDbVUWwATT+9myZs1RthM62U+hvhFxdIR5a7B9/EBBo726GA6v2iue
vudFxbBc3ArCO/y0N0apXkEIY7w8jMCTRFhQc1heDUgB6Ywb2A1HgvnDPoRSdHtioXcBzgSled8p
sK7xENpTVWP4f4XxMEwlyWpgDwC3LRV9TKO6UWIhB5TBc+n657Jps0ZOGDqt40vlY7Wgs4V+7pqh
rbCrRZDZsLtGMR13FRZbX9LDAl+GeqwvcxljB3IPTQv524hNlPm7plZ513e/TNue8Dml215UKQtM
6Z+beSeYd6zCrtyX2zLERff6DDZ0Tgdzj2fU9uUJWS08k9Eq9JLtS5EDPt1wLJvgQCYpH8paFhj9
vnGJ3NZbh8J9DY8HY/W4PbDYZzCOaOy3YeUvVGRz62I2lH4Ps8EMRHROmDrbGtsCFhsb8f7UzrHi
ZSGnl7WbyjSeZd4ZecCj26IUliDzIMu7Gby9q0TmenVWt9eqPm5rBrYPGsWAqE2rNfoZ+hqWBy1O
fJ5RuHnMHkxo8GuUfy/NvV3vIiGxiduTnLF7L0cvrHcUd4xFzbODMIJ0bbGUjzVt0wT6/SqYgP/A
w+M/NdyOBEbAJvHFhvFo6w5wO711vFIDIGSiq1zMIDbwMd3eNTm/zzw4z8Q+CxwlhkKkXJHPbcEP
6/MUzI9lssFvRNqRb/x6f31tvWeMfOXwc50R3Nzi9g9YL9vrtn2U7S9pBwRHDqg9HEe5c2iRTM8R
CFtDcND8lcbRm8F7gkds1vCHH5X5yKdjg6nAsP0GBDhdkQM068d238WEgUXQy8buCUT8e0iED53w
jn0cPW+PKDbRu0PXT88FwjSQYWaXtc51ldxTbAVNQooa2C4kE0BlVt18GMPm0SlRVENTqqZmKfxK
vAnr5JY0V1gnXZXbwLwifEGrB6X/eM4ar0VzcqFD7vrm5C/T0Qg/hgBOOw/DjCUqWnGIWoudJVjz
qQzJxZ2mzFlKMJgwbFzErprStppeYAibZBCc++nQBnDh4dhoXXfongKGilCF9eetycHh4JbDOsPb
scrdW3c6r12Yx1N89nxwW8j8Ctueh5U6UOqqnVwJ0ky8vi2r7qyd8a7XyHH8ZxSk3rtkedYVO3X4
+rhMM/qVaryRYfy18OVWsXLHhfuOOcmnGkcZpA48m3wJlgjpimCmFdh+sAQZBHbpMHRqTGjKh0Dq
F5yb4gkV18NYm91sYZjV0egoLE4fOEA3u5YSe+7grrJH3MS+YOHt72dM9dO0l7Cbg7UIL4YkgrYs
HD1oYYFdGofF202g12U1RfiCPmKYxoHEIUWVtBChlT3gT8G0hxTdFK6BnY1WNsowNxGcpI0AaOk7
Oe8wC+SfbNQfIfnGsh37JaWDmxrvLRholnjVUSmwWfgc2sNQR+sjuHTJ/dJV4iSSlb5rUtOLCw0O
BzonqU+QZwBWF1pXPDLF2Z7YWKOPZiL+4k6C3sDUW+37evKhCekWkD2ijkKp5VevUVfVbxYTE6eg
Rze55QaAfylQ44V0lt9WVdKWh8kV4Xa/5/ZsMNmL9zqa1yOhPLh2pQScz/GdLyFgCtoz1wM/BoOr
zwYiN29nAFx8xLqeD4nL4dfZD7ULNi+MH49r5aHiB3/L9RG0xzCbB7t+62AFZT/uJDiUJpjJskPc
jLG+OOYu0F+xg1TFw/l+T0PJQDqsZ/PVOBGkEQOIwi9j0vI7AvzPLzjS0QXabHdmGDem432MxK3w
GUtsUQ9+V4z+YJ0Uqdl8iAOBunJjCccLXKvj0vcLVBet6ncD/K1v/EhD8N0LcymDSED6HW/in6WC
lLV19olcxX5aWtOlfUxM0TQwmGyNbfNE2PGeoAmV05mPEKmv/TMUJeKZKSgV26j/Gc8CJVpusQXT
T2NgMOH0cJ6aK9Eedae7T1ZRc9Po0csjB8fAEkKw7vdAAJaldLu0nEJP4IDn43cwOMEOnkveQ2n6
NkrpGoQoB295xIhxIO45YbFIUGa4H8/wmbIAhFcR9PNT5+QzoGo5QAoJLomEuYT9AVZ8AvcQv9Em
vHV172UB/vPDWDO+2nG1Nxzyv51DB3qtVd02OwxsOY/U8/xvz1fs4rfDeubKA1LKJxWDj6Njl0yg
MpQ5HY4LJ+lM6tah+4m8yfsYu6DMYOns3nBGxrxUcVyMMHGBRxowZbB0gQBWEnIzz/ARSJfS2h9T
KModoU14rNQk9mPbe6dF0RhYNjZj36HLI6/G4QHjOZit9lA6TXEJFGZiOBEX49DbslyW+wm2q1mn
Lch1Yz2SNzdyTKG1Mx3jzuiXEFTJHan6+soa8uHWzRfh0VW4SApxsfqm64Fgw4aLQMcdLb4Tkzkr
NW3GffClYi2w3SYBrJc2vXaocYTQzqCtqpMrRkkfmnjKfUQngQW0IF6fiGcRMQnMsMB2Cd4t7h1T
IHOVMU46vEVL0l4Sv9+NK+JruLDfN0GCGNLbwyVCZ9pTj83oX6qwLKA1eQIeMA06jahoDTHii7Bj
Tg4awT2hbdEMyQPr5osSgIBJZu8RwHyAcTdlFN+WViTaex7ZV5G6j/0l2eivx8l1odBfb6dI7xuH
7Jtq2ZXLEKc2qbayD9o8sWkyCtcPtPnJTyb9j4g4PZokdrnzHIbSyfTaYSNIWvIwxfXOjzZtEE8w
ST+VZltEDxwe9RzDKnkng3hHTIyrprskTl6SoUO0rgvL6wCjEFEBWlNyY0yIW+hCMeU3F73Kq7NW
F5jcn41sn2AtsANCE0f71Ls5IbHYx76JbhcBAlIjwvnaMxIfsfGjd+WXlKSUtHTvBSOiBVM67knA
ieSJol3Cd3wdr12ElAE2cfZrAjvndqQS2YFX3cq2vA376gGjSG1WeThfKnueUFxNReBcwnld0sXU
ZyhM32Naf4m2l0VQuwoiU/49jMF1mesLfFd2YY3yvlfCHdczbQrm+L3lEoPN0XiQmwrRhPBjgQEa
zkKzjC8LfqGaxi+bTFERbIZqDUdpgfVcpOvIf7UT2IGdADFXlgj9RUN/TUOIRWQvAVkOmxBrnETh
8/qnR/AztVLnmojjSCus0iHab8897oY2jaISoZIk8ZNOhjJr1ijvGzpBVRy9WYXrC3GkpKCZ7mGQ
sAdsYYeq90PTiWhX9r4pECj9ArNs5/WrSLdR/CSMPpM23m1XTTx5z8XyDoOtk+FYv5Ug6gGDXc3J
j2T4KyJecyAVb57AeaRpyMSRjY49hku8KTbNExvIDQB6J8eog9PaT9NN+3gaTyFAB0u1AtQ4IstD
TF/vTNm5+ejX2eyyb+B666wX4Cn2DjYEp0rx7n/GHnQJZoGOD3oFoBCm9mNUXXwOMdmTl4mkqQ7j
VFmwapHYwENtC2BnsHHxvNAWnQe0KHvg2Fb3RhEH5GbD3ydujqBCn+NqBZayOtRT8GPmmJTyxZ4q
YPc0625xTbtkbJrCRVoc/Avkx76AORlTqEucFNKbj67qz+A6LkW4Vv5ulfCxGmONzZRu5RwfYvI2
CXx4vMdB6oTzk0SvIcZOECFXXoU+GaBIhqk7t8n6yVAf0ZWCOKln19ggqwo2RFvEovt4GG9gyX3T
qeWWuuU17jViRaw+35uv3HNPzBXbdMXnnNQHvs7oXUzJe4M5dpzf6JaOAVJPPp5baCdSvE33AOAW
c+jmk4Kjp/bvPQZfVUxgpcaJj52TvEWg3ktLbnw2/2rc8MlGHkoB7XjyNyYFBkVuuLTPPRtu6BRc
oBGTgGigNNRF3bH25nvfJHvSDr/iHqVPwswd6jUf0B5itCG66m58B+b0vN2JekmeeBQcgj44togy
gcZ0Jzw29jQzcmUTP9Rte5hqJaHJjNUe+ssAy5YW0QxudUvVY6iiK6CdNRwJ3Us86R+BbedDkPhr
JoyvDxylqgP6zSSDmheBwjCADFKdjEFgPJd7rOgafQNdCO0LMJgQqoQOsBjhHPygeI956DlYSyi2
ajydLBYlu9F9Mh7rMRA3Xu+DCAg08YOTzEHh9IuGcGqZuzQJpbzzxkY81nFQFaAify/t9DLOdXcJ
hGhxAHjeWWwKNFwl1rozU++GjAnG20bXxTuyiNuOzvTdMf3yZt0aespk6U4o1CUvg3U9UAWXLteh
HD8i7jdLtsL0G3axY1j9sMq2GeVYP9LvbAS8I6CTMy8DlMH86TRoHJfhMPdtytxpvMNTHT4FVAJo
pZAI1O64cQc4dIv2GijEMa1G7Nlwj6BxBvLl6ooV2AhtshFC4GIw4TZYF68sHb14vTWA3dyXIVwW
Uz767A1hw/QYL1qgkjkucCBYo4zW8SfCi+hh9Jh6I+MKPo+N3W5IrfLK5iibYADYJ6DlmmLorTsh
T0H22wGv3YHNhGNTbQ6DYd/sa1dAyjaMujpTGZLToBZ5kqaJj/8SWtqgq24X6rmFsF6cMz21twNP
xp07SfTX6wi+bM1KbtcRroTEnUiGw6t7APU8/qotuavKdQE0Nm5AiHXgfFG0gQGYu0o8wBQV8UHP
1W61j5GxJSj8ysILoTf2HLLcwKmhPbhuiS6jSLDRzgDOO2407HoWQisaNFN0YO1YPysMteyhhgRw
UdfOQa3NXMRtA30f/pj30YJe14CpFCQ97k3rzk7uG7870rrrQC7CmNtrpZn7Hg6BvRkt914aauFV
5TRze+9EPZy0Gj7cLmr+QYcZRSxcgbxZCWW5xuzDO2ALOncmO+65LOFZE5jgMINJd6sU47cQXQen
pu3UyzhR/1n1Rt7MugZYnHVlGviAlzIMzqZxhZOFmKHL/VZQFIehwl5jv0WxHjNsKFxigx5g0NhF
mM0LvNF7ia1c4W0WkhthtYBFSSvypYYgJVxUlTHddzAdNd7VKgENva9N4eMVzoVCdM6Hfjq0gRqy
ZolglulHSE3CCY7EyUD7FHGe+gmJEtBPiykN6LoESUeM2ZgXpwugNNRiqSGKKe169XlJIILRqvVS
r1KgS6raTeosob38apgF+JiqGO7aVOVLzwfQO5k+NR3Kwh3x5wIe8FOhyeINmbJT+0lHjNUR4aAt
oKDqSilX65yXS8AfBag/bySM3B2OIveqpIN+VDRsvV/omhO8vOu0H9bk25YVIKqAL6cgJCQ5DA37
ooRrFtYd6+9ReF/T1QQL6gFSwh0ad1Q0ZoQVCt1io1qm0xghu5ZznyUhcgB0TdT74jl1VjUVXEUd
W+cL7uNO1zKG3Gb1dqqMAjxTpi/RFE15AoH7bdKhmOGQOCyoU6vTAPerVPVNjBIeDT8COKweTQOX
YDogUqRo4txJ3VcFeAPLjms7gp6yLAx9I12qvNQ17pCL0z7GQMTOwItqN5WLwp4sAJd3ZPRqPGfK
RtmjOjsxXDGsUz/4wua96y8rUtxgBEAJAdSkQjBA0T5PCQpd1SJU3q6YWeVd+NPhjT7RxUEoWpYX
q+UvhhS2FvwiuHoAhf+iB++pRjuw4Gt7L5v5hBTuMtb8l+qxp/HBfactIumutSIfBoYwQvpNartG
5E7gAXdqBz/tNUarcLtw6PnkCYnU4+I4Z13BNxl4J7gtDJj3qfTTWno4NuIK9Oq5/2oRP/eJwiRN
WcDG40CasUrdLthj/Xw5QEa3ibdv3frKk+UqhgCV0zIpLI5gbqvDLH30RKA78qf1NYaMSTXygM74
Ebh97C9bXB7VT6rDaATca18wtbLFO92jRIxDOmT29eTiQ5vqplzNkm0NfCRwGjlU98Ile3Zgg8w6
+dIF8S870GMQt6+dBeWghdVFxkI0jtU6DDih5tdGIKAeps0eOmwv47YHo4Ag08RbFPBYokbSGD1O
42ByQlF0DeXL6rq34PT9WFr70bP5bVzWo7L0YFaUJYclephEc4tZsl9sdh482J2Hut5J1YfP0XZw
IHJesiaufw6uMPD/kLsVUS2qkeiYxChVrAgLdOw9g2ELPZrzZtBGRSvwwMth5zblS0LrpwY2bmmZ
wCtnQcmjoXIALhbVdGj52YU03tvsRK9UN68wmbWYpInDVOKcR13/RBW9KSdUXup1YDeQ+fE86vku
EtGPRZgFy2AI8lnBuXejeRbLABGZcDaGWoMQY9Hm3EzISDmHRUoQvuvKuSWENFlSueNxbiazwznn
AUEWPFgM2KMLgB5PrPG8zQW/54mt1ZVj/wCzWOgiaKI9jfxfIkF9Xnr53MO5T6JYkMjw2sZxj7Jx
/Gxk/TzECymGNhnztZ4/NgViVdvrNNE9sg6oTwJwhfEVUM3FXjEETN746LASme0S39dxI+DEC4Wh
6YnEViYuPooaaUgpyfE+nQz8Ey2o1r4Db4QGDwityH3seHnYi4/VQxk1tAp1d0lyFKBgKtKigexb
IInjIYH5+EyLZGEPdWje1gEeCFNZbgX32u6TCmemUWOUTz3ZTuAKLjHymETjZagRXkp+jrDa2QC9
nYh+hbI6wZfjGd26WwKhfwINWNq68IaamuTe79wHjRnJzOvGj7L2ozTsYPJYdiqDh/dJuvFnhVk2
2CyhgyMUf1CTfw1blLGFR267uAdOmZlvVMowV76G7yth0ZEacO7LpTO7oCrrTEaSZpsAn7eIIure
w4k9IT89z42bYBWwF0etL9yfm6KcQUes+kHhxEUu1MUQIYataW/9lsOlOnLg3SFx01F5j4qqRPNi
iOLC1u0vwr03xE06wwRpV6zDUn/ZvhGHvoKhLlCrYU7NpHeS6Baa/dFJWZB8MWrVAQYgz9iQAMZf
rL4yF9oMuLmh2QULj7wKaxhfwu3q2QTIFqqWroX1B/3kueM3JoiTmzKKvFTBX6GAiI6eRvik5F0Y
QFgMteNt7Ihrj6dWIbelQcoUalchqiL7ijIwqnmf4JBR3gnd/XbDZ0cocfeB2MGnOclxNnVYJi5/
IgGcfSo1/GwqhnN5KjNmqTohcp+vOMKjb7Po4DHiMLXC2U1gxO0ihVJ1LM/hMOBrrdMdNIaqi7jD
PWIeikEE7cEjsqwyC1Dav6PceR8sGkmcVe1TDeZB0ZMIFS+ZLDmKHvYcl12fIzxnOz2r6NLbzs9K
b/ieZsx+c8048pFKoHPRYBuC88e7Q+QMJ2z3l7C8R2+2R6fbVnEW+1JCmzFMhTdRgmJOe14mFCun
AOsLHQ2sbmzd1ARpRSvEKAFSsmby1QEiF1RzEmhmbWNh1gbUYTYaeI5gQxdwrEHjHCWuqqgqD1s9
2HFwo+bc2ZmwnIuhj6aMxYAbwphJPxCzmFyhjYfWNiwBo5nCFmGF34LVWAHtZIIKr760twIYzL0N
oOXyzfzWawhYpMuS+yFxkMJ7qC0r9Bqh11iPFCvwEKspzCY4wGWI41w0AavkrvTbx7nr/KJsRngj
SNofPebGOZo0w7XGPyAVCE6Q3szYWwWingV8OK+p3odtxK52B3JCBy9EljJOBXNw6oJ35GdI37CN
UtDFR9nZh6FlW0qD6o4fBk0hQGnLpW/9dI7dXwMcXiGt9WjWGMhj1ghxolnhVAHjj9sa8OIMh9kD
CyYKB+8eNw7Kj2wOnduGqiVFKQ5CZR7YNKkl2XFcI07x8QVZ5mdjoYzwxzrZQa19F7Ol3i+6PtG6
fxkq+8kYyo+SwC+D1xKZcqJ7NEQqFCInvWYaqTDI+9G8Z7P9dj0ED4lAvR20aySVEy2quJnQDQXS
bpJotypO5ms0I9s2E56xS62bLhQ3ZHESP2tEOSNfhjcFVb3NNIOZjg0Clg/R/ElrmGZFdNFwEHbK
vdHODJ8r8twmcXCCxEPkjI9rPmhcQNk69+HgoewAnkm/C5q4yhYyfNUinvYgaVhE2wtOr6SGlBuh
XY5yyTsiZbjtLYib5g71cuZ9uQ6q2xXbaFKkRfMeFcnUo9gTTe2Lg1HR67QYMPL1eAOVTJOpoIVH
QY/LQdaDEvqaQL3i4tfos/CWJjVxfXF6/egE2ykt7QGGHyhbrWjFSBT5kRtMI2gP5KXt+qUQYNjn
MOY4R41HTmSBPxBylv5ecQqrJRE+JIHTFNQ0XYEZqavswy9jKAKmZiGZ8VD3qEIIMkof2Ni1n3ne
9xMuwmUU5YgG3aAl6XZegCJOyTv36hGgJqJmKyF6DS3qtavgnjKw9zpxJKrpFEUdCQvQADFL1S2v
VSI5ir89OlKQCecoT/S5oIE8+2WHctsENrwTOX7e+zOOEwfSeNQX5pfAVx8OJ+59X5as8E3J7/nk
47QvvfHiRpXeh5CU5lEYmv1gKyghbbymLRQkOzuv0yMK1epaA9q3d7TwniOUbtH4UEse+mBNOCxJ
3mwDnwpmIJ0fUeu8KLBACuNyepRdy+G5KeHAxvDSupXHUcVqlpz1BC+sRQzI+vHRDjU/GSua3diS
MvPmCovZd3SBSluL5h1LUsZXlUcSZ7HWcHBAfjhfSeW1CEOHSWUGd+tpluFwLywxJyeZHDgueAzi
jWg4stIkb54BhzRotZ93rBL7fp3a59VwmLuxuN1NfUXvS+KGhcJI4TWRHj0mDmprTrkkeQUw+C2f
8DkaY9pflYK/gLeMw8eENsKuYlo+KtRcwSCScMgASxgyjqVDg5qOsJMIuFW7/2HsTJYbR7J0/Spt
uW5UA3A4hrbKWpAgwUESRc3SBiZFKDDPsz99f8iu7nsz76LuKk3JIEUBDvdz/vMPTZPNzILGLtCL
FUjUNPdL92IbdkhpPFUdHkXh1Fv+1MzLDXOI9NMJU0hrjRn7c1mO91mmn+FEEHbsAW8587URVIZS
G7kkbghKsJTLj6iX3mUpGGBX4dIdWxBVSqEh/2Im7kYnuzMn93VpjYxtzQFPrSEZDseySuV7G3n2
GWxUjNsMGLrd6K0tfL2yxTXqsXYz0qb1bQ8eXDJX0dGmidoZVUK3NLpNc9sZIT5NVNNM6EPXoYqZ
vDt7Nn+qiGdMGtgVe8z6/KwXuCRUxIVVbQb+ZiQYCuuc0ILcuU2uJWC382Qcyeqx/GVyR0LOymkb
irb1XRMmjWPg+9rVMDMnbZ52Tma5e3LKqWfjMGSHy0rCmcdSBTYR7LvS690I4lk733YmjLxUj+U9
HrJdUEYZWW6tt8JUoRgOJelqT3acljc1Td5PQ+nVk0fH9Ibc0732iYp3VJEv+cQdzsysCIayNQIz
l+qGReW9LmkLZLFYTTCT4u2zbdtHd27gyVhLslv0rNqHXTNcxwQfDcpokPkyHupHknCZkDSeS7SP
Bi9ysARkGGkEhm2Jz8UqzT3UwngXGXO6tTWN3rfEDK1j8PQpdXayERd2P42K+Mttyu5A1yb9XMT1
c+Wl7W4CgsOrOh0f0zkhAHfR4nfdGcUlGgr7bUm64a7yqgkaS1vRWgsWSWFou5lU83tnGJ2rKCv9
qe5i58sqRPsZKse5EZAPrlMtrPfFM7LLkthQzQqd+UQReU9h1XfvloxUAKmRpCLXpNiQcb+HPTY+
NXU57ST561vctBbXn01FsmjetYc+twy/HarurULjsyevDRfuMO3Id5P5y6Tr3VGEYK1Ies27gpku
YS3W8G2VeXf0bLCX0G6Kt0IxfNWHZvb1cRIPbdYDlMUy2taCRJMwrSY/smK2yayOz7AlMuRNA+BH
K6K31JGE21WTMDZMCuWdJGDlGKEmOON92J9cx462Se5NT5PuVMHi2uRMaZOmvzB+VzfI7cvLSjbD
CcbktIs0o8KCl+BCRE3wn1LLkfsSfxPGvL2x7LLayQ52h0Rw6vOWeX2l3Y6jrNON4O98N0sXpVFY
gueYaTP+KFN32MZTOx4x/GaUI7AUOmJn19wxi0AGRv0sXnE8i290WU20jwLzSIb4GoEp7EO+ICnm
fpmEOoaWsbjEuEzTHoeX7nYUqbrodUSPkJXarVrCNx7vESRAKR78OhwOakygB9boLLZlQmaeoerx
V6dQQG/zpRme535Oj0JW3rcrFuFHxGSeBxv4C+SGCT9GvkT7yjgOiPqwocFk6Q7whUc81ryCTbY3
7uPe8sjAo9bZyqXiIunKRd6UplH3WRbQ6SaqnFurKZObmBC+cxhWDsVXNww/p5g6vzGz2toqRjXV
xrQriIGxGF9TLdPvB4/ttSKe8ISIo/6y3El8Ee2X72ritR6t1HF/KjH1O9mnxsmpIszY1ufEiLBp
BCArym1cj82dg28m0I0RBuTd5g85m9JHuYyk10hXvM7D1N3GsVUflm4wz3qd2Bgk4yRduGr8iEaT
0IqulvW+Fvay96xOPWM0WZKcE6mr47EFu8wUz4aSer/1CmN2N6lnhjuir7ySwVxGsh9G+b4awJPq
pJtPmp5JHDjjaJ9bCTNrc+kvYIy6L1sFHaNS3j4D+7k0pVYEEsM0H2uzCk6eFQeLyYFazQKCae1+
9zaEnoqq+Lbpa+8rzonqYdPc5ItuXhJRTRtNZHJrDkN1xyBV952WAjcvtAFOC+PImhEW3YkObYcQ
x320ht50Zp0FLr7sMDRZB1nXfYW5Iz66hmE4/lSQ7EfbwQ6hgGchM7VPSwPAmEZnF6XUTJVWLDtv
HBum35N9TYhcvNqdGAbaR5SPYBK9OhLjRr5sBp2UnAixxcRj9iOlzOfem1+bFDYnHQxUkJJfArOV
wqwYq8DiDgFBVTBQc+chVtVLQsblg6aL/qwJVwRzFMd+Uk0FCXPtMQUw3xQ5KBi9y09RFU8xHGcs
HFKpbb0SnBpQDiebyjXND9sGP8FPeph+aC4NvBOGhr+MBllTiWcfRs2ZjnSWyPqHUg0Q1mBOeomi
kDdcMX7hrAp3YInzy7wU5skgI/BUhuxJG1d09ilX5YHolmrbRjLfJKZwNoaHwQctN7Vm43XGZshF
4SfujFIRl+JrGtrDNxdHfaSuhDCj2eO2lljPeHmp+6An1RbQeDxmVvOF+SDjsFmOn5PyJGLI8HVY
5M+wVD88bhqdiVtupJ3ZD8PondD5PS0VEn+7+OVR6GxjIjQXZd5i45Ju4pHZozkVDRW8wFdncbS7
orbch6wwOujxWf4VDRWzYV1ageeooqeTCcGodYW3I/b226lp9S1Udx0MC7tFnrnbqMcLRK5jhuor
N8ughqVuNInYDPpAjpKnH3rHPHKyaVTAkLcpKoNwSbdmw9Yfi5cuVhyxxvzNJn5sUzhVbql+zqrx
8TAJstK7MZoBEdAq54UqKJxwl/BfJ21PJXwHPCtPox4+VuZw0Tq79ctMxn7bQMKMmD6gcTg56Sy2
bY/psCsKBweiGB5gp7ObenD+jl6PSFjmzi1KuHUr46Wp36ZjN+2I7Eb+OdCjezT9E6Pz0QrjnZfq
fInSPRVFfBG9c8FjIdBD61nZCxnGMQvcO1mdcUjizh/q5C4r+X9KbCIT+kHVVFsQ23w7D0lg8o3n
3LxkWM+X1Ro03B5pA6BxarDZm32RClDzaGeuw0yFjFhVJrrSob2DA7GfeNxUOF2MOfRdDwa+Sf5X
C6WIp3cagNG96M5d6MoqYZ1j5pDABdMzdCuUXdOtY6NxGLnoWkc0V6FvomUlyVXmEjhL+t7o5kvL
dgTxTmGOsEG2vZ/Ig4ekMC4pAQwWNQ7A5yZsmNE6S/OuVezD3hyfbRFzyzF1f67D2KX6Dm/iMLoo
2ZobEbtXUTQMOAr7tSNzj8a7JvYutSUrMjqR8wzFt1F7jtkHuURAeXWzgbupHfQMEW/S71pjgQmg
mqNYEkrFWF3LKNkRRv+cyo5xX/ORiuUzN+OLmXTVTm8mJBtQcE3K5E2r9+e6UjeDyKNdJfudyX61
MakUjY7ov8HyHbo3cPjo0U7jl7zkm7Q2TbzzXBRDwayvGohUH8/aDIDaF+a8dU3nhI38a1SVGhVk
o8NOz/Se6EhWykvZxrcJXG0E6uR5MgciQ2e5MVzI1rZpbpWpnRasp6SbfC2p+eCO4wfzjw8O0X1t
tM8z1uw0+WXJTsqMptDY4MZ2ri9CRA+9qvdjk7xn2peFJSzXsVSuz4R5V1OSQ3W9NcDPlaH5ZhS/
dvSdrTIBdJp3cjvvhacx8c140H411ruqF39KW0i9S5AhRs8mCewm5Se5ZT9I+fkKMwVH0HpvG7FP
Uhzv4jqYubV9qh4WVX0U3CcZAnV0y69GYOuKdX9W5Y827wEPfxgidmHF3DsZ4psxS+kB5M7tJT2F
/iBxaFt9Q7s+ZKjUGnvVjXcyioHWx2njGA3To6X8rIA3oHTtaVRuTEfHxMHe1srZYND1IYv8YR3V
OQPBb5Co4nbyrWq4rwSEHyF3tlTfThcliA5on2lR50V8aOWbaw5bE005teND76SPiPqTOQ0cHdYO
waaoWolbHk9WuexTWDwQ3x6UCh816HpZGl+HMTk3oM2FPSPmNS/lbKLgeJoRJQ0O864mWfzQITGp
z4/9rHyKOl+Sqb4RMoXyjZWvEc43BYxFmE9zQWIdo+408w5mjFA9ba+p4+zXW5UsS8Cc7+ySudPG
A6W28vUGVKkVm8Yaz30mj0UeHgsg1ISw9EVGHGuUrlr1wej0rFC5r8shT8eddHEZwC8m0VEsLHPE
qNOllSm2hVAwUh9bnCRXrTzcB79mORGt6q+3xxTdNS4jX8bGK74BEYp8j38WyerOlcB0NWMm7pcS
y9fYOQzN1G69blHXBGZY3GGxHW0auyEQmUOTJdBN2vf6HbPcDiItIo0w3eml8+ywpWRWkmIeA3Yb
T/e6XZxE0f1EAHQ2xz7w3PywvrHLR8Cq5WXdbsGJ9+w35HTWPmbwN4ypNotJS91WQYbhjWenh7Jb
4NoO20GvoafmJwD8Hyq0DvNUkBBkyU1V6fcY1m9zduNsngOZUqKkJvQ7rAQWDulFj/1mbs6EEhWs
rPVqVwM12zAe64SpHkT5bgxvOTlbvn3rG8zI8qh9yWp5refwonBVE5ZgkFuDptZXBOA98OBT7FgP
i+yfUdHo7ArpfuzNFxI4D3OSKjCW9SpV+s2YDKQQWDrmU06wQH7bUBNLyHz5D4hO0SZMUOksWuNL
pXlMOjuI7LpJLJvwwcqCMkbDUnqHyVss9vqq29pp6ysnvorIPaRJ+EJNdgkjptf8AV+QCO6iNN+T
Qp/QMsXtQfaesZ3gSQV1RlVgQ7Ae0pVamW6wtk12XZW4O62QD2U7ngu9v22keKkFOUjTVO/axfxe
8uG5VCVXrLnJx+RZFPl5bJZPxrsvbV09G1EuNqEaXsg+OLCB31Q9sgENF3hlhSf6kl+xEf4il+dJ
16brTO/XWP2dpvogT+19npu3wJKgfO3YnNGf3ZqGazKvU4HuqA53JPSGE7yL9WsDUsMCHa07W2ug
3cUUGuG6qJIWycoc0ZEtE/KigVzVXlZPEGsea6nuG4+w1XpGo5fMQ5Am2h1TM+1AZXU3s8GhlZNM
H8lUP49zRUAu+IpHogbJs9uG5y1u24dm8jjlcNTgVN7CaYcD2/AkajZTZzMK2iLezwuzIzdHzBGa
RgFLkU9xu7075adsCC9Ay0/wPg+K400H2kIsw0wuaowFcgZTXH0g0Y7F6Q4eZNFsPJH0/tAYA5Nk
oFc6C05v6LJNmQn+QnG2NP1uVACVaau9eOhB8yE/eVn7zGAH35EKIp3BBg4m9NjobSA787NBY8SW
JKZNkscm8q7ks9M0Ri+cUWYHvEjTeBPmPOdDpN/qrfkgrJJzeLL2SZd/h5REgj0nduWwVYuz+GVI
lOqQTXsNv44hIhEbuz7BG9oSGlfL8aG697DoD0VhfjCDMXaxjtZmfQ4rEr9qUrCzGnZN74gV2o6e
E7QXGLXeC6v5VTBLCruIqozKvjGmW4ow1CrGeJqGBsun/hoW2Yum5agvhh8p75SyOmNr4GPrdjvW
MTYt00Kf1Wo7LRl/tQZDMDv1jkbavaxDt0ZqPRxyQoOr6buKXfiErXYuJnUyF2MlS39DGg6yuF7J
wwTSWodSllegrgNq03XdGWW3dTgQh2Q6MRx/lOz6Fifqer0LcnF0F14T3P1ae7SzN2/kuIv2Vedt
PdYBV59iE+rUOG1z0qcwILlZzUjWcpIcy71YwqtXWLdoFE5mNTwZc7yTjudLuGSwYhCPOL7Wkgle
Tv6E3mpeK96T0MK3EJ4pTDqrODhj/6jLO30qMT0p3mEE7JZ2zRywbyt6U1DWN946auXqaLNq97sC
W190iOV0iqGohHZyWokwcJHCHlg6Dx9rWmv0j74XHnF0yfBXyav2ZcmMoxjSDxwVDiG8phJmRdkX
NyV4TeNcQ0Miz/zq09tYEu5VoqDtGAPODdPpLjpnC6m5ZMYhS5qVe5kopShZ95jXeIkIHKe/5dV1
mVXr4ufis+UeRpDMouHAh6OFk/JNJLqvlpocbVz5NHJExmN1y7+NdBP93MoJvQEkX3UevmkABmrH
aqzWBa07G3idhR8lxKDPBLwaBVnAhGVndQejJwq8sh43eVjC4SvrjcUTIDnK+ejUKd4jE7Uf548V
D4d4WG4jPDwgV796sX4fWROvAeBMzhlin+/0zdP6X0svgoKNHX6IPzOIaNPsF3b656yDQM+fBoVW
O89go72TB6OrnxvLOtiL5XcOJPVKe8xN7icP0Gi/DisnFP3V2l7YT+tvk9RY5VidmM3DAZl8sxV3
yeiewhpVvgz197os9mLw/LqUBzecAzUXeAhrh5hHyKFktqHa6mH6mLOxzC5dNhY9zAW6qF+FdHet
c62s92K8gxQCz8rcKPPVjMJbLQuDyYamMm7D8tXuAc3osjUCzsWt0/9idrItAXP5+gpVHzj4Fia4
X8a/MAH1EaA/20yPCRfuwKG9XdvTQIblVtB5eaI5qqT/wx/F7n+RDL0e6lNNznLzHhtQR4BUSY/j
SV2WNxMnOEOVx87tz2Fm4C3ArhHXPbStzNvVUca+tUJxYmHozeDLzlzjBvQEuNh552+d7ac1GgUx
OeFiUOAaZg3rE2Vzh2ce2p5tLGwpbHspghD2mY/2qiJACuYu8yfooF26DUlfzPOAn0xHNLtcn36N
K5+Zy5Hq1qPFsrI8RGXUDRFPLjgeFIkHiYUu7D86fwYyFGvbRXPELhwjGCb6LodeHUKcznnoUBpt
cRpMFljb0Pk92KdBmzUT86NK37QLm5mDUesGpRTWBR7MgwRqGlVWkKQVHrTYzdEavnSFDVsIncC6
lXnYCBMpETimjWJHBjJKX2ZTXIrSvPCHzBRCdlzfry41cZ7tk0E7rRsQD5dkit0NyV5ndkFqDUpq
BDN0NINJ+28PwzXS5RMOtTmJNq75MwcEhs1/ihj5Z2yt6yo1ohmgRWfx0edjhbisspdpeiAPHDAO
nKCqQB3b78JamdmU2w0z0HXDC++4pkbtqK3d9sXqeOWItvTDTMAmg3Tu6f1nnhfqYE4pm0LhoHZp
UK/pYfRRt33IzN299wqYsPprleMAhTXZ7RI1fMScvOns2GSPzJAX4bilI9nPjEbOMpIPhY4623Ye
MgH7wNOGX05WPJgryzvRXxdlHfPyuXXfpPkzGwsWS7Ybhd+JMT1alGng0Pr4NAL97jTmD0+JwljQ
iczhh7uARBaaguW31MyPF5i3uW13T2FTpkE7odE24/7FWODLzRb5riQF/mCkZUGM7MeA4N38UzW1
eq5ghCK5rxfqjQjc156tD1utGdlG1n8aTdR8aFYHscrMdKhk0aADrHhjc29bEzBC3Q5MXXoqFVhg
zU5fluFMtMa0WdbKhAU4MGojmSJd8uig+ObBnNUJjNvGTS8RI+5DX8wh3bgxMOyu6MIkVrchs9Wd
6ykTgwZlvUfAo2nQRZX4ocSocr8tZ/Dd1CG1cTD7Gysd5NPK8uAMWuC4GBFVqHK6eGvlLapH4X6O
CVtnS54iEQqw6KCgRmVK1MnwQabuDzeM8FloqUs3wxBhCW3X0y/dJHBxU6e2CGKNJEFLJuWmcDzE
IKxYERSVTI+5GzFoFgMuWRszikSzLYlOf2wcyzjnecUJLqPsAPEPBmXcQFNVi6uzryUV0SmLEaDP
Q/4L0wCv/1HeJe4wXzgnAR6dpL12tZKPzTwmTLJKCnZcWI+u18qDyEi0XN/R+QThRGdeiX0IFPne
mibAgDms4ttFk1UwsEtFc/5G31Rsumq+xwXmNANWlGDmW5m1aD5NHo0agE+d9bZ6sazwvCrfiE0/
l1TACoTGbKmEHfinnnEpXSMmoRVpzejUVyAOYAXXfXFmJKpjflyfT6OUb6JBpauNe6R/AcltvtTd
YHXBbhHpYdHRnenHD9Mob0I7Omu2++a2+s6L0kBiA6pl0b1d2RsDpUrcmI+t7bygvjkIy7gTfX4Q
tna0KdnUqH2u626FCDzIzBvTBIyHuNaW/SWPSemNow/EOKiFPA42LyUHtImpTmkbN93sDBxKLXC9
Lm/Ncegv5mTekUhzQh6RB33UkEffnlniKDRl8z4m2t6AyqqGCFQv9o4INyAWOVHld7H1mLsx7nkm
4KjEaoD4DDvXLr2R0pMal8LCAr2B65Dw3lHm/Ukn0ODIWUkvYg0/Cb2naSmfiDV6wLYXFxrrmqVg
+e58nsf+uchnnMwpZ2BG340eGijMTbaW3gVx3l3hq0BMRZxbdGmg3HGPS463bRbZbhAS7v6owIS4
jQzOKnQWR0y57/+AFDjZix5dRd4ylUnOXlk8e3r9PlY5N4znPSmIlkmXi7ueE3Mz7MvEfQiz4W4t
hNrBWrZy7v10Mqrd7Oif61+dNcazWLDSy+W7Nud73SpfnG7d/uL+pghR1veOhvuToZ+8pvoZyuZ+
aqLTlDr3gMIQU3IHChnrY7EuTQ2xzABWoOunMsHAXH4vXKHcaV9jptm0m/fg1LdjP8LDNw/d0sDp
sDTUFckbV6vEFsZEwdsH4WT6vUqfU050nAgOBYtjNRIUOPsUsAror0aEneLDzZbH1M2PQ588h0n5
C1ZexXafH3MMARe6Qdhsx8yh23bye6OH+48eBWGoh2yEzsj06h9NMxu+7Pj+carAdNJyy0D0iJvj
dvV2d+IMIi0hFrYB5wZTjtOk58AydJJe0t040DUGlxOZE+Grdgcm8POqhEIDvjEmds1ueRsX5wb+
8WEcMCOMpp1wtYve968Gz2pEh0k9zjhI+7FCMHaGd40GV60vj+1CvlMfuhC7hrepjx6KEHsC6DfX
WsNHRywuDc8gDkBDkO6b6rOEfoAzTXZOITGfSrO672uUqXNmMMDNSOgt4nvBjMxw+jdYd5TNTXXl
4u8husS7NnOz+9W+uWNcwx3X6k2tYmTWNaxa5EDIJxPohjGNuYq/e+ne9zHgs8LZrS3LUzcZrzDG
g6ot7hv7kxJjXaTZdoZQNi8JcxTnNBnaT1Ryz+v9RCX6oLG3QXEbDq2E2VNkztVqizuXSz+szoLr
nSZJRT50TnWbtPOr09KGa3ZsXqU2PBcCG9DS9td9KErIfAbnMRDlF637HscKdb2XHgwdAnzTtldz
it77NruDSPOUN9Wby861/lxzmeCw3QisKFdD/3qomDuU8004ez7iknOoLBTA1lslEjxKVgSccfzW
rbXvqPICJ7NpjHExKOqz1vQshNK44O7yjvyg2HkVuqg2bk8J+dyhinmcit7aRKWGB5LWucgxhjv4
rsz+2p3mLddYLEFddzd1NG891a1x72G9DWfjh27Z3koDwrIjhFtuI+ZbG5fFdT/xyfkoEOn1yXDs
e/eUG/KhMnioYVtvZMrmb3XQ4DRP3YPy7z2jzPj+8aH3uMCWsoK2T+BDWwihqYiZakNclftMj7G0
0w81cpL1U+26fACw3WsRsEuhw+h1cG6oECtgK8tk2jARkFoYqk7dAxZykHnlcGni+FtO7b2DX6lT
Z/5sTNsyDm/WwKKeTqNs7UBf0uOYqZ+RZb97a2s/iFNTTRw8c/plUIEXJY+fGVOycWQpbzzC+mMW
CjnYFOU2DZODmzlAyDkTz9g7O0t/jIDruXHXMk6BKhyXQqJyfwm3HD6ythyfVBfCF5EDSsrk6JjD
uLebCCCtOhlLk287E15hZcyXRE2bGbZK4C4q+3aN7sZsoj273Lco6HWGxrzU8NU3EPgbGAxDMGG1
0FbiQY0u/HPEeqcSM4fHsqucK3RNRsDOcu0NhENFuQYrlOGn6tNoWzgRdc4U0l8OBsISKiPpVA9W
Mn6t3wFbmiDRnJvYgGXDxPpHjBKOyntiHbVL5CckXqvOvDPdzkD7jUi+i2d/ieKjbaunjv2CsXqD
lgcuGcQVRELeRyK1h7yYjjgebYrKYdop7iL+n67ND23MALGVlN1x+eykCXI8+p2lwMSlX4NCmMbg
5BHFsN8Tawdn1QFNNX8iS9lFSXI7tsOpS75q+JRdhWi2xgZXWNrduqMqtiMBzSJj33amYd8b3sGe
YDY7pXbNzTDAQQA0ykyfLS1/R1z9XI4F2yrCX6M90BFdUEac9AKQyW7fcAO5nZL+3S4YNK2W+oGb
s64ma8a8uvxoQmiPqQ2tfXjX87DfJXFzPzSYHA4AHH2UntxICLrg3AnSLtP3ZgdAntoWqYHZuXEg
p08jp2k4UJGEy3qOJt5jKKLnAaYxE2WUDKW6bWtBAJtbkxHQYkWmtL1WLm/xEr9osYv/xujPk3eG
pP+UDep5Ml2AGcUxLKy6OYRlODAEM7c2znWbinheHrGVQH7jlrjd6aB3bQunFipe+aiNbbMfGbz7
o8TOZ5DaHIwVhlmqH8lLb2usvUKvsveR1pDtE9bqFKKwXbUjOGtBO0Wvq8tw7+gFlkXaCDy1EERv
O1wbxuA5CmGON0VPvUWLiNBtVF9OC+wxwjN4wAhDvUe9B33IkpgMz5PDgR3KUwvt7buSYvr0hjLx
LbudXlo6lSs2BcvBrrLuNLYTCJqTOmoFBk8DUZyHuFPygJ4PPDBkCrq3ZRH6RtxkJ1MCFchsgPI6
hlN9SHScyIhj6UcfVQ6+YAvDinJIUcfRqTXvWU8VSIdsUU92OEqdajRA9Iwjan0jSXbeFOmBO8T6
2YN4QD1QjBB22uhYg4O9MWb+Odpjd3ZU3W+rRAvPaYaRTGUAeigjSh77cphu5gEddl30cO8KhvEg
xvA6JshU1CHTTcJmc9JLcHjG+e9Ei3t3tE/9TjmOdmEqKU6RG+X4URvG0W7ap1bOBMd4Wf8OqaDe
qgqyoE69cUGASIBCq18XUTN0HuATNoxGNtWEORffnKY3tKsdywzivW6729AANYsjTG+aqU7vplxg
hVyJ/FXX3JRKuhdfleHo3Hq3i3F0aJPd3KW/dJ7bDROx+YnOCHvkGCTP9TD01yUcggq5wRYUooMw
E4OkFm6KUNfFvW0d75hTFW0Hd2A4rTOHm2uMxGMoWXDBQX7DWmBHY7j2J5Q8Hv0mnQ4RPh7bWYXJ
SWLuETTJlB3LFU9PlDf/MmsFWqmzTVJsxK6/rCqq2iMVBE0cSruqRSGldSMEhi7FVymJVXeAsDye
Khktr9TUzlaT4ZthWO1ubDJxDF23R485Y9plpJa3s+zmQwLY+ZDy0h0ORkW8sTwbbvtSOA5iZtwO
01aPYSfjw2HG0AjTKUG5LvGqh1E7bJrULA55Zj7oo7SunoGll6boBpzkzrI8wkGM6BMrrCeaDOTh
kXzpFoAYCH1wVGo33Vv8+Jhr6VOW5e+joVuHtF3Tq/vmIZusTzkWAzsjcjPkg3jKRfWLmM0UXwu9
fMjMknQNlehvCyHFG7d2Spb7DFuskhYpg1bjbv+9pSPVOqse7s3auMbK8F0pjiuGAyp4iIr6Nk/Q
naj4XiGRsEKU20zN6JvjJsLUPNv+ey26Oo4yhMuGIW5XYKiZ5fcA+Np6xYcL1Kr6jNk5Vemy4q+s
APRw024uUL8NWttc+hRyHtrUl2x1HhPOi0DSvOmttvPRZOR+ZIKfy7p+jmv8E1asyOvulqLAgbAM
yqR+kl6FfSckpTzfYvi+g/f7nPXD6g6GBgxqSZT6GeRr7BH6DydmOIglw/UP493/+DH/Z/Rd3f+3
QWb3j7/z84+qBiGP4v4vP/7jCc5SVfx9fc///ps/v+MfwXd194mP11//0Z/ew+f+8/f6n/3nn37g
sKQ2uw7f7fLw3Q15/8fn8w3Xf/n/++K/ff/xKRicfv/+249q4ADm0yKMn37750vHn7//Zq5pcv/x
f3/+P19c/4Dff3v8Xn7E33n+3f0/b/r+7Prff5P230zPstC96a5lARjiEDt9r69YvKIL0/V0YcBb
tUzcinFy6+Pff9PE3xyWMSFWpm6Z0jLwPu1gZ60vGfrfMMizpOfpjhSGQ6j3/3y7P92f/3O//q0c
ivsKGUn3+2/iz2bh0sL1wvakobOn6CaP7V9cjPskTSxRFDUdwKtlFJdutoZAehjOFd6HrY+wi6BS
ph2t0qKBGseD98FmC3RWNjeZgsYSOsxZXvgdF55TtAvLE94nd6HTG6fKnp5c88U2dgOGREGdyK8h
1XzU9vpGJ+fKh4ZwqJ3iEpt8IjZlLwjl/4UX9F+MgHmIXZJ6Pc9x6WN07sVfDLfhUkc57LVs6yyV
n9bGk9uPtwpNUWM65yjKjxZSuE5a71h1/QvP3T9bXa+/2vIMw5Om4znCdsVfzGTzsYdOCKEb9gxR
wOMMIe0eLPlYj//CWVn8q9/0lz8yVa1dF1MS/Rdn57UcO5Jk2y+CGbR4TSAlmUl9KF5g5BHQWuPr
7wJ77A4TzEvcmX7o6q4qO5EAIjwi3H2vbQ9R8qaONEKNzVGJ6ZjDwINXLO9CDoGSkD5nUD85PtEt
X1zpKi2qNJMncbMhfeDJVKS08M3z8is53psDbDlSbnKn3EQdsvVmJFjnTXXsJA3GXmisDW185361
Kdz+VGf53ygL9ro/vOUdLSbK05eV9V9z9+tc/XS7/m8m7/Q6TdOQmfkm3kyqMQfcB3UGSqlvI1su
i13Xae99IXkrtlqX/dvwXnzfHFaVi3iMbhW2qW0Qy9SCbk2QPnHDhVc2r/Kh+VOPzLau6K8QB1MG
hI7bTipV6F2WUgS4xp0CZXhBqEn+K6ZsxiWNlvqfH+bCtGTls+Jkk61VRghyDhqOoPQFUsrD0At6
LKvgqfEFbkC04pSZHVgUnibPL06SHM63P499Dqv+fI+WwpKXFIuRlbmruJ7TbiBPFCr4OYb7UepU
tusQmJpBXS1feFB1HmH4al9HU2bc8gxyrUhBIiKTpjmyXv9OSZB3QZivCrE7icV7TO53VfvSdZsU
9Bmk3h3eZdXaHyKnTSQnItFo5KcQTZKJXHFU80NsZH846LQrt4Ja3+4bkDvG1JclofNE3S2Z+Zqm
ckJKqj2Wif5gyCVsF3RvnfJP4xw49uJmQg+shFiFYaS9x2Hz4bcWen4FiQfVSFdYMiacPuhs9p69
h1mkNay+0jhakdmJr4nFJ7FX9+TNF9DVS6OwqXwFkqe0okfqwCh08eV9uzfJ8Ufj0je98Cg6yxFM
mGEa/Pf5IAbi4zpU44gDdIOaDXKf9Z+DxNk54utan9kj/GeO6poos8dpsmbM96XBy9DumiRmq7W0
yduDlTv9brzn0OmY9TozD2wjSzvFpZmKpydaeBJWLM1p3XyBuaPejUcrYkwaFqjcbkenIp6uW5BR
K/ILXIJrmzPk0riXliNhzdR1g5hmzon1I45e8AJ5mwHN10GivHqUmmuxRHxvUco8/bz4P+2Jz+ch
m6FoUCdFHs3anD1llFsWPrAUFmngdRCRbEiM7Al/WyyA98XVwmjn7gjTdzwfbcb+H8s2B27PaBJp
yLyfevfWUXptDR2ajJAOlGdroMbp3/cGqJN6OHQ+psqitpfp7lBbcH6yQjGCdpTUTxd2ze/f+/y3
Tb/9y/e2oOgNSsNvqzt/I4wZacf7nx//+7b8dQRLnMU+r61xpO2ndz2J3HXEDck/WXz2uAn/PNCF
9XI+0iy6kDivOIwwkjYA2ZTop1lpgn7do6+mmddJMkDe3EYT+TM/7IgNDVydSQOGvF74JdNI/+/5
xR53/lZVPJFhm/JLcrncWSFwaU3dFzIuU8IeIALV5lclpu2I4ny+8Lqli2NLhm6YOoduUZy9hQhP
I18ZGZsS1E67CjeuU6+GjbJu/1YLk2fmwPtfM/vLWLPn9MwsrgyDyWsepd/RiYr32kXH4viOckRK
QZy3aTm55p5l/FV34k5bOFxOK+fbe/4y/iwIF0GJNFtj/LJKEOII94IPbLB6ieL0rqBCSIv1auHT
ft9cmGQUaiVV101ZmR/AYDCqhUHWmqCsojFb5beFDfxop2zFjb9r9vqOmsjCXjPddc6fk2VDnU/W
RY2DHzef8/lk1Tp4ZTWgiDQREiZQsF6rt0Or0ignRd2qU8InN8SoS5HsQhKvPCrCtPVhQAzSWKWH
X37jHrX0Kqa3e/b2mdgi2wSHOFPXdH32qzpfkmlYGkn5teGuV8cNrRkfYyNDqRqvpDq4F6Xmzg/y
K6+onls13pZ0tmZxuWCVKH9/O5KM1sZUZTZkBfnL+dupkk4PMlTwtgFdVrUAf2ZxuhFAzSEWsVta
9Mza30jaP8z2NrkF6dB/CCDglb4H90+9Uun5V/AYLottR8vpQBsO+l7UwcRq03iL1JhtyV0vTKRv
69SSZG5G3My4yxqSPFunaR/gdaGizmtQWlRUX+ONZvur9ui2q3ZcG+0NSMCfx/y2EVmyKlqWQhBU
RUVRZkMCwNWLyvAA/vbNqW+9o66Zvwv1d6vl7zgv0Baq3opJufSk33YAhgXjoCi6RizVP7/flz2G
bpA4JX8u4O5RpXYHDRGoH5T2wAmhaWk3fXDvmXSuGMNfS+y2AkSNyvJBsohPVS3fRfXS9v994soq
RxzFNFFdSPK3EOmVcpNQ7111du9MPb02jcAOymsbbBiF/u1SoPy+NfEKvo44C5RK6Q9yqcngMjp3
01pJSNtR+aLWv4o6upUC8vua5a7aDkx4CGS/oSUSmZKQFA8/z4DFHzJbK9DCxSATeXQach0aUJw+
f0xBwbYk/FpPAKIVrzshPLUIG0cs/6LSPOqIAH/+Gd9OHdPrmCaFzq1PV8RZ5LD6VvZoiudXmHDh
x101/vt5gAsznYBGTFAMrpVcJc5DgoJZRytO/po1rZ1GZ21SgBR1ab1qOqrcILwZKCbKdb8w1aff
fR4RuZqrEtks0AacYmfnSmAhCCgmWAjwOdtHppeQiQaRtBB5LwyD1pc6myKaomGKs0Nb1aIoahOG
8QeULNWmLz4yMA0/v8JLU0Un+0YKTpRES5rfzhGEe5laWuRTMpGideS+KzqdEi/gRRw0ZmBUqvod
eslaKvOpURo1XfwCIOX2f/w72FpUknOcowla8uz4nGjQKstBQvqzJXKAKVo122xb7mit3sdr3XWU
/92I3Om4drChzG8jRkbFpESKxx7frafgEFHlcno7epRXud199K8/P+L32To94X+PN3tC2UDAPYkT
ObJ5O2kXbTuOEuViFPqeIbPOx5nNmyGHWx4YjNO65FgqUn6Dct3rkTPg+pCKrTOgWDF9dwMbeRej
LIR47fjGb5oW1n1QbaokuGnRVFDxW+lk4RECBppEGvNBovOvN5GgDU5sGGsgwm8pnF1PlugL63Z9
lL7qynADFMBOwvtBTa5kzDl/fovfV8XZ0+mzi4YxikKeQ1mkr6HZCxrybh87UjdYiF3y993jfJzZ
LuprJrXsyaC7ifV7yA2kWnzggHBmafX1tRp3G3/j0zbdcWcWAyqw/QMK7l3fq69Fkl3FSo7In5qw
r+ORQTcCkPu3VKkctYeyIXhPP7+WC+v4/PfOYmEEzr2C0R58Xunba9UODBsa/S7a+zssMwJn8bj6
7TZ/Ps/02SZTGNgbBwPH1ZqiYxzREwjESIeyavyRycLKHyiYsQpI1lrV3FIUoI1lfKPGuDbH4iOM
239J4y1Mju9XFU7tpPkpJlic3lVpFpr7nBygDlHPFrf9JjrFqc3Zw4Zec7ptrygcrrsNsqKtuBMe
kxttIaJ83+/OB58t8GioW4TfyQSjQ+Uj/c2URa+/74cshkD1a+gm2Uby/Oc7Xur5rjoAfP1MafSP
xYm+/wfzFe8t5GW2vHGvaBmS6JndL0yvb3ew2ceenv3L6a4FjhAU+Cd9Ti8er/uFHc1Ne6Wu5N/C
Fpb0pt7qG5G/mvb/Zmidu5hiwCwhn3M+tE5NMfMFY4rTUxoHexzw7PiskfjDFcoBjLftdsoKkAHF
asFxl8b//llZWfjmccLQ8Zib78N1MuT0O5r/GX9sbUL3EdowEqIVneSkcVd+sZgqk75/aZ3M1bRf
aJLKCXYW5wSVxlyorL7dixKgac9RsvFJButbmvJu1OkEqJtsp4/leoBcB/kDaxHDNjEJSbzkrjOg
6EXJ88+f4sIONh3kFNUwLBqM5hdUIVBE2naRhyXVB9/KMaNxHegDUgfcLRR85jILxLm1FIovfACD
Q7ylKzqXP/Kk5xMgSdUStjk3UP0uvS3WrQMy0VauDHUvr4O1sCa+2q5DM7bNzynX1WMNVGHl0wq7
EF4u7D1MApKJHJd0GZTQ+Q/J+jLJPJdvotPI41EDNKJ91yx5Ml7aes6GmX7Gl7VmaG1eNNb06V+w
SotOw69mi5idA1H9XK/aNd6J69JGJ7N3AQ3Yw3XzQK/8wrSXL4R3zraSpJkcdSlCzTbAgCPESP0S
cNzW3aKLlw/NruCkFOwo+dv1VXBon2mEw43lOkEW6dRbnDS3sKI/SltwhM3PU+97wsuajtommQhu
c4ZkzCIffOqqLbHJ+AxA4R9883bBdbFv7/53O9vZWLMJ10ZZU7kBlm+kx4dVco+zuS3cGzT3rkGX
20ScY/rXPOHfsbSpfjrEnt8tzh9zPsU6PcXSlaGFutqatCXGk8ivvC8LdTO1/4RjfxyiR0MKV0Yi
HZMWzbUwkdU5hlXSGsOkVQDs0FL/NAMlTKuik6I+GswPXNcB9v3VzKajZbs2V0ERpetWR3Xm7YT6
HqIULBEct9rfsnmfaoRTvd4n1q+ObWxSjKtTx3L4RyNfj20MLmcgL+CEcMWKWiNCUOfZZSsdoqjc
oQNEjN0dA5qCGxLCZp3eKG31JCGiA8C/ECAuxcqz7zVbMHkiJMLnS6vW+oHNKXXCm7HYklanmgGd
A4nHh3Ab/n9E6WkR/PS5pij+Zal2qpgjK+asPRzcbb7xNxjMHTB6Zh9aKp58L2dMK8CcMpLkdDTs
eM7HKnzIAJmM01e1dreQAL03dU/r1rZ5LO0BKdf/yO2ZrO/5cNZsA6rqri00TeXRkl1W+i8Bth++
tTPG8OCbj4NsATpZqtdKF0L912e0ZkFHACqfIWvy7drRrFXv4HCAKMux7Bq0HgV6JKUEl6VVd+nw
PHWFiKYskXalWHT+aknfuXLfgIWZ6mEUw6C+rqaEesPs8X7n22ypWHRpJyHNO6k6VFMVtdm8qQy9
a/uaAYEri7b4y7dDBw4u57p/7GWr6Hd6QDa8W4ihF0cloJNhnu78ymwGiblkVCI9LTymepC58bJ7
2uMOZSYnmfxQPsXbZmHLvLSL6P89pDqbRTmsuQ7MDCc1DSihTDu4S//lwCINpqspHtYLZslTM9G3
Jfl1xNkU6ix3oH2WKdRuaEV/btYgOJ76nY5YYYMdEek/rWTXBB+g/A0cMDJH63Hpqn8hlc8BnSKn
oZDKt0jfnE8o/ONE2PZZYMN3o/bu0rTrZDbZZ1r7H0n7vkOeDzjSbfqFO8jlqWyqU78TkQI8zfnI
SqTSIVMQJUK4AlvJyW/G3VShyXXOqqXtOUtf+OLOzCHcMiVtuneps90STkpG5xojJnG51TMPfb1g
x+lNobmHsaHxQqEDENKZiTC0kJKFpXRxTn8ZfbZhIhuyarRCjK4eXP9UGdugXBjiUlCiykYnJEVe
Sf+8dH4J8uT1K0luOH9KMHzSm4Cy48LCnF7RfBuhqVrCSsLE7ml+xelVXHhb6TO0F7+GNfHnKnSw
dNG2EAhBKzmLl6qlEWevTVCpmXLYmjYTAAFvA73rxDv/ZDJLTAxd7cXkuHbpNX59yNkuLaSpjqMM
Qw6Q9ntKpihvtwnc517qrxFVAEAGg6UFdiQMaxecIEQoeKoYsQ7qRomQkuvCuHIx6SrokaZ9FBXQ
UHIXzOstNntA2qKNqONNddsOLy52g6V+Z6jhMazo85OC5zo3j5pVH+Oxva46Y19HwJuRpwaksyYJ
AoKT0BP3Y2E85FH+MIx4u9euU0b+Tu47RyzppXZxsUR8hbfgO2K937ovbUxsBJBkd6mw9cV0o3uN
UzBCHxpvMuwqBSJhL8oOjfY2OG0IuPD9mginxkC8K1XpL+2wt51sbMbGtKsYPCeMU+RPd5mAJZ74
W0f552XCuoHnLgjZXguqlUxFUB2lR1i+jxapKDUEiVWOO6Op8S4+wK7FsHWyG2nMte/9MiXr3sCe
WBZGCLGoUCSsb7RfAtBaqfNvaeDHreYR72DOf6lddeW613gliIzicnJnyG9CAwYfyEmsvTGuoOE9
rLej7DlCUU7HTpw9X/q2QyJfvsuWfMVjEHwq79SrkbhOrK6xY1Fcq714qgF9SsMpHpBoysauqHBI
z4/CEO2sSD7IHsg+ELPHthqQtdO/nEyU7eLK40xb1PVWi7J3t+mR33sToQNUt6AB9cajWwS/ghXk
wsL8Hl3It3DlNVWD0paszOaszEGMP50ccenAX934f7pt+ABipUBv6vRr2SlRYWn24lnv+/I8H3d2
PgCjF9alzLjdgR7onfZcgwV8QEFrU9b7C0tjMYpPG/F5CJp6gdBgkVjijjsv1oArxUrT42xQO2hR
9tIuvxo2+gYzqfXP7/RSjk4RCXRTJxAVFGN2CkEIrGtVyZFAoBUvzfudYEh2L+T0H+LX6bnPGlY1
Fr6/ZXmPZeY67t31AGGiM/u/cokIBQMvo8321uQ2kKOjaRZ+4cU91BBNfNAUqGOiOTtCFACqQzqL
8NR9my5Fm3jjO7Bf6rW5mpSOK3+9eAK9dGqZipSUPhRDUdXZkJCDQsHU6ykeS5tqZVwVT4L9WzmU
h/JvuP35C3wmTM6/Nfs1NQ8qS8ZUGp0NVhuR4Hn/oZakTpNbqH5f2upotX9zN9uGpbyrZXwLpmPL
YOymBFTX/pEb00mafzW4sUGK4cTQOdYXO3yY963yu8JbmdZSdAu4b1NyEP5o8p2LXD8qDkVDOKjG
ZzwY9qKIWhlzIcV9MEIXx+luU/pXVvSiVTU9OwWL+BSBfao1a69AP2PRr9NQm8LfSjI6BCppeSUI
6Qm3oEMJH/vnV3PxkkWGSZ468igMGbN9sVCNNAl11FLTJQur42NmtyvpTt5kG1JwrwujfQ8vU8Vc
Iq9BrV5i3p8f1mppDGOpI6HW2QFu9TtzixzOhj7ZJytCOOpeW3/2HOvPz+NeSOYyrCZy9yCjwpw7
H1aStbwPcqQbunsbotPDfmyFidlKNo6qBziU2tDPA146I56NOHutQl9bMt5srKjhTemhWSi3qqdc
T4rDQivgtWQ3uZXelYO4gZ62/3n0CwcPS9RkyVIN0li0cZ4/bp0mbtBpqHcHIUcnNDUdN/bPQ3wW
FmZLCpmCTrVb01URMc/5GDSUe+iugIiiWz1NhQ2Y4asIa3cXvPLQojoolZXaqAdFfI0U/8oAtCFr
3hGBAIgcbrtNdJTRYy38rIsTbBIFiOgoFGoi5z/L6PA+FYsSjnfYX9F8+aswwleh2ZSDdWjKBp1x
sx8JuxgkjKg5X60aIWXT/TVr870L0qXAOm1b52/JQCEgcpCmGZwWkdm1CGx+J/v47TDfu7UkHKfZ
7lNZ41oGoxPPkivPFncYTy1lM7+/h/OBZxf8tEqsrAU7aw+Awjtg8RasZRet3c/ve/r9359PYW+Q
p+vXvAdGH+n6HjvunmGDFG7MHUEPnI5ucMuAprJ4PPm+jqenQnDDNc+Safk5/7pZL8PULXiqVACo
YIFIhMGminAeeyc101+pMi5dL6cJM39CehJ4Pq4rljbPxY+iFmeFQjFEkP9VDZC27CBimlElHtKB
axNb2IZqICSIdRkujH1h8nBu4JRi8m5BVc4mj16Rl81lnhZrVvqobiX1BcjHajDufv6IFzIIDPJl
oNlk0XHPHJJmutAWwy9jqnCHUYtJEooB14weVSgqhZuFdkfPrlZ6Dhq2NexyRbhVreRJ9kPiGbhd
FA2ZHDzF1ilXXJuW/20ovfz8Uy9M67NfOos6fpFDB8uZb2Lyt4DoJdYrtdcX9kRN/h5AeSEyrek0
IFKEmQfQHkCKj/kihc1B3mmtt8vHEC1wgFUx9wNdOvQuCXL3KMXpH0n5HefRVVw/FGO9iVTgweI/
Npu96hWHQOkfKy7SZvDHQIwL9fzQFDWQ5LdcfAcCuC2i5DrsFFtSMK0/uWJzo9LjaKayPeCzpfrJ
TQxpiIB33ULVqZoWFW+yVaLwSJ83On40mEGSvPk9OKsUVpBWIpzE3xVHDZFgQ2egrrWb3BVuLBSw
0L9I93XeDpu928bVj7Gm27GLYXgFfhosFTTH7tFP34MmfggpsBrK7Yixc+SPW0wf2KXxhjbFTTUk
e8zOV2grTxjdr+SqoOlNRzqZ7LwA+CFG2y22AhgyGcZWUCGLxchIDbSxA6dQUunpfRjkW0EZcHIG
O5p1EATUtQVsP8mTDfaYXHPNwvFyeuVRfDfuntf4PHqwtdRHICx2kIp7ASRG7N5kETNhAFw6oZQ9
9Pg4dlpcbIv4UODknmKvIPHnjdKxcs19Kt3mrYTuH7q9dBvyFzna9121ShTlyqu0TckDT4irKkBQ
bAFTAYtW3Pvg6bxQWOuStyuDtxzGa6RF+9zDhk+OnNygUGU9tLV755nvYjPBenA/qT4ET8BE56jJ
t6KFS0/+miAa16N/0FTWnjUcW5BbRZnu5Ca16+QlkIWVVXabWkyucszV4+QYGdR/+0ywA9xTi7rf
hvmDVKB54m4uRdeZdKXhtCwB3oqBVzSAPXvrxqQZv0AoEnKCFKNTii7n3TvIIVaGLGRwUtBwyAAY
+MfJ6l0XGNcea9qLDlZ2GLBqzVE19+qf3tp74GPusMkz9bsWgFqS7NPqQR5o5QukmyjD3BGXSPdD
9P7B+aJFVd8jMF7rDb0ICQCGX1b2pOQrySWhPeDi4it/tdZEp2tAl2ltIQx8Jw7ll0ze6OgKc4ij
rBKnR48Izyyxgn3jkUOEfZEJb53+Pgm/8kE8yYK6joGiJ5rGM7PBNtCvq30RvUPEplaprjFcBvcP
4adCIK3/8TkHVXgON+Wzm78khW6LFIskTKfGyLvDwG/fFHfANrYtoa8DPw0+qRRHwprB2Qb7eOtd
JtxEg/8v0CX+5Jop5Q17MaUhP278k9+dGulfY60lXVnjzXE/ulKKoYFy1ffVyjd0J4krW4TcUBj9
pm4Qupi0CvY6b+kd5hIq/+EelzC7Ht94fZGoAIyL1yjvV712hT8S9Smfy8MHyiZ7TMeDooB6zNxr
PUxwazBWoUuBdshWHTQpuY0OlRDC/PuL7OrYedlJHuCymNW+zx+yscITrt415g33sAjeFjoRvbvP
C2wMKG7igrRv2VMbthu5zB2fdT9K777QbcuxPI0aAH4GRBhtxy1OKQletQD7APFsRDqErAw/EBnH
vnE8dKicZREzgcg7ZLAjZPc13mrZMUJmj694YxyUsX6vld8Gy92Qf8kqlF8uV/6ApVud3ShWuk7k
lMWGMygNXjssDO0Yil/bmSs5fY2T/LqrH7Ey+fA098gp4C7zrlT9zaUciIsuq7u7Uod3o1PX5mA9
I7RHA5huzCZfxcis20Pd0QZosv7LkkXB35VPwYQyqNXrLlGu9Pa5S2IYB9A+AwHmaXAcQJGXvrj3
9VeBpZdE1oEb1L7CgM9vg78jaTwfNzgE6RsCNERua0UfYYQ9kpIFr21k3hIEHLMQ1gqnsxE7ZqNy
Hdn9oOBpqxEw+ISub52UVCc+F2MIgru/77NjodJEy4rw2FpLiBVKDK7V87d5fRXLKhwVeS25DaQk
9aHrdLSU7z3e8VJ2ksp2LTBUncBMaaRVQkBOB44tAlDC6IhVVhOFTiFZjpXI0FqlPYBmezS7a7Om
WqOD7y3068o0xVVbDxD6qWbIOEdkMcUyHOZ1ulFGDDCgtnLM9zrPGURk6n22FsLhGs+YHe/AqfqB
ZKPntGKzt7h9kQ7Zl0ohrjDbgI2TsC9k/J+h5INbjgwPOUGzCTisA6vZB/gh6c0vuv0mD8992uCo
XKX/dLO33aZ5VUoajYE0c2B7yjRYpa1qewbdhpFrN/K4cO79rvEkVSIqxmcfKb0a0uzI5Ev0UUL5
YGc/BvfNVrgH5/pL3QmL1Qb9e6LkfKTZkQeT9yhUpyOPikDNG/CDku5rVAFaDlZeuyfXaSfWbcrd
htZwx4W3bLmPsnzX8oa1HndD7bcvv/RgI634rfQeZOlRwphMcIHlo/Vu3/XwlIpvg3Vf8bclGozo
cbNb/pya7HPm3kSUzmV4Leb4HAXjunZ/JQI57A4dAg7HU3snHhBD+VGFvGkffRvmX57/2hR/Kv9P
7nFMpJ2VEkKqPBYwCtrsbwgKLxZu8QUgMKcLp7cLJVVemCopOt9HMqRPXfyX6gVeWHhtDhRItPoF
j6m12yksR/NNJfqMKs3wHWSesASlgcWl+2rFCdV+NFxCtHRHvniM/PJLptPsl18y4r1QmCKfzkP4
Gyf3SvUoQtMdKJPl/M82xOUQ7mqfPev9CabpTkIbCeVBXzjgX56tMAroKKJM9q1GlkBUyaqc6itb
7nXTt9tE8G6R8T94OIbXnXDCOPUZShUx0Hr9+cR+Ofv5ZezZna3AKVnSYsZW5DGxp1Nk5Hv47KXc
fhP6t7IDYXWDe8VqiIu7WqmOMZUF1be2mrypQ3BrVEYyhfM0jUeDGR4Lfakl/OISozYNkYEDMIXM
8+8Ef0cJzY5jOrbDVxI2EniM7nULQb9yU1C0bTUDb9BWwGeMRmCmlBp2S7P2wj0TwcB//4bZZa+T
I0Woms9S9dRyVNjZVne0rbSObpYS0hcu7dwpaemXRTqLNGU21GSD2nsuZyZN+aN6j6pbrhJEg/p4
Rb+M8/Pnv5AnYjVOvQYU1yRSMrNACfBfU+OWz18DO3HUkir1VO9TzBU9VTt8g4mhkp3fZ05HC8JC
mP5M98xu74gWoEOQhEEUO2/gY8MPOBUyeu7fDzEuqIAjK+y5ily2NbK/+n1vBrYQ7SUwoGNfn6SB
k48acryDykYJp1RFZ/BPoetz/sa4C+3Zzy/o0o1WErliT7lXmj5ny2PibFi1OKXeBZHuTpreDIFr
Z7f0HS7NL/50dPIIs2gHmG0jfaUXUp8PZGr0p37ACzktd+StPLvrcFCvwuve758UsQYUK4urOh2W
fsDFRUaiHzsWGZmWOZt1AdoRJaiZdWa4+2wdQpnUNStctAAm2cvipEvBd6ovmJP0mt16+udfgi8e
k4mWpHz6uNlr8bASvMUc6PRtvs2uqVlQ0RG9GfN0VFOxCZYqSd5+41d7OnW3FZx7bIT+YRACKdb2
NottgUtjzh6rkf1AS0NS2VPZSnLwMJfooqnXNHis2ifPoSz48wS9lIVCN08mC8GRrs1z5znPD8+d
AYPU23jmLRYD1CwEDACWugIufTEdag7qQZgudFacf7EqD0TX1UiWRulzYh0FNAY/P8rnqWz+wWh2
0oizyH+MeXbYM4JkcIWGyLeammopLHMpXUfrAGPLFWjet2TPKfJUgjZdmwvyPH2KdLPBWTqyMUmc
+AnzgmMpmKXEadSz49gkwbYlbP2qcXuognzfwE9HT36f+Ml9Xxl3UYzVbezhk+e+NMmLnOr7isyA
p3erMH5qQagHhrVSLUjB+cht9xBgCtpSRHElcVti1AhnKsLnpfhQcHJJFG9lBtmtpGdXeJ1fjQMa
hfw+5t+v4t4WI2UFleFaEwTo91wCaihqpeL+8aUECTINRWK3LhJr3cV3un7K61cofE94IT9jzQdG
WQF/iNGRnecIZ+TxPswSbmZ3HROlqaS9WfxKaOuVKzI1ECuh6W169eHnL/upA/j2cukroyVHpcY3
T9PSmJ26gy6j6vKSF1dFAMGWXcuVo8TBXhGpzq/BiqlPYvqq+K/aeGNUeH4XXAIngoEnGQcjLw5e
0zngeHEjqCeiLQ6GA+bkZb41s/ROs8Qt3OV/ERmbrMBwxlgkx1wI0hTewTdAneFJ5gAHKP0QKzHk
tiv1gH0uXzS9wtYDm63a8YFE+mn3RoxfxWq850Lt/PwSL6w/qB8cgpCRWPyCWYTW28n2UmF16NED
3E2g8Uux5EKbGMxHmFh01U+65nm9IAsK3QvqWFhlWJEGFXZ12BCSuOBAYBT3ZmxeJf5whQP2qmy6
bWDoa2OU+GtGJpLudguJ+M/PPF+UvGs6uCapN0UMit+z7des1W4A8uSuGlhyOJPeJDlkyBGGOpch
OdEgSS69hHlAZUhqrez5n00WbB3nYa6X81gB6eDSc6nuQw7gGnUSoKvsHMNCb+D8pDcfatqTv+yB
YVLJmRAzlIW1VFXfW92pUzDzGhzFW5CrX3iRZ081e5GRl8oYwTLUyM1Rg3ooYwMWS3dgpBpVvFE6
7f7nLzefrfNnm/75l2fLsG8f+pYBjfDe9W9NzCR/HkBeenuz65ubp2ZdA/YjOBomBPX6KVX1d5HJ
UmMgZI8a1gFCAlwMA5bmIfSidZncCEFTrDI1P0bIcFvKQm4avPse0FTxrqr/yGEDYxpZohrjRy3h
utisqvbOG7SFX/+tsP/5fiYRE9NX5to3W81Y2AeuV/Drq+renzKEaJLdFMR5bzf11tgN2Bp5+r3g
/XOxH/n51UnTVv01HM8Hn536K1jFnSco7krdhqotH7Anqd5VO6ZPPbHz9bbw1smeRvWp3E90Xdhq
L364L48+O0gIbtL2cY1tleuuq967D3r3YIGDqvXm0AjJwiXj0rNyBkRLTDEc7MFsmnhB3/ZIkRCp
4L2LVEGhxdmTHMo/gLyfa9k4hUvb3eUhaViHL6jQvTQLIXjxuNDKaSeJFdAQ4Je9UqUpbth1UQur
NbwrO2ltAXxf+KyX1hyB6/+OO4snkeBmSZarLm4aD4Z/HWLBqfnVLkv/KR4Mr1rfufQtBeREIwN6
CoopLftIkmC/8DsuhVAJgNTUo0Znz5xWUvlk+uohEFa6uilGW7WjtU/PvG8iUrUnLMxnV+cHhBxj
YehvTZ3TzDZ57djUcKeQ5+K4oPBjWSo6IAutcerrygHzynbmyqcBexaNll8SHvuAXSPAu7OUt5Ey
Yhj50cEziWJtZ9Ub1finqfD/9ScgkJQnhl9VaK65fI4gz6tQR1oWgOcjHdMnT4ZOYrbxHktceayq
OnhVttESyw7UoylBXqvcfdPrWzGmv4QkVrk1y+qmVdZG/SRR1JNTcZ26m8bnqJfita19CEaLQBr/
49IkqxoKC73D8/ss74fXQ+V0+jwTg+48LOslLk3ttOUoBSzX17r+l1lLO6jxbbMhwfcpj7M4TrME
ZrEtbfO60mgymsofEO7y+EQhs8QaAmO2PlbfEjd+rN0UX0NcePsGxnIqpg6AZ9KPen6q1ZFMIJ7a
XnhSpErB5lE6aQUu2lKWvKWxgcviZI5M5Bf1d3pNVrXk2oIBTLzFKBLfmW2XxatafK4DeeeO2XMw
hNejTl3LD4TXSI6EidYI99uj5FQ5rYF40VfwzBqPQpNQtNRpwk9aZNW6HeAN0QrdurIMXCBBYzWZ
egKjVIwfWog8vxRPRv6rMbpDGGOzVjfPRNenwKAxNsCAgEu0Ne6GkvKQ4cXYauErIF4HY7gxyvwo
xu1Gk3D20jXu9d0WlR3Mbn9jIadZWJPfYgMoe1kGK6B+/uczEfRlPy712ApRkxrAtE9S0qyYco9Z
i09JJuY3nftXT3vC1GMDidKPh+0IaaHwy2g10O/780/5NgVnv2S2+eip5dY0F6KSz//GEQcfC4ag
+evnQb51eBmzUaYY/eV5ac3ANIXy9ioESCV8eGvL1m/0TX30D4ut5PN7wedYikLmFtgM18dZvPdw
7fallIrbdOnvTggctuon/Kp8WuqV/Ew4nW3d03N9GWsW49UGfiWR3FhhwbmRbcWJ1glqTOCZ23hX
P/kLR9SL0+bLcLN4YcYIbMOE4fwsws4Mi16A+T9/qs8deP5IXKuQG9DbiqZ29qnAQ8ZSJDL1R4MS
nNRcVwNtSkOql3ZjjbS7GgjKdPRdZCUFUQAlLT3JKvYeeNV4orkOcur5aXaLedgWC3uWkmps1YLO
MfBcZX1qEtRodXWs8B74+adfmsropUD6qGRf2OrPJ5mmmFXImmWSUdBu0GLXnrxViu7u52G+H3X5
6GQkRC5/hDPStOfjkIzpYOf+H9LOY7luNMvWr9KRc3TDm4iuHgA4jt6JojRBUJQI7z2e/n5gVpcO
wXOJzOpBRYWCSW78fpu112IVkKCrNr2q3ljNV0sCpqBL9sBD0Qqu0l9M7UWZIZ5jobHg3bco6A4V
9U3pJjYqG1LTgYZRU+qcVHrMZjVx/RYUoi3QRVdzqU1St9Ky98HRU1QymtAUa3w3V8/is4tKaFQZ
7lh6MbcTGC2PRez0bSdAXpb/+HyOThwMjM3BsXXS6SKnmdbxTDrfvFAMO0OzNtxSwpF2kLueqVCx
u1nkrticD9v7nfve5uIw6hPh45Bjc0ZJ6/BbRJOLpLGjb1E7hY9nZT5PjJF9oECQSWug9bE0YEY4
LhqYYOzFk1P8nDnvdDc+IE/rjh7EA+bK2fzgybHxgJwDyuZJp6d18ZIjkCSMY41attg+WwrEbthu
oXrvrHHlVVBP3TTHphbPghX0g2QZo0EjinGRNik1JhBvQYATed7JCX0o16pSbeUovewFYJmJsIvF
GHolxCxzC4TjlRg3t6XqO6pcA/h+lMvmolfpcqEpBLk4nL8IBnNAFfF5MUhP2dAgMG1etfVXv0PE
WaRzPb9gX4bteKGBmM29g9URhHXBL0gGvtY1EPHQh2/l2+e7aG3gi+uvMxrQNjoDz5RHlYdYWPn7
H7I68/N0NLPm3Gpx9BRmtaWXqYaB6NDSvqFulPOA7D535jPiJ85faQ4+dTGC56eoM1NtfaD+ntIh
QWIMk6F4XY2k3BG4Cn5+Pm8fKsl/juu3kXnzHo1LSYCGtApG4B3esgXSTbAVuwPsyrYEJGITkRKl
B2nlSHzIUi/NLs4EOYVBSWLOxPDSvOA6+l9pFNqEZ6AsZrE6OjI26ta/wdX9Mu7XDuSHeu2bdVWj
wxCAOtHVwtfgAlSUMX0btLmrN+gYpc9U7BxSb/EXVPugpwofFCffKg4Z1su1AOvUZiWGgE6fLK76
gUPNr8V+KH0Q2hMdSMiD6dK0chGcunKOLSxWNTOaOhHV+coZU17y4BJGtQ2adbbRaSuV5Y9xCpUT
blQSnjN5mrqYS0/qfFORmUtd6CGEQ4g1RHOTy9etCYrCpn6OjYfPN+1bQfX9k4H3RroHN2fmH1/m
faI2l70kIJ/UoslkJ0n16MWBgnqHJ28K7xZwH0SS03gHNaRmV8ak2p0ZzoqW1mVdthu90a7qdLpR
U3VT0PXVxgltbtG+rsfbqet3Y69JTtar92F/mID66+0hLtAYrrXkR2xETyDLrDC4ZRX3U1VtU+M2
sKJnUw52ZZmdBUl++Hy8H8hDYDknk0zICej/7R15f0jV0rISPdaR/b3XdzANK3tkBB0LoXtqqVsw
VPB1zPxmwkG9gxPBKTfn6w31p7/CwH+i6YIPWrqYdQkVFt4D+vUg09Xyaiz1XQMQERrXbQT7einm
jhw3yLnUt4pW7VCm2auo2GQmtc/6VUAcgbdg29wB2GKbJCjcfyn9/u/f1EzW78/UFjf11A5NNUPN
udFEB8Lg6pv4ZdrTbLnNntuL4q69V5H7XlmiNx74xZbEP6N4CGuhTqfR4kKrmsGs/JbJacXvguBv
ctX81qhU/Lv6ZoAqC6U7BQ74LseJ1A60XpbyDz/5IiIBMOA/6iWqsbjl4vAomT/C4Hs/vshw12md
SHh9m+Kxhvmr36D9i7TmWqB3Inp474MtnMzUszSfNkyV1y15qM8g8f6h7zTk4J23ljXymBDUmBfN
Bj/hgF6sq2/T6+xyraPjY0J3dnaP/M/55jx6jdo09KsigGBNv/V2gCvp0dNdCX5eZRPer4WBHyDw
87GiWw6mSTLI7OfFmkW6OZK2YM3gErywwhs5uJDFb8KobzP1chIu/W50w+Fe83+olbbtaXzzku9C
iFgnTQK0026DbkQC0j+XxsHutYMO635cl84I9PjzG+CE+/H+UxeOHTB6iPFDZXaSB0riABBhDbZn
Mos36hpnPK+/yispZvnEtphfQpxlZgfp6uXdXo7o2UnoXNslZVSJMmH5KslopkjXfTMDlWiGBg7Z
vVrC+FohaAVOuUCgVygGJ0tRcdSgavMgWBaCjVQWtkbdKU5ePSlExYoaMRL0vScjYbVNGiRbInGn
yhGyDjQbG99y9dWnUVPlwYLk/AAz37fKMm/10iQwEEdXjaUzBenQfWDJ38KWtJQcgupt272M2DxU
+AeIPr/p3DFTn29S/yAZ00XWzjnsSLv3+myj+7Tc9mQvkb5NlOHaqtttSz6xk+WzOvpeAcxyhJxf
iGcWETG3vkwJOUv0UNrmZQovcv2xr5908pfBz9GoNnFX2X2dbY1YPrTdL0/chxYtM+gEiv5WiwtX
8q5VI3TF6XaqaSAn31ZWLw0PS1chcKiAHqO2S5pMRHKzQCwr9r8juLmRiDaDGf6ufZlBu1l5I2k3
wvQ1is6rYh/4rV2Vz4izefqvDPmqSUcQTNdcUUcXtORCSiwn8yz4DEGLdlw3sNWbwXYs79MRGeeU
eHiDpggV9G99XG8tFRRQGm07A3Va0r6QT7ie9jAm7a40Nccwbgx0PNPgm1Rct9a3NLuXvFcPkb9+
sgtixUS4rMrByUtED+FxtkCOd8NjrwPkBx7f8bvVSMgVoVGtXXVSRbH/h0in0ZQmdokCijprfes3
KVV3Zfw5oFKrUqPNCL6bYjizZJ/E4ffJe/WTMxF4hi7dlNOL7+WXqsq/LDhF9ReDV6hRfuXRM7pJ
m74MN1EdkQzxt9GwN/IHwK67XnkQxztUZzYBEjL1T3FWTigb+jOoWkY4hfE3r7ySkZI25Je6Th4H
OprVorElWuxLQThjn4KtiM+G6R5lmnOjvK1lMpvSD4rfdF9eN0ZhW8GKtwWekSvw/UODphJxK/4A
ejIfSqud2ZVF3w+Q7ypR50Jk9zzR2eRQQt8Gnn8uC4gJo7kcnklFtmspQoVSL6Erct/URrpNesvc
0nSBnm1xJpnmVWn00o4VZXs0N6Nn7qApAxornZd+8DBB5UyuPo2VC3TSNh29JaRYo9BRdBSi9aSl
tztQ7n2IzDeZWNNL00jiQyB5N9IhTkKKXz4RdVy1D1GS+s5U1OEmLuJfAo4XvamgRNono4NMZFcL
BImhspGr8QwVc4oqYwETVqjeoinHx8kA9YNXTbS+VtJtFHYJFMDtfZBa36QsTTemgGtbiUyH6Lag
3VqTy9G7jINsMyHRAqgt/jFRrILsyJb7m0Hl1gxoPkHInb6F3rsX/V+WFdlRSug8NYS68B+gaGb4
D6Z3mJpDK02IWiS7zLyW2h/xgAKu0V5U6EqZUGOVVWNr/YNq3cdt6vqwYJczhXmmgl4m+0vRpCJ+
LqNntUUf+6HyaenSjUMidShkwIQEkYoP+p06xix/ACnaRq+fUI0goL4QrBmpl+9j9W5qjE0cnfdS
spG4Zg350qqkc2kSd01RXTQS7F4DcLNOuaw64cmvqgsvHJ24AvdTcM5rxNETlBSzWt0ro283pXmF
/LjkW25moJOpbQbxITfPrbLdJVV1nZrGZYLkvSVjC/VmsYfkR3yFUcDx5IsB9obWGtyqqOwcP9Tq
ZMcLuMua7lzLnjQfIiAEnMIpICLoy8tWm24VJLDFQDxTdMIsyndJGf0MB66BQtlkleWo8JtmA6FE
Cg6CJ0do2q1pUdMVym2kxrfRFQpxPXKkyAlvpUTei0rk+kb8lBnytwQBeDIeMsJeAQQoqWjXfnnV
civMmxCoiZ34aEiHX61shGr/VcKIgZBkWEKvqDyRE94i+seUm47cmxu5HFFhYpYI0oruJoZrJ/GK
Q6PIrlkDKqZ7IfJvTf8RmeI7bWxts+p2pZTB/hQ7El1h8mOKTqiXiW5q0BNUntW4e/K2k1s6g0bb
066LNnE45E6ifuUBdFITIUbOVW98FZovROV2NunbCWCTlU4M9xwZWLuSX32dBR/8QzjchnzzSDFN
n2lFLJoVLtDz2xkDTRpDuomhKUnqV6/6FgZIOiCJbBWJ04AUSnt0qCU6Hl6S4VIdvk7eTwMwrnYD
rtI2iBu14DELtm1uci9cBWJtC+mVmu/G8G4MXjTkiHscf1Er6TsA20rrVVT+LLM7aYBHUr8p/Ac/
HM+CRrEFgkFlZiFh48X1rZlfDCNC5D6X600c/vQUnT9VOEoobYdMtzsgKnDKOA2fH9WCI1lfeXQz
U4c5R3D6orQVi+4Kmh9mZJfFc6ZpXLOoJwpx5ZAZ3wyJuU1MqAThdECzk8xuhFMibGmUuBAjnt08
hdhWuDDa52wipgOWmjYPqlbb6L6lA7g46s11e10oMOMZ5VdBHZxATR15pHNu2gq0fHtQ+MljvlW1
62xSXS08V4rzsEZjN6fv3vyGD2sP1l6zzun/s9K9gC5A0ad2W/HJ5lU93NRmNYPE7FK90INHjSR9
ikpqD0eCSofSYDyqEnTZZbjPKNIpBZLfw1nmlzuqkXZOq6b+K49pgtH2gdrs+um5DCAymL7WVbsp
GpU/+FRljeOLV75wLuu+DaaqkUipqlBlZcGZ1EGhrtNC1A7XffElIknoma9Borg5BUctu00FwQ10
adeF/rdKIwyIeWL88cmYSApr3zN6zNS2ow77Ek136ONuguGRFjM76mt3Gpu9mY87MQu/RcAjaHDS
y8nWyHimsX/wQ43/urWnnrY16a5Kq/tMUV7GXE7dSdIfg8rbFn0JNQzwZDgttn2IVEdKagrfjiPR
RY8k6vC/k+l+VKyvSQ31ABS99zKLjsjzWtHvxHsLuJunVqRRVoEw9n1IIqWZEqYlPnAEw3e965AL
mRm+14KRjzkhlcqhCWgTWyBaFrEItQllKtuOWCTsLzJV2U+rie+P+cT3JhYxxNAE1IoLTKiXLUQY
aL3ulLv4ywuuhCO6KikDeY27+UNXBviBd8OaZ/cooIuQNBmVCpvBoTnUu8AlXQB59fr8ncgovrOk
L8L+QJBLWSmxhDjCq7zJruMdDkPkvMx8f7nbXRZORK7PuunWQFSndghtBkjcAgcAdb5YunSklmaK
NcH6rFUS5mel0fDmxem+DAunECSi++o6pGv3bweF5GGODC8WVNClaiolDLfxXiaGSP3blgChydEM
oj84UtRDY8p8SvAiT191L7wEnHgrJPomDtcaTE5trpmNY46lgY4s4SqGWvZ9kFYUbhKWN+hsQYLB
y1xFXc3LuHB/lRncj+dLkgdencWG0qtpNFDKtbOLEMJ9jxz83EFCyLhfmd055/GZpcXsSnJi+JOM
pdp6ggF9mGo7anD5LgupQlOhpv/0Vw4nPEQ2sn6Ow79i/1Rd7Hiki6Mj+kjN5xSqCPmVp8nN4BpM
L5Fv3sIHUa6S1H7MGLOXfs/rktNRa+VKT+f1k/Fle8sivPiO+BldZWtL+Ea8+cnELrMKZjhNRlnO
pm6jh+xB2FYX5b7eiA7N/pvcEZwYdgD3hfSK4Ya7jqJ8+hRdwVu07fe4oLWxklw5uXWPhr4oQAZF
ZjWqwUTrMRjd+sFPIlfF1fq/reeSUlEu+9wMTYat7trndgc6kKaGyQm/yfvs75ONzRcvMHHaW5DF
hQF1eU7MMFb6EGvGNbwhJIxMt76cLVo7ZZN8N+8+H92JkspsTwFmrJJ7hany/bkEMkAdC4geo1OL
q8tJtsEGbeb2LsDPpStu25s2tyPLMbfBxvomrFR131pdPmyqI/uLigdaZmUIHJF7wUc+In6B352E
wRf8lk1nXBtUMwuazOtIcqWazojshyh+k2f3Ma/O/Srci5FKzzERVAeAKNwZdX/Wx+0ZxC80nA4Q
i7b5ZVcaX2v/OiwrRxO8h1Ew9tJYu1JHWIGLLxCAfT6rp5yC40ldLKKfw+6WaoWKDoVvl/JFbUwr
u/LksT+atsUlB5GFOEJJD9t6e0Z0djDTb6MA5nBVX+dE2X3eIMg4kEuEEPPt50eeQCfREmJmWIJ5
gb4O7zVxy0thU2/b4Rwn0fkL/Gtz6enjnvhtcpFNhgsTdDCN+m+1zZl/DY0mWL/gG7heE545eYcc
jW6x/dF1G00jYXQFNBJTAVk2chVrb+y83MvxQPAFwAzFBEiGl0biOGLPccYy6zoE6tykuWtBDTOV
qlPI3e7vbz7g+eCxaGfQcUzfn+h27HW1aRlSK12KRek2yhpc4URWm3T/kYnFAk2TVUWmyQL1jrSd
s9pEDjfsCFfdRmeek+/9VcbtU0fq2ORiDiul6b26x2QM112fX/RTtnJoT/q8xyYWV5GVT8GkzkWM
4DA3AQ57b086wI7degWHujaWxfUQCqGvCCGGZAs54iojfurdzzfBKd/2eCyL+6GfAJ1GJSb+jH6a
PSQ24HLWop9T19CxmYWvIys+NEfz5UCvQRrW9LD2dqn/0nJh5b47eQ0dWXp7x46uIaEvo8yf4VRD
cVkcFNc/k+5ICxH+QzwqP5GH2pGx/nwSV9ZpCW3sx3YySxWbuii6eQUDhbT93MLpwtnvk7RkiK6C
we/Ax1Lo3nauvze28Nk8KLeksp08s7Wbz82duu2OJ3FxNXS6HIwhOTgqwbR1wIhmWptMXyk/rd0O
b+W7o6USB3lMs9mKdR89TBf9jtx9beeX2qY8pGgzoZYBQvjn50NbO73LVodgFDpTpuqPIxPDemEe
hjP4ci7/Csf2qVjmeBoXFwUd+JVXDZhSEGOQrxvfIHMKlbkOD2/uVPH0LU5uil7ddsVEEk2hHW90
KuGLPBhbeh4vi66GR+YpDO+l7EuefaWXgFQl/SaRZGstOTodSEvRONN0pWZkvNXi4BU/265xS7oH
UVrdZ+GwSzMIg4S7XjdtM6lsObyufHSUzEc5hEg+v0vHYJMIj212L4YP4QjvMuwqsXkrwjqiaPcp
QUKc7dMydjWK2TmOc5EqGwlhCdH60nlg89tdHfywqu9SA8nahHNfkZILtrUCy5ZluQrkakIzV7XK
uyYAmRZ94QsuBeF6DKyz3oeotwHhnJQkEy+ymBri+Ogn7TbMw/MkhmpQDAcIoIZfepM0blER4MeD
B6NpG56NrXDZxj4cqOIGxeZzVYs3ZpyiojG8FOGPDihCHRHlyPcjnZ1VQTekIp8FqhdvNA7Oyt6S
Tz7g/3pS5cWFXYi14Q3zyzD35jYPqNPtqo1yRjHzPNmt8Q2fKG+/e12XAgid0ZaSNXF+UNYFNgLn
CSXbK+tadqDf3pNWbmhD3kH5NAu+KE56aPYgYXvQJMFmDXJ18gr8jWJdYkcKsyHD2/EtGXUgH0Hb
ol2JAE6+VL8tLGEfhlmDXNGwoO6qgwJ6/K/l6U4GOsd43AXeSfFHGZ5B7Mw49ehGcWcR4fI23Hiu
ttF2o5ttikt1O7/32arGxMmL92iQ8wY7uhJlPcpgjsR4nJvbQQ7doL1QYAR626f/9U6/vv6f/+bf
L3kxVqEfNIt//s9l+FKhvPva/Pf8a//6z97/0v9cF7+y+6b69au5fC6W/+W7X+Tv/9O++9w8v/sH
gNGwGW/bX9V49wtVgebNiP8rn//Lv/rD//j19lcexuLXP/54yanrzn/ND/Psj3/+6PDzH3+g73R0
ZOe//88fXj2n/N59nj4n4fOH3/j1XDf/+EOT/lOVQJAj0QbaDXVJnKH+1/wTVfxPFCEIsslIAfCl
R+SP/8jyqgn+8Yck8SMgJmTEgBvy65yMOm/nHwnSf6LlQKuZBSehPLNWGH/879Bv/vT7/1wVpuKf
//6PrE1v8jBr6n/8sfCh0NgkR42kM4hRQHEfOgBaQWl13ZMCmOnLUTpoSv+gy9Fe1Cnm5hEpghWf
Y3Gk/7RHEGLO4nXaB8LproeEuiqBg3QtdT4/G88Ej4b0o/k/MailDNCfVmTMgNdWUTJdXJktPNOj
4GMF6YvGNZ6ExAlueFO21VfhscztEbr2K1Kc7pqPc3J4R4YXnq8ktH2eBRjWIBLTGrDv/v7zsZ1c
MLD9FnADeu3khdOrZzKkzCoLJkITN7lF37hRPunXUDxLO6+Vitv/k703CNvR5dFWTUt0CUelFn4x
ijM9GNzCuqq0fPO5naXj9uea/R6YsrgiZVAdeocQjt09waJmvkJzZ+zrq8T1Cff9lJbYDelpSpwr
E/rmSB8FyB8ML67HXO05ZtOb4fGV8ppeweXqKqmjgP/zttC4kWm4M/F3Qhu1huhO3cIGsS76Pm/K
z75j4R8DbxgVfDY27UF81G/zKxUpIP8sviw2rRvf+N/MLd7r5ZoAyMktezTv88+PFliBozANB4Yv
yI0zKldTtyaWt4wzPszwInxO06gTfciGOIuUpEN7DqAQPT9TzuKnv5DBOX1EuGvBwSBCviytiDBd
j1LMIWyeoPtw4P5D96YDHF5t8sNZxRvru5q7sn3n7flx9X4bXZ58pRgLJcIovAXFAc7VgzXB3K6d
kXjfrSUuT19wym9ri1sgFcw28zKsWYE9ImouXUBzl2xp3XC7jQVH1sM8TATXV9IUpzaLNTdczUpG
BvfP+82S6XJq1uEYzICes2TmOGmktYvgtA0ywtTFYARdBr5xGkpNCamtLe8AKLzWVyju7r0D+BxX
3qJnst5rs3CQ3vYn+W74dWZoPZTd70eltGrgaSLswDMwvNAve/U1jdcqM6eO97GRxdRF6aiXFSor
IGjcgf5BoOXpPrsWAKw4YEpmtifIHoN9s4uv1zIlywTGPEJTk3lzeREhHVs2HxMwGajOz+t2Wb5W
h2wbUQIzvii7N426vbFyGk4s4Ttz88+P7hR5HJXcmM1FUMLo5rWu4T7918KNOXZbTg3IEqFOo2gP
c9aHRvcEsglIYkFUaXa/KW4GEdiv7vbb8Gf9M7kV0ET8+0M6NmgsKsWZmoEhaRiSNojngpheGKul
9nkHLK6QdyYWL2Af54mQRJiYN35qusbWP1Pd4tEyncYhMHDW4qtTF/M7i4uNXwSSYRYtFpttdpj9
o4hSu/qQH4jmvq9ZO/XQvrO2OAEyas9oWc5TaE9b40mq9pD5XOizpOZGv8AtG16n11G2rxApcBzI
bJ3PN82JXQktAk2RFmwU9NUtvEI9nMDhkpiwK/VXjEFxJZhc+/uLJ0CzKIv0PX8/6YftOOaukK4A
OU/d+++GsLj3sybLmzCbp9B3a2CErx4igRD07QVkE2A4zq6Qr9KyTX1T7doVR2n+/A/bk8IgTYnU
YzRxfnaPDrWSaPWASBfbE4SWVkBcJQdXKd1PSjhs6traFnK9smInLmaG+9vkYsU0b+6fm2fUm+Iv
Pfz5ofJl6u7+nW3x28hi2SpPksa0w8iYxm4KgCuOVyyc8m3fjWOxbGEQGVE+m4gusgvhOrnRtpI9
Sy4Sk6NsFuJhopO++3xc8x/9ZL3ecpZH61WIVcp+xKi68/fZtiMLXx/Ws/An3rVZsgZ/QFNFmXDr
/bYwVGWUJxEzWjnsc5gYJCN1Re9l7pHq+nbtGT15SR6ZW1xZ8tAnZShjrtuWz6Ty0DuHccjRKRPb
oIGRcfx8Fk8e6iN78/cczWIYZlakS9iLFf/gySB8YcT+3MTpx+zIxvwNRzb8wfOnMpnH9GTkNn5y
eem5Hc2UExQuF5WTrPbMnHCRZyEYysRoiov6kqxFmCR4mt8uflM/G32A9BCuoA8DyHFlFy4Zj2bX
49jUchtCUN960RzWAMx7hkPbGbLLfBfuZtU0zRkum0flObnSnGKnQQTz4/OpPXkGfo/zjaviaGbD
rhYy/c3v2QHHvpwrUfpWXYf9nLwbVRwrKNOQcHrjZTmyE1gwHIgaK6juAoi3ZDeguPoAf2x4LqGn
CKLhNgDCNpAxJf+GWPKa0zxv+w+H/egDFjdMWphdllJDtPuz4kCGdgMf/KZ5JKmN37AWBZzePf8a
7bKtuekUb1DmMyGC3gwjdCMoi8Iv4SSm+G8dv9+mFreLojUyzJCMa9ZQ8KxnesY/3yGnz/dvA4v7
JPaSTLTmq5nr8snKq/s4zg6fm/j/nO/fNhZ3SICkky7MuwM1gA1o9zmx0DnKmYd+uDMrzxbu5xZP
DkqTkWynAwtQz/yuHm3HsOrjVBgwaMG55vc/Ank1XXNyxx+ZWHgDWd7LGbz1AUCzadsdwrs8dZPO
1l+pHm3CHfISeCIw3oE0UDbNqjMinXx2juzPPz8a4tAHaKHk2O8dHwQ45b2UBiYb2qCNtSmfxJeG
XgrdrmmqcuTVZvAlyc2ft9qR+YXTMKL0kMrz4zrrV3G1APElc2SnN+vv+Ontc2RrcbbVrse7erN1
Nos1BzjM5o22gQryWUSBUL/7fPOcjgp+21sWRbxcDEp9tjcnoRR32jc21cbXOaOwfpesbFVtccCh
426VZo6r4miCo6TNd0ULnv7zIa0ZWRzywEP9jJQwPsrMwCYjJrh2JZ5+5o4mbXHGx6wMh2g+D41r
XcdX5i0afrfi47xYoJedCT7da22HwB/9Rqun4aSfjNaRRAZDsWj1en8Y5IACak47Hs0CsZ2gSdKi
C1uoa6XIU9MozRysdOzTd7zkBKXLXdLLOftTCUkN/wcthqHWrN2Wp14XCLnnXAlUxB9AwWGSC6o1
WxkkVz4b3PJuvi8jaAkSx7jN6SqeVeF6B/aAz3fJyYN2ZHkZ45uJMdSQZ5IK3Xu33lntzLhS8Tp5
Rtd147v6yqO9xLS+XSKw9c3M+iadssbiDlW1xq/6ednmqqBa4hshiWC+hlfxPkNt4i4EE21HW8tp
t5Zm+yoNLi6OrkwDb/wwPYKW3AqrKb5Te4k8GIKsc5HhA+NRmAuROc0H0k942M1ZYUk+Q5B5bbJP
LvORnXmzHV/gnYXGI6JBpLtxemn56GIHkYd4N9MU0pGTO8V3WmCa3V/IEJ96vCCk1E2whZD5LIso
aZCEUTY/+rhrP7Xr4Gf2M/qZuTTSHF56omhQoLpd3TW7f+++ky0Iw/kfyl3LTByEpyPxM/WUttoa
wOwT+pdWtvGp0XF2KDrCK2CZy4hMIWbJp7lk0yBVPAQ7wA96CsbDbp/Vx7nwTF+UMxj05cCs66bb
tYrKqWsClTiLuqfGLC+Di3oUlBTuGGTNQhilO+UipYNoZYyndumRjWVUkWhaUHZv1+0LQisVXSKo
V23Tg+yK18RNG7g57taIBtZsLp4qvw9DmNPnpfO+Ig9RoWCUGmsZnvkpWjryCmlNWNlkbSaGeH8s
EmRBzNafq1EviJWdzWiPuLfTC6THz7mC7j6fx5NLJQGxJd2O3vDbjXh0COU8kxo/x1oN+WWb38nB
Glb4bSU+DOjIxOKc65HZwUPErIXZTyTQ6Vm71ZCLK2CSGnzNFosa1aqXalh5RtZGNi/m0choKc5m
rV3msRS4VUwJChehFpCV/XwGT+Z2mLh/TeHiEvepBtfmhKF6g65bdKHf+ntl3+3rbfSIqAO6QLfr
yJiTT9Wx1cU2ga8/rrM/rSYPxU1Cn4f+E1S5E9/k23EvfVsZ5anbWoFAXoF/iDTPsqKOvmQnq9Pb
U9Vv8lfaMvcZ7ySVC+8eJC5xbX+/XhOdPdsPe+fI6sLLbsg3KZmO1UKmDZImXjpFPSuXv5pRHG/a
qqb/EsXgjaZC3TmO8vBvZHSPRz1/39EmEs3/vclgXHFDb98razyGH7YpNTRIREhG47uJ6AW/txC0
FSsZW0RqSuNE5U6GqGdl6T7cKLMJzVLhMYST44O8QjuSBPR16LIqt6MnezsLuocH0x4vyA6sl7FP
jujI3OI8mCY6nFAEz+eh3yBsRIb6jSjTQc+mMd2ZcSj7tVZbWDby6fpikIvzkBh1Lcc1VrOL/hG5
Ys+cCTpv09vmR2OjOFc6G8D1NTwdBACrL97H4zibR6IDr4m7mz6z98soFplQ9JU5z3F24d91vEem
6+3Fp2lTbtfPxaq9xbah/YKsa4m9Hg0t/MT+EjSk4804ieyO8slu7U3/8Pa9DfCNTco8keXVdSOd
yon5DUP5bFRhW9OJdKeV1+/k3qFgj8IDyeSPacmm6P0s4zQU2mDLfmrH6e3np2HFwtJvSMccDZD5
vClR4orBnVCGK+dtzcLCS6hyRSujEAttkzheddYHP/7+EGAxw3tFt04ENvh+r/XTBH91KLD2WnAV
5vlFpqy9aaeujGMTi3u3G32lsSJMWPczlmHao6VpD5toL9vhdg2AsoScvp3dY2uLW1YaEzNufazN
tdzJ3PtXww0kYQ/WE1QtEEHMECDDiS/QM7S9ZhPcRZNTdmheOOL5WtHkY/KDjX70MUuoPwFZasjB
/DHXwc108M+S89mfhHbiLez8Py3lEuogCZYoFSnGWjW9NpDZnCJ5rWAyb4d3b+hiQPNaH71hna8l
pu/Rp0AH4aMPemvaVj//jALGrWa4kelmd/3D83pl6GOObjZt4sQS7qgfwX597TVpbzG8etM+QsW+
SbYFZeZ+Z36DNzW0R9d4LG7Jhq9EB6eO4LHdxZAzS26k3sOuLLU29H1Z9fz5un3whhYDW1z3euEX
hZ/5oe0Pz0r9TRZRQp5Mpyah+7mhtZHMPz9avLwtIj3zMWTBmtHxckrFvzNXRGNvimD0VS385Lqs
zGx6m6skNu1U1KFNl9faWE8Ow5o1zrAjQUv6fhiWmAqy1rIggg/7YaZek3WvVqbq4wtFqluk74yb
EUTtMmtpmNk4KYhX22PwpI6dbfQtsuD9356u2QrIJCqdItDZxXRpVtKIEFvC5NOE6T7oKxQEzFU5
iXn/vD+z760sfCiVoMLPNayY0JE8i5v4XDqHUvWlhslvk7okfXaf77MlQJ07+L3FxaMioRjewUA3
5wzocBvcXJ8bAMazfiM/wulLOw1wIchs5qT61rMlFMK+rn3Ex1Dq7SMsdghBE0yky2MFm1YSWFTg
eye3L+dMN+wzf6KjRKgqx718tzLst7jl/UyjV0Grs26gvwex6wLW48XN1HsVO7Pp1XjaDfoIf5yT
FpFs9HaEuiFoRVOHhk4dFOtcgtyv2lu5IVU3ddpnZOKQ0/WpPKOJ4Nu+r4yX2pAPcxeNnJh7wfI7
clqVIMr5YA+xnMcbiMQb1Asyo0VqfRDiW6lRmulSqwYZPU8tgVBFcQS1Br/MhdJPyMTkQQtI05XD
0M8m1/JjWRlcywhqtXCrNqg1wY3FdvB4oSfTGC9l6nFl7eZyNDXiFtX0TCq3QR9PSGUY1TTMVFN1
Y0aDq3VyVghOSkpK7x1FkJXecNTJGvm/RlIjypgejIceUuoQFxmEYB0AFEiaGtVskP9ux9QIz0wp
VJI9gMS2KaGD7yKrt/NiiE3LzqNKqifb94ycvmk/CC0dEhvkJyMaZ9S8hWUMRr0srKFR0wYvdQYl
9MURCtog9SbIr3P9vNLoWz3r9b4TmV0TojhXKNUovpGqqK3pkKSNtmR2S1ECutvrqXjJhTYYL148
lajdD2nS0pAUxlrrWAjdJjvyjsW4afu2iTatkJslN5NqRS2UcXKQNN9LP+rFA3oTcguDXk9W/SvA
oQaRdx6W6zgsZXVfQlWm2+boGa1jVt5k2VWbJSSmJWuMf8B5I8Q3AGuT6GcDUm2C/we/c583g4Z+
1lT48OwjV/1qJRPsTMoodv6DINEMNetep2LtZoKYJc4ktlbs1LUp9l8oMmso1DaTat4PagXXSyLl
8fRFTeOAXk5aC1QNfbpcNqXvbWt2yXkGjZ+3HaFtKx/70TAQcLeqOjSkmeVKSC6UIWvb+ySvRPmq
sILBvI01xZs14kaz+3+kfdlyG8eW7a90+L3OrXno6NMPNQIgAQ6gaEovFSQl1TzP9fV3JWhbhUQ1
UtIJhyPsoMRdmblz5x7XuhnkTAJDBUiWJ9UKpYrTbOSskMvravJooIt+6GVgd5VlFLuSMGfqoU4D
rrirCqVvMEGmicWwq4MmHwCyJXZVvBWmhK8VK0B+XwFruFoYvVu0ku+/SfpQD1/StOiAgIgDGV77
Hl2EN2rRVcWrBIIz4JIgZ52AvLrou/0ogP35aZByudqpWlD4lp4NanCf1GJk3E/B0PmepPhxZNcx
D55fYAuGgGfuJuN+kATBC6LhrdP4LnEmwUgDkMMXWcPt0zrjkGybitR3prGUps4xQGehK0AIrBpg
gGVGKZWd2aaZiFC2N+LGDsYWXqvWT/0XvUKrg8lh5OKpqSSoo94Owbgf20TiQVQ4NmhHjjUgO8r6
lAFZWQmQU0ltqQV6mpBrWWPYWeULia1VBgAIZ0NPcjOYdZBPQ/3AJt34BkxyGtecrYJhfoClkDnp
mA6NAKvcEoB/KeQ7DqeiSdWfmJXO+6PMYTR866cIXTc8VxUxTE+XJl8GGPxdX1dNsREqrQ/f+ylR
wZINBsMX4Gt1g4IEZ6aM9z6eo3wjBh1qupIh+qKBebig5Id9GYlN0ikmFyX5kN8DHJmryyNCYb9R
DimKUho60yS9nKK7AZ/SD3ukPISxeu9avQiabR5VQviUtHwm88eqGGVYWqWOheqxB7B6H1lywAeV
i18Q1A8xBju4Q972HWb3AmDPcS9JHEXgU5BB11ME+LSnua58kJunIlBBQAkaVYABLMIkt6eyMG7V
Wp45ydJwIYM/K8IIeyeD1f0OTF8YJbFwXXmpsmfZaLjBA0yOBPC7CYPfmGfPhzQ3TH3Exg3PMVCD
jPauVyOxaO+qKBZ9fx/mVYZWHnNItZBFqbrmQRHSbkR8cG6g5+ceVNU2URt28OIbAOmDagmkA2/X
38LVnMJSBOV0gCgTBIstRMA86JkD+3jovGzvu3FlBZlbuOx28tVoSyNsy2gRki+rIZIm9z2ar0no
1zkgRUfHa2uCF+h53v+EtNVNXEijvOmY78VC48kmOiKen95qQBxhoHMSAWWzHZ4wXuFVG8a2rsVf
yyXSJ5cYY6E2ENragFaEAX4bkR3Sboq9bo+7KTJrHtXF9Fu9Z+Vs1k90sV7qRA2kFtGTelpvl5qi
UyEpNe4QPG9BbI0hCFbcdZGuRVikwS/GwBqIMi8LT50fRHhw4ILv2i0gVNCClNz/MoHxKV+wFCOe
3wU8WVoB/j607PQaPItb1c/s64d2qSjg6YKPf0qaCppK5XAyxRjmgIcjWqDPFmhyM+Akr0u47OSF
r6sCuU0FWcMK/lcdFPAqiYhadorKiu+H/bjpTTxEuG4Rch3zd0zXYho0Yo3jrC5uIZlK7sitr/FD
Ale/UMNDkOvbfvo16qJTMLFcGxXudTOiVs1H+NKJUp2YMgbG936eZIyg5TIKX24hOHrO9aDMMyNF
VzIqyAmAhRXA2aYDyP4ySw8YdYAVO3UuilKIpm+EbER4eSqpCmB+ChxEmHvDS0F0IW2v6wZrXZR+
p+jpGisFwkCs+DoC953j7wG1bisSQ83XBGkC0qwAtRYlnS7UAhOtCoEIhaQ5ClVROTpS/acaDQ5K
doywecUUIb78IYrOu4JgOmoyonTpLab7yh41AQL0JOwGBUQotcXuY1jJPkEkwki0kogqtoo6M3Ua
qqJMoIWDVd+OaMJBd1juaDczrlljt5U1enVjKroF8GGHNS5CU6R8BNQY3MW0ATCsgHB1rpwIj5oY
kRmM1G4M7REInI8NSu+6HT/rd+UrcGt/IuG2eqDgvtIxFYwZW7pKB+bBiOdyCB3fgbBag/MBKaob
nK2jPCLgAoDs/Iz45St7OODS9GOzF5Ipo9K0YtiXNbmLJ8BLMkj/M5Av6ymChRxqW5FR5PKQyGmc
wD+029RtN8ibjs78rB6rWxnNvT9RblkzmYvV0TCRpTEFedRDqvzQAFo1tPsnYQNulIcmMpHH7DDM
eMhc1sDF/7FYEA4IIIfGfDjlOsAL7uAznTQYfOz6d/ETqjzOu3w0HurX6ZjYxrZhVGD+D739IZOo
2CLjKLcqCpUpsQng52i2RmE2SMCDN8SKnzkV9SzMqDnM9mWykvM0DFGfH1Kp9FNXT5wIkALcFm92
8/v+mNpgKjAOmqXf8agZzp0d3DF79laPVcXgAknnAR+dyjcNelmFZYdjrW0V+A8ZBkVJxxdp5Czu
y11usRyk9d1dSCRftNhdMasa0sAXAuUJHpkGTGUndnW7s9PX4CuAzMGVxrJErEVSSsRHqW+IEURW
8QDmdpvrWN2Vq68jcvz/7COlMxJ0pgrJPra27hWqW7rFPrIGN/NNcA0nLqvay1oSpS1zXGq+mGJJ
XToji/PgT5x9/Qlef68WS6LsmdBnSPKQg6rt4jUBDOIDBjXB6ovbLljdV701gdPBChXIw35xC1Qw
5Uhoe+ThIJ5rR4iZSU4h+zhYvY1QgQztAGTP4r7LADXrWC7o6qVbiKP8DB2RON8TWzq/a4FHbjrC
oQQs1OFsDS8zoErNEaSdLIaQ9Yd5IZe6djOacdKRyFVM/SECuOTL/ET49AyrdeLH/hUdccBn+AmX
YHXBaIkD3KwBYpITHOTi9k1CyokJ8bklMDX3pQAKjNoWU1bFjXw/fYxowtUxmQpm0otY3eDaUACr
LbL3e96abQVTvoT1rXbCTYR5d1b9dPWZMABfDagaHhGLSt3wVhELScwwDB5vpXfjXQZJCQ5Sc7j9
+B05Xm7XexNzxJcplbr0yiRUGFqCVNIBnzzGn6tdDPemwhAuQYYGPj5p02Vcy7Wbv1wqdfNjf4pR
lka/mnGE/cwO3QGFESsJgKEjwYsER1NusVAa15yqpUzKFMRxAXpqAifQKJOtjvs6RONtjwz3/Hh9
dTRX1slnNAAFLaGFBEAxdH91q/foDUX1GYpTbpuNdKekADj8oPAOetO/k1LT36ZHzgkGvFKYenPr
/fAGQMfrH7Jq0JcfQo5hcVHKPuj7jGyz/DDahJ1+fou8FJYv+8wzw531M/2xakp9VSkeUzGCMCmb
HLBDW0n5cn09a/d+uRxKVVHM6NQUTGsmz6eaEwI5bE4rHym9KWTYVNZaKP0c4cT1UgRJmcrbw3RA
8vQ/lEBpY8YFFSCXIWHsfa/jvLYJ3Ou7tboGRVUBCiTxAHugXOyhqdTU99HQyGfpJp7uBN63r0tY
tx0Y3gcjiryCSSoUIvIrJRbR7ZBRfwUkyHQYMKnkaAdwhb3UkQV2jm8sT2jV+wJwxT9iKT0I50kY
6hpiG6cPbbC8qRYBVJbN9LVAVwRyYj8Rhq4qn066zLGZKDJSj3pR5+h24qDegJEHqrIC/9YeNxVw
OsbnWrdJ8MvOxF3OJ8F7AHbUP1Kpt12ewa9XJ3iDykjlQDRVHKrgs6grFWgcOHCj+aViYTIUTMQY
FYRFfR2nfnR+65h/fAT10FfJpOQ1WXpt+w/VQU9sDg1EDhl+G2yFvyPvkm+Nv/X+LtZOFHxhvXpF
agqZYFqRDsQAE3a8lbofQsUTiBC/+a0AZrnflBETmtRIOrLfsjdBjcA09J2E3b4NOnIk+DIX4IV4
m5ghzKqvQRKI6OAAJphOyfU7I8wA2U+2uNyiFjUcCISDBvjzGtX6wGQnGVb1eSGRukT1INV+QyRy
6ld+5M1snqyoOl5XHZYQyo4G6O1vQLYNFxFNgAqX3GbJ/FCPn39Zikg6XzQFSRodlHXniiLNEbBs
JBwa+pe8acyBoADUbMW6LmXFnp5JodRRyMuhQVkVdZVOyL5ovqK4OiivGIH7uhSQqoJGAUMtdLZL
w5zsGBP0Ak5GBUU4qPrT7ywDPYfwn3XQxVPPQtno4yCWEKBnaBTSCnBBwS1yfkMIxlaBR4f5sguO
1iBU89Ag1whIOYUjKRFo5IXi238mhHpChUyso5NtTKrZ0fB+8syJX3IJqBAAgI4/1kFt1jwlSYse
XdJF2G418P6ZMniKOevd2AvgE0OgT6w+K6JjSKXTVFyboRhKjkjLOEefPrcg9hk+SaDrur6Ba68L
lqfLCrrscIHoxEkaxHBsiO8veyARvPG3LZxRjByS5m5WV9CqYi9kUddH731AJ5FHO9ZU8G5x2UOa
9fb1Ba2YG5FHls0Q4PPoiNnODQHq6U2SBdg4XwM1Gh+AnIxPbntDLxne21pe4UwS9S5HQtOo8YcL
MoIOqb2dnhF1g7FCeRC1jSravzM/jFHK5eooMyeEbd9kRGa4bZ6LR/D6OYaFnvhXjKICyI4Vj671
kp3Jo06M65oi1gjGI7/jOi/MrOa1Rti77+3y6URIAkIJn3NnfhuBHgvIRj/h/6xeBSROAWylkA4v
cuILHyDoBj+N5wGlSAsEC6Md3Axe8y36FFnhoXqq7sTb3mMnptYcWxFTFv+IpR5HH30HuUS88+R7
edveVodsA67HjWGpRxG03dvY4Wxl+xvKa2B0RBN1GWkHytYMQaEVEoluGpU3RUDHJ7Ols8lkiZbQ
Jg03XTV4Mph2kZwyuHLuMMjyUQJr2003A3AOrJ8W7/aFh4QKG5dt7eqLgPADYQ+Jjel4WI5HA8lS
eAF8mnkRalSq/uvd+mAEUjQBwFQEZ+h0Xxd6UqRNExilChdg9m9BxbAR8a5dP5/VOw/WcR5thpg5
5WkYY8lo1aiLMDuRPUcIpx3CaKXa4YEXbcUC6ydzhHdt3xYC6VZYQUIvV0sERu172CBpyXrf1gVo
hEhdQZaLHkHQw2IMuhwCwNBp8YDClnImOP2avmloy/xbBvVK95zaI8EEGdMOLYMZrpAVolmjdXy0
Sjlk21jZpbVXAMPY6FMWMFqq0b60AZyROskgEcMuFj8+Kf0nXX1lKANLCGUhuFbT8oRsHfo/x9BB
sk5Wze5hvkFbnQ0+mFR/CW/QnOEyESpXD22xPMqnRngi5xkZkWq+gzYRgKpe6IJi0ClII355mPfh
AzPiZq2WOsQOLYKcXhOZDnBxgs0ALsrclP7Ut5KXv4KvQX6rR+DwMt8g8o7S1mp5lpRRbIQiVyNy
lvJD9docMI4Vm11shihA5wDkAYdSbUpWD4aeu9BpeLMAWsN4r92zArS1d2jxHQbVoyDEIY9aAr4j
HY9qdcsNt039VFefrmvV+tGCRg1IvDLcTuqF50q9alsOVoyrAgtjvGgRtq5LWMudAKnghwjyCQtD
KcipnpYB2VCPA8N6aX6kJfVj2rj5QXKSo2+xKgWsZRHtWsgMw6KophAy20L8OrXDts9rhiu7fj4/
lkVdx9AXuSHQsHOtWm+ScDh2/SbRhz9j9A/+hztI3b9Sj7luJjs47SZ0foI+BEgDLugpCLxv7xX3
qKzuWDeQtYXUBeTQAJFhPgcBFVqTW40HQ+7mP1wXddVqIwdInw8R0rGHjyN6BK/VsBo3fdXKE5bj
T7Tyke++uN9ARkd7BarGBh2BcIkmZ+OEGpL6BZDNSCD2T8qLiKeVlOks6WEeMAstPcu3zR2AxX7D
4yKw7H8Lp+5CkoWzkGL6zpQlY9tJAfpGj0NUMVRz7eh09HvqhqLzhOPzXPtTXu/0jCfaHxgOl32N
VFYu+ZQU+LGLpDVGQNEd4COohSFnoFFxDzo25rAaeJ4UHAG/CX0M7RYtIzpJ+rv4bzCl25rlP0Xb
yY3uka5ESqkEKwRDhc7f+svvoKKioumMNOIV4Pe9av5d+URCIsOZdzOGywG2nTMlnu8tESjCUIIy
FcM6IsaSqL2d2yqtR2itKQPtWgBZtp8weuAog3kpglKSOu8A8N9gb/W97v2N2tS5KTgJCb5pwHzz
KAgiIpG87kDnETGZJGLc+1xhQkyOiKCsRx3XGW2kuNGl0ljjRt2CtuWbbKN0XSPtkNwZ9ypohVle
7vmLeymd0qU6UOux4DvwSnuSK+gmAAk+K85gAzaKlAIxoMBQGvILz5UXyS4dgEf4F+AV9P2Y+nQE
1xgmhJJntMQjvRJ4/AupArI9QyqkPS3uTBZ1mLIgtqgg8SVC2vgr4BLRwgtwIOOQamaK5qPwWfgO
0BgC5qaBc9puWpPlSKzcVSTSBSBMoaUNpd7T6S8ewzGPuTSPo9RMI7O5ad3JgU+Mr/DyY9AhnpDN
6jaMYPPSDdpG9+Cg3jLP+PKeEgBp0l8mAWTqws9QkjLhtEYWoWHwyTW38tDG5kxQalLGYLtx5Omg
jvhMHrXtWdygYFNBHoEwbQCF8jtEYqfTBVQO8OKBCgykBJ1yApQsqzjg1GBZQxG47YyJAkydaGal
pW9FC/ZQhuaubSMgH9AWiE7py4Aw4OWITDcgW/YivJO+o8yDb6p94vacl+4Cm2eGoOTq0xu5kHhh
GprCb3k5x3AFcDClGzSwmdlWBV/er2XrTluJgBqZCCCFaMCxoWyQIqo1r+bQ0mrQ7VreAqXIZuze
eUxxKYIyNHPW6SrI5QGU+j6gBwBpCBuvhRVnXnZrPHA1aCFLK/zE8ywH7uLY0MwJdZRJWzgwu2hf
HrxbcV0GSLKgzekhaMxoM4NYAOgnoQ0YJdQOWQHp5RuCoRNVAc45Ui4KwVE9t+iiMZfI507KqbpT
HeatADiw+gY8dA7/pIN7m2VlqFwFNpeSSG2ullRJEw+YHyJkU7NNev/GTeR1BDHKC3esVmcKHQjy
VEyMYWwAOQQeXo5EXT0kr/RkBsQnAGhnmy/EHDBB6BmTjNnmuBRdVh0Hkr18vFGF23hkduFfPFoQ
DztmKMgSEvwVKsKYMNuG9t0U01+12Y837VbYtBvpQeL3PE40Z06mX+guJY+KAfimbsHWoukAIpRM
HnjZuJeY92MZamIXz647moFkIEjxuISk0Ylo8uKtSOYyH8IRy+oG0dLifYuLcv0WXj5HlAjKNLdS
2o/GVFV4CtDQTZimkxEpmspKPvGfIkd7VI+zFVgTDvToO/2IuVCL6TderlMRQZwE7DyAEQIskFpn
LCK8rhtROvUgVY+zjxdJt2dwowlOOFkDyt9M15FqjiEqey6U0plGK/hYSnyMNAJeTbAzJ3ISL/AI
aD7/xrKnVEaZDA4BUBgSQeCAiRRYgfOjzJW4RTZdQMHI9j3sr+cPlm/nN4Q0rHIlq/UMO2E1ANGn
eyGViumkpMw73FkiVQOKCaE0wWyWkwpW2ljBPt8ET/MB7CaTiUVvfFD1SGbVmizcANoA4jtwqqqO
f0iNVqILM2OAGzO3eJkJQ+WQbiRYo8QaFXMCIeBL/5DY/iF6Y6g2dUmJ9wxLD+hJoAgQBETqgMuk
HsHVIaIZd9N9b7f90XiRd8o7sBdR0dce+z9bs3WCzyPidvlYbeMNukGDFxRSnOsfQhtjkRB/odIO
V16BmyvQ/d9NgFbsHvqPVztWgfKTukBHdJJmG/kmbxN+F1be7DwdgqoxJZEyx1PXy37YQ2JRa+CP
hj0cjO2Q80hLMkZqTh+/sFEXoihTGKV1gscBKtY4uidjHsQ4dO5sz1t0m50QqgYQ+oL3wiVWuNl1
Do+eUHaC5DyRcLli6n61ioEJ7gS+GAaSy1B2hA7Dt/FXXnsbW8ymhxojqr9Q6dMWg9gGlXTgtcKb
Pr/QXYxSB+CPyNUKnwS0F2dm9BA4JV71yZ1udbSKOEwrQrkuH5u9EEpZ60RO0CUy41wHa3azgwx4
8MatbkeH+EpsvmT6BtFrpG7QjGl/gNNBnDYOitsmrQD+rL5yZV/qj4xLQj3hfy0Nr7cmg74Oky/n
+xnKTd0jBUUuSfiVLAxJC0KpQLhe2SujXpwPaeBeUwUJLEgXyKFREgF1MoA04LZZQvSqa7N7fUEr
EjA+iToR8fnANk7Wu3i7wYuXKlkC66Mm6SsniI+J6DMeb6oD+6T0kAHMR7wvEvpeqD0D865qoPNb
NAVAFQ+vOZqvSRvcDLTCzi6dHiNZBPA2ZOn+ylmdyaWeFS1qGsQFkDugJAukuww0WdPdbEnWPP7E
6MOKGi7FyZT7jEF3scJwOg4rC45andwoBFNCHFRWxxkVpxKtOBNEec09YJHL3Iegxon9O8K2QXJn
g2AHqdv7zmwJeKe1LQDBQLD7IDJRq9YWSuggMXuLpJKkUjqjVEqfyQFs6dj0D2LY3CejeGzG6OW6
atKuz2mdSzmU7ZLbqAG03+n8kF3aAgEys1pzxPl1d9OGpS5rN2EpjTJaclZMSiXqopmXVZuYSjfm
pgy6SFZ0vHZ6SzmUtYrkDkjuMpyMKPku5U+KmloSqqb58N1X9M+JlL2FvPxL7VofN3Apk3po/akZ
K5WbRTPmvuRRaHM5y0OnQ6uLw6IeWH0OuDLCcACgN0YHjakwWV4wPmb8JwlYk36vHhPtkRdGxsNO
fi31rmOq+YcuUrZlqJI0rgoeM1t6clTjbFNEyP3pXbPhADqBCaTOua6VLIGUUfGluFG5GOv057su
f22yySwneIsx0CtSgWE6yddfWR0NEW7MGXBqBNy0TsptjTPufR4d+rqeWlmFOricc8cw0N+ur3DV
Xi/2lM7T+wlAhfyKHKUtuMQLHQY08bQYDkLmz0WMs5XM3Ar3rPCccTM0yq4A+USMAQcmmiAdDcwJ
ZN8IYG0gg1i8Xu0TELe2XfiUcSwk9tWbj3lk8KlgGOJiEKLDhWyNEXJTWXZnf7YTrmX4DSueLqj+
0CopaCI45Oi27FQIo0lsoKboY9BNKZwOUgJ25LyqzbRgWbI1Tx5pDkBaaWisB+47paN9LQ1lVENa
/8IjIf5MGCMIpaFebwQLM3nMqT+6GHC6/RiJR9kISJp4nqhriCGzZNY0GBiEixhsdKN4myUb3yvd
0EUTlHEE2Rr6sJXJISnzyGVlktb2F/kHjF2AYYhki8/dmEIEo9DYDzhCPnvzG7DhDvkR0BFmb0wW
43qsy0Ih4NRfj/7Uc1lli0JgD0BU8vw+yVZ9N+MhxCBna/JAko8DSwJo2m/5goDT/SGWep+0IU6E
CKjDpqTto0EEjT2wdRj2Zu1lX8qgtjFqZiMXZ8iYxIdsQiA0ACSyVDfXd5C1geTnC58zDPIYDYI4
rMGYbiZMxUt16Rla7415v70uai3+Ods16llSk5brqxErInNjZLYo+RImlg6+KzI2Vrgde36btYnU
XYiVMuYmBSKzoDINeS8U34WSlXNbFSKAr0QAAiHJa57vYe8nwIIrICQM+8idOgFlYSX5DCeGYbko
6JAP30FZSKLUvWuESAEwHNnBCAAegIDb8c8fSXBApALdiHOyJ6DYsRvyVu3YUjSl8nobyWkrQLTs
zWheAjIsyClssTD9l+A3Wtn+XivMB1pPAGhAMzXIQ9DORgDDqdWVDW5MW40FRqV27bH54CNH5ZRk
2c8PTo1RVGtzHFw6504kJV5VsQrtq/dLByIOAkdeRA74XATnt0MjSyOo/up20ye6ZUSI71LeUgrO
u36/1lfzQxR1lQc1idIInfqmIncowxamIQYMe7smgrR9K0hIktIrFVYBm6QCPDFE9AXo956r8tdI
vz4OfSmACqcateVBDgIBcjIcU/UOUHefru/Sqke1FEHd1gmTtMA6hAiSxC3vpwOf3qTvhDtK8bJ7
jEP1tvCpOIoo5DIOaNUALkVT17ee8zoCFCN5rXyvvZe/pSo68dCRhuh74G1eROTNeo1XLy5GkZEi
QfX4crR0arV8bkQkxEfX9/LKDlFGAp7orWQFHSLvUGYWrCWyhbSrvBRJ2YoyV2ZFDUDRO1i8RRog
uBtAhyPZ1+xa8KChWef7iBJT4rRvhNs5P0z3I0i6Vdd4UG+lB9Etd+ieYG2/uBYuLD+LuotaLDbA
YMROKKbqcS/xvXFX34ZfE36DFhjFrY/zDcmFtN/75+Y+PfTfJS8F+DVw9TCUWHqsJO/qZVocDHVf
0ePW12VCdknu8cj/OciMeIyC1/7rNi0kUA+uP4B3WoF/An3DwDS/4XeSmfyZAohZ/VZgQgxNIh+o
F0INm+RquTc/R6Wpbn6ivMhaLfUS6w0gNwwDY7fpbXEAMbtJAE06t7n1zdwh+TpWQpv8wmtKSBl3
Kc/8MAuxvanQWhKa1IK0QAb9RUgA7AlWPF9i5YJWlyjC04edJ7NS1Ha3PghHxgrbDRDb17azSONC
ti9vBE81Y0CXg9GICfS2usqFTGpbFb6Z44TodI6hAxCLy5+0N6WxuwfhhvRMtK/1bFaf9cQSEyve
/aXC/+99/O/gW3H/sZ3NiZ37vSinOgrClvrf/91H73XRFN/b/yF/7Z8/dv6X/veu/JYf2/rbt3b/
WtJ/8uwv4vf/Jd9+bV/P/sfJ26idHrpv9fT4renS9m/ecPInf/aH//Xt9FuepvLbv/94L7q8Jb8t
iIr8j79+tP367z8wyLF4V8jv/+uHh9cMf+/YfX29/PPfXpv2339I+r90QDGAhklDuwyKNDCPwzfy
E1H4F3ES8cCg9I1JfxUakgOcNcSPxH/BdUQpE7cWsS9owf74r6boyI+Mf8F5gHOiov9AIH9J/OPv
dZ+d0I8TO+NPp71V/H4AfmEgAVnglQmuYE4bNcmB8ky8cMFO7WgHtB1nhBNem9Ux9QomJJZInu3l
XaRlUg+CpGazLzeQSd5cEH5VXrBHvRjPL2ljMixhh4JPA4Tr6EkFh40hme0vso4hK0Wtm7L+kzjl
ImBnVcTgGWJCZGozT9q3wPePtoEHQqxD4QauwbDBF8/vh1iMzqB3CuAjtBtbF7rapzrEhtt0S2ZA
4rsWnWPzdzL+9BNjwevH+4882kXzuVrqk7JUYRD8XXtLyiLT/b1qCpawz9xh8/B1ofd/6ddSn4gZ
vTzaH/Ioj00LstBIQ6yP9BeRRi0C/yVumIaO9ilO+4iOTfjSKnrhDMq4pu0QZnIFOY2DyRPS9Ndm
2EdMk1sdut/ZHTirApG/QLkHJRmA8mDhi8h4inONS2MIjLfNKwC5rfyu35Dx9Qz1f4/lnFA0Nn+p
p6zqyJpgmNug2b8UITfaUvQxEbKT7nJoSrJpviQ7ACM46EqpTfFoeLkzvekHFlMy/WyddvbUaoSO
4EvKWF9oErB1V2BrTdGwmk438Th8ua4kK0pJbA1ZHkwfoELP9zJA5+roVxkugVAroHeJtzEmr4A6
Xm7+M0HUczijgS/tfKwFsB+HZiweAQD9pDbVL+bwsWVYDzoF0OYNFE+esiUYSVfnGmgZ4CU+cvFs
B6Cgvb6Qixw+LYLyDgOJa1B0qYm+Z4cStopUW7SdzL5ZK8YZALyEMFBCPvSioV4Fo4UyDJBEvPXu
QAhC6k0Gsk1xEzICbrL9lLFA4yMa2zB5j55l2hjOZaPpvECc6jS8MwB+GuleqN/n/lHQKyctGcaX
qNUVcbQtbPokz7gO4qYgsYvwBdG+m2RIFaaJrVbt4fqRrdwjLA7gKaQDG5AflJLHSQUGox4GY0oj
O1Efx/lXuwLJG3YmglJvX6tAF5NhQfE22kyyGWKA3RJbW0EnLmkL6Vqzq7yeM6+vbO36LldGm8K8
1lJ4vHhEJIz+i2SeCtU/9FteF7PylCxWBz6tcyvRgAchyxqsLhCkbTMBRicCg8L0rgKv2a/GXRw8
GD3DYFzE5KctxbQhOqt1XZToq9yXIY/kLRBCB0t/mMBQE2O0laS2CMsqxhKYo/prqwQNKCazUX8A
SyZlO3I9AuZRjOsG5PpbLQvf8lb6nteSG8TyfqgiOx8xAtiwTPDa1UPzuIShSriesMHnmzsowELq
Y2KCi9hu1NI1xFsjkN2m7c2k4J1WvLl+msKaXVlKJPdl8YA2MbDvIw2eCHH6xqfGazekibt9YJcc
1q7eUhS1p0abgtDBh6ggnnlTKhAPtZDO0M9VmyzxQOhC/xuaKE5u7mJFYdFMelACpE72mkOOlqwT
RN8OoPMMrVy7cEtBxDdZCOIwsg+oPB1MtE1lDf3nCV0tfcKqta35ppgy+rEeSid8QcikQcczVoDJ
XQE9YH8T7VE6eZFdftPc8AwDSaGcnXwcyMO0EQ+0OvQ2U3Yki41Ra3NccPFhdNXE1L/UrnAXHTQ3
eSg+1WjfwcBKtkXqUtr5qBvtPmY6WCmx9d395zPo3mo1F5S2rwjWoAZoNRBKlI2ZCA5D/dceH8D1
o12cR7YUVFjnZzjD6Tdq4ogLXRw7aqr0qEBUubRNcrVG10sGesBqijZGpMmeEmMAWKjLaZPpM+i6
atF/llIx2KetoVhyOjZPIBmXHsJsmr4xPpScMv1KArgA0Sf8TszbUx58M43hlJSwDNPO9+ZthfJZ
j+ry+AySSBtUOBZDHlHeS3kywUdWIZd2AqYq70SFkB+rD+3WaDEuhL5O4lcDnFi7ZxVnLsqhxMCD
o/VvcbQTIOdimRU9zkH09B2aO1qA/6NVWPB8F0u2dTd8JGqWHbn7dF+xjOCqFmBCCfkE1G2gBuda
kERyEsUtFkuMYNOYuT2bIRqt9K2GtO8EGI7Wy47GPatBetUiSjIADnQd8BB0H3juC4M2Jbhqudoc
OcCmtHXE8K7WQhY0mCOPgPIroFN4SnHmeVK0k3sleh3qzO1T+ZVge4M4nISb6C/0Mru6J1SjzKr6
6tuyEE0byCgT9MjAqx1vSdTZ38yTTXSosKcNCGGva+zq04mhOhXTmEBLp6MXrtQ4IZ+wlylXf5uy
8uschC99qNxjIFswK06c7DwvWdnENT8BOEj/SCVftXgDpDLn+SHHtUTK/HsZmep+vJssUsYHUwZv
kvGTIvC0HRm0TVxmPMoST9nqATMTXEqMZA1k3+6Q3ICkPXpo70i9wngYn43RFjHhaMne87Rh5W7X
LLQs8ASXA6HhRa9lktVcycXY8RCNJjB+GCR80YbP14917YoshNCGoZ/BIzTVMAxJEh31oMd868iz
SLBXhYg4RNxBUCHS97AfWyUZdGzjkPsm+I7Ao9TY19chrO7WQgb5hoWmIKuozelAnlUv34IWFuiQ
wBnBNMve+KLfjeCvDHesSO6iFE3MKh5zA7EcJhMvQnqtBtxlH53yMb4XYjohB5t3a5YbxTsBG96J
m9yaP+sNywlbXa0qkIwoKDSQLzlfbSGlGieJ2FF+5+9yV3sDplGG4ShyIQxPscbCwsAJ6z6snqOK
DB5PRqZh7s6lIp9qFD6H5baKTpDDgBfF6s1deyqQIflHBBXxj2XQ5kCvUIFPXJqRplv99IWvsCAM
0oGQa8vQGtaKKP9ECychzBOI4ypCT4MzTL4knwC2gtYZYadVP8FSsGZI8RgBp04ntpuOQSQObOmZ
DJFCgP61AU8+Gr2k6sYYAyuTH3vWoa3fjIVA6makceLPEcnhkRGa5hEjXjfCY4whDjQ8TxgqmN78
Q8eM0lc1dCGV0pUek+UJuOY+EirzrVqZPfByXMNpnRn01GaOiMGwWeXE1XhrubuU/gQqehkakKbj
wejtuDTnm/xPgCM7M5j5mHj2rDVS2hMPahdMJNkRKH1pBoPR3SVV5z8CwxhoTddVldxo2mFcLox6
CdGAWHcSSTHzO1JS07cJGWB1NNaNWL2Ai3OjLMuUwsfBWPnHucXokANIP2+VrnJDwNgJVIcFNzw2
MzQ/Mimb6EHzU24HI5g6BgDwr0C74XldgIeuxCoz/FNulZf8PrczsJ05vem862a3BYcfpk3d+Au3
ZSrPmlO+lE45VEoxJFKtYe0N6L8EO3L4AU10gPbDIE5k979GpvoRCS7FUZFnWCpglyPixF7ddMG9
kNUMp21VQZFkkeFzowmSjjL6JAG4BlFQXx2cKY29Qegfx0x4vK6bq1YUgQwqfmRQj0768WrQixKo
KkFbWd2p+eCbRjs1jAuw+tgqvGEYSJ4D6p32tPV8ELmeLIZEEfNtaKVHf4sCOo5Iww0H7mcMzgpW
pLa2hUuplE5ooIUstAlS9Tnb6b6+KdvWlKuKtbo13VvKoZQhHpW5jmdyVHt1N+3Hm8717yabQEoa
W9ai1g4MrbFAy1NEzI7SGNdzkHUzjxDcHP1UNmWde6sKgREZEUtLG6yFDLpV3J8zPTVIdCI2JdLo
QwQOyjQE9E+dZoHbG/z0fF0LWQKpSIwzwME9yVjUPFWHtE1uAoCoWkavfpFTjKtfF8bYQbo1vKiq
0gdIEo5LindTPm7CkGGJ1wz+cv8ohZjzPg91HgpBKIUkzGUPbrhh4xlf9McQH3Yph3IPZtAJjTNR
vP693Ep28sC9EPwZMFGqtwZvBdvgSewxTAbaG2u+E0rTAOqQy4MGhxWur6bilp9C+QyBWHd8TNLQ
3KbcJpsKhVT+XjzCFYPzDkKAr9fPkCmPaNQiZuiD/8/elS1JjhvJf9l3akmA5yuvvKuyrq7jhVbV
XcULvG9+/TqqV5pMJi05Pfu6Jmk0spF1JMBAIBDh4e4XOYM8oandRsdwV1iJFTwDQwr9DfnjH6UL
wAyC8R0jvaiJTTM/NYv6qhngoJBwNbP0PQ8g3bLY4p/xG/BTAvUOBg2gLKZXaC/iuBdQLTbZJgTa
Zt+8Kz/VbXmUdqqtrIQBuhgQMshNgkttWC+pRcwlYHjmoawJciXgf8TJNwSiM2WZxI+9AGgdXoMf
AoO8cTVmqZmGwltZVRsx136kXvNSU0jiquFCX3L+J+BdhD0GSxUabeeflQYMYt7YIjBTyJY+Zq8g
y9qlqWQJOeZEysFsWwKRPMGW2nYNngD7ulvNJTEokqDWBT4VVJan0TUJEvwy31PM8XbA4DTIB8qN
v9N2vLSs3Ct33auyqjwzeW0PnIo9Wyi3zcRBrtwKUgkMUEJbdJKVZmLZdS34LzFykHtbOLi+YnJY
rkOI7Vpqp/Xu9fXOPGjO7E0y00qX0q7uAw1c+0puCnqwT2PvCJS+K/bjk0qQ7Pt++X7d6IyXQ34e
LPeARnNU0HSRVPC1KlbBPxS/9WKPXhHUZeLaJHEI9dvWJUp6C73k1XWrM1H/zCr/VScBI6O07EZ0
kfE6RXioNzpIpf6BBa7FxWm5LisKsUiCETmbZsZkk7KXLFma4JrxDsQfaBEC04EpmGkQknJBVoaC
aND1Zk6Iwg8Nk00BMSBVKRcOwsxT4szU5BxqGUQVxCzE5F2guaqgWCyPTVH/yKXcHtjj9Y3jf9gk
3dA1MDRyyghFg9uff5q0MjAlqeS6CTlnq0owW4Two0hLmdPs9kFEA6wU0Du4iC1eRH1FN2AmgQfa
maxZhWLLGpBctZAv7N/MwYJeBji5oSaLydZpybUGh1qvhGCbHxvDNQwsSSi3RZvZMgWOESlNXSwW
XHl7ebqN4IXTuTnA88jkm+HVDi13LcKRjWVMUsSrMC62WUrBSyM+BVLmyK1vCTH4e2vxz+MIdIbA
ey+insVvkPMvyMq87buIwjNH1alRSjQZE1epOoIsEnIs4EgWzbZqF470xVAv8h/+csGdKeGZBMjC
uVlVJ1GKPxbhqxHsLokejKC884pPMe83RIuB8vcOVM7fIYftluynDOLaP/VcDVc1qDa4SwGfN0n0
OhDX9WREAzKqqJUrASTWinyjZuEC/mimVYFhLYDfFfB68AtqckTyxKNJ1SD/qO3sh7ztenu4IU/d
AeTSYLHWQQT7WB37A3WgXOX8+Rq5H4PMkTNZTyuHflxXEqsQbfQwW+n0JqZHQ6iWPuVleAZzCeiM
MPbH2ewv6IzipPM6XjxstiOIxTi4MUut9JmZrdNtxHWnmcKC085c9pAahRgApE75PMjUZlz5YRtx
aCMqsbqF/w4NC6PhmDBoTdnMC6v9gfcwqC1uRVcB2lHrFnmAZpaNGTkgKXB4EP+mDpQXaV53PK8U
UfsGL3kWdAsuOuc6MAGoFwIDAdxrckjiLpPKpPx2HT61BpZ1u8p2w4CJAWntr5BTDcE9+vMYN3S6
3ZguvI7nV/gf89O35CgKfTmqSCq1FM/hqjbbxXnxJROT1yNqJ3KsgjUZjZByJbPXWJX+j4sg54GG
U1aJkIzDQyvLLS3/xcpk6TPNLUJCnwW1efBTIQU/N0FUQRO8FvvESyQE/5JMYCbWdJW//0YRSMc/
PteYhwMJLW4p4HqnY8Th6EX9yDus6mBsND2z2JCuWRIuhI/LW1c7MzPZOrkIG1kgMt40xnAXVuTL
azo717OdJ4pLm8ij4PkNCFtgmkJbHiwnYBA738Og0kB1yfgjNAx2ihJZVDJWHd0HlWD6QWBf30B+
cK5ZmyTPg9o2fsTfKqzL7ESVgS4zrJypDgswgtXeh3lhRmKzYHVuP6Gci2WKKpC906tWSPwgEgGq
MDGzacbMUVWMI/lH0Ggs+PxceAR7E0YACOIGn+Q9382y4sNepQbGqq0AEvSjl/tm09stGI/W/pZD
zDRxU6KSLd0KugU03W+82Z+nbZzh7q+fwQ/OSeKOqcms1FvE/4pBqSHPLdGAwKeBoSBwwV7/onN7
q0BPFzgHTO/jPjo3pWeBOma5hP5OPgqW3kjqhqEAdcd8QrbRUBX31+3N+CvE2QEkNXQceVRfz+0N
UZvGUYMdTqJnBmowTU/MOL1vWG7RdCklnVncd2AhwAoqOPWTzxl5kUC7EW+9QROPci3tgow9AlCz
S5i/vr6uy+wXlKS4zAF1h4IJkCvn6yJ5oJXM13EyCLXrAcjE8Dj2sp3HjZVoX5X4dN3e3NLwWEaj
HXIp5FLUoYj9QoMugtkqyjrMEqcRm7UIhj9jWKoQzOScfDIKjxQu4HEJGqnGoSw9D+y5/c/RJU56
W6K3ov+kFkgXF9MDnrKfhxg+hIP0GBr3mKqZVmQA/MmCwkA5IhcGs9L3YvesYj7r+u7NGcH9LIOD
ANM7F7snhLQQhpIC166JFhUZlFheibBQ2ZhpAWAw4MTKJFpG0WhUXS0rpvek3YIKhJkBSpXgZ9Mc
9QFHgFqRKX+wQ/J8fXUzPdRzwxNn1PMuCXIZhiVMS3qrYhs6467dDZ3ZInXO7AzF7YelXtzlbX5m
9Du2ngQtLRmboilgNG2gJPTZY2bv+rIWPtoUyqlViQGeChioQ1sAGDfK7ild2LolG+T8GMuq6Ecl
gw2doZfhB3Yq37WhtnDPXAbB862axCUykpq23DEaAWW/bEXl0NK6tT8cde/x+qZ978r0PJ044XdB
/eSzDCQRWY0qEIhSTIVZvFMoP7Fb/Zg/gzg23aVrnulnD5kr74bnIjXZaikMX8bG8+XyTT/5CSIQ
q3Fe4bSp8UPm/RjCjTbs0Ty1SOfGykI9dQaxem6NR84TaxKtDS/pYY0Py+Fo14/JWnSSAsrV3U3o
ZFa4arcjNBezY/gLbzzpPXz5G+JS/OK8tu/cB05+RkoL4ic53/c9RsgsXk01rMFVsc1LCgdLgYZM
Ak0i5blXNrBVOfK23Lwljh+b8UE+tpaxytz8CRp2z0tWv4sr11Y4iTIYmTCMdsBGc/Zh2QLFMhQ0
K5DK6sfwIKCYv23szha+ImdYK3b87h3IoXpmaI1cd/HZwPOtdIgUESXWSQrDhbYYQ/JojmEKvBZE
LuUleq6ZxBBOhUEotPnnVLtHX8F1xXc42o8vg9NvhgPDeD7QdKjRS44GNKzsJq6Qmw16Tb2J51i3
W0oLZwYfzn/FxLXrEqguMAjz79zaILaHStoT2MggszTYzUN7849m+M5NTtwYw8WsQ7rDT5PkUnB3
S5rJCQAkp1wpx6Wba96nTvZ54smS3gepXPF93vT7BKlGtmWvzWHchU8Kqnk2R6mCBuKpvY8cz4Go
R7Riq7owh+VDNRu1Tn7KxL3VrCW+MuCncGwOyLWt4kkXIHttkmMOkkDVDbbG0Uc3/zW8XeotzlxD
oJ9C2YsnKDKZvkMiL/QgboWjpdF9I6zTAbQPaGRePzdLRiavjDiWPT2kBHtNf9WqExufYJm7bmIu
Mp0tZBL6ZahntaqPhbB9Tkzjpd/Ed4Gt3RiQlkI6dO+Z0U7cZR/awrU3c8Oe2Z2cFDLQMsz5Buqg
IaT469pL94WKMailMLi0i5MDkqlxqbY5drGqQ9DKvaeQuu/LhTGMmRB3tpzJsah8D5P1/AaNCXi7
A1zSw58H0TMLE2+PBlFvyxAWaoYaQviYqZ/XXWEuhJ5a0CejYghdleHp2Cj5LjqOrvoEejzkWC6G
FwEEzQcreo9u6vdu85vldri/bv/ywcQZ3f5zpKa1H1IKbVlwTwQrpplSR1DvKHktmoWkf9YdgDfl
QhEa5uEm+0iDaojVUYQIgHxfendiApme3L2+lAUb3zNPJ6mFbDRVn2I/oX4cmUp8W2WP+Xh33cas
x/21ju+u9YmNjlSyn5dYB/rGBxL4qzCiC1nwzLsSW4QKkYwyP0ZZp809Me383oAuFAAUgEBzaQ3u
CV6BrIHYy8RiMwAKPPYQTEGyh37lxbRnIbKQJgXs8XojJzPzIlM/Gri7hVXiepG1NEoyF4VODU6O
bSyJOcHAkGIWqm9r1HN89ShXim0w38motgBhmt1PgmkgQNYhjIJxt/OUM1RjIxAg42528TOJa0cg
8QqNWdQ8H4UQvaG6eUIK62YSCMnVfAMk8SKcYybrBccUp8QGkgGkGRP3BxVAo3oDXLPPHzkLfbLy
1noOCEd2xKSQfd1HZxd8Ym06DlBXdaL3JaxVmGUBWiICNTJ50FbE9qS/o9/OX3+TjPd0dXSywUId
44HLD55YuhzlFECaMP/CRcaHgv4GwmjJHv/nJ4ewSIs6gPg4Dnq54ccDT/jGpPeVDbolHzM6S+Dr
uUMP8hOw12PQCx9vcpcJRiJ4LMGhp+BHFAGBaaqFhGAmdKGxhhk71Mo4opz/85MVSUbrg1UApaQ0
7Gw85n9oo1GgHC8vxZaZcI+SJhCDwHeiCTRF1bRaowupDkOchBXgfIGYRYwxrtasbGgB3IL+VXlK
t38jylwceq4fDywRVokJqwt4qcComKMvhWfRg2iNNuZ0kwSQa7yOBMgvfX85UCopvd2//w1OCjp1
0Yn1SchJ4iKQajTLgadC08uswaEE/WieNg+PsdvsltrBl0F1YnBy4hNNqdQWNNPfQZXuyfeDpLeq
vexCaYFZbOnL8hWcHcIzgxB8OXchUK7HfYIpuu9np/Ey7uUegrNO5Op2BWmfcTTz+3aVvmmfyx/3
+rc1phE2U4Uh9fEGBd5AXRnt54jsUugGO+sGk6jU/NP4xpcKADEAHBwdNc1ZPJl4FRAOPL6JluhA
teVOcDh+mCP+moUMcPZLoh2LJy6kyxC8J6c/DppB6CIfMFvf5thKf9v7JnmMIRiD106+grTI+8IC
57z11OTEWzGuJgwsgMnSriA9AEGfBBrVxDCjm5SrlC0SuH2jBqbec2px4q6xpxaKHsKixKzgiJEL
6EZEP/1t+tFavYOWt5snW06747uqs7Dai3COz4mWN74kVHA4tODcc9NQzdGYDFV4LkgEX8tXDgcP
YbZqreWn+0WohTW0WICshCm4Ed/7k1ArZpjyoBEKjLlc7pGU3gRhjrvfX0hGL4d1J3b4pXJiJ9Uj
PeglOKl8lymu4TvlXrUkM1kFz8YbeegiU1qBr1NyUFtsV8s0dUvrnFwpuSF3JBy4/bDaSAFSSLXe
yYWxUFecPR6n+8lvnJN1Ro2a5G2A/Uz3qCrKTraKLSin7QkHOuP2XxqovKz2TDZ2ch51LfCqYsTC
pNvRzSoTWj4OJztMAq6WCk/17UXqq7ngerrIyYHM1Y6xjm8mvzbpvgxtum7XmDYD/dXd/tUDjdIX
+0T/YKl7cHFfY7EodQBSpWD0G6CA891NQ4wTKDIQ6jwFsTwvhqh3MwyWVJF7SYwWAs9FogNrwIsB
QQUxCO1iNJDQ3tfzEiAmMH1t+wjol65+vX7al0xM3EWKANLKO5ioffYAMFVp9gITF26IuV1DhQj4
M2BpAJOanHE9l8FCIsBIEo1bqQ2+jJH9wFRBYipp3i/dvDO3H/BueLIhqwEWc2otTrxM6/DtcB3x
kna2bbNNotjJZwueo94ZNiS3E90cJAtt6sXjMLPWM+uTOBOoNEB9AtY5a5mEikHkBsW25WPVHDFF
Le85qN9a5W9wh8+dfYjP6jIGeYguXninjA5kKY4S/OVQbjgB37jmgzyjFf6CTLmz9G6UZmIaplYl
GEQCAFnhyXf1vCrLEvTRv2fl9WA7sjt1w4nMJGd8alIzeIuIO3j2EvDt8kWFz4dnG89fcUtejAiT
WNdSaLTxT5y9g/jOBdHfnYYRXdBK7BY/KV/G5DI+szaJNr0WGFAMg7Uas57BS+RqN7JdbFInPbAt
sxT7+pGcu6qgPieCwoeDbi+I/avBk4UEIcj03vrQZL+GQ/qQPYUHckQBf5vqXPkFrBL1KrjraoxQ
LZzW2d3l6jNoJUAdDu308yAn0X4oWCz8Bjy1rcUhf3xKMflVvC4nqzMHBuGNgtQS3FbyxXSiGlV6
XHlgpBGrn0K3DdLHTghcwOrX17d1zllP7fC05+RibLowjJsRdrLgLhZ+ZfQY0YX652Xk4YxtYNjk
KDHgBieZU56SoW4AeAD6J4c4IVFv0dbEuqqVZuCJIzZLAAH+B557Jg4dahg6WkpAxUxz4YSUZPTC
xjA7mtzGnvfey8Ty8n7dleGmLwSzbD9K4Iqv7+TlF4NV4BHAVIfyyQVrBYK572kUVpmXHxQtNAfZ
uK+ItpG79uO6qcuPJlMwHHARLkz34D/nHw1SCKIRCZphSvFblX70CcRDk6W22eUdCCMYbOFcIwBJ
T0Ex9UDSvmkUwwRrqimloRn7SzWvS8+ACQ0VRAMCmkBtTdbRe7EnFrUOE1ICzRzFbRVvnffZmpSD
5fu/yiSzi/gTQCTTp4YJ5hyb4e+Jfl918qoYP9M2XkAZzkRv/CaQrUNXwAAWfgruzwDJDpTOB3wL
/NmD02408EJytgMKtnIF6GUztJfGaC7HiMi50UksZZUhAwIEoxCB/Km52Wo4JhvfQoljmZ+cP7Gn
p+N0gZPj2LFEkpsetuSVOkBZ2t/q+/S9BUvY4mA+/35TU/iyqKpxyThs6rmfDqrcVHGVayZmj512
BAM5FBXzDF+yiSySRKsUQI2i0E058a2RsIVveQmfwLZC+Y//mwOnvzODk+DmeaA9qoGy/E6IgcBD
y3VVfKKUlFjaDd5ulrId9ppsxi/tIbSZFe3j5z8/qbiTwL7ItXUuLo1SR9JFm1oz/dEhJRRaDZDt
LtiQZiIPZ8eEBQ67QiZ+vs1eDekpWcNYQesWo6W4zK3XvO64Dj8BX/5WnQliMxPNxRfHTIw4tTwV
u86SqoVeErCOyQ99Ne5TW/qIAdIQLE48J/h4WC1VOefO55nJSczwDDEB8AaLLdEH0FzwO1Xgs8KF
D0RWf4hdYWMsqrHPLxPzMUiu0HyY+nEDVeRR8HrNFKHDRiA3QrUl2PtMSMey/jIxiQBJjlEsxYcJ
hsdTFlSAAhKrXwJwLlmZeApeb7VG2QAUAI1WYinjNn5FeHeuO/1Mxo0OzV+LmaLJoiYpgBvCYipH
eRlfuHo9CMDu1J/Bmg+CLrYSFpY1vUfKPmzFvIM9+hD5jroK17yZUEBY8dFbD3BFCM65S1bnnAI9
fmBhAXTEsZvsZaKEwVBoI07dqNkx8tImfr2+j5ddVzgbHoYAwHLpI/SFzg+2RFNZjiEuxZni7kCn
dt9YNdAM+ntzSD5pZEmrNrHFF+Imdn4wlqeI5+6lsx/AI89JAB2YGKmtDn/prNaubpItJ+boQDK2
PBy+aGtyWehQketpCVsDbGlu9QTKUzO4oU6+KpYi5uy3O9nYyWnzInkUa76xHP3EuaabT8/mT0L1
BfYgjkAfr3/K2bB1+ikn3gLJLN1XKFbHNjQzZSu1o4dyV71wEngUoO7awz+QIoFKJdJRzBXgP/j7
aSJciIbAkHjzi0FyDdcdoeiclmayIaBtw7Db9TXOnUI+rYiLlo98TqfBjdQIvNqAQl2u4oEfG1ZG
bkpjkb2C+8EkqZBhBAJkIBPgT7Fzn0yoL+hsxKhiMZijG6/JEwCYwQspTGQyiDL+YyFbXrkSU0iS
L/G2zDgOhxxzQDVGUPDXc+MySH8So29QJ4mK/TDUG6V4v76Lc7c5TGD6SVXU75N/bqIJIPlDh07H
mRMtDSDWXwwTXuirU6so0f5KHf92PLK9vvBMu8Re8okuVQIInhNuXUz0CNBXBAf2oEO4BkBTTEFu
GktfEceQrDj4Lpm0UIYeULF5S+xqQ8z4Ib/7Bxhy/IxvfwXjHe8zTi74otWEbIgwyS16N7KYubX0
YuhLXjTjq5jfA4wAo1B420xv9LJpqZrGhm7WQ21JfmIKibTu5CVOwcsaCdZyYmYSZ6Kwhqw1ZkXM
Lrfi0k03xOFXYeQ50OccwDUhLl+Gcy76LT6EZxG5VMBKujCVSQObwBnuix/fdSDID6Y3dEtAwbWs
ZH5J08v7IhKHV/LZUkxGn3tsneVZOKTYTBk3b3NQN4NLcOUibi/gc+YSizNLk/30Moz9awks+Tdc
S6PYept/F/KgXr5IyDOTWKPZa/AXqggY9jR+SjWXGWwSPOkbJO+2PABuCYoqJb5DjVvKzWLELIqz
cP5nfAbmULfAdIiGd9MkxCSlJghaHxlmWmgukk6QphriSsqgRd995iReq8WuEaVNHj5oPqiz/cqS
ydLjf6baJevoPaHQBe0S8HtMql0DzXyx9LHcYKNueb+k3qbQC+EjU8v7zC+/SUhHrQaCWRi+QYVt
enP4lY46Ylxhn7/ZRTn/jORwGefrWztz6L914Ygh4u6/GEVrAzCBj2i2IftN10LzUvn9LgGX03Ur
M+ePD5UjfItQkLngIQamAIzVUmdA3mHcMI1YjZQv+cicY0K4Am9aKCJQ1ETPTxwYzWjR9T0qXFb3
le9bIK58s7jLVvm6ysyAbaF8avsgz3leen/N7SE+Ee55g0u5Tot5wlBFRlYOBkDSeDcXoZkHkp0Y
S1TZl2YwH4W9U9A751WuSbrUlZEGllDDwLhI5+iCYPdJZwlMtq9/q8tcAmb4KDyqTyjVTxtXXZKD
YhIqMqYabfPsoKSFJQ2QpCuGVawmj9eNzZwpWON0G2BJw8U2bQxgxyKlKVC2M8iRgbWvVT+l2rur
NO9JakMwllaAhzKHVoaF+fkn2ibu9V/Aw+P5OeP0xOgngxDIIFjXudtEY60KQYtDXdfBflQ0W8iN
zvKpehSl4a7uog1t2oWYPfcl0Y7QMewGePtFDYh2gQIQlIe4mb8bBVr3VWqKYbFw6OY+JO5yVVck
A0Q803BF4zIIxBH+0hvqXZUlG4C9VrnoHboWYpbxYpAmMzvJ+wD8kONDTpsB/uiplVDjU/JuGu8p
Bbb/JK04FLF6XmJfnvts0Pal/LR/j96ff7Yk8xI2AJ1nggPE0RPvyafHRNbNsLmp/Hffy5zrbnIZ
wdDeOLHHF3/y6qsqVW0wr4VPZmS7lIHMqPUWDt5MlntuY3K/YGeLpkFzFKW5IV63v8XbBIc8DszS
b0PPrB55pTV6WsTlXNY/zy3z1Z+sTqoLFtQBHDIMo49UwKwNVfYKxKhJz8wweRViyRWb3EziBTGW
y6B9bpiflFPDtClHwNpguEMLAgcvG7YQPjBbT7Guf8DZ06DgrBEwzOMymiRkXZYKQjvAOzMNJ22o
oeU6CM4wpJYwhm7XfF03N3vET8xNsrIQxSsPpRC0I+rACdEh03Pwy9YLVmaSP75/f61qEr38QihE
mX2fubEGMym4iG/GFVylg/TqFmrAiyxxMwcBVxwgFXy6Gg2ByVOEdYT6hQgLeqtYvuEftL5eeu7x
P2MSkxEb8cfjuuO424lXgIkxGIMBNnjuU95ydTYuDeftosVZq+/L+Zot7qEnHghKRDAW1bDVuvG9
avFywHgTPkFkJtlnbwZgo0dm8ooEAx6gBPkOxFhAR/4mPCib9DA++O4SAnGmxIUverL8iasqPgSw
vAI/qXSTAZQpDE8kMbP8rXafPOkbAqFSycoNi60Dh3161hKpyozvntmf+G7AvGKk3H4TbwbPsANy
K7IlTpFLThPAANGKwCuCcjGO6XMzHiT/O+ggXyNg0dZlMFVClE+3xdvO5ZyDCQaScDFKBY95C9Hg
e4Jw+tkxWQchQ6hNccaj88+e16qXdHHsmfJb45Sb7kCVlSKh5lXHmIuKdYdTeWO02FUhuhab6UF7
LVeAgyjvJQhBhbXP1UnW12PGDEAKj4u/ftS0dRB5Qij1DD+KT3qOuEFDIPnxOzo7WKvrdOXd0M2C
yZmwiGYmCJBEPguI18b5PnSkgDxE4WMfVuXGK818r7jDIXKBOPuVgSax5q0SGO58c5G+fe6Yg2oN
wxKAZyOxnfi5nhRG6VUBwPvb5AYQu7Vxz4VfQFz3TJfaXnNh69TWxKfbXKAVKBGxtdtsra5oCMCb
ziCFAbwNEH0A2Vs6ACnZJnMFWzmyFVnHD8p76C5iRLiliechzxQ1Dkn/lqI/33G5Mpo0CzP+kVv8
hpWKuQ0QfnkQ4yA/c0c8cmwzCjCyyZ6Ehe7y9wDBhXHOdMUrhaDcmnzuGtLtnlzmSCVABlKHiGSQ
UHDi7YcRmi6zE0v9BVB3aiYHHnL5EGb4+g6GVVB/rQqUSJPbRaefSRuBzEe8Ezl8Hr5wvh9UT3rs
Fn4Sr6ezI3QWtvKRNyiqBx/9x+v+PuPuZ8YmaVwf97IYERgrhGemQNCuD6wgANV9W2LsdYnObSaS
o/Wo8vkV3cAXn1LIBXo3BJIBc9RsLOU2CRDqBDN2PMFsoDYUW+1WcVB7jnbgulc/lvb20umh+wMB
FgPcbCDDnL5thkgMtICA67L330X/Syv+PP3gdCT4bt8Z1cWbu+0lQ4MKigc9U690S6igcCGdANhK
Dch1EBwudphQ9Z2cHzR0Uarg5WBggXU0gc79RdaLuMaj7QVAq0Z9DIq2gEyBX0SRWO71NPG1T1/E
WxniE9Acz8s3ue6gjuL0YjZoh6TzVRI5RZLoUmBBODdpi42XU1qTG4onbkrcjslVS1dZoDWZ45ce
leKHqMcsUm43Qph2uAy8CNq1Vq9TBmI8v6909cP3gmjA1H02pFXtdoi4sbYmbAxCKzOESH73RM/v
TODDAX1ZJUEUUgd3awO6OU0ZsiKyQd/hKU+j3+NaMoU40raxCg5X5tTeQEpbiDnpsd1DQM6PLWST
mngQWK82rtH1jVJauhb3kD9mOXJ4M4rrpC/NDCQn4Tqpojj/okDgZXbT5E1gQJoSrJ2g903yKrEw
WaLmjQUgnSfiqtG8PP1KxFLPX4U6hAhUj1kr42Mo8DNvKy2s6a6WYrEBeEnV/WID2cQBpZa47nSx
MBWS6vQ9YT3NGrtq1Bbz1SXV+3EwYyFMIKOnFFkcOWXVlyGI3uPeAOtXhW1+ZKNAlN7OvbA0VMsY
9RCa6IPfSc1jKPi0x+QwtrU2YyDSm0ccq2FU1lKpK8JbbbRUOaYdzeKfcTgm6g462Lkf4U+RW7Lx
85DWhQu67SrYB7VME2q1QJfokJZq0sh7UzRQLLg9Hfseur9M7vT7oBC89CmVDBY/dZUcZpE1RFIq
rIRWHJOdzmiKQKmj9tPsQFzWKw6qsNTbNzkQkD+UkrTY066CNWbqjc68u0SLVBQnO03qb4q+lJFp
ZrEn27EWyVxiRq/SbQz69maVBqgeWKwPpWhHOkHV3+Qqj3NXK3Nol1lRFYteZqcUSHUwvaYF3DAO
fLnaaGOk3vZlWdu+IHr0WR2bDm0LxU8F0DcWASn1NUaxGT3EQ2yMmdn6VVlvgiJgzLf8Dr3+h3gE
dk3GP9FYeKBlmzagxQq7Ml2BczOH32eeBHk0T0QCdUhJGmB2HZ3adI/BJV6zGYGd6wDybtO+tyLV
94glka7oVkOlMMHs+5iqa09jaUmsSM7z+n0YCVKfAeKbZdhy6uJ+6CozkLVc+jBQ2BvjTRoJPuf7
ZmFQgu6ukIY8tLpM9NEUGoWsDdXkRZHyqt4IZdr1ItRgtEAug0fVjwIkojtagdkaE/a1JsdfhMq+
RkC/3vb9S1EWUfHRqiMR77quABAuDrREViwakBC/o6XSWL4laq0EoDT1aV26atZn8UEQqVY5RJDF
2ul0ow/ePTBd3dYKXmQOyUSvuR0idMNbsxsrzwjtspEGjGxjzLbmk9xjWWtWxIasRA7SGkX74vuN
Hr2kyAHj0JIzStrWLHA55l+g3Rmzm7AkOjAQieKLPjOVRKs7JyOsJqU5DGLrP0oZNN8lTAaL9yQu
KXGCofSAU6sxOsbeCpopasIrXEJ9KPuIsR9a1VSgOOuZrtSAqsvDsK6bJhjuh7RUY2anrDfAQEHb
Kg3YrtBivW5MA8obybHV6jb2rGrQhLExI61P/UNrjAWAxFLchWvQ3Auq46cRET6yeAw7kLVLgVKZ
mG4g0hbOpgXHLm/DaJ+AKj7+ggJcxWpHTdjaw4kidlaNVXWb0TygO6q3AJjQOulKsxaJn722Y1vR
xmqahlWN6enRmAfgaC2E8X/BG/8vMf9fhCID+u9/S7lfSMw/Zn52pkjP/++/FeYhIy8CpIhiCkTl
0OXiL4ffCvOC+C9JRmETE5cclSwhv/+PxLwk/Qvz0SATlNCmRo+Rw1L+V2Je/ZfE4fB4CYIXGXKF
uNj//buOv1PYavK/TyXBp9AJ9DAB/8IUNhDDaGsgwTxPExTqMUXHUCT4Ps1xr+z0DcdfjX8HUjB5
x1yYmiSVwDG0wwhTHMdv7HyMRfIHen0TbZc6DYurmuTvgSB0JP429Vs8fgjBbo4ZzBqsITlb4tLj
j+CT18LFwngqdlIbASKyqv3YR/P7t6y6Aln1ZaHR35x8Uzt4A4JnWcQ4Mlzn3E6ha6WuRV8iGRVM
IQel6AxaAZbcMOPqNwJmIJOwHw9DAIAv3gdZJq3TXlSssPSr8WYEX7Slln5ghV6iOLSrBEcQMmPf
YoG+KclltdPyrP4laUVmx2Gg/aBe0Nhhq8RrQ2sbu9Dl1lJZlgOOLeq3iGHABhZtKbj+MHiOUGXQ
aSwwnFEbkub2cq/uIqSJrmBIxO5qIGArPQAIv5IKd6gkA8pHLdspvje6OCWRXfhd7IihAqQQ+gHu
iNTgrhVo6YYQPl2lo0E/w0GQvliXtr+KVPZWIGKgZoLIbcuCX9y0zQjcjyeMjt5HxCoFOX9UMYp/
TIzxU1VTdAklud6K+ahux7or9kIVDyuPUuAPkRYeiEeCXdfXJDaRDicb/A0JscksvKW+WDhyXPZb
v1GUnmPQxVtSlGLuoG0+vIImFVwMpENr9ElO+rA5FqkYZbYu1aw+jBJLe6vxKyN5j6o8o47SGqFc
mYIvqU95ZJRfBmXIbkAeVUN2hGVx75S0zHB9VQ1LOicFWSN1aN6gSaenspZtckVq0dFVfEGzmrEX
0hfsXBvZRp0BJgsG9XBYqZGQPjdeAD0FyCmXjUM9JIdmH1TlhwB+gMKVvYJ8yVFsUBPb74d3QiMM
vucY4VAagx2nfbCqGqlo9hAAMzq79Aqv3ePmFelxCPPUs+RCax6ZpOAqFpsx9J2+SMLVWAwiqlIk
S9rql+Tz1xULmH4LalSeGrWxOxhFZimBlquyW/gaFJw8SWnsNjyMUeqxO0Guqy8/rhrXDxvM9ctV
moHMMfV3mMgzvpQmLLY0kAZn/B/2vmNJdh1L8l9mzzJqsaUKnSIyUt0NLNUlBEEFEgTx9e35umes
uxb9BVOrW/ZEvowgAT/uftxJMzh5HwP3FBGQ7cVfPcRvjJ0fPPMm2l5iGnomp7Hobr2z9TiBdMte
Yn9s0oL7ql/zsZ+ih1Qg3mDXYgr4XTGY6F3WrfA5Dl0UPUnj6HuxeH1/aH0f+2nABrzyuLs+LzqK
TyOu+Ld5JEANdor2ce+ZWgUZdP5xDKp5i8RL4vKuGJYlOQ229X46vqyfvWzJ8+Au66nVjDZ5IJCh
bv2x3S1dMwOPB2MFcWpgACiJKqxHnTE3aeefLPfpMxuVm+RJsgqVr1mEtm+F7+0TSA7e8w4nf25d
xdHxqVJHQjtIR15wJs07oH1QIsSrfZerma6xYqTsbdoDH/nj5pUN68D4sy5CI2HsuLssRN0ty0gI
1LFgJ3CF+P8+OW025dyzcIuETnq3jkO4XyFd93k8Gl5alqwY8SIXt0vQpCfXB6WQu5kcnl2HDm9T
yt3HCbD1efMc4+DfxNTTiOBgljPKx6KxDiaDZnPRlA479rnDUgHNM8RYf2NpZFjL1l1Fnzt62fZr
2yf3jczi983LnFfpN+FbG7eJm/eiYXcAx1ENX9hSQf0O4V8T/WHbNn8HkYO9DFvrPPlrAr04JNT+
KOZPhXGEU7kQdprKJfM2ltRd3aBIFDFwgze9a5ASPmPh3PHpkzvo4ctAuf/i4OTrHpe3LgflTx9m
9tYHic3gLAeHP10AM025oo2xHJJOPrRxHz5CMutPPabsfee1bcEa1320TsoLNSiyXxef7tbRM5UJ
QnOaZKROhBn6mWxxc/KDYfqM2hFxhZ3TLn/R1aUfgN7XE+MquluHVhR4dGiBwvbmbkotsq+jbf4R
Mxkfm3QKy0VvpJ58Zb/drfN2yyjUboHNcSe8yX+KdZAdfLWyejSr/QXlyqv9ESWn0cbSJ0V7+mr7
ZLnKZsN2NSUkONJ5mZ6WyR3fnECGf5gXssogE/OoNHx9rg7JcWO+f+pNll4wF2WlbKXYD9LXVwnp
+rIFZnifu+wrxItc9IkzG3zk0hx4SjAEDFy1RTjpoMocXyLTckPqQzXDGNfnNtLxbXLxp41nSRlM
YXDHaNffAh4SFz1LdLxw1i84JMbsa0OWsM0lc9y+9MJ2PtkM9j/VBXotQ5EwmuuJi53EDyhXavB8
uCl7bbq003lCYLIJ8YrsjU6DFf+/lfu2kecQywMVMR25gELE3v5IgPUN8MghEg1SGVwuisjO07Bz
YCE6zRFGis5n2TnyZFetGUfs6aDn5YNQJXxwHNn41qXgZLG4GnxE0+xbvKbRNuQQf8yjI6PpebXI
KFMztcduG8EyNPDjvU4rjfdYSFGw9MvlMdQu4iZptyCgIW7vjOfaHRmpW7I+YMXWJN+R8py9q93s
fUqnAcPy4HGMo87Q5nju7RkBO7QeEtNe02lWh4w2PsK9hqCDgVKquOBdKvHXXXpVLqFFiFf5iJXb
+Fk1U3P6FUzubZ+auAgjzC25BE1wCqFh/qxsDRSqJnV87j0c7Pm4GNZWjavw9QwYgdVerNiuyYVd
wqYY1ey/jMqikXsCJZJrL1bflMnM2TsNhcz3D5j//3PN/wGY/N/mmjOb6fLRsY//Ptz888/853Dj
x/8CQwdjCMKgsO6EcJf/O9z47r9+Wcf4d9Ea/mH4Uf/fbBPF/4K1GPNQiJXMf6o7/muyiYJ/weEE
9yrMCnCSBpiH/m2S+d8mmwD/+5+4HAm8WBqE4wg+oN+Y63+XzrAxMfvY4YFNW8RI8n7hVH3E0oqc
0PAJ2sOZ9Cb/3S50e/GxkXRnhIPlIuMjbIdB1FHRdJThXrfNLQx7WL+G2nfsGZi5NqxrqiT+SdGR
hX6oGmHdqKkxD30gj+ucvKThVpJZVlsoajMlX7ZLD32P/LsFa/zrnWRerZfxEpqkaHnyCO6kUC4s
yGtY4Sy/RvZh6U5LZq7Wn85d0N3omu77VYlShcNRD9u5SfRxFBz9lglo+uB969YdLLoDAi6Ct9HM
zz5/dJxw1zPyMa7qbprUjrc4eQl60wZV9huC4n81/iC9157C8Z4VQoKUyL6Te39hdcOjU49f3yUP
nF51D9VpWI5ycw/wNxVJh1jZsbnLMDoAkxXob3yx9YBzEVxqEVt1lpMoR2SuNRM/oE/s99KrerhB
nDDdE2WqGGWPLkrem1Y+jH6265rj5s2P3SzutSWQNBG3ztbPQLs3qpD6konD+OLJcSyAnBAXhpth
JkvdD8E51WOVbsPjloVTjvy/h4lvtehaCFbtfEfbnWx4uUiEcYXgaloa1L1Q18HHuOJF7z6d637B
mpVWuIjYYdAeGk5w9ovWIgcYPhMS3hJ0LeCpGbB91rPfRc2ssDPgas8RZZjGW40pGx99VITEr6Os
fRQaT0A7KQT8jpeoXdO6lxA41uQbN33lSGjn+C2sy8smcovNeVr4KwlRQZvyw6hxs06sYEDIbFpu
c5xW1KFFsqjPniL3hibdnaB9qTLHrTKblSRtT4ZjM59iwYJiUWBC+qoLstu+Qsu6w8H+mwMsvOwe
3Gjlp9OjbsIqInOlhujoclpsvx2/GbwDwccExWds10IsH4MSf7hBsY6v5XHC7eAEgcgZZPZRO7nf
TDvWR0fKr9EKTOxgwmudkxs0dyDvzqAdc2ypEOTo11ZHlVQzqm5BgwHEzResnj1xNFP1PrnpSZfd
BG2Hm7JHK5IV4y40rIzG7Wkbz5Ssdbog+BQzT935tpptg3unOcX952LcolO2RB8QrNgOv6fBc6bS
57DdjjCWqLzT8kr95Rl328OK+rxmP8nR5NizP2Ssq9QCvlC0p2VMa95OHzQaD32iHhLa12r7ctv4
O0IQtBksELRD7kZF3mSsuxy6ZXrjiVODCz1QFoFv8yFTbGD2i6CZns0002IhwSFbKjfdnuGeqIJE
nwM1Q1fEN+tGLXzB6ujNyb2KzCMRXSWSBst+mcnVFKFWa9yna3NwkmYPOdyFo/GPP7woIMMp5oiX
ml/GmFLMImbHB7Nz3JfYOqc5uxd+Ar/OA5ucHyq38xgEl953y4V7lROgNJfv05ZeMZZDSJZB7QTN
J2a39xn7aTRufmg8c1CtvSwMbQuQzZeIxM9zPK55Oh690AIXdZlXTiLsym35ZgN5HKdmj/z2ry6O
0KPXTFUPB34V+s0tC6YP1kJFRWDFXdgPXyM/DEl8ch04qDwvrASf91s7ICZmid7tonZsVifEadEK
aoUu+LbsfUlvvSwl79tTtnZt1abN00y64zh+B0QcfKEubjjPhXuMJu9VCfGYjeqarDQru0RfQz0V
kUDWtekr22pkiLu1FcOT4MPztrSgcW0V8Han16zsJ3oVgcGLK/e+7+TunO0nNLdK/RE6fc0Tr6Qj
JgGfPQYLIKbeChc1oQmh56Bvy5gMSAfmBTaSit/tspK9zAEs4HHM0OU3Bd9ditdA2BELEWyDcWbU
tHYIgUL20XkzDuD+uIyfXfOdaRRb9geq8CJst269zaiNAxcP2iYulh6Z/IF/Gr3u6EYyj3Eq+T4C
DOAWyGEZsCjkOAnbIIGnmxALFncFMOOxnd6wtl10/I/+HUmQ2UExlG1BgPozBBKMy24xPJ/QSgYy
/mhstIuj4Twb991HK0QeDtFbkjjncSaoVp+O4EqeJm2XHcbKnNnsc4i3vyIK7lSPi8G6yFbQK8Ys
wrcyxKOc0Bix+DQuBlMjc0IVmwIUl2iHp/2rxN6Nt/kIhezLDFpks5ZLOBQYSHe0bwpv9YGyw2uA
HNRGsjv4YvAxpnVAMI0kZnoP0v4vsOpPk8g3vnY/JOgQiRghClyMT+6mbO7Q9o83DcepxecYXAlr
x7wNRRVieazoBbZf6fzRNyPklNQrkwZMFEt4zvAZDyk7WMwAuezeA4Najr47ubDHzdzZrVAMs4w+
Q7LaGb/BBx1cp9S9kEH9Xca5SF35qAgStbAtQqlELiQiBSp3MH9dh1/YBmww0q9FAdK3E1TP7VOu
7/DelJhP6rDx61CZYiUIHDHw/6iR3wSMx73Xvay89LGzpOO0xDF07Pm9TbYiZtMvQ+V8hAk6jtUe
VZMHS8hu7cRT4yER0qqvLoohykZj3afOWfcNfg7KeELwwCAiyn6YjlHS2KKZ9onBnmyo6QcS5ath
3K7jNlQt5FsW+x+IKTz7oX61vrhz0AUL9bJ/cVrv5Kb8tEXhOZTY+PFYOfddjcM0qpHTmRTS+0Te
A8n7MTo5BLE1USTLeeybUs1JUnRNvI9DcG0BovhBEPlYZGgxBEdPjNF92vXHLupvmW7vJxdBRb68
J8m0lkIm50baUk9gwKwDcw5JX6HEwD/yWMaJ/cH+17HTjxjFjJ9gh92/tON0iiV2EhnZUA3ZmkI7
kEmE295+D/JkffKXUOYk8suBQ63j9Cdt1AEqDzqyfgMarj0hL8z4pUv0nTdChx7xGPOwl7nt/YuH
AMJMZme08L47y/A8kuAGlucPzdBcxzrLMFL2uNzZM3iWAqFoKGgvgWeBI3Qx+lhH81jRZc8rOvyY
UIVpQbNlh0z+xOmwYyn0r/nHG/0qDC/d9pEIhFLaCTcXIhAF2XbStfeq9e7DYTr7lOwzZ8Nv0/EX
EzU1TWHhGezBaao2ex438RyZFEZy/zSBol00wVPu7DI8THIUJUiFJytuY+zfLZI/YxMM07Z/cvz5
ccBFohxSkza7dFIc2XFrnpwZZALbw19zRXrm2WlViSL65tivoKT7B0SMv4dtB/xCkLkGKJVM8t4N
6LvC9kGY0m86K8yYfKjSJckK1D9X81pnDgJAmO0/Bz9DcCtP8rgDKY1rOJKqXonatUFS9dHwB69G
MonnJIg+pTJtEaQIpbdZ4YT2htKbsUIknF9mcvnnPwu3aOtW7uIcU2ae0dL4HM+xuWrYRakIyjDo
4oLokMNiP5SdB+xqg22pwoZhVnW6QrO6kxi8k2Hcu+5Y2MTikMO2dBvfSXzhB98MopB2l1j4Pjq3
USUNmLNXAXkNCcrbvaXcei8CRd7cWokbPk3OUK/RkOPhIeiDHWnppQtAyFldLR0r5qZEshQoPz8e
KsQl5OBwGJbDgLoN/yId+RRNdBQe6s+Yco5rq+3JIHCTp/obDERKF5OTZHxa2qipVABuQLKuUJ63
6yL/YDxkjQ0sg5mD4kBLlsrzt6ZqcPliQZM8eHuapM/9gv0KOSd1KpYf9NIUGnHpZrs4YMVlGcLH
k51W0jxu0QIjLK6k4O+I64a0gH1rVikbDyifSw5YiG5yhC19Rdu65F46ddgAHatkNDuPKpMb9ZZR
cZrfkqW7bjM/tjK6MmBeH9J1kvIzxK2cWl7b5EuDE8RahLMgQn51SGGUcxC+j6vAqqAkSIsrTEOO
YHLMGwoyapuKfNiCo/TjeSfWeLeRtgRDUo+BfoMUCyZZcOcU4G8BoquYZieECMzlOACUehEugXE/
yw7+Pz0fnWGWuWvnj5CHAOXbsWNqhw7YUkYd7qi1GEha+9TZkXDNZ5PVfvbmzU6tsy9j6RmsPyoW
cR+l84tgQEzGAdh/YqFbWTFVToLLjAqnVLJ5Bi+8t2BeNnJ1NwIhZkFalI9WpxrT21kS/bbQ/qnr
/dpLxbt4bGiPwEoiHgetG5Ct/BbCO5In/coLfIS3ZEpOMEfENfPxLCvoCMtxnDoAFPBZx8j7tF20
p7OX7IyJDnx78W1/4HxeKj+Lr6P5hfm0iDHk+sH4N3SdvE33FOcR2Ej4kVliWRHPzyiYOswZPYTi
aUZUK2wD0W3RqpqM2q1zW8yBuE8Nwickkif5VLXuBpsOpuO5ppnFItkQnUWMoippD8rzL7GJD9g+
zfEOJlhxcM7gtvIIaNgm3l04vShWeNnPFuEFgCT2d9X8GIziRPDAWZ+WQSOLKTyP+tIr9PLiJPTJ
CLaLVm70OrX40gBnFyS5ZojfQ27Wxy/q0Ng32+K1jkCSr/o2JkUSf4JsPiYe/J9L87ShutlxuyIE
NT14AAfo+k0QUUabCgIWFp/oUx/BzeBNhRbbHcwSV5JOTwS/wbJCzBKiTP1TgofKAlpE8wuG6By2
j0qwb9Rm7kgynEcTPVJDz3GkWwzRni5JE50ADNoSmsMd7lwcx7qcMH52zrLDXxXfDC70PXZaSio+
V/EUdBo2Hu08Ni71ct9CU3IFsD4pl04P2Cr6TqIZV8N6kiP8MkHwRw7Z/WrkMZm7m4yGE1K80K7Y
j++eSs4R7QrbeCdtevd+CyyeBrniGtxGPG/CFAj7w5do9Tnibqk12cEO8+DD2pPTKLh30/neXXpS
JvZ7aLdzPCY38ERIInfZH6b4QbH1smRupXxzXUzYnqSeP0Fh/zo8WpPPFME0KMU74ncp3Sau4qWr
4zlAQ/wcPDsekO0cfnHflgsdUHY23abYlmFkXSB+WcltfNWD+x4zCJFzWHpOizFVnFIn2DPFMMCO
dZvZnRfbfd+GT7FnDvPDBmXxVx+450tw8lqAWph5Zj2/SbAdaKzHqTPghwZR6U/Bu8LyoG+1gVmF
lXIYr6OcASUmdIrgEGJmfuw7C79NP5/ggzlF6wpONywysj3MM+xuenUeEgACZM+SX7eSeFupf2u2
AZDHiZEpxjFQUQfLaB66Dyg7gh8Iy1SR50yHu8Ggaoi6PAfyKuh8tCbGoZsGDTSFHl6h1H3QqOba
o265OS/IuqNInR4WcR/oWpp2ByVpwJQwlh1vj27WeoBoJ9XzT0gnTxuwhi9Epdpsbz0M/qyVl3CJ
nDyBJBil8sHdBQ2C15kN7hK77KF3OQA2P8ITdWjboRZS7NYkeG7677ht75BvBtfYsKcUbqR0+OOp
rUR190vA1S5ecWPRdAF8FDnfviGYlEOf7nr3PM0fDtSBNXau2TTDHBy/cJviOQYbRkPYYMJwLrrA
++TCOTCl4OZCKrOr43Ki4O5M9KXMDLsv5rPcl7DPqQmjqH9YApwQbuhdhOt8eJiZAEbmad9Njz71
8yioYGC7qIWVHn0Zpq3kHIdR+DarAX4hzDmMkfOIMGhJd/165hmtAf+rGB7DtH0byJ/Bfe2FRtED
656M8OsJRYt9Bs3YlwisRW5YDrPIVuC0RtQV1gAg/5d9w8FKSuwBhcszDGgCqrK6YvN2ysdoqeZo
vHitf47U+KiNmvbcj48ec1gpME64Xn9YiXjDyuD9RF4dIBwM486zoGtWs0GdW0L+msMIxsJZCE44
F1I4/EnXwKdfqbv8pIME9uEhUlO4KAnDuTUorAklHMxPgpiDYSO5pfavmCChKRSaDA84l/fz9iDT
poQBqUwhWvQK4zTYVZsGpUD63pSMDwuLcRZvH+BvKw+/nsETCTSbPPOt+Wx7VQQ+ClnYUaQIuhJ1
kDj380KhZNGLiNJbyNs7KZIc+uI3Zxh+U6Cac7uZHB24Xr64+oTGatBzPAI9Oc77AYPN1NMj9FTc
cAF8udF2P02v+IovDtiHVuuSpVm9if4ETJf2azXyYMeoX5M+LfwYqL8TxRJvVRRdmkZyXEcP1l5S
gVylYCw3CmzJvmA+rDid7lk341iDRRYT5li2C8cOhfcEtgYeHJwbYeNWeh3uEBdRj8PVJOhUIhCO
LK5CwVA4DVKjZ5BJ0e9+llyDw7mXjjn6bfiD5LVjhoLqMhYoB5VCXAg4ZX8zx0CB7B0anOuj1IVM
IVOa4AcJWnRb4Zd9SwXZWU5aRKYfEvxIQWW1wm+NyeNpng+rmkvk2QC4qEo1817cMYvnoaLxZcQc
NovhIeFYtEV5upX80Ktg7wIrQvoa0gheurNenvUKrYahsxAr6uNS6b7afq2t0yHDuvqCNJw9MFjR
rwjVXYaqE3uGZidjka9i1jJTfjFo+N/h210WVWD/FYwSThzKcwu5eLF0b+Kg6HxVraFTm2bZ2QkJ
DVG5RlupfpEIiKtgePL6ZYedgnGleerutNtV0/oygpHAjYaVB/gTsMazmbEgLiRg+tz2OzyQ+4g4
p8bFAoZBQaGr6knCq+k+GPdxwY+V5E3MQ2FA5v6aTp3IxXeHmLDsk8CKwpGd0qzp/aBPJH1oW1Vv
cPW60eeMXvs2JqawTF5G2JSMQpR6i9TfbrwAncO2Wg1627ka0n224c+kcgNTdkLs2tjHs4fXKDOV
t5B7L/irOlU57KZ4um+6pMKIUXYpAoTpMzaLnjKJdkVEyCzTFXpbHSdxDUb+KGm2b8XbuBxMMmDk
m+sNPDY78/4ztHfO/Dwu4gKqa8/aB6ZapOe5xRzb2wxlfsYdtcZ54KZFFOJkRqiKZgWqFd+7tD/6
5o+ctnjnNeIE/JNUXQtH8RReeijN1HY3M0VXeJ0eVkfcERGcyYpw08kxFezkiK93A//Y8OQOjri4
6Ef17sXsLhxdvzQLjqNhE2g6x5XfDL2TQ9m5kK659aCuR1BdE8BYsCHuAWmYVbM0w1FtICgcCEBD
6EEJRSUdWT40XctYbllOprg9ygnOZv077BH5tcYMs08M8N36WUGaba8lB7yCh+WMMR2WZSwExXM9
p2Y3QfawUI0s7BN8QNRBZK9dT1a4Z8PKfEkJ64LRleV/em53kkAoxfHRzNB+raqNhon8kq5TPaRi
F21AepBKgmQfzK+oaq3tcMzk3kFpNyJ2PQamIC1wf0qEg7jeJZ6v6R8WvQFGHCgmIa1M3bNhyJMJ
bmwwAa7T7KztSx/MEm8f3UbuMm8s4+zVQ1wiZN6qGeYSLoUCPvTaXbcDizlYTXnfNTpvfETGQJmG
PhXFiMCHuA4zOAweqGEouoRuuQzYWE3OeGFMzWeuHXqMnOAljdVVr7AeJ5N3s4LmCtzh0UIGPwGy
r5VuoF95yPY8TXjEPU+BzJusgtaTYHSMHbhxyJCeggkGXBN7oBIcN4d5DRX3GttIwFe0wGanV5LR
W4psXodyjn3QAc2gof97dp/yh6jrILeb/rNfljJlU39WPAL154DqIvDUZ5PYbv3zEiVdpQ3bHqXw
b6uPYHgDoLwpk+zThcY7veGrZ+MK29MvdBY4sGQjj6nTQCMza/tIg73x+/Ds4LXeFEluhPfqgQRP
KXEOMCFHP0PALjxrp/dkbV9oGH2lYUm18u74EDT4xDj2XTZYFRbLH2AdQAavj48kQ1CQoULtnXQ+
Z0hIuyOawFHAcb61/gzmdgaycMhj1gc4Fn05V4y6fyT2NUu96rRIQeUfqVGw5UyXrI2mks0W+ZRx
vxZBD0Bsr9vE3T1KgAcon/ozcvUBSHpF1xwKQea4mc5L89NAAN0hHeCdzB1GePhcsDXzuihbAeur
En4MaKHDDGUODssOZiQWTBhyU03zcV4yqPbrLXQnUohDppKuZhziC/X3ydLus467x9Hz8kku6UFq
87p57OjZZs0py7yzao7iIkYse48CDc1Wf4V+hu4gBQ+dnb9J2p0UNpaQstftmllChZyB1wUsUrEb
lUkHjtSgdSD3YtzV/hrcw55C63WL8BZPTzQbpgsCRtAN4nqwqgh25KTZ6ST7doMBQGyQokTjOivd
GBYVmD5AU3ZOHtvhD002usN6IOoTlL5Zhyf1tv3e2PFqcuwcARolTYaI0hGPIb85M7BXAE9YhxIe
jSys0+T2F3w+qJIJG/TlLAawdu69ymcOL1d46jGJM3Lk+LpneYDpwdmlIbjC0UfyqWnAJi0EFjuL
S2FcYxRiTLw2SGfN4b4C64ic7oD8/FO37qlewcNxkRhnYUJEWccCt0vS4VOC7olT7BFJgmOZEozH
qxVlsnVbDVUqg/veEbgV8c8NIC7rjqIAcdpc0PIQO0jzo7mcL/3i+XWq3zdLzV9qz4z1O3/r5UnG
RufDhIOEb6yaPWTOwp6+ohi3ufp004eh2w0usjYDsGVA3ZhitmwCjbUWNu2+2S9YmhysyeA5rixg
s+NOcj/M/NRFc1rBJzjmSwiogqMXk+BHI11shvqoBxzCYTy6IjubeBv2MT7IgiUJAT74ciwGZGkz
2PQKd0u8PI1gBBzoAmQeIJJvFClYFIDbbWIH8OKf2Sj/TDE5N9l8kipQ93z0r9Pyy5lqc+6pk+ac
YxO1j+dKZiCtAojEwPE+/Emyy0XWtrttlS+wdaINz3XNDg0gBY3WR0QRexff1NGfiC1483WKgHFh
bZ11JesWMFExNoYWdMRa+BLOcePsbIizIsHSQjVJ9ZQEg8TViQthc9u0Xoa5DjqT7gYo1oYzD9zW
mYFhLEKJB14besd0FjzAdkcr0JJjteKPedgn2Z79enBX8EolIVSeRvSztev6u3QMTzPWUIsVGwyV
CDCL9KuDoTwCkdV0FoLlbyCzwO25WPgDAqxhAMbHhW/CFbfYU4LfA4sazl8YRqAKv5qB0BedJTiw
RnVwpYfEMg/x7r+HQNbCZ+mSrzbG92yXpY6zzhzYnObxMt5p45bYAB4Os4m70uFIDEh8WcC2hCBx
zRDRCoYwRxEgqiemtlpYIMsswEaOdl47F+FHwt572cIhjTyLIfgW6eQUyHn/GPkKAYawvg7CH5GB
qFk2ZPqFy3vcLr8+TPcc3rYljY7p4ELk6bxDSsIDDVW6Q7x2WK2Og954FTt7K9a7CId3wfUQ1UHr
JI/NZpPHmei/Wyancs4mlKyMPgYObzitvPMvQ7cXQQLrgcrmKuEq3KkVxjert+2ejHhdN1dc4WLj
8BfIahZvrufby7KM/p2Rw1KBO0W9+rZMO+x3nbs4uI1NNpRiiPaztQL3o2qqlK+mjle9Qj/fyD7S
8P4tiznDmGrOcSwM7OD67xCrZ2KCuNaug8U4ZJvWm4lKF8/F9T84O7MduZFsy/5K476zwHkAul+c
9Nk9RsWgeCEiQiHOk9E4fn0vKqu7JJduRtUFCoXKrEzRnU6aHTtn77WzeLpyyylFrluku1JFuQmy
uvKFnBHZawgntdnPa2fwi4o+Xq5m7VFNGMjYpZlvMg+QYRa1q1pD8+AlIJVcpo/rVh1pLPeNtVVs
EXCwq/0ydh86alU6CKrHm+lwQygzOpc1zevoJscJ/G9MxFeTxvwytKQ/mhbqhn78cEfnOnbrUzpW
DLJEma4VYYWrsCmqE1mj6FfckblU4lbHobjuEqnvsRJC/RwZ/hipbjEY0j4qLDiII156ZCTHSile
x2TvytkOaIExz+xvw6g/1GpZ7Gc1qrcxiL+VO3j9qiN0Mter5QS3LeW0n3KJeTtOqKcndwOrVay7
yYlWvWq3m7xWXufKKK9S7dWuhHHKMszls3P0Gt1d2+Z0ZeeSCRI0lYGvsq8QurG9cCwyJaGTVh1m
23C8QiOdXE9WdG3nOi0sB52GFXW1r8Ud0biycdYN3aC1llD/lh2bjhd/yWKXertkUh0DIQgwdFED
lfmwzmYF3lvTalsjNu485ltnrQz3jZKsUg9duDSqZRGc/WHCIyjcmH8FCueqsHLjNKa0uNyUxSUx
ZXTMUiQxKiYovx2f1NpjmUhPA5qxNUE1nGgaVKU0ylSCQEDX+lrt6uvcSlI/kWigcWIMyB1T52zW
3maQUbGb9HsMafFNllGdsD6KgyyPk9JztChmv1k6HKPLULt3u/vcsE+Z2/Ck1/JRG19iWOG36vDk
xWq2d1sx+Lbororc2mtePGzzZCo4OneC15uE3UixjlSZmOSqE4p9ueV7s9J2Jq3/zgMiqcg0yC1+
AKmJ4hh7Q0+7coak3I9oohSbR0Hm67gpopXSDgx0odv6LQigIG9PMQKvFbIUc+u4HMsZwj5MrnlO
Z96ivEc6VIb6F6WkAVIMOTkfkfwqoDv5UU/tUqDroE9e782+opeIY7DPbezEo71GOePdaqELEcIQ
zjqpBlJdxsR8adB9YY1zH4amu2Khz9jdZuyvg3YyBPqSvm7o0afDo9NNX7WwejU056lKEvO6FNN1
R8chc9PkAbDWs1XE4WbsGEMbNfc6telHjX3oMjR3OLrD8ISnND/VI3ZTQX/DcfGPWLg/9LZMN0qs
3+WqxSIr+407GAHCNaZGdoCc+E5LQFdmi2iPh9uNq5Vu2bkfdRmiB/K3/JyWrkydmvFy47dFIv2G
Q1NQmYk49Kn23NOy31shQU9R+D6Wds29Rv7XPeWx9n1QfG3qHN+q8jqY7OJunjKo7AlNpXHqOS+w
5TNRR4Vt7/XOUY95LmBYKu6ZbkGUOc80uREK9QUqQqzC50GjmLFc6gQRj0FUzUEz55uO8wztNu2u
w0xwDhM+dY1KzM9oqhxjxZsDcg1MNEilfaTYj4+Zem/HdX1lm+10jpvj1HC+ciOdMMex0m/jif9i
WeDMl716ZdscG1xnD7aRXnlayCo8NiFCJz28HjRauUIZildcx7zosULcZV+ZG6/Jwh2fkfzzMgRD
bRnFNp/qEHlMQcRBp4dBHjE48nInPkWUwH/9r3/9PQ5I43FEgMINO+HhPfFDtjtjQrHPoshxLHOa
6TjiZUNpb/k043jwI6Lee2OY1nYyansNJY7Soq9CY3y2W7P01USQ/TUHxTia687UxMmzptdSzOEa
YGO6RyGDaak4SzVN71QG0W1ZPitzn1EIjxOFtDXuWzvxs6hCf4azNUCsYFDKPnijwU9BfV0QSdd3
w16PjcCadQwdWR6twr7NA63SHuZ0auhcOy/LGX9rJkgg8eIa26iN+GCzP3lRfy5cQa2NUv7chJFc
VcZ8qJtRO0inPJuxHA+q1py82L0VxuhddQMwOEvn4GB6SX3Q7HHt6Wl3W9v9qU1K5p4qU+0hTtyt
1EcepHAeT4QjXUeMmhRXO/eZoZx7iXnBorRgIrYVpSluBSb8vmA6PkNpCmrNtbfwXHEW45FFEGea
bkSKWb/HMBvYeoVYg9brqka5sorapGM2Z6bbxi0YdhjW5M9T1x9SUxzsHH+Wa/FlIyfsV8ZMV11J
Qpcg0QnrdpjJDWYIjoYWFoVkLneNm79kChU1tll7p087VwynOQnN41ikHnMW51RLdYcDmphuZW9Y
DbV4q77q3TfdyxX6tioef+xjGzUOb7OZ/DBK+3hVDwTOlvFgMRavHxVVxSRYIMmt3FDbZhQRq75v
mlvswz7l5iOEy2EvYvE4Eny4a3t8rXY7NrReuhe3pRqI4qtSbXdq0zqPRa6W507lLfYWBm8ZJXfl
eNuUkbXB/6icdMVD3QlvJJ2sOwCKLArda0EOuN/R9oINgIE6zgnfmjQqzHQ+W7qysQuUk11u31oa
3t42R4ag9Hnoz2H9PA/Jhw1fodI4F+sew9PU4FwpjHfDYa1thuRJM8yVaShvSms/DvT8GhFm5ylT
3j3FuJm9OtvFVlRTmFv3JvWO6g5rS3Yj0y2maXRlfK8ZNMaZyvdGygNTLPgoWQudRm7A4/CQL062
Hg4pzfQ0Wdm2scZNIIEzqUneHZh0Nj5shw1QM3bXaOdVY7LxZqSvcQQdzsQe5hlaYIrCCJLMyaDA
2F+8vD6pXtuuUuTIq65iwWwVKuFaIihGiJLMQ+9Pz3Uh/BnJVd8ae6ruNDJEYI6luTZp3rcliiAz
qRW/KttXCwhl2LXYQEoEiCWqzFUaDs26Est4h9NKGdZ5YPEzCNOZ19zGo9KY46ZX1L1Ralg1DOc2
jcc7VNqQjxF1ExYTTuJ6RJNrLD+MPWPcARCkO4y52HsbfGupzhOUq9eCPnebdjeTGdPTnStIJ3rx
zBn5vTVGtqFxeIragfdtrr7F6eAwueToEZfXWtKp1/b9OELltVEVpAbybLt0w60wWuRGK45X0wZ3
PWIxzQhoXQ4bCrlxq8c9bjRN3SlNfchCV9mEJufoXu+1VdV37ia27UeXGJrA7IrAjSc6LP1s+ubA
qkhn6SR06Jns3NdDMbj3npwOWatWW0WrXkuc9U7u0bgqVHU/MPbrOf4ALDZPUTTemJHHXEtLD44N
LCATX/mZ8GQ1SJ3q2F5PieXy+gy7Ji/vSyObqb09IqEKE22NGDtfiEGhcYmiYlymbIS8s1IsXTKa
Va5wSh9EggvKo8SHSTxeKZ3Aix2c81Lf6oNOKKFe135usQzHSnWwOgS6mCjBd0UxKrAx3eS46v2O
w3dgJDdlYg10RLXHlidQ7/AIQphgt6rKiZ7mDHkr/xAZNO+wteat22UB/ffxINI3depRq8TZS8/n
ZziR4lGLK99TkusIjWWlfHG9wHXwxfLC7l0317aujpslarI3bxL1rg4r+n5ufa54MdGo675a6mMQ
H+KEyX/eDEigAfnzjtnX5cD3KRn2r/SSQxDiHvgguXS29RDdeebVhDT1zjE6bcUZ6cSXG1ZaJ4DO
1X0FYSJ6zAY6thTDvuamOCPLiQcBttkV0igEdempT1XnZpgZ67R6Y60rWTDfbTRq5XrclwpetNlp
rCCT/VqfM/uelwKboAKCt3d4BEu0eYqnnmisJJnibRVWbWcW7tbsDMSefJnrVkGAPT1lY4otCcfj
EVJEvOkk7V85mD2S72ZvmPp0kwqsV3l2EkyEMzarbzB5V62L+2fush0DRVk614kwWNqbB1ndke+3
Lu2vtUI5zXgtnBTf6L/a4l5LKY9YSxULWhwDNaemH52to+lVhK8an3oGMtO6gcv5X/G+hznCqnHt
eP1N6s6Ut4essAOpAz/l9zCc76G4c40a2MXHGNFuKbqtF35UTPVibobrVfsRoHzZ4kKLSJArzKPd
ArPqs0OhYQtESNfE7f62q9j/czIE+OJ9yASlQim6QV5go8zOpy+yMn3VPhcO5jMU/oOuX5voPpKv
utmsLU6XqIzWYaS/ODpsjUXlnXFIMuuHNkLTkSpXrqXe2KP+GNmMHSSAraK03rWJbqLM3jA7HyK3
f7ZREcx049M+/oZR9OCGN72srqOOSdSo7mfEvEVW3dse/VVLfPRiV4jHLH9Xq1PCJMQzH0V/7GuH
UYXxWDt2sxqYrudldKNlxsaLmYPXfliiPmnyVZ4ie0aRbDAkc5+qLtplXbhBA7EXanZSpwzMJub2
xvX5kIoRxB1Ws75bJdGzgxCmzdDLDHlAIOHGc7FyNTdR3nHoAvCrajsjaQ/0AQ54bs4yZuQJ6HSo
zouJwmSWkYykamNPZ4fE2oDqyFbW6BKuWsrRMb0t2+fSeZshh+gdmmRBw3+GtbOKaRlqdnifCRrA
UkXO5kZ7upE3bV4fTLPfxPf5SNHfWMvQ2qJj2GcIuWGMT3I7k2rmE0/xIl15ZO3RD0OhXJUx/pDQ
pYjolGIRf+1GD7VVO7sMS7XbUGd+0agK0gnb/WbkcLNhCnPg21A8qAyiJaPMOdzMhnEtde3Nblgy
Js/YUrIEttEf6x/OxeI1RPityGeLEgqLnavHZ9uszmOtYV1ZZibFJkd3UfBOC3tjdfylbb6MJUJn
ve0BBxGDwjg56NTyOVLy16GcboxB9YelLOGorLf5m9KlB3fKT2nr7QqNF6tH85rYtz0VaiSmnd7G
o+8lCJASHLuKQwCPYMVhFnhEPtRRrM/DCtEQtg8kAUFosUVE3q1sasgyMypsaQy+sIZ9G7JLu9Fh
RLQvp+qaLu0mRwVmFdNNG8Yvqjc9uHgnaXhgKLCIpRHiHJsNDxrlnk4fLEFGIphO62O0r4fGr03l
SfHa71qBYNTYIZ2k+4lYclG3iGbnNViQUWDpSXtMu3RtWwq6VWYcmblrW9aYrpe+h4C1Esq+7MtA
AuursCYo1UNhH+jfHqULs7KL9qWVUAwzsu0yeZNQARe982iU1LlemAXCsk5SmM/Z9I4bPWjyfG/p
jBexTYfal1AMR5XsiHJSvpJKTVPQOSus9ZxBnw0rjldJGGtbNU5PyB39Iq+CZOrXo6IcS5TWtptv
NFIcB6v0sxRGukEV2cv+SmV39N1yl9bVqxyZGsh6WnZyzXfb5PknJ98/SSC/kD8uAGG446Bjgx+x
LdcwsI9cUCuqPNWnujTngKnUuMvThyjGcYNZNVpVyh1kHVzi/Pi0fj0SFYq4Oxu1k/nC44lXpyT4
8XH+I48lDg7+87+Xf+e9qumrIwH+4QD811+dk3dRtdV3+bf/1PajunotPtrLf+iXPxkz4T8/3cJz
+eUv1qVM5HTbfYjp7gO+wl+fIvqoln/y3/0//9fHjz/ly1R//J//eq+6Ui5/WpRU5S9uSgNn5H9P
ljl2w2sif/sX/rJfmu4/SEwwcThiU4PFtDDe/mLLmPY/FiCs42iL+RFl0L/slwbYGdVwdE/HaYkP
0wFr+k8Dpu7+g8KLAA+Hsv4HpP0/MWByiZ+pKCp4a4+OPfFp/KELs/BXWonWe51WdLSesNgH+MR9
pb2RbYVEuPzLn8tjwC3/06O8gE9+AqP8uBSJewBzTMIA1EvkO5wcA62t2TLXxMZA1WNUFILlKUeM
0WCtTJGeFuWCRcJPp+F2/f8/yJ+ufmkztVTHdBZ4DtGi3LjL1IUsFx2NUrrWKmyQ05JYpfi9L4qg
ozb50m/B3a3/B5eksQ2LfUnGVC8DpNwwVmtLYbuk1tgWxY6xDODbtVwt6QciPNXbzyKrLqGr3GOe
in9dUlvY2D9BblhjiyFFjB0gJLTWHPMONi23dRegVQP6y5e8s7588jWXJejX3/XXay6/+0/XFMjz
2Ku5Zr6vmJC9Nn4ceL5cd/tWnImJJ23ps+DBzy55ASlyTToESZq0QT31gWagDcvSx0++1p8eGF4w
1dYcg/+6pIuasVk7HY61AFV8cmcCNu3f+pW2dbbJVw7v28/SfS/5mn/9dryDNou9rumXmQ8STD8J
PdzHqryi34EBKRX7Jeg7aPxxtTe/wJ5jBuBUV556GNdEQnwKpLxgJC0fgbeEhYdtZ9lvLkDCSYPy
YjHoBaFn78YG99JwhsW2xhiGqYCQtfI5VaT/yZ1efq2LBwgcPBhXx6SXgsTp1wcoZ7SSpiFi9vSE
WuFHiJUZFHs1wEOy+QyWvCyqf3u1C+TmPI94m5AnBuF5DBZAK4L6oF/lK9Li2z0FT/TpNf/wuDqE
yOnEFhim94MT9vMbosvEUBVkJtBbupXJuUdEn6GP/3AJV4XMyi0kVOO3UCVRew6NNtkGmLKVa9Pn
JSQdOsGXtZ4P3q0a6LtP+V0XaO3lafnlmhdvoVGWdlLBOgpQzL4umeN9HSzIVNplBAGqq4U2/Wlk
z4/37uJp+eWqy3v703LT2xRLYcc3jffj87yJdu0Wfx9jdgi/RYAo8ZPH84Ky+9u3XO78T9cDF0OV
2fAtNbxJq1nrtxR9+45DRFHuo1H8h5FSv13vYkceQgua+MT3k5v/9/2W6DqGHYYv/X/jhfjD6/fL
DV1emJ++IEZ6oKwGFwRGmO9hlv2IAuN6y/3kXPHJ/dQ+u97F6y5pwrZpxA2N98hyxb7chAFFOlOx
AEXmp9f701Nq2KruLXx09v6L7cmhC29rU9YFou6uTJMTfOjexs34yRto/Ok5AZlBGC0rGAjhi+vo
TeXGGL0RwOQc8IxcO8t5IO63XTQAhasjPIkxw82UgnuH8x/nyDTBa9JpgdHOb9Ijw7rvtOucU908
oe2nWVlCaMUseC6wwVc4bK/UtB/uNUzzJCptqhSjkaan5mG0haTjukxdB+ZuZVuiTalL9I165gV6
iOVNgW22qWCd+klh5MiA9E8e3D/dZ+jry6LgsAGrF98/ywaGYExfOfOakNm67MWQ8klOICg+2S/+
cKdx9pqscrZharZx8YaYfTFmmaMuRU7X+Oq6ODA4qp8A+4O4n1YINvNDfPcjV3L3yaX/8Oz+cumL
d0XLB8NphMbm8dIH0Q5zxTex7tfw/YNh91kB+Yc1HSIl9QfgaWp05+KOjlK1+2Q22RfTwqd7GeRK
/Mm9/MNm+Msllu/707vPVNFlFMklMrfwLSY2YX+LKSeyP8uOvExIWJY1sglstHTwtW398vUwrCoZ
RqgDgSTWNzZW5ugLeysweC6L91YPNHdd38YvHm6QmmXus/LqT8vOLx/g4qtmJiDkyOUDIDHvA2vT
cgCgnVit1B+heZ+W4n+6tT9/4Yt9qiHQzQpNrpefaEj7oc2OjLd0H66SG4wwfrlNb6Pgs91qOZhe
ljccsUzaBZbBaVO9eDkYEIZAIvAyDr71TvuruUO927vY/OjFr+ygXy/1uWmsnBdva28YFW6cvdiM
BIi2a3Q763htYYz42n/UtBMfk5slMuHT0uFP7xFRL2SxcQDVOB//+txNWdlM6IXaYDpU7cbaaOw5
LafBzb+35/wICL4oGrgr/7reRdHXDKmRR0B1AuPevhXJytg0rw5d3TV9rZ1yntf9rbnpv7fvSwKm
YPRmBX+/cvyhsv7lA1xU1lqZ0zWa+QDmdjyVm37XbeorffcZJF9b1oTfvijBbZ5mcuz8LRmo0Ioi
zLoUTfHG2Nh+s/W6TeIvKxST3nH791/qT8dNz8N8pjsmaWM/uhQ/Lx/GTKcvcSPJCXdYM77TMTxj
Bt24gYDjmo1M0jZy232yCv++LroqvCiAVZgObPVyXZR6nmalzb0U842+yMHwi//9F1seh1/vIqGI
nMA4k1A2EA/06+OZxFo/lz1XcMmv11RQhxZsI8CLGrBWU8PKY67//oo/Djn//SXpFvx6STVHMpi0
XJKp8JLI6Ne8FD1PJ6/HdnlTlwSZbvdZPM4fvymBFbRj+B3Bg/16WYin9eza2AqEZhzaZso5fdJb
BHf3kJAQAzQOb6/87LlZ/tTLL2vpruERJMylLxm5lVkjhalZpFCCbMzDtMaQ7vdHb+0QmkrM6IZC
N4Ay8cmD8/tL6CJqoXPmepiASer79cumKOT6uWG3s4YcEbvEPL94hNEdarG68SSICyKO17Vt3v/9
r/unu2zburHQ1HSq0Iu9B1GUPjrRsNAEWhOHQP4YEhFrZfadLuOv/AbGmkHgJ0uObv++F7hsAzqd
xOVJdi6be0bsDJ2ap1ARpdXtgYA1D91set2hS3pXRyADzUoTjfs2dFivUYKHL5WOz0ybZnQIeqfv
tcQq94isGdlRcolDTqpDN+ZfGH/dld5wL7J6JxL1lroYoHqZH2wAIp5p1Ceylb17TdPKIyqsKto3
1kKc7zJcgNM4u+t50fgP9P6CqY+jr4lHD9IT1cPoICq3Z5uJs87kqXCL6uA0CJm7iFjYyVDezdxI
d2HisH2P6D0ia7qDDpP7gBUOUgp8fFLv12kSQe+0GGkNkEHs1MK91/fvVSyvkCWfwqQtN0rrbbJq
uFGi9DE3YVQqEC9ogTAcLlRtw73NN6Yz3OsaGBVFZSZM9FljBKkYd63I7u3QuHad8jobdIak6l3a
AmKyc+sgCnqZnjlcpeX8ErfpTdiIr3mofiljY11I7p9MENk5zVFJUZ33HXKw0EUJZnbhHq/0t67V
byqrvGVLu4ma4pvuYGtQQgVLOOkfSrmNMw/BP00VdIrRq93H11YG0aQc210fF1eTOZ7zqjij1T87
lnMyEcwukndi3N4aRXKE6KBVFu9aRf9Mre6saMbClQ1M+rpbtbfudKgHkswOiB4QN9LI/bDgJDTG
KIIUpeYqbxi0yuoIcWsrZ+UdlXuxnZP2eZDu2ZGjb+s4Suw00hnjo4StRc1PFadv8aASEqGNaE5U
J/Jb00Q8WcfBZHQPsu826Yz8WdoTvwWTPnIrUGFUzRrux33Sm82qiq39NHendoZzasXhTSbNJwU6
OoyCsFirY/FMWMazZZinPKsZlRRGjLzZxJpr4FNxPLzuje4YQZ7G5gauLuDBdGCkbhlbrckg/Y3Z
qRVIdomEuKZVd/LG5DQg2oFEfIey954hJhwV/q6PCffcVBg8pI74vmW0FJZ4FAwF/SKTv7sEEWVv
1w+pidCyLaqPMFJBkjbypDhGeigaps+dGT+1Un81bUwSjd19GzPvKm5U8xwazZcoTZ6k0eL8SrN8
rQoprjQHsTUtiWc9x6g9TKhn+pbOBOEXaNWZYm1yaJ5+FeP/w0x1SGX9pmlVvSG2hNoTlDK3tkm3
OA+NYITSvZKRt+OWC3ySmhOUc/+AGukYpy0R7GnfrwluYfCMwGWvSwC3IFRLZOplEXBcZToXQfwc
Veg8FszpHh5hF+fnqNbuZUKsBR/hnMVYr6MwIRZq4CHFxtfiPTKyMnA0hXtp1dMG6UyF2hXKbedU
bpCbGJH/fhGGJXm57TCAYcehKlfZfX7Ltp0ypzMLwbampT0YWCshQQkBdaeReItb1TUeHLMt7rM8
uZ88+RUwwEs8sM7kYfZWqQyoi7re91b5lhKvwzAzP2RDdWNU9rB1pI5zvEcjO5abyDb2NvfyCoFx
iOnTuaVeT3YQPojEoqJZZXV4VdjFt2qWXyZo32dN9g+jp90wM7jppwyPIYZy9D47rbPXY475MXXK
99iN06fUwRQatiEEEdk6AUqd+MQMELA3loQW7Y2TIOdp1BF7Q9M/Ll6Z62nC4zE1otq2YiwQj0kl
SGqMQOlobbPOhquo9smplVb/lBdN/yT01Oh9ZNb190ZIJGf5N872DUyi+Xs/5scZa71ZAjRoXfQU
2kvWFMiJi53m5FdNDXfPcIZXfIQvEthe0sAc6txbTN4OJBMk725pvlWlvEcgILGJRQOqKXuHZAF4
QHdjgnLB3d3BQ4Y65aAphBTGXBeo83Ulm2NsFd9FmuwrFWumKY7hgoysIm50evRmjJlOe6+H1ZVM
l8VPrsahera6+ErQfkbNCzCNLog+x82ql4ht7MHcjVYBuGqXJvZ7o7PgCcMLVFAjFfKufJy3g4fV
PY72MqQQJH8dE329iiTGftKVLPWJvY2iAlL8dJsiRtQUdNbJq16z46nZbrLKgJSfUxy9xW4uUX7M
0L9mP5M2PrXxPmFBny3vKLMRLeHJFelVqLhj4KXxKWmHbVscHTHvEgW1Bm6BHdDlL/qM6J0mXV8D
E2CWHYJhByngYNmrimmfxjWkFeguE2DkHMuJK5s12B4fSJo9wd7Jx6eQ4rYqkf4672JEmMa6MkoL
OSx4FE0NopbaD3p/afnIda9TKDYtoV9qnIxYiNKVaiXHTJMrG8dwMdbr2tNR7ljbGoJNF97nwwsn
0S+WGa7LGS9U0SD3ASsXaateI0WmTAO1sU+9vqsjsDbFSfdOmnksI/Q81ohEH/0J/+DZJrTRcIig
4Clpq2e8Ub7N+tbGJI/VycGcQbDMW8VrtvzGmFxUX1EEDKV0xcObKvVmnmuMuPNGaRzgEB15ZSOd
FGOttWcLbr6k1mkLccYr6WtQsUI18q3wTRnnQ9GZK0u5FsUHdVCQMbNMVIK3ywhjUPcIgQMkCl41
O912tbte1gQCqda1rNcK4u2GkKUKx/Vc1ltzejCM7KNLzGBYVHfMAZrwmyecsw5SyhvfugxvTiPX
jYngfKI7UD9Wdbu2FJbfyl5LiF8sE55KKwEJnjN8yFi99pASV90XiHowAqdNyZeySnDLWfGl5vun
WfHMRBAZzl0y4NfqX3o8ofAq7qspBZcjd0kcbxNaosmIYasRdOzEnvCj3RgmMOTbL2r6aI3NxkCx
5umEvjXqRzvp2OG9mbqjCGatfirB2stRW2cWMh0IMbYOw7SKHFBfOLy7/mvq1r7l8p5baI/Curk2
ircW948JY0rAu1weLGPEuRwfTJfzN6FYZRfz0JwqInpV8UHcczApV0MKj0JIPw1fBwTCYf3aWxBx
3VtV3Cy8giw/OFkczMaHpk7r2H0zWAjT7EVPrQCzzW5hs3jVdVe/5kl3xH+yq8RN2JpyNXVY8VIg
YYST4XlqeCtVl4bERJ2TZtZx0L1H22WLqJ51XdyB5T8KWPxuKg5ezmeznWdcdFGQaAiJManU4zVy
v1NZaDvm0QSsTtaDjtO1r4ndNO8qsAkJ0AJFKw7pYD9ns1g7vcGC35TAndQ3j5d4BLE1QejrrHQX
I43Bxn81ioatnAEkNhMzhElsfXekczOpWFn0jwEBWRYhoFJdpLk2mK1pus1MciCTdJvN6hctT32F
eA3dlfz/X+fEvRsQG8+i39ShzUxz/G7Icl22uEgHEgxq9ZGaldx54R51BstAG8ZAWiVa5mojwAq4
CWkKjzCKz8hO7zz1odZeZBdetXaPb3natxUVpaCKL7VrYhxgK5DzylPdyMKPw/siTcide4766FQl
+qZO5BaI8jay5ZXeDO+D5F4PJGAFJiqpIgcdmDtI8eiU7+q8O09jc+7C7hlbcBCN4A1ESrhpp5mP
um0Fhpe8jAsG0YVu6Takp5V5M69mDzdS7ybdxoJdmZOGPiAJ8yYz0L1+L+HOulG5V1xnrad5ttMK
DQd0doauu1V04wxZgpNRjS+7qTXnMFboIDMSQUy9skD20zJTrGleDTjBWRuigkKtvxW6fO3KZp84
+Y1FMdDpst+lACAweLtYdNN320iMd9GMFPyAJE9lp4WI/kICoViM2SwaRVdcrL2iQzygz/juw7Sl
chWQDhiTYodYj+HY8yRKIuZrPV6JMHVP6QzYVNNrm5diMte0Ojg8OOlea0rI1WBTJlPiQSzCL3ze
vdDhWFq2vFWkBQpKdZCATFGC4LPI2z3kXS/IOuyjowfuzGz6Afgv4nMnRh9SgVRlh1nuTafiZbbo
piFW1TPV3vehwAWb6kg7XHh2L+3gZGfNGqpvIcg2pB5pu8oj7UyE7mKFma9Hb7irO6XZNkT43fee
WgeDisE/jkq59ZDl0z+eZhja2cBtyqoPGxAVwV5Qghz0hW6JS7pn759x2btbV8rUQA3bRPZ9xC0e
vrEn5vZ6KJxsk8hO3nTFDNK/H6zi3Fu10bMAL268pGvCa9gQ0RM+Z/c2DBPvzFE7O5ZxMrzUbpWu
E21sDiU23+vYsUGQIqNlfh92aXlSs0E7O10Tncohz25Quw1XpVlBhEpig7g1IAkUAhoyfeIxpls2
jQacWmjE12aBLduGpLeZUZfBktC8XWdU0RU6ZQJBpkFjkTIk0HI8ZpxehWZ6VzyspKfMZaQDk4z0
EFX05MiV1XbiliP96MCGVqejUtryRusl4bvFxG4sWlFc5QCIdX0spw+jx+axsQiMibdea4tNlce4
BM2Uxj4GlFqgANVK11oNjSgc38MZNb6ljXW2jOkVDUyy5IOYNjy2LIeMaQgXA28zyWH2uxRFIprR
9iq26pS8AHUKtVUBH/q2HJRCwNZJQp04ysh66tuo2Y1Zm3jbtBrF8e/PAX/okcK114no9ewlmutS
5QB3zUs1t+yCueQAhiPZOwmvUIL/S92ZLEeuXVn2V2SaQ4a+GeQE8J6ks2cwOIExOvR9j9+pUQ3q
K/RjtcB4JTnhFKGnnFSapSwtMxRx/V7c9px91u6HLN3XdTOuhRiDxbD2bi0AGReUmwHZy1LD/vyH
KFNMbxYGsyzu+wROESZxbLyPR5WllrStUjQrX6KkV6eewNBG1lujAfrqscHUkdY4UBvXXdcf+MTX
QTdYx1gqqoPa1+tIiFZKItcbPZCltQI3cy0Z3m2WpSmmmONTEkHO8ke8M8cgHOzG7/ZRBKIikEko
cYOFBOFn3wwvVw/+qH/9vHfyeZgWZ8VJvobsivHWZ6HFujHlNMvkBsE4lE0zV8x1j679JRGYv0Lv
a5RXpMIxaVUqdsNbwM7d2pSEXyDiBtvSW/0VnXt1g8CgodRbuVRz5KoJLFfFzzQna9VoKlXx941v
vuQKWMnUKIWFsOwHiQNLRFAhIVDRJdM0Zzm4NBc6Lc9HBFQBJALVoOoC9meFHpUiSFSXhdU/NGr2
HTNNXgu+KNkYc8m3XVYZ20JQ8lujhMWTjV55SELhvqZ02SY4Ke1EJY6+QSAfVtAxH0cpffx8+M/z
XRKeD8hNTMwVYDvOJ9eYBZXYKSUpFqyIxXW8Eo7qCm7UFseOzZIX87kqY2pNQ8IHBcEyqZR5P5XF
3gzMCrjrm9at3cO45965wtWGjE6IMeRhKZZ7NrtmDU5/fpK5tICrKDIWqCuZWIKu/vCLJev6831i
1sQsleaZoR+3KX1St8WrtKIsfis2du+oG3kHk2zhe00j9G4zmLU2BXNPOgQbp8mMmtbaTaUha1F2
5g1A3Un2ka28r8lmKQl3Fg2fNThfn5pa9mY7dU+rKKmPeIbAcRGTrVKUqzS4t3roGEO0sKI+bFXX
UEmwI6joTt93U28TJENU6zCok3Qn2ir/lg/fxxPypJ3ZcEqD33Lw0053KPfNS7iiomULgWtdOxGu
6IuT5SyjOY3mSXuz0cTo1tWmixIZTf2Qb/pd4Ex5G0yC0D8uidimQTqbKyeNTfmGk7mikUvEx5XG
9PQiKF9b6avuLup1z5I0bz1CKjtl6xVlvqRVIHcG+9K0pIe19EBhrnLRfht3+gqV2Vp5hHFX38oX
1Zc/evenVObX+U/8ncufP+ur1/x/gEJcnvbXfwiSJwX6H8rySeL+X3+9//v/yv6CbP7v//svr+mP
v9yUf/8/6fcg/3mqGX/7J35rxo2/qTrWOxamPLKFO+IUyfytGceWBy0TrhW84jiUkIX8w7JH+psh
axjCWzhGixY+7Uz5PzTjuJiKyNNQYEzya/Juqmr8GdW49H4CMtFFzhS0xjgDgRUR51rVBnGRkRhf
6xUe25MlGQl1fAeSQ70rVoL8MCkcllUD6vt81h+tStyTyG0jidFnh3GUADbuqVIDTOpO2QXKICeW
g6D8zKoHjlPMFw++Gq97+H/RFFNJN1XaOK5SHkvcHAbKYUUKL707IXxVDIwfKNNplV0h1y+YgtuE
S0FygqgOHZ1y01TA2QAOS4EV1lD3W199aItXdYBAKKJ1HHkywodTrPQWisueBBv3xd77yWuC+pjF
/WV2PMj4TVPFKwLwlAkRc218v+TrzhLcsSwxkvbsuL01B7Qr/Z0WKqtcQMSeYFrcGHYMU0e3DkrG
2yI31idT9ub3/nJajDLbEH7/BBlp8JQRpyphmhQnu46O+1zQ4s5cB/HKI94c96kNqsBurSurX9ri
5jrds9ZmGzgGMvB4KLdSt2BtiNLqtvYm1FVJI2FIbQNhv+aVHX0b7j7v5vzooGWJeg2F1wFSUosy
s/f9TCh1LcmDUcbur6O8vmu4WtSUQidee1MnB72d7Gq2hSgRZf1u+b+kvllK3c5uN2c/YXa76VpY
fWTDMPzt1s0h3Q9rLFa6q2DXbKVVcKDUCSFPqdvDZXhRI1mJd+PP4H5JgHb+wRkIE1suxkLis88+
OFFsyyqJYUtGRUBhN4wTm/8QepPr9uvng86/yKienGm/u3zS2Ox7l2SNxoI0JTD1exKpOzEVjzAP
L7RYZSk+o4u9qlKRfF6/dqkD03k/VPiO6P2jUoykrL+I1KH7SUzZWGhnJm7fiUq55IPfXgnxAFJp
XJcmRq3tN1MIAC/5uHnra2gnCELDVZL5eyP72oF7deujCxmX5BWuHRcyxsewhxX3VafsXcL6yqUe
oNac2uhI/ygT2ndblNRLlljawwIfzAIEU0twrIPTWKyMWNv2JDhHhZpACSQbNqjgdxI/OiiStFEj
Ze1a/Q6o0yM+lo46RhgmSmtjArTUigMTfyf5wRrFi031LYSyB4N9qqSk1gqttaD+qJqfA4EvOZXv
rGwi2+A0FvU3IB/J3OOwgduXpAm7VmhXBlCzocEgxqtv4xz6onUT+ONFoLwIOHZE5YVF+Wavv6pU
tiLQsCnj2UYJPqaUl1pp7OSYbw3xt9r9PlB1ro6WrQtEsok8UMZ8jFXg7a71LZaSne9Wl61lbrQB
LqjSATs31tTbej2aC0F/1qMSNy3i8tG3HnqnCE4swssF8BMMPtXBkRJi/ivjAsIQTaf8RYEmOoyk
38n7NKn+BMpkBQiF+shkI2XyPsBuscCnrS1zB3r2jeiPoCGKnZBLVypZhLGRL4m+rMos2/juL1Ck
jiHdZAGGXPBWB29cIQnZlAUAUPSl63YUd3LW/QzGFYl6RXY0wySBJsOBtgBSfpXUAkBSC1BaeBnz
bNNnqVN63koUkCxAYIHRiOW9doeQ+5DG/lMcepvKtOwmBK8JJq6i/pfkBpWpox1nwZWUKA9jm20T
c6oP1zbQDcnlho6nU/iqSysrB1Dt8ZgKnqUqhrRGmiZ4nLjhaaCuQRw4ndGuowjpvXQPhpEDLuug
iUbPfi87BVHBTM02emGRiy22Kf+/BHi+ZnzVPCQQmJYNzOi4myJSyj1yBI6Y74mCxVzeHySKqS0l
XY1kmnXdWhm9u7GG9sr30c3kymZEKpGipVETtNVVsicKbruNZhsiTnwWlKeIcmCS0YkEN6A86tIv
q3oaEuvgK/l146Z3ff+gW8mqt/g7JM96/SYx9wUDPWWXBD3YCyJ10BG49TrCmsE7BLAr2tK/0Yzk
kKnJblJONOnONy+EXqT8+NrMwfcndy2JLpPyHVGOVnlT35UkqCurBSDZGU8U1ROobjauCUW57Xce
XhpCyq7qQtZNmysBklYeddsyT5/bMPtKIP4xQN+haI2Taq+uJF67cvKIDAEXX0K0HYlH/6pAWFTV
gPaCcKN0pP7IKHlaT1j42YvVazx3QDQkr23YXxcd2Ai8C4ohxR6gfFKtetcbwIiJd0Iqo/o2scPC
3+bJeB/oxaHiBh715QalLed9gN6bPBx4Ebk4ho12VCTtsSUyW7uXdcyJILXH3v/usZUUubAprXw3
ZD8tNqdKPOhsc5MsJrMQMZDFs1zHz4ArdgMGMcgGPNXpmnE79sea0vNO57rhXmNK7RgEbPvqMixf
LVlcy0wt9zGVnkvJhTnsXlpmxNjoNsWq216EYV1Ha/JeVxnyCbVHTNJ6JEPzNc40MHaX4mnS7G05
HSGmaXFqGzKRPW6I7w9u0ccTO4UPqSHwlR3f6bCuh6pWXLYXGhHHdb/OVuVj2O/wfKDz6m5JmTgP
uvALZG4O3L9lJJEaF4j3vyAcK4K9+Tfwztf9A+f0A/piyfEcfP526FU+PzPPj2dZRVVGaIcCNZQN
s+6q/piJSvcdGISj49mdPhTowz0YWWlXOZ83JS+1NXtx9m0Ypkb3HT7NsLY22DZsFbtbT4NcrZUN
WsWLBDV1zRAj+bhMQELZ+sbYUv53tRT5mcdlpkFGvkOUCeNdhZDcrN/c3Fqla3/IsUrF9U3qiRsj
aIlvU8eNTZKewvGHnS4W2r6o/aWBOL+mADLTLRCPusptfK5jrxL2jUZ/maaYd+G+4KYJjAjd1Jqs
eZmt9MtmlR/db95KscVD+Vw+Bj/E5+6SK8RyXdmHI3H6Y6agxOmN3NUKddT++DFYbq6CLcDWDRnx
/efffy7ffxvz05Zmd+IqiXGG0V7wmz7y9pEd7C2kVXotrFFsBQ7vKweEB/uVDTng6vO25aUhn12G
S3kkBaK91KueWz86tosGN5PnfJNtsXYY1u6lcSweQYvaqg0J1zYvYLbc1Fvw2IsFkh+8Dd5//tmV
GEB06g36C044+8pJbmE4wuIjqDoBIJzm4j94BdEe6Qr0myb14Oq05Z184biDSqe5L+6VtSopnJBI
DnArtb11RDgr3OE9QYR8sY54Xov69rmN6Y1vUEEgs6G9b1ZCpZNn9SucJmdcVU5+jy3WnrsNwm7s
LW7/2NIuKtHuMdvaFwtC3Q+HGZ0stw2q0hmB2T7a6TUuOxntm9v2Mt8k28DpNrA37YgKscVBnibv
+6cH2SBkwZMImnftvFA7ceO+kDI+ar+SVviq685UGy5u0jUOF92XxdKQ89cd7ekIkUWLKM5ZLbqf
9WKn/t5Dgh2SwxDBfO/0azjkF+q31FkqCpm+1ln/TtqbPa2KzislQXsJNRyUiJ4AyQu/fb5GZwEh
QAXsyaddmu3JUVqqo6G/UF6PANZWn4L1VJSp34fH4bJ24tvO1o//zSZnR5IkNLWY6S9Tsdlt8aQ6
ks0zzmk0Z9x6U4XN7fKGK08b6vuRfP8innVzzGMKmbOGG0a6l1+raqM6GGIdp5Ka7/K9e2/AyMLd
5yA5+q6GbP3irlEyL3T8fPpMP2JKtFiou6nTfr84iypoQ48IEzrudfc07qlCgyZEuNl8hoOHmZGt
3n3e5Ect6iQqdQqLidtrs25rsCyTqOCUUx+66rrsv/4H/zyny5Rqo0BMn21ySRHqUqF2NowPMHbF
CjHV5w18cC+jyIhMJJVnLHOkl++HTK9BfEYTd0e89SH6NvipYy6RRdkukQWn5MbdexUgaQuOyx7q
3sIn43JwNnFYH4h9KFehaEWaS/H1MRJHyfg6+J0zNECiwfGEMGeVUVjnMmLkst9Gae3ISKVriZqT
EStoNbAbi3NN/hIG36IUM7bvZp6scx7JAkVsOo5ieu8iOoC4675YWJimMu/CjOK5aFxLZbvuDCxm
KvEnZgcoP6M9N0mnUAe7jkcI6T9MI9n6AiVXKAHy8C4ijhLqPyLUeb3+PSMCNrQdD0fvUMOrw7rJ
jnCQhMxu5/FN32CzAXcyCQ9yC+KykHBrs76IMjWEmrLPQ+Ky/FDF8texKu1l65ia3IFK9OM89sOJ
a2oOezWvb7VQXueNyXvGsGv6HANrlTv/ZWID9dqDq0F+GyfhaOuoYvusQrqvpWdN9fdctVdj/MWq
sEIVryp+HEIOXoJEq5qHAYOypMJCq1sFlHq1CUEzA6MV7mlRJe+BKF8lYY9XKG7X/VFJwRqPFKQI
BPcogRAxmPGRSlIL0FqbxLrvUmVVuimspyfMOhOjQ0I18aHrrWJWds+USQQwTdLBstCRZRgshF+6
5EgNw7ZAADdGmCK0rzm+s7C21klIjc1g3FUjikyKGBD7OAEPNhUdhJpcRq6+a4xiXQdcZKzbAZeh
YHBU9UKXwOkV3+ETI+m7jhDBxCKthx0uxcSHcFvvMBTI8YW1ihiq56MJqcv0KPrTTUJ48m0qUKHQ
9Gs/lPd5zntU4L0MirF9ToOnDoenTBcOYO/WlC7aFhBIs381enmT5CqOJnVlY8hiW2m6NzSKGev4
qlG1m15Nbs34Ht2Ik/XUx5vhpgspLAhuBl7xiu6vELKqOoKWCtRyGd9QwXvQhfZ5HGG6x9+liiAc
SkCze87y9qDVSN46c4fxASAKwS6qu85HyuehsU0e3KDF4gbBi4We1b2cTHRL07UTEmCucCPhKY/W
wrGs67zAFVr3bmr5qISvgM3MWLErBV9giC/5A7N3PZV15VW1Suue39ass8baawN8V/mQYOyoWc0N
GnDBsLbjoF9nRrkpsMJVEKEJk5NhQNU2sUZqGQoVR8og3ycpacbxZ+dljg6V1RKPYduvtKr7Pkjx
luiQ43YmYkaaBYdWIZTO468Iai+k4HISZ4rGQx4HW4igEJ5/pdqNpuK4C84ySOGt16XtdtdpEbyy
Ha/hhaziAcVK/+BjAKCw9qP8sUykdWjeZjx8KQi3wVHbkSb6U4hrDbYW5a5i64Z7F5E2l6DuuMrw
UOGk1/i3NZVCUlxuYvelUG8VJnxd4+Bu8HGIx9X40SXlBdg9HOWtrRc/y4q36jEPafJoVYWUVKLw
ccWjANoT0s+mx/ojJI7Vmlc5Qs0Anl3OsxAR/BGjrI2f/cDsdONiSWmhVJIw+VQAnpGRRvIECKDo
NzWhS6q4bEWCz1jjldQ/EpYAT5YeC6t9lvQIB1dIh6a1H6HdwuZ7EdpjEn5p8KD1MMvo+N86ePuI
whEKgjZ6qm1CExG4Jq4HL8doJrnsu24nM/TEUNc9oPteeaqRAsZMokB7KBDBFQFqGSqiBb278nGa
UuNSd0ocZkPrNkBsVlkhVaz6vkZy5/IEr7RfII33UdPvIgkZbk7Dg2zLmuRUeHRFivtg5N1FYcEE
xij8OknC+6FXLqtCXmlSfQgE3CSV7rKs6kMnmteKROUfTk/I8fchUV0zcW2j9pxY1jEiTbC4mgw3
vYvMFbdNo14FBbymXjqWbLZmjFWet43B0oemaGMy3NsYqayQk6JdZb03oXlvmOUKtVjAesCmK5Cb
K86YiaaGvxZKz6p/AQN+HWvaD0ARqxgVJ7mo17z56VpwcWKqe9KMoFFiEzK1FUKoCVy2BnyfFnzB
c3WrStXdaAyU/eAEICjbin2FOpEAYUiT+ZsYf+9QaF/U8bmljseqjyK8QKPEUjSbmAj+AxchfLSE
Q9tiQORa38Pse19mTlNmm1pUbSjrx9EaDpaW/UBhdMD09bvbWAXKBuW6Eanf9Er2X1NpXtIWzLmp
8FW90MMVJcUvXBm+K6N71xGzLIl+1dUd5ck+dmPKJtKzX+3055F8XROKdFoVOxDk0vxKAHXUZfg1
uSh3bFCVopezGopmxNa4lQPhK3pTnOGfmWu8nUlAcO4BdbyTy3ifeOZzpdf8lBRhaiseRboCjfkY
FfIPub+UukcICtuWFGQeSHZactND3DToYFVhrftcQdVScnKqRJLhPvNw4ItdKOQ55lEYDSrlJTjR
DeUia0knBkNAV4qfskTcShWqMgzHUesQKgIOw3oSe33jhyHasBfKEzkp0Q3mOFIORO4vRGLKkvhq
dMW15QEj1neY5cInBEOrxOtQgMhepztqQkJK7ir6U+5AWqKexWWzHG8tJVxRfWJPdnE1Brmeqx5D
I9vXmXUTK6ZTGXDzMeIxa3IJyXPcB+jYuGiUX9qaS3axkZFFTuXsvcZOUjGZGxwl0CRnX/NproaU
I16jEkMP3HePEi5WcShil6LsvVAjmRISKkVji1SrbJt16hm4T7SE67+V0k0QUtDS3FGbh2Hmo2Cl
24qQLx4mjYRXa+3vdI+KVCZp0d9Xrnioo3hXSeGq7L6l1Tel3TdDsYoGoODF0RzGg568uDDFkwGh
I45CopyCVi+dBIdTN7rXaixYEnMte902DfuvaiY/YwF/GboiFtEwo8tqj6faViPKoXZcbpr6snCb
p5aSMcjZjlFfx9K+Ak+bViVZmcQZ8E3Rml2aHAPqM9kJ7NDLdqVOxT6WZxnpBWiSvNxQLkPX1VDZ
pzpJEzTI9SrSJPYAj6MpOsQUu0kSuXSJfWSoMVElogdE0OiqyyApbruq+DG6AA9dVvogO2r4UJbo
8nAMG3l4DA9Rp5FYAWaAJYqi74bqQRJe85aphNGMZr6mbrITudXVw3MwfqmFpWjBh+9bkyCQjlIP
1crsQdQGchxwua7W0gal8QVan6OxNrZTVCrY+Nt/Q+0zvRfevwOn6/w/W5yFpJpELdXBpEV32z9L
Gx862PgwvQKZpQQAyYPY6Vr8tiTZOn+H0Sw1hwQpCHGfvcO4c+FyCpuhR2YofTXyP/3Mk+FGTEX1
E16Q4Or7V1KfJWXZVC96jtdH/FNXF4KIH7yBSCPDpQA3JEqEdd7/843WheVQ889LWBnhQFSnW85e
nWfB56+9D6YD7RD/V0VRJRsw6wai5HpsuhcRNb4kH7TiC6zshSbm5IMp3vGujdkEiMxC78f+Rb1S
t8kRhrDDNfuSUqo1ritOul2EJn3w5d+1Nxu7DieiMexfwn1yUa+ogWbC6RBebWWr/BIO/wbc6+OP
9c9BnMWMer1h0+wJLXdr9wCy/5cCik5du/vsWX3GlRXh/nJ0VT5fVu96OXumC3KexrhRNgfl+Teg
RdxbgDkAzy239cESBsgJI0NDEqWjm3o/G/M8tUDaElUOjsbzuFc2GHCu9RuO5HuQkMMlfoFfXCdZ
EJ9/+B3/2eqbJPwknkv5Ca677QsWhKuyDNZlmzufT/6PInGn/VJmodO49RGD9y9gl5Sb/vvINwvW
7Y7gDQ8k+Tv+YFss7n4sNPrhhzvp1vTnJ93CKrVqtf5lkqtUx4TYX2trLzI4Ju9+MTb8cVsGBbwT
UY+V+L4tqZFyURBfsLs+CjZPDIJ+3U22z1bDYqT2ozg4gArSeeaEHDkj941GYzSW+iIe0gbk90Vw
Mckf9fvi0t35xItaB471ZQSuotjrjOx/sN9PfAyVG5mhKrxj3nfV0kclj/UX06c4q/1epc8Ln+2j
2Xjy71sz6EjqJ3mXui/hJfC8tc5QUlHe2iR+Yb+VB+Em+z37/5Sy89+DA/+P039Ol45/rf98eq2D
76/pX3DDGt5pPqe/9lvzKcl/owocZSc5AeSZHO//T/M5/QlkFmDAmobb75SbTbOy9v/rr6r0t0mF
aU5iyAlRKhMD/0Py+fZHzFv++2RIFZKlf0bwqc5KVWRJgz9HjkQB2DIFMWfHQZ0L3Ft7hRcMsYSy
uQ3UW7d+dV2o8tB/0h02k0Z/L+oYj+2uiRbdWcE18YG16/OmpeJbSPKN4pEpo4jcLB/S4gnvGG14
9LtHcYR3cNPUxSrcWgWli/1Wd4mQ3urZd9M4ev0l4QpNun8b/z81FRHk8j9zdfE7sPW/nK1TQ/8g
Xv//QakG9/XZHHxoeJkF6PJ+viGv9z/+669vf+OP6Sf9TUM6LHIYitzPZJmJ+VtybMCbRlJhmSKb
oEHi+x/TT+GPpr+Eao+/BQOKrfqP6QfAepIuT+rgqcKJPMWfmX6zGx2/Zkp+0s60PKQzummty56v
C7h5jSlOqm5tPfuid5Oo9WCfjMjN7xv8qcR1fq87a2l2kLkWkkNPxh69A6Na3IFDIhcoXv8uHUg2
3YW//bzFD7vGkwWG1hsYb7awWi2MXX2k8rGJ9wGeq76i4Yi2JOaf/pWT98rULZW7MNpvqphYw7OD
pPLd2Es8GScHpJOFsUG9A+Ppy1h//7w38wTZW0MojZB3ajJs8zmA2jeMTjNwYLIxd3gQ8URc5XuA
OZt6538x0Fbe40W/kY7Vqrmk2tcxViJxyoUhnS4A884S7STfg2YVciIT9vQyYgVjLdc61d7U7jjN
cNVmXzC7JZlxqIalCfPRwPLtyH1OonriSe/bGjAHtvypsjzDUF1Ln13hSlGeLdTRnw/s7KT+Pa4n
7Ux/fnLBaiosfdqSdjQcPiJkB/IoL839aW6fjdtJG7M3hgAUapCmvnSH4Dis8VnEJ5AXhnUY7pe5
s/PSurMuzWb+ODa65ELyRLjudLcUL5MFQm8gO9Ut2s7H4drYak+AQMQaiPFUtgYXflFLNE38z/o8
zaWTcRXi3suQmifIzIu1eQvm+iK/Jmm2N9b9Lr+gqPxJeY2gA9jLKoultmcJ7M6VjXo0GABBuunF
GK9wDbHkvVjldi68+ETRmv7b59Pog92G8ol/TtfZPqD5GNNhw06kyA+2FWFBlyBVotdLEZnpkfHJ
sOqziyVIHHJvzYDSgNzqbVcr7jaVsFjxeh1VcjrgPxt8NaRhl2jNJh39Z5Fo2J/sKlJA3nacZmjk
qEGddxVVSVArdNUUClz3cAF0MRF5+LyReWKZG9e7VoxZR10hFrskpxUCzfD2wQN+8Z9Io4BbdB1x
SfIw7SbvhnVqjbqviUovSqAz38/WoYk1q41oTd5Kz1NrwXY84pi2mhSGwfWfPptmzc0WR5IWyag2
NKf2kAwE2QnhD5Tktj4fRPVsc5u1M1sIQFLCoZTIMWH8jkGqdE89LhmhRl7VxNX7gQRNAQusS+6G
pD1g12drsnzRACHBFfqgpc2mt0QnhB/hAV7SMzJC7krWfwrGk0Zmx/OKW8B7dlOBrOp8PLO9VVIb
tmcYVOq0TmWC/yj4fLW+MsetmIx2iIdPGZGPlu51bq8GsU4kSSsB3XVhLbFxzw9N+q9RaKEqiBop
A5v1P6oyRK0am1B6WT80pjOBha0jycH+IrgtKfAYVtjNQZ7Zd5dE87eU3N1WC4GJuZbwbSaf/ojZ
eilcwBVWNv2IQNzKMfUFqc+gW+2rKfB/hG2wlivpUazlbV1JBLnEtNt/PhHOdqf34/D2CDnZjMVQ
q/JIZEOMdNGx0Fmb2UO2WGk73WTPVhHiK2LF1CtjdTCLkEAtS0ZckcHoUMlxTI5j4qiHcZWscVtG
z4iB8944JJcBxcsQP6+Mg0fJ6NLJ89GcP/0Rs4tmqqOzSST6mip4nndk5MKbz0dzHgn6/UVP+jmN
w8lw6gGSMPxCWbor9dDu8SDBgsRbq1+xLXOMJySp/4aWbqlf05+fNJoMrti6PY2O16BuMQUoUELY
7ibbewQV/p1I3oez5qSbs2uLNgRIznXOmhyqgVrWm6K5zWJ54Ug7u+hNwnJVNilaRteNNPJ9v0TY
ApYecbHNExEtCuUZ1ALI0o0ElPHz7zYttPebPC1hwjE58iCKmldI47EKyN0AU+gr6WXajpTrNABg
GVKz1LByTy4GS7iCUmksbAHzgUSIqFHmJb5p+dBVz7ahKlU114XTQr2LTmwLRo+Ezbp3+Lx7c20n
1Zs8QnAcoiLVwsxUmZ0qBuAT3Fv8FBGdfJgU5BKkAPlmwBRn0gn+WXXnWXuzbg2+D2phWmm9tGIN
cK8ThW2z8W70DS4ulT3sls7N6V88/YLzHs620jyrCpgz08UOu3RboVyr9zC/65MbFds1ckf8p16Y
Necfj3uOMd0OCAPxfp9tan0XZpGsq6mtJoENBfOSmrMbQVxYBWfv46lrp83MlkFQDUrfaDST/fq9
uBG67F1AD9qWQpN7b7mwfr5bTy2yVeuyqJmUdcwV0NQ4jVUQa6mtX6EWOVDJ5Fhr/6ldK06yIee4
/nx6fjSOUwG1xuaoczbMZieIvTLxOurpykK+7/ruZghzAHHVcPt5O2//0HySnDY0m5ZeX6SWMtJQ
mnzFL/VC9oGDKd0m87B2FORLP/+Ryt4WltKlgWxFxusBsuIu8SuEDNS2ZMO9hO32579qvnv/Hux/
9n42c8nMG7lg8KOIhdu6eQHj9z+Ypyfdfou4n5wPmRsMY2XSgmnd6NDXhUshX9jH5lv1rBPzpWA2
yaCN4cj1qbu33G2nUHeHf4b59fOxWmpmthRUTJF9ZUKOlRNQsYbhAwY1R4XmRj8DVVsYtw9X3unA
zU7zPi3DKuppTt3GN365zraUXhtOcBPvRN7IyEXtEED45338eD4QlabiRiRCNa2Wk68lVaZRyv50
2kUlgkzj2CTy9vMmPjwPkI5TT0OWwyLW+L6NAWWA0Q5GzHnQrQU7XRE1XhmO+oaqSbd/5CAIx/4L
H7rpu5wtvJP2Zt/NraTIV6YQ35S9r68Bj+/GY02Eodx236zLz3s3zyC9nT5YwJGvVyA6wEt437vO
axSrF4PIpm7C9nbldbIGrkbVSPVMvaR11a9fD3gt/wwd5EHGElXmw93spPXZgzHT+wCxgIIrfPuz
E38m4UarlmrDzt7Ab+uNdD7vF5Vo27xYA/eaQdLhcVKtPoVv8BjmQE8vxA1G5vuls3XOBfg9oCet
zT5f6Mq15U6toaI9dgfM3Ltf5T7ZxavJRsiI7ot9eRcv8obO3kfzXs7WX5ZmFc45HOrhPtil19Rq
UiGibrAfWGULq+7jswGjGZ6xmNxwpr+fNC6SYlOPWXb6C5Cu7JfoqM7wmF3pN/41wNE9BbvpaNdb
Yb90W/pwwpy0PJswodBHJp49tBx5j7l7IY3BhVH1C8fMUiuzQ7bHwF3UPPrXdNFamvyRO5a/sP98
7S21MjthR1nvzFGhL28K6+oBrd2q/bNlKL/n48mIzY5MRDpwx1L6Yr4Ur9FFvElXPpYb8NT305tH
KnhlLVUQTeNztoX9s8151Elp0BAC4mP8vHinwmQMYONrTbauRW1dJgvTcam12QZdm7pLSH/qoQ6a
t0M+kO8S5LkjbvZDH9n/ra9mzNZ31xd1bk5zo8qtW0+hmjXSXjF8X5iCH55sJ0M4W86AjdysmW46
VlXYurcxyvI/aMHkKo4KSYOiNK8qa4dEL5DRsZTy6ka29hRdLMUDp7GYz4OTJubZljZv9YjjDObr
20NKj7b+Rl9NG68WkV1ZVCFNg3LenoE7pUjtqzR/miZeEPTQR7nybMRDAL4r2HpbaUuZ9TpcCytp
YQF/dMOiZuYfzc02I2DxRWHhPWEHv0p5jXmaqV3CLl2YcB9eQE6bme1GUg1UXBVUcBdbACvc4u4x
cHfolIOCjNKEdLtUkLfY5GxrEhRhwPFSz0mTQUFzpC8EPzEgt4Hl2eWjezQePl9Uiw3OdqkQXlgD
cjG3+2dza2wgRDgFNYdw5XdTTGapgx+srkkeSTCBGgLMiGarK87CaPRViiNkmVKP0AiVfSUX5sJF
/yyFxJnMjVGVJSIzU+xy1qsBHolZg8y0tetyb32J7+tv6leIB9Q0FatmBVt6nT8Ss9YNu7ydIvLK
D6I3C0P7wSI8/RHaLAUgmO5IaJdorXYNreO3f2mNxYqNm+gm3errz9ubpsZsDSIBJa1B5IRM6/xK
jhsPObME0/usupuMVKxU2XBZoNJq5w/ELmt9YR/76H5H2R8Fh4DHTOlsI6vSJFaAYPKyuTK3KvET
sIS2d0M8ejVlcD/v3kcz9bS1+Z6mjz3GLxmt+fspdewdQOA6zcoF+DR5Ai1deD6YqSbRKEkxyYpP
wROG++SFM8jFKEUytPQuW8NLhROyBHP66OYI3XUq1IQK8QG2rMz0Sm/oUbhv99EtiA7cZqnH2Ik7
bWHH/HD0TtuaJutJd3A4wmWypq0OatQEWORrreUf9VrFQCq9An79+eeaVthsNqKg1HBixFODu85s
76zhw1UxNDhOoPEyxtcsuZzwmOECA+Dtq79vB+SCTFgLmDE1omePRL0TPIBBoT1gpOnlJDDDzE66
ryrFflpNlXq4KQ38BzRl6Yw9P/PetzwbUbmNKStNCxjft9JGd/RuP13vpjO2V+3gO9iD7edDOj/1
VHjA8pS1ZPfU2ddmm9pojJGmdZxDofajN37l1VNnXhfmy+etzC/Hs1bmGVohBeNddgY1akPnPcVc
+jlghRHMUxP/yR3rralJlo+snN1jrsdW1DYu8pwInpkU16YU7HKXoDaXvC99Jd4bXanbUqYszJj5
uqZRrqNgh7mrmMgzZpfWqq0Syw1FjlMLUZrJEUHh2+dDeLYxztuYTQ2/chNfpMb27eFb3Cm7aAul
bkskARrGUsLog2nxrkOzjUpzuyovZHIpTSbA9AfGvYIzftFrzcvQNsrCpv/B9KCSXZ+4nxrp87nI
VlUa1zI7FFea+qtt8i31fRT5LKUCPvpIZDpgi4KQRJgw2z1yE5u2cLLqANoI6+GA81xFOGbA/sBh
mTsQjqhiWpiO542iS5uUUORW4CLPtxKKOkPgVy3UYOFXG2/zYOFWcj50078/xcss9HXAO95vwaUW
hoOUNwlEsxBifojVzAUhmIVH2fl0eNfKXLobYE+Pw1NIvB+afu9KNzqpBUFJn7xxXGjqLJHIouUJ
M6kDEYAS45lNvWLsQtK+PDPkbbtyf1VODN+2JYmoPGEh9Ea4XaqYP7vaTW0y/QzukNwkz7Jghpso
ua8ZMKSwllQdzF726UX9Jbo19+Nto9jlrv6/nF3Zbty4tv0iAZqHV401uDzHdvIiOHFHE0lJpOav
v4vpe3BcqrrW7X4IECCBt0mRm3tYey3yJ1yuwuwJyJJCi+rXjfstfcTnR0f+Dg6smxp4WN0LXhCv
Z64+TH9CLY5usW1OYTsJHXgA1MGgiDd6mCsFGB/D+IViZyQAK4P5bektcIAp+cI3rsuVgwtpegeM
lAgjjAswOhhZdDMXeInqbApt46Ov3jcWLB3WasFnFlYOLdWyDCgz4PQgyMR9CTDxAi1J7+aQRNsI
sItgBfSBeOcQFaFyaMDdrG5K3y3WMmagQOOYLcnxjSFz/BPjfmDYhprYvbH/enkXtdi/7YFHH1BI
0EGsaSygtlUYwsKdgTwqmF5QMfReutelDAZwqgJFo4dNojyDdg1D096eQ4n4m1ZueJ/LR+PPov/7
S6xSP4d7ZUb+XrSkmyGhV6NuiZZ8BMqin5gX/nrRF/VSuWhP0mQhVUCWu84XEE9nmZcx+ueRKnbZ
oxpB+hif1g2NWd7hQDzlkcY2HhDpus+O0srsKndXqT22roO99ggmKEEOAy1Y9R0SnIdZtXbEEN++
XufF5ZD2AFI30DrXQIK88lEgTkwFB127X6OB3WPyfZk34rKrx1V2rMG/KyH364mhOXeEN0Ip4s9x
tQMw8IHh+4+2Lk8QBEjZ5I3uwcWiwICEXi5gKhJ4cKEpj8IbhDZlkcqpVGiUArrUbFbvt2ys7rw5
TAKoPNhwT2MEApDer3ZlDNE7375DBmug/LHVgrk4G1iWZLWCI4Mi1AWpFa2dwbMZNrISj2r5wdVh
bxdo8OpgF8l4/A8PxrmxdXoOSv3UKwwY60BPqoiY1FteUyb4Z0ddxUOvoQbgWABuXDyPlC06g7oJ
8wkyLn4niY8QBB74aQvYfOVTnRmS//4puROgkGlqVSLaDGuB5lLKIEG5GBseSnrdr5Yj45tPVtRB
77NOw3LMpNv3ibuv9vkOJ3zDG8sfszKDjABwNwlWwElYBejUHW0+zXmDafy3fEyaxoAu3tYLfuVB
OzOyOtxZx3ltQVYWyDoLA3F/qglgzX/7/1W9ri4JkzZQu0XMcOEgJnMcF3cQFb6PGjgmhqFHY2/O
T18f6MsXBI5ODvT8r5n1DCGKa12b8hE95xCICOIz8KOBczhWfpu7f14gQRB0Zm31nUCivrhW18EH
zVNSGubOWKqNHPvqvoHdHNmhC7+wJrSiFseSBpho2u/u8NB6P6t24yRsmVhdnYY6vbBmmKjav4R1
Pww/7XQj7r9yO7EAKZeA4jimXqTX+3RvEIeXYIlBX9kc1eEOcxBir1sz3QgCLyoh8nuYhirVATB5
c6FIQ5p2qEH08He3tdhBAXHvJDJy2Uo4r54zIGCAFpfL8daRgznUOe8EGExBOZKoURUNR/YqYkl2
qHxvN3bvMk6R63IxMISczwNR1ioYFAbUyjzw2vjlDUSPoDsZ0ofiMBzJMaPopo0hmEhav99tlaov
n3UYBpcn2te6HBaXQ1Sfv9tsldQ0FCazeFngKSKlDFQIHgL+acbqbhhOWzXHawnVmUl5Wj8dFVc0
TQkGIXDD7MdIjZDuNgc3NH1JUFtWiEPLCOxUGzt87XxCFQLgcc1BQWSd0tfjDLmyri4htogZPO2G
Vt+/dkxXDKACiBsM/BCO/zoEg9iKSxtoNvkqCK+glBc0W5DWK0/TmYXVp6om0bmdrBeQPd/LcssY
45Lttt7Za2fxzM7q+6htg8nKASsZD2owhdVuuAEPshVLwL3yI3u2DuaAgZAtu5cJCnQ7Pu/gKmhe
TCL0We5gD5rnJ7ZvYqlb0xp+4/j1Lx7hXvi6LxsZbdTu2F+bxXfpzFeP8tkvsPJhRkaWEgwoIOF5
+hvel4fGo0Rm0rutxW59y1UepCM81EkDU1n9koG53YBe2fDqzk+Lqv5hf1KGNPz6gG5+15WPcfKO
NIo8PxKpMkDorwjApRAtu1+PfViBSs9GbdnnyVbJSW7baluRsKuYoJXwSVARnt93A+T+FeQ5UECp
bx2S/+4JhJuXW8V9yXU32VjkxcZiNARcUkhR5NS4vq7WgDup9uDUMPQChSVys6A75Bs7ZHyvYG+N
MrEf3mnIkukelZN4fNiwfhEMw7oJTw75Gc3D0OHq6hSDoywzgQAduZEnqDhkJxk/btdDL52oHIEB
zYcr2yoGQvDzTa3LUrOLDHyX/A2EwEyHyBkqCMkQ5DaICv0eLBVdACrgrUN0bYWf7a6c0Fi6o6IW
sAt+52djBxXdvRlPp2KzNXX5AK9WuNpLnRVW3VawNMQuhFBwTiXrb3aPUgHYNza7+xfB8srcyvuU
bt7rM7ThYU5SfeTx0sdQHcFzlB8KERjPG0dly97qVgCbBi2MFOlMh/KPjUGBCZsJ8eE/AmvzJju8
PA9nl3C1vJXDqeq0nutMRWsM7zwvwv40oDcm+bLruwzcptsUI1sLXLmbChNcTsv+8/2MsEW5YDrQ
/bjXAQra/H7yOKwWiGlrD8B9zLaB2GQVqRsmnnhAkdBnOdUvRixpOGwWzPdToMddoh4hehz/44Yj
yktnRtcZVrYYKvUAti333d61b9vE/sNlTHbgLQPDaZNs9cfk/VovEyPMyLAM8NGCTuj83ivp6Hkl
BUCImEp5O459dnDrCRdk43heswP/BUFZNELkIPu5HQOcnGbrZtKPzhGNjCPYNYfOT0HzIz2LqoEg
K9hi2r3ivPXPRlfbiVbZopUFmn/Sef8nwlG3I5xrZ+WzndUmkpR4bikXJ9GM1mt9AokKeIN921cx
pFNVAWhCo3+1OIhXgZYJPF1/9M4+h71ZoXXGTOXbgEKJdvz78mGcbaNfceXDgW8AEAlTgwImKnWr
D1eqNZ9TD0EMG0OLDKFSboHU5I9YnUFD8gn/TVd8oX/Gwf7nGUAx+swD3V6mHytxryhP6oA7AFaY
r0/itfVA6A04UAyrSZbt8/X0KqnEoEPdyLZgh4Rat0UadOU0oNPyXwsrz6+B1H4xPANMuCQNKlDx
0ebNoY9fL+PacwYroIpAP0fXLXV15iBNVzm5CX8PFYnslu9ZLEtlMwaf/4gybgVdV7cNvglvNSr+
uMLn2zbOk0s7A9vWkr0Gd1GX2oaLuLptcLUS54Qvs4bDVW0hpoJhQW32sJC3lO9tdBK+3rUtG6tP
Y88GZLUJwGml3hu3M7f5z8FT1FetVKr4a1NXN+zTclb3ps/U1mwqLMcDCy4HB+Xz1z//2gFAWQzD
Naj4Sbj4yqOmVlGztAGAj4dTKLmblmOVEF+WL6rN4eWr1nQNAs+IhNH6sNeu1G0NMlOn/t/GB9Yl
55ToXg+B6cs2n1/5IVYuAW8SqheA34BBz17t3uDlpFRakHM6BVgEyNFZstBeXrvu7utdvPKVwPwn
+TywMND7rIIK3mBIB0TllY8KKhiav/fjvzhyElkmA2v0US7yeB3Kolo+4+IU9exDLDy08oO92Vy9
PNh4AXTcT6jtoXGzXofnEG6aKYhYp7hmkRMXh+IkYiupwaTFoiaAtla0lXP+KfaffyTMKGBtSMUk
o836BFJbq9qZVxjXH0yN7sEANyi+LRC7M4g0ucs7ukw4noBz/W5AfHxjze3k633TJmk1L2aQjTkI
YXSQP7uV60WuyCV1LzeSguperHD3B+mZRYKqt60dtCfT0a8U8Vt15ttOiF9oswfZnFphIUCBC977
zFeyZgxINiMyHFojKNoBtbyFsagaijochV6/uZPrfZiz3UkpLgApVQ0zD97gAY+d8mddy81EtaH0
zVQoZVeeyPeloQ03ajco4ehhYKcpiLbxxl5WzYD+xZwqvptMadG/PfeuOkjmOlqgNy7Qn8+DPski
F31MHrX7IemPWy2jy7gIuhwgxkLRGw7k4sM5DjS/jRldNtmUqKAzWt9oEU82q5DSKawOyJmdldNI
F4cNboezX97YB1AGJOn+F/H5uySr2QzYL6MIWSnTJakS4hRnHclOk8mcWQPfq4iEizqTHJamCZi9
I9DUBmBRBQ1toCJV2EJXXMmdkXqA4ROUNYD4YOz+/OthBG9UaY3Srpl4b2DXxYRH/mSHXYSZ2GDe
aRPIzTH0vvUkX955adbUQDAFjBsKy+dmO83UarVE7ZqB7ryAIODTUGzVx69t6h+UJSCJmnoxcJVx
M7P7lsv5IAhUQd9sTHJQiKMAAj7aCDpz0A9oP5pDfQeBji0Hc+XRwQqBX4Vojnx31jVQS3i16DQ0
nBbwgUj85bADFe2DBFBsD9tfXopzY/Kp+FRGxiNkWQzNEwBzIUeUdEfJ1bPNQngBYEUcrQJ2Aogn
Ekv0H9afra5SWslzyoGbWMI8yA4E411QZNwcnb6+gZ9srbL0vs8KVjkAepK9Sauw2LUAK4yxhb9j
4BfqP5u38PLKy9W58jECLuSi++SkaDosDuaszITt5erK0AOpyhJ0tzzZGqi8spe4cjICBrwJKmbr
F2ghtXCyrJKJF0ZT4V60ZLyRKuH/j8n3y/NxbmvlzHQn6/ShQf3BTDCdGpi/UWRJZImFvbR7+r1Q
TvNbvltcYEB4sL2zl7f93PzqiagFyhHAYLY+rW/T6mjZz+Dj9r+Ohi5Lugi+gfdQVRQCbfciBs+Z
PaaGCSNtBDnNHhMcC6o6VkKfy1v2+EeBLthGqV/C01ZmV2G5U3GjdgyYlVAiA2Jw1j0P83sPomQZ
PHgeV0F1w9/pHgqufhFuaaKtpQ4NE/bxBxSoAPaAwnPlwEEgPhmThAI4dw7UBue4vRU4uJDGCCCv
GNbP7m4hwPZGKVD6RbjZNJOh+uqdRMYDiC2SYCR06yIz06s+0ypLFtPUQLv5A329M+MKLmHTp8pz
8pWtlZvLa9bwckBNRDIASFAayGUj2QwxwHqkbK7NuoywsTRkKeCOM1FGWFfrBRFsGBZMOel0yaCc
sXT9m50u5ZurDc03no3io2l6qLA5bIbmxmIa3+se3hFVflC1j4aSpFOeBQOSz3tojqdlQGndPEDP
WRv9xbSWoDZmMPR73yFA5PdWO96V3MXsyOB0zXQiEJjMgqVRC6AcmZIeeGtzcMstE4p5VjXd5ibI
QdIGUD1wCGt3hltAsZwLVkCWuQefRdvxfWHpTTygU0yDrKsmBUrI1hAXQMIQpN8U3au05g9e4dqH
bkyLWB1LMN5kBmYJed8WUVq4lMSzstDIg6j4m15Z6Y43qthv3N+tzV75+5r1C2ta+KjGu0sjWWrL
AwfSekA0aPqzLLRtF2av23SRhzqoeVz4jMFi3JorYMLLvH8Y2nZHXPqxsa4rvheydQBtGZChl7Kk
52+zmNC9H3JcUPUB5EI31WHaaWkwNBDu68Mlki8ZsH5gcwr4X+Q0bPnFK77XggowRlswliE518/N
G5qiiZFCoN2QKlLAimTkR1F+/3qRV/YRBTZJVgPiEcR0KyNZQbsac5Slr4E4fme2rIOED0SPvrZy
MQ0NP3dmRv4an8IcSB+1LSp9DYQf/Pa3JCo2YhnPOcKH7LIA8qXfSxQy+ZZu8WFcTXNAzoWYByAY
JDur0GdgJhB6JdIcDqzNHLEQJP8xKLn8ep8fm9NWmnO5oxYUAS28aEgKMPu9WuqAYM6xdICiEG29
NWb9jZEtJkl5oc69KchUgIlDtKMD+OCuggLWDX/I5RDMYRSuaPgbaadjmrFgnFEBHtv0SOaNWYxr
6caZzdVBcamqVFUPBJaUaLAKXycAF2eHCukifxnBuAV46nxMo68PzuUdkMTuIO8GjBzQEndVbupm
gjIKARwLE3MB6ZWwa9qd1z9+beXKJzuzstrPFGA5q8qHGtLn887WRWiZ2f3XJq4tBASj0DOQjAD6
OmYUY+81WZVC9o273xgkanhKI5BHbVW1LzhGEOhLnTzMzDhScnT98kGKvbNry4bMKgq02Y5GQG//
ccXyrR0xCTvjOYH679fLuxbzn5ldvQEkF/rU6DgeJfoC3VMOzIMcTW0eZe7b7r62du17OS6YRsCw
LeU3Vze614RmiQlEXjUGihlUaMaNA3HFZ4CVXo46oXQGkPkaJ1yD1k3lGpajPyyxdtOCsQhaX3Hz
ngUNZhg30USXlUfYgx9CHIZpMYCYzv2jXQgG1TdN3i7vrhUxhSQtNEU5GtPpr6kNet2XkdJ2AePK
uUQZTdJNofCJnHu1le6YtRrpoX+k9jdz1flllQOpsnU6rnwwAxA07CiqBoBpyd/ik/sHf4nO2djL
7HOOZmg0oXEAnTvFh0KbjA/khHawtalXlgYNFDxqSCvwCde+o9eXrC1sJIXQAgsnsB2WdSglbL4+
i1tWVr4D/Z6qMztYUclT5b3U1Y3Btk7jJVwB8eKnlax8r07bbrbNugakB/UIUM/Y+z5ubrdRU1ce
Fpx53URQBR5kgEbPvxMlYCPITQVSUyrQ9+UjXR4WwwX10mm0Tov4+Y+3Dh0EFVm7nO6DpOe5NeTr
DVc7HPpaeXWmD9f4recb4c2Ve3VmYvV15rpahFZkoB/oMDs4VOMP08XQvAltWWh6fb2cK4ccfSoH
g5+YLcBtXh1yhBjC0Bj02FAfCLR6pztd8LWFa14WFVvEFhifBR/RmlgjLXKbdhrukfMEZSjUVeyP
bD+CqpYnXrgVyFypc4Aa/pO11WloSnNwMx3WuhAShXvpBNMbC52ebhMWfy28OLMlN/eTh+gqre07
G7bUg/ZHi16pHiASiplnnmiQiDvlD+7t1lzBlbt7ZnT1xRRUT3EE8e4L57XKdLAZk6Ctqq0e4/+x
kYj64ORBmrieX1AaOegqi3zsBhKLB4wUBp3v+vV9t4k//D+OyH9trU68MIxu0qWrHQ/djWQykHyo
5a1kF0bH418ceczX/Wdh64ZZNStKCobJGhKY6aHO9h3fIoK7vndw3qi4mWjLrevNnpi0pvJQ5nZP
9qFP6AlzXSeUvlAR2RrVub53n2ytghiHMBQGwCXi05cJRUTNX16LJH2yURMpnv5FTQTX65O1VXpp
tQNbuPungA+6wIj8+ltDHJrG393X7SGAKzENpu+lxIMLlQegN1bXGVJzVWvZEBUa0adQI4JKEwQv
ARf5Q5t23GJ+ubKbsIfxIAiyy8rsOu+aKmuGUCxeLQgQvww3IE076PDBgZcAIY3zmPxj53hub/X1
VD6oStOhHCMljKS61jju3XAAcqqOh3G3xbZ8+bRIc0gokTWDTHadOVesL7zaIbXf9mgj9r0639bg
to7Msq93zlx7G87/8nmBPaAuHCl2ha+3itTGoReanmJ5GQH0zM4ite02rvPVJX0ysdpB6qamTQyY
aC2wg0DLuiygPNh4kMTZKghIN3SewmI1GOnHZDDkQC6Kj5aqeEYqBxMkg58kdNUwNx73oQ24fr/T
PjbOxmVgc25u9bxQTBDRyYG55VcPih7hiwRHAzp/5Lb9hVMJfoFbWeZtoUYNma33r81f/XTokLto
mUkGllWgg5Hckqc1jgoZDrxqAw8p5tcWLl8yyWmMqEO2ItGVWB2OcqhF3jo1OvHsjjmHwv1maRuz
B1smVoejUiyVoSkHaKJwYxQu7xlLI5v8i1IRENYIn0C1Igf8dfl7fIoESJ8K6C5DdxyixVOMsOMB
YcfHaPiS8lqK84GR6HVn3c+PX2/hlcz53LC8HZ8Mu2nKSO4ikp85WCz1yPnJO0hpQXXW9vOduJPU
NSA137Aqve7qIpgoMCLLBB7SuGBeXJy2taoOZ4NDxW4Kh2cS5iEUtxMv0aBasQV9vvYVkfEjdcas
IxzXanfpbNduS2GOibee/GrNj0zZiLmvPTTwUHjabBxFQMJWD82I1YC1EjO8mRtYv+wDtFPD5gh9
07bwl4iAbVF53thFDPlc7uOZ0dUNn0BfCblU6xclGQT5ylJl9NkoGm25HRo1e8WALFF3HiXkcRgr
q/NHdYFguwRHFEk7NmSEPntuLA9WvqAf01TDEDOEhzq01UlrxDqaCY+p1qY5GO1NmkFZHgTRAVI/
LLKceFcE+iQKyN5aQ3HM64neNUbPQM6StyM3jp5LxzkxOYPo67h0inLMc1V9NUCdilONBkMPqdp+
ViJP06obJ2fmnZFO0GjnqYI2UKPSMO3zcpdV3POSlhUIuqZGVPdU9ZYjoRDrtssZjyufsidbEe+l
o+Vxi2wBI+KLbCvMXQCgiuUXE2NhQZYhSDXo09sugRzTZEJXXR9NUKzYv1ptzt9SOyvRzjAk7ykm
qhsatKIZs7tmyIydIJOHWha6owYkfidSuN03p+e5lfC6aa1QtXq18b1JUbK4azrPDcau1jGx6Y1o
XpA8I/dajTY/mF1yevCETiFn3IH6OsR/a5SQD2KmcdtYbpbM5sJf1UYZaNiradbFNG2su2no8EYJ
5pY8rqtOKU4V4xChBsNn49xiUMP43nYQRgF7H2Cw2gKp7aJKHxAci9/4TuIR0Iasg3ipxzJ/5GMV
ogXZPJiLqd6wcfpwWhCnj11FIaus577rTtqBYYeidnHnOC3Gg63wW7Fg/ASMW3ZcaiVKRIMn7jJj
go6xJs+GhsnrIf2+jMAeec2zUlhYA4Fckp7NdwZ4KAIK+p6QW9Ax14RVRKY+PdZzm7eQMp+y2e9A
SCHqBZLINrOZGijaROLSGto5wpkxoYw02UFXc/bDmhioqUZL8ctOPzSp1ADWWxGIlpm+2nmB6y57
nUPAt2uiwhMvNQTarMH8i0oxDEVnv4WnDqEKUXGfN14ROmqOYXjSQXKejRB+67pT2k3KEXaNpBTo
ihZGhIpmnIoioTkoy2rhPqhD3YclmV4pSflj75gZtgEkubZeZIeMpFOSZ/Yus9RfleG9m10HMQ4A
7P1ca/YuaFwGR8Run94xs08WBZ630ffVnD1Ko1TRD4Qre4uij+DwvttjBPHRaxqwjFlU8/W80n8s
tuvSALVDALigzhDiMwZ6pSWa17DAaOz5BF7pMjQ406NUnaxkrBb1ocQ/g+dugVhSUfpiMZLBMZdI
lPXN7DBUTtP6nnbFQZ+cvUarHfBNO9tKQ5rZHHpc5YkP+WmpFnynEvuNcpe+tzWFB26hzkFVi5+9
x1yUyMlu5M4Tp5MeNRRgVo/NRpS645M2TPbO0fonglQqIDkcx9S3AlLskPJO5/7edTQOqRNniRxF
SZp5TkSWJrYxvNgZSzxl0V9HUTXJVA3TDSlNO3Jp8S0tlx/QW9tBJbLfN3ovknap7ppGMQKzg6xo
7ga5Vb2i9/mzNodHEPmEhZqDNNF7ItV002dp6ELc2qrT06SB60IhTqBDVbzszQ9VSf0+B6qeDeFo
pJiYN62f2jLtx9a7Fyo3I91QRr82CA/aRvQ+W4ZDQcBBA4f6mDMNfwHnVzuoT1TrfJZ20cII6Kt0
5RWnExFoMd3lBSMB7zC7ZtpvOlOSQm/ueQPumsZJls6B7jcXaZDT0r2deOtF2ay/LIYe22pZn3pF
h65npoFqO8+zvdZ2StLaZcKp/TrY7HEyc7YzGeYcuVu2j9D3ziHMntdRY4xvRIG4SDsRCJfnruPP
gL1GIrXSoyLQ/oAC07FmuRrYcOwRNdx930671pqeBqoEVfVRc01B5WyCPrcX2ADNBzYhUQ9/qQGr
sgP6D4Q4Tv1DsYaktusfU97utKV6BJvNjtDszW2qqO2WxC113A2tOoDd71gqzAzsRRXYuhn9nk49
mLXZ+w0giT5KGcHi4sArA5bhLbeL5bw7FA66xJwcH045BsHjonbDiTevswm8Yra8crUVkZFl+Z1R
gcIyXyypbWB68UJUHlVMfV4qZBwl+L8OKjXwkUxIsCmaF6kgKwXS/KQWgEynQn0cZhPEYM5xdtm7
sNECg5Ldx1zWO6U292ZKj9agvQkMZECYRznSOXsZ7S5J3eLGbKfbpjDhy4l351bKW9YYeAUdMPTw
+dah1ZFN7Tdqq2+15uWxYrG4anG99cEAb2I3w200nXVHPQaoCgZj0XMvokLJXaynU8LG5DsUso6l
hAQsbfGSyh7Z1IGBYRFL1NrGfes4iVnk6mOB6cI+Kt3hHUFo9kCwPzyaHJqXp3KsR7yGlQ5yMDF7
YYMhvZBTCNN5bMALknkAcWQWC5RSRWpRZj97UrGko7r6kuVjZoDcd861Q+la/MUduhR9XWAw7rhC
isQRUx/mOsQ1LTabYSnIHAsO/R5aMi3ISzHezqybE52JFPp7tVPkSco5TqE6kMCsSxKA1rVITErd
QLOheOBys476WVtQuXOb6bumVFPvq2PlvomeZe8Giv3h2GlzZDpTE+qzhg6YJMKnjdPfUkOU30CM
pIWmSmjkdKO6p7pd7BE3vWpqD91QYvA2WPg4+T2lQJHkhJTHIoN7nlpwG80zA7NBZmtFZJetF1Jl
KX4snqe8okpGSFgYffttpikawbSfC3+ijn5b9G0GYeXUABH4hA4ByxSKVqONr+AX0LZb/N5liEnG
QjESZcksENMYQIUj/wvbypoSnlUYc08pnK/tFPeZQeqPqiv5R1ogJgyaeeGPBdzKs+YJOzHtbkqD
mvYFNLnNhmUx0muEh6pTTY1fOzPtAr1bCsBwF7cKRh3hAkfnzVcq9xfLReOPiuu7zgSuWc356C2j
A+4SlCtkBKRmdvaZIm6H2TX9xl4e68q7dxd8qaZxftHCTsAHNcZk9g7Fopo7DnSU75XOT51AZ5WQ
WcfEw3jbch5Phnh2ummMegWZMgg2pyPtbfM5WzJz36IMFzmt1xU+5qAGw89K8A0i/tee6Nz3MVHa
X9OkJj0rf9lLc0CtNVoyRzsYhoXJx3YxjpCGbaYAoLYgs+pkYNljYYIxgC37UlhJ0aVRX8EvNE3M
hOIPJrpT7bDHJK4N2cTmeciX370GZ5iNfWI2YxHQaoQe96T2id1x7UFYJiS+ZkeN8ISwQz51gEcv
E3/CiNacqFY544fnTYia9/NCnXfFdsawKLw0MN1JwrrHMpqMwQo9i08HZ+lftBm+EYFw0uvZm8nH
wqdmq+5B04m5l2Y3ltinjlVBSruH0mhuSzyHosugvjPu1C5Xo771+jqgS/laUzXyKvYD8rwYHRb6
XTFnqQ/GEwH/z8XOGSogF9T5LtOcdO/VeoUH2Bp8ddB26cgQHDmnUrGFT0uiBEouHmw8J74z1Bxs
OLkeUCaOczfuSM5OXT3Gho3xiam+UwHbgedI5ibjYBvp44Vn0TR2QZ/2OO6lffJSSakH7SDNfcEI
ya8sbf6qMvMHRzzV9sqdZvAhtPuyj1iVioSO6b1e1++5V9+bRYV+oQKoroCXDseZ2BFKnL0/1bQJ
IQSM20VMFmtpm1S2ZYNGu1f8VJuGG9LU7omOHJfLcie/zpsTmwC28Uqe+6MFdbYJYXyv7vS6SQYU
tkfHi3gJAaehID81s+2O6Vx2gZeqRTTrDvsGR5YmqQWYgl5HjGrHoipCDh7Eo97x/qkw5ywkdYeL
XaMR0PhsZA92labvmWXB37vdfU3dwk9Hx7cQlgedTlzIDGfjrpynCaCH0utpUHZ1QYI8H6ewsVWO
i0CM3IwYc+0e4URXvlQtuW8mJ6nEx8Lbg9ehwACCck9jOwhtBeCgOtpjexj58puVmQSEdQkvTQFS
6VGLdUqtpLcJ8pyyup0mpsdAgoRC6R+dwjaOhjb/Ntw5GJ1FBKrF9y70IIsebQWi9vUPrRfKsVTT
OsyptkT6OPLYS5e9M9oQ/OmtItTMZbqdqPhgk+rEtBeeX+jLgouJLG0R89u89NTzJ4xoAz9WCDS1
rHyYUaumpTO8EzT/1SN8X7kkCFztnWpjE+Zylj5KIMLybXuqwaGcOwi08ICqPxHK1t9bjzlTWDZW
GqRjSkEQLOwpxrOuISwmo7VTUzGfltzqbmjJEV8Pmh1l0zTFdLR45uML25jIcAawrEJnhA4I0lMz
R9bS6/tORa5pD0353nZemZCxSRNTZengE8Xt/xJO074sKqVLoGfMfKeiQ2KNcQeQuC2GUZcBSBIr
Hurd2O5KPpKkrrshQqIBYD1pzKRuLTC9qSl5QjnC2EOEb/ELAZUAlCbcoLDM2UBuMM6er3vD/KBi
xriAmHWB+AeW1CwwxTAWEVXn5n6atBlgk2Ukzyij8z3JW8PyiTDGF1dx8yNVRXlXOiZ5I5AfOZku
T+X7y2IPo2l3wmLKXzVt5fzJSAcnsHQwsTq5UYdoO2YYmpzd7tFVJ9dXGHNooBTm9DRDMogiOO/0
H04GXhEfgh/9GNqdOb2reaFwvIY1IGAgBWi+KbooX7NySm/m2pl8rjX3tdJmsWvNSHaF+OY6hXn0
HDqdeozwQ4+RTGSvIEeNSjCkLIHGPAE+inHujoiL1Q+D125iF/kAhIGY9EOvTgDc5wQgzV7kt0VV
4Z5B/iTMjEo7cotYsTsPxUlvwVY9Cwelqkktv6m3y6gsO5oxZBATh4AVhvvhxziyjKapyE2RqnoN
JL9b7my1BlyoHzDXhXp2fjOMA7idMDUTAwspAj5Xmukbztj+1ivbbQ6KmZHYYfVwg9m80TyCihyp
By0y5REyddWLUzc695kzWKBt6jLH8Ql36WtvztpjVaMc5bNOb3OfdtkEGWMdyuzw5iSdgxoTWj8E
6PVA5lxjdAcVDhsRTW7W+Slr8egEdj02epjKlu7Iwc3Nx/SDV7zDa98OoVnU4tSXRfrNGltITnpz
pcbUFu07t9z5KIZ8imynRNDC1KX70JH9PA9DTl6ariiGQEXKvBtrF/yMmY0K59x70434H87OYzly
LUnTr9J296iBFmZdvQAQilolmZkbGFNBa42nnw95a7oYiLDAZC2reJPOg6P8uP9CScTbulNDt2hG
TkLeRlJPFcAabXLA0fGLGEtkqxfvLE/w9mNiCXskfuTWJovp6HQHU3kTGpLlRElKasa2Cdy66eNr
tc/DvaDIyq3mxxIyarNOsJHzf2DUafjfVM8Q9jxzOQUGvY9vmGHyUARb7qRiyjelmLSuUprNi15E
3n1pjMVLLgnF97akvTJ0kvCgylF75TUx8NigRlpcy/HzDMN+13EGXVlGG3y29BBHYk/T6KmRe95U
SRHej/UYa3ak1NVNDJv7WpEF8b4bmka0paDI/Rnog6VQoY5vSdZXFOVqAV3ssMq/tEOnuF4cBJIt
WhyYVMUM7Ws8ReZNXvkiEz2ba/RIlD4PJGayg3Jdg/4mdhh7P5IMJ2/710KM4m1v1s3PnAV33Raq
WjqSOIq3odXUdA3Sof4eyZN5rQ5oLDjaYLRfORDK1zYSmvsqUwtwTnFZBhtPKQRc48K63pMow8Tu
+VGjKOQoWWo+ID/Yf81rVTz4Oh66ehJJLrasnLNJGBVfpiwfXgSOhu+xlRf7IUZkyC5xGJ9sczTH
z53vmT8LJe54KkjJS1u3/aemSIb7OPVCcpcq6UNXV0ctu57L2dxnJf0Ogbo2jh9R+RJEajY4VEGj
aw3gRHODpHL6mpKbfA7NFgcXv0xkd4hK+UrnWEMlvtfbBxrzxs40khqf2qQIdjnFG444LW5v5aIJ
9mJl5p9hqZEoWpr3UJFCGzy8Muo3goGrrRF5sFHF4ErOxWSjWVnx2A5Zdxt7kvplUozgSROS7FMe
16rkjF4+WVx4pvkj9GIcsRAAJhMPybFtOVOqm6gcrdZJaIbVd0JLocgalOhOtiTU2oQ4CnvmII42
Yz9Wwk7N+vouC5HFsDuxrzZiksQihboBjZG6BBjUd02xD/CU/aWB4v6edpQDMLEVy5hCo0DZM4jL
llu4xMbRnia1d1I/Ul68XJoah1WLpysifmK2j1Rf4LxtzZz7xhMM+gacOvpLMXXkViT7UXgI4zLb
qRiXMEkWTmAyxMScizCqhBgzsEI0/AfFZ4qeBUmNqJvQIa70q8QHp3yjF1Uq38eY2mW9XXDpB41L
90COtkohhVxbZoF4HV41cilLz0nDHi93SZMZhms1EgzkQ6+QFP9aKb2faRpikI70G5pRyqmycBGQ
CSsS8vGzlB1gOTfeDN+sO+GVSsGmQEKR5McB7X457Jk+BvEsdK1V7i6wZYtmjarksuVLaIVW30SJ
dCPE5nJ7OcYZ1DJMfUMF4UDbFQuuRYe+NsfULwW6arOtGabmsDMEw86+SY/yYaCPPdsnjG9p7vpv
K5FP26MmmBBRMhWAWDIE6OPhxYnfK0OIMODMlWye8UtEzHNygj0SOfv/gDFpzjLJtGtA6GFMsfiY
sWJ6Usf+hoQ24x4U0U4BqPAg2OnbMLDXZCNPm7GEm+laKJzMBKpFDypJM6GUoKnbnDJ5PNpifis1
P2IYEIZ8LXeTc/ljzn/9cYcNri/4efwOUTrhDXf8LWWlG9kDyNhWKao4hX/taemtmaPaO5RUw/Ln
y+HmRXEp3KIRFTeG6ullmtlxmhq/UDCoD0bZTztNEvrnwKT8rsWxchcqWnblt9QaL4c/83EZLZBH
DBag2i5Rj6HS1+YwMVpqALuOLD4WOaJ0vXHDVLuJpORqkKuVbv75If875ryaP3ROPaEW884j5rxa
W+hp/TbYN6uiIGc6tMwkIH4s4ekLy8t1imZWI+ISjLoBvZlN+tQ8QNNyVVdjf7rTq75H+/lP5XsB
5EJdoFsKdxK4x2KtKpPStIlP11uz7luY7p7y7fJ8nV2dHwIsus5RJ8i+MCKo0OIGIAkvgy+5dXml
F4/pqK7shDMHGvBiOlsIoqO2dXJqVoEqd7Lnp7a48+/GzXSAiAUSzZ05bpUzi3zFqFAaB+Hvk/T/
HDk21v/z3/zv73kxUnwImsX//J/b8HuV1/mv5r/nf/a//9nxP/qf++Jn9txUP382t+/F8r88+of8
/n/Fd9+b96P/scmasBkf25/V+PSzbpPmdxC8Jef/8v/3h//18/dveRmLn//863veZs3823z0Lf76
148OP/75F5aQH+Z7/v3/+uHde8q/e3nPpvcsBC/y92/733/y871u/vmXKv5DnRc0Fkjk0hqC8H/9
V/9z/ols/WOGxaK/hrIuKHeLn/AuaYJ//iWI/0DIn9vIwl2afwnRjUVT5+3vH0rSP4DVIMiMpxJ4
IX7JX/9v9A9/H1N/T8x5p03VmNffv48zXLeRoeNSAFYiIYsKq/d4b2eD7ms9LxrbzKspOghloidb
rEDKet9RIVLfKLI2mjPRYFJ5Z+lW46I6arwKxtg2rgVTFleSRFOHHxMt+GrrV0NG7VIcWuFNpXkt
bAKrDHvXg6MXPlsdtbuvXhn7xd4a8kl/GKtuolHclWrjbTMLj/tf3tQ1nVNqYlrUFGgqgwevVxnf
JsMS8hsxM0rK/pCQqRgL1tTMuKwBSrmt6CZdv9HP0+Gu7CpvtNNAzSy7UihWvGWCJZOQ90jz7Nqq
at40XSteigLM7VUcZzJGUIEa3iUG9Y1DkjUUDjgzok+CNo1XPMy4UATPTNKdWte0PgYJPJpt+qL3
XNI+nL0O/PpNkxqPrLjzKFZX5Gc0OAfB3ErBXNjGmU3irtBGGn5Q3tMkrV6jNFWeeNz3z1Geel8G
uvXJrpLCyBHESnsMsqqlREqtJLVDv8zxtNH9obInoW87SDNJcZWilv/elqr6wxx14UE08qC1AQz1
hd3ALt4meoCNvExC7qSaghLJ2AzpzkinlC6C4LtxZuau4mfmtYKRuWmLAWI8ee/zvM1q3VU9tXrx
i0na0qi36ARIVvguJlL9BBUmKp9zq26+lWUWdza9WaRLhxydPz0fhtc+iCgwlML0PdWM9ibsq2Iv
jn2Zun1lzedSUidfyVcgQA6ZJ0pbw28VuHeV0D4YsZAi7l9VgD06SjXIFGa6+i3xLPFOybTCswda
6LgqVl54X4ph8YsSZUYFM5BFdPj6ocB6wujr0R7qCCMRy4/HB0Uc1StsuOPcyfTBoAWnR+9jaQn3
VW8En5U4CVJbKA0lpaYx9FcSw3wwIIq2TieI3ZVK2TCyOznMDpne8I4s+zhwkiQdfLfM++zB66LM
KTE23kStJW0zI+j2RSdNnR3og/VUBmN0yNJiPBi5JFLGFotdKrXBQRR7/4s26ZLjmbWyFfrC3LXw
W+94X/VXBQ+m3cS7GXF0wWqvpLGnORNGfvZ9JJHsaEDp2WdFbkXqXrBUDbtOzHB0OzrzvRPgfaZf
FWYrFHZNq+EGX8jwE9JYygYz8narJEP31ZSETnCqOJSDnSX7NLaioaAz0oaZYQtdXO9VymNXk+fl
FOtVqdjW3eBTJUqVnlqP0Cqa28LyDg4GWdebbExqtZumqFXsED2WH6LUoYoVBulgbpWu859DxRAk
W5tCto1d0S1IriqRXsqVYQbIvEhNbKFyUQu9hUJ37s/NozixXke1bv0XUcqycStXGHRf4ULiT/dU
MYbe7UmpB/p/SQykMQ28JzUvTOUGisNgfOnCSRb3lLZKYztGPoXrUNYHbH6njOem1FtlD5Yniutd
Qqld3zCh4iDZ9Dpz8AReolpuNWrjk8CLZXKgGGv1SyiPgb5L6jYu7kyKe5VtealsPiDNIwAni0z6
57zOE5laZyX5+g+zp6DyDuQAR4kunaZuW0vpQFtWCJNSp5YjjYUt8p5NgObIkubi+Ob7tqYnon+w
ahpo27EtyYfCumkCnodxHrtaqMrCphtSy3zp5Uo6WPT4LReOcQ/ITAwao9mXKaNX7mI+aKfu0rHz
ReoGqhQam75UNZ8TYEzCbTuFWbsNxZbeQWwOgYGdAagOR0oqY3qVuwrVIeoVlN+2Qjgg7rdrFHxO
u8FO/MEyxq9exnGdbSqkwvV4bp50FPBQVq0mpy04Nuw0aVCvR8a1Qvcr32L42pkPozzl0idZqjN9
2xVN9C1oKBuEdqbpffise1IGYiNUQwt4TaK3P0peM/LBjykSf8kCsy3exTEXzGfDmFLtgF+Rl7le
30nlthOGKdhqQh7BQyr6qLdLs1P3vCWsyqW1rzWVbQoSlYSkDYEdwPBTsycpiP3BNlKatY1olsbG
9xH8e2r7UipuKXlaJu2pOvcQxtd70ylKLxEPtHWDEvxnSDNRn7CrdMZg4olHniv/MgGIgMPxmxFz
4NrXFM4BH60c7uU8/TT2IU36MdeL9irzMrl80aepyLeTECHEpoqdMH7qxqLtt5WlabXbWZUHT2hS
4vCeno1vcSZGOnUNs69FAAhRKVY7PxPp3Nta1baRm0wWBfKuo+u7L5UJf0IHne1J/ORhYBEdeDoZ
ybXkCXPRFvHYiUtK1cqKmnZWaylbo5Er80uNYaR0DYgoQEqo8tvkU941g3Qtl/4InIi+sp7uG1oI
0qMZiUaz03srmt6GqqUVYIedYiYPph7KcuGWk9drgQO2LGOPtJjX9ghuqGnAyqMjGLaGndYYHXN0
c9R0nwcO4IBOf6Oa2V3mp5ruxoGEMIYoJJRmJU4m8SD3UrcJey1S6YjXlkpZKQOwpJdlBAovKqTm
ShRb3bQ5sUTlkdbcpDm5Hk0FrW/Vz16w68pyJ6HQaN3lRWPWO7HvBmsbdRJmy23qpflLW6bKsAUt
59+louhFN2NHs5V7Ie24maMC0VTUoQUEEbaqUbcjzTPDrH9GPXazG2vKk/QmMcHRfCdDyFEvqhrO
H3zQytRBJUMNnVYI6NmbQhxoYJVy7HuDmPJaa5tdaJhXoFhpOLRKZykHjo6++SlQ5O1lp6z697SV
3YT7QykdMVPSaedhOJW4qE0Z45Ue1YN3NUJqtvb8FkxeIIRX1lbu0tkJQWkD7WulyyR6TVFnwo2Z
Dqq/t1jFfDfJlxUqbWWmO11b0mqa6J5zSlh9Mi9sXwveCzaJ+DWcPFMewE2k8+2rWCH2f2k76I9x
7QsJ6yZvY/rhQ/+YArpIXF3y5HifB5Sg2JcAKmzZ7C2BtM0zlD1SM9YIfEdNx03cNOmwoQ9Oaof2
VmLYbVtjLCUhtRG6ad6nlmNFHPmOkoDVONTNaOX7ocy9n5Y8rIo+/pYvPsqd57xdnPcv0GyZfOc4
dx77oo20cGwBuaME6pJ3JRWt1odG2+EbqyAqMdjeF2tTusgL3SSopdHM96udWHFemps1odeTVH7+
cxBPExF2NmXetcd/TqXlOXWQnnXixXtV/lxTubZqJxDWtCjPBYK1zXv5t+3NkhohjCONd4tOs9JK
L4FG5So19rLpbYJ05fU8/8nLL8yoeJwA6YNxv3idwCzIBUMC1UIiuK1AhFKTtz882P71JPqvrE0f
2OtN/c+/jiuNPIBwmcKoC+IqZYeZLnb81ZQIHVI6ekDBBN+pGwVA1qcoC1fKNr/fUUcjIQzutxjF
i4CrTqRqBzIB05dCpBRLV91Vh3ST3ooP4jNHhrADMrmV/oiR/ve4PgbkgfmxaIPn7CQaEwIMXddT
8L6dksaNtTWpgkXNZg6DMQy8YoAbvG+N5fuxjpi5GrMLG0Aqyi/lLvwpHlp39jL10X0xDmvCaCeL
j4CKhJqQyZsakcpF0TZBkq3PW9wpM0ndoAmxb9vRMaTP5igfLq8M6bjW9vfYeIHPEiRUcKSlQWXW
pEUUUQmx2yugPIfwGjnUrf9JPGAwcNNtKlu2s9voU3k9rMzdwkHkNPJy8jS/i5HuAB86VfRseNsm
j7VISmI99eatN4BPt1xBCP94LwBn+DDgxXbL9JI7tZ6bjNXPqnuAsZvSN778Vc/N38cYi1NqCqXM
kAQ4yOVUuKZxxztgPxWhM47fLwdaENROP+JiZzf5qLehMWOi6016p+wDd5z1kwcnu5Pe0+2abthx
pe803DzwD1VSAdm8Uah7uEeysp0yzZ2seNuCWYf6b09B4lwe3snRyD7AzAqUkgY/E2rJcTiM5Eza
jvgadjTRYpnX9h+VRv8ez8cAi4lKfbUm982xgUWFzyy/KsOnyyNYCIP9vwjUtzhCEK1bEsSrMFaC
tqWrr36NZHvmiXkPPUrzd4K1CV7zwywsBNpyypx4TWp+nvvj43j+ev8OvdhggqUOYqwyuFT+ouVk
xtpnpRpWpuhMEM5H/EKoMCNvqy36LgIPf95EEU+AqbXV4JmXppPHL5e/4pl1cBRkkYQAw1F8b+QA
7tA6b9rCVq1qfznEmZXNMQ8DDTkaemXLK1LWSiFK1C62qeqB+2h2nXKftiaZs2I3wcq2PXPo0g9D
1WF2tkUcabGuVUkHhGaCIjfJoSqi6EinFe3Aw63aJJl8ldLsvjy+M/MEbZY1SJcMFOcyZBvmAy8+
GlbhtAfpaMcz9BrA6uUoZ77iUZTFfsqCKTGUEYCxaUES0sZEsHuF14YQKNdZ65s7s5ieLoc8dzvP
hGAdFquhcWUumIlN5PmChfgNTDtvZzbb+lP4qbGlK32rXsvffN9dN9/4nWYuttZRzMXWamqsLIUO
xI54pW21t/Sqew43CMl/9w7TXrkb9vnX2QIEglP8gCLuFQ98dad6Tr8mEHLuFoXyp+gGLR4aIsv+
bsFbQPfQY7OLVt6mqvTQtcZt7kVXWZs/S376ZhogPfXwOglzyb386U+2JWkrAvqmYig0sU1j1vz4
cBt0hV5R/IZkVIQKWm1a2Gx5Qq51A0/W1CLKcn6RHgh0ZMdtFUiTzQrfimXhwLBxhbr9Cczs8fKo
TjbnHG82UeQomLsPi3i5BPjbEHjxgAE2rnt6KpB9LM0NcGDfGoGBlKGYGk4visbucuST78kBREtQ
1U0JjDOCZsffM07NqC0SE2JjKu6zKdwK48rYTr7lIsLiIPW1MjSo2FR2m/3KG1Iu4T7pkRiN3xrx
8+XBnDtwPg5mkcNOg9QBTCQ1QB0udMXa+FE3yXPZ69vLcc6lQB+/mrxYhWE/qDHA9BnD0g6uore3
qjDspzCB9mPNz4HHLvdvEUuH6hMZ137sP1fN9H75rzg7dVgvIzvDy+fk+oC/koPqlnjojL/a6RmE
5X/w+zm5UVqnx4ZQ8/HSCIRxECGUAfozf5TZl9rLVk7uswOw2MezYdJ8Dx4HAOqXAo8hwGTV0Mh+
5cYa3GUtwiJ3BCisWJ1G1beSC/FHpYSDeGgGOVVXOvlnF96HkSw+FcAh1YeXGNvK+OZZtZsE3maK
xpVltzaaxU7Sct8vRRWaddk9pfJPQXm7POHz11jeMBwDIFkoAJBGLuZDGtuhSeadGvbpJptezQaZ
ffxtEmslBT457jgSPgZaTItRAharEQK1ldi7NvSZGlI5fnnbFFTsehlo8oo09ukZhDOlqeJbQp3g
VCp3oFlF1ySmjAgYXsn0jRxAaUmuZQHiCCLgl7/jmfTgONxifFqlgfxMWzhTXTe6U5oBkVWa66aF
/IBo2FulVj9iGZ4wrFhg/RlCCtSguxjWqJSHvlvr2crSOV2g81+EHIzIramftKObSGtm4cWYFilY
2M6KsiuTXuZGjvtpJdGcD9njVXQcal7FH2/oetDlImPws7/ObBKm7aTNuubW2ogWizXOwqQD0cmU
doozQoCAv26L0rfLU3m6JeYOPtoeCvkOIJDFxtaqXjerZnZC6s1008SwHXP40js5EYcdhgNKurJ2
zq1Ug4IcHhRIuJ/IOAxDFI00WzBWgb4Ge6LGs0MX6ZRbvgXZQUi198JT6ufLwzw9Waj4IDeDKAsA
iBO9SCGMxMrK1diWuu4hh59I92Jlz5+ZL56jmLfyEFB1FFmOlwVttbgTARTYXvBZFCFO3TXZSlp+
eqzQuptV2AzYyphRL0LgApZNWuEXNhyqTScpVLzFbDjg/PnNq6ZtY07YyEjj4c+/3Yeo6iIXiKsg
a4SEw0xIukcvhbOe6yvH12lF3EAERZ5xhirwYkqqxx8P0mwger0CxcL1HlFOgO9W4L7kxBveOQ6a
AZNvw6dBD1Z5RXsOr8zxJd0mP/+D1J8/hHe3CVQGmMaySih4atjzvEcgGpMuDRvS4UrYRch8/3HR
fR7xvwMtnZ5DyBkGvGtu1Pipzru9CHy++2Ek8sobdYHtmoslx4EWqTcEGFzgO+o91efgQX6vnqdr
BCAiV9p1AHFzRNt4AYzfrMOa9ufpniOwAVTJmA9mZAOP57QQGgNt07kvPRYgjVvH11cSuNMtdxRh
uTJ7K/TNsCBCOggKhYyu5YVBtj+Wmxy+y1o69/s9f3zyU4oXOUR4l7EBrUV+kiPNkA0CpfHG7TeQ
5NzkvrtGfN+ub7qd/7ymXnJueB/DLT7gAEelCzzKQML4pgdodaSq03nByoG8Mipe+8fz1NZ5Uwct
YZJDcZCxw/MOxm2PJQN6FPt1Z4tzy4JiDNWF2S6E0/g4nDJTeAOLulMkDHe1blwFWrRyqZ2ek8zT
hxCL06QYiiDwVEIEQf0u9ZObRVm5L+v4s9f7h7JTX4uiXskKzg1rrgzSywC4p4iLlEgdmhQqMieY
nhWHQFJROalWtvK5EGwk6p0c/RQ+F1/O8quynioSj0ATtnJvmPZU67n7p6c9oD7cMnBW4zYTl9J9
cA8TDVh0BuAif52k/kH26+DPB4IKEGBdAIkmNZ9F0iEP4IX6jusr1qIrNdJvNOPPfOd/n3osLYVV
ho8CQ1mEgH0gTspcQg3HL4b47pmwLvqV591pKkOJ4kOMxXFAU9BPEi+rkUQL7SAC8xIhlAt5I2Pp
DcHbn0+MjvkMBt9z53hZkgMRA8xJnGK7VazHEq6kkeYrlYwz+2buBAMtlU2TxbzYN6PSeTGUksJu
ww4U0rOcBg6QgD10zauJRB+xov3lQZ1+Ql2kjQpiFanhuZ16fBiEXhXknT7nFtHXmizU6H4lsCR1
E8zMr8uhFlKi85JAcNAUKUBhLiyRCB7HkhpT6zUAC+iwIveG9fdkl1fhY3gLjUdXN+UDjqa3yW56
Xol7um2pD8/vQVqdFKiXSxFgq1kUXdxya3Ru+VQhgo1m9OeBPmC06b9lu7VO5+k06niZiSwREcEE
QBnHAy0ARur9/FqYYkWxAR+pNmefbnultcUEEP/kdirsUrd2l0d6ZqAyguwSFA4YHPjEH8ctg7BO
ggjYhtVrrpHxzIbRdznEuUmUuYBpwgCQZqkuFkyTpSW9MjG2cWKr37sH5Vq4422tbcChOOkX6VP0
2F7HK1vvzAeVAVwj0ydCZRKX0nPIyhi6MgGl9QZZcQTw4Y4+yjdVHMGGo34AKlm34ZLnK6M9fZyB
rDZ1Vg167RIunccftE7ywYCmQcHbarbx9Ggoj1L9S83FlThnCt4IzWE6yM3F00Ve9gTTTKZQMRFo
vDKvpH1znd6Ysz/Zn1KKfm9CBelgeGFzMLT7F0Mqo9GqRyJJ9/3rbLmgf0lgFHXvs0/SmhSncuYD
kmPT45xBINpJhc/DdWUszXZmO4OlvM3HQqI+Mlqdlx/IwBvPbVPFk+0w68AAA17sG/LxPOIf5FUB
6lMpxmGPekr3WreWIbyKzYhWgVz1sripFN+oNsKAhQbdLEOQ3XLIZ1UEQx+H7SiGTXcvBiZqXhQI
R98ZaoRWHEOMSumu61CscqH3pb4tyW37c8gswb/jaYydQSkk+jZom6Hcw3QzJwercES/FKkIxb03
VVaxYuJwkmhyRbJdMfwBHzE/YY8nRc+hkzPs2vaQBbZeoCDCl364vHNPDof5Gkaql5wCBUdu/+MY
CupARh3NOBbvkGqWPaZ/3Dk5jmAt8tjAiEcFMXnSo0o7yJE02QjX6Ctb5WRFLYIszp+inrzUjBkG
6q471e3C56a4icBOXv5apwX4RRz5+HNV+eibecEZHsUlPM1WOoh68eS18baJBTRjkDfIrM+jkL70
pV4iL5aC7M7S7cqfsTbcxQkEO1xpq4E0avas5jF+W7xY19HW2mAq+CSYzmxy429Rlrkc99yC/LBY
lgsSeLLVdR6N42BE/rW9TZTPXvByOcb5BQmRkwwEAYjltdyBmtfA+hZIG34ylK8NRjqXA5y+vGGH
UnSaPXpmvcsTl1qYGElmcFdJko0IzLCVHVQidSdE1lZ1kR27Uv3dbBzhr7pAnpm3o9CLecssDx00
MyoAWGq3cc7z8VNrPgladLg8xjMTRTY6AzGo20BHWpwc7Rgkfp5QVxMjCNDm21T02JS2zuUoC7Fv
bo35S34Is0hMozDOZc8jDPz5VLHBQYokN3J2rdeKAF+hsx6VHrvXknTIGSJZQiynopNcgERfqTmc
LBuueu4vXD1pJ9KYWvwpTeCLUC/akt7wmzI8TfKaJfiZZAM+4cwqVmZ/iuWln5GpJX2P1GMp3Wq6
t2nGYTMF994o2YEa7M1KX/m6J3PIiLDRhjAD5OS0BCzUlkUtlhFpanlQecIIXQgQ1nMvT+LJklyE
mcf9sWw+RmyFUc/sUS3HXYDQxDPHWozkdyK+5VMjrQzrdKKwPZ8rDOgA4CWx1MVG1Hw0SyukkR7B
ayL9ndaUj08fLwbuW/Qc2Noz6W5xF3SxX03DAHKmyu6n+EuqmwdZ/akEv6RQWzuITyeJWDOQhi66
QdV8/ls+fD0UCC0t68b5IFa22o2XO/mn4g00hEu37CH+HPEhnTWp9vlOPq53zYAMJEHmN/TpWpda
HzHbkqUY+a9a+dwk96aMpJLF7YeG5Ww9hwjYn0/bTFMm76ViCABjkSeUGjqyXkltwBeKF1hNT50s
Pl5eiaeXK6jTGQBHqwgY9onudqVNeYlIALymzbiJvsdfTddARJpO1q0orhrHnvmKBharvKghhWIp
tjgxeiunRjAn1zMLusbyVNkF+3Ur15P1zhzxJuLIwAR75vIerxCvJO8aPFCLlcdxLOlo064VQE+2
MCGgj4q0y2mloC1xHGLSwmzKwQ7aJYA0HWSirz5xK9hNl66sgpPlPkeCXY12pTpjuJXjSE2dlCr0
cYodloDMqBKgnDZSFwiQGllZDGuh5u/6YWdZrdbCz2QXa7b5qOIh7KZfu2tr0znDJo7s6V3d/0f3
89H4FmtCaTxFrqxmxnRpToXAl9J/9fVNoIj7y8M7PzqqrSq0L/FkqZsQnjJLJlDoRwgkTZ+w/t6q
vfZ8OcxpEfn3hP07ziJfVSPfKgOTvBjd/sCZnTwhCr2jAbpVqKr4rvq0EnD+hUdn0yLgYoV0MTXM
oiMz/dvVAboC3n0FFuUymPhVy5v5t51E+/BCWgwvRnM4Nls2V6GqW0T8bDG9bdXOHgVXFB91drX0
c1Cmjdco+86zDqG6kmid3Xof/oDFcJsGgsYQ0MURJkiug3k9We2mFi1nivWVJXN6PM7ZFjZC7DyM
zk4OLFgNWpFMDDZoneJQ4MiFeCHME1u7kl2QtStDO7NEudtQUlBhwhBxceI3oHwSSSJXLZDoKZO7
Wso25fBrZb2cOR6JApoPwgYtKXP+wB+2eaz2kzhGJOPjFS5jbvx12Hs30evffAOEeVCpcy+HPDsu
cK9goel3A+U9jpilnRnkEocw/XVs/YrrWo2hQ326HOUkXWSyVDgGVBbntpS1+Hp6quRjLSXAd2WI
3bF4j0Lmji46TlNe4jT1a5h9vhzx3F5nUNShqRQB6zUWJ6Y0JWONbBGyMMhN2jiP7dJd9pbtm019
8D+H2zUHl3Mf8mO8+ecfpk5k2H6ZEU+vflWIoplwZKH7rkzXuQ/5McpigaTqCIENDVY7FGfFJVtX
bktOsRkoP1fD8zX+0En2yMRpeLiKUMF+l6iOR4WCbh9m872TRtS/oGQA6dskPuoBw31tlislHvnM
eUk42pbkPfO0LQ6QHOU2Te4ZjfqoI1S2rW/F2/KnPOx6yFG0MMfP1i7aq/vxGqq66OHHHqImtVvb
FGfOsaM/Y7F2kIA0Ah/haLimWK4iHl/13O91vJGFdOVcOTehaBbN0AXki05eaqMVjlmdIQXha5TC
vWpvGhGiDoUvw1TV7ls/38pBvb28Oc6ND5s3lco0GAIsIo9n1YwNfHOrnDd/kB9Grb5RfNgILY62
7bgCmpg/1eJOonpBXolfgGSBQz8ORS5UjrKHakERP4XGpxQHhT8fi0kZBg7CDNdZLhlBi73KaoG3
92pR2rUn8EYMcAp57JUguBXbNnb+g4A0oHiu/e4KLSp4cGtHU0CtHsRAXG4aKUXxos5jfStNOXVb
yuyNtxLy3C6kEUn1gsfibDx0/BF7gWq+OSGSFho1igUTwsDIVbwLefIkNVm7kepxpYBwyl5h44O3
wgOYqpNIKeE45DSD7ks+nu2nrviLE3Rw9VcyCOd70rsI1yesWKe7xW5oZaxnFgxXBOQIiz7GvEKP
A/sYUvaNSFVNRm+l4omVk3hensEzRzUhflcR5qfj8vUmTJTYdSmtbQSy31Ap36Ks7mRlvPaCOzsU
atXsb8ZxovgUIiraGUgEkP0FL3Lv/n5YOeIhv0F5XNhpTrz9M0+73zUoxgOuizYeDcslRIkrOGpF
gQTCaCV457pbR3/MJ6ErThkBbCqtUBTQFhNkIUYDKQE0b2hCBRd9PdpPTf8YpI2wcjbOWcHi7CAS
wj1ogXFcLddgFKRyFffYu1aGvh0hQSdhu0816bVTxy3QJLtt2scRPf/Ly+OU4zGPkJAGbbQzooCA
G+SQXx3jahTfmfjIuJarYEg8uKpjmXbyI3H9je7mN77qqOoGC8t3VPQCe306z63UueRlUGej/Hty
ehaW7uPuA1wvRtv0vvTfG+7+y8M97VbOw/0QZJFTWIEGw98AAJ6+YkdQPxpv/mMIh8V/aV6lTewm
motQ9co2P3PvQXTAt9f8DRJcHmkBrrM6csSYVXmJW036pojT27B4qct77I9QnF0rAp870Y4izrnH
hwQNBV8cVA0ierfRS3KIXyvqHLMzMqIf2mO3CfbDTtwrK2v43Ax+HKdyHFUUJ31sOtaS4aEr4zdm
5HZmeB/Iwf7yNK4Fmg+jD8PDWCIaYRvSz7ZSpy1vIrN25HLt8jsfBawcspUUcZbIw9IKMAlIoHnB
pXXUbLqJLBw6QAZeHsyZBIW5+t8wS9yhXCOEM+pcAijR3k5ah/KBl5duBd4XXd4iXsmHZsmxk5OG
LIU0jFSFlv3itpNwvh3rWaU8jMIouTPUyBjdNrKmPVYaxk2Bf0d+L09yiHuSPhQ3jZfMekWtVd3+
X/a+Y0mSJLnyVyA4r/c6JxDsHpwHS86qLi5ZlVXOOff7ftn+GJ5ldXdGWMS4IbuuGJGZEcxgUsPM
1dRU1Z6+l4sgh9g13BjsQZeifqnmwbiPQrFE9irFUPzMS0O3uwE6sE2pNuiPl3nxdQFv5y30WOYG
L/VxEF4t5SBAg16HOBP+Ez0rvXnMgduWi2q0pLDNwWIEimv0pSMRkb1qedGRF6571kNER1CV9aCW
UEGNfCtGKjgRIDraoFmuhCDqbuqU/w6+FKTUARJLiDOAI1dz9DlcZJBP6DA5Zl05of4rJrD/JEl7
16lqcCiwWLCGqnG6E/ohS/C6q0ESM55zBOU5aXMA6fkO45+f/foSQCFQCUYjUgVEjrphctCPY5oM
XC3cgocS0KuJKsZ62tETeyZUg/7yGprV4N6AnAT6nueK80VTq3wPLpH3lnX+apiRVW7DLbjA4gd0
2yCXDpaYz1cYtFkSHo9Oa9yPc94qYg6Ai+ZozejLQBJ3IcSvjPRlfTfpLIQ2RW7ZI1PtzHcVZpFz
s8TzfIPZB91gjQLTJtAJBxfqx/GhVhMonCRPA/Bk4D/KfsLDgmcwaE93n1vIuxW0dPGyoKPpSl+G
0ygOnGoshCwddOjSd1VmTZ1fim7QuEQjnMD+kEOdbtUUC2nSp6Ckgf+94rRuMXwJZp8CFDzrS3l/
daFTm2NL9I6N5SDzSQaE0P0QQ1nTmgH1aq5mA5OjjvGcHxRHv84fwtY2CiDc3BwwUQTax/ielTFe
egBG1YTuDORgedRQVD1TC2I9qG0DBPTQpjCugs/IBNFWG9hy2ygcFAzaJbnVgzA1HjRwVJcPXQ3F
AAQocW4xkhHOj50el1DGBf3nGwbySs3p9FIuto0kQ/lEWSQmYJz2OMqpdepHlx2sFhogMGGYLU5U
9pINBvSYkcGfBwfwzsEfcCcg3UV3jPIHgN8XBH2o1g564CpyEoH/TgWncBJ0/mDMnwWHAIQjaSD3
wvfABYsi6NReK0LoCAg9CJEEyr08p1DqAtDQXve980XhrxPoLNqnGESiC+bJmLNy1vHEGefT8Arw
3QRJnli29AWiZUoSMszRZ4qs6dgc+ZJH4Qc1OyamCwWwtGi+FpOuN3NV+6aAIm59WXSNTNuhvlU9
hGUyjbjCZ563y6yxgyHfKCL4ybtCtsHsx7DHWhfZ5qN1KSBNk4WaA6lui7QhepFxr44RQ7aWbM5x
mPi1KJASAIyEf6W1d+eRB44uCNHd4wHsGzq+h7pFH/vrW8eyQmXGVZ1WnCylCDFj7YJy4XugV1/W
TZxl3+8rETH2J4E9m4xanG4XWKu7BChdkKE1qKdiv7rOvWA/7NCxNCzlFgx1WyiriWAp99YtX/IL
PH3jsRFj3YDRUIa1JQ5LtcNrcDQC4ALZR5WIeidf5vG5ST8LCcIqMYxPmveYuxDOaEsg19UvBqdj
jAX6MVNeW3r6mBgN4/Y4q9jezQAbjOCEjhCC0+lmVhjabEEIQJ6VJnu8amtzgFSrW9vtvgRAGCUb
ZDN3zJuCBFXKGwHURWcUKEU8F9B9k0HUYk4AmwByJe6lcnOvgwb18tSBc3n9m104W8eG6CtJ6AMV
4iZgep55482oJgXQMYiwAGTqrBs6mxElO4kXAgCtCekSqv3TnYRqUZgCf/NLdj3aDLbiCr74ZYJq
cnYnoqJnueP7UDq9ieg6kfE+NLnPlNAHI5uHVMfNRZ4Eh01zXeJhInEVl7CBpxZ/j7rCA8gb2Ako
f+xqxlm/EP1lwHYIkp0HNugdZHsUtso0nUewFFVmYAR34pz4gjxu4664qhOVcXte+orHpigvFbs5
yaMBY3HpItpSC8LkL5zGehknidLZdh6th4pdnVwLCeYpMVdlqDe6zkGiVPDaLHDHtnaBz75fRpUx
Zn7ZadAxARQJTC5naSJokKcw7ZG8dzZv1XeFnVxnvCkdOkd2Gy874LX8sy8S7356ZJLKF7uyFbRG
B99mGfeu2kIb611MsI6e9FRhFkXE6483lWTaGMhDqg27hIfs9FQYydzlwOaDLGKw5yvwZe+lOPSM
FIxdswYSSAjy8rupd8e5BpFhaDFuPVKRnJpH/YfhNeDKEG7wMHJqPsA02Sxz6DCrOd62RJCVCnEN
JaVM2SocSE4Ftc68Lhh2xVgybouzZ0N6oynbejxpYFDGt21sKEtavYd+ja84gO5ZUBTeaG/rAeji
cQSsDZgbwqby/nOOjmMsdopSkDpQ7zp7XhRXloJHaG36TcFa2sWTAoSnBhpAXIb0DSxnIgfuZ4In
qhITyq69sR3ECdkYB1pzyFizkKUSOXrHn5FspY66QhLwcK7hujr9jDLkfhCBcEvxW+4lf0U/xAqd
+LG4NxzjYDil1x/0TfSUPUnbwESstaEsaUcPkgnuDhvdksfohwgebVbIp70LPwsIEJW8MILt5ezF
G5Ta3NioEr5mZyV7I3osMnd2VKv2VLuDqACU3qHCB2LTF/kF0wUme7jwrPp7/wkKoOwSpr3JS9Lp
zghzKHEY0khMTbqrE9BXX4u30Ce2a0+3oasUaxuoTvejyf0g6rhAo2f25HRW5LA240KIBnCO4A6x
D5h+pcootZ2VEUJZEKGtbo3qpZEqF1rnjCvnkhHw6WDLMXiDsVTqjg3atolrkDyblYIeefSTa9BI
mh7WD9KFNE87NkJy3KODxBtxlkcchigqWSlutDA/AGdhzUv2FicFGML70bDXLV5cFvIgCewoeLql
R+krkDfXvQYYGzqAIjQRjYcyqytXz+ebdUOXcmeMa2L2AccJCTQdjiHQlCV9hDJj3DZ7gloKHoQ7
CL8OFpQHTOgs/Ygeo8P4WdoWeCliBeh7wQyD1hhd/faGFDQD6n2znZDzpfpgmJ0hMRZHvgsVJE6M
UGVUGaKUznpEJLR3vAHjK6YEFnRGwnzJCJpGeEERJBCY0+/dKYj1MdUBKT2tVUzQq1gYgmWYuJQU
YFQYcylgCBB4ma4zSh2zj0NTJ8jrAg+akYU7+OJ19hRcLw6eUH0Fsm3P645xaVk4uIhjEM0BPxAV
YPsyVPKyg0k9xMhO9Rb29+sGzkBWxAWOLNA8X7iDMSfFhQkoUnpTCRez7HJrgYBlqXwHAtxUpJ9d
8DPMII8Ohmx+cdftX1wgXgDBWwfBl7NRz1gQSr4JAPXAjQ+cS+EUPIvi9aKJd2olYFwItOs0boya
AAXvcsQejpHq5JwWAsgZVgzajUtpBWpCMnQNVSycKBJMjsKTNHU6iKCRv3G+ug2gHriN7MYv/HwD
bJdg8s9CwnDICwER6A4No3IAeMBDKOdIC4hiatAVNbUYrWVOWh4mmd/JS/RkZKNVjIvGQHpcSGVQ
8hIgLLEH4uHTJTapnIGMu8nBcwCNBlWBGndkR0VoJ/Nor/vFhdCLNhjhM8Y/MLlCfTQw12PGUccA
2MjxN0anbuVF2IeSwHJ/lh3qns7HuBeT6D2DUdylduIttEUctJjc2S6cDvMBdvvMClYX95FMt4Me
ACMPdNo0arxkVDOagMaYHFCL34bxfJUM0dcWhOfr+3gpaKGVruD9F9ZwCignEeJ+4mv5vZGwuOo2
x8zPYLY29Kgc0eRNNqT4DOGFiIIbzAAIHJi8c+oSaAyIg6xAZLLYL3vJ12+yb+BDkjcBcgIfACQr
3rT72k3d7FHqbOlt3Gr76HF92RfOPBr8YDxDnxVNb7rNX3NjGAB3hWIq079oS/qtjHOGiQs7i5YC
mekHTyJGOukBGW5J+SDnkeLNt50N3W4XpIXcywDdPZLpRj+MvawwDuD5smASVzWOHhLuM7jEEuZS
NBDKp1zcZgCRqRrr2eLCfQATeJgD1Z2CqppOXDEOWqrTglUV0lOB1h2Xd07VlNdaU9lqw133PcaL
9UR9SMNgGzcALkBfuGac/gv50OmvoBLKOCwyQ07xeFICoQckxmgP3GHZk6mFxskfeOWuKXezDXCg
zarDzyPCqWnyDY7iOPRnu4ZXF4SASLU0SH3Cmc1Q7xhLvPgpj/aZ/IwjMzwH7cYCSntgzCvtSdZN
g3taPwOshZAodGRhKZWkFABNN/sQYu+hHrlljKJHk9q7dUPCeb11umXkojqyFKnQzNI4oNEJYfQT
IaQpD5wleOGDdtBvgjfFmd0J4WaozX43fbojS6Z4EdkI0R2OIZ0715BO1PgBNZSRa7XVyInTRmCI
rVBgMdZ5FrcpS9RlkdacEiYdMgkFsiqCHT9ne7kxBVe1qsgMt7JdqwsWqljs1+SzLRaJQCxQ6YB0
XkB9hbUKxWIDBcL7AOwWdLSu7PI+q3d55jMwgyEy1DvQhEBmQV27UJ8SSj3HDQ8YompXDbJ2OStu
80htnfXNPPN/WEJZgCcwNGfRiKL8PwCFUdmBUtgcSwVqufxYoEGyMI7ARSPocGGwEGQ1CNWnjqnn
gVTGHFxDTuYd6q+bkctZpAWXbCDle79j0QKh00vAQmelMiZksJpkauEt5JIYfnfpoxxboNwOY3/Q
fuoQkqFmYgoA/EQgZM8T1qw3ayFUzIUcF5CEIB0w8caxywFBmRuR8dEvHCA8mnzsFfkJR4Ei4IGH
ybM5MYOK8zTNXdrAlKQn6LfY6951acvAdWKA/oNQfivUWgppUIy+RMESK7tF9SFlGrDICi5t17EJ
ai0gfxdD8NGhycRH0+BW7TBDEyuoeJbgwNnzPboe4KkAGBOMe6g+abBMEhgLJLUSEnYg6c45KmQp
3AWj28mrKjny9WhDxtvXBqf6wYoHZx1FYhoPGSr+HeSxdBqeCTpXJSnuEN1oGjhfq8w++lqci7YS
tzUkqDhg3Gv0B6VhMRxc/IRHpimvJ0LYeZDAHeem9oV2tNKRs3tW5+qSRyI7JmATDBqB8e/UI9uk
jGMsHn26alHue3EUJczJiNyLliXBT6UdP12Nkh0ls9uEJxXwciofb8epaEO5xoNy+ygktwhQ1rrr
n1WFBLSOZqyO50GC4CUrPjpjLaSo2pJH3pS0wU3QfoUMNSLrYA0LEJHZp1tksIahBrTwyQMb+vmn
1tDaFksdQ2FAaUy2Pl4HY+REy+36ks4/EmFlwpAKGjtYEF3DFJAgxz6hGCSKyIBVQlrEGpWfIYud
8/zV9Z3+6W9D9KskpCnjNE5hSL0FQiZ5i6yG9DP9HBhSVIR7bdqkNreJWEXapQUSFlI0D8BJjjzm
dBeXPiugQyn+OVUNIcPiRcNkjBxBEBEDoOWmdtHgMuXhJrgrv31+czEBhElcDIqgf0uds8kISOKB
JqeRReG1AmoPSEByqhib9RQVr1Erap8FYWnY5mOTVHRuUftmo4SmTxZBLVWCytQsJw+yyLFaducx
5NQQFaNHfpLlQFMw4tCCwEPW4x9R1mkm5jcY71nnBQu1JPJLjk4dZ4RlG/T4gvw29hvdVEur28tO
dh17ndO9NleZo42bccdqJZxp/NB7SR33uGnytGiEX4mh9i3f9ndyaIHRdt5yVmzxrmgPJfLTDcQ5
I2CUP33RYvhOxisHCWd4Yac+pVAHUaao+JRFFlh1/lNb8LY1M4yQz3TSQcbmgnUApIaQZUfDhNrc
ftJmI0jxppBy5VNmQGwHN9aP9WNwnmCf2qD2EcoAcRlBC9JMqx2BdSAYWZUKtc9oB8lls4hjR5na
t98zSkVPyYiEVAETsQkmtINY8V9nqAJoAkgvVQj+gDSo0yUnV3NGvLm0n3iSQpmPKx0ZK2U2z/sY
tBfo+fZS9lCNQmSWM1Cj62s7I0shnikjbINeFm+AuBtOjwRElhMEbmLFWtziLZOt1sqhYwE1CaSw
zj8JKgro8yVMMRKkBxVDxzEVtSpEyqe13rLRvia5876g/xEJ/3c06Y6+7ZlI+C6GHuVr8W93P378
PBYKf/+f/RIK5wDh/gNTzeSTA2qj4Vv/0gnHfyERwW8VTyag0QBZA0z9KRSu/UEQKu/sGuCKIELj
f8uEq38QPTsdbCbIeZF/8dpnVMKJ+aMAAri/htyEPJ+AWgzBir7jEr7qi35OqttqhLijG2MwMpks
rpMBKLSgNqouHaQsoKbp8mGcHNRJUG8nTVYjzaxygERulDzEoKylQncXLWmtgBykv4yN0tn9IM11
4mEps/KsB3Oebma56WYIUhQCYEC7skwBjoRqdZVOTl9AtKlyU32Z8u9K0rSVhtAC/ePZ/l9AgHS6
EcXZrZSMBvQpB/Q8IFxlQKG37CNA53Q1HM08yMTFTIxEXkxR6/CGnAdhdWeMae9GXL4gYSkD2TW4
rtyJKTBe5gIF6Mis9XRGT5bHoIHZdj1qfDGVugi66XMI0GscpTOGRUOMWc743+P/P1XUw5gOosUn
IlB9rTHqr3IztT/5AvO9ZhQXQKaNWTpjWF7MIWgNLFSLqcFZrMB4loDrYSwjHhD/LtcfM1UZvmVx
Ai3bPB8PQ6IkHIbzRPRP2kTEcOzSRhy4hqoJUMhYE+efssplkSmkMq7vvs2qxyMXvvl1exzLJlIX
57tPkNlD6C+gQkTviMp7xLbj+qiI89vBlVwAfFz1DXOCGJQIWg+PoT2Ih0U/cEKA7gx7HuxoZCTq
FEbg/BdQd2cBqeVJ0vEL8GLkpLmnerEfO+A4KOzOh3Cs4AGITMq7wpn9yOPAeDB8+Z+Y1s2bt//z
7+8VCTA3mJnB0wdyFML097//739+n/4j/FGexbj///+y1+Lt3zYt+bf2OMpd/EO/op4o/AHMA/wH
NKMQGDsKe4LxB25WPMm9856Cix9X8J9RT+X/QAaj4N0Oly+4UUnnqy37LoK0p/EHBnFFdN0BB0bJ
g3L7rx/8p0e31P994uGn1zz53ZjsxQsM5lIxe36OQyxKuctrWbRHa7BFsFyW3mBKULO9FSwJLoUu
ksEAglCn6twmVU/jdZ+PqgbzhMZ9t+EfI7d/BPrR0lA+8fb8RfwuOdAkiNzZZ2WipzXUX5ZxoAlX
yIUp8bEdFqUtZVtOJjufquukDfejHPgFr38qbTs3RTb+KNnPpFJsilgSbaIQRlL82U38ymsZm0nS
sI+099wMudWOzIDiESzvUSLZk774TVo/IhG3ukW7z+va5UeZEY9OL8lzc1QGnGrVqDYDzKWhYeY9
mCfi10op3aNjdSnusr4TlXwOnALdiwxmlOvqQbIFP/f4G9wvgc/dCk7jGZLZ+saGY9i9fBg+3INy
zAYjfFKBa8cWhv6LCp4SBd2K9aVd2kC0GgGpQUv2XK6tjucWVWAq2XPzrat8qQKJa/m6buOSTxzZ
oJ/gk67uZKEucb6mm2j0itAxgi9d/qOvXn7PEPUSgNnrtB7wcozx8me9cvoERXos2ypa0Eh+WLXC
pa9zvKyzy3ipIBY1w/d+EnHh4p3rJ/pp4LVPdDsvtOvn9eVdDFTHFqnLt+mEANSMNYaKZkv3NDd2
8FBtR3YB6BV5/u83+YYESeWGSRlF/jR9ro9NU+FjMIS2rboGpmGZ0HDmHlriyNMs4v+9j1YFY7EX
zpwIwWs0BRVCuaDSi63wPlbXowTl5m7T3Otf+Df+S2tL28JJ3cICI33v81esiEw1Rd4jyolZKoCN
A4gMwBYo2fzt5MogHY234WOVWCSnIYytxpfIy/YsuQoKf39mlj4jYmcEoxLBmRrIYwh2Br7TZt9C
QLdEKot9xrSpOXj6iwJi6ezxcy3zv6xjlkyFOA44uqn4lowp3mrmTLZLIf7R80VozUrj4F3ge1b3
lmBMDpcYjMNKgY/OjVLRbVGkFITAJULPLVSsLckmPB7yw+gKjuwXHovB40Kkw4f9WCNVawdKibJP
ySU7FG/F9KbSK8zbPKw7LcOGSoGNjBmk/FIPnwV5tlV0gV9NvZXOMQPqzzJDxTlh6Y2OK3AY0+ka
8pM6ShiNVWuQ3acOPLYLgB8g+Qg9FnX8cjHX+HqGjViQAe/fNvzGQCU3zNez6Ew9o1vOskaFlzLM
qqWbeMmu5nto6ZqYLc2C51jx+OJGbrz1r0ShYP7yvI+1Ue4egNccnOcTPhMUWnMnua4w2hpbvwYl
9CvjS81otZI/uLaZlKuXbTaAZZoElWgy2+IZHLiulHryvJnEz+cMx99Nodx8KLgy6HtJsrkpcxrI
VVtGpkvW+g5ejs1/byD9uhfOUAvCbSHZOFUm6JJNYyAsAWaRsma4/0U8/jBF3bKhgPHgGLWS3QL7
7ixIX2MfVYFVPEM+tngCRAMoVjyQ8//gjKEDQ/o/qkB0BE4T2UJWkJrLC1Jz9cUY3tL2tu9+0wTl
FRVgH+VYKaKdQ90eqIKyszgWWPBSqDhaBv0YGoKZTQSns2zPFcYZMYKBKeHSCrL4Zd0jKAzWrzN1
bIj6TmU06Wo78Mi2DtENGVdLD/zN4onfVbfyGlYfgngxfaCOrVHRKUIVi9ceTXxPDlov9Qi0hK0j
yDJDhaUii5tuRKFsV+1WMHxlPsjhm6ZsQDpgcjLvpBOL5Yf8xbWFke95VD8N0MVW8h5C9oPu54mX
6ww0HvM7kaN9ZKAGFC6pogLnyRFckNntIlvdSLckY+2fWTQzFGfRuVdQpyiIUPlmMi7d0eKtxUYz
/aq6qa3Syq0JUnTxjWapbxP4g5FFor8egkdAPWAY6DedkzppkYo+atGQe9kdbEhauYnLOYWvecgl
r1nBnvUJqQgs8ulUZvki2VET7Sctw8gHC/Zy2S8BwgUJGqiYFeqwCUsBISIJJjKkZlmA0LQvhIcB
7WF5tDPuKo8ZZeI7tOncLz8sUgeOnxQtFg1cma1TbAgXf+Y2G/I6EtnzaJKJW8PT7ytngJQMeJIO
6bMGnfPQnu8Yn5KkUGs/hDqSZVxxaZ4iUwgO3UYANje13jVEd6yc+HLk/FgxdRIDmY8K0KFIyIm/
yPWjLN8VA2NXqeemv47Hhw3qMAoTp4sxGLuxq6SqwqzXTf6ieaD99ZiQw4tZD2BlfzsNdRaFHiOE
kvFubMRgWeZGtnYFNR6z3zcE/PvIbKyRPHTtW1HHrowhLahG+Fbx0+y0ZrwtnhWPYA2jLSvS/Iu4
9rE66tQZepSOooYjoQhms+m9yTfuOnOyuiceMo2sNtelUhxzCn+bozP9XB0UteaxmYMb+oKZIKrg
PcDXroA4yl/aPdrfOx7PH4fZXxizSRR09cxr6FqxK/BaHddIiTp3dHAJOcaVYbVe6FTfOlM1Z5SK
3Q/DXm6iLas8vhzb/l62RlUe0ZyIcjwgkY25e6WDNNwD43gTl1hxGY2KbFVYDo2xwABUgIAPsLRd
vA3sbNfsRneBZEp9P+5kH5x7VvMPEuejL0oTkIRVAvr2CJar6T6KnwXOZyyNhMi1pVGRK80zpQta
8tleekdz023nV75s6iZvqzvOZtW7LBd9f2A8uulF8GQOwQQKmi6zlOvkpsLoF78JvQIcF5oV9Kbh
5W5wB87hbeCsr5X1Fam41o4ZYLqTLNlLFFjxuFeHgy4ZYOkFKWlza3CsS4H8vbWtpULbGMh4g2tI
kQBRghH9IsEfnju//s4d8htMIlrSaCoPLIks1mGgw1ujcVGhw2OW6kE3fo45oyhe//t4q8Gqjz7g
KC+tBL02xJjsIcq2nP60/pXWswg8QJz+/YkXFhks26TDRkgHU6//byXR1HANHa8ABz21Y1RimkUz
QrPsGS8yLh7uSrrKXAP/1K5yz4D+3LjX3eJ2GS3tIbULT2ZUWuv+CA7S018gQa4Mqg/4BVKwWJPy
liWVV8i7gBtMBDRT4xj2GDtLv93zrSKPco8vJ2JnK3fyw027QYLtr39AxpUO8MrpuhIQ6WXhgC/Y
OuDrkjCpDba+fM/fa55oz3654x5YF+16WgSRkVOTbSBWSqZjaaqcW2K4ScvKVLvN+sJY+0flXlK9
1MAcwEiXjs5cvCbpJuHuhBl8eN2VKr81A+OoUSp+5z5KRawC+Bw8rWMnRf1K1m8aze+Wu6Fw+NAv
W8eoMWfas6YvL3slemsyLlT0XimvbItRq7JYl+1xG9x2LjTRwD5QbvHQeNO75WCWEBIU7crjHjSG
aRIPz+Plh2Xqli1KIFP1NkMvNK3vxoi75ZrUGvrstZ+Lr0CasODgl+Pzhz3KTwHFKxddaJCctQD5
poGEueBuKyz4uFLNOHv/Iqn+MEZ56ALJGHUBt78dl9xVl2vXuZweqhpsFhooQmIj2opz7I1RcV8M
itsLLCnPyyfkwz7lvGj51hDQi9Dsy+6F9GEoY9Pov6wfkMtXw4cNyl1bI63Hqgtx9Yy7ITvUvPt7
f5+6UKNKCYCwQWtKzGcXyrk3kwxqtnUbrH2irje9C0JjNmbyWpd77VhBJyPczkB9rpth+R6JNUe3
6FSrU9uojWzrIEdPpM4smh4kRrVdaw/rlv5FOP77q9CJeaEFmdLq+PLLtbyVwYgQuaqd72ubhOPY
DW2DcY4ZbkCn43I8632woOkmlk/dvOeCe8aKLlfbHyuiAgVXYBI47VoZbVfCO5NuG1/x+k3zSW6t
v+LvhyEqQiQixCmSBRFJXw4d2Ir4RyP8sb4Yhr9pVFzQA6FIuJp0KHnFqcAhVETQ3pg0xtG52LEm
XHJ/hnU67y7yJZ+LcMJH8QablGfDN7x436XWBGKM0p5BIqOHZvy8vjrGZaJREaHCZG+ZVdjAPt3W
mB7LJahYBT/EMQRi3TZi1gTjxee742VSIWKo8GaE/riI3AOsPVfte1Mv20EveVNfczbrBZrl6lS0
qPBCCaAdWrGd5vfV13xh1BAs76DCRM2Ls67EwFq0emaLqBcEPrR5gxG3GVZoglAOfi4GXIoxqOaa
kw8h96qJLHEU1pehp/vERU/KDmJjdoe3ZM5MncTVUfehO4iCr/+mOuuex/gyOhUjklkkZMuVbPeL
Uxf7SGX0OxgBXKdCAzhVB6FvcW6F6Bs/DFCwBPU+0giATO31lbAsURFCC5e60UhBx8+bXNpWmmiF
gcfXrBEP1o4RLzm6ktowMuIk0GQ7BoVgn2BgR7N+byVUNFBKLVK4GHtWjr3V1lAyypS7XqvvVLV6
WjfFuvV0KhD0CkiD9UmSbSNqdnUg2tD49iDznJgJlwK8xwMd24f1FVeLe6UPnSArfhp1Cjrz8rbu
4q+Mn0PcYSW31alAEaBibpQUgXD2Fre+KuD7g6XvJY/zcK94rLjEOtFU3OimegzAJoASrPB0vbaR
0ZtQTPHXV0X2cGVRBlVCT5FQVGKNI40ixVZLsNXyiy1kTowneSNkOA/LGFWXKBwaYUMATFgopLd8
9IKZ2quo8CFt6iQpzzhzjLNgUNFDFjMw3Ix4mjHaDRixsuh+fefI/q/tHHGXo7MmKkO5KEqCwq4B
F8tWzr9VjQs8fTNdK92dErytm7sI5Dm6FmlVXxESPItEgDyyF2wlP/yKrMnJD4P5Xb3ungjLRmGp
TuBk28LKn9eN/4sm+N+ph0EFlqDrW6igw/f5bXlHqJ4qJ93wbgM2rtj+bWtUkBGyOdeatkNX5XpE
Q3MBSUu3Bbuxldqhy1LmYJwzWnUlm8tpAvAFuXWwadNvEnelYEh0ff8YOZRBhY62VZqiVbF9gpBu
MrBIaqP+FED/eZglB1CHG24WGRk885NR8UMdQ15ZePj/CEaWwOu9wOa/DFvRRaYIAP36AtcPm8xT
YWQcIeNXNvhiWvK1nl7SmvG6vP6RMFt3etiiVp2HiLyzjrlXajeB9o0rfm/DzlgK1bAWhqaEjXkr
uDKogQJXNQNoIvx3OBEZuRTmcE5X1M65Meikaf8nLg9oy/CxM39BhUJXZGShrA9E/vujaGVwYqQZ
HBqVrcLbtYBHLCP7zW9ExQjBqOREnyvJzrNtPNxmvJP37j9wM+DZsV0Y6AY34OkqOlEDDQ4Ieeyx
xCPYmxYzgiw18/xntXhkgNqmtOqbPokQDKCY6hnXmluD9t/UHlu33gtOtDUeMHrCMEr+5tlFcmST
2reqzMuwVNCTHFrJApvjrd5KjK9PAuaaCSqgJkogtDFm1+1pNMxS/xkLm6V848Dls/59Lnc7j9ZC
MoAjN+OrWRCyBYbmbehHFkFDSJ6xZQNoLgaED0P0qG2mzENXQd7BjrtvILsEFu2+CT83RXnmDfSV
C7LenNdiEnWKH6rqBmBTzFKbsWWslVCfv5uRgi0FQif4WasNrqGdskvs6rlDKf+g+/O38hqccta6
VYbPGZRDdNxQQ80IODsx20E3IBVSlieI6y5HX6t8HvGNKCB9JSjr7joEnII8SQJMBVgd68Hs8mX3
tztgxufU72qp7qO5gd8Rhnh9iwk2O7ekQ7kp7erAwuGsfzGwBJwak/QyGfqaoDx12crR/Gt5DCcP
2u9toUA/wqSpHC7LgEUJ14RTrfWqb7KpeIRfs2BqgLIWRTzm6OQORhQCKA6PGIYtP26LzNdYz4Is
E5Snp2MlxYMME3noSuWzojtiy+jRM0zI1KcJOHRKoR0J/BJCUH4HCqxJYuTC60dHoPHLGghgpqbU
EHkKNLHvhD+nEH+N2t38isrHk2qXEVEfvixTXyItxrEVZqyBMNwo7mQDFfVSA9g2XC9mZPMbdSOb
gzNuFiswczvaNtvKanmTBQdh7SX1ufqo4/Wpxe+YhYNaPE7xdih+6z4XZCoMVTofQC4Ve7k0rV3r
s6my5h8u51l4g8W0BzSJzzRm8okvNY2DOyzXynX0BXeSHdiKIylAKWTA0rAopi+6x5E9+uuJQt50
JSfa6Tz7Uxr7esUSpWOZoD6MPin5IJDZNEnzVfG5Th/WLweKY+nPe+9oDdRnqfOBV4QQUM5kPzrt
67DBSLSFybT76HnxFjCwBGZxqyjWP3oCPrJLZQ8QXovwvp0rdi0+cBp6Ea2fjhEjrLJ2j6rF0hIK
4EqKDlbaZ3YaPMztz/XtYxmgCq9iqXJgYcn4CcbUp+ZGFRk9G5ZPy1S1lUZSJlSpIdtcDM7EPA7s
ueTsatReIQlkjWN4H2qg3eWT26IKDlXcbMPJMPkqYMAML5a1H9+LJshTOLkYKzLSJAN5W92ri6WX
+yQE57R2t4DrYn1fL8ajI2tUbC+CwMjEJEZDR3gC/UDWveozowZkLYiqL9S802ppwnNy3+6FYKOE
kHgLYlORH9TlEBoiIwu7DLg7WhJxpaNLl9MX8P0ocBWCmZZ/FHsy7TfsDLzoEAL8qYE2SmPxO26P
HiDDOGs7qSjCF0sScRO666I0e9Mg/EjV2kpVg9FkZwUTOsYnXKCVQlaRNSY3ZMBPuyNDfjWH4TPd
TPzGk27AqZbcMqGUjIMoU+FESJeonkG4iBI78MRXyY9aawjN0ZWs0o7v5efkAErHdSclf/Os0jr6
olR06UplLgsN0x2titGRItq28ZZP00MLEon8Hz36HBmjIk1a9LkchtjaWHHDcVN22yJkFPWsWEOz
gIGEY1S1EOGSIOBIyzHcDr7mtLboyn54/bv3tUJl8slSTEZLYNjv/H5WaxaAEwPJZZJcPmI7CbnL
Vj4YjXiPEhCYZBppszuSm/vVfbAJf6g28L2vopk4haXY2QEQj3U3YQQampJxUcVQ7TVS9CnI4cAw
WoFVaTHb6GbiNzP3sm6NcdQVKsyMSabFk4A9zfK9Ft/Gsc2OzozDplDhpAIcW+1RUtpjFd2FdXaN
SS57fRlMX6TykmXp+yoWUI9zfrbR3+m7+ZvBJ5xwqp/es4SPGGeZHl415GrsVA14H6kzzBaz+fXk
pvkdN/r5wiIqvPy4/3GWFSpwVOU489qCtdVOj2k0MonGOQR7DU1zO7przMqCMutvZlz0UJ8wq1DI
Ii8yXe+Eya7qXEVilGSMA0YD2iNpFNR8wMJmbt/VzqCFjhI+pJHBOFIMB6RBb3kMXsZogp1BRDmh
mk3BojxmrYRKQFq55lJhBpTvv1j7juXIcWDbL2IEvdnSlVPJlKSW1BtGW9CC3n79O9DcK5XQJeJG
99vMLDpCWQAzE2nPiZ2jvOyTBK0/uXKxiCR4mi+XM96VgV9RT4dpSMwIScsQIi7AYCuKXJiPaXfp
nvjZ93WzutjIOhPGeQfikBSEJChnsEqNssUEGxalGyGAh+j7cA4itcBsQQokFcDGVKZT/zcr0hZg
8Rg5GhBieVy8AYsTWIiuUS1JmJ7Z7caqwvWbuuyAzmRwDgi0FnjLlRbmEsJetkUQ7fSH1rddwCMd
HL8UbPdeVLgzcVwAY6kFCnMSXgkZWNe24ct250Y2sLYEj/zF9+FMDud7ABdklw2rnqn53rIf1OrB
rP5qNOFMBher5J3qYOkJMmrTb7Rdlrysf5uLL+r73+dH5CZlHOs5xqcxJND5do9j+VOLwl4fvaVw
PJPu1sUJrowfkJM6M5vimNWy1MgfO9l1wKI1z4tAAy57grNjcT4nittRLWJoNYPHIFvMyR1AcbKJ
t9iF80SFzYsP3pkwLv3pTaVTKZuOtslz1CM4735J+V51eqCgTX/jrs9kcV4n1+TCrCi+Fz5UTq9B
eb/+gS63cs4EcP5maMCKliYQQK+ksPPNPQ1JYAXLPvOaYEF2lYSiJSaBvfKjcvGA7FRJcX9p+6xU
O4sobuLs1DES3B1HNfc/BZr3szE0r/O8UZGjOHFyBK1oVT4PWNZafGD0+di63YLRxI8xDvO6q2be
WkEfotYFEE0P1L33SzBsFI9+mf3oSbwZJDAKfphk7IcpWRS8JDJ5Uo3ZNaqrQRH1mC6+I+9nd7gE
YSxppMjg7/UjNQsUuwtrmm3WdUckgjO6uKdq1cUm4mXzpzre10RQZricE5+dgTM0qlBjlgGAjMxU
Cdl2BVseNrbDdtqzUbp8w5Bqk1C4ucV++B/JzplczuiIllaFFkEuG62Ug9dNTZAT6mEakFD5NxfJ
z4wMMmZiOwJtiMnoA75wlyRY1TaE62+iQ3GP8mJaZk0rGEMbjL+NMNknG+fYA1OHBv8frpB7k1PA
QNUAg2JuRSuxGbOALXP4zfYpmo2YOlGoKdzTLAPgchkG1uf8Ym/G6+Iu2lUH9YGtNuUn+hVYUNsY
SeokqtqITIDzMEWj6mXNkEzUzeRLLnpP8J6ZN4a2S7z2XnzSy/NNb7r5xwhJM0rOsrAZydGrv9TX
uU/2DnYZIx+DmT9mn+1iy26FefcsdMA2sm7xgtdC58sAxMwdzaG453S3XM3H1Ac257XxtffNsNkY
OyRfcGoCN77uLl8RX8+9ONqjmkZAVukrZBO1NxrdLKLk63JD/v1W+dS/RdNtzIzXWx0DFt7rOwPR
AzvT+g2KDsMpatNZjVVWJqxwwn7MY4z59FhQbr6cI58dhlPKJAYZQUogwzxOvu6ZGxUUZYB2Qm0o
2mp74hVYhRAF4eyPfu4zsVH18a1dZprqmQmhk/ltSW5S0riycTtrsStPwHH+2daTv36VImXkU9lm
HPS66yGywUJv9QCSeHSzQRu/ITvbtfYgegoNkcx1L6rzCLCFJOt9x47JJl/GTRI0T/aDBQCNeJvu
seQiOOK6f/kDhG2yjUxSBojTN+MXABQcpSA/SNd96GyIB6qrfAMSmX+UyX7TWbV9nqc2jmvIZAO8
coCFON+5JpvWJ7dlmPjpUUQ+LlJYPidNo7KtASTJfFpyzWr79i4N6XdM6X9ZPDPUsZ2t3bYiv7Ie
huom9yAOSzmj7A1fNreA9yfEXdJjYQTR/HP9QgUmb3JPoeNE1OljC5Zh/GjHo+l8G4vjughB/qOb
nFsZa+zcRRVkqHdMLRl86n9jedH/YbNdpJScfymXOZUzZnf68DKjilQ+Ck5z+cYAZosNFsuR+YbZ
sihN2xZYzGT9nuaF4dVIQfp98ppvA3AddSCEiSZ9LivDu0hm92dKH1sTSLd7FcQHRqu4LXEA6SaD
7nuogtik/voBL1/guzAuro3idK7SHM3vYtrSnLhR1wqMWHSD7BecHWcCPysgHVFFovZNXO669L6Q
BDm36MbYTzgToRSF1LQxVtPKbGuXp8busd23rwxRA050WZyZVkmV22NSoSBWX+nWVvrLt//9a3D2
if06MkcZQICjzLmz7Xxnoj7vjSaAL4o86FRzBNx6BpYOJ/fApXi3rgvsr//5br5L5yw3V6sRcL0x
fF9q700b2wVVuisLzc3a+auU/VUlW38Xx9muM3eLg0HKVyxYk4T5dFK0cP1El4Ev3mXwvTAlLahq
MAxpA2uYcoAd32N0q95G1FX2OuJE7UV9xZcU8TJdDkHezsb3xJSqJsRhLVSnC8r2Kh9eCH0api9l
inU8S3Ub8ltwUmaoKx+PD4cdvZnHik3NoGDvt98QFof6C93m3xhz/fwkot0RWDXfDjOcOs7UCFat
Jzs582d6k/cC18TUbe1EnOMw5KW05A7NnBmg/nkS9JLi6eVNXOyW4ahhb3L9BgVOhG+HJXo5d0aM
YYWoLwOFHNrF2iiOJ/1d6fZdNTgnMlf11DUGPlQR30uoN8mFl6SK4O4+yc3epXCepJedths1XN7o
VVfSdkQjuHuOkBMOB+sRcNW1zyJw6rY7/WAhW9yuX6bAU/K9MVmWDIXWjurb9Tep+14MX9b//id1
/ffzcc4DpHWGbIIBAtkfA8lNgthXWenMB1t1aLyIFhsF6s6nFAY4ZYfGAMhgOX4jUezOzk4TDVt+
Enu+nYlPIgqVmm3HEJVYIz3Z5rfjJsLCGnqIXnblYKykAuSw6E0T3SSfRswM3CxTCMDNYo8NrRbb
3C82DTrcu+TW8PI7a7f+7QSGxrfKSD0mKp2gmoqKi+xGf2rD3L7v9UZgBAIHYnIORC6y0a56DELo
1gBoUnA1otHQosKZPhPN2mTCZc7L00Hvzw2fPcSqzrAYJEhE5X+ibnJXKSAPuGX7tuUN0D1AdZgG
+TE+HkpRqVBgcnwOYfbygCwUGOeVM3wp9cjFBpggzrq833l2Ps6rNIYDjoK0Rza0c57nCYh/mVc7
gBm7Ll/SYEtAsSxqCog+Ivv3s9guTvq8zpxIZ4XXmzYor4v9tFVOIJZrfcZcUPv/4Y4vIobj1wn0
lfeHZ7Ub9dhWqgmjXobb+MMVttonN2zAtHMid53bgoG8vUFaj0oTq8YCZI0Kzi6Ix/gGWTFmdlHU
GBpMFuqq851TYRbWrFyADzaYhFy3StGLwffHDDOTYIyYLmvCMmD7Z0BD9m3f9DvcdbVlbGxsfBlr
i/fET76vSxcor8XlPCSiskMGGE6JPm1/jMeX9b8v8Dk8oluOQoJe24AMWLCFSX7O5d0oh4R2wboY
gbLyuBLyXC1kLExgpTSW24538vQ4kJfR+N7aW7VWBPohOhSX9kRWNlVFiwA6GyK/RM+oUDCBqIVL
JGr9iZ4mvk82WVGZAXsZicnj7DU7YNFvjMJdClfbkJeUTbr4kewJVPIyfM+7u7E4dxNHpTJFYK9/
RVZsvewuekiueh9l5S1pBZf5Sd3+7fW1OEeTEJAstzWLaFE/B+z+Tn6lqYWD88vSlUMDe7M9aFJE
LchPaofvgrlQpi/kjFYV1oTlDd0BQXJLjvENw2mIttE9K2Yr6IgL7EH06vPoE4WVaRihe71aDauT
y4GNCNItq55noVS5wsIas+AVb8ojUdj5lLYF+5aNPwcqQ6o8mX4ftrsiTB+F0gSukweiWKw4qpwG
d8raZskBzBihQdzOzV3FY+uhxM/hsQ1fFNsI/Bi/7pgtNAfgAvrJdNgM8Y2SiuJeVrteu0b2A86e
Q2eJrYIxNPh5u02kE2mvisozEsWNCuJJ8bMNCkgdFKjrfk2oLpyrUWSdYvYRY9b6Rgsr7HeD1aw1
vNafgjJ0dhP18lGQjwlCbpt5v7OTWlNmUpC+AYTTfkwd8NwRr5KSfxTCeZislsDm0yPkpv1e0bZq
dtWQreDuRJrPORakKkQpFtxdF1ZXoEjDOIPuI4kFzHXii7yJSAE5Z6JTANXPNbLLSH2Q6TdJEijg
J4MMb96KnxiQ9ShP2xjROyhZN5YLrFtg1dUe29Bh+4IM4zAOf/zA7G9IN5mrwXMyuq4kVN373wgQ
BS+uQEv42YIincyS6NASw3lMppdR+oYFkfUPKAoEeVwKVVGsecqgJCncc3/UrlgVOPGMr/qDtqHA
bVWARovpnl/VD8OfD/0/Vib4zdmuWiaFRj2aaJbsjooc9APk2MW2SUGAuH5Y0X1y/mUuR7DBsbX9
Ol28phrdynGCCZSI/yaG/Ywz4y7zPHfiGWra64cyyVwp/6KI8mnRUTgH0ppJpSsMx9Ga7vviNEpH
tRElRGx0ZcUd8zuzfTkAYyaDjHTHhnnQAg+STbHDNOZRtKbGfu6aKN6N2IoROQxtsykGr51aT7IA
xULcUhfmXJpAFOdEVDqqUsQGgDHChgklrNRbp2rbBcWD5mHu5F7ktASBnsKDUahguU7RhkCg58CD
MPxZ/YElWDlGJYTC1v2xwiNT6EVRFRFzkazMogK3vv8leR1G9NSr6iiaSF9XQkVmP+ZM0ftUq9vF
ge1GMnUBX1pa3weQ2vyLNWEt4KMQm6LDrrNJdEf5TY1jkeRunHYCIQI3iCf/o5SuyEs0KHBv854+
zF4dzB7bL8lD+7ZGv1vH5tVV5GLs/au9BUSxGMVa9OE4p0GteKIm2/UavdlTPYaqqO9MLNYiITj8
3XTE/75zYLfnTptFci0NOG2t3i2D6sba3TCWgjtdt2lF5sKPWa/nzGogpFCf9TboyVYGmED1dV09
PmnJvp+Fcx00A+2tniC1URS3wgOd1S6Ie1uUozCAgcmg8mldoFBVOAfSLWoigfmCrX2YCBixghTY
vvFUbMijFQD78AoTc0egfPoYjPBTUMOuyxfkcsrrjM2Z1SWkKWPKTLwOrHs2r8emg/DfEExfltf7
Bps7+RHv/24c9+2iX/3cmdzJLIjeM9ClOtuX8jOZr4fhp4rNGulvKAdVjJX+T2Naef3mZ6IMlBnp
KLGg4K4OZI/ljYVXAeVp8eYrqGsgen8++6g2CJhAxmryErtWJhjcZOO5ik9O6BnA6LHUeTCOEdhc
Ygy8APAxQTCkYujL8scnUYWTac2FF/DtB3AOKKviMY7ZDC2rrtKQgZTH2yIU9S4+cdlvYjjlXSxT
6202JDFIeytW3IJc2a1gWu+y4ZsmY/NWsAPBycjqIlYiW8U+cEm8MikCZa4fsMq5KYxUMLp6+Thv
onhbMJTKWdIRt+ZUNwOopSqQZnUv6wYnOA6v96OWKFjkQXktTSJPQpmyV3810rWKpZ51QZ80dN9P
w96IM7UHj046aCPeAExIB9pV7g/bGlyB9gNbc0ejpPF+x1/1wv0reF0M5vzPB3tNkM/k9k1mNAT/
6OfG1sn2uSKKJC8rN3ZbwfFqmbLGPW5RpqvF8polAqlz3sse29yUrlkshJ4x47sAYOeWIGXEFoEg
RWWG86dhvctmn/fscDRSWxV5Iwxr8dToF6DPRJ/tsoK8S+AeulZtorInuL42SE6sXadZLmaZQ/2h
CxSv8HWwlRDX8P8u/HqXy718UzfZMmF7lBIWwLIfS/k7F+7bXs4B3mVwtpyAxHu2GPbCuFc9YKzu
i80PDbOv6t/xEOlvkngUAQC1d+2YQfnLZhndZE4Lz5DHIK3K3bqZCT4Xv4fdNslSJB3m0dRl2o3k
2TDQpesjV64FjuOyc3o/Efd9+jIF2Eemgr5SCpTkJqZBPogG0i5nM+8yuO+jkJgOY4eXko3u/2+O
ZvomNvWLUPIVgWv/JNp6k8fPnMgSZqIlhkE1hMmJtXDRwAHyS+PiXfQ0wQUyw1kxXX7QpMzMORkB
vwwsRMdL59jtbDz9avtDw4agm9DkYV0zhKfjHLDdDt1UVDgdmzo1gRdm3kYhjDhASOdZPwXSBMfj
q8aTNspUbnE8Jm26nUIttA4KiOp6yZVBcUxPKgC+XGcniuQuY/q82xpfQZazCtCnDiRPIAalWBrI
UEVOjuBZ9qdDdbBBVzd52S37pv1TfKRg9ABO1kERgmszE1j5wnxJWe96apk9fghLVxlvHrpyt4yn
VLsegCKOjBzLc652K59EVCmCZ8Fm/372LFSqVlFFh2R7Duj4s1C+r39dgfHb3JNHBpJOE9uUIPPi
1ul10wKguBPxQ4qkcI8bnh1N6iKcomtuprjaLM2jtgzh+lEu6qkhy5apOoZh8Z0qzU4AMUU63dcG
9U4b2+s400H8ZcZ66MjdX1XPzqRxXtNuIuBCaogecyPQm69j9MMUtr9FJ+K85mRjoSp9rfMqpqvH
R5Ld6bbXtpFnZoWovXBR094PxHejMG84dm2FMb0J29MFIrrCM6+UTe+naLhFnuY6D+vf6/KWxZlE
bidNyhMDU42xDiddglo72ygbG7UL/SDKJtg9/WG+Z4J4f9mB6svUIYjtav9HTypt0r2IolB4IK4G
JNn5oujYssNAXuxJw6+RaG6bPNaSP08/nequI2E7itonF+OEs8NxHqJWuxK8hRXihPmGFLvOqdB3
OKVoRa9/LpF+cJ4iV42EDibGyXJp73QIUEUVkotO4uwgnJNQotmwUeVmqaW9R5EkdqPKtX92CLzZ
mGj6SyduJSzpiqQyGzxzsFMWq1TJMGFSqBujvgfAfNEJsBxEN8e5CjMd1L6uMRoty9veumqq0/qX
EWkA5yYKuxqV1hl032oN10pKv2j3tDrls8jnCQTxfaesr6xy0TCorvYWsEOB8NtqrmHdL9bz+okE
Bst3lLKplbMSvXFMAAy75UA2jLGl+rvtq3eN45tKdT6B9caBxsXLYdSuFXKselF58XKwdiaEcwo6
0bUqm9AdU+7NTbLVniRv8CCGTaERXzhKeDETOhPHuQNbQ96QYw/xNVozQHnTUsjD9jJITBtD9Giw
H7/iWfltVYxm6TRmxbbGn94CI7JxNkCo8oD4IsjQBcbKA7AuKdVHg/UopEUBxnQ/eLGaI00X7egI
Hl6+pVRG5myhEoB6TXrqtBvHOtL6Xq1etL4I1zVddCLON1C7laDn0A5d3mn5ryJ1e1WwAPiKeLr2
kTj/kJO4TjWGlftf8qW8ErdrW+faTt3oYdgmnnWnIITN74AVHzqaKx3IjWijZv2gNt9e0lN49rjE
j1AKryi+9XUQt4KDikRw8YSuGUrUM3DwARDxuuU20VNhi8ooIiFcLGHZcpEYEc7RSWHcBDFN3bH/
/S9KgX4i/ybNRF5SZMtKV4dzBXrSzvQVTQ7Wxay/SzbfTJqUUq2iDGlkPTyWDoiJMkEafnme8c0Z
2TK7zLPH1ZSLSS0pJFT+AkQehvwSbVMsfpyK5xzwCgStTENyzet5P2OTS+QM198rm+8fSTSXgfXG
qg7JlZldO3bkW+SpaXRBaPSZj7dMXTGBbcunyPWo/Q+KkrPtsS+cg+rBCED8iN6KhAmn9c/2iQa+
CeM0sBuomi6MCXtS/Wg5gK42E5RrPlGMNwmc/s2k6CfLQY3LMoFVZ7S3dBA9iyIR7N/PNCNrY5oQ
1t7WdUyMqNPPEs58/Z4+ceJvp+DcnqIrKZCNIMKJq608L1/bkh4KSr0kjp8XQICui/tE2f5XHB8c
9Y3WdsaIvXS5+dlGp7S8nrrQiYUtYPZ5L3jzNzmcl+tQixkkVhTpvSk89nt9M4M+3N4zjF601n4Q
VqvufTYl3DzSPQlFnT3Bp+OjJgy8ZJbDGB/axtOqJ1DGCG5yXYD+Oqx5phtqNhFsQ5qI/tTbnn7T
C0Ug4EKiZqvATVZ028RSqaJxr65apRhNHGwVlFyylxww7okpdjNUxRDrf84KfpTEKeFMqsiOEkii
VxhzcNujvsNKE3rlwuTzT734IIkvTCdGa8xSjPyMTUiBZOxG8tInDagFyN5PIvSzPz8RE+YYtm5Y
GHrhHbulpTWZNUP34+SUYl3VoSKsxwvzKB9FMHs70wJrnutoWcB5OdVoG1xnjW8oj0Ybpt2hbZ5j
Eruq/JJWj+tW/Gfm8VEqlw6OVdMOrY1czR5NP3Kiq0Yed00tgbI6e0yr2pO7+CoTIlb96dM/iuUU
Up4KR5HiGZUD82AV1EvVnSSJ5sr+9FAfhXC66JhDNk8WlpqLZDePjySnvtY/6mnpr9+h4DCv1nf2
5fShrnXNmrDFMH8hMcLJ8aWeZoENi4RwbrAm44KZQ3woxzrZhuIqxuA6Uh6sH0Wg568P/9lRuqXI
68LGUYCVc6JdfKp18m1dhOgg3GOrt3klpQllRSMSVj2A69V+M5qiRawLMcqHr/+6V3R2lJq2bZ4o
r4khgwEBC9ZG301ejSHRfCOC/7iQc3yUxk59Jq01zXgEoTKW9bDHQgeXzXglAWbKUM0Bjvw29RkC
yYIxFEasVG8phpVEZfsL0xIffwTnQvohHhQgCqi+ds/K9lWYh9gp9UjQbTGBEo5+g0dyBijcvEOf
RsiRdWFi+6N8zpnktopddYqupLwfv/VHhkaibfTQAlhHg8EbVVBnEmkS50SkRKKy2QHhPuoXt881
d8gjNxJ1DISn4txIVMZWJlsgzbTm4UtiD26iJz5wQ7fRNOZup2iYh9Q0NzFt/D9/xGLMg16rQY4t
5XXLERjna/ZxpmPUSu06V6Fjo7zr+5vBFqQvgvt8Va+zv5+WukZTto2cFMC/RkG1UV/G4R+9Ms+L
ko5SmXY58AbMUXPLWPWS8blCdKqJ6OlFx+EcjaOjopHOUA+ruVvwxijztpdIsP5NRNrBE9IbC+CM
GuClvbKd6o+1F4fNloU8s89sTTTmxnT6YzT8wcReW4hn34hmo2H0FLFiO2NHN7pRbaD6927S7pc+
8dJB1CYRXSLnUvLFAlNKgXLxJH3VzKOT3mXkcf0KRWrNeY226ZJOHgk6Szl1pQjUt6C/XRchiHJU
3lNUkzW2i6y+TnGxhkgT6GEnBK8VXRbnKZIURH22jIAjka7q8YFm+0wX+ADRs6axAPxMAXRw6I29
gbGn0VNCK2TDSPnhP27d/CgC57sw1PhB3TQu6qCV1udVBWP9D2c99rCDR9wMSziG4+vYs2jAKDk+
zYU7i3C8BWrxuhRydtAkG/t5LoHLL3f1Nuutg1MM23W1EIngPIRsUZJKOb5Xr901zr1ph+t/X6AP
GpN/doQxUmkxAkTLH3Vyh3oWdsDUzk+VXlC/EAS6/BwXiOHSVFVr3Z/r0iswMVxhkz6uPLuRBDUG
0Yk4d9A6BJxGqgIN76/i6cfo7PTqaf3SRImQxvkDvLVL0TgwVnLN6KwYoCBL69St5PcCv3Bhx/Sj
fnOOQUtKSroRX4heYQ76SO5MHyStD2B/GAIaUHgI/SRCTRRpHe8ltMQCtCdSZCu/k8DcJNIGgbPj
E+PZ7ORGm2A4imq62RTQ+mloWxf4mp7VD+5iPWb23fo3E6gFj1hlWHqXYfoZkQO9Tp1tnNSupAv0
QiSD1QPOjAmFaDVqG/Trl3pnGRuq7DPn3+yVJ+2SwceT0hkBFtYOTymmjs1BucZAgqBuL4oZeO6u
uegdSyoZ/Qc2RckhC0rP3FF4cYaMQnxVtMwlujr272dXZ2okLwwZEexkb6LxQZtvKufLugYIXJDO
OYaethTQAawrn9475YtT7Yk6eh0RMSCIjsI5h2pIlshIkQYjELrRjPpkkPmGJvTfXgad8wtV3AGW
maLxNlR3rfxsDKf16xIdg/MBVlmDvZh1LZtuLyUPrbNxTMEMtsiP8jOBui6Zagv6AUQK/+0cLVt6
sDYM71Y0zPtJgfGtPsaPBMpD1euGgSh49GQPLexttS0Yq+JGRCF8Of4xNFmVDQP0dzyqAv7BUCXG
NFOj9/9D9xQXFLxXc+7JoCyOA1GZ8aKzPhPHPeFzbKh6zpYGFf1U218SQ6BolwsHZwI425SbyZEr
Da6TDZfHL2zqD8E9cnayKT00LYnbgLqEtY6WY9Yhi64PgKGKBRGE6Jic+UpjLEs5ARBHbFTBbE+b
ligCfRSelDNdunRYcnAQS7YBoN4wxTl/0QO2vXgiR3BYsYXWdF/IWIpjq7siFb18QhPEDwZo/lT+
iZJlmyK/QBvB0gNn+GVVgrLWBUgFhBLGuwDufSpbnYy6jUwpa9z0agmbne5RlFVd+4rOgbZnCBJR
MIp8+2XTO5PLBbFxzpjkMkzD0N4dT/117SVupe2qclPaDz/X3dblfOBMGGcOrdbK+pKiDp78nr30
AZPnKKtpizuij4/6UvsguwmW8NSNIprF+cTw3++XM5TI0tPYALsa6AbpTsUeXuZ1e2PDtkPpRtS9
F2kLZw9VrCbLIgMGR9XbLc1QOmxFcH0XX8yzq+TMwWi0RdcTBBvmbAQ0vysyNZQlX0q/C74ZU7w/
SgZngri3zBkWvbR0vAOs+bP4uR+l7gBUCgdPgbSLH9fFXXzZzqRxL1s2KGPmVDgWre5KxyvLh74T
JCGCm+MfNuC4L61S4wkYyjps4wSIcjOIbxLt2GWoyK2f53JR9f1A/NPmDFpdGxLsy/4qYwOUhulN
v2muAEBwtP3WLwe3BQAcuKuPWsCId/5RFXmQxXQwZqcrWdUv+6HGQbU8Cw54sWV3dkDOgQzj6CxV
hRyow0yTGsgBG/futjjervadjb5F3RgbfkuATH87yoKPKdAXHnq8XvJMmVoMBKVqcyrG0Ves/Lor
JkHMfWE044N75qEWh9Iwh5SB91XPSojXx5+2wNVC7IDy9LQfbxcPIFfwJPU2+lY/iQa5LieaZ5fM
OZSyMJpUs9DdGz26o6Xr3HS76iZCDUXZW8e0xvUyRgdR75o5kRXb58nJ9HxxBqcfMYoJYlaauXL0
K9UOC41d00j+8UvyfsZQK1kfcEQp+VoY97PeumUuSDQvp05n98i5l3xsKBgoUbLBli2uUNkOqEbp
N4sn+6zFIJqoEcnjQRgpSFpnyYLznPfDFRCaQDNo/0yukp8pCl9R0IngxwUfjMdjjGpbGmfmbUb9
OQPSQoEAkLSWPyfhCP7LddNnX2RFO3gYxgL4urTLUc2xp95V5oMcoXmpPIw9QJ9vK+f3urQLe5Qf
TJAHYQSsagTQxwKh+whQYbWV7/tW2cuKGvSmtZcy52DP/U6eyyet7G+0yW7cwWmPNukDnag/40w5
SV17C0DAr8XSbdd/ncAP8cCNozHqcoTNE7+zv4Mg3FUHD8jIggsXuQEerDEjWqnHDZz5EDpbetXt
xg1wbF7QQupSVLlmv0PD3VW3mRBqjHnxtW/NOaACq7+yzEC3x72+b13jkARD5IEELWDbPM2vJvXX
L1RoOlyAU+TYE8wwj+Jb980VA/SQPLo1EXZoWL5kUeI/yuP8j5orjqQtgJLusHPnhCyHYgCCoN8D
hXf7XSTvk3zmLSDlsRrl0lHqTEFqyCrxDAFZDmhYHrONeRX54CMNGWkAk63g5bRuJ8A+ixY9BJHQ
H2iNRq7PVkWQPILSie4aciOjJSC6WIFP4lEarW5s1dpCQdYBU9W34arfFBv1IUY1G0gYbJAWg/HA
NpufJEHKKLBJHqGxN6icNmoCbtXa9ool302dFjZqJTD915bjim3wNQXdztXFzhAb5Lv6urvC4Oa+
3th+FBZHx5ufp0DZDEHjFj6GcOLHOhi3luCkgnyDB3F0GjJmYwbvY+iBPD4U49+0dt+fTYvd9FkF
cLbVxRkXC03XFCOai3lVWz/HrhJUEUTqyPkYpWg7M0Kc42eHBMTesxPqKFzoglDuAiLsh3eEX3wb
Z4VUdQt9xGRS7jKAaejjbvxheTn2a3OQVIlg40UWwLkWrattLWYjqLH12GeHLDq15JR126gVvhAi
UVyAM9gYnstAs+JbnVft9CCSAP46bOUKCfYcOnuWaCQ3ym7cihINgbXxC3FdDThPWmP2R7O2ZLxL
5f8D2QDrF65YGj843OtoJ0YE9QNW+QaOj2++KJsaeIwkFG2SigoG/DbtQPNagSIxYm+2q5EFE4aU
dbw/OcJ8kYboottj7++ZhbVzMUxY0kTXyklSr2rJ1pKNn8bkuH1S/1Z0jH/b2W85ao+JU7pxrN7F
lRaAeeEE9nElqKh539MkILN1VCfpkFu/ZqOuXX0wE28uY6zQWPm+V9pwUm3gvpHlpc8dw7cTUCXY
mZuMxSmuCr/Kf1oj+Za06bXmKEFnSJtJ6n+2dpm5dT5cqQbo/Zp233XSntQKYsu+DZwo+cdqGL/H
WyeT4dAIcXO6y2/tjQL2uuagd94cRkizUAnzxgP98W8RAL/caw/lNNsDAsz/WMjzUELwfBxDadNh
l8p6EYUAom/O+bsqmjMz0tF3TezZ10l5xAauV6jWaf1cgsfB5gKpBGM/2GdBu2gGi4kp58Eyypt1
EaKTcA6ujRUcQ4HnlpedUtwRI3HJIjiGSAbn2ahWmrY5wR47/Vc9HEv7kSwCDRDcFD+TbkVJVS4m
6w6B58uJ3VyrBRH85UM4AOrRHcc0eRCdZnRoncpwz+X0IsUPdr2fQMq+/jEun+JNBj9POlajNcgK
Eul6wRhhKvu5o4brIj4Jzt9lMEd95q6GVKLF0uKmRo9xPNYIlp3rFpaSo/YOejRBiHW5GWW8y1M/
ypvbPC9MCU1vYhNPiQ9GDFoZjCImJ/klsh670lPlO7MUUBZffkzfpXJOWbU6azEsqBwlhTfnKEgU
3ys9zA1ASOfPgitlR/jzbXsXxj7r2ZUusWRUS4b3c0Dtn4KYkGzk3SvtM1YRF1E9/HKs9S6NKeq5
tGWQsihCoSBS93r2w6QvBrlfEsEC4ifdhXcxnItTHMx/yUAC80n/SHpAGdd7Ov0w8s3cHNXlu+zs
p1zgi4S6yfm7QWkrBEE4GgPgoL5yQBPFuB7D/gpsnZlr7YRRl8CqXysXZ5epS2k9kQYl0KQ/xcVR
1X5HmihqZe5tTT0492c6s6N2HV5E9S5Bh2jHIOK0sEDvv9jQQ+9X39Rd+Sxt7O24FZmf4Hz85Ggz
z6SOsbvqdwCFbxIzIFEeLli0WzcBkRjOqcydWdc95jR8dSjcNr0tqiOdBDmGSAbnSCq7p3PLSO8t
81R1vyYnEBOwCRzwa+Z/pg7JouVypcJZsTiCHOqNbAB4RdtjFm3bu2VgvYh23D4pDL3ZGT9GWsYy
5hp0JIDqHd0lBzZGqv+UGxC4Kl4ZjluoDPkuxre8eJsmcDtswM7oDp9K2eksgYsZmS/NHkn7VTZ+
jYlA8S/64DMRXGgxa0C9WIwGVb/+tFR7mZ6oDHCxwfCs/LSuf5c9x5kszsZSPNoRSXCc4ZmBQg9P
KsXc+/K67CRv59KXBSPoFzXlXSCfMw0RzYdqgTaCRsft69GtNVEkffFZORPBGVU2dGOTdxgQGML6
mxOSfeKZN84GhUJwnwgH4kTSOPOyByO20wbzxUNItuNXVrTrKuTVtsv614MiiEMEymFzDzTCkLhZ
GuwBJdUvM+m9ZH4q5pPz/0j7st66caXbXyRAEynpVdOePM/uFyFO0prnWb/+LrrPF8u0evN2goPG
eQiwy6SKxWLVqrWUQ5QIbjLRl+JuZykfIIIlA2WM5CONL0xZNA8pOEr846Of8rKSK5zgRPlexid5
flJiQRVnu/Kx8gXuNjaTwWzzGNA+VnIsbtjlke6WK8YGHtjmW7YT9a1E34e7igtEDvBfYFgn16pv
Vts0thRPXjvlu7KG4rIlEs/b/krQ4kaoMzTt/ZW9irwTNaKQsnSjbi+gn2sK4UPbX+nDALeDsVLN
A4G+IHZwgGI1AM1XoLbboYnrkxkYIs2TbvTFPh+XREa5XUz6YiwTM4ASzDi+SQFo+ujk1f0icI9N
M6jD4vnB+OHfo+Nq8yRpiMNAQ29slDw9vtEKzxSRj7Pt+ZLErExwpyhP+ikMyg4cokZrp/1rOfq0
ui2ExM+ipbB/Xy0FFAFtVw8I5FH9sGiPpnVsYhGRkMgG5wqLHs1dzyptef1UKOh8hU7/35kNUGFa
7Rf35fWy0sBejf4rAagzm5+GpbepSIp0+9pbWeGuWADlwZpmIV9hVFaVn/gDtPaaPZNhpz6mXkSz
qpup7Moed80CMx2MA0WCzkhx/+GX0n2GbvqNY2NoFP+zQKrAFwuNOUm0rMFZLcIrOlV2ku87FHzP
G9mMcCsj3IUXTlkzJlCLxSP7sdA6W0lTZ5kHWwPKOPj7vK3N6Layxd12dWGSzmIDXFK/m5Ufgbi/
uO3TH1vGnc8uS6MxIO9vUM3XvzF0HZazo7bqxxeMVGjeI/E6vyqRTfbvq7MaF20Z0hmlhFhD47gu
nFBb/J6I2lAiM9xxJXXbyjKbYZ+nS6mUHDr6Cq7zP1sLd16nse61fkYIlZA/xg/N5PYisgmRw3GH
VaXymBsJBnii/lmV/Zx6UhrZYebQ6r/TELLo8+EN3DntgzRsWgmQOYk+LvKdWt0a4eF3NsyQDVWj
pqnrnIklzgYyDLiw1bmHcENzyLXE1jtRnqixo/H14vllh8d8GeFstq2FYzrS8jKOWr+I5aPeU1BA
pDu5VHa0VE5tOV1VZXfoJCiQlo0X1MYxnEc/DChkLMN+1wUgFSTL0RoMu6fEjbLKTg31rUjl2Q0U
w5VTeoIkZoRYM6f2oCiuYUEqBIAFNytNzTHyyq+l+e78Jm62KnBlg1odfPxoSXC7mFSFgbcZ822o
DLRXGbjjLS/6Bho4YFqU30gTVsb4CTI8ksI+jpGomo3fkEutPBmi0cutQLc2wb1ZJqmIB6PB9d1J
5T4qWn9Wde/8nm2aYFT0Bu4GVeOnhGbAQ7TEQNRZRr+JFTsCU+R5C1sBR11Z4A7qrAENsszomWYk
3Cf0W6b2h1B6OG9kEza8tsJ9emUcqkBjePbOBejEiRzljd70r2Am9TC6g1bzmNuiRslWCFrZ5CeE
lHHW1XFkozTLDRSvbCt/iFvoKAUZuGN+CBa4lTKujXG+sHQqIE3szUIAehteBrf6kfnlrjpBEDu6
Qk0288AZJFTPFfiHzt3r9UIBb1pQbhtad7R+0F6kMb+Zda0Xxt3mehvLc9EBfBE+vRMMHKu379S+
gDzA9f3vjCGsbbHVru7Yca5rTHOwAFF+6xtPLQSFcubLfHhd/z53h6NzSLOFdbImOtmqjopTC6Bb
nt/naeZWPd7LJPgucIxtm0Q3NTRTZHRDuTURTU3MCrdT9YKhyJt+J12BYRl4N8AyoV2r2jJa3aGT
uqE/vQpsb10nKvha/s82l0wYqZQto4F3TAfmewNiIeZrDLQOyCEAIwzdRYS026B2NtW1QS6x0EdT
WSTAMN5r2pIPs0846vs3Jo3CJC3CY7oDVdg30zZZu9JRPHBzupbgMG6HtI9lcyEt1011HAYsu6Qv
Qzranf5Kfqvvvl4qF9GaSTaGLEIvUbkGntgBWujyH+6L5grghd35L8l+7Kvj/loR3yuzrCjMrB69
0exA/PQY79IDxVNEND0i2Lj39tbq/EWhOuV0qFDELDMbRQpXCeGnRu2eX812IvDhl+//vrKjmFaK
BAd7xzQPMRe4mywX2jUukMmX5JAbgsfPZntn9a34kkGDVmZSMCFudcc0sPId03Jp7G4nEqkUfScu
gCUAJIyyCXCefIwhG9PsZx+CZb81gb9eDxdTCqPIrWLEMaurHymY76e/5FoQKrfvM9PC8JllWDIP
FjNCSoqpwRNhWZS3vqdX8WI90Ti/kg3RtLXIFLdpodEkBUbHUawaHqdMsevpvgJLUlEKDhH7na+H
6GNJ3K7FSxvkswava4hHgpOUCqrk26fn4/e5aGuadOzLBpE+WnwGWBk7b05GgS9vXycfRrgI25n6
UpkRdMKH+rIw/krA+BEmb3P/EgaxV0wvgpMqWhMXSuOir8ponEA+o8k2GECOc5W9SCn9MeWdmw/B
fpy1Y9l0HrE6R83qK80M7AmIHTmTPfJbrTdV+1g9F3RrqYo7gwLeGyAw9RgFU/V9uFiClPhfstVf
Zvh+R0vwalpyZI6tx6YoGPsEZK5c/dCgT5XY3WXh5L/BAMjuzg+jXAYZq6GymBaaBCpUknUQK4Vo
y2Xu9Nbs4w6zKSO0tViWUO5LF5oIoV2/Cftz2wnDx9/Ap5MFNTEUhsIKClD5HZteNBJnvJH9wptP
9b10EEkGbgfMD4PsD1rdBJWk9kRlNDlpEdtm9jxKNeCnJVzt1mhO0Eapg1eBSwtOEI/ZUqwEujWs
XDDfzk53gfY0ZHIu2TQQqi0XTPahvs/Ac1z8JCLT7BOeiUB882Se0eNKGNkHY6zPjxEE4Bkank2E
ipB6gqDKa/zq7TDETYIinGmWpww7uswg7MksVzOjUHBeBEGCR261FRLrQIOtXgmPUa0cGiq7VZsJ
0gaRGS4WSZVMSavM4HRP5jdSn2ILBbhAETE3/cuL58Mn+SCTykU9dHhzD997j/jaKb6MQO9tXRqA
pfZvouaqIjgDPJyrq63QTKv3dpe5gy7s5E/o2dSpPZ0YlVt2VXnFCXrQT5mXXcp354+D4FLkOdkT
aTDrQiUAhUfmboqXYySUGNgcIVhFNp5atDItEugjeuPRBYXjp8fkQfPnn/mltjfd2qV2e2DA8/o6
q+3iSYPKXeyLWmKC88Ar/SqlguLtBBZpXXom+YtaH+rlPlS/nd9Nke9YXC6jylOSD2yQioF66uOy
B51+cZKvB8+EaHP0s/id4ud6b9mhWQVQJSiatFQkKMkE83Hqhx99Bixooj8JFibyEy65GeIKcgQz
al2w4gd/t9BpDh+ZiANU7W+6XQYtEYFFwV3Es7XTSpHIxBj2O7fHZpbH4FC/mDZjwI3dTJhTixbI
RRdFnsZ0hjSjq1bRnakGp2X5HZYxVUfiTkwD0oT8cH7QaFJQNXgdSJOxS6TeGapxH6SFd37nNl19
ZYa7xKtxkKJ+Aa+LFX6Txwsruw2TxIm1x/NmNjdsZYa7utPQjKVUiVGrtlonb8tvjdG/nDexnYit
bHDHqYkUELXOyInMRx1kCj1q1DvJW+4UYut+7ps+o8L4LdDh+jtxZ8pQ+7wvaxziCXjKuDplsuEB
NWcFP84vT7SD3JnquyRJW7wU3N68iqwHTcRrJnIE7q1Ao5wSc2DBKARZCSbudGO4Vin4nctR4HOb
U4/rPeOOD3ryQ9IpeC8qVQfcH4UAbY9XQNDbGgZZHKVRHajFvapKeE2S2aG95cdG7MhV6Qx1fuiN
wE2N6JG9OOdahIoRbQR3ozeDWuXSAldVjH3yI+tviskLVUHAEnxNvncTS0GRU1aKDdB7bNXF7/JY
MD/FHO9L/vhxHPgh/TRuC2LFONka0ewgNO0keKqXUrAQkRUufoTWohRyiippMIC9q5d8leC/LPHP
ez/ziHOL4eJHPlZSV9esYq5KidNH1UU8ErwB1G/gKjv1We8q6SRYmsgmF0+USmvkpkAEbqX2aJRt
bw/aZJsK1P1aKDBi6tptpt49v9DtpIBYRANDmGypfIJnxZjXUEMIFixMJDr3lg7T3J1NGpuxZ1ao
xIoAbpu+uLLIvSWzUJM1DCFhLiW7CM3rtHkWLGnzRK0M8D4yVrQ2Wnw8VlmO98sJQ+NQ7wNoz1Yc
un8ftn0UvWlYvPriMSujnMdYEL6mBtPrK0EAmLxAJWGW7tTlKpdFhWyRn3A3QGnJ9WSGAYaqura2
5Taxc8nyC9oftKD3Wh1JSGAIfHPzGbA63GzLV5lcQetGNwrEPwasZ7ppbKInOYpe3JuusTLDXQrj
lBlTRFBCIVpmD5NrxN/P+8ama4BA3lJAI09MfnZES/O2zZsFrtHXdkof9PY16u7wGhXs1/ax+jDE
F8WJNmj50KNK0yBBfC+ZPIJiyZFuqV9BzFf4Ttt0v5U97lCFUr3oOe7Ad1Ado/3vL8uflqe/Zn8P
GC/PAZuWHpCYiiYWt8vlK8PcYTPMvICmC3Z0Bmpa96rr0AP15QQwZOGl9/Tu/PfbDv+/vt/7tq/8
sAmmvhwNhP/SfMmzt757sWJRsUu4JC4QdyQmZpnDCzu/95iwwXSK3lpXBV1teC1SmBatiDvNYRCE
EuYKQXQYHdR4sMPYtZpK4I7b5+pj27jjm0M+xioSeEc5XmfLNTUfzn8WwbF656xafZYgkKo6q3F1
JR2SUdmWpSdrKVwpfztvR/hpuExOk8awgC4sFAEvLFt3UIeI0LlLD9HefBPz/gjNcblZNSd63sr4
OOqOHnVMr1bv0wAqiEcgmPBnH4mfEOm12RraEMbGBbDevwehYwtcjScXJ2ZFmmnG5vVD5WuTtSsl
zEoGkqDVoApiEU8vXizgCBsl1jNxRm95YQNEiR8+1leKzSrV5g/UjtwWOqmzvTduFC+xMVKUeBCw
Eezo5kiH+hGc+CkSrUBzkkrwe8adHPxduPVP6DF50y2rbErHyknvjRshgYxon7n4ESVRQM0ZJSXw
CdipVV5A+cfTJsk7fxi284Bfh5rnIQcad25pjBnFiniyuo/qQ6+c1Pmqm++iVPSAeD/CX/Kb1VZy
IWQYpbQHBwRqcResAlggoSr80AOKKz1UXu92V/Ke3PSJQwXLFO0mlxMYUSJLyoAiUkczW4sIImRu
G6blnt9NkRkuspjK+D8IpTQcsxbgteWoRL3AIbfjpKWqULCxdIWf9ZH0RJGLZWAYj702+mkv20F7
yIQKkNsn8MMOt5hgzE1TYrrEKLPbbXSUe8sOweUzgrsyaX7nAxGVUs2wNJXwAwNKEk8o8uFtGaUX
avAzXvzUev2Nj7MywTkfLeZI01VWjIgvw3lwOuWlkH4HjA7m0l/r4BxN6hrwKi649g3r1uh/JtC/
i0Xd/s0Ps7LBfRgUPZYuK0C+wPLPILpZWl/OL6bFTiPBzNd27FuZ4u6ugKZKFI3oKM9HcweSViTt
5S4EncEhfzFA5h0do8c5tBdRE3i7LvZhmK81mFYUj4gsqL05/8DpYoiFgWLJtZzoqj0wUJEi8I/N
/GZlkst+87QhlrrgZgvqm0J9kDPBxKPo97kkN1U7LVVVdF3COvXrrDxUTSeozgs8g2ifX1gj5jbr
YMQSpvE+L72mDbw48Jfg2EUilrjNSfCVp/OEf3NnhlFQIzwM81PZXgQqaG1lZwpv2/R6KC7S5mCl
p3J4On+IhWZZCF5liXlXz3nCNCbno+KzbCrYlwemXhAKmahEH4wLGGY0J2QIAEIZ9DtrmW0yCzxu
OzVcuRwXLQBHitFNsVgzZfYsTIsO++VqAodgt6s7W5TJiNbDxY22HWnUs2osKOLC6KkWjs6pm1fT
aj1cuDAWTdfTDN31Nte/V4EFMjp6Y47Gg1WNpzLv9kU3uU3UvMloiMujcZK1/javc6fQQ28p6MWQ
ybPdmJljkOm205BlVYONSnWH6pX0o8TVE2r6vikWL8hU0QNn8/b++Ot5jsC46yB5DPpRd6qvlzF1
B4wqZervME+szg3PDGjQpAjyGKNEpanYlpmAQ7JUjnnRP54/KWyvv+Raq9Vw4UYdklBFvQXhTHso
i8duuIqlQzZ+q7K31npWhHBBFh7P2eNiT9OOU9+3uJXmY3xXARk8X5eH0Mn+P6hUBWGO5/iLjCFp
FwwxuJHe2FUd37RJtqtqy9OMOzkWMTQIjg3P9WcV0jTP0gi3GKzXwsK47iCakBItiIs0gBVlQVvj
sdMEnc1CTdL/zObrdjkluahCLPJyLubQcOyTlCH4auOqUBu3GF/1eRHkqNs42ZX3cbEmKJWhCgu8
K+LSPKWRfBVk1JewcbOSH8cZLB7T7OtF7pgBNCwL8Fx3+nUylsd+wXx8lZwmff6eKNYhqjDXMKmO
mVqXqt6dCr2/j3o8BWl/oSUiaIRoc7gARqQW5DkyWrJjdUX6qwGYnUWYWIuSG57urzfzUM9TvCil
fQfuCPYEYoSk0fPkmLbmlEAMi/SmBAszuORGWTBfFOiovYZaexWBMW7JQNs1maKEkUWVM1GAp/pr
MN9TF0zLbbwd/GCX44LWfyClB6k/4+Q9H+IEx4aHcI66FkPTGkAn2bpqjMWuAapMyqewuAVHl3fe
1r98NDAFWQY1ZIuvGrZFt8xxjzOaHACxdZTn3IGgDab4ewCqUMzxA2cQ5QfslHzdzV99FR53JLV5
oHQqbHY+I3VmRGuTbLe7YQ+KAoZNmC/UfQ3c4lV2KeKk3PaYD9vcCU6wtVJRQUx5AFnZGDd+oOL/
IxEibzu6fpjhTlwNGrmI1PiGQ3cayme0Me3zH+7rHlLVIPL/dIchdI09XiWMcq10TTmCCaHWfUty
zBFgx+FHDIhj0Ngk+O8R5LM5LrxmkaTVegVzAeqKeryvJGLLmqi8/HXXPlvhPo6iYDh0qGGFgLlc
PtWRwPO+fnz2+xCeV1WKGsOX53hPw1juI6iUVrcLyey5H+2MCgbYNl6Xn61wnyZP61mZCKyMGJcb
n6Rr1at3lpc9MRrowZPdFDLkovbQxkH+bJX7QiYBondMIHGj2YwIPsKzMnLjPSKwX3nZN8jm/syf
z/vgO+3L54P82Sb3vfSqneQo/B9dgeppe+m6vtLfq8GGE9yj/dYiinRO8lfhaId7Rt8lFmDfgDB8
/iu4s9aZStGVbEat9ehxuAEfTmJbiF+Rb4BQUfbHA8pviU29bCfiNPgaqj+Z5t/zA9qarRLhYrWG
nbwMzlAc28S0Z2A2MMQmyD7YOs7sNo8iiMd+DqMUu111kRNiyiOjmDpXBifMQtsI93F5Y5hP5z/x
xsP08wq5fDtMDT1VZsTq8NvoTYf4WJx0G5Dmp9gXujDLpc8tkMu1LV0f9AIs7eikIn1woQP+qF19
X5xoz6b3Y1kQQtk5PGeORaN1CK20PJRztp/Va6d9m3oMfYxANKRU8OE2HsSfN5HFpZWlBeTAJJUG
pqLDlG+ZNvywB5PpERSbe5HYryDIES78JK2STSk7lHk0OjWBAhHYmXQRikxkhQs3yhKOtJsWdiGY
p2pedmY3Xep08c773/aN8CtiEy7CzHJmSFauADogeXX1aOj3f/b7XOyIZUD6hhHLsBq3S1+a7O38
7wu2iX98632Pefqxg/Qc9QPrLtCdrhCAiwRbxL+8pYQ2chrI4KHIHmf1ohRNFAnCDk/DryqRmU0V
YhxTsmdDWPEB449CsnDRTnGHfyr0LFEH7NRc7mIIAYb1oe1+nv8aG52aTweRf2L3rdUtQYky23gM
LuN3chD5gAc2hpgNqCrmN6x9Gf2s91Lrnje9vTwd7DeKRlSDH2s3Jjk11QZfaax9KIXWsSdpgubi
tiN8mOBCNTWLjk4xokyTQdPpehkElV7BEniBBKUeuw5FAnR8ZwmCqpWtW9dZ9v38Pv1LHoP0DCpY
aJnwD5JyaOMpZcJD7VHfBTttH1T2fJMfc6jimt8Zx12qOK1gam57aR9G2dauAnQpp928pOgvV9Zb
HCF3Ue8SLFCwtO0L58MK+ytWVui4DHHA3j0DiHCg0LMjd8Fh93M5sotAPlkPrkjMc4OYgjn8h0nu
MqjKamypiYUlB3rUMJsHIFsHAnL1ljU+5NvJn73cS66rE70fPIJmZXoh+wBT39cXsxs7ypHlb+J0
ddtXP/4u7vrIQQjUyeoMaAfQ9dF1KWLzfXeTr5f7hwHu4lAsAlaGCIeh9oJboGhP8S6GEsvoqm4K
BlkRVGVrPZD7M3WqEQqMuPz50yrglBjDfsLZGxw9yexUOEC45aJrC9zp7mnd64UGEJ1SXzblscx8
QxGQ0LE94ffMsmSCRIvqCuFJK4ylySU9lPA8UtLdHEVXSW1huos8TlKwg0Y18Meye/5MbK5qZZL7
TOo8TWSckPKVg27rIejrrwNN1NQRGeEu+cEiZd/meBotee4AJnXKstTrtViwls00b7V/vBPIC5n+
SdAZfbxkG6dpTzEnAzCJW/wUZcubHvexc/xQQi1n0yRXKEmZ6b0SvqaRIK3YkKSiqmUpoG3QoP0M
pp7PLi1Zw4iuBJgdMRHrATb33qdUTgDBmofsNCMv18AcDN3J5/mkHajgMtvKOtbWOccgZli3uYms
g41+9ygN/ZN1/PcB/c+L5FxDk+K20TJkHSoGnNpdB1Yy0NrsRGa2PfDXXvL4JTnSDE2ZEY00NbzX
oN5no2x5TKUmENwxIkNcQVSKoAeqqzC0RI/y5FTJrSYiQdygefy0ZzyGaU7opOcaHhjkWnVUz3oL
j9TtgQFMgFRK8FYjh/NBYmPS7rNFLjckZWfkMoUzDN+LC7BXQ1GjO86v+WX2FmBUv7xJodhDUIrV
71oRm9zWpb1yRJ76NtDmKjRnJG5taDiGfATx/G2piMAP/xI7PjyEfdhVbpDUc21J+vgPtcK7zGrv
x6BW6K6iI6nsQET6KDTIZQaTUqVB1+MrSntzR/xl35xa9/+EykRDYaJg8o6LWy0vV5s4JRPkR6OD
uaMOg8IWb/klPYCThhEJvUZPKKZDYq7HJj+cdx9BKFG5UJJYaTuOBOE/Cb+piWZn9WutUJsuF6l5
kDXcbqIclt3FXy/Sj4/JRRXSDnoHNTEk+0D5/TMSDjFGHxcBlERE7QLBkeephLQm16NMRggL2re8
uuignlcnggaIyAZ3AC2w09aTWsNZlKeMehPa+LOIJ1Jkg114KxdRRwPyWCUmWnXlsuwGaIvsrLb8
s/jIV4CzfuhCkMKh66lITqbZkQbqNeqfd7jNCvAqZujc2SooIf3Q45Mwxst5t/jjN1bzmQwbt2b8
So7EiY6iG3M7IfjldDp3X7dLkxXqu9Fhp2iXi0iJUxT3edXxrNXlRgL9r6u1Lwu97ue7Vrkpk+dI
/qHRE6jU9NayzWqvZ7uue7Pqv87v6nZ2+rE+7lA1RKsBb8eng0RDar4SLUIT82eyXJL+LugFn1Cw
mXxhVzEzOpkEhQLE/12T5Aeale759Qj8nS/n5mUTSFqB9YzkJFWehKZKtP8zE9ybAY3mNi1bXCo5
ujaDfgiXG1P6w2VwoYHE6VCWFt4l9XxppolbS6ewpn92bHlUVpmEgZWzNC2ID7S5qYjslPUkMLJZ
6/44ttr7v68iUArinClW8YiLIH/AQFgFQFhQH8Sgl+hC3P74uqzJOqChSOM/Bzsrw10YslHVSJ/t
0qwfhzFw+lokebZ9Zj7McIEIrGxjlRuMf6qMLhKwSeTmeIgkJGp60Npm0++oSn6cd7rNp7dlfRjl
ApFqEaWNVbRYA7DpQUKy3I3QPFxsJhZg+sNj4NSi9Em0ndwV30TzYuYZWEub4trMMR1oORUVPIiE
6+IC0FTVZTomKN807uIrUOxKFhCBTGhPlG7kZU4n6vFu1sJWO8lPShkJ3vxDiScYxIJaj5GxRVAN
ejZfM7t/WaD6V9/I+zESxD7mFF+zl1/fjz8GQ7t0uSkB8jREj3od2oEJDVsDJLDqo8BTRJa4+GSm
XTBFIbLC/u/JZUlv8Q6chzm0mDSHPs/74Eo0Y8nc79zyuIClTQttjARxV9IvMvNBpc9yAQzPnRmY
gtD4Lzfmx07qn085iRpK9Bzr02+DHWQzdrmjXPVuYOMG86EEKAwrG1BF9lL6sMjFFXm0jDke0Htm
JQjNnw7903KYoasOOr8TY96uPDRE/fem7D58WLzQibx+H/0lKk+ITgsPUMg7DeB3irV37gCIR4py
JwCRUFhlef64FwL1mK+c+6xc1MmaXomVHpMlyaE7aKf8EdIQdgU6PD866neqoDwhCDi8JE/aK7WV
EA1M89WtDlhgWdiy+jtwiPXH5AIOAWGxRRuMRKi1cpJZk6oW0T3/yzPwl8PwlQm0j6c+nxE5O0B9
ftJdvA+P8qssQ81xecr9/w6/+eSf/JxVFoA5vyHwitgERkUymwNVAy+j0dv50CL4PnyNoiswDgkm
Y2ApVQpCN93WivZKysK782ZEEZqfompDa2pojPUw3DaTahglu09sZSf7DRKH8S0/tZBsP29VEDb5
kkTSLWSMZBgNsqs6NjyzcsOEOpb2fN6OaBO5YKJjTiasGVJ8aR6GqbWjpnTGQnH+zApb7SrrWrTC
lMoAmMow+YmWPCS+95I+C4xsdv5WZ+lLASJJG1AVYi3SninKyQ6TRGYdwBiCyNVs9y71cyAUFQEa
SLSHXGZiRXms0AVXeFieTMMzgIkmu/MbyG6RM5GPp+c2sjxPjBAds45Qe+hje0pFc/WiaM63L6c2
DpFLYspD36V3hT+dmue+sgnEslU7vE5lW1S02eD+/BQpNK6SKQdLEGZxj2ZEtCx2XETOmM1vncUe
7dLstUb+96gk4Gkid1nePp7fUsFX07jERIFDKoDsEndqX9LlZTYfY9HclnCBXB4iVUvdGCbykGCO
bkI1s1U6uyRs9pqSQ5V1vCFR6ulKcxE3oaDRI1oel5eoKhjZrB7LK6mvm5ON2RZ5EoRGgVdq7G9Y
HWsFQV4iuQlNZ6pdgcD+L/IbsqCfXYSLHHIyyGoO7TC3bvxOuwkoBmYaUXgSrYPLK3JF7k0oFRBX
pzcj8TKRtrboW3ABgloVlHJzANfLuQA1Jp7qL7roewuPL5dJpPnQjKGBG4MVJJmu0PIMAgQgbQN7
uBQjmEVZBd8JU0e9WDpGSNy5ssMKoCj1ui1aBKwAKgI8Cb4Q3wmbiyxFfQBfCNRcUICc0VsRzT+K
THDxgEiaHkczSshtnN8HCp7sZSSAIPxLifxXJqZz8UA3dMjcqszGO3lp4hI/9vLLxA/cJIDGGftY
qi3dlCDPMg6qaMhXkFTobAtW57Uuh7JPCvQDxsawM9z2SRbYneZLsn8+tgqdg4sMahNUUxshne0A
pa/8ab9YbngoDxnAcOQHFTHhCw4YX4w1h2loixTF+Ewf0f111WxwyOT+4aK4MFFZWZVhbuefr2f4
mT+PtuHkB6ZLp4PzdS+wJ/pcXNiAkmAQLR02sSYgnpw9FRXm2pG8+YZcyjfTMX6le+tVlM2wVZxJ
NXg9ldZIOmABMhCE5cRTSYQxGzCOj6Fyl0pIPEYZZYLzCxWcPL4QG9V01McO1FlydaWRxS4TIrDA
Yt+ZNfF1WHksc6sbEYALgIT16CXU/Lx8NOa/wvAuUQ6qKSIMEnw6wgWTZpSjRGFsYGUCdVVV2kuL
AeXY/milf1gX4ydnh6iiEK2DKSN3xvgp7r2Z3v7ZB+LihjylpAkGIIyWnDxYKpvcbwUJrihiEC5i
TMZST6UFrAMIFi7Gy/Sy9RdHBUwpR99XJCoouix5AG1jGFI9A8LnyjvjmiHo9Vc86fBcLaG/MO/T
t17UYxY5ORc8oqA0m461AnplHyePmnQ4/41YMDjn4lywIKQaTTyHUbmsJLeJm33dxo6ZtxiWBQ15
M130igiIIFoSl3GQwkz/gTxn1l4fd6OI/1YQ1XlgLQmDouxmuERq3g8gjdITe44FN5Ug2n1B1hbU
CjQC1yYyuHvaN6sZj3JwNEClmgue9CIX51G25SzVodJiPY3LCgmxF/wo3lUI3qHvb+f9QRCBeCQn
sHFqEw1odEzGWzTeJAGGs4Gz6Uf3vJ1/aYT+yml4vK3WjWkYpsg7w6f8yvLbS9XDylztriF4cSsO
aDcg3ZrYIgUVgffxw61GmgWGLuHVXWfeop/0RbCBIu9jG7xKlmiVt6A7QGMNQk9OAAYRy6h8tbUE
7zTRMri4MC4tOGxaYE+CQLkc6bcxD0V5hMjHudBAW6NtKSMeYHONhVvck8TJ/NwJAfO2/s4xq5Q8
omt4J9L8Fi2Niw9j2mtdOWMH68aZ5re4bgTX+rYBUyG6ahjUJJwBfSF07KDU6VoktK2xrmyjKAeB
EfYjXwPrLyNfolDUkyqTsQqq7PoeLKnPaf04luau7O3ZNN3JXA6CI7Xteh8m+boISBMldQQUIzow
TkoMpKMg0tnR24AbsXMqJ5ftSbOXH+ftisyqnz1ewVjO1Oho87Zzb48qsWn70E2780Y2R7ks62Nx
3Bso6IwhXCJ8NHVnXYwOMMpYoJI44aV8yJ7TA2DSe7x97qKfIjm17ZD4YZm50+pEQwaMYAoWlpem
skNypeJQy+FFUj6eX+LGPgJNKVsQhTMJBcz2s50s7drCHIGxpWXnRmbgYr1ua4ben5nhPpfedeCh
aDDW2mC8lQayncrWQ7x07nkzW8i8T8vhPpihxZIklcDv9kf5yEZ5Uy8+Rr7lqPehJ0Gx1jZ2bMjJ
0mzrQZQDbBzxT8a5b0awdZnSRLpbDbWdt6OtmoIMQPS12L+vvGKOzWShC0s8Y0+Xvlvzruz+e4H4
0yK4q0STpLYBdgfd1uBWHk5VdKCiFH2rD/nJBnePdLhISqPCNcxeivJl7YC+BE9uSDddMB5b62YM
BYFR9Gm4ayUO9ZAGAS7gwjpQ7XstJMxhDsxF3k9L4sN7PS0RoOrQyXicHVZGSC9rQDU8xkSZXUoC
P2B/7hlr/Cu0zce+GTO4uTldF6qz5J6+vKjaDexjEs4RHCoWA85Z42JEHE7lmFsUfEcJnm3o/2nz
PeT87JLEtjRI9pB6RH5CwQF01SLBYdGJ/vI6zbukhg4IICMYxm/q/kab64t2ir7JBWgPSglEcxoA
FkP/90jT+6GpLgZkx4qUux3qLLba67u4BhpXasAA0zhNWP731uv6y/NvWoJCWRVQcD5A+482stMY
DhiHBN9g4zr4ZIQLLYrUhkW/4MSU6VGrjkukgHfy0IW/8UD/ZIcLMKDWS5bUxG6T+rKSQrdeLnpZ
+E1Fq+FizKA3ilFUKNvoOyYoHx/RiVIPyo7RcqB/c6/aEEZSHFGTXGSWCzttZ7bLzGCwcnPBelOE
ZK6k/j/SrmtJblxZfhEjSIL2lbbt+NGM9MLQyNB7z6+/CenuNgdDNeJoz8OeB0V0DcBColAm877k
1oo4YMBOiSqRgiHRFkFstA8QMuT+ACQw/RDREJ+LdKtN7N03Y6An1cOUzBCFQMhs+JKDMS7kuNGw
QmfTpoLjiJwbiI0w5Tknmdoj3NPDworjg1zPdsyluNp4BayXxL500VovhurUqE6YjoWFhrGvJE1O
U6beND1Bl4zEGSXceu6+M8jEJ2qTzHJl5ioKBBMmojMM6+e2fqYFAtPhFQh4e8gEKWKTpGanFqoz
dqfZOPVKbA3FVw5oc2489qnbiOYArUfkcEZ7cqbTb/4F06UyOfUeYMVlR97qPcAeSipiSVVSMS2J
a2QVnGSdQfqCzq9TzZryk+jSgXnNEb5oTueKJ3FXvvFO9MZ7551JBhaXqZQhHYLEgSqDNju2iyK1
a1G2EijldCLICPyBNzrDM8kgpJrOIGoccADmQ7eXdtpe9ak0I8/Mto9cNpOByFyJkx4qswiRosJa
5GdF+mmWPB/Zxql/jbCpZrWu4iT5XST4TXsT7FWXlsWooiWPHHbbIS/GmCOWL90sFCIcchKUZ71r
HquMd3v94RhfbLAuqC9dsBiAwtodXdFNXcjEnn4vyNzzgrCtxOza+9guYFDwGWPUw1rnDc7sFh6l
ce8OoyM67W2/4xHHb2+gQohBIF6AN9v789VNcjJKHe5mQftiQMSoiTjYvh1V/muAbe8MZplEmgKf
M1PQ0Gudp7equ1SLY465q1WhP6A/wLqOU9t+frHJxJYJVKGXOkHj8bycy+wunhsrCnnl0j98qYsV
xvfakOiGRh81zWuBDuDwUPvBUzJbVFYVkw+5xXsK/uGJc7HIeGJZ5YpaQaMPwifWb4Ku+bN5Uzv5
0+DT8eUYQ8/Xd5LjHr/+ohX8poIxqFoL+J3E0gkFsIJKXCGgbfC7rIoBP0GKK9KGYFWUzEq0+1mC
cmakRlbUGjbYyk+jWX0KpdHRUuWzOZtO3I+FKxkoVNSLJyfazUiEQ1OIni6njlIC2moUg8Ys/mGS
+F7NBS/KyltIFNyEA3nsjK94TpeWLs+PxMCMXaF9VaI6s3QttUUBgpqL9KSOYJoR9DcM1dqtXp6k
cLpv0IBB5Glf98XdIupoLG++xyQ+z4l5BIl/b2FyxG+MZN9OhWuaJUi3ohZk1cWNNmCqWEVXs9nW
Xhc0dlxraIEYvSFRItvQyZdEIHZf6PtY7WxMUH5ZlvhGmlJ3EIIDGP44VXjeR2WugbotWmh5os9p
7E9zDHpJjtNs9aEBwy5flImJCehMGoFqGrSu+a26o/Tvqd/l1oBZP+hJuhi9P6Ih48gjJPtD1Hox
zLzI5SQ2xYrgRW4auyp4GOubCBM75edE/1INP+R2H+QeGiSd64eEiwQMiGZKEWuDDrPRfkDfHZrm
b8NzZtFp3uFsOvLDdXsceGPbWYdEDfPIgDlRP4bCdzCID+H36yY2ZBG19Sdke1gFPZ0Kk1LIaWf1
lhZrZDs76RYEEu8NZ/G1R9lr3P4z2KBcBWLf2o3wmYc9f4j9/v2abH/rqIKTFo9yfE3pF30/VZ0V
7OiFjnBqpUUVZwVuHM05HGyz6ziUo4LWeZQp628teRAM9/rO8n6f/vsKUcc4bBtFRKg3TS8lWJdF
CI1dt8DdNwZQ2wQyzCnlSKF0h9A8eF7ewPvd/B77vpdf9M/ajbm7bpTnkwymDJExNg0tRnXdIeu/
95JlJJz3FG/nGFTp0eU8ZS3ictIdKu3cNJzZF94SGPAIwmJuDHqK4/RQkmOaPJvcShSlyPiY9VJF
GbkblWgiEzNAHwo9YyG+/kIZ1AJPj30yvfS4uDtXR6I8Jp098Lquti/Yi1EmbAAeFjnEE/CWD55i
5VsR+D25eRqlx3IOLLPhjX1tMeYBOy72GBfPwC0eTRMWScmUfnOBgfzSEtAkp+4Cpzoqj+Z5cUsv
9tQ70UkwI6I6hJNy/gMoX/4K5nPK4AAvocBLOxxGt8M8PRp53lQ0BLZ75Rg6Mi8bvO0+F3vMJaBN
QTwEGYpHinhrmI1Fhue0/BuWtfXesuH0UPd6O6kafYFLnvREHwe1o7wSG1KuisVrE9k+cv+uiW3C
n0Ozg7Y6CkZi9xDoJ1nipDm3k2e6rgPk8T9WD6PsJh0965BcqDPlGzEWdxCDh7bDuLwm8oISerQ+
Hr2LLcYfNEnSkpHOKXUewkaIlwtu8tLg9pJ3mc/buD88Gi/WGG8w2xDyoCbARH0c0OQo7dDvTL70
jnlIDqDf+4vmGnyHf82xovB5OhfVEEE9QCwfBeE0L9/+Bt4vv8+8qNDjvMwoAwNCNN3KQQKZp6pl
cicYtv3tYoaBR2GOI6Wr8Nwwm1djAidW9nR9HTwDDBTGUZJOQoWQIq2OZfwc/e9injRsuiyA2l/d
7rMaVENBR16N/hls9+AytoXqIeUmg6mzXnFmVqy9R4V1WGiFdfCSu99RZ+VJb/mP8EyTcZLdPRQ3
8IbjxJvX3Ia5ywqZix4S8RBPjzGlXBWT3zeRJQbFQaxrThCzfWddzDCXPaL4IZsSXPbiYdgnt5CH
R4mVz7rC8wcGFPRIMLSkRPY+qpa9Opq7Lv3fNX/euwSDBINESBxSHZZx+DqpvlyLdtXcmBO3osYB
OFbJsy/NOQtFFAj+IeQY3ky0VKuH0kOY/PKfDhIrzd5A4soUOhhLy7usx+SuymHj2P4y4BqTJYyr
m2yqWQ5yMZwm+JlcuGr3rKSv1xdAHejjCbr8PvXz1UmVS6EyDRkLqIPeGchumd2mO+ppYAklJ7D8
9VC5Zos5M7pSyKOswxYSUUjpOdGtotqSMzwad7WDIWC33KPtHfSvi5u5hV2/jLu/aBYDMF2Wy5wn
NdTSTlVxkyu66HYlqION2L2+o9uX+cUEc5Y0w5gh6IxnR1qfEvlTGX/qpcnKK17T0x8iu4sh5kSZ
oZTpsoHLSDlTfcb8EDm4XYPdRJuDfDJavIh2+zaXJFkClwFVR2ecBUMRuZlSRpXWDSGQQUkTJpuW
FRufX3vbRNiVMcZbhLJfskWDxiXaJa1kiSxJFS0herz+tbaTNCszjEcgp61qCRi6gLCU8nT0o9ti
Zzi63f2UH3W/s7E2X+ps8v26Yd7yGDcRABtGUCDmy5KTOSeWmr4Y0vN1G5uuuFob4yGjIlZDBT1q
Zwqe63yxjOimyVwt5dGbbILIxQ7bMpEFYyoa9KUzdeIhydAOkMmF08qlVxaNu7QgofhPC2OLK2KR
qoVEO0Jk6SCXD7W+l8DlOnMShL+yOx8Aa7UuJg7TF0EppAbZn9H+zbMu7fV9f6gg8JrcopUL7Rl2
e2r3Ap5xOZIwPLTiHTi2/yFcBHHQEjxZf99lVDjS2GNMEiyDsccjFeJ4JFtyCcHIqwUCXgZ9+6CF
hzn1ktq7/t22M5OrHaV/w+q6mVSpDET6+ghvqDpvbZd2dZw9Orj/F+PnRFyZYvBDXLQqigzEhkt+
CtU7s/SrhPMcoGf0mn8w2NGIitYUVMKbdJGjYa4pfVPiL0J6EySnVHKv791mJLBaDwMYRJ21epgx
O93kIPgnY4nJLfPhuo3tnNnKCIMYBB03slLDiHaWbybPAMd+5nW78qQ/S40lOrR4yXsk8o4Z2/eA
IbRWNmnSrHmtTikcg2bKyVH7HNuqXxxVHwMgTnGTg/QPOlx7HkkIx+/Zhoje6JbJ7ECLoBpfl8Jw
4/G4RDXn620XrS47yzb9t0NFTKQHoYaKGotFrxrzBiRhqpvuNa9BDpdgIonzOTkuw/b+10EilypN
4paJYoMKzZ54aVze3tG/YHWeZU2X+4SWaVPjZsrPrfxDDjiN8ZxDxvb3D6Ajr0CgpULftXkqysBW
0+gQyoo3QToURHLWnHacj8XbNwY6AileBp2GcE36WU5PQcMJOni/z+CG3jRtGEi4L9XuICSvqvnp
+jHm/T4DFeDslFEixVfR210WHInGSSryvjqDEhKU0oKMSmGohm+Qm0p3Kh7HC2cJrMDUFEAhsdJh
IhDuUgz8qPPr9T3amsFd3w+snlTVLOCRASMsEqPaoXCyR8FW0WcguMUOjIdeCzYwyvQU+YIX3tYc
p/7DzW6IBhLgiqEYTCapNrsB5CiIbmkbWwWSUwSdFh36rcBAxkO47c28GGPiGGL2Wh5PMfo8yV03
fckGHtUizwB5DwPVArb4kTJwlw3Km/WNPHI8mrtf9C9YAU1SNBDWyMFuRilMl33tC7Z4J97WJ0pM
XPGyO/SAf7zYLxtGD8DKmjQukxZQebNEzaH3EoIPq3NlAZGRbF13w210u1hioIZo/RAmdKB9iAV3
gdRCthuzN3VK/GS20Q7FMbc1pQWvv9hjoEdpKp1MMZ47lDppRvsaQrEDeBytX7Jte1pMzHxeQXr7
fXAxyuBRpk9FUNV4qZaSYk3DQdM/acq3RvaXjpMu2UamiyUGmWYpa9sGCsaOVBk2iT6TEnQvvBlV
znLYDJNSlGHQtIBvU3mbNausvrb51yW4WXjxJccNP2SXiPH/kkOVcpLb26b/GmTnuuLcRjyfMBl4
UCRomk80idU540/JybzfsjW5jV6FfI8WApTvxyMvm8DBDJPBjCRLBSHrU9XJupekuhF4XZq8zWMQ
I5dKMShp6b4BJVj1ddahgYByachj7uK4nMlgRSKibbZcEJ/UYQOKsA4a1jp6eB6u4wTPCoMTUHZO
U6gO4LR2HjrJrWT6jAnV6zZ4O8ZgA5nnZlLUUnVkEK2izw4eR+5N3oAy77szYNBA/SVpEjSoJ8VZ
EQ6aylnF5umUJVXC1WpoBstbAOm6OlJFyPHJxZ0A4iJJcDupRD91YaGnwb6+ZZuLuRhjMx9NUZM6
prKn0MnTy7tQ/Zti/+r32TChzftykAso2PeZVUWemnMOP28BzNnXQpnIeQoN7Exu/CwPPT1tOGvY
fvqsFsGcdE3oI0j94dEvSn4xVhCpcpfmtVVvevIpUXZxfYYMV1rtTb1AqetZ5nnEdtZh9QcwULDU
utpMEybkVNnuTvUhcVCEl23Tz4BtPDbEzZO6MsbgQSQGojxKeM0uSuf28nBqIv3GRBsb5yrn2WEQ
QexazHVHeKqPmEcd9mXvczvYeCYYQNBaOcfzMVadWP7Slrmlpxo+EG/sYWsSlEB04p8Ty450pEYo
DqEUoE7n91R94iF1p2MEpdAS+qSiiXGLxurO4y59VP/mIbOyzIQLWhs1AgkxmlA0T830thhQzX25
jhCboHoxwSY3EnWSzcJAAcfs/Lb8murPqehM5o/rVraLASszDFBkUjSmCyVbHL7VmqW48ZfwTM5z
Zge3tCmieh6486D0Jz8EySuTDHQIodmkGg0bfhNNoS3tIO518N7PO147OMcR2USGashhMcaIuIzu
QSe3YnNWFP/6Dm4DoWJihhwzFh8kUMwohaw0TSmPKd7k9zFP2IL3+8y1hyhBHtRFwRI0YpN0soL2
r1pv5MsSGG82+kA0uh7Igz7fHLxYAqJ6wgNz+iMfv/q/RtiuS10N0qDv0aasnRcEii2eEDJkpSKn
ewEFZ4pKa7lfEGbZSWr1Ox4X0nau8LLGX/++epmlczg1bVqDlegQ/hR/0j8gcUC1uxNs0Jx8y47l
frAXm46NhE7j8UZH/oBVl+UzTt8rZbWYNHr5R3o1TS0ITv0gVHp1AMVu4ho5tFFiL23RM83B/G0w
uVhnb9KgMgKwTwFMCsiBdjsJ4WZRHpvSu34Yts/bxQ5zYQqdrqahDE8yiu+afpS0wC7/KgkmG8QU
JR1KWmzvBumljpQDIg/JaOyqazx1Vv7mNbgywVyRSRLGcymhwzucIT52wg0jKH91g1xWwVyRhSmI
Iki0FSdobrTwu1Q+pjwCku2PfjHBIEdB8rSvA1pdgwyCID4bbW11oW2a369/dPqnfjzZFzsMfBBd
7CaxQ2qgiQ17QiwWVW/BvC8FTBLwNBe2HexfW+wTWiwKc0FYCKgqln3VJEcxrHaJGO+vL+kP1+LF
DnMt9tChqVUT16LiF0+0Yt3smtmmnUF0YDR5TniZI97CGHyYxaoRkgL41IIq1QytSfblxOTAAM8I
AwO9PM51HyKmgMCZNSSSZUIIRk/fOJu3DfWXzWNQIErEOqwNOkRik1f5U/Ga7cHvaPW1ZTiq2zRW
e+pulp+GF91nNm8ii7dG+u8roDdDyNhnIYA2Tb4raA0pzinhwMN2UvGCDyaDD0Mliek0Yh+Ns3bQ
4R25XTvpExjbndDJ7OvbubkgglephkYFaBIyHy2tCsiC9ThepLpXBTuJbsE5ct0ERYIPJ3hlgvlg
cpLXRRJjz5oQo/vTpwAMgZEfQLrTuMv5TbibgLEyx3yiTq2nvDRDyvypf+v2tJg7HBu0hNDxlsaW
bKqnUdi8EV+6imurZL5al5qRMGhIBS8kuTWKwS6N+eG/bSSD6mW6hG2PRIVTCQepzpzF+JIaA0p3
6F6d9ub0+t/MMQgfpko3pS2u21wZdgRtkwHyv40WvM2h9ARaaVeVeeHo9mTL6uMxaA8iEqnpZyCj
+kvyr8BjKxjx3opLK/mU+poz2bODaV+ouOt7PJBO8pf+OPNCVs63ZF9HYdmYqTSgDNJC0Lw6RMXj
9Z3dhLDLKtnarqCqYzuk+H3ll+Zf6hOfdjr/Va/BygyD+ilkBXUxRnFXqA5ZegiObXJ/fSHbWLUy
wcJHmUKsQ0ENRzzQzonJ9ASbQFsQ62n8eD7x0rPbrQArgwyYlEZrjHqA0/2baEGwcFk7gaM86vf6
gZIxJmfhv+EXW+qVlGVOqgZhmjyDbGWeLa38MuUQvJ+sWtnLA292led9DJKQShgas0d9vM0fB+V1
5oW4HIDUGBhReyMrRQn9V/Li6u2PJvvRgPUgeRTKL//ROxgEyYW2F5YcyW7KSLBAryY/q+5k1/vO
Dz1ew8ZmQLryDAY6BLDG5HMG6IhGrxO8WLmpmzMZOB7P+ThsBXgs2wgvTcD8VEAdTqsOpjx417eN
cyWzJeDYUOMwyFB804V7qPpaZu0py6frNjibpTPQIIgx0UhY4r1c/OzDfR72uK/2Ut271+3wtovB
B7GLTUGukA6U5XOXFnabS851Cx+92SCiSmQFGtM6cuvMZ5+qasilAiCXKIJnaj876BLnqoAejAnk
8rykLcfahxfC1IStSqUi8upmxlxyO5+TLrA0Etnxwsulfty8d0tjC23G0ApLpGBuxKjbozGKsVUF
E6cu8dHZ3ttgHSGtm7SJMNSRtl7QIKbonW7mdr/Tz/w+OKJWNM2QNF0CtT8DOU0sY4i8AJ8UZLg8
yk0dOMWR+EgJeskhs3kdih8jzvfmGNyJ0nzqddqgGMt1i2Fy8SBpwlMkLXYkC8eyn7xl6jl+uNFH
/t4o44hDtQSamuDxONryQbxXDsq9ccgP8XNyK9iNG4FLtTsgU43wheqbF77w/fpJ2HaXfzeZjVqI
qEXzTF+V4eJ2yhdD5cD5tqtcfp95tRpSKZGqRVp6rEt7NvSj2Ma+lA4cj9yIKd5tJNuTlslDlLQm
niStaqU3kI2yyh/aU2mCr5Vq+xJepv/XtMIV72TzuEloGpqcZChnLaWPhOt912t2JFY7eLQVk+Um
DON9PuX+CKWzqStf2mj+hNKNU7XNSVgUt+m7xG6I8JIm7echVn2xjwIrkua9hv9PgvpQt6VfGIkn
6fVLBrZg0ufHXu98pVJ38fKDdJUjj4IddgF43WR36cbcquNXUYtlK1bKh6FLDkGceFMZ2WIcfwK1
6G0nVs6omI/RaBzrqXqt28TFDCvUhlC4sIOOHGRFsvsJ8j+maZuy+BNCZ7EnGNmDHpK3xBTduYos
Ipbe1HT3tczjav8173htY6nHrl7LbRQ0U2jisoT2o/ObO2f0ol3j894NG/3y732G+u7K0kTCbtYo
jPWRrfkLpNz0V0Cyi3ffbPdO8SCjbWpA8pXXxLSRen1vmd60K8v9mIG1vZ4REEBpVfCy/XRCke1l
OBpP4SH2FWtwRSeXrBCcGc/XD/zHS/y9aQZVB8RwRE0TPDnN5058HsdzAaXIlqdKuX3nXc49g6ZV
qBWEKLjz0IkqzvczNFaT8T6YwdjBiUo2ovv3K2IwNEvNUuslOn6A4eTYDZHCjw/dbrnXrPQ76kV+
cl4q6/ou0t+84qRsRFeODYF+FhKZYBQUHUEoQis2pMzqKoNYYRa5S6b1Fog+7+Ki4eR6OJDKhnrE
DMQGuRHI4BBPLp9zjAcqHNTm3ApspAdNXgxSjRWI1YTpsxks50UXnes7yDPBBHl63qXaWCLMD8fR
Q2+LV2O+4r+ZYJBEU1sjrjQ0gejyKVrelppzlHhLoB9qdYrrPAjUacASStMN4xsi8FQkeLeazuBE
rrR9HtDGn3+GJsL7bjeg2g9BmlseHvJ8mkGGBCQv3WzAp0XfOPT+gFhLP8g7Xt2J574MMsT10mC4
FBmiGvdXNdizjoGr+sf1T7+RLX8HCjoLCguG11Br+M0yl4NjDkwMvnRP9dLEY2ZzmWM3Os/eGWTn
tac6zmuSQVoxO2m+DmH67hjsxBFjNc0u39MkYuwl4A/gHKONjpT3dpkAa+6qRu0yCI6Nh8VTbH2X
FdawW3xyn3zVUL82oXf2/frmciJlgwn/CQoRlUwpL2bpKUj9MNzXUm1V/UM4xZaZczIpm6dMw/iL
rikKJQ18f8raUuwksaQ6ccFenh5nHikN7/eZM9Ytkm4WM+INYvqJlFp6xmur2+jPxjdaLYE5WYGQ
CcIwIThN9sAI/ZtiRyC+ga4oWDhDf0ZgLx/LVzo71NiU9ev659o+CyvzzIlTJrFW1QWdXTL0XMuD
cZe9kRvzi+hRXZDls7FwLkfejjJnTzUTQdNkHaPs6e1QHvWWcwFu+/xlQaysX6Fg2lALJ2TrXxdv
eKLdNdJD5fZO/avrN77lzYZsA/HKInPKQGE8VZoOl6c6F8u+tSNPc9BR6Hd+8MDrDNgEYtSRQScj
gSuMbSet9SjsEiLJSFd2+9Y39in0mHJ+A8DmA3tlh37H1f0l1gHRkLOWQTlA+TNiV3+Y70YP+lmY
FA1c8nTdD7fd4rIs5iBnck0S1BQVBxTFexKq95WQ766b+INnXGwwh3moaiPqFehlVqUleWB+PkoP
mM12BrffT5CMi86lyzG5GemudpE53EXQgBwnQjgmHuKd9BLdGp+rN/15xj7i0f5C7iK8IIDCPC/Z
9kldVGT1FyM/K6CZREso5SHyI6WL1Wq4sg08HaHsLfjoRPR4WfTNz3cxxx66MNC0TCLoQDAF6Ie8
BFzdYN6CCHPI+lTINKNEMkTxh5MEMRnBHe+WQ7RLvdDhlYQ32m8Ayqv1MLfYoEhLKUZod6Bif1+g
6IvumwAd4xGmZ+gMQWBBsm6Ha5sWUEFtd91tqLN/eECsrDPhby+TWgA7O+YtkesJK6sSz/nAix95
RpgDDk6RLCUTHrhJt6ddEAQN193P6wvZdgtdNnVVUkSDLXSEva4jvw23wNCoIGW2wtUjp2f241Zd
LDBnGrQ7pmGgQ9oR58wSTPQjLGjmF6PHJuORtPMWw5zlMCKhpFFld8i33UGIeWca7dv1/dr+JpfV
MJcxiP5Ank7HUvPyGJg/9GwXK5zGNt4qmPsXEqkj2OZpLcDYpfE3Ma//5oLX/10D+/qVxFhSqwp9
6UJVWb12MkXeDb95Na0sMFCg5FWwyBNIbFu32ZuIptEqqbq6T4d6+s5SFIzPXv8u2+hjiDrSEoZu
yoQ5kXIxVHoLfjdc8b2r2IobHsybwUYXqCO/8N5aXGv0G67u3nrs+sEY0KMZxZb6zTiQnZpb7Wfz
PnsAYQg3zbvpdavF0X9fmdPTOsqiHovLzNt5uA3bV5FH78IzwRxTGRShQyDiOhKhc6zksRPPw3Nn
Gvvr32nzul2thDmiYDEo2tlAA7ymV5bReVV7nNUBWhP3IICxr9vifiXmsOblkhlziJM0dH4nYLDg
pdLcOc+hVX1IpOdakq3OcHrjyYCQOcc2dfEPsLdaKHOKC4CeHGqwPdq/GfeWXXCaPeJGrsEhbeN8
Olb3loRCrxUL9hSjqicw2PpChS7UvvOuL4lnhjnURSgbglYg62lOLyR+GlAOH2de/Yv3zRTmXhfi
VEsqUFPjsTW7yM34EmYeT/EeNRRH2IsN5zttBuuGImmmouGJKjKLalVJXMYChX7Fp5PwqT96tI2B
lzXZEDhBuLKywywri8VhWUbcG1lpLZ7q6S8RKHinQ2pPtn7TuQKeIqGT2CJ4eHlP5O01YnGqgtDa
1BhXVJOu7qsekfugumpUWZGMlHHaWYEsWWM+Wpou/FJQue4um9eY8a9V9pYRzar9rS1YCbddezOp
L9d/fztlszLAfDpRAIdBkCE8IrflV8VdjuYN5MshzeKCwcmmur6TamdnnobcZjyzMst8yVzMzEjO
sZuj0bu6lqEbIL5pg+SYt7wulD8chsseMpfajESxkqVItmnn9pPq1b5yV7/Skljm8jvaeQtj7rS+
T+Y6H+CilfRJ0nyxMa1W80feTc3zC+YuIwJphh7DD86UnUj1WORc4ZlNoDIVRddBoi/rImNBqsNQ
EkDW4OCniVdAeSY+y5/1X3nXGDrWoYeWIZ/jjfQu+YD3K6PM/dm2C0klMKID70Ub+q1OcBcfpheg
l45ilEJF8s4GCPOiH7x83ja2rEwzd+q4NKSaCySIBo94qJ0eYzQHvmh3KaKf+dTZhZ+5xquMRqnQ
4Sn00d++tmzmitVadRrbGM+wMcJoFMkwn34i5JATN+fRb/BMMTDWDxAPlSedjgLIVhlndq48pD26
FEPMl0icGHnzMFz29FeZcxVx9UURkSAf4KXJ56hyJ+1o9KFVJM51t+F4za95wZWZDkhSRTP6LLvl
Bc8vSzDsRL2T8l00O0H8dN3Y5j2wWhODXJJsZqSu8RKjLYjpIYXYJrglDry38faadBM8iio6P3QG
tExiVEtRo9NxKr6ovWhHwXM1T646fx5V00nN0bu+rO1PdbHH4NYoGH2azljWKD2hpg8txdRqTS/q
eNwSPEMsrghClYU93k2j2LqCuVhVat5OYmsLxeheX9MWSEqiRBSTEBGfjLnbUH5siTxrKK+ZhqXF
mG0qeGneLZRcm2C8IZdr1RADVB4qgpEpKblV5vK2I7xa5GaZfm2HcQelS8QC9xid6R+c+qG7lY7K
fjmgrfeguzRpniAkTnzF5Bytzby5JCq6oRL6X1ZJpTTKsBQWZPYUP/Aje0xdw6ncFDJMrkSZSz/3
vGrOFkKtLLKgEYa1GUcTStlCAX7rQLdGMtrxhAA2lD0t/d+HLwyyNsc4CWkDdNkTLLBR37rsKYRK
Xsd7x2z5/NoG4yXxMkOPy0SSucfYt4r6CmneZONJHv/iDbO2w3hJEI3TQkp4ibj0YOpG8X3xU14g
vDF+/X7HGKgIotRQRtqTNuGmRHp5h2/Tez0IP+cdl7plM3pbr4nBC6VSIoQo6OUjEjph0gN1v/DJ
eESrFu5kHrUJ70vRf19dJUUdqGWJegQI/3WH6OhjgHyzIktOJCycUbPNvrf1ypiIg5LnpWGE0UsQ
p3jNd7ybzuqpRlFMvVEES4HG5+TKFvK+t4OLeDK0MwyKjZwrerPVaP1XMLFH2wcJ3vfIiiSnZk8r
3ovfnzoI7yT2dTTePtfIUUoyFIQklhW9K2rd1CfcaHJHuQ+g7q1Bkj2x8vGnzPVReqLYiEqibEz/
b4xZlZg0fRSWOHE0sU1F6qaj6Q42yn1gDdYerq9s8xElgWld1TFqrIAA6r3XGANpET8idqQsPGgF
fZuOYe80O9Wfncwd37JDcYZUOrdNjGLTh1Wu7DLBXFxgGm7saEZrP2FydgHR6bffor2Rf32JW+HI
aoUsMYYSkdGsc7wGmvJWnv1A980cr+70m1rv+vTpurHtS+eyLpYPVKmbRaw6JAZbd3JoESTyQr92
CkvwwWrBpbXfvMRX5hh4NkpTzUPaPpCbryA2wAjuz7bKOTcpzwiDzShsaKSqqVxodTazc9y+JgkH
/reRebUQBpm7amnVRcRCqKygfkycyJG/08Jp40Os6fpHor91xfdUBpeLvpLTmo5tkRGv6GTZ593E
2TKeCQaM+1Dv+lilfIfE7+Jbmd+wsgkTqw1jIDgxeqUYBrh1CxG8CDoeOLj+N2hweekjL6LfrMuu
zxCDEhW8WmhjECwsoHG4n93Wzjw1sMXbeLBkb/BTpxa5JM+bF9pqhQxEpKSZmlRCPXEO7tLlUEJ+
IDR2ZswbZd++py+G2CbqpE1J39MzSyU8Iru1DQhVSz7qsEdoRXE8fesRJkmGKqP5VpRklm4vbBCo
BgKdBI9kS8HbFT3FMp4qRv1a1M8dzAY/r7v75u21sshgRK7Xap+lNB0inkn2RAJk3N9y6LmZ6P2/
bmo72F/ZYqBiiAMhkkP4/WgX+wACfMZdexbsWkCYlYNedN71R/khCKHLzrFMf/nDoQaDITqNaLD/
6y9bhT8TNNmNlI6/o7XTDmfpLq6ic2MOn2oVEaXaoQkaeWvcdR2mNlCBVNQ+dVQ93VUS+GQ4f4zI
+WOY85I0qRCN9M1DX9rqMXIGqzwpXn7LG/fbbEWWVstmDslQTx0G14GbaiYeo6XwlSKFLnb1NkZt
ZM1Le9eIvSdicrTtl9tAKF4EdTi1RfjQ1tKj0hrPCFPfapCfLWbDCRM3QfDyt7EEHRgdyM1oxkhG
GrbnQgI7dU9czk5vwuDKBvsGCrMk7dBug9xXsRcBTKFLGwVBqORmZ14osdmrvNrtX3HxysnkLs3E
uaBlvxNmPez5OfGUvX4vq7+kmOmrcsGDj9eAxjXLnKo51oRimilABW7+SfIUNMZAJ93UbQi/IbLI
veAB8n07zt7yvh/999VqB30S5mxGN062BynRbf0cOMZ35bHaBbf6gT6ZFN6oFc8iczPXepOJQYis
W9aC41m+qyNeZXr7ZBoG0SEeoBGW60Noidq2VJcnAdvp6A87dD/uKddpy+kQ2by95IshJgKIOzwk
cnXEaCKa5tWnVihsdSAWijE8sNk+AhdLTCTQtbE4igJNwaLSKFgRpaHxFYdG07HHCwXkzdtktS4G
2jJBHUuC+V9nmBW3a5ddMugnqTQ/Y2RgH2UEZOAtBEg65L3nCbpKjSfMqgGB2TG2oB5ym8zovlND
q+0zr07DXRQO6D0x7JqUmBhtoQGlKKK1FJGbZ8m+aBcXxHCfrnv2xsg58gCrRTCoKQ6Kmc2YUvxV
9cuc9AtURh20/st3/bP5sBw7SPP9H2lXthw3riy/iBHcwOWVW+9aLVv2C2Nkz3Dfd3z9TcjnuDkw
p3Gu5lkRXQJYKBSqsjKRbbgNCEcgMA3UQq07GijvBZnoZmatqaqJIh8IzXkmhi4FO3Jko3RZZme5
+EPCxOzwATSJsjLBHeJQL3TT6PHAy2yXLk96/PX2XoqWwB3Z2sonG5xq0Bq3HuTxMeu8noiK8duv
A1STZVs2bHw5LsrXRIujQUKUf38Tnwf0abVd9QlsPa7IwTdD0MoUO22roBfptg3SRlTklfLSSHjs
COKC6Pe5WG6SXk1nCtcjsV/196HwBboZDjRb0QkEXxWdH45NyCglPbJPIMrDXeeAwW7fH8kRxO6B
WBplezW/jPGzsUou11HSYTVLd06S1MmT59vutZ2cAyRpoYZs2BY/RmpEEACNmCLddEQ7D/KZAWCS
Z/sb07mIj6F/29ymN6+scdGths4waTJcD9l4luyTId+poitoc8tWJrjYkyzxTOVMQopsRXdlHvpd
GR7+1Sr4B41uddJitTbYO8ipsc5DdW+PouRgs4BzXQbPZ6EscqUOM3ZKxbhJCdrw8TicGdwydzXB
Dbd956xscWfSWMAzO2lgnFAkum9jY99NiZ/PxmNDZs+C/kQ0KZ6SJL1rDLYvD6rtzDUGcEdo5yyN
QzP9e6p0XmRN3jhgIjBFG1apDnOR3tFseKr0wSVW8jiouYupkwuiqWAIYrsspNuYmINwlkF4TLjS
qmWWZ+D3odBhBct61TD1TYe0jgLRoo8xreOKI7jjLDTcdJv/PjqxAMFrcG6G/NhFqVPWolfO5llZ
WeC+Sj5AtnpWkKwV4wsT+jZezEzwWN48KysTXLDsG6WIl0ZF3LeKS5Z3n5HnCBx5exUGyATQxUAx
njuOoxQZFqmwCnOcg8WyXLwwz0uWCY4k+5nfnqeQAf2Pmd/g11TuzRF//VlnvU926IBBpll0ewlW
w2OwaztX60hFdqZbybmqil1VqF9GW/53m6Zxn37RsfSKojSTDE9NdW6kozR+JG9ZbRj36QuzLNWE
Kpjurd/q8EuTi5KKbd+6fhH299VFX1JzkRI7xjyDEh9LYHlsefjIXb9aA/taKxNzHSkQjtBx6jGg
W427ShVhXURuxb0ySNxLNWGK3HPQHrQ9a+kzegVhmWEz6yc2kEgW3i1g3fj7SkrUdGKlxCkhCF9s
6rkOokemoNo5mHyHGI/khWjjhq5wGmm7pGRoUBy0DFkGkcTfTatd2AEzZDF6KAakVJy29uLYKdDF
BW5ORpdCkhwMaCT3UwXZ4g/cpCvj3P7WtWH0S4Vs0CLgpSoWMBJObjf8/0kIEaxXZrjt1aOiicwU
KMRh0BxD7kDR+92IhQ0zdmZ+C0IrM1x2Y+pSXQ0NaPRwC9WHwo9mZ3RWt5A4P9ycnVuvjAuvQ2hZ
uc4SRH0X/2BDStmu3UuRo6dOAna2cj/6DKtXu/aheosbRxbdUuwL/b5mA+fc0nAR8rhwrSMdxI5R
xOjkQ5P8UK0/w/FIhXQnm9HEuJrhoklfahhk1/Dcb5SvdrVPmx+3HXH7CbQywB0DezYtvdYw29D4
C9qCqHEe5Yefb/xYEHpFW8Y5/RBZHQg4cVfprTY6adkFVl12OHF4EtciBfbNG2u1Ls71ZcNq1U7C
91Hr3B0U86FXQSgr1f7t/dv8PibChwVMtmHxOu9zrYVEaZFCdkO1S7IkmLRGsG0iE9yN1UNcZyAd
YkWIBkl/T4kgGdruwqzWwPnYCAJvQwvxlA9tM1BDO8hUyJfa3VMxS5PTkPp7NLZu3mOgMtYvZEzB
nfonJsxczYo/crOZGp6YpqUQXAh/D8oyVXO7j/Dq16p72WyhaSCiaNjezV8WePiwZM4dVlHACauH
nlxy9XDbITYHyJTrEngehgL8xVRPIcCq3Y+eytRfz+AURSe6egw944AZsvsCBJzYUNzdQSQcyNt0
fBO4c9nEqCjROMenSzbqZoeaRmSekujPWnucoq+317j97FjZ4AK+rKllPzUYvmaK1KpLD4pT7bS7
2a0O6lk+/f+lsnCNWbJmQmwNEsE88FY2OiOMDArNPmN227naodLq3V7SplusTHCxqdGTUMtzFDvH
+UsZE6dUPuR4Kwvcd8liDWx8FhaRqqWrxyg8dP9/Evm/7xP3WWbdzhaAPEBjmJ2l7qTlz1UuCEab
MXy1Cu6ADtLQJIA7oYyl+qQ7jtPnuUCWK3jXbvrw1co7QmeV4OYoZWUjU2+Xsqdw+BKpmTOXwb/6
4u8X48pG1JeDShLcrBZAIvORzB95y6zWwL1lMBer69UyM0mob4ZdupO9GysRXcp2Fruywl0OhW2r
4ZynjMMye2oTp3hiY+/vwkaGUzqKP3ihMz6KX4QCR3i/VFbbh1agVXSs+xvKXxXzm7E8dMMxyx9v
fyTmsb9lWavlMUdZWUnydMoWUBNBSuc+NX8UyTHK34DPVuzXSfhyYyfwljEuBpCyMmWN4mrIpuJb
OSfQiI0uZhc9JKbkLqkhICcThBy+sxxRKk+RgeS8NkNnsOJ7jCj9SxNcQID8VGyMHbq4Vd35Wpf5
svWhurOlWUCVQTMbHYe/f6FFj9G31GHCsgsX5Gc7Y2wEq9iOBlcTbCNXTkDzytbACI6XWhZU/Qst
H0giIkrdvtIsU9UtA3mcwSOjR7PEm5eVt3OA/rrd8i0NMjf93B3UPX2RPBF1xPaarua46DBCeaaP
CcMlgf8tH9GpiefXsZA+3T4/2z52NcN9nTg3lnoZcEqNMHSLmlxIYgtuBBbxfz81VxPc10kbQCSS
FnNL6SHZZ0fbJ7sY1HqiDducRgHvxa8PxIWCwR7UVirQrK78OZD2owfqMPRayyDy9UPiDq+Wx3qu
+TF+/BBVyto2FxnGoTTsRcU2/hd9V+wIhoAZ56S6Nw8iLI/QGblcgZb1QlJWAjUgfA/ecfSTbbfz
1E/Ke3+8Fr3gt4G3q83lAkW0oEjQjqjvNT5L6FCA842H8j4OEoy9KXdAMrv0+BN7izr8Id9Nsnvb
U7cbMqt/gcssiJHNpGJ1s8m1dtDowzWmfq3fBxjzF1GmtB3qfzkTD94E057ZKz3eVH2uBnSJDzj8
f7REPScztnswRPAAdpxvHBIevmnPVh4vMhKaPhh8hnOLjuSuB3mn5ssnEcBCEFsIF1umQiWm3WPg
rkNv1oL+ePkQJ61z+3tt3//XHeQii6Zqg91RsP620r1ux77RHkLppA0f4RdZHT1es12ZqdXILRJz
1fKM7t6u/ri9ju3X79XveNRmClrpzmZ35OS2Z9nPgxniD+Eh/DRBIVc9lZc5FWydICgTLppQhP40
Zc6nWBBKaCInnnJBAi0ywQUQKQZKywYCC7PpGE0Jrf2gKAfBxol8mosZBcqWYUqwDPJs7bJ9dckQ
ourP7GkbeSI3EB1YLjrEetdNlQy9AilB06lQw5e2ShxtoCfMlz4sDd3fXp3gDPGtTjOSB1PXMYkw
dWc5gQJSeIcM7baNbZDd1fX4XhpJsqlOFCQ2+dl6NO+nv5J9sxt2TLyPXPq/Rl9aABZp3eUDdP54
KQL0YKFpCLYbfoaJGlqZSTq+XWnfR1BmLx9s0eTqpgteTfBvuFq2E5vMKArnaXMK43g/Db2gcrX5
kVYmOPhGCUZws4C8IxPCtKqzMT3PojLidqF5ZYMLpkZSNmCERUWqO4YA/k3H/pzsGRzQOERH1muN
76rvYF706ku7E/VHRHvIBdls6TVJAR+X1yzEpWqJJFuEdBSZYH9fJdehrQFsxWoGI9EuTfGiQ4dA
4Oaiz8T+vjIR2aTqIkymeMp9eegfGIwMXC3AF0LFDF1q2RGHC5FJLsTOVR+HBpbiNRi/qkzbUVPZ
V0B0fHtpos3jwixmHQ07HBZc6xBpkWIbUira7t+Z4KIsnWSg2CREcshj+HYPOVm7EH0g9hu/ZScr
H+eCa0snpc8lEOcB6Vc5sl8dk+zEkq/Jq35AKejeCDKQZKAZtpw+1Am72ubBvFRVQysnSK0HI6jL
fdHtI1NQRNi8O1YmuDBht2M7dYzSS9MiR8kfafmZ1ncK8eb4++2PJbLEBYtCH8bZmHU8hsmJgOOg
lJx8+D7Od5bq37a0fXesFsWFBnOoKWql2DdpL92Pn8rAmBxMyf0YAsYKj5apn3kUUy62F4omfLeH
u1a2uZgBIQFqDC1Spuhz8qT7IDo/xp72NA2gVWeU3MYTI6wU5k3beOWVXS6QQFOtgm4f4r35DL4d
1/xuuI0bfk2/sFRglz5VwbQfvwo2ehPZuzLKhZKoGPJYSUBPU1E/X55CugfRqWOGZ9X8oZNTv1yW
4cdtm4Kw8o5bWgXMRZYKKaO4navoSxLd9dVHssPVkriYMiVKSqsRYauViReHyn5sRRJW29iqlQ0u
pmSQXIbEIqpbna8E7Xk8KPvmz7B2yufYy3bEt+4n+Kn6BUyZ/vL0nIKgcIa4JHPcD8iG/i3b4UEy
ZiXJSwrwlIcend5/7Vs3zF5vf7LtPup1vTxCJumSUC9nBJnJpQEofyAVph96Xw/yoyizek+dbsRr
HiZTpNXQ1RrCTNGiMB5SKCicJAs3UK+69ezK6Wtc3WWV4JoQBDe+403JQq2xRcQh8h04uh0tMdwx
/SHF3zpdBM0TnACNizCzXpty1CHrAtGeZD90qnv7cwnyA42LJDqeEyGJMC01d+Xd0E5+EYXHTmsE
B237cbnyCi54DFIn6/MAz2NM3f1BBRz8XnqKe4wtMWamHE4iyIn/IUjqigpSNR3tP/YZV8GDYkoq
NkwsrQUvAvVitzjG92gIONSNHhhN2HQSHfbt3bya5OJJmJNpaXPEEyr1TqXfEXKyR0Gq9Q+XDnqa
gDlizELnPlkSRbPWgpPBkx8XqOLi9QxFXNMtzs1hCKgre4wOVDQ1vb2yq1Hu+9WyaSZxgRea0Qdy
P3l6f+iFci8sFP5+nK9GuC8WJxAgbRsLRMxN5WPs6s1si32r5qPbRPFpGdoHWdXdhtq724dgu+QG
hs7/bin33WLwagP/ilMWV87itgeyhy5J6Q6gKqMXydOfbtvb2kwMJ6IlhalwVXmveq480+7qvB4B
ofCsBOVbHYyqIjTLVthYW+DChhZOhTklQJgoXXpR+85tpY+w1a1NcG44tnMMYTBEwTohn9Jqcgq7
+UzaWRCgNiPH2g7neXoIpptCZXm/Yn4qFP2BNiVuRui7Ds0+n+S3alLOJFGeWrm6pIoB/svsqBXz
PszV/e3vtnnfqLKuqxbRDVnnZ0vLspQBXgekgeD3E4KacNIHhGB/zWU8SaV8wLy/F5vZJZRFONrN
DufaOJdTJ3iAq2mJ06HvPC0wLWdWIOII7JAje6lTPS8e3t4NhmlELGnb7npdNZdh55RGkyEBYqaE
x5QcKutlFIFRRSY4f+1nDAXODExt0J0JJt4FtNTWZ8HXY/8nH17WG8h5rB6NtbwoP9F57zN+vVP8
xIgv2MDMm7B3t00y37xlkfNdqTb7ZtEYHYp5iOrdAgKBgey1QZCab5/26wfi4mZmt7YVY8zJq/t9
X+/GQXDliJbBhUdzjNXUWBh6snqg8180qbwK+qBZ0Qj26x8OOzhAdMJYi3UuWVZolNn2hH6PvisW
JwSQPzzkJ4C57+iRjWECwCj6Rmxzfv9Gv0zyHRB7gIzzVKPuExHyaivkoY2HYCoMv5kzV41sQQ93
872qyld73CN8TKtkAIbnJ692dzf4sq++RL7t176BPshwwCpPqBwHIk7d7TN2NczFjziuVIRS4KFS
rfIo0fdWJrsoegmC5LYzXs1w0aLP+7JKM8TIuvukZ98SET2k6Pe5UFFIFVVAJsAEWA91+mwKp4FF
+8SFiQpyc2OzIG/Uhze9eBq0v8Dq5twODCIbXGDIJh3A9SHBXdEey1Jyu3hHrdy/bWQzrTEx96jg
rgK23OTObV5PcwEJL8XTL53P2FeZQiA9Lh7TdBX2hrc+zNoad3ZBs1cDc7UoGCSzdtEJvDpO5oZ7
epy8HgOe+U7Uu9wyCLgFscGPBYgkjxspskptqS4pnkrSY6qlzxht/vyBLVzb4LYwsiCyaMQJQGpu
fVaC7BQdjTMr107PQOSLwh87gnwsWlvjthDYvwgkY0ghks+jZ4KOVHL7I1PHAQZfSLq06R4ra3zF
UepbY0haTID81Bm2FReav15pof5QgmM7UgT+KPhe/JBpYqoGbS1c8nKE26PSjDclF8lNsB26sYM8
gQCtU7m1WuxgFk+vcZHu9QxdZoV65vDcTCAtDG0UCUQyuSKrXMyLoram2oxcWNeKowYSgdkywDti
f8lG+RROsoexIUfS6m+3vVNklguFdaxLZqlgsYxbuQTd8c/HtOji2Gz9rB2Fi4ijEc6ZkczK+4TI
eAgvjGA5QdOn3huOuQsDRmdlBPljfJn2oni/lXysjXOhkqgG3tSWhVPe9o5Wq8FQv5Q55pSrWnT8
2Ge65TxcHmURwOPHmSp4Wfce21HglL0QKvdsFrbciY779nkwZBxrDBFi9Bb/zuoZGDWNWUyyrXhF
83lW7ysqKLpsu8f197md04t31c/y5xC+trd99p4VK6JvJVDQoP21DH7XIq3RhwkDojXU461HqyWu
kh5VrXdaRYTP2Sx+rI1x8Zhow2RTRvzSeosP4ofMYbokkp+41A2d8qgjp0f5Q8QjsO2E1zWyrV59
Kqpk9TTUKLhL7VHH0R4MZ5RfIqv1PnKif9nhx71jmvVFMYUKkJdLEGUWBJhDNw3jx8KKTg3pgdGt
34aw+0A6YilgaEfahjEevv9eFiB9oj1uOST4sXG/GG+TIYhVzJl/O1uqasuYJDMAX+ecPVVQPgon
pNmN8ZohrW9f00wwMyEywfm7lPZ2FPUdgHHqoTE/M+LyWESfv+nsq2Vwzq7M4SSpLc5sb4GIpjL2
hJCAVs2OYkKkMAZBSBKZ49y9S2YtTtsRw9dpEEfHFqQdQFDXyfNsCILFZjBaLYzz8GZZdDplCLND
CXXDqXP1QaQ+Jfg+fPehM6JlMmrsXThSZ4lNd4xedZGgsmAdfPshVlK77DucILP8mhulQ+zPt4/o
dgi67hTfdDDCJaKZAgtD7VqXKXfYVEvljozrFD2HQL1P7+z/QRhys7MC2sr/HiG+75BlQ0qyDqc0
PZCA7BnpVXaQwA33P7Cti7aR/X0V8ADLSjWNolZCnnsPOI+d5I+YRAUQ08FliAgrpH5i794bAYLv
RDQZxELtDNl8DDBrDb6Dcj94tQOWU080fydaHBcoCEaTJVOBKas6Kd2Toe8ELiI4tvzoUSnbvd5h
TtSTTt1fTezWB7y6vfHN+IGpJ1DvQm76J57JEc2ni5bGBQy9zbU8snDGZEqdfOoOhV4Lwiz7iVsf
iosUlhXXuYQo6FmYJS3TTz15Ne2vvfRs9LEzDSIySUHU4MVXTKXLx3nGxZFBZ5uqdYDBBNckpQC9
LTLDlWXKMLfCJKxRQ9Of8Dp38uqUxz8EfrGZYF5PMK+9ElpDSbMRqVL4rQRIXDkZ3gj5epB94YEs
fuEJnEFn/87qEGdVWg7pyC4r3T7GhnXEvJIgc9h+RK6WxP6HlY146fNUNcCCHF7Y0Pq8/x4dbOhQ
xT64PgS34WYWtrLFvuHKVtoPaVRaAA8z/Erb7HXJcPosddJUQKwncgY+QGDfhkTBxqXSvRRNzlIf
ZOn1tjOIbHCZRBJJemMXKKrKXaBoB1PdmYN/24To+3PBwOpGpcukRfWaUX7timbXlWpw28TmNMLq
UuIrtpYe6XSOsVVzgBkED3x9n9m7Kfw0fGVKiz3IC4rAKhz6UO9EJSfBFvKl22hpLIQ73MQpbZ0C
YvBV+m1ZhBMxm1WZq9vxmPViSDKQzWKJuvyNRk8YTor6s6EG/XJfJ8Gg/GnJnkleZxGvqOhs8fj1
KOsqo6bM8OXnC7/fq59mVw1ySKyILmCBs/BUadLQ6XaTItWElHlYnCv5TeApguDHA9jngYLsocsQ
Yb8zLsk6YPBeGTdiAUoNOMfhX9pj3rOKFr3RLU2s4OIAD6wSTE8NkjT6ZOACdiGTF+SuqPsv2kEu
amRLSIeS4ESTaJfpXzr9j9srEv0+FzEyOTUb28DF28n3DAuSCto8m9M2q7NssIOw2rHEXIxxAgby
HaoUu+DW9vIv3wePkUQPexHJvSifNbjraamwlpDmP4nYkUQ78xvGwM4lWBVFHXfh0tjerpY2RGDo
jVqEip8HaUZGaz1oF6wNwNv2JVEEV5Xo7PKsKmVdWWRmVwgg7cfphSXr5kUNNJfV3v/18jjXA7dJ
nSWYd/GMJlCPZlDtope2OIyovQNNujMiR/tx2xkFWaDBOeNQ5LqRSXgvZvNj0i6O0X8dGxA8mt/H
JfWy9sttc8L95O4ySTb1pWaPn/F18Emg7FMrwPCjuXsvjh+aWHCxsR27keXyBAxVXBBLTfEAqhKr
dow2z5wGM+tZ3exKORE8vjd7+6uTx5Mx5ENdhXoOb0kP1APtpzdBmg/kzp5CnflxCconGVBWOjlU
NI3PsvUb6+RZGugYg5GoZi1qQJYk83ulnqn0Og07Wvvp8lI0syBjFFzaJhdkKC3LMbFRSjOyP+3a
cNRuNwJQdNtdBN7JD+PqStEp9oz9lEAJV3eH3hicMD0XkKbssnPSPt82JwplJhdejEYHHW4D7yTO
hIYurpqX5IxhCDyURZOsoozL5O61pV9IFce4R/VL+NgfzCDH25LczY/kaUZjKjlA0Ag84DR1hg8B
3NZ+ysWZdLaWaelNxaPj9GUK1cDUp8dcqveC/WROcMsruehiZqo6ZB3s6DsmMNdcQu/78sqEI21P
dA+JHJKLLKaBIryUI5KhABpUhek2w3zJKipwSfYv/7YklD6Zap4qKzxDYVvabZTpcBENQi1S9pgp
kbOQJ3vak+Tt9vZtUq+wMut/bXHumFpp05UxGhnWJT5PPoUASOS3XxirURpYHpgaH/DuADWU7MlO
4hki6OVm8FzZ51xUrZdczdqezZBHCaSC8xijhMVr/Ka10A0Hq+ylOyk/aiCeby98O46uDHP+aUZ1
UelNhFsiqHEy7LcZbY8WHNRqAOFiYPFDX3aWvSZ4L27fTiu7vL92kTYlFK9g8lwfJKdzixc2MFwd
gEcWtonZ17vlSbzDpooa10aleiHIzORR8qkyBrc3UvQBuRqPraVpIVGY6EjhtvJTYn3usm8T5Klu
29k8e7/2DTA/LHWVltVt0yytghcqhbaWlCrOYr6VqUiAQmSFq+2EdYp3dt8yANvkNozFLrlb5EWw
ls2bdLUWFtNWazGWIaJ5iLWwFJMxKCs7Rpog6saKFsNlzdJMSR9CYcWzte+N7Fok9pqEfGQtuiwD
XywTi/ANIaZZ32TtDBX2/I4uDznZh0bqm/Je7iZXi4JMREy/3WNeWeR2r1UHuYhLJuSF3EdyFCfZ
t/fVzvTbU3Qmu3Sv7Wa/8pZ9GxhPwixoc1Mh3gsSRBP6vTxJqY7R53ExsKkgcyXdnz314/TtA65+
NcF3P6pFiatklnGldW/Z9JgUI2qML//OBufompbl9TA1AFADw6YYKDvLlU/DXIBh2wxAumEzvLQG
xl0u2sltQfsQlLuenB+V7q6Sn24vYzP6rH6fC3BLaBWmOSx4O0XgLayCvEQ9Vn6pJxG1//Znvy6E
C3P1JMvmwCBLZnKe7SDtnzrRtX/bhMZHuLSSG4DXU6ZRN33RzeQwo4njKDbeE7c3TWSI+/aSDb79
qUT3M9M/mcXBmp5B4iywcfvDg+Xm7yEuygxpHCEQw7gOej0o58PtNWzf37++PJDUfzdA6mGpbHbv
zK/hrvCrP+077an5vgQtGkH1S+gaLxAXDkSFxE29AoyA/8ejIWf5d7s0TjR7SfGVlPvwkj50ToN+
nv6QuOEhulRQvuvR2qP+vIO88aWBxLH2VVQ92u4rrv4H9oFX94ep07jIwQboqZce4IbYvU8BrAkf
DK/1mdzKX9JX0bo3r6yVSS5dsqpGohmUPLzUiE7tJOHdbl+MSb8g/h/mttqbxui0kiX6zOwz/pbB
rOxyASSKkkHSTJy79Jx/QkdnXwDHnt4pLgMKMpX22261mXqvzHHxpM5GjC0WQFtmZupOOHlmjVnC
AIVrxxBlTqJjyIWUru4msPexm2T25eh715/0WRAet7PN63rexxRWnjJJ0dJ3NZ4S6m706h/ZMXrR
0VRMvqJVehTWUbfmPldn4/3tu7LWTAN4XyE8gmhPvwyA3iiZ7Og9caFU4hM5dIrUfEy1ZjdLIr3X
TTy4RWSoLRhg1DL4KlolgYqqnFke6jNlgvK5/hIGTLUuP+aufS4vH2oxrQxyJ8Ku1BpkeANya2kv
Wxidcatqn8iCSu6mk6yscP4PUvnZDluEm8byYtK6U32visH0Iiuc21s97UqawErn92cmlaiZDgOZ
45XrsWNWo+X4kTkxzJ5ZKpisMXnHYxSI1ilF3iI1oPb9ojbO1O+tTvS83F7Y1QgXrYuIgKBOwUfq
QCGEyXJPd5koz7iXD9VhOECJ41kkf7YZQlbrYv/S6hCALaySbAvNBKorLgDBjmWA8n/+OtPLHIt4
cTbzn5UxzgnTIgm71CIKUnyfpoE0264ZBW2cfCQuruxwbtjFY4V2NIriXRK/KipUSI20cnQjdoaY
BpZIyn4ze1iZ4/zRnEc6p8UMItj+uIQ/hEo523FxZYCLvctQYuytRf+i96rPWNWOZQ8yho8ZD9si
gm++Y4l/u8Wu5nhkgtItmDstQWAaHxZXdc2AvKHQkQfjqX7TP/W+4srn+li74VNzmk7d3n4QEVxt
3t+r/4DL+bKkrRRJxmVj6X3QAxDb18UffVp50ENyBz15aEyItrXh/vZ9KviQPIxhUpJqHBmQu4Nq
pHK2MxHrvuCA88AFqbHSSi9GkAF2lxnqngAU0Nfba9ic5VtFKp0LIrNmSxBAwCU6ubIbnRSoe5Id
ikQX0ZS6aDFc6OjNVo+0HDDcuVQPWVjsy6wMpIYIDrMgaOhc0MhD2a4yHd00KQUvdX+YIB0qG+CD
SATFrm2nA1gfIk7gp5Y5pyNsRksB2Tc6/j0IIpMdG+4XU/5sr+dqhntrZCaY4soIEdfK5T9ruwUU
Nj1P47BX0u7xti9sf6GrKZauroK7QtPJTICM9ZpwdDMVSmVIh6XFFDybt2scGPn9785xLmehAqDL
McqiTEhOBWqQkXYUrFvwJ6Qe6BPwdUHqRx452KnTXlCour3O7XN7tc95YqtYOQClOsrC9efCfBGC
QUT7yLngYNJZwdgxLsn0LEdfaAykdD0I3qDb76TVLnK3Vg3e60qpEeVpFkCxSv3LBvMlCKielaf6
r3FxFDfeQ4M0EKWGot3jrq+qoJpRl6gtd3PltBF6ZH/e/jybjAUQ4PrlH9z9lTZVn8cZ5jmY5PB4
6JDTZC9hYKKPVLs5+M9qV1RNFCyKf0roqpY0GojmPZK+zMkhNf6dy/32eKhVczBrPB5QmzqnWfuc
K7J/e9sE8eg9K1id3pyOZmc30E4GiD2gY1CxUHGu0QEbAwUUJ0qaC0KtaNO4eEHlJcraBR4YzQea
Pjbpx8Ycrp7w/i5arcmqU2gpmLgz1J1xZH6g+2nQf6lNx3ievMhF7vmCaQDt0+2tFBzgdwddmQUx
u2FHGM31iIUBDm8AO834+baJf0jSfjn5+/Fe2YBczzSGBMlDgzb34htA5VSu8cncNSjs/Fv35mJF
bFda3C84URUtfLvJ3aYS4EYF19T7uO9qObEV08SuZ4g/kyAid4b5OdL8Zvjr9q6JPgwXGaqmGFqF
xR57PiGJxmTNXvxlBEber6/VUnLk5nRRkZ8zcl/wihyoQ0+MgZHR+7a7yDN/3F6V4OTyA4FRMqfQ
VsbrnnVMiiPTnMTrTUgeuLkuA8KWGIW1LKg1/P16t+alnPQRyLYhCurkk1bf2eH32yvZ9uqrDR7A
IY8ZhgDZ4I72zK72MmhQkcGQY+4WB6bkm4v0ATdj0Mogl4VpY6ZL7YKHdrucSrqv6+D2ija/zer3
ufSrWMq8qHIgipjCdnJMdkvAYGAi1KHg2/BAjS4faK6XgPSCPH1fGNV+hoav1IreapundLUatpsr
16ahnEsq0nCMhZbBqPfHyE4cvSNekvcCeLxoRezvK1N13BdVHyLJm6PuD6DXn4ey3BFTE7zBRCti
f1+ZoTr0GrUcMBqZhE9mmfrqlBZu3Sk7IveJd9sZtutwq/3j4uhcahbVIXWHhr4SGG7xGHtMYhjc
TVWgBkWQ76K32yZF28hlW0UP5VVaYRslinZWCI7CDNXNoRC4OfvHf3vDrxbGxYYcUn6qljZg0pP0
3dAUTpVhgF0ZvFFtvumLkP96e1m6ohECVWKFnwwJaTm1XYMuTau5bMK0fxu+0rvG+wmyDH360O5E
D9B/+HpXo9xeEhuZuZ4h7x/xYsv84tKbQJVVhxazNdLX1JUfRWSB2955tchtq9KAVqyDqqhXU+J1
PfgAQroLJ9XJFRECXbCjfBVGTdO6BZEIBhDI5DW9tk86y5UUTZDzbSfnkEP4z5fTuYBrL91UKCOD
eEAmzwbrG7DukED16RO0cl0mTS/9EDI9brvn1SgXhUPZynI1hHu2teb2+aNVnMPkxS6Ok6hwu/2s
Wq2PS2plfcwgSYb6AXFQPMMoR3xvfaKPnea0/uz3eHsARSp9KkRQA5F38oUYKzTy0UiBNRhBFxh/
hz6U5PSxy5CdtTt9SV0CDS5BQNu+Pa/7ygVp6F5G5jhgsYk8uIYBCZ+iE7z2tzGBqw3lInTOIjR0
29lkzLsi7c52I9SnI2DPRYAr0XL48Gy1TVU1KIgPw3CwTPTSlORwOx4Ll8MFESm1KztXkEXhMz2Z
AdTxDukdDvT/wkwhCB/8UAlRIdxFKgzo1V50F+4Mt9vFIEvW7uTXdzlfjOKXF1GXcDvj+eUT/DRJ
o8QkaQkWmB60gOF3GJuCuhdGY3aQfr9yrna4QNK3CxgCGTK8Gv4g2r6xnuPx3hheipo6MTmZ4Z0K
mGoPtT619jqlFQUy9vu37HMxJbPAeUpw1t8Ln/RMIWraA0eNMrZYL4T91i1bXFApJgBFaPQfiL/s
lx5o2/a6w5Cx9oOomy0IlvyAiRZalbEoCJYKoYHWqF+6Ahyq9gReE3UISGP7t4+E4NTxgglanbWK
yux1xV7DqDEI2gTfahvIeY0hvELCoCxLaqPcCiCntSvP8UP+oDipBw1udDXqE4GPkp3ip34ObMQH
S14r81xcIUnT0toOMaERkv2iT64xyoL3s+D6JlxYiVW5aNMOb8Cm6BxqmG4XnabsI3xL0DMipgKl
bkJ44bxWM+RJGlHhrSvJsylISLXhYc4HQZDc9oirGS7kZ1pIM9uaWHaHiYviNImeS//wzrxa4L6I
ZkxJF1EUNBiPavfUsTD1yhgAW7d0pR+3HXy7w7XaNu7jhGmky3hl4Gr+rh9ZwhN62n7e/x9p17Ek
N44Fv4gRJEF7pSuWa6s26gtjpJHovefXb6K1o+KiqcJE70WXjqgngM/hmUwdiL6hG59VkKrNSF0V
L0ffRP2KkfNPDWev/gdMIokh5jlsNRT3FOFO7L4KxS7X76+fknenbA00k0zQeufo49FOEJ2VTpzA
aWnZFeOGvJbdtr7//oBsQXSahl4VEoS2KQDq7aHKDhoPgnk7el5EMA5eCgPTFAcNuDLYkyksAZ8O
E2fT7vq18Q7CuHaSm9rUq9CNMTq382uanbr84boIjjmxVVAtyislyFCQGssbWb4pUs4ReBdFj7h6
Q2dL26pIPYmjB29Nfl90sjUHfxkKb/6Yq2GMX8CYvjEBVpS+HX5N48OGXAVofyVqntxMnndtjI+o
OkGo8gKdTWWXPmh2em+6o0dupF2PZbDkkL6YHD/Bu0fGTSxd1FUiHQvs4lOQvaTaXap8VxLeqtIf
XgoXxWacQahHSxvFsB26FdLchm5qi4+Vn1mjQ2ts5K7jTWLQ//nH/OW3RLYkmhcVCgQCNCTR90n5
VifPqbDT9CdJu0l6w7qu7n94Yl6kMZnhVMVxuESQRmegadJLcavbHRLfexF0FE7pCc4YcqRSbbh2
RMZbaEYsGHUFoUIVH+Q58tWityU1dQX5HM4L71VEf+6aOMZtKM0cVkGISnZyoihikp/aBdDDiJ3g
IcEr+23Pk17Ch0xNZWXhw5g3pUyRS+mNdq/xDe26Li+CbT5p2KSOv3Q3DTaPRx4p+vZb4vIlGc/S
g3IoXUaElFaPJouEraPomQuCb3ckxcMQVodxMb2y5SGPbFqiLmFsWQELpcGWUzu1nAwjRQNHF54M
8miEgycCNWMpvc+o6koQc7FaMusGAFuAM3JYTsQfju1ZsDGad9KRjop+J1if3e5ZCWVutSLjpCwE
fTdlB2pKrDK159IeUS2wKCpNgz3e6Em0BEf/cv209DAfdHYll3HfoWTqka7D7zTBuWseVF4tf3sW
ZSWA8dgJyWINSxj0NmN/8QOns2ZP86IDL3/k6QfjqQO1U/GawA2K1TECh0e4C+OTKH6qQQpaMAXc
C4oss7WyvuoqzFOjVjYF50z/qhcP1z/I9jr3SgDjtAAuJ5Cyhvott5T7EsUq7FcHgF6iOyL8+fDt
4thKHuO15qTWlDyEPCGyFg/n+k5QIdPu8DqnxFe0PpY+dnwMg01vuZLLmJm8jEU29u9dGIK6e+RF
kq26MdbZalC8CDzy7+0iz0oeY2F5OAh90mG3lKbClIRNcH/VBipuV24z7qxEMUYVVE1Yqi3KEOJS
WFN9EJbOCkLDyoLnZGg5D2n6//5owReFZAxM7eNkNkUDs/XxfpZ8IpdWMHGWuLfHe1YnYoyr7Ccp
7UI81ul4T3WXusktFNPTTsCi9wZ3AcLzYoOcBwxSQNAWeYF8O8tcyWfSo1mcZkwWY95X2dEss4Ds
3M7gG5ub3OOOhXNUky2XCb3S1SAE+oUeG9n1ZEf/oMfSd5PAA7PZzv4ux2NhWKZSAKxgghYr5adc
nNi6zZ9A9GRlN6KVWOMLN4/ePqFu6KYiGaLGvgtVbNMEMl0ixxarrx8X0GxMaOdGIHYS9rzq4x9M
7yKNSf5kvS6rsP+v6dH1j+VY+fWJJra8N+gfNOUii3WfTWQYAOf8BfRhYoE88tSb3jOBsC7caQ/X
nfV2zLkIY3ynWWp1IcmwPbE4zuNZM34GzRdSFtZ1MdsmfhHDuEpMvGZajz0ehyiD28gPZdZ5JCo5
jmQTvt3Ae+0fpWA85FR0OZmw/faeUVbQw8JZrPRJcwxwLxvW7Az3tA6XnXlzb7zzMf5Sj5OobmOk
doG8S0aEIXSVCx6j2R982OV4jKNM876oWxpwZBAuy3a/K38YzvIweuF9dey9Gu0L0Rq/aW75jBlF
HnodVzEZF6plap5kA6YaZGR4+rG0czs+jU5jdbvxyDM53o0y/nLs46kac0xPg9NGCZ+17igSTnXz
D07r932yD0gtaepEpRBVwRlwDecArKZgzHT0p+VADti+P/LaC9u56kUg40Zao8uTpJcxKZS+6VNh
VeTxup3xHBULsZ0GylLoJsregt+AArTekQfjNkAjiI+QzJXF+I5eLgr00JFISrezq9jxYfA15x1r
+vAZ3oKVYbNPxUlp0mEIUTWLW69RbgONpwqbb8KL52ARcBuRNDJm+XGW75IXgQAr9TPkreQmPtf4
t3MNS7VlH+yTMlcrNmWbqHubMqXZZRtqAxZQhQAvDKQGwaHeaft8j0VRj3eH297RRLsdsNwS8inW
fShNFTci5hbjZ4rSg/L0D4oi1X8FCgMYzBvAApqO7Jt7lVsc2rTmlWjGdRjmMNcgbqCciOLDbE9O
eizP3e3kV344WNViY5tgF/I2iLc91kos40TSqYQpFPiqyd58pfiH070GjAvVzh/5i4ybxn0RxnqT
MMkSRR6RI4gBsY0uckGp5l437y0RJoUnkWSCqYkPoORpK5ZRhQCgt5Fd5I+k5Za5eCKYSIbH4RQu
IyLZvMuAZJu6gSPv6bLtYtM5w/4ocTYWNp+L60MxalkVZVtIeJBislHygho1oMQBUGmb2bR5gam2
ecerGWwqxlomo4+LlskYLtORrt5rYAWP75W7DEua44kOABicr8Y9IaOGkVyTNhkxLtViJY5Ctwk3
8lfdHp1+L/oksXjTDZxvaDLAHWFY1L2UUW/Zo1lejC+TNnMCDU8EE8nqIM1GSQGpghjey9V5Gvf/
l6abTBKcLkZdGwuKLsmMqfT7hvdNtnzuSgE+AP4I2F5NaHuYTl21uw5VTslNPV7A3/J7azH0Glcl
TuyRFprWQ8+SpLDE3LANwSZtycmutz+GSvDEEg0Q5TGBWJPGTqhjQKp39X1tnBrl/vrH2HokmOLl
95lTlLo0CFhFwNtVHS2TvLbhLtbeBK3hnOMPZnkRRK9zdV1GX4d5kWG1LMws8e1XVzPeAXLGvBed
jj97t60FF3mMsyNVZ3YYN8Jg8C3FNUFGFj3KxFIe57sFRCvErXYJUA1GjOLFoJ+3r1/rZkBe3yvj
+cyJTMJIUIhOgDesHvMzaOidorPC0+zld5QfOcGMS+iRO/XLddE8jWH8nzHlZWhq+KJ1emjUc5B4
139/W+8vF8t4vMGoxL4wcbKs2we9X4CUOOHEDc4RNMbJLbNQGmaFum+6uNIQW6LIA+3YbPmYkixj
w13VwCvInAKrTLqaCVCPyrSKvez2T8NL9DLBcS/3oke1A2Tj3Pf/5t1dpLLeGx1orR4VOngPKhcZ
y9OgRgUYa3jqnQC1lPIWiPKf0sSVTMadk6YC3oLxHqF61yysZC/+DI8pssPUzgGL+Sp//9U7yGze
NOrmd1yJZjy92ahJTR9FDpgwbxTUBUaJN6mz7VfwDXVVAi6KpjKGplTBAHgsqPuI1BMLAE6Neljg
ix6FM+WttVDbYcuZVGH+EcbYVjga2CLMDaAUNLpFinNHBguMaIVSWlm6KytOJOYejtHSqhDFZhiQ
d9L8CQ8YcA9oTvZMU6fAlfafMOzL4VirI/1EDHGhk99FceyD4Jj29T6XW46YP5je70tkMa7MpQn7
KsHzn26fpO700vjGXtsrj/qOYNMhdCZAXHCWA7ZvUpZVtOd03SRsUlBJaWoOPdSkVC3KChC7nS9W
lmJRRL5qxyuobBr6Shy1jFW0I4uKsX0Ke1uBuNM0spdl7HbxkH+5/sneHx4fFHIlh4mqadmKqV4i
HVSt9K9qDzr6nWzTSbXAqbAH3yDxHewqw+Afha7Gisd1+Zt9XnMln4myddiPQRMBPUx61B/DB4oJ
UdqCnf1sXlBsOYv7Gb509pvE5QimXuvawRmzL9JozoFbh4f1YnfGTxRdjMbv8tc2PnWLpZM3KXda
UD5wxNJ065pYxgHobS0Z7xTkym5263vKtScXNu2DUsi5FPjrPPfN0yTGBUjLkuqke8fckLxlH+PR
ptvy3ejNmL2Q/cCW9p8qwF++KsDh/ld7xcYErvGCFtHkiQbwFShOkFS6k10PFmWoG3mgv5sDb2uJ
TJCqtQyE7gOyw7axiJe7dNRSO+X7/iZ1B1/aKa/vQ+kgOVOt3k2OfBrF7XumzN6iKuk665XQBk40
1F/RdED1P3oOR6/rvn5Key4ymHgYKUbTA/GHtpvnZ90PQe1SO+VJsvElAQfKQ8ekqvFRWS/iqDKv
nFAsdeqoFRBHB6srj94jJQbgdqR4V8c4uyET9DYPYYvyucZT+1Q9mg9KZSXPFPTm/Zl/Fr/xDscT
Sv++OpwmZNgwNWEXqlTsQRfpCm17MwUzB/NmM4UB1eU/asE4OCJlsiFQKoB0eQoDoIyovAUX3kEY
T2ZKmAEKZYpJJNqq+FcX+X3CeeTxDsF4LbNoss5QUfhR1FcSAy884vlFngTGSyV630RVu8jOjBas
7sWu8ZVS65J7jMiekkNv1by8dlsiOoSmKKOAyiJH5lIXRPVYESfQjr1yIwwcUH76YT8az+/fZ2Ej
iy4qpDLB6KCy3ApkPyQvhXYSNI5755yCZc2qCk2BVsHr5JVpq0J2EwefK8LJl5MwXifUidKFNAvH
TNJsjTeU3VRfrNGbftKRITHh8sVsq/RFIuN4JFHQkzAD+EDbPQDkwAoMhEZORse7Ofr3lf1jSaVY
IowJOmbr5wMmrjjOmprdh+9PKOG8aZoo3DNmSYbK7DCUQZtUitMLsjeL+V9jYVqmod3PI28ba/M4
YCQ3RRMw1QYLuIbtRLTFZlST1AQQCt+m5JkTezb1eSWAcWRNoKvCpKFe3nnm4/sG5JGOlUv3xpd0
v7hoL74EtsHra25qwkoqe4s6GCqLakTxo568po8OZQKg10nccU5Hdfjj17pcH+PhpinQpHD8L6hQ
7GePEUa5JjBTUuTI9jOqtzoU4+xqw9SUroFq5NldJO1FXv7FuTR2p73S8rknBVU98SyYOEW4ywkP
g2wzObgcguUfCICJCwxo8CwU0V2ZHurxS2feBfqTAUg8tbdKHlQ/71CMF5o1c9LzBfoXR3u9BzxS
cafqvPVCnhDG8YRZJ1W5SjCL0Di52ViStGuCiRfsOMrGkg6kpEv1MUMVh8LFYM7bjTxlX6HNlrnt
N16c2+xkm6sPRc+8cnRNlPWDPtKXDp7LdPhS8s2bwMPYjz+dK/DVf6pqsxLIeAq17lqpM5A2ltLw
GBrtbZbx0Gm2n+MrGYxfaENVaasE69jJPvTpagt9j8+3vUMR44bE+ZR7MAF+YioghGDREYNGyqK4
hEXRcWRKGzkcdTxn3okiPC6g7LYWXqQxoUkR8NKZZtQaMDDyRXZpvJ0rSwJvs2K1J7r8nZ0jgaeV
2xHkIpXRk9jI00QeIbV2KSqehl6U4QRfpZviWT3QybBZ5CQvvHMyitL2+iSIEZx70+BGi8kK0hag
9bwNWJ4YRldmPSvHoYKu5MOTHOhOAerPWOVFqj/Y2eX+mBBSphF21DSEkOq7sqtAkxU5hmo3Ktg3
KQAHuTPvuJrC+2ZMJCmVPqhncGtjnFZ9pYWb+N5whMkSWlSmaAmz2oU1L1bS1/vHWPn7oOziftvX
aTYIUJSsVS2xcAJ9VymxnRJvrr5IwkPc7sGLw9GVP1j8RSrzwpcEQylitP3gNBtgIYQHbOp1h8GV
3OggJRaPGZ4rj4k3iQ4o9okulw0e3eaIQMSR2+RML7XYfa6wTy6nYwJP0XZ9GGe402i/eKIL2lY7
+ZY43ZE21yW7gAJN3f/p1dgF/nEE9I0c4OWoosVFuacEW9rRRXdKuMGLQ9v5wuWEjHtpZRI1Urhg
I0f6WcvHoAKT6nwT6fc5OACXKLLMnDPXuzmEhFLtP15bYfxLKZtlbGawjtGW0C0Bl8ohPP27D0h/
6ppNsD5GTvIqbGD8gfG4AFI0KF2wdVsLr2rBMXiFdTIoJwRNDK3Ulu5blgt/xx0P+H57JGF1bYxT
yVot1Qa9wOpmanVOkdsKZp6CvflXj812r7PzyOLOH22WYy8y2aFkqcQbMzWg/3QEm6IChwd5Tw7/
xtY4n4odR0Z/U400tIIcVYzsaJQtYVTdsPJRD+CF1O1E77cCsjyQjdpj1meCqNFGjxAhFUABToAO
rualt7x5gs1dh5W6s63+am5bYZqoXz4FO7CQnXW3c7WvdGFxsSmbnOEWZ+4aGu86qcau0kvw52Ri
JlKpQDs2FMzRUqrf+ofczHtOFsZTEsaFVGEoGAFlYtJGt56/5anfD7fA9LOr8F5aXlMssxq+mnIj
OzXeK8bNLvMrk9ZOo4IumnKeXksUmL/PQEQI9kiNMis7qkDUwEYoukA8YASeB2Obk2MmS2Ic0SIS
FiclK7+f/O5Q7ocdZnh5wjiuhV3oT9NYIWaDCkIbgZRVwUq4wXPIPHtgPEte1EEzyPBe5DajNMq+
9jcdrSJ2deBjIGyPUFx8CtuPlPO4AeU11UzsRWIJJ7sNKit+Q8fVoRMcvdc7oqP5s18CFp9T9t12
ogoB/L0piyYw1f/XLEy9HEZQiGAc75b26dtd8migpACWeWf6UdgqJ5a/x+oPOrqSx6Qr2aQUnYnm
spOoc2HVXXRHhHyfjsNJDKJj25uppWWxU8qpR/r+SKTCDrrG6/v5eVabgxFKb3i3+WHf+1WZnkga
+7HcWGDlBaRJQ9zC1CqrQ7XRysWXcpjdbhKtVgMbZ4dhWHGYLD2ZD7k6OH0B9NP+zRyindIWu64t
TqMZ/jCqrHbMAXAburrsAI9yDOO4t9M25s5mbLqk1V0wyVQpztGUhCiKdt9p6lagWWuGlgiNfih+
0uEM5QU3cYx5KQ4Nvte+AeMKu6kN+5p+86H8Oui3Y5ZbovK3AnCpRXAzHpzzpr2uTsl4QyGMIkmc
kBA39VkU7mOF4255t0j/vnLsOlnMpKUhua1Cq491q55UhwQ/koDHTrMduVZHYbKnPmyyNhiRiLZu
sBvP4RGzx7fyXYZ3GkadKlvYyw/JD97n2k7xV2KZZKqPFwEeFs1n1GF+0i4lhQUrnvFa+xeQLJuv
0JUwxveVZagRoUNPVC26vTrXVjcuf8VK518PkvRnruggu/s0LH0VlBOuksI//hpepB00XsLGUb73
wLVSjsSYo8xIcXWN4U/pq5l8v34M3u8z7gz731qnqlC+pTuk1Vs8Pl//fc7XeHffq/+/DqZF2Yix
zd40/mB6s3k78VateSIYbyDNYr/MBFdU6HsRBJ/5UUrd66f4gwZraC8aKEyBAO1/bXSal6XVwKXu
jP1T2yQW0dxp+rFgtVbPrLI/hOLDOO4GDDTMrxzR2+7ht2i2yKzVc1jMJdxP/rP2R9vYgYbLC/6O
vs23E/apfs3RL1+vS93MxJSLUCaqjqUyKyLtSAviAsxA056N0Vaz9DA1kZVjAeS6uO2azkoeo4ZY
yYh0QUelFuvDv1KI8Ily29UxVgXoEGb/InwqSVrJZKJXMEi9WVBCPbrKS3OHBFt+ikMHYaodbyBt
e3BiJY3R0kggQp0OWBtI9tOpxUOPzpkiWtJSgL6j2RkFbkveAju1Qoy/8wsDPCVmeXHFOpXDScUl
U4BGpB2ukCNFQ2o9OvT91/Bma7dd5EWJmMCWD0CuAjQIKhHvOWiD+e5/tVOzme2urpaJagsGryWj
hbLOB4qYkaFbNt+VJ4AueaZj8tSGqsVHx385FRPMEqOT4qaAx0ywmlE46rfc1hz58VdFfDzGonXd
Nni3yLgeqdG1ETRCdDgkBik7nZIXsSHEe9XS//aVYxnMKFEYjM1sUqazKnlL6yc5TC1ReIszMKYo
VsFNoznSGP9S9KIg9yWwkYzonia8pcHbdt2euLtohcG4lA5NK6NMQSf5S9ul4/BCS/yAAPbr751L
YG3GK+WaN50EuG1P178az9gMxruA/SWQBwVPsMa0upOKgdDBKk3Mn00uRYTk+ZftYc3VcRn/IneY
LpxlhAn5rN/SyazwgLGON+FBt+nMm+i3YC/n2MJ25P1tCuwq1DJic3nIoJqZ8hA1hyGSrTLiRCKe
DMaJlArGB7IJ7chl9IrkYABQ8zOkoFj9E4liaIZGCGNhhjnKWUbbuNH4OAJFYqjtPOSt322a8UUI
W8wnvdaEDR3uoPli+g7lrniyz2t5b6v9Sg5jWZrQL6Keo4aSnbRDga1kvMWXB3IT7Ad7wDYFpU/R
sGMYucgmQD3G8Vab+eRKPGN1ql4XZKHjERLBBrZUWqr0mab+SgJjWMvURqKeQIIWTha6k7bC/Va8
QzC2ZFT51BGhIY42GwDAFX1JVP7PU1C1X+XFdTCJIhCTiROKfoot9QhbPdc90KbhrO6JMRy5LbIs
DulwQv9gRl8I5jR5nMQ8EUzgrZQwi4watZBaO5rp4gnlbhl65/o5th+tq4MwATdTVLVNMDYCy5nd
+UzbQ5UPpj6aqlGu9OSt96fRKv3rcnlKwHgFOSazpNBV0gaEdikR/D7SOFhfnPtji/F5JohZLM3I
BPWHeTpU6Usm/Lh+iu3M+nJ7bBW+BHTZOFaIQ/TJnyPpA3RoduwdNBh27TFxR5/XLOVcHFuMN4O0
GMuE1v0n80kl4ysZzFfOqTbfJ6tTMU4gnNqp62jJ0XhDk7lyBmdy4qOEwsJgJSM2L0Qnd8w9f098
O86uJDO+IckQRXQNcTb8OduNbC0O3YzQb5DAAAPib4IFxvCWV+XkXSlVpJW36AVRSNMIV1pXR5O8
pdpn4NhWIZCtvGulYQCPHpYsJRhVz0cvTZFkYvy0MLDejCWslxgdRWFUeIsJm2nn6joZF6KJk9qX
NO1s5B9FWSPb7KyknC2UwkhArKrn7WlSt/chz10JZLzJ0LciMHsFDCnIeGCGi1eS8LHJ+kNktrvr
WsoJ+SrjQSQhN2cABP8K+RgGAsjkvykRbdffVYKNGUMB8DeL3VsrtdjEElKkX5hU6isgNO41Z3wN
CouCJgigWIwd8SZ6Wh6vn1DaPuJFNBNkMlJjE7YCnMF4mNBO7H+KbgnqC1GwyH39mn+hywChh15Y
dc9f9t/+lBfhjO4IiaLMCwVmnMbKDTNi6VL1bQK7UBHNn/LUmili8BI9SxY2sArmwUjokOnUTUch
jh/aQnHjRebMMv/BW1/kMN4FK/gknDR46/FAl4TUb5GjuwboRrGFL/rKQ/DAW8LevsSLRMa1ZGk4
G1h2RPKLhRzhbAy618j7njvGyD0aoypaNzapXuNrNQ6t8NR20rxgrYJg+tOw6ChEUVux/BdHQbc9
5+V4jI6MRV0AxQbuWsMqs+KmUE6Kp5kDMyc5pnj78d5E2xZxEcj4FzA2NSPYYGgxottLfudTo0eo
9TkH48lhnEvSml0p1MiKYjQRn8ufkyNY7dvkC8/NT7pPJu2kA60oNTbf8LabburvQ7LFgiLuJG2I
0CBO9ih+21lhpdiN1b7TdGx86a3whXPa7UzpIpB51QR9Y8YSJQ0v0HLH1tFtcwz2xhflMbsBWoSj
A94st3TO8/YPjvUilXnMJJMmd3GKY2KaXD7gflEi7HzSgD3UCk60hmCg5B86UmX9izED3pmZHCeX
hFqM6JgBnSctn4MdLV8YDtmBxLm0Bhe3f+Dvw3P8gcF4IABWipk+QGrjLF60L/aTRzwCxE0C/LPI
x3AkNpN6jjbzjso4ISMSIkOP4F71zvRaRTpnYm6ZfFDWzYk6DQ99WQciBPCk/zePqsBHLMQtDhdn
j6CfrzF53AQvXeGL0c5sB6uTD3F/x9Fd+p0+ZBwaocBGGjENkbHUQVE0BR6I0sHOruqrWLoR3MAP
HmkyIFTc+YLNy7zIYztT4pLi+TrCVpK4tYtWOeXB4KhR9pkX7EoMc5cjmKTrJcWxwnSvxrdKyomF
m5579fuM8U2xHqaggccxEo8Ir13OGzfZLsmvJDAGVkZauyh0YHs8DCDRtUC+cYwfKCJl+NTigZT5
1W78boJmh3IHACMm9HitUd63YqwNC3nlCCYveHHxa6P4jfFocgH5eDIY41IiKdV7yls02r077yaP
YqxFjmkDd9NuT3RmlpdU8EQysT7TomgxK4zTjOOTIvyty/czL7Lz1IMJ7KJRj01CAD0Ri2eM55nl
w3Wz5R2BieOROpV6GqDjNxFyC07i22Foj6rJBZTleIf3DHv1tKs7sRpSSj2WnNTbZk9ANoO0nc7M
aMj4AlvmoaxRu7nijt4LiCuBoRqmIPWGwCi2sr126AFhq7ujCYBoSgrMA1TezvsuVsZyWBpqgOnz
GSpeu+ENQcckhLgcfYzKlQHvLyQWr5WxHbdXIhnXQeIKw5sT1ihp7R2DKRSkMT1Q0Oje0XdYAMeo
A9jC8CjizXZt79mvRDM+ZVamZolSYDJpWP4+94dir3vJLeDU7Vh3KWIJOm1P9FXEW+7djNsrwYwn
EdOgVGu6DLIYe6XoLRAVF/V+4DVutvsaKzmMN+lKaW6TBp9Tf5Q8E7McCmDiq/cEvjrzrnPbCAFf
qOhEB1geY+TSpLT5TOl2le40kNtE9FXedA9PBGPnJBeFIm9mjMrNN5LwCiD6ZNhfdyXbrupyCiYB
kFOtGhMJAXnsdStORYuL1LVdlQL01H8vik3I9TEAHSkdV45/Kof4CM7gH8k3+sjp95H1FN7yUbW2
y7IrkUz8F9qxVXX6bQZPf0ULyAsOxA+fzMqWfooObTPID6PPbb9uu6/LSRnb7jFwQSIFlwnujhsM
RdzHZ/NNsinqanLPW8ml+vXRV16EMdaMFmJSAB8Eg2ZCZynjKQ9fRv2vXp6sqP9UunMRxdgvmarU
lGkTm5S3mrafm911JeToOdur04YmSY0Qel4ZszUPiZ2KL1yORI6mG0zcLzIVALXUCZnh0ZhvRF53
i/f7jD8YJRkDbDJ0rsue6uhB6TnTpLxLYpyBPuaGWqe4pFxwB7pqU/tL8u3/+xCMN9BAwq4EE/La
aqqdToruUz201Hz4/47CIliBtKRPMIyKo4SelL5OmpcZz9dP8ofQ/ltnTcYFgEe0DNUEYCBzBUyn
NzSzXAFZZdFYMgivDuZe8DgSOdbPQhIOYxTOWPfH+scTZRnIPHQzKp8yLxf3fHRdjrqxWERxl8vG
VCLWTf0hTu6U4pVzHHpBV/yLyRh90o5ioNOnmrgLdooLYgufHGhBg1+zoap7TRRV/VXaZ4AKO+h7
PH2J/COQ9pX5RQpcTX6UMBeQQE2un2zTkHRRU0VdkjRVYaQV4lCEsYqS9BR+SySXYFRaGQPrupDt
MpSuiIam0fV/drgwFRYgpzdgk5u8/hljRl4Qg++PdrllP3aazuFV3baPdRHIfC+gMxiLSiO5FtxV
5n2iDNbC7VBsap2ug/4YkxWAGGCsCjwaWRrR7Yt0ejLmuyblPNy3D3H5fSaC1qAeWfIGvZ5Fdc3m
qKluxMt4eCKYuDmamTzGKuo5WT3b4mIbKtZxak5NfjM4r+6J+RhqlRRCRrdFwP9rzeQYGfdTDWhh
6YYMA0fVNrPrlSxGn8twGklIaTozRE91OORT5RLVSYKH6yrN+/ZMAJUVtYz7DK02DRTGZSr4URQ4
10VsZ/CrszBBNCuDeChzeILOK5/pcghqim+/SDJ7n/v846kCG1JzANlhJeFX/xksGLsAlYf8/Gvd
ErD1T6aTvlw/Ie9jMRE2D6JgThVgumm112teHsZWmzxVws/rYjjfio2wZSws4UTrsxVA25pjJnPs
dDu8Xj4UG16V0IgDtcdLvT8o9yPIBlJ0uA1H2pmRTfvbIRfEjHckxjV0GUkMs8frNRQJFk/KnRxH
HPXj6AMbUxsyyIFA20BB8yTg5Wg8pgAOvf5leCrOxtVYlTt1MpAnSre/UNaB93ZK9/W+s2dfc69L
452I/n0VWfOwDZQEi0lO09eWLjqBgt1KLizMZp0IxWOkzxj21FiA+litNTKU9BF53zm0B5I/Ncf2
Vfaw+m6P/ry7fqhN53oRx46mkAW0kqkYEafXTVet/FE6dktjSxO4PKbv12VtK/pKGBPxML7bCgpV
dKycgzAkd5ejtqcr4GB/RImm4YIOb+r5SiCj52EoJUMYYeogLx+yGVtU3vUT8X6fiX91KRYzVr7R
BJwHKxtOOW8qkieA/n2lcwsoxQqJrrHPqQ+aMoPbtKA38CFdXN0Qo9S9pFZyRpWarnQHGCQsbZzk
pwACHPOOm9ZveuyVNPr31XG0sa/mYcGkhB5Z2hnEJtjBDF1jP4l2cDIeu2c6n648aLxpxe1y3Uow
EwuxlRykpEV0+sU7WgFrH+h7x0S0UmwP09L4rFsBwLeiT5VhV5KZuIix7jIuc7wtKGLssqdwnIMl
P9KSqPmVV4+nEe/a12QiYi3lmhQPiIilqp2GUdz1iugotfal78LH0hw9UaJrHgkngm16xssZ2cXQ
0Mywm79gwV2Tp/1MtC9VPH+Vm+X5urW9d7Q+Hg9bs4om6uBRZb5iK4xdqijYxeoKsIBqghMOuTuW
ozvWoZUW4rOmlnbZGE5Rqg8c2duGcpHNfMes7GOMTr1/x/YvCuua2mqK+v3oIDHYGTxy+m2/fBHH
fEm1C5JaqABzWPeZJUVfh7G3sgLkz0dV51zr9tf7LYptFGiyGBa5gCAaFH+rAjZZvxLZu35723p5
EcE4/lLXO6MR8eEqxEw5fWmbyFlqN56OWnSXRI9TxN1Z5XwvlpxHqAkZzQglqgYIQ7Ibu5gkjUFb
ph9kP/rBQzfZ5KcHH8k/qikzkaCVWmwBdBAX/wQQh/oKLrE9KS0gL/oU/bf5VvlJZhlWsljNc+QH
IGL55Ha7oVNoTEM0CFv7G0WlrKoE0YKuQkyAWIkB+kDBEfh7Tttv8pUsxpUPal4EcoWnX44Jmy8U
0aJE82MobigTeuaiJtQ615WI/uJH67+cjrF+UxvkRce4LgAm+31ODEeOylPcyN7Q8UB+t/X1Ioox
9hxpnhZTEgY12gULOsbRLpRrKy9v2/iYFx43NdruUa+uk7F3vZ6zKBzgXn5tGylue06ccKc4mtWf
Iq85DkDCN/AhdTznsr34DRTz16932w38PjP7zJma5r8sHUR/UltbVV7HgeMG/pAAXmQwfkArBnVp
OxRytLNyMD3sGApuina1twBvd35p8Eicvl4/Fk9R2VLi0tRtEkdwb/2hOVGeZcwOh9byzgGeeuqd
zCnIcnSHffiUeStowoiS2JwC61twBvNYR36XvBAMEOtep/HmTjaHXUCdoGmqqgAJn3E9s1I1k5Fj
9E1Z/Co8FPPjnLzW5Q9V2alj7ZIitkr56fqtvpOAfTDGlVAmMTVHA1xCHTw6wVRa+jOwVYvO3cUY
2p/vTJfisgD++x2LIrHArwWyn5zL+LLpEVb/CarSq3QyL1UJnxbqJAT343Cvlt+zXrG6gnNYnhj6
95UYMkRZ3dJCiio/D8b93H1NikdF522ySZsWuDoO4+C0Qhi6XEEuHpWYrBu8dxqMc7pLR6t+DTzj
VsMgEeEtLPFOx/i6JqiEfiDIyRPy3ZStnMy2muxT6a/rGrP5klkdjnFwYh8MeTVQDtH+Rc+Kg56H
HEPgXB+bhS56EBlpBpWMsa3ZRxYpb5JG4XhJzjFYVPJADcZJoFwJWYWdpz7zs6bhZNPbIDWXq9Jo
arPStzH6D2nX1SS3zWx/EauYSbwyDCduDpJeWEpmzpm//h6srzVcLEXY+p5ctqu2p4lGd6PDOaQt
a5q6tDuT4g555av8SF8p4bHmbQ+tl1AWwhjvgcH8cqgrGJ2wz14wyXqKPPlWtwRPw5AIr8/Plca4
DZQ7mibSAR3Y7ygzL2U8q/fGha7wBtwV3nWDwKC8rAE2WGInUiq98zufwlFUbWoBkrojt0LIKU6v
hxdgBfwjhDksqeux2DPBrun7TgX2KMBa7PJE58paL9gJT9vXiCuPOS9lDEgoAmwByJkj6FUa2wdW
3xuOJW2NCw4AZTgSV58iCw2ZM8O+xGx2OiQO9uDi/oLKot0XXnlbYCF62NGh7gEsNs8TV/K6a7p+
W3rAi4uQJIJRdhGSosFOMeF8CG3lNL4KduVET5OTgXGhteN73iOaZzaMu49L3/TDiN6I0LQkEFSn
9Tkeve2vuu5Hrqoxvj5sfTOpZggxQi/14Ur8xN6WwDs21q+PqSxGOlY2+kZzwvbQAQUg6EV7mBNb
yQJnWxrvqBj3LlRzjLEetIiLOHATWbJE/5ikt3qYHLYFcdRiYeBnfzTqfoI1Auz0NteCc961njAV
FinH3cjtcK2fkynhMSWCB5KlpWqjfjJCkXYCp8jtZ8EL0trd1ug3TvGXDDbzVtRADYUAkwLqpXUo
Erjg5qfaHd3C+RcueP2krtKYHNyUtEroabO7O06o+VF+JuEmdWJHe+iBjRnYzWMATCmOfVBr+5gv
XqUybrJK5okUEwaXfAMPqMxCu8iSWtk2fVB8ySVSDk4UXbeTq0DGTwJuMR6yVAIc/XjyO/Okp/WO
kGRP9NGWuXt16z7jKo2a0cJThXUNoIMSvdwpD3ZtA0eVtE48N5w7vfq2IFcxjENUk2jOMVRCV2QB
Pe0lnuL9m00znjaMB8xbMdUEDWVzQ5atILY7Wbf0kmMRnJvF4vnPU9sorQD/NKvSTiuILYki72bx
rI7xgW1KQmGuMUZCl2KnLxVQMFPJpkD0/UuMHRbyWXtq38YweP3Qt4LPlsEzDrGtMLhsUr7B1qGo
MxiHPQZe6mReAzo05cF4GD7T4mH5QOkOtSdUnn8avKHj7XPEMuR7q/TVTNbaEurPzWUgP1PlXmt5
sCXr84G/bFJjgfnCrO2Sqabv3WOD/iUCzSXzxvvkIh8aZ3aBvPHIRzHhaca4E5PUdR8kyCO14IsZ
eZEPND6dRy617UI0kXEhgd8mfk9wqXty1OWntnwd54umn0adt4BEf+7vjUUTGfdRhH6baRTDZEKK
tYRDB9s7KJY48Wa9YPCPFwEX9nuzkFNSDf48w1nNlyGpLXV6avzAKorPtdzbxrhv8ttQ4EjlfUzG
p1Rdk81ar0Fom1hq8MM3EssY9kl7nEUed8d2iMNs0nsF8xo8kn1Pn7T1pyndzxi0j/1XwDNyUmOe
HMa9dGAKmhXKNayLnysdVESxbWsNZ2CUJ4RxJHMTNnoUIJCp1VkrXsfeyVTeWvjafi9YxSQM8qpg
2jJZXNS8y1B5INPfrxhMWCHHrxzhIfEo1O38Avw+rFBqmAXPbd5qzFr680428xXRO8IuWg8vNe6y
m87LvOg8gygkBhpYCkrYbeNfMcN3wpiv2WNFRjc62L4yiZFVaWg8CIJ534rFt0Qxz2YSPm8LXKvq
LCWyZYmoFsQkUNAjplvbQE4tXoqbcqcOVnmaM6xGtHYJJDCH57xWwus7sUyaF+UEbLcJ4o9Rlo9t
ruyiZOBEcN7JsYUKtZULQB/RCbYXGaDW0j65AEEOhYrqlq8QVxrjjjV90syuR5o8HfszZU/rLcUj
nozy4mDxOgBcaYxLjltBKsJYoqBmFDOuGoFXr7lJ6FByOOEQlO62naxEtHfnxTjlXq3jwGiQltfC
lzg4R9KLNnB60TwRjAsu2lxKooruSCevifkiJmetv9/WYq129U4NxvVqQp8bTY7UkbK/Njc0Rx0+
CR51IOrDtizOVdYZvxHEVYIwRsOzcDQEkL4AETiz++nJDwuepa+EzHdqMW4DgFuGBHhTLEFETiQ8
jJM7DL1FCreqnIBYZmMDBJgjlKMfCwjZJk3biHTDXC7uAuMpTG1TPAlwFknJic0cw2Cph8pYnIap
xaGZ4M1NgPedSwcdFdTt8+JJoUnQ4o00T2IxK3QyuVfPQ3dR/UPFo62kl5LJo5bHxMI3tFrvVzIl
KNDQiIhumv6vbRXWqm/vBDBeYSCCPqYxNW/gYIRoegZA+PIfJTu2RBBG8vZSuPIYr1DrRdCaBNUO
0TO96OXvvcHptk4tWvvKPZMTHtfPCEm8qOK5AB7Z92cU1FI1lQLulKY9qNnnROMG4Ldxgo9ndBXB
eKEqV9uozKGSsM/PopdMdvyU7ONd4k23dO+dbp8HFxnkw90TfyKMpyDjn8Ag2KZDi0y7b91w9K1O
UCzUlLxtO1m/ulcdGdeUFaqRSBF0jOWf0fAZW+dCe+PLPxTC475at/irJMYx6WGhzBWA7ZxB0txM
7e9JMPB8Or2YGyfGltyaYtD7iL6DJMnCjJuLAp8tPnY74uHtzO8R0Di+JY7JXIQ4FMWKIi/FBbY6
aWKR3/qO/qR4il0//IuxCY5NKIxjimMjJ0qLVIkilmBww0kKW3VGe3LoAidxwA7gZK/bFrK2uwpP
8uvgWAYssxmUpq4glM5qzE5jFzYy3y+ZV2NlCwt9QLfxpMESDtMDr4fAsRmFcWIJyBITzFFgo79K
rFl2R6yGbGu3/kVNinggo3LK9sDrftCLVIHF6IKyFwCfYw6Vo/bqH3mrqxhGkVgwx7GgB6fKn9rS
69LnjNe2/E1Cc5XBeMRiGDoBpQZc5YPwqfGiy3hUd9UOcEcOz/muvPRgEldRjGcc5TxJBhGVlHB8
TOZPGfg41O4Umxkn3K9NQ74TxDjBsckK32/w3WhZjNwCIvgYedWn8JUOmVAK0hgk1ikGMbet4jfR
7Kog4xY1ISHNQDu0M8a1QQoJRi/DlbwZNy1zhD+Zcn+nJuMbK2EK2pG+vHTzcZJPwfxnd/gffXS2
vhZ0M+qXAgRg/zwHam9fACYOrCKJRdzkjD37BwC4FAfFLqAd7yXL+ZqY0X0fq81KjOJ4wjXWsTQA
+FvQh+rOfN+DOnR8Bruct3169Gt9dMtXZRkvOftKOqh6RR9EFJ+YojxLANDmLvWve6erHOaZ18y5
VIrqWylicpsHTCR74E7R4Y/jB+qPU7QdOYbJU43xI+Iwp2VW4z7InnmkT5ZuhycLF/2Ge2KMLwll
MqV+iBOjPJUGAKz1wUpfKXCUjj22+CcPTmk915Ik05RB26ITdlpBCHRdyE364rvoHsE04rynfYPs
ktjDd+UhOlDkKPn1jescGSxnEmpd34V4xmTaGjBrIF6k7YqJ8nLe09645jYOHS8PQovH+rYadhby
GNPxuwDMMTnuYzZdIjQVhLts5g6WUuf44R4shDDGMvThLDcGYlvjqkf/CFLHwRLv9Mf8hEFdtM+K
Xf7cgqHk9g/AkzD8cz1MxnriSehIlaNh0sjSrRI5vd99S8vmv0/RvJPCBCEghqhREMBkhvASj+cw
3Yc9pw6xHn8WmjDxJ0R7XalbVPz6XX3InfQRXQnjRrgp97QlMgDEWo9t+Sa98CLQ6kVfCGYCkKQb
eQNsOiQMbxddQPAJ99mOh9GxXjxayGEiT5fKVdVTGLPGBc50ZfkH/6xaU2SZO9Ea9j4P4oijF1sq
6DDrrNTaW1+Q7nAkXg3yW3XP00tezVCuen0oFGDibprBaur4F2k37JWDhrhHJ5T0g+TJ4KuIPLBj
YO6vdSPAkas79ZTb2Wu045XnODfdYDxLHAvqbChIlXrFCbUvkrKr+6fteLcahxa6Ms5ENvIWqJ4o
V4zKWc4empTz93nfkvEjvjCZEckxOKRKxzA/ZGB1yjEkmQmcJHlt6HZ5o1k6CCXozKbGdJQzAUHQ
Em2a7v0kdvdJOooOnVHi5bG8w2FcSJbk2VQpsMbGv6mTSzPvVB4jNy+0sIgxRhsLOXUjuGGTW35G
w+IgHmZM9ysusI1+ppyPyHH6BuM4zCpuO0yHAHWn96r4GyYMUcEajZtJ5V3l9Yfhwu4Y3xFjM1NV
qGlP9z1ev2j3nGoHq1InCuU1aha6QBdsDzm5x20M0luzEdpYdJlWkQ25G1EcEe9pfi7t+738oz9S
skPU2A1r+4Ktf1NNkUzg/mqKzCjaCAIwXQe6DCZFVpfGVikZlpf1JzP7tC1p3SB/SWILGFkaKKL5
tuQo5Zbf5FY/zdZU89qBPDFMQi4ChiNvCIqD4zRaCmjcWhXzGf2w39bmN7Z/VYdxfgCIVmVTRlpV
f+pczAuBjk3+TJll0gcNBRnePBxXHuMJE6lN87JESjDuwjvRxRDDT+BD0xCD3pXdYerwx7aGvA/J
uMZcnpN06NFX1ebWTUvTTabEjjE1tC1mPWpevyP9GcuCtNjkcUuf9tdpGsp2zvt+9Nd+vFVXMYw7
rAc9j8QOJTqjzz0MqDutyaPG4olgEioTvID93Ix09PnHkAnWaHCywvVgddWB8X8G9u4mk+CFNOWD
pxXjJ01HmBc1OzfCx+1T4R0+4xbkIcvBXAvPntaya+J0olg46AqP141n1Spt+SxOPxQBbNV39BY5
Ex5jEcqaeNO6NGvB4+RROmyrxTE2FpKU5IKmZLQk3O/+5pEb3tZOec9njiWojG8wWp3IJZgMHJKF
O6kJMLtVcZ51HL+tMu5ACscozyIMJChBaYvkU6neSuqpxdpbGv/c/mi/yV1+2R3LqK3k0lTLlNyi
O2Yvyq7D23w2wOTdg2+U7grPqN5z7O83yftVJusWujpURYJP2DqGRXu/dKnF31Gey9zjzYlxNWS8
Axm0IpsmJEtkD1qd8kAhO+nrnBY8qoNm8+vdnAumMs5CDoc27WmZUTEvbeTW/Xd14gw08UyEcRd6
K05T2CASJtFh9D0hvm8C7EN9kQjHQOgf2vCtLFpCqrZYmuuxedyNnWXU7aNP5O+J5uPhD8qGtLPq
6AfHJOkN2hDJIiaQQYhTwYcrDA8Y+HdH+IzO8TEET0vCfzTFgeTo/3MkltUjKXJBCFuE3l58CNPD
/Gc1BdPQgPesKTo7hKk20YAHHdBP9Upyk645yxFI4goerP5vktqrHMYggtgfGjJSwJGvIPC4Ed3B
M17jHXnQvsxHFEpRa8tvcrdruYPH6w7xKpkJJ3MRlKEGBFknyHGfs/k2UzKOQ/xNKPlHBjbT34cS
lQzVZAy4w8P9ZNMrXNgCOmQp4NFaO3R5CQVXHpNoCgQ97nbA07dyJ5tW1ibV8p3SzQ79DSqyRy6I
AVXgo81fFWSiypSabawG2EiipFZA9McCyIQ2bc2lT9w+LYMduQTkXyTR1pGTNT9U82uNXP2Pru9V
FfoLFmFfbvXZGEBmBlUGV7CK+8LGPoQneNVtxO3ocE+KiSVGUGfamCLJED0RTA8NoOWT53w/RBZN
ndFCcrfVW88yrtox0aSIJwy+hwHW0w4UzR3DNygu88dvuXoxMaSPQmXu5QDFl4PviZd5b/4gudM4
g1PdhW6Okf79tmJrY8aoYlw1YzzIIKlxDgw1eELVpWOCoZPSOW4gnzraRQeocQqKo5LLv8AzSMZ9
4EWHbL1AtVeOZzcuwyNG6rxt1dbj8S/NWBx34tdBWNGAIsdHkZwn47nn7Qivp+9XEYzDkDFFlKUE
OXUp7LLo3ocHJt8GjVPX5Xyrt8RqcbXUqTUTyYQbLGRvkh9r8dP2h1rPzGRZIqIigQVeZ25TXQAK
LksggPYT8Ow9CnZ7zA6UMsW3ed2L1RxmIYy5SlIlYF2kB/B4YsZ2HRpOorS2KKhWXX4fhpdt1XjC
mPtUy/HQABQWT2xFsIPx3m8vGfmqg3CYJ2m9J7TQi7lIIPbNsUJFT2mihJVWgKkiWlzSD8A52Kvo
YSATOOufKDwlf9p31dgX0pn7lNetKSq+jscDsHd6o7PLrLGqtOK4+VWDv4phC+LAeu6A39gpzpw1
3lDWXjX6z6qevVRSxLF6nlWyRXGS62WfDujL/DPJgfB4Uh3iAfTc0Tm5xvr303RZl4kiohD4Pnzl
ckN0P0JmXYxOXL0OjRMl99u2yBPBREh1KHMRQJzY9BRvuiK3yug48AiQfmOFVz2Yq5yUchISDR4p
PLeYuhG9yQ721bHCcsyETuRj/tqDgaT2IhNrOhEgprd1XHVV8lU8c7nltA3qKu/xBkK/xLw3It5a
MM2IPmRMCwHMhZYGwOuBy+ZvozCPOiWddqQb4T53y8ufgGWrWED+ZRXMnTY6DQyDInoJwn7e9YcK
3XmKj4p2wr8AD1z3VVdhzBUuYz1XshaQcW0a2016Yza3aQDW8OR7zYPJXEN8gmKg4wJIqm6a7IwD
EfHaEhLUiGnDLsfMd7drDuhZcB9a60Z/FUTPcxG7QkUPkjGDoBAcQ6b5Urbf6vJ52+hWZSiySkxZ
BV4uSy7fJxoRQJmIWb35UErPQnKMFY57WLXrq4gPfk/3RTmvwD5O4geJnITw57YKvL/PJBJikmZG
FuPvC4lmi2Gym1Kds7i56roXKjAnocuhXofDjK8UqfvBkMAP9DUAjkpBeK0WnjKML60zIiZSDmSY
KrkLyvv2z4YzF6rQH7AwqkrqC72g0DNB+hhgJ1oIeKA96w/rhQhqcwsRqSA3mklAcxiFduuQ2xn0
YAWGQEHUpYPvPd7Lj9EdRQbAfIm9bQvrmy0L2awTHRo/xAeko3EY5kIHLt5ldviNdiIUt76EnvnA
q6LyjINxq6HgC6bhw/6iGjQ9RuhEnQuokkTjLF2tx6eFboxHBVxg20W6Tzv46VO0/0IrgQ3I7Dz9
rrWyAwilfEvGhpKJVwfvw3L8hME4WKkONF0JEONLzHuD3LneTbwC3XrSctWPbfX1OggrowjZbb/r
sXOeAQ7RfKooGZIrfObN5axfNIyBqiCuAFEkc2o1eDEMeYAwQ40uVeTbPtA4to1x/ZuBuB5vRFMh
7E6jSapUnSZMXEz5DxVPgzR2BPLXtox147vKYOwdVe9RyFMZj2vtezv9paPz1QQnKTX+7GJdBTHf
K0GOPILCnM6JjZgNlqzI9e8EO8UsYYHJUx81Jd/933Rj7D1LAKMY6+CpRinL0gUwUU4oqgLhPysO
25J4J8VY95zNuiHRFYoq3otYKcz2le5ti1gvqiu/PiD7pM6LoRtCCbMb0xFtCTryJrjtUWis8YhN
djwXMVnNG0lYN/KrTCY0FjPg5KUBzj6cur00BkfDz3mGQQ/+Q1a50IuJjVVimAGA/+BxadYMVk0s
paW3oyUfand2kyfF7rFqJTjaj+0PyrH8t3LQIsokSPhEUcQFFjBDUo1PQn6sGwWrQsTaFrS+iLrQ
kAmZpA/zWcawgPMy305YIdP2/mFwRbz2QSVlpdbn+Ma30sD6F8AY1MS3Pi413IWSsaQNapJ02DsI
XN0zdvQt0oNt8ibMLf0u8hqs/gU2uJLxWuV3ZXifmHEuiiGLU9XDuZj5qanOfaThCspWHOy3vzC9
XltaMr4lqqa4NekW1j9Nb1oh5O/ZrN4GjCGIuoTcXWY3sbCAXbRaB4uZMcIiH0j0sq3G+stgIYAx
lFDUfWGu4PBVj0JsFp7uSEd6tXlTMasfbCGIMQsgs2TtKOCpGB+oI+n3CmYG+R9sPZNTdRkxUgG8
JNsgNtVw8omJbApXjKT2jPWy5mf+rXY7rEPrnyuHjuHER/01uOUxua+65IVoxq1kZa0MswI0hTxK
Haybucooo+TFQ/z4zZldVWQSbjFMh7qjYDp/79RK+3qfHP4VOum6+V0lMdYxC0EZY+6Cpm/SLsGx
ja/tqdyPtuDhiecKGneNnfcNGTMpipI0RYHZKXO2G/JzTDyicIYweEoxLqJsZmXSIrSysmJ21VA7
kEnkRE6eCMY7mE0cCAMlPiEpENqG+meV8MhwVh3dwtiYTCMqOzPNJ7T0jf7Vb76QkFiF7o46L5Tw
VGHyjLYhGTEbyJGb84Cd1tn/i+OCOBLYTvBoqPOsxxjpmMCwcyx3eHUJ9oAH63Pr0q6LefOHqfT1
67EN4RQIDr1u4nWcjI07p7Mbham7rRfHkjXGGyhFrGDTGd5gDE5+eJ5Blxpx3vjrz4+FGownKGZx
xl4TJrzABHBI3OA4DGjmUA+HyHrgIsnxVKInuQjt3TAQdY5KxRFTye3CxipFsp9Ix8nPVg0CzXoJ
qZ4CJkPm9mhiiSnRELfH124K/1J3n7dPZn0ZbSGAvTt5K5VpgOBNSRlDO741blpLg0vLHnmz3qth
byGKuT5q3jRKSjeB07N5lPbgafh3YY+mxe/zESIaOnrmWE/B7pvGHM0cymrZNOiQEkV3gzhxjQwl
2alx+zT0Yrm2yzgCS05hCbULju7/XOt+L53x2n7aFQQoApiDFo6+cTaKu1h42D40eugfFMQsumES
ESiULCg3/sMg5iryB3Ir1dGLPmhAcZcPah3uY7njXKyPhg59FsKYEBFMmtzFcSU6dWYH5gtABY2W
0+/g6cMYeR8lU+arNT5Zr5yyUbSCVrOrKLMbVd4PPe9h+vFOvdeIMfk0SbTRMCbRAUSNlZc/Ma7C
eXPwvhlj6XMyJInhN1DIOOThSda+adXztg1wlGAR/vJoRnW+QM9N0/KDNOU7TU29bREfw+q778SS
CFXgNASCIY6lNvbSfDb6H0P80Jm8+QnOx2LRtM1UytS0KEWnye+MwAPXQ5LvtjVZSROhClFVYI5q
mH1it4e7OEq6MOxFbHYMR9Xfk+QgF+jk2YPy7Jf3/XSXz5O7LZSaEXtLTVlTcR0lSi5B9V5EiDac
CxM86qIzF0+VjKXbb7kCxP7Hyngph4wTJ9Y+4lIYc0tzQTJ8vOJnJ43OqQjCxsdOcLb1WbO4pQjm
loYz1kty8NM4TVSdB6nZxYSL5r7mupcymKupzEmOvhPUoI3P4gF7hYAONlEYze81TurL+2LMHU1J
ZiSCmsMkpkcgYliTcen/ALsGHvpqA2zVaPaxnpwVsIHBnnfDTQZojxFNSPOVv7zLOZ63QL8wt5iY
cwr+p9nxu8TtxPyiReNh2wLWHMJSGyaN6wqhM/sJFpA0yXOf5mDbmDOAXZVWrMkcWSvzQO8/HZPP
Yb4k9dMI+lDOqsbSToKBDsRomxaWnx/JwB3rWynxvZdIv/DiC/aDMcSiBuMLD/Whfiy84Fl1lAtl
uxBP2DvaZd+2vydXR8ZFNGZQBH4HG5RRijqIl3Qn3Ex3WOvb6WAzufD311dmnt7ryPiJLAyUpp2h
Y3ecd3R5N/9G2YOCQ+AZSPpKrx0swu3rrNqmIqPrqoL/W2ULEWHXzcTsU9EpyruQfFanF86HXPUb
CwGMZY6xNPUY7J9RnTW9cjfuc7ChAsbrXyzJr/qNhSjGLntA57V9iksQCqlFpG8i/qGNTxyF6A/+
EDwWUhhbVIJYCoa32BtmpRUGlSsVgpuFamhnfXUzGdNNKmHFAP+uR11iJ/742JWEk/utm8viZzAG
KoOdLu86HFzjZrMtm4DqBrnWudnNmJaPAfB4eEPq5pdOV8BOYagLyYyhTpMyDFMBbinaCaTUWhTk
NLGbnf4Zjzu3ip34G50sAmHrtx5g3q6A6r89cuvjvONmol5eG+BRkXFF9XsZRGIjWqEZOFTU742K
YfrAjo/DY7T77/2699ozcTDJQcYzE0F0BPO5n85JdZ8HjxwT+ziB+14GEwDVTmzLDlkkIArKQ4ap
c39fHLAvYPOot1cq8O8ksVWNsBX9QjBwlikwtb8bu/GUgdbDBLKEf2ueyxT9E1r9nu4pXRoPJpoe
0MZNYssbRpaamNWmwtPe0rRDV2q2Ut4p2dci4zz9VuPj1WbZMkcgygVGWOEaBvIazo8xke3URPbS
83DPVlPLhSDGBwmgi2xCoHU4cV9Zev6aVWfRrC0jPpq+YQ2aYnFshf7BrY/IuCPRb0zBlHALqH+d
zykmj3pUV8zvNXxs4PB2YznxQmPcziSl8qhomeigAWyJNTA0Jt6MHedea4x/aXzBCKKEctdNTwEg
O6f8UoVcKgzeQTHeo/DnAJ1lvG1qJz8Y4BsQblU3ftSdiVhgkKBgV779oqD3xPMg69nMwkYYF5IV
OhbrW5quu8anEpAnOSxDshpwaYEn8CA+6A/qn7x7F05bY1xKIQaCQCSku3XyNSZPE+SlGW/GhnNy
LPpp2GDQD4gus5PrX/X2QvRTLFT2tsFzDJBFOTGyRKtlBedmAny9E1HuLVPOQtN68nc9IBbqNOvC
Wu3ngLbkm6MG28DExKvyMB5HIFyn9zwC8pUC6TsvrDNOowmmVvZ93GGMAFAauXlP7OYTdr/t2A0c
jZO/874g4zHCJgN93Qjt1PwkjOds3G2fEC81YSe3h0kNykpLKaVNdENr5cl9iCUS/Q3pVzxn6MkY
n7m3ihNNdMZtKOow+WEIw1DQT8NcJBZmbP9Qn8aH4CDuKCMViLkuqWdwrIVn9IwjUUt/6PsRt7lH
iawoZ6tLkpM5/dj+qLxDY3xGr4B3pgwgJfWf0+RJy77/b3+f8Q+lRiRz1pFyJObwEvSh3c0lJ2Xl
xGB2XLFIpTIYfIQOSZLOUTLepq3qyCTe93nNMfGV2vm7G8WOaQP0nPhBjs8lHqubfJd5wYHg1VHa
OQZqtr/cCpvfe1nsC6coCmXM8MLJ/oomFEcmV77kB9UtMJjbYDIcWEGvw13jGDbxpnNrC4fxTwom
V3/F9t+NNMM2RtGA5WO+1KVD2meNZ+W8S20wXqONlLEl1EAoBofuKbs2t+j7tANV2YjhY7riJNzx
fNV6rNToULAi6sYHhux2rIusHt9co7TDYPXOP3SD1WLakY7kRbfZN9589ep9vkpkU2IRJfWiT2Cm
YRe6YqqDEKC4U+rgYdtseGLou3lR0mgVf64GGV54lgMrNTurUc6t/7ItZNVrLHRhTLObVT/uc4JC
p75PpQeZuz7NE8BELr3Q5l7JEhTsAQ50zoB1PqJ7pF2wJX6kiJq1x3uy8L4bY4eBQcR6LvH+CodT
1H33wctbcLH+14UAil6mQy0fuIfFQclDKafGnref56Q9qD7mgDDI8XX7fNZcIpExNKOBJhMYvIzX
NWqzmkmGfofm32fdUxyCq7J2Rh4dw+otIrKpErSLJMlQqb4LYwsUM9fMANmf6oWqLaMFW+/Tk45H
umbLu+524g7SrH3BpUQmGsvFqOj5jFuk5+kN4Icv4TxbsmE62x9wZSyZiAQLYgqGQYGvyg6rdYmC
jZwOnRA6PYnZ631xpPBAaLlZxOsOtR1/UT5vy1xLNJYiGQsUVXBhpgVE+jLGr8djNN/omAZox9RS
+4Sj4KqFKHRbWzdME6BD70+uIoJfBCMlcNI++9GPot5Lwo2Y84opq8e1EMM4ikTIS9IFA+6x8Nga
hq0px7bWOJFy3QwXUhhvIRvhqIxmTOsaLcjRo8Qyf6Sn5Ny7ijuBHcQiZ96oMO/7MYdlYn3KryqJ
1jf/qga3Fz715Q8Q43BUW7eJ6zExF8wP06jr6QUb+uzYN6VFfBQf/b4/Y/PpQejk120bXE1wiEbo
jDXRjA/bkUashEWm0w4gGK8pIbN/CM7AaKYshLttWau2sRDFXOVm1oUmzeAMpUD02rLZ1WlzUiv1
D/JosjAORkzV9U0FevI3S5/T+yn9grUq6w9UUbBapOmarMMfvr9NnTp2ea7O8INGdyjSEuwq9T4X
eW+R1S92FcOmEI0hzo0WdPhiykstnOr+uVH+JHIsRDB+IRzLrjRLuthZPSDI235wnAUfw2h/8qYn
C0GMZ8jqWEpIBM8Qkm9d+EPXzoPAnYGnF58tYi2FMI6hiFMzyjIICV56B0Vl7PrK2FDtXay0oALz
3zHraND4ZQbsGAryhbrPDJzPOFYOMNStLPZthUsszjMDxikUkZLouCuiQyps3EZ6Z+Vp9oiM4/F/
smq2YFapRaJMGW6OZl7kdD+BvDzQnrdlrFaKl9+MeeZ2ii4JQQ1lzOfgq+9RYHj9gL0LN/De2MrP
f0Ooq6f4knzbls37jszbdwLECzEViPb1Twj2lux/hfn/b66BLZCVDRka/HE844MHpTw2I9yct60H
jTUfrBwppYqED/7nDSl1mYWNBCxm5oBd27Y4+ubsmSFvEoA6sC0RzKcKRhHpeISwEAOqAZEI88vk
yJ9f5mnC+lF9SrWqHxHuhPEgl/FFGA3eUu3qqV+/1tvS1uJrJcJAzDikjucw7zBQdUq+RM/+vonQ
ZaZOofgm3PE6EuthVSXIIzFbKRGWXp2kUoukHPNbqid8L/HY9PfaMd1jo45bBl7X7yqKyUzGRA9T
KWmBX5y+JtFdK+6HjlMXWM1KFtrQn7D4hFo9jaVJp7dm5aEr3BFMIqqEd8x0nnTerNBqoqVhoIJo
Krb637qGC1n9JJVl62O0L0QDkPQ3kxRaIrpKghI729do1cYXkpgPZ4h5jzoBCn1SV6BBNdSuJk+W
GWi20I4ufsOPvEluSMYr064a/UIu8zUlVeh8syiBr50HltH90FVOTF9/zGgaMTV4B+x8MddKKfqh
Mrr6jRO+c8uDaneX5Jm4KcodwkU7gongwgORWbWRq0x2Wq3URlMARSqCFOVI87VxH5mEWHWT7aKh
cJvgv08cI/guBDKZCwbbO6lLoWQa3CTdJRRvSfe0bSHrD42FDCZpkTNAr3ctCmJ0I8B/CXflq2HT
jjiFFwDlxiMPie83R/crH2c59eRKK3SFtmzH72j3gcfEnfeGO+3Uxwxlb/hjN3rkbVqu9g0WjwCN
9fYkmQDgjdk5JcAkTrkLXDG2/F0kg9G9BY+J/LD9Xdfv+FVJxj4lpU7jqEQAkwcwpGmAP/efo7By
SZS525JWi6oL1dhWUl5W8yhq2M8Co+pfFIY0BGKOBZxIh+QHE+BDxEOH352+GUdKm6ndgSmA/Nj+
EauzicsfwZhqHeUaBrfgaUQh+CKTwht98yi26Xc/q0+Ae7JqcfxWlfXeNHkfYLUHtZTNmLA5zoEW
07OltB25E+9QbOi/tSfDNm8pa4foc8rzPGtiu1AZSixZEr9JHFwwP+yIaPcY6qIjAFJscSvKVIMP
ucriXcn68bGopx7ghJjAk4/SDqXDk3jQUUxO3YhLwbMabRfCmPQVLBMEOzs4yjkHlrJEzqmantJk
5mwmr3pTXQanpqojELKUWj5AQDSMACBVjcl9lZn3qPEO1lQETq6Kh0RTa2fbRlf1WghkXs19YYxz
XLWiU8rnABTRwjkdDtsieDoxny4VElWVCXRqCcaqwq9G/2WSf2at6yecafPVJgPRKdqNCrQbgx0G
zhqhHmpad+2O6lF1qzd4TIr4BeoKZ9oHjs7xM9TGPtjgQiBjg4kq6uU8IpEVm86eS+Wh6gbOvVo/
oatO9P8vEqMh04XAVODJpHm0GnI289KK2tftM1p3VQtFGDsw4lxogAyM/mBYy/aIZptlKMKtmBQH
oZ3RMamnO9IZod2n5l+JGH3alr+aky3EMzZSy1MumECleVs0pZwEHRZN/wXXwmqhAMiVMiBZDRTO
GY9Mpir/P9KuY0luXNl+ESNoQLelL9dWUqu1YWhk6L3n17+DnjsqNsQp3Kc7Cy2mIyoJIDORSHOO
WtG0sjFXj0bbOpo0PMGyj2NTfFSFyjWF2I+TFHhWsegpUeEW8/hRVxOOTew7y82HMO456eYkDJO3
upR2jEFaBkYvW70oR8zsf+QlMfe19LpqJj3SGaEcrrTXT+3dtL8TCEd76On8bgXX32esAITD1aJh
6tvpFwXNvKtbCsmZbt4y9QecrH1bWfZfWZvNY0yiL5t0VHvI+7s6OwbxJ8mu37CfePRn+6HgRhZj
GHKtTAUhKqBSyFMdfhwbf07OfeKU/d0A8oA0c/LS73snSg5kPi1KcHut+9Z/3VrGMJLRiKepw1Ln
pbGF0F+X2U5yDoAJTwgTB4apNPVEwNvLQOgXo5YY9aZD5pV3brvx32YvmfhvFFCNlWkiplG0YJrj
By0Kv6aN/mBOcCxVBYiH+Fu5KhepKj6TusGsZPtkTiV6m4bywzzJx1RPPt3eYI7usl0FhpHPhajj
OZF057Dz4uxSdF+M5kOT8lrG9n3cr6NkewoKAbGvKuD9l6MJvfONw4SOkv/Cx3GsXWdcy1T1UzU0
SFKXoJA55k7zsfJHi4Jg0/dLDpF/9LK9nivbPyCVlRlqKfYwFY6p8KES/rp9RvvBLEqPGgZ8JDTq
M4ozD+2QlSsSEfFhsfPvkpW52QVs40f9J2X+5lF87dqDIYoYy8QoHnJt76/cfDISoJsgixPOH8fs
gwACiDL6zlnTXpMu0o4EMiSgsbHgfEJsyvrUIj+VKXlugcPyy9yAlG0VXVM1rGhOHsJOsvowv89M
xb0tfH+BV9mMwy46DRCpJWIKs1XsNc3grGc34zZ97IoByIkhyWBlx4zr+31U10wvkxKRX2zel8DD
NDDznHN0Y9enbGQwvgsoHLNUxrhIC7ynktyfFsUuyCddiHnea9d+Yb4IHDBxJonMajpznMgavr1v
kFrx6dRP/lCia15Y37BlFTcD7jswOf7it83u7+RVNrPKRl3aWqFvK5IWfkoML4lVP0kaTsJv77aT
AM4CO5MM1PlZS0YfmjbUBEnF0QOEnlP5hT0/0VlrBex96OH2eemjHWf1TiCjiToAmnRAuEpOGZ1q
9dLnHPe+F9i+E0B3dhM+G8BJKY0ZrkNUoscy7r1GLIM0WT9KsXoys9YaS80f6v7UGhHvObJzt7yT
TXV3I9tUtVVWaM/TAmYeBTPYKLM6w13mFr7qznbxIQ1a1FqeeWnoHW15J5fRVDNpE3PScYqYb7B6
8qXXRisdR+u2E9mBPYMVbJSFUcp+IX3cLm9Be/pg/Kifi099YiFSspBluUvsrgNBRmj1fvlj6e0/
4fV6L5+5FYBtQBSA3sP0wT7XPJfZoeeN+XF2kkU+k9cEOdsFz2Mpq44k6e/R9+0VBs8f7z0HtlvJ
tmmUWthmYod+wwld+KYXHcFPdaSP1sQxncq9fXB7ycZ30pgIIVPqsM9N1Kom++/i/3xSdSv+S77X
7imo2xTM9zpvUnd/KwF2YEqqqhosE0g+pW02mjBEqfsMzgeLmAGJOYHsvje5ymC8SVYZslG0OK4p
vfTVqSg4Fs37fbrGjUHXslIllQqNr4qHZgjmkMcK9S+KcF0B4zLKUOjacdVWZ8qdGj3Ib3QiQzAe
B0fz+o8dr/t05/qEKlzlMa5Cm5Rl1VV0kIlT76nq5244hWNkFVLO8Ra8rWOchVhEQhHOiP0T4aVL
fshmxxGwvxIdBRYJr3uZ7YUbpjWqhRECBqJ6EghzME6GGRqj+SMd+yWHHfzVSzkXqwi1AWE6Vflf
Tf/Msc79nboKYHIUohHnUSzR17TTfErA2JU6hS38yO8aQESn/h/NF0MHrgIZdxCToViLHjvX9osd
xoUrCi0neNo3/qsI5b3hFLm+ABcOmyYBjbe15+6kzBzb3L9sryIY249REJejDJYj9Xa6eoP6UBml
3dVBJ1Wc1fxLUHGVxfiBKQO/haBhORQXTTmZLrEMUEGJAe9lte8PJDDRShKKoip7AS3DmGuDDmVQ
7mlnS+MTYKsgHMNL7r+YIaYnzSRyJHEjjVG9shXVBbQnlOaKskTTqgl5mI+yh2rQofj/JzbfCWPU
TpHRkFmk9BYyPodTai99kEfco9rVvM2SWM1bikiOUxwVvetkF9gwEpAQk8t4NH3EJo9y8F/s487b
7t3SGF1sQS3c6R2qBf/BLju1gf5GgM0D3uGtjlHEUlPVOdLwwjJKwyNlfR7l7m6JysNtn8QTw9xK
3VKu/YTXj1OGvh6epj7oZ16/Br0AbukecxOF8ZArA0ZXkbs3HkV3vKeQiu1L5Sd2D7xKLaADGLGb
+wKncZAnmLmZiqlEW5WCw6oRpcbNa10dzcy05eQvLbOJ8uX2Vu5HzRIBxzbAd0ANxhxZNq1qVE+I
UbLFUr6Bj/QhBlRw+KB9D5/Fe0pvj5fyCcVXB1yJ3Hn9/ZO8SmdOcjXEptcFKIwppe6KiX3UKP0e
04Sc21imruK345QlWTNFmegai2RkqqVsrgLyprIf+rHdPhd+6GV24+tB+EA5h5HjsJPPYKBEtIFB
06jnfMHuSjcfwKw0bfuuLelQC0pFoxU2sw9K+rs4Czm2sXvvYIkiMU1Dw7/vr7YskvpFnir04cTg
wMhKS238scfLWQLhK+eO2w0NFEkFPTvw0HR2U/HYyhdhwelVJrJfQw26w9q9rZ97jXq4aq4ymH3T
5TwmJW3oCC/LIzpoq68CiIhS1GTEQ/kzOeu+8MWwYIyY59Y+coTvbuZGOOMEYgkcSKWGTCJtxweo
oEv7IAyndwHJC6Tw5gC6ES/nk9ny5DI+oEwBySATQJKMnuTRajkBL0JyWe51v3yiV21qS885lzaG
d56M7mBoyYyJisirau56ORh4Y+v7Lz3gFKHzX9MxAMAIUOIVHLMt1hUfNF9GQVR7mGB9HfgeaEan
O2GU1+ecIb1Rf7P8q0y2IwhTHYUG4OsVJIXJXQRiYAGkWQSeDYm5/wK1Yz9ntZHHBC3GbBjyXGCN
8mOdWou9OnSGA0JNDJehiId1/gERI1IPG5lM7NJp+hwXdF/zM/lZY+C2sGu3AbAyTbLjkrrwWsLf
mjtv7SoTx+TpUKQdfT/N34RvgtXel5hPLezle/9Tsq3KSbzmOXK45S+6kFtimUgmXrNhGClWj+xT
dPEOI7GYR8RsTOVFXsOJCHetcLOr1KVvntdCJem5KkJY3ErWuOI9etSax7l+bjOOl6O/dGtZjJOL
9F6vzAWSVjm2zMSr859Tz1kNTwbjy8RU1FrZhB2I5WlG0LR4icqxNfqZvy8DCNcAQ3ybAnu/YWtf
gI4xQwZMSVNkvXH3pM9d3Tlq+um2UVM/cUsQ4x8TPQEB/YgYSV8LwLzrYtBMWuXqgGBEZtpZ9ZfQ
aA/EGJ5uy93r6IChXVfIODBgv4upoNLpaE/xFoy12xgaDeCXH2dXeVxt+ugaXkLT4cjd1/tfctn+
sUYDbN04Q0GwOHQPo97UWJKPewg0Q5HDg4vinCPbloDpfdUQaAjarg/zcm7zn4AEJiUvxN7XyOui
GK+1rm0rxiM0sseEUauphyLsHkA9Y5N4DEySfAbB7GcilC99ND3qQ+XI0YfB0Jy+il6KvuCcLe9r
GI8WZcKwiPTt0qWID8cE7b5Q4obXLbB7x141SGM8GCmlYTB0nORs6vYCAkKZx02/V56EkoIxDzQL
KgIzutKN3xqbeezyGvvauaJN4eeN1MKmwksaHiquvszZuV0/iRZfVAgNUzbZNicdxcEwpSFa260p
QPvEyQbLl22Q0AYgvqNGAsfP7LVT0rrrL4nMJoIsV5dHEcgcZlAeZHe4GA+ICZ02qL5QJuzxhDFu
xIQkAGJc9ay/Li+8msZ+JmTzCcwm18WIQdoOn0AB99Aga6svgo0T9TQPHTqH2/a/q5sbYcz9EMva
f7ChkjU6yolyMCvJF0de9Wuvk+XdvjJ3RN3pwlTTtl9psP4eipF0S/zeu0CNv8yTfXtV++HgZlmM
GzfGpBxj2iA+2ajUUE0de6tLUb4U/A6UpuAuRKzLS/TsWuBGKuPDo3UmwOXFqPpofKvKV03jPKn3
7U/H4JOhYXAAM37v7U9Tpr7MKdieHiP+M476SXDrgNyrPgVc4UOY7eviRiDjSAdi9k1KBfbe6sHs
/cgFER2lG8uPJrf3dPd22EhjHKVY1X2RSyOCTSW2MlCgTI9GLNra/O22euwq/UYOY+QGSrGhoGAY
X65SC71GdfdEeBP/u7qwkcFYcQza6G6SMcKrLmCSmBGgg5Xwf1sGY7shnkJZReGRVGVIrKYTLDER
BsvoJh5YF+9gGOslsRDrtYgNAzSYM84/9RnwccYxrQrr9pL2H+WbbWMMNxbSPkbAhvbjHpBuaK52
sktO/8WzY3YNL7yX/NHFhfD2VL0tnKcWjPm2ZZbKoWZgFH/4S8ofc0KsPuFla/YDvesK2bJKrYvV
GK5QDFoBBVM6GC1otTwMJkf1KZcK0MjuedWvff+7kcp4DiOrp47QGGQ6Ti44NOzk0ThkB/HMR2na
vbQ3ohifUTZlOeTANne6UfhRRrGvVsXHWpcvcZjdaSMP4JFzam8+cxOTRCIcvUyNORu/GpXfGV+l
nNMtsq/+Jo5e1U1EIYz6i4s4tqSUKUYDhifS0i0yb0jBf1Pw6Bn23/j6VRSj/+WkyXOXKzgnZPFF
FyRXwGqkIVZ3Blat0/HDjd38pQG0C6TQFUNhMZ5NpcpzRNJ4vfnV3T8Yij3ux+jPcrIbUYzDWipl
qvsSolTk1sAFn1RWCVKt21a863g3QpjDmkZZm0easSjF2cq71kKNgiNi/x7eyGBOSVOnZCgxSeyk
9eMgBSIaOVevr129/hQKTyPQNccPRfuYlJdw4QHUcYUzbmoY9a4VSiywBYISnfhpLkANs7Jzcyg8
o7B4GZk9HFMJEQdm7VRZ1zS2V0pP1wazGhAo3ZuB+kyOihMdjXPkJphuLnzdBvMfCoM0Z1k406l2
2gt3bGxfS6/fwFzZMMBENSt8w+iJNkJjfw2UOwr3K7/wZNH9+y0FsFkuc3NLedb0xQIt/ZsLqg/g
lpGM5YnZj602chhr0PMIBfwJSxKP+fcBMOE6zHxKrAWXW+JlL7fNYtdNbqQxZqHgxsmaGtKE6GmU
XbH5rE+Pt0XsusmNCMYqcimOCyXEHaNm8nMxmHZVkx/ZmJ26Inu+LWrfyK/qwNhAXYRVYmKOENAo
h3K+b3JO/WF/t1DnMICVoyIB+j7QluWwIpGx4vebOzl86rSn0fj0J0u4imCuybwZVuBBIdIJ00Nv
Psgzp9q3f5VgBPWfNTDRdKgIvVzPEECppOc3CGIaR5ULhmQBQ3aJHLPmOUb60b/bzlUmY6YpvSgn
2ik32brVf6Dg98n5Dfz+uJx46BT7SnAVxhhqZg6YGQshDJ02pP4K1BzOcqhN3FoNY6FGMeprSJvV
0LOpy18xu2oNCZpGzqmsckT9i1e/Loaxz9gce7V4a4yzyXFFHi52yr8S0NXSngSN79X349CNejDW
Ki/hBGhaPO3qz4NbfiALnskAb3fNj/Up/moulopINHEqjh/6F7d3XShjumqrS3Vb01fLfXYno+pl
uq0bPdCaSeLwVIRzgizAjKAt6ypQG0iL19n0OmJVi7eGbiPbt615v1Pmup0sRrO0JK3c5rg1jEt9
GHzhTr80b1DUMcc10XO5oZQsQnMepl3eTViS1lh57FRxICUHMGUU33peJ+P+q2GzKNaFjHPaA5kF
jadaYbfCa1/edanXTafG1J1iia1eOnXiq/QHk5SIOH7pCIs7IzXZ1NcpdLNL0YFRtr2NUdEvhto+
5KEECtGBB2qyf3VdBf7mSrRCKdVEcub0bGIuiMiJpWsPac1Df+D4LBaChogLCUmJFFHfGIGcGEGU
Kw5HFXmLYVzJSrSpjhqc2uKTx7/H3U03O8ZOeJZ8Dagg6yUpLV6pcFcqJTMmIKjBFARj1yFBZ2+i
oO1VW2c7nIJmeejCr6r2J2+xq5jfns9mZ/RKitA7S9NnQUi/m2Q45bLuazIPgIGzojfr2LwsC1Mn
+WIiCEjVcwdNaNSPSXoouaCD1Ip+s+jNkuilupEj9Xqmy7S9u/qZ3AkWijBAHWzdYsRR/TdOcVcH
N/IYqwZb4iJEtMYVqsOhSypbTkuOk9r1uxsR9BM2S5oaIVtNisIbgXNhUV5lPeiX3qor8MTyhj73
vdRGGGO866AkfSVB32kHjmYrL4kvIiUqua2/cEsgu5HhRhhVms3KRL0b9aHAykYv9KVzgzKdaScH
hY7GSHblLCdyp/FafveFarTrBig1usFuZz+XHXoIcY1Fo7eUmgV2e7cCWcRtz7GnGGiJ0ZFbRgZC
ZVMpVdnLOiBH0GRXnyryVE4fbv/+DpsrYHwkAIUSzK2rMttCFKrlIGgUhFK7DK74lQLVKi+hk76E
wYhKQIIooLWXU/ikcyTvNqNtJLOBgCIbTSXQFzu5zJ8VYCis0EbAla8gpxQArwhTUx9FL7QqL35M
P8pPnJVTG2ZtfCufeVCUcw6jm5Ha7t8aThsQ85Snv3VUe+IiRux5lK00xqOA1TGtKxXSpuPgql7m
hrWF2jwUFDXte8Hhbe/ek3krj/EoayWKfbogp2kqmN0NgOAgkNySl7twuJvLh5jHHMdTJDZAyMIl
qiMdmir6i90elEBc6DqPofNNXey6AP0QhT02QI79gxdT7hnjdrGMu8nWWRYUHQnHtMqPUTMGaqOe
pKwMbqsMTwzjaOSx7rWUInPnYE5BUV7Ij13PuUx558ZECqVQzqSqG3SrL89xemqAe5WIdi/MtpJq
drTGlrRw34h7qZzt/jEPDwyiqg2ABel1J6K6qQQktYhVWtFreuSVN3fvhq0wJioRSj0OUwMrpHa3
4kEK6A8foD9f+B2nuy+qjSy2laIHiXNuSGiQJED9Lr3x1H8A4EFpCa5uRx8AHyzghZPb/ettRdn1
2lenyvZUjPoSFcSEa5M7zSlbcogkwrkYOLrI8jxoU58LZotdzEpnAIRvMXla/Xx7GfL+OghmdDCT
CZRERhlHLWtXUkAv3mq2tJcWBKsKetgjQCfmaIpUbOnYecrxjbDlPrWR13g1wGl2+zv2oj7KVfvP
ZzDqmaf6OAk1DTBlQ7PaibwaQ/Tcm+Zf9cxDx9gLk7ayGO3shNQk2SKAI2lJPyeYgk7V9agJyYPc
AQa/zji3EGeH3y7JTexCmrTPQBAPcVPjVYXqtmtxuL17+5qCgVrguKCLgm3cTcQwHrUclBZpKlp6
dkZnsh2mnCPaLe9TeO5/pDC+EUSBEK4kcCGu9qgmVn8Gk5U9v5i2dj/FjnAsPNP5A7x7BC9XoYx+
NlPWFpWCSy4HmV8YWRjjSP6kMr2VwSifMrSjKZe4W0RVsMpZ+lwZla026cvtU6J69Xs0cl0Ko3eG
GGlFa8i4wg79QUIGZgIKDR/9kn7tDTFsg2yvDuPUdljNKp4hETRPvhglVia/6MrrUs/W7VX9iwP+
tSyTCbIAeR/FJEXxzCgJQYu6gRb1wmtyZQavlPhl7cvOyUj8c42ND2JeBFKefo/GKFD7ZnGXYf20
aL1tREbEcZ/7dnf9LjYcK8ZE1xJojr681MbzOHAm9XZzahu1Yfuk4q5Px7TAwsMM7AJvEGEUtn6w
QKPqJp7qcDZ6329dF0QXvHEkoiSvgOWE/oweEAJAGaM6nmmLz+5rCIhgsIekX/TvNbcKxNtHJvKK
617NO0VCylJvHtdxPTXczNNuHna7lYxrEaQiEisRTQB/4+QnYCfJMNCh+tNZDkyHd3nvNpxt5TFe
ZTAxUVFocGV0dB6IznfzuX2OvcbHMABIzOn4vGQDbQSwiNodTcnyQqTds8QUqSTLmiYCV/z9WUrm
HE1NhbMckLdRhOIJgHpn3QTomzjeNehMvq07OxcE5gsA2YlpGRScRUZ1Vs1YZpBCIqXYNvej3gfl
NJ37qOIkIPYCv3dyGF3R47SI2wo2B3zcx8UUFltU8yclarx1aZ0+WoE6X+RHsvZ3YyEd5EmKOVay
42TffQGrSckghyQPaR2xBwxO5lMnKwe8OiL9GcbJvhPDKFAI4l9QAAMxI6mBBth9rNMPTdc4wPzi
uFfeyTF3U5RnFUw+RpzZP0njQ90/cRnBd3QR6UPMf2qIHRSNxaMRo06fFOrHsv6pHzzJANn0Y2N8
m3j1PWXnanoniT2cSTP7kiKbJ7gD4lj2x7H4q9fKTy14ltQhfExU1GHz5q7JTFcTR48YSWiFWfRY
tPo3dcDUaNadysJ4TnXJN/UpwE13qXvp66Av50jQ/XDAoxth5hcNOGEd5sOKDtJkwZaK0F3NOgBO
+FOikUMfDZc0Cj1jiD0p0l+1RfL+wOY228qoiFj3CYko5p3a3MfJ/Wg86Il/W8SuFm5EMMohSOlq
VhQ/IlqPq/FRGw1rBCaHOvBYwvfuuncnx8QuTTIALEvGybXO6PQHzV4DAr7h8B7zLxfCiZh3df66
LBY0qzT7VawqwB6u4O0Z0WA5fM24kIQ8IUzYgigETc4tDCsBkr8j28pZsiJ3Tm1htgan/aq4pa8+
EN6o+l4Uvd1JFj+rFctlyeCLnbXJTomRvQCzzF4nwVGl+gSC5bt06i5NZXyLZs3G/K2NbERt5Qoi
7STDjEfN89n7Rqkgqof1yyKLFKVlg1EOAGJ5o04PjyXGjWivMABW7dbNvy7O8ED7/qqXmuOq9yJH
bMVVMnMr0cmMMgthIZOp3UlafM7WxV+VIhAEKUiE+GPZVY6oaR5JSkebhqBJ0UocCpPdqel5FsDs
W4qPf2JS129ibjA0wpptneH+kNv1CKBBdC/r+SHuZLeUM15nMV3gb7fIZgMYf5h1Q7gCvWt1dMky
fDoHUmCIznBAkKrYf7dbcnsS933GdYGMWyJCo1I4LRpqgQoO/KU/KD2yhvaEyumAQT36SAg9/EGS
+91RM57KXEiRABQMj2DgaiPcO5Yp70revfk3m8m4qHDVdBLJCKkMPbXF7JTWgq2WP4zqMI8fZsMZ
J05QxdNfQuf0NwH5SsoJ6QKNWs7qhUfqReAYLeGpBzeI4U2O4vY+L3L8F1f86wDZLpk6UWo4ER0R
zqPhF8F8ymzF786pVXh8+sD9NaoYFSU4HQOTwe/X2BhDkS+a+Uan/aRhNM/DkJ4To6/fmZw4iE+I
zw/kxEOm2LUMVYdgEZ006m/9kRne+oYuyo45PcTrfcrDFN21gs3vM5aXpFMqSlOsOILytMyHXGpt
vX0Qh++3vcn+YW3kMNamZREQNmtBRs5kgL3RqcrYWZ8WzI2COIYD78zbNMbIioZkuDAWxSlwY5Ds
rCJpeHs9u5fmZjmMNhhr3GYkqxRAsXqpnFtCdCE9TwjnbNhic9itWRVG2LNV/0rkoxh9G+RzIru3
l8KTwtz/s7FMQhPWiiNnAH4oEM/gzWK1SvkROJp/3ZbF2bY3Ldk4Cm3EaFFcZqqTiW46/NBGn/A0
jSrSb1fJ9WTYKuLYKPivNmSnm75EhlOYP0sArXafu/j19lr2AxgN0BKyqMmoGzBPVyGRiqzNIgUZ
4xmMdmhqd0HtJD6QAfUfypRWAFnswutg2t3CjVSq+5stjCop1ooSBjvmSOn/HLWTxG1i5smgf9/I
WEyJzHW1ECeO4tMSotMmxYYCBeXA2UK6Rb8d1mYxjPcplUhe8gGLAQACdQoxKqFfVL/B9StbU6C5
vEFr3soYN6SvS1HWeUWcen3uemBjNK+DIXCcw94QuUw2y2L8T0PURkybjmpGeOm9xe4P1eMYkEP6
M/IHZ8VtGH9cTrweGOp0bu0m45TSLgqVJcdJRXl4npPKASlhQJTGBz7HBYMRjkiEc6bwrv9db3td
LYudNBVGnoFZV3Hi9FVrDyEvK837fcZBJbK8SGnbESDaJb42Sp/kilvRpb9xY+sM+b3GC03ZmWaM
E5MkDAjWYCJW7oSPsys7NReLk3NMBuM3FsD4wuG2yluHtxRkvurT8Wru0CP95ltrYjxF3ckRRb4g
bx24aJp3tVf1rvgPiyPhUSvu3/AbNWCcBhElIwoRejpzeBFjxaqT2BXki9wdOzUYumNkBkp5bjFb
Fxm8/sfdp9tGNuNHjLSPSlHMcB2LP5d5BPWYaUtSbxnGccoyW0o5AQbHjRiMG4nNXBDWFOoiFplT
S5NftYYddYTjH3nLYvzIUMTarNDgLJZ+aMKLbrz0rV8IX/T0MP+vTp/FMJnkMsdYFdRSgy52r+rs
TMOn2/6eY8lsRQZgulOOvCh0UX3B78tcYgqOyrMlmLowC6PTe+iBMzvEpomMDJzis1t5U6BwToej
BCbjM0yp0pYZ7YCOIV40c7b64Qx8Net/2zLGWaRoo4+yeCKOjtG1MewCPTe+/W8iGD8B9jFEsAb8
q2A8Rokb/QEV9PY2NBnHkGuTIIRFrTpjFSGR86nPIy8Kea2tvNNgXEA8VGO7hGhnnZTsMSbZDwKy
SFkweG/dfe+N5zXY0zSAFTG3kVhmplpPGnHW+87NvqLVwskezTtwYbqJ3VDWO8MT/NwtL7nP6/3Z
jW2BtvuPbEbjhNkshrWr4dFR34prRGWOEX3qBr+S/yyWuIpi9K7TqyifVZWgRjseugs5FAcDBEPc
CHDfJVzlMMoHru6+S5cGx4a0QXVXesUP9RS5fTB8686jX2euwuk62leUq0RWHaNGAbOoCdy3/qmb
LuH0kvP43HkiGF2c2jkWErNUQA2QHOZsOJfCGCAJz9PFfXd3XQpzDbWxMnQRodPQqPFMl/llECwV
aC2KGx9VDMrz2k/3+hhhyleBzIXUYf4fw8M4LfSBYg5OcdZAPmAWLqDd3SBu8+nDp/Z1x3wFTTSP
BWhvFPCdeGqbm3fJPA2xatYyeSv8ypfyoIxW4upedUGq8Ch6mkdfDksAVAL9jXes5JogPbrfg6pf
O8B2cqriqgiThiu5TNRDayTOstR+kRNLMXgkofspp+tus0MdSr8mqlbiZZ6swPhqtE+tMVzWkPLT
In+yoPWETjWnntHgHR2WH8sF2MIhwKyL+Z403WqRaOKNKnDcHzv/MeEO19a6VJ2JPFYgqQzDS7Yc
M8AKjtVdPj/ij5xrluP02AqxvswJyTXsQldJmMYo7tr801TMdr0OlpR2HJvi+CO2tVOesibpgMHp
jN2hqz4W4evty5ZnQirjfkLdUMI+RuaIjlijy8aZvR5geMMTHSnNMWgtHQ1LdgTfCISDGdyWzlsd
45j0rpDnVMPq2llGQemzPvCKKDz9YFxSkRRKn/ZwfSAEtAUrBqJh/VfjZ0HujS/yYflGWRab+wQp
hR85j3KU43dZosW519TOFBPVWbsJs6y5HbWyS/LSvr2LPB9A92DjhnRBAle9IhCn0Z8F+cegAlRQ
tSX15bYYzmrYhk5hTkchnVaCZ7sB3tT0SMH+xiTn4Kf9y8Ptl0tjOzhJm7dNn8CpUwpDzU7A6t0G
nTc49FWaiJyAliuOCWJ6bRmUvoA41cIs9Zm2JhjPdCa0Bumn/EcPNTCj4PkJCgV2LKjLtbCsWg0+
Mbwbh5/ApSp4xfz9Y/olgs3SFiSO63QViSOXhRun4J1FsS4VRfe2Nuy7wasYJu4kwprrGG9F2JI+
zxqAYwrNnmVipfkn/juKFmx+v+Wuwpgz6sa2qsNEkt+iv8YP0QxUHDRvCXhh5l7DE670qyQmzkyV
vJDXbiBwh5KXBXTwVEXZaIADJEHk8RDgeIfFhJugsZA7oYMDLIvRbtv5rgY/AjCGONPPPDH07xsP
MWprtqYL+tIawxmMT3Lv1tXH2/qwN4TwbucYX54raSboKa57+bE9yy4KxZfxpT2lmHw+pneylbr6
6/iaXhbf/HBb9L6Pv54Z4+PRxwXInxk3MvET4I5mfgbdaH0uby5vF5locx6mvpEXyDGDHrwu4LKf
kbC1Gqf+CkYXu/SXp9LnFWh5i2OceyKNEdhV0cCZTOmhNZenpEyfBiV9TOPwjNbVr2PVH8w5WXh+
cf9W+bWrbHu0FtdL0tObk7biCdbf4EPxc105UWVVhwqZyDEFRbiVcO6ZfY+sSxiIAlGWYerMkvF/
lF7UJdjgtHwYY9Oj0PR5KNvRiJdfNn9tJ9DLarlnVGswi4ldc/kx9osp129gk8h60S+hYOBWaD0C
CFTJQa4guWS22lqKv6AkH7ugFV05m74fjW3EMl7VzEKtQ1aFOKps9x7F3EvcMUDc57enGggjvSVc
JEA/pRam0Z9VzlOUt/Ns2jnK+lpPaN5SvQ8pGlMwWvpF93uKwuTwEsK75rRZK+Nqp3WcMakBBWuN
zOqX85CBrk74cds37Nc+NlIYD1vr+jAMBa7D7NMbrPRJFILGye8ApG1LFLuXUntfKgA9v3Ik00vp
t0trI5muf+N01SSJBy2baGAxOh1SCWMg+fQdSFkVeG5ifzMJ5hRNVdcVFl6+MoCkWcgokQng1xHx
6CxA3ppw9IMnhHHxQqSGg0ygHrGk+7VQWuIIiGfu4CVPDOPP4c3NSBh01Doa1aoH2SrK11p9vn08
PCGMMy/VVRhbDZYWaz9WwBIZ3YeZR/a360JB6fzPoTCOLFVxuTdjiMA8D5bwW5o39kLOTdx5t9ey
H7VcBbFZAKlowiqM3+7ebrE09IrR3iHzo/GsHtElzUfr2X24bQQyfqrq8qoFsRNsF2gqMabWhCf9
CYixLvFmn7rGduK4Rs55sQ/9qKyXTEEG1BmLytKG0lZmm+gcm+UcGPu2n2JRq7QO+1ipw9deywOp
rV+0WgikMuLY0n42ZbOFjGPqomrKchkJYnTbAmKbMgr2p/CQ2RRmewTacPiWueJoClXr353SL5Vk
n/viBC68Nsc29ugXJXb51ixAAb7BQflgnDG6/bNBu5I+WbzyxO6DYbNexnkMpBhEIGjCqrX+1GXV
SVqNxhp7IKBKyfcWceLtpfJWyniRzFBDYS1gfEX3TSgaa4gz0EEcheI0kY/Swptq4ekn408SBe03
4GSRHVLfLcOHZDzmIudlzBPBuJMR9MdRg4QGulUA+b2eZZJY0cR5oe4BJYHW4peGsM/8eDHkfshx
ThPivuUTzakWtnQHDCtE1emRFNYfAMW+k8g4kzKsOnlYkUaVBXdMP0Tl59uaQPflhs6z85oGTekP
CSyNZIdcDqr4czt978uHRT4Xy48VWMq35XHOSWMCm1DMidyHkerUZREgu2UZVeySigeSxPHBLML1
qMWLYkyo99W9XYTfQ+4EGU8AXecmgKmAbhI28f+Rdh3NcfNA9hexihEkr4yTlJPlC8u2bOac+ev3
Qd7PM4JpYtc+6aAq9gDobjQ6vFdq6NvIrGy6lxTevbUeIp11jfEJkgAMzjpB5oqGSNQLoWXJJU65
h5e44r3tecfCOAS97tIMyRc8ZNrKIioK5KNpxXPgbp8+b9cYR6A2eM6DfwOVKgTO0p3Oe2hz7ii2
8bMUungcKwS0XanY5TI6otGD59Ps4VSjl39aC9vwLylgMwhnvMQUIdm1ZXPo5dzfFsExTpYeWy6Q
qgoHRBLzwTi0IF9J9wI6nXl9q5zDZ7v7ZblRY2NC7+Kc/5iS+9xQ7VzigVFyjp7twDMiQkoxRf2r
jmIrbp2Cx3rMWwX9ARcWWWOeuJNbCBCSG9H8Ppf7YeIhEvBk0P9fyBjAJ5HrLXoiC9w0rfRdB9B6
I3IsnyeEMXxj0QRFq+C7UulGNx6T4kUnnJzXekLqfJHpjL0vqZQUc6jAuTy8z5HsgsTKXsx7sjef
RI/y+8TImFuGG1zzbrQ/vDp/OTadcQLEzLpJDeDYaA47x9Skfj3YsR8epPvA0W3Ro1E5+jFz3hgB
/fDGXcfmThqxGmtzwcaK1XUOdr1wuIvR4lRMj0LzKc5re9t66R5uiGPTJFMkJUpSoiawCDfm/E2Q
sl0ZfBaXY5yXnAcbx7hYrtxAH9OQUHwwIvrqfFBnTnTF2Tk291FMddm0FTI+Xe7JTWHNo2nnhTu2
GZqqBQstyc723nFsgO27U8VJS3RU/x1NA7IDsmwIv7m1Id6uMR4DGfqpCDMkISRzN+TWwoMB4H2f
8RZGLaZaJWWqY0RXRH8GwDUnjF+/H0AljyEosJOx/dNy309SRnt/y9bL4soKQTlBrLwULNlMrCX6
rvAu2PVzOUtktqyUlDkSEQU7E3kDQBNyUs91+ulvzv4sg9m2sMdNoc4dmhMHW1auZc1Vk7ttEesn
cxbBuNi2jTW1ztGcow+HfL41NB46/XogchbA+FeJVFBgaUBmLRbsVoRjHZMXI4l9SRBmd3sxvDNh
/GmZRtOErlvF0QGPA3gQ1B/vO15KaHXHQOUCWHNRw1AN8w7RQR4gAiFTdbLejbRDx5ttWX9aXQig
4fDF1SpKalvNFX0jXuk30W0LNJfIUzDEd1072g91139V3rb3bdV6LiQyT5E4njRQZGDfquALAcd3
sdOl46J+UqSnBHnsRuZY6+o5XchjbGdoTaHSJA1hVtfbellgELD7JsXF1+1lrSeqL+Qw9oPx/ThS
ZZDeJPvojTK7dsfRq08K2vQrm5sW5+0iY0qz0MpzUeswpQfRlu3WD/b6MfEEOz71ikVuMCWAXE0D
Frqv/U68317r6hV7sVTGzDpNjZJYyHHFjs1uQpuNqPYPmaI8L7l80CSB93pdI52Q1QuBjK0RIyzl
FlOpiJuqfWTnd6WvtFb0pbxKvrae6VPAoeB+SKzRBgIEr5lh9Rq+kE7P4sJG1Fbr1KUKcaEEmlWo
+h3GtNBYMzUPGpZK8u5Y1iHhqO06PsJZKtsJXKoEnEojahFoz8a4fe1HQ+NNY+t1c+3mquaDkcky
h8Drx2DfJ4bC+QGrvvRCPuN6VHDlkNjANZoEV9NE47XCSrrPMu/eWc8UXwiSP25vZMzRLEgITEeb
+IJFwOY07IrdYgcW2dEJl23l5fgDFooFMKhyGw64S7PpaFYPaBcQ+v22CI7XNhmXU2DcCNQJg+JM
7X6Ob9Pgcfv7PF/D9gsXFIhS7KEbrTu6BPQkQmgVLz8xggB8xKtmr79bLo6I8TayPqjpojW01ZWC
FUaedgSvpSvvMdjv9I7kyjtyPx+Tp7+rWF1IZlxNIUl5EQoocEf7ar/s6UgkuiZRQ6AMzLzBMd65
MW7GqNoxjGu8MfWptYbgNDecgJ6ne4wnMQO9LsuWJjLLazL5FTkSiaPeHN1AS89Hc1qyQVZbMDH8
ai8LD6kd27Q8DmZOzoLWi9K/zgdU4x+lZWKgV2OvoAYCVsQRxK6Zk/vyY3qKdrknoiSd+cW3be3f
dkySyPiLpRgbvQkxVNiN3Q9hHP24KJ1CqR5No+S0Om5fdEBe/bi6oMhDiYS0ExF8rg2aDEb9qUAH
u9r4RsvJcm/f6AA0+ChLwfiW1AiIU+B57Up8q5PQqcXbJXib05tYBaILjxl7WxvB/vZRYt2FBH4Q
00+BqLtJlfp1PH0pBe1vov4LFWGchzFGRQlYHwyBpDtlOsU6p6GStwzGRYjTMBATk0XOIFxVqKpI
3clYeL0nPCGMayjqJZuWxkCaa9QcMZJt0+wfFUX7sa3bXOtlPIQE6KW8aRFazXed0+zR7O+Lt72H
8RyHXzPlWNJvfXmBAhYNGddIAZbbuQebFuaZ9L5DosHgXVnUVH5Ly5y14D3cuQiiYtI2YDNA2C8S
8Jimu9LX7tXHEs2u7V5xhT0PYneN9v0iZpTed/pCYCdVUYbQQnN+1oMrDw35bn1or4I9rQrXe/VR
86MdvbkoZonEqw7/4SjRMYTBZxOIFsxRIu01dJmBNHIGDL8MrOWJYzjFLrqmXYL9X3VbGL+ksfX2
sACSX1GgYlXUKHlH16V6KpfG31bP9QvyLITx9lE2ioCUiFFjj06LfDMVvG6jP0S9hioDmVLBe5cx
5igw08LIkSGVbjQL+u8YKPt+NjEthNQKj8lz3eWehTFGLZuRYQoCkCNI/1QTLyxOqfaSm50Vj7U1
l42TSJ+2N/APwe5ZJKMUmoHUJMC1UOz+NLuqvRyBQTWFVm+if23wQdC6WAovfb5+ar9ksm1zQ9Gr
Swbofwf0jWgaK6+XJOX4+D/EAWcZjGYE2ZL1TY/MC+VkQq+HR3HXO+B9Ak6SskCJR+Gx4rKIrt/P
Z6lMKAB2mQasjWiOoDntwgtd0+7QIiahlWp0ak/Ya3vzQeCSlnBXy8QFYS3J4zAgV5bFhT+R5RAX
oyfGrUcL+0t2GkI05U1F9RrFAO0MJ2/Jp8+xNu4XVdQsoW85hYV1R37eByZ2MIUoE+QMjhyDW/ey
bFpRnVqInGw9542a80QxQUMpj2FYGIAHmCLgDg2vZeFV+XMe80rJHNuU6e+4cN+kQ3lcw+2EwJIW
4bqdghFwmd9dvWocpgRWLEMm+MusJxgXglZuNLNSTGjDHx4zZ9pFL5M9O8VBccW/YS9DG+lZILOw
SMmqvDPwosHY4Knygr0E5Eok2nbbnmb1nEz4UMkQRR1Ajh/3T84TpVNz3D5EfK2r+67MHYJXfMNr
KFv32BeCGN1L1CoXTHpQyT44/Bwn1u5AGmwXNi+zz1sTc1ZZnw2haSB/TJTaStCSbgbRMSOnkgd1
vRrtXayJOaN+mquyAjSms2QeiVNL7g7lwivN8oSwV50Yg46NOq8xuzWLQzp5Rfy8rQTrHV0XC2Fu
OL3sMYNPMDug3r3zmHqxaqmFjbJLc4ztwaUYLGCMlTCKxHnOrPtIE5gvuq6rGuCePypgpxdGPbcY
j9UkS3ho9gjAdqZpC0+LLXtoybegH07NqwCspyouxDJXwlwaRiKqcIXRHhZtBW7pFnvVlSSwnFjf
dF+zKWSFvAuuedGEQj/9W4h7IZoxuVQ05LAU6N0OKPur0YZcnwJfw6N8/Zqc8mvVDQ/FMfJS2wr3
ul86yw9cXXvzWdgDPhbI8zyo9D8Y5/kQGOOsG0HNiwEVymSveK1FR7A7qz6BLvGG18uy7kjPohjj
JH1Sd+Blx/u1R2yfJh4mYTk+7f1BsrXDjF3qKaBadLxZ3qd5cxAmfTOvop24IxzlpWaxJYcxzUEP
+5IAr9lB+aiND4AHtrr6WUiu4+VKmPxtI133A+eNY2xUUqImlnPcQKR5Jv0VkEBBef22LWP9NXSh
m0zcmYD10RwmxICLZCmZDVBodACE6AH4NoAZlDjB22AHNwb6LMN309Ret3/AeuB7/gEKk5ZSW72u
h/n9Pp8xj4xJCUfc9x7teBd3ma09bstbvyp+barCeB+F4K6QB5yg1h1SeBmC8dtIuprMyNsWtBqn
XKyL8Tcxuo4rCbwI76+8+ECR2iU3OfAQC1cj3QsxjG+JwJIXVy3eRb0aOllbnPqh2xfq9BrIX/NE
5+Iz0e+xFqCJsgT3rSKuZKFOqiVPhLrC04hCPxLUl8z7+bZzAddlpQ+ZHX/d3sU1G7gQxxY7jA6c
BE2DNGI+5u6MOfFJL4/9GP9FquhSDKMVURgImplBKxKxs0dpP8bAcP1XIYxGSEsaVUOIZLkuNpaW
TNdtO9iVZuz/bcsYjWj1IstAh02nHV9qgAkJ4lXah9a2kDXtvtww5v5IyjBVe2pGGPTa54duN3rt
ng+RvXZ3XIph7o6uBxihKgAyoF8+K8WbSjh5XJ56MfdGRAz4WAl53DoNrEZMLUEzrCrhJMN5q2Bu
jTgbWsOokd0n2lFOjjlvNH3tVrrcJfaiEEHNFcaoghpx+a3uZCdQ0qO6zJ/FuvalTPLnruE5At6a
qIJcPMPAijUALw3KXOq30+SO2LttDVtNk51XpbD1ijAGpUa2IG7o7RkogRJgL8FIcho9erHzwFS2
FQGPo4/LKYU0KGsB3Yp5+NKqt6V4aheOK9veMYUtTzQDLLOmaT+l/dQBXC542t4w3vcZuyeoO4uJ
jhMxp9SOavNVU8v7bRFrl83lkdCfcHHoskS6VOpahFnJIVAeNbJHR7plzoGXyqW9LWv9RDTMnesy
CA40xmi0ukGiLUKZWTF2w3I/TscqetsWsb5jZxGM3UxC3Y6FjhMxx+PY3czabvv7vCUwNiLKWqf0
JnL2U3TUs0+T7ogCzw5X3zXAtv1vn9gZiJDgRSrSt+/gUSDNZUfTbN3X+CrY0Wu5s6O76lDZgYtA
Z3t5q90Xl6IZoylIkkwk/pmx2Cde+gQ0JTv3Aeaq+KCJcMx9eaxAhFnYmc3rFloN+S+Fyx91EePN
ejtTdF86+xEf4wMFrpGd9Ib3fPuDIzKBJE5MguQYPeYLrV9qtZzGGo9+c9e7MU1iOsULeVC93As9
iTdrtW5jZ2nMlVQUnYLqBKJ+Omcg2xHmDIbOCr9nL+oDWoFd9Sg4yy0ggsIXznHSHfs9tDtLZiwO
qEuqMgcIJbNT0IBTGr1DThHY+pXgy7sWAOPOtsC1UFwTz/IY8zMHMwaDKq4tE41y8/gkktu8T1xZ
5ZDsrJvhWQ5jhn2cC0qTYTKg7e5VuQVS/FMHvPztxXCEsM8YM1bHfA5Rxlpil5CTpHlF8WVbBEcz
2KdLXGC76hQOPu5PYGNy6uBbbwqOWHyag9zdlsVbDmNdZT5VGBGAa+zGhxnUcdFT2vrbIjjHz3IG
pEreznmJy0QrCz9sP9fTtdI+1ITHqrweqv46foW5tMbO1GRTwguXViD+Y3PhU2atPmQv1FmhW3rh
JpI86wqpRtwNNntKbakdQTB5Pd+ke9nrMCP5N3i8l/IYRzGmZR2kAiorptZaYiuCtfNl7Hg9zTyl
Y5yCNCJf9x61aM3jIGd2qu/V5q5bKktrX7cVYjUpebkixiEEMmYgNBpeDJ55Yxz66/SYOZFTHafD
6ExfCnd4ApEHxwutSwWCgyERgpos2/fV5VmfFhRZk8KogP7OA2WniKjGpmjDZNcAkk04jjtezno1
+LgQy6hlbCp1VmR42tTLwQi8iRfcrFrwxfcZdYzThkgFfXRItfk0SuPNLEsOeobd7UPjiWG0cE4L
gmYYdM2p+XcF/UTyd7DGbYtY7UXWLpbC6GBbi9mcGkCeUX1yUO3Kiw/GvnunbR58A0hLvO6lVZdx
IZBRxLJvsmV6b5XS92lzaiqw0Y7P/TRZ8XCdiMQKEokXTNFg6bfb90Imc0tNwdAB3QlZ/1nRXaNG
e5QauboqXXfoWckHs3RrufakplusLAbscS/8zQ326weAveOj/4riacn1OQHKgJ49ybX0NAKMKetr
HorV9uYCXOqjHCDzTsES4KZUfcoUQ9m12n3n86botu1LZZ9bkRSaqa7gaT8VN9mUWMp0x1FL3kKY
B1ctZRi7L6D60gNtyWl98Fe6IM+c7uMr7TPY0x2Xtnj3L+g/Tnkj46u358VpMe6jTPRJ6QyUM+bi
LUBVrWjsHoV8oENwVsnbR8aP5OGiqiEdMREPlPU7PdTgTXclX/S668ZurkIv5j0sVpPSZ4NXRcap
xCD/FXvQicAlT85yAtn3Ub4FIwtYQp1wXx1zdAYlh9AxHf2kXvcvGq/HmbdoxuMkfVWHSYFHlRCe
+um6rnmUbKtTd5dLZFxMkIhKJlPkYPWKhvmVV9ogGLPQPWsv1/LN4Epo00fvUcnJRa1Wfi4FM36m
LTpR1QUozmjr1vv74i4G1Eu2q3xe5YdjIGwbWS0MtdkaMEGpjP1eQ/1CT9MHYypNsFOb+zaKTklj
flOEiudjVqOWs3W8b8JFLNZL2RArNJKoyDfBCF2lPurkrg4sU484F+D68/BCFhMqk37JQ12hbaeA
qaDsPdOO7FU0t5QeOkw4BSiO2b8HoRcLm0BsAuYjBH1DvdcEJxhESwtHq68Eb9vueWfH+Je2qHJN
JgAr7aRTHVplD/6qh2H8jCZKUuzrmWfzq2XhC718///Fyoa6lZbBRLzSAH+8uKWv7MEyn0DWhddn
ZhvALONZOU9LGDfTDlNSS7StWxzKq87AHWEqnhkPTpY0rjJonAuWE8eobA9b2Gi9At4TxQmestjK
r2m6RH01vxgPGHdyxyOahznKSb3In4MK9T15dLGpZa/HbUBne5N631XWmN8rsiuEN/HgTxHvSlp/
AV1YAuNa0BKdmKKA+cfsZACSa9lJ1GUPNvlGZ44SwDD94+XEdrCVmMbv0c4J2/N0VMlxBwvu+No6
gwsyQxdc0re85wLnZmC7F8xQJ7qUAJEdnY5yfdfrnKiC933GmwxzmQdmhzCwb1Nrae/rhqMSHA/y
DhR9oRKB1ptprsDOgCNqhQMQfIbFMqQHRdpvexDeShgPEvatmpgyrCsKQ78Veq/PKs5atG31ZjNz
uiROwrAglGyS+0H5HAu+GXHycTwRjI/QlXRKKgTmTmLsKvkpknbqxGnS44lggg1RNWd97PC8SYIn
Kdb9KP8m6LWzfRo8IUy8UTVK0KZ0wmRYvM54zBuw2nzeFsELLWTG/gu9BB9mCxgjmrpEKd+JPBpa
oKvmyAO45Ggxm24rTDLNnYRjWaLMmocrOT+ZAEY2QFyyvSiOFrNJt2au+6FsEcPEdfqkBhKGqCpe
TMY5m/f+oQuTBCy4ibZRlDrKMbcL/VWqT+GYchSAt2PMa8U0Qr0dY2T0anmwUuV1UEN30bwo+ba9
Yb9fqkQRFQlNk5ImSqbOmH3St2jmlzHVMQ01AKZmJ+gzV2gnKx0/RUvAKeDypNGtvdi6OpZSKe7g
jiu9sZcB01n6MZzelsINufgEK5mij0tjfEE7z2aXoqYDGDSPjruFn0VgV1/n+/hVtBCM2XNjvwkc
7/C7An4UyngHWe+KNo8RiOkzsYNMu5drk/cmoJfKxzDhowzGOTS12BlzmyHYQ4OaaqcuQJIpf/nP
EofMax7gLYnxE5IsmL1YIdFrLtedcEqi3bYKroTkH9bDQn2oS1xVS4Z7YcrswO99MEh4zbEHuQhm
65DP2xb3u/l+lMYkNOKxEEqphw5q6DaPAZ24+wuch48imKhAnse47FRonjLYZX4/i04Vc14WK9W8
jzIYBxFHi6xkMcB0kqK8ybXKASCkJ9XyfmpCwMHEujcZlQOeILsaxyth7N28nTxZ/RrK+utYA3Y2
ABK/ZjqmonqChDzV9jb/Hst+/H2MYxHzMGlxqECoDybgkOgntBcfs3A8zKQCuFRgCbF2vy2Sd7KM
dxlSsc/BjaOBFiK05tCTu9rKhn9UH8ar5KOoVZqJoeDUKL1gbO8bo9pJdcapgv3u/z9uH+NHkKcl
VZ/WmkPqyknC0Q7Nwi+71Baa+f/dTfVRFONO5DTvylgCl0Al1narACmvl+1FiTkBJu90GDcSTkEX
Khl9Tsmv0fA2tV41vG4rwMqrlC7FIKaBPgSDsO1uujIIxTxgFJKOsYpXsRsoIHO2KDkvAW53BX40
KwBWDSfqXD+sX2LZtrc5FNu6itA8KE2SbcqNo0pvsnA0eP3sf/CUZ0GM76ojsmD0CILGCr2fuds+
GbfFrjwZ32j75d/dZWdpjBvr8zgzJaFA0ms5KOWtOnPsdSWr9uG42FrOUDS5FpvI+6Q/CLiwk28x
QPHNxRoisFMrdoLOIYBDt1bs8cCs1pXxvDTGOxnxmFdgP0FxVkGxT8dlsAgWBnd9jkLSLfr9qj7L
YVxSGKaCSjRgThQnSrY47SpXOvzEEgnRKfWP0hjfpI+YVQJ4+885qtaC23d1W7sT/AYFzfyFI423
h4yLUpMuyWWKKG4Q5IBEt6KdFiLm3uzXyoqOCY5N4Rj4+qVy3k7GVQG/3AxCGhVXSXMny9MRTYA2
kczDNAuuppW+aiguZ5lUFbaOkPFbkp5FgUSPMDqRAwZ9bhf/NDrvHbSIIXnznxwT19m6zljJZVKK
CIZocEcxIeLvuts7tCitvfLeZSs5oEsL1NnqThPpuZnNCCVpNRVNEM50FFx0QGG2o/SKK8KzeOqg
/ryZ6PfB/y8eAGYeQkcx0/T+5gTdGmK9CZVbOr/Lqwpun5vODv0rRddocoKliRESvXW7S8jgbevG
tt/X2Vn/MJQxXfBOwpgau2WS3Tkij5Le3o1d+GVbFNWyrY1jHImWlMrUZe/NWyFYyFL/5xwdrz99
26Z1tpQjCnkcKznEiMsuHV61+cYY3rZXwvH6usj4DcMc+jmsEEF1HqJ9V9h14JSmCeQcU0Xq42TX
j5k7H///FfyPqs74DmFsFZIS6EPVPprpXdfkFmdhPOVmPAUR2mAMCij3fIjvQf0JwI7x2/8CMnKc
L92jDXVgazWlGYiNLGEPzblFleSxk+8K9XOooM9MiZ3tda0akipLigpqDB296B9tVhSCsI0N5Inz
LD/ofeCOs/h1W8Tqci5EsGdjgL5+zHE2sXac2sdMftLy21r9UY4B55D+sBiDgv7pGmHRWhWhSNS+
lxCFSmCJrmp/0lrOfq1eUpi1+E8E8zKbUlkWdAUlu0p9SyonM64r9FjqoVeDMxWl7e2tW38IXoij
K75wqWKcyEWkiXhs3lR7YmPsfdoVL5Zy3aCfVAMS6bgr3NRpv97xEmGr7u9CMuOTlD43QUKGhcZ9
6iblXQumWzN4EMa77SXy5ND/X6wwJFGtGRrKBouJGc5FdMWmtuSWeJ30sC1ppT0XTuK8JBaqUzFH
PQ1MBf6vsg0EbEhQqvvhiADnYNqqNbnZLnUyCqLvcaNhjmqyqJ11XLf92Kj0bhzd8UuKrpnUng4U
QCs6UpoU/XF7tTyBjOaQaiyWTkViJ8G+1uGPas44yrl6nVxsJ6MhqrnIYhkgEaIhRNMPZfk4Cff/
tghGOSJSiGD6gyeUlreyqqy5jjhh9fYidLY6PWglSUsCnQjTQ0jQwfGq6+7fLAJZEBFty5rKVkYi
U4sEcUFRui+v49GteVO86xZ0/j6zSXU/50Bawvdxvx+CAdw7ZrMPJUCq9Nlf7dZZFHNbDD3pAFGM
EF2LZM+Yc7tf6rtwXDhJ0PVDOYthboxBnFqTULSguDwm+VUkXik8zeJtGnOdt/lSDiUM0knBv5kl
j6NyNLPImqbM2T799YgIB/+/x8+WR0KpbptmRC9q5y2e6BaPIJN0yL79BEiRzp2dzkYwjjHriVdS
5yyRLZeESSfP04R5vbm6DZSHrruXzWM1cbSbJ0X+6L/RA22ObS8DoEoAf+7yHHXZlyWo7BCnxtlJ
+qnf4qKLnWTu3g43UazUUIvWjW4pzVRnjQCWxLQj/CePIXbdf56PjfGfoEWfyjFDscnovFY/CVyE
Yp4AagQXF9+cKKQDZRF6lPWncbKT7uv2dvG+z7gFedbauJBQ8x3EUyaUVlGEzr9JYLxBlir1Is5Y
gSLkTqgtXi6QfxTBeIKiHkAiMeIUzGjwIlJda+Xsb69i/VF+oVaMKyhLpVmkAM+i+sfgaJ60A05w
7VCC19IDXiJHHOdYVKa1Mwf9rxHluNLmEYR0z73Jq/xyDFKlD5kLvQqMsJuzZEIOG5ROvopGtra2
Ur846veGBPay4cs7d5kf8RBgOV5bZTyBUIcgkdZGrAxABnlqF4svq7zVrT7DzoelMj4gK/sSoRSE
0FEj6VSgRzz2lwNyDC88dBbeeuhJXmykWpMZOOgtnrJSZBcq+N4Et8aMHUf9eCti/MCoxYppzLRv
JnTRUg23tly3GRAwOps/or7S90Rj4F9uTWW8gtA3sgzEEUDOfKZpvcKJD92L4gc3otPY6c1ocXNe
6y+ms0TGSwxFnWVCTeEtTuKBXCmecAO4Dc+4Ne3ZS0/JNc1H1R6/FsgzbJVxHnFYJgU8CKV5V9Au
C3Rej+z/y7fpPATilSm4j1vL+BHUJzp9mbC1mrVAoLL7v05irysmkQE4LlFGYEYxgUQ+LZGGdbWi
rSCIIEeJxxm17kTOIhilnIRENQIM+wMYBlNv1bFPbqWstfqGUwnjLYVRR1WMgjLN4axC0U3GNymf
rcLM3G0Toxv/e9zwazFsZxoIAop+mJAW6IeT2L3O5fc4/zo2ro5K4pjdlBXvUfEHzTtLZHywEOdj
G1PNa932mfJ4yPveCQD3TXsTeBZGDWhreYzfjUatrOIBT5hpfomb3qoxQWvumvo0qn8XgZmUgpqm
WNiajohyTthWsOWfA5Eo3oBlewCpMlbGhf1a142zMEbN47yYo4BODRTSSaiAkfVjkv7qoXEWwah5
qoFnUZsJgldDeBbBvqMP4yFLh/22AvJWwmr5lMZxgDYdRxY/l+lXOf9czJ+2Razr+HkljJcljTKr
aYPN0qPMCbPytlOqZ6FR3N4cvTKYX9W0tQPCLaBQ5fpd+c5yGR9rZlmtjQihUNEQbem07Ch4Ub5f
MG4RHf4uJ3UWxnhYCe1FhQgYK0oe3jZvJGsdLfX1kROi/eHJ9p8cYLN9vPlFeHEJPccAcXgCl66d
u+CltuhQQP6p2mWWYQGbyYkmcABtH+J6bHiWy7iNNgWUvEqhjJs4vM4xb5TKnbMtYlsVDbZGY6RL
YRglDdJUwxqKT+X4oBQv2zK4+8cEaXMSL+pIGQcrsECPboRJlfQpByexYAPpZx8/0h5kMbdQsN+W
zNtAxmWEXTCRXECDVq4BNMbElEM5K0//JoPu8EVYGGjA8YsL+PYg3bXGs8Drc+CtgXEWsbkgyfxu
ybWxU+fWAT4kZ5t4SsA4i7ZEUKF1OJ8JSA76IZd/KMH37V1aDSA0RaIYsaaos8C6Y68XYkbTugOJ
rTZ907VDP8+2zmt0Xd2tsxwWUhckVaioYoTcEUs0Gx4KhXNDrBdRLwQwNgmupTiRBCwk2pfPmL8A
ymXtkBvJVuzGno+8BjbOvmnMZR5Wy9REMY1VRt1OYgQp4myneekNfcrpMnuPe37z3RdLY8xUHBq9
7sFbhLcUjPQ04D1Aa7Y0P9W86FfJF9UDXbhDZzr5+ZX1cPlCOmOrEpmLKG0RLjfqvZw0uHq/C8oh
MXqrEVxDX6xIvjO4GLir9+SFVMZ6h1FVJpGWiAD7t5+vUMYDYNKyq17KT5QjYbiKHX2POWOgIPhc
PAm6oVsbzpi2qKixBqApGhaOmaV7pV8dZ4/i4AKZEzN0f9UIo2mGrpsEtT22CXzIukAzOyQ5m6Gx
Eumpy7+hf5DjTNYt8JcQNr8JGM6iyxFZOHn8SVAHa+RWwVbd1XkZbCKzUltjwaQqOrBIZIe5YRst
kHsD3ng9TwxjesO8jFXQAP1Okm7j+RAu1+H4Y9sr/sGbnDeLMTm5NIkczaiqkavJESxlF+xzOz0Z
Vmg3fuHzFIA68t8V7iyOsTEM2k9jQAMKMG/b83w3l1cmSOnG7HGSH7aXtvrMvzgkxrBiRVtAr4Tx
JpSdbD3ydeUmjZ6j/Idq7nSZE2H8wXWdF8ZY0hIuo/AO4ynsDPDRtLbm5YfhWF7Jt/OteoN5Izgu
fS+/ZE+JX7rbS+XtKnN9GkLYG30InoE+fJxUX899Nb3Lm09p/31bEE8jmeA6GcaayAmgNBUhfuzy
+pnIw6vAhUdc76y8ODsmrq4SiWTxT9rJZp9iWMy0JZ84jTs6BcBnExt3H+de5XgNNg2a5phq7GsU
J6JuFwS7NuUkFnjfZ67tBiinRdcjqSsln6P2Wpjs7aPhfZ9xFsCxqYp4RFgwjddB8RrKX7a/zzl6
Ns9Zg66VhFoKjgn9NtGOeObIPKa/9SzF+dhVxjvkQ1cscY4kz89RgwyUThU6tmSAKY27cre9IN6G
0QVfhM0qCZdaREuoU5Jm35FuN3Wj928iGKfQirW8jLTfbcDQY5Zb6sRrMJHpsW44VJUx/RSNZ5MW
I2jpD0Sz9N5Kr0efQtpL/gKCM8p8tJtvM9zoip0CbGvw0SfJaUjm7STjFdSmmMIxa8G0278EReTl
Km8jecrH+AO0wedZbUIxMmhCkVtddivn++3D4shgA/fAzAxNpPOCavASo7hGytAeet7w+Xq++6zj
GuMHtDANdLNCcoyyD7R4iGIi/FV3OxcYk1b3lPk6j8mBpyNsCG/SvmpM2tMQU/G6BxD+ufVoqSPg
vOunyMFIni/hfsLNdMCgkjuAPEOzee3d6wNSFwtnIo2lLEFEQkGwwjqytDzdBWqSWMAJ9au6yy1l
bjAEChYSqXmowEtgy3p+JSUYAqplPMwDY9eE841cVf72sf8hAiIasPwVYD0pjJHGUzV3eoqOptEW
7cVBAeeB7BsXLalO/GD+Zds0pP0nj7HYopXHIiULLT9UJ81rfcNpPf2Ovt4i1+DcCvTH/+4ezsIY
0zQzLY5FOqFYF0eh3Cmhacmq3YS88W76nS05jIGKBPhwoo7bB1zNvkgEp1NTyyyFu0VU/bbPAXLS
Lk+ck1u32F+LY69skBAJ5tgjV6/6zV5yYldOrKIFbVnv5G+NXQFZsEbW5XFb7Lq3O0tl9EWrVAMl
YLyZwK9sCHc5l/SIJ4BREDIUcoAKBN6hTuDTLGYIAEP5kSDNRzz0FnBBDFcgVVAoOqskW5ea43jp
CzpBBtqMBkiR8mFyCLAFyV7xq917w/TNgvxCtpPs0BZ3vBwDXdGG9rC5mXYwJ3Ghnc0VOLfD3Tzd
iOOraHwRort/OjvWxxtaEi19gK3NyptMw9xA/7otYGXMmW4lKjiKCeZdw2QOr9CaME1mnYYwBEDO
Xu2jHtHYik+8FP19zra4dQs4S2PMu1K6KcgiDJbUffdC5PKUToYbJwvvSb3uRs5yGPNuE7RVTCru
XwObRvrAltTcNg1XFXk9Qtsr+h/SrmvJbhxZfhEjQE++0h7XvltS64UhS+89v/4menZ1KIgi7vZE
zJMmousALCQKZTKReYarrKKyaJTUWpwEUBwMX6Tqs9TcqDyhze1s8K9vZLJjCCg+qMTQAIrxhwoC
uGAUcaAeetYulNStcMm5sWhHAs/LeUtjInRj6XvDgGCfoxjpzypv3CpMvotd5+37xF+i6P9+LJMd
RVDG7D9lKnrd527u67NTfoKUo1f4y4iWVotjkIYsfx7fq0EKaKtvFo7SNI0JFUs+Ncce0edg9V4B
AqjK5hF3/SV8utqim7yyVcpJIiCLC6qCbzPy+LUfv4RubKt+ft9RxPff90y4GmTgXsvFGIRkIVzf
yPy5at3U0P39DeQ5BoMZBJXZXJbwtBKKEnwFxIqXj5LCO1nbIHtdCIMVZdVkzSzTGgiYSYKL3EeW
pPlF8TOSa45H8BbEwIU+LhgdRJDrFLrf1lAITD8Y3Y/9TeO5OTuU0GlNVBgKCCWom+ME36mUWlg+
0dnExAet2r49zprYvtwgKMiUCOiaDITLQL626mPLvflpCLxzkN6WvHLuGsSCNYb4ENDcaKfRL28C
J4Y2WXsJrA5qgwon3/6X0PeXS7z9/5W9JtWEousA6yhm+7T3JnLiG91tnfoI6bx7Hm0UbwsZnBCT
YCxDkI3gBeAlkZc1tqhxCBH2LyqTJYoS20pP9bCl89Kz0+qKXeTCJdITqLEIT/sOsR2mXTePAYbA
FMS5xpiPo1UXoYaaN48GjrddDCw0JOjlpKGtKPX9HJ5KDCqNz/tr4B4iBhRGNZCkZEL1tUSrIR31
aj5SbebAGm5TL3D3rdFjv+feDCzI01TWbUurfJSN3KfkjgrmpHl3BOfDsN01sWhCCzXGW0QNUqtp
v6oGx8k4SMrSPCltr2EYDy+APCmeqihxMTj0Mst9Y8Vtbav5GDnv2DhQGkIVyyAqVOd+v/SaWpYV
TCzRhw7U0g6mS8NJ/sZtOtzKDOPRcoWvOYRYl2zeTcKrIJ7G8tP+Srbj45UNxqlFrYQECaVMkvzA
hyccAq88UibMwubVGrade2WLce6oMsUZ8pJv1S0wl7R25JluenljXPZ4cQJv8xjn7sDmr0Qqgkpj
vmunT6phE2630+b9cF2QzgTHgZIZPWag6IIo3WbiRS0Y1OjIjmQ1L5Evc+Bh88Cu7LG5qgClk17C
x/qHHZu2D/5/Dux2ULeyw0TGejGRRCA1XRfVDUo84xh9VPDelSEQAHI4e/m+74ab14SmQbjRMAwV
0zS/H6gs1qqJSPhYk/hzlGurzkN7ig6Kymva/4sPXi1RsFpdsVkSRKHUAYyQAT6Bq/QQXv7zvfyC
O87NWxaDE7M+9YlOaYKzJnPzCMTRk2BV2bcmOOzvH3dZDFQYxDBRpMEGjqfFQzPSIQUzKcjMoTcd
OryjtV0OWn0uBjRkCKG2QYEiZeeIXn0a/ilUOsW5/aZZVDM+fCLvymitbDLgYdJ4OVcxh5oYkytX
paeKwwl9jbYmj49JENjyoPD4xLZzpCujDIg0JijFqh6PDXJC68MHMDI6mIy2w2N7mTHbK7vSx5Zb
CNlGrl8u+kcabQarQgiWMRCAf07as9g9LgLHX7aB5GqCAZLKCIQ8yMGUovgxgowYNz8V6nnXzX/d
PrbhP0DnX63qHWaoqi9R54W8Zg3eTjGw0cT6WJojAlhB/B7WH6picqr02/7R4pxhtgYWaXU4Di1I
V4z2sc0yS9UyJ+/vZaHlPGh4Z1hh0KItxCJvejSBjvYCbvvMCQobI6A2PVBoN5GP+wv7y9V/dQIG
MzIlTccKxI+/bq/wRwUZGuoIA5f8c/uqvBpjIIMoXSpoE4xJvujF5+Wcj3b/2jrhvXYw7+tzwiNw
5fkGgxdaJucL2uQUcBkEX4ogh85eeNJN/Wl/F+l98UcMvXJxBiEyQy+qscO6SoRMyUM+/Nj/+5xl
/JEhJaMojgGeoFAKFKAMJ6IlPcg0e9/KZgR9XQVbBEvmIpEwuIn7t4POqxbjHj5qGEEk9/H7BmpX
tpjgIktJ2g0FMDUz/Ur9HORexuva5nwUVjZZC+tGFmTkr+UupneEj2SOt79jbz1FOx9eZQKJmRhN
XCVId8wZeWr7urLyxoDmQLZ8kosHs+98pBf9AWWXXq3OSpkfgxCc8xn0r1H0Gecv0xxYlaR6VdOd
q3T5lobkoS2C05ilftRqN2mauUWOBH/wdeqiGpOn6AfrOosQ0BEXMadmzPMABnzAqLWkkBRAnpeE
Tli68fBay98k9IrL5F1zYCsPYIBnCKQwVAM8n8j8HCa3Q3xKGt4YGAdvWNoKSSXN0E2wQaltKJHO
ZEmvHabb3piGj9LjvjvwjimDNoRMpd4KaF4oZHfGddq5Zcf5QjwTDNK0ydgTocAZDYeXWrsfO1/k
9bJyzg0rT5YNXRCGM+5TXb7Eyf2ovOzvEsfJNCbsgErpIBsEf7+rH6r8Ocs7Wyk/zbmfcZsOObul
MSiDtEY+iAOq29Ik3w6hehqCp+x/14pEcenqyBp1wtVjYkHqm8io6Tq6MDnlJDpt8b8zQP9ugoEZ
s/nvJ1EzjySfovmcxaZtJhzn4kQ5bEZDrOOkawq8LLv4RddOk/mxaeyO90zhWWEOflKMghLFSNEN
qaeAdQojdtniBxNXB4Nz+jU22iikKFToBVBcuqP+dTr3HVitEGt480F91WWLx5/9lyfzr/hGYwCg
K4wxaEu4Nn2ap5jRRPjmpLbxpjynPZpH3lAXz8EZOOiF0RQVDcmUQoH+G9oxxlG1+mnkcPbynkBs
jqPQumAYTWzlW84Bqp6FE7qdbvWvtC25Bk2YfuxBHc/J6XHtMlghVUE5QywRWcMQei3QnYfqo0Pu
W4e2wpZe5Ibon8p88fs+RP1lW6nmtKoooslsa2W0UdpJMBsZLxFYUyUQLIU/9m1sHwM08oqGJkG7
h1laa04DUGPAk6J8akXNqtXhMkuzBRmV9zQ5Qgjxv5YYFIzltK+RHgWgB5jzDoIbuZk5DrLdzbSy
wYDgmJFoJjWKS7NfHAVLw+NlcVqMCAi2bksQ0nybldc8cs7s3o784JE3FSVt31vXZTIgWadGNswt
FGDonEJ8SD/LhxBcQQJ4kY1jgTcNrdegTeLYHxJXOMpHyv8MdTJeZ9d2JXu1F9S7VhcCjmLay7Si
EnxGLFgcdW856G5SWORI6QLMF83STxh8czF4tO9TvC1goFWTy8KcRFxFY7/czEF3U4EkdN/E5u2t
a4opGyIhOCC/L27qCzmRNJRFK7G2ZVn4FATyg9ITV5uND1rGyzJtnpKVOQZRIQjVjUGNHIVR38r6
04LxncErRw7O0PP8Rxi/ssKcd3OWVC1RInR/HeODiEwI7b0jB56LbsLK1Qyb09GNJqqyEuFIo3zT
FydpQ4ukz/vfh7NhLK+DXgpGnBSQziRTc0YJ+5Dmi5VAe3JpeSqd25XK1XoYYOmbNItMVMmRO6jQ
6oVUPvpaVVex6mPuJT94lx3nK7HNzuNioo1HfvtKtEOPVqpomoLXEcLbQQZHBCGMO1x2CrhK0I85
uFH1JMSSXeoP+19qO9Wz2j4GJ0iGJoaIIJb/p8fxnzFpxZqRUQQsHfet0YOy4+Iso4OS5fGsNRQa
5NIi2bkUvpvZMTYya6ouPYhf9s3xNpGBiUogolBWJajJu4+S5vTJOSaT1S4LB462RzxWm8gARNoZ
6jJXOFPkFB+knwP4RA2oqjvlDb150HP4jGIFqljSbfsx+8wlxt/Ogq/sM9DRhxpBbZM+Mfzmslyo
HlhznhoQxdFxrQK9u5mdcBNpNDjY+ZpsQkifzVgdIqppA9rd8Vb+ipNnhc/qh+i0vO5/ye0M4XWF
bFqojZWkjmrYotJu8gVyKkdcYH50iE7K474tzuXC9kSPNRY2i5gOUqL0NJD+oi7KbayVlyyUzrNc
8QpBHERhU0SxVAShhoK+o2agJ1AdwXgammezfmqX+6651xQuPyjnCmATRu2SkBCc18ixZW/apUVk
IZtTnXW7+EALhvHd9DKeNXd/X//yDaHFBUp02RQJAzVB1MuhKoLAGJAtOGAXsjNRf1TGws1Mqh0x
3qXJAr2+1EuK7AYpdd4x3XbY6w+geLGKidKRNHNWIBGbQ2lX9qan6i641yBBbkKexW3BbRx/6m6S
BxNJmeSFd3P85aa6mmfgiIxhmgczEqj9iVarwGfzQN4SQYFlHGYu7/A2+l3NMaCkjdCvJjkcKgUT
tpIe4qU6jMajwOOq3Iz39KsdBnxCGXxDpY4LuBFO8XCIeYLP2+fx199nu7mmspk1QlBQFPFyaPSb
ob3NpFcx+tQr/r6Hbq7EkGVN1VVdV3Tm/WB0M0pEOoblJuMQl5fZ5F22m/ffygBzq49ppiyojaqI
VWZXOtGRAvkcPUn3HbCsANFAhxkc1Cy5DHHbvgchAiLqsqgabETW97Vh1PSGol3jlCZCPDeH8DnA
C3YGzwtvfHh7J6/mmKCskSWlpfySYPT0K8DJ+C52l9V6mE9VKC1BYzi0Ilq3OZLFEg+YlSg8Os1E
K81Vx3m+bn+564KYL1fEkVAik4P9AyuE8jT2N0UeWWN4Qb+ANcfeviNupxxWy2OgstFkLR8rtD0o
/nRJntO3HE4A2UurdcaLdAifdGc+8Lr+Nu+FlVUGH0dNU+K6wvsZIo7oF9c9SUiRGjM5x2z7bbqy
wwBhnYsgCqYq8a1LJ4sHb6SsJQcImX4WUhBNhrZkCffa48RJLW4bNomEbikC7yMsVI2lHnT07dO6
sofEiiegqGm8DtbyoPtIlx+g8QCFE25/9yaEXe2yEKaAGhbTLhiOlSCcNyzLuU5cyXhZEg2NYjx1
u23nWVmj1+DqmmtFJM8XVB3RdJ3cV55wK9+CmDTAUpNbOiNr2HJiKY8DN+eweb+uDDOnPi3CYqk7
dHtTwjt0VVnLQTpC0BSNOjyN2M3zuDLFnP+sS6Smp0Xctvq+ZA+1qdktXmKoRBSujr7i/fO4eTBW
1pjTjxdf1KoSRHAaKfW1ob1vlXSyArHmvVg2cXNliDn3Wi6Fok61ApAqcxUJlFV5+WV/Ldv54ZUN
5pTrTdH2mK+jQ0SGakWvNEE2QJpGoC8V4iAt9cr7WtuvTFPWdPxnggyOOfFCbY7FIKCRJG8sqj8S
eUvvUXt09iUB5+NHziK3T9zVIBP8xC2oClOqk0z74WirzOiiixmq4XRQXEbmjS5Vel+byWqdDMDo
ct93Q4JnezKkp1kV7bHQOHfD5nPhaoIVKdOboSaCCPAECz44HksvSciphj7xPAhOlIp2lJhf5Dnj
VjLI1nPPhDimqakyMdnHexvEgjTHOs1PDUeQCNjf9If+yNdH2P50VzuMr+j6qDSlgHJ2HzfObJKb
sUmsZO6Qfm8cJDVf9l1l+2z/8hSDQcthIOocImDBdP+pi16l/jRN/r4JeqL+eCivPhmDi1prJFLU
4N0RCD/T8Zk0zzoYQSLhuG/mL9fbdSkMKKomRGBDBLaIGrqjeshvzN4bTtFHOh+o2qmn3rdf64/i
PZo39i1L29/sapkByLhTySjMAtocIBGsm4WtYCzM0RbFUnrzora6o5coQemgDE0avxFrSyj1D/li
Wm2cuyNZnCD8rCjFQ5vrvtgkF2npDgJBtbz+Wc+J3wu6lRmZ22fSsRF5FZ5t1L3+egZ15SlJci3B
i18TY7csII4k8Hgdt1M0Kx9gULeVhzkqRYQAdLhb+gE7SFSC4DNGlyLGoXy88nkyTNt35HVZzEGS
1cFIw456dvxlMQqrMqESauXtsUs+TDHHx7nOxyCu2eidiqlbPJ48CCrbEE/H24Y+rG+VY+u0R+OQ
esVL/zHltUbyfI/BXGIWYAhLKV5AaE23orsc45VL+k3hzYNzkIJVV1uaUIAvooewSNCg2FX21IE9
WHyXmM/VU0wGkIxs/E/4FozDp0CvXaUVP6RJeSrakhMQcxzfZICpKYYkME1oNxJy081f2+bjPi7w
/j4DSELTlWFJX51LsjxgVRc9/f7vLNBfsIp1SZdHZrugJpybtw2eSqaz//c5zmUy0AD6LT3VcrzY
Eaef07K6M4fxYlYd1AQwyd7EvNwcb8cYmMh1Q0IvB5IpwoJo9tHkFdF5PkzXu9qvJQRXmykgmbLI
uIH6Hz25zd5FIbpyYAYJcikTKwg9QERndlQJCSFHkTnP8b+8cX5hG1scl6FtsywSyjCB/pbCjE8L
5BQ/hjfLSfHai+xG4KQWnIX3xtnfP+Sdft8/slRSm8Q0j6J8aIOfs3pROs7s3X60APba302ILXq9
K4JUt7TYiS7ZRjJYgfGq17wpmH1f01h+TU0Cf99E5W6z5kSms1Zy6vH7karGThu3sTSJUA9F+eVI
58fojAjuOp/HUs/7JAwEhLUep1GBVp5wfojCV6K6ARjd92GAt1UMDCzTnEtRpNGg+2AUX/gKC5wX
ksYKnnVjl6c91ewi/uLFoPnL7dZTfRXcH3yyvW1Uu4bYzHIkRAYgVMFdnc530dha/jC5y+dQ5Oza
9pe5mmGAYMiGtA9UOECZITnnQqjKmiLe9O32cbkaYa7/QJzSYmjpxqUHU8wstHVZYvhxnmdOkLvt
A78MseUuIdCyJqxxFaTFV1Xy455zGW/maNHOoCqqJml0evT3gw92Sw2jy3RYHi5AxR2g6n6gQ1z0
UW46qvO/+/TaHHNu6kapx2qqMVse3AnKzRI97f/9TZdeG2C8bMbg1jBLVJZrtqhIbORV5+bjcCLg
zyFfeX0NW36wtsbcnDXUNjQD0oiOXEKFzs764CA1tZ2kPC2pzQTK2hJzh2ZVJcR9rCiOrqB/ojIu
izjYZGmgiSwph1aRDsKsXOKgKS0wh0L+GoRbAchY68ACxQgHZLfO2PrHMGcsbKbQiCYc5WqAqLBo
VSDAj8Z3uP7aCHPGoG8ctYqCxHBcOFL/mr1LYGZlgB3MHXuJ5GKr0Ba7e3QMSTLvkcDZJnYwFwLW
ejgMWMGUXpRKtTtUkZX5HXi3XgUTTgfiPCcp7fRNonPW/yiDo2j+3D9UWyC0NsFgRFoVQxwGaNiD
fOCJ9MoLRM/Iv/vabz1uqxgxSXUBjIH4GGPUWPMC5olMQYvG/kI234vrlTDoAEJFuVwMiWoEG6fi
MrvJtxq05cGh+mC+gJLEQWbpmU9azHMEBiZUQnIzwuqcJB7u8Wr8LDTQHGoHf395WzfsenUMRjRN
UJRVHaMPMG4tpcQgQ3totHvIAtlEq477xjjQJzEYEJVZos3aDNJZjHqAyj7PrVJ8HGJOYMrzPQYF
unmYmrZC5rFubpMhtkhZ/7sDxPLzGnU3NEWJykUjIp9PBttQFq9NW29/vzg+wJL0Knra9NCnRuBb
GTYUlW9mE1MATcV5pPDMMHCQKvKiaD3u8xDTk9pihc1zGL7+u6UweIBE/tDGE5Ifal5b5vJSZMdZ
lTifhXeTy0yoEAT92IkDOjdoNj17BRUw2Edk1VK88s645aXjeIGQzEBDmFWhGI941IO5Ej3sGCH2
4ds+DYRyx3S41QnOYWV5/jIpEbSI8n2KT9lxeBYPVEE8tc3JatzJRT3ZCb3EDT3zef/jcRfKokQt
Y2xUnVGpQ8GMuBnqFMJt7A+24Gdu9kPlRJj0gLJ56BUoyQxONKYy92qPdM/YjreVADHYIgtcUpFT
WIJeqD+CINuuIkx47a+Tg08yAxwF2kOGRkPAVAh4zkbkEurCoU30s9FFnHCIg1Fsd6tZq0IfiOgL
CLNvsnyqY86Z5gV/bCOFlM0gWtBiWpmHzpBT+4FTYiIWrBvS2XSEAzyFc/p4S2JgRMS0XbcIeHeY
ZmARARkHNea0U/BMMCiS6w3mowM0hHXFnRp7bfOw7wAcJGQnl8VeK3LS0vrpUNvhiIpOaaUpB9V5
i2BQIxqHRG8mhHia+XHpP/TE2V8EDwXZAlgwkqQPZyh20B4awYLYFHr6FcdE5854aN9BOr06qyx7
b5OqWpupwMAluvTdXSnynrO8b8KAgVY2cqY32K7BeMn7V2E5VuO//OzMua+JHsmqpCLoDgVLyKSH
bqmQC+RV8Ogv3YE19mGeT0rSC/TM9yP6mhb9RtfVc68m7iTOh8hcPuN1wenV58EA24+KORN088mA
0vmUf8FUwKH6OoB8+CRC3q+8Ews79HiCthz/ZvtSK7GpNaglISyfDYcoUFLTIs4R4i6LAYJKTSez
olMjuBLQc5SmlmBn5+DyD+NKhnGEkteuwvFDthk1UZZiWPIE2eIostLhIUEWL+AVKHk3rcqAgzHo
elCNyA7QCCay+5sBrSmUP/yf211/3scK3qLojbh6QuGWaGclwemd6vm2FYrbqKjuO2PkRH9/gSSI
LopIResaW7xO5Xzu1B7L0m56tzvWvnE/kbe2b9rN1PFIRTdbeEUMkv7XHnMXpcHYQ0YZ9kzxoo+g
CYy+LcohES6F1KAc5mXBY5cdlaA+7O/ndgRxtcv45RKEgQDmW7zagpd29jX10iZfavKyb+UvXnI1
Q4/g6rONelcbmYG2u8GjXSOlb2iXwS6PULywwW0/uPL3fYvbfnI1yLilkg5CNbwRf4ahWyCMbyO4
S8dBK54VxhtTE4mhqcXDrVrAX6r5qvaai9/2V7JZkVm7BhPLzmWoldqER5Xx0rumhck7aCw7qMoo
lmYJfu5EqMnwcv9/AazrBjK3GEnTOYmQ0EHLmQi2ocJZzgEYpXEEdCzVgtavB07a/aXytpO51oQo
10lj4rkwLiez0axB+5iOvLQ2xwhbbAa9vDGUMlwxBeXydJGXQ8fjptgcW1l9MrbSHAVNEEwSYln6
/AD7jlUfsqMaW9AacquzeaPeBE8pSKkkqAtX9vAe8oW1eQZMykEIh4COIcy6YQlycxSEJ1WQ/P2v
xV0lgx2knNXEkOAigxce+tkSvRYiLMM5RUI68HpHiTEWGvqQVLINDGU3vDkZ3pdkQCVT1EYVDNjP
68vQf1BDu654hJD0b/wZAumKiMZ1RSMsTTZpw3yWqlClDWA3oTm5JkZOOftI92nHBhtmjbMUV0ID
CjEqwSFYhaPeRffziV6nBd7Lpl36Jjr6oK89fxJtFZT14PviRMV/QZlfC2XjrrhPRDUScAGlYfFk
CoqbyI2fa8RbWtkOPsy98jAqAjia9fpEhM6RETKB4kSwjco8g539kIlZ7uzvzPYHvv4mxo+jsG3k
DsMWCHPPcnFokqOhft43wfm+7IxQEzfiQGQ8PeQBw12ocpkpD3A2O5REyN/9x4fYQAx9i6QkEdpb
Omdwiu8qpCPBJ1n9TGKbakgWN8L38cwbfuLtHf3/qxtXDvNajHW0xiVL4Nek/S6VmEBf+pf9/duO
H65rY25AoddzElA6W2OKbqBH8hSOmtt0uVXPGSdUESn8750T5iJs9WwyFoKAlupJUm7JcDzMqi1V
gJnBperR7UFw5tyKXlIv8/OS445v3eR7P4C5E6smFQOiw1loG2B6CtDdW14w9c6dMKIr2TPEXIRp
m6hNoaHynqeN1y7pZVZw2MLoSNrCynrT3f+InI1lOWGUIsXBX7CxgiBbqTWCwrX/qcb2UD9l0nO/
8DpeOb75B0cMsretaAJUk3Fy9OZRjDN7MX/sL+ovdZBfrsnSwwhDn2A8AON/093wqTvmJ0paLrwA
TkG5hpZUl7ZIa6ElvSebLxJDlVXFAL8E46ZFVRuS2qGdt5E1q5jzR0yFc0xsnrqVCcYRATRBZwqo
h+nKsSnuighHoHklPDqi7Rt+ZYfxQ4IWraqJ8NqiY1W4ElBnRjEUQ7DZ4lTnziUOsqkvY2APHmXv
5w2McpbJFi+LtBK1UUYY1SrLbSF+k3NcM5rqBUbIOQGb18B1oWwVc4zKeslUlOyR5Cins6JzEjYi
/SJ/nOiVAeYqy9PZyEiId9bgze6E96QAarzkSXDxL+4/KqKBW/jqK3ncPwY8w0yQVuu1Vjfo/Ha0
4BJgUGWKLEOIraL/opELSXksc9sP59VC6U6v7h1FMpUmKUvUTaw3LVErfxBszSmPhpffqcf9xW2/
K1fWKNKsrMViBIVyGXyK0VH0qns66oTkOw2to3Nyag/Bl32Dm8i1ssdcd8NsBhPkUhHyBn4+Powh
Bo6e901sR2IrGwx+JFkHZtCKshpi5r1H9FwcjcSHQqSAF59h9UfEgaofEPyDPfImNXkLZJClHoUm
Nw2k/LT6q1a9dPNdnHicBW7ebqsFMqhSQY10bA0884pvYMRZnMhuXwRICFXuYqu3xUH2QaB3KBSL
V4/iLI6tgkqphkFlk/aAlg9yfx5b6Hty4mieCfF3h4SUQJz3M25u2XyQzNRuiG3GEicQ4WygzIAJ
Gp3SidCEfJUmjhyCygRTKmqkWqII/sthdDkfjP7oHfBiqZu7XJwXqccHowHsW+B1ko60k6Dwedl5
DuSzBdGomuK0HGAqGT9hNAzdbacmbFySypxcw7YhNHGYqiRJukE/5Ao5mhGK722Bk5zMP8noqpnf
S3aolBwz21GIeLXDIIaWoxJZCLhZoBNYHBV7OYoH/ZbyR4iPgmqhn/ZkuNmRnN/VtrUyzMCIpFeJ
UkzIalfC527xtCFzsimH/kjMW+L25XldIoMZatPLpv7W+ixa80myFXv8YRz1l94xT/Ryk6ANsu+R
PIsMgoRZOBgzHqZOXZ5ByXjQI4FjYfsc/1oTmyUqBT3OFAGhxzR/rLu7RjtHvBzztgldl1TF1ESR
fXrmvWD2MX1N5FJukw7E8rpdi9b+Tm27+dUI3cmVm8fi2A6xgXXUZWiN/WDN4mTV1UkJPu0b2vwk
kihqYKQzcaYY4IMYHaC1yzCJuxyyrLbimSeItZ2SXJlgYK9tyroeOuhUCZFVZ5Z26lEjlo7km3xD
SYlKL/R4Coqb32hlkomeiJkv8kQpGMLgnmQHLX/teOQZ1Ff/ANeVCfYLzUmWGstCp/9UT0ZioHHp
9cc7Mptx4MoMg3e6IEtVYfYYYTPv0+UhlBIgHzr749vKcAboe/47d2BgT9GlfgglpJP65JiAfyge
fu4b4K2HgTcxkeduSBFQa8UHI7jNp1dteC5V9IRldz1PJYjn3CzCxcaAGwggHpKTqL+2bcTB0M1j
uvo6DKDF0TgGi4Eb3RheDMMttNhVF78fU2d/196O4Y63sSFQmBejFNVATsl/Ywhw5GPiN7jW8aDz
lo7KkzqoKVxE3/SH2/nAO1Db74PrStkWsaU3Wi3pVIxsgjUZFBOFN53V2+onBIed5MTzes75ZSOl
sV6aMlzgJbpc3CllfBn11Imy9tv+tnLOMBsgpWSazKgHlBsk/DyPycWIUq8Uczz/za+gJbgFi6w/
GOp7yk+rvWSgw9RRy5gDDLWX5LVF5Nw8BgOns2n74bqyweBGZpBqEin/vvoU36KUcZZzK4No1RJa
rad908DS2eHpD76xZ/Owv6v0CO/5KoMhuhxqaFbDW2RZxCMZbwcj9pJUe5C6+LHseJnMv3imopq6
AtUf6Ej+flUqgpwFRoxi3uT9I8WJwbdzizoGzRMFDefEby/ulzU2wOiWvK8GBT38VVpajWhFeLf2
lWrVyyUSeX1if1mbQSBaJOoaeAJ+XxslH0nIokmOcTM4wzHzAvCsEszqK2DFgWDJ/ofjmmPxUlTa
uqd0PAThIBQDIXDgoEnNsCcX7ccHoXf3DW4f8+vymE9X9WUgdxVi3bl7lIqLJHg6j8LlLwfhlw02
SVoXiVAZC3qB6xkkV7PbPkZ2ZVgTsUw7+mlY+TOI/RxTsJoJvD/vSufLNLYCwZeCL/j7B0wEscrq
EHFckt80xYfZsJSCV+vabkJYGWEOnDBDFVZuQBA/eFTFsvT7wl5O+GZQsZx5B2DzAl8ZY1xSzqQW
04zILRZhYNfh00Bu2qmyRulD0rxM5uM7PGRljfXIPp+rucfh1uubcTqV4ZfUeN03sXmHr0wwTijO
VZZVUKSCdEgBbZz+aaxNDyRbfkoAlv/KFnuNz4IWLAFNzEbZY2r4bXrb5hdt4pWu6E/+A4GvS2Iv
awRZrTLTBCwdNExP/6jH8WPT7TTeyo70u3dLZlClJAapSDEbnwWjtxMiOoOo3OoB0vWhDHID7aEb
o09ZtVwqNbzJ8+lLHVSc6GgTRlY/g432i9qYVRXXuCgmXpZrtjw2Htii39NKuzLDXNtZOUhpguvG
0cZHon1F7x7HO7j7yaBF1MzBokoIJ2lTVnguoD7fJ+i5bo/aIYXcfPh13x23K2OrJTHIgRHLaGmg
zgQNSPFnXCxuP4yhFXbhoTKnD0mu38hi5aDd/XGetU/7xul27TkpAyTJPPT1UKAJegxLOyC3SckD
X54FBjyUAcG5NOExA+4MU/gkmDzk5TkeAx2obJJBEXG3tKVfhpktzRH4O3gd1pzTzLZwR2kaSF1K
22tsYpePilv7hVPbmAGw8mNzjm4DK7GQpL8PHnlpvU36bvHqIGx3d9zECenpyKL2mfY4tA8BqFxD
1wR3Vurr0OomnybcNCr0hNElj+GRO/xMEGr9K1dhxao6wRzSCqyjTtafNc3Np+/7f5+3wwyAhFqr
hb2JYFkTXBrQdeXzmN0H5s9c/1rJN7VuOPsGt99zq32lrrvK7yx5EGtSh8iHajtCP/6E0+7kfuir
j3gaW2+6i6jL/XzrxuSr2HNOBqtnVfb6nGoZaqxUZKy149RSL5nXnaeTbmPO+kZ7NSGmSxztIH1V
DrMFMhbIXJUfeUTivN/B4I+W5y34Y9HUJWnnAQOCIg/g6A20AzJs13gFitU4i/Bspb1O6iX+jDbX
Z0psKh2q0uZ1ufIiMYVBHDEj5bTolM8ZrQ6UcB8f1p890W1ueE/kt8fp3tIY8EGHnVnknQjsrkMX
tKb3+th7QSjYgkiOYaTed+J0MRX1pOaCazbTLWoBoSVI9cdpFi19jvwmQR+nPHyq6/jSkOEgy62b
o9VkjBInH+RTFmpnM608eVIOo64cjDC4KeTZRgs79Cbn8QPmib+iw4hz2rcThooBOnsJc/8KS47W
QodGkQvEs9WnebbTW1SwHXR4144Okv76WJzQJMKp/2w3+6xssl8Od3segnPVMQ+h7iBNSblIw1P2
Ub1JG6f36Ix27GmP+ziw6f8rq8w3JKAp01QRVoP0qRgvOXdEg2OAJUczysgoxxzIKRwMX4Gm5oSi
v5WOVmaJNm2JRuZX/f6vFsX2YOd5WvUQeAWaLkdBfQgFzrein+IPx79umkHP/Ao7w1LSs2aQMeHd
VU8pOIDAd3SpqvEcFbKnI7FiGcPE6TfbfhpfAZtt9ssHI8BQJJDKuEEJ2YVnnDVs4Zscr89rqN38
aitjTFI+yaMprWmfyJI+LsX5/0i7rh67cWb5iwQoh1flkyaPx7MvgsOscs769bc4i+uj4cjiBxsL
GNg1Vn1INovNZnX1Mj3trxDr+KFLJ5YhyqA7DfxH58cb/Tiie7rwEJrEQYTEEjyI5p2mS4jKwgyF
d5w9sQrotyMnHWkNCRdjiaYShSGfirGKzCyUAjQZhLrOLUXJ3B/m9jRejXxyFH1MVRXyb2V5GsYf
ovG6/33WIKiwQZ3EUa0HfF8PD3INdQVPlby/M0GGuPL1OEzRzZXUMyz5raSbvPAopAwTrFmiLh2h
ojRtTTp/Ne2hQSq5CibGOmwzAKXrQlDHfKAK9X/1xY2dHURvtpK79CayUodzwI6QwKqWUU9aPWt2
dGSRB8g14hNarGxT14yw7ypjEDG8MJxMSfVaBZWJxf2sW8I0ME6u7VTCdZzUIRLrVRU05NnJyIpT
jdqu0cjxalMitcBsSbo5LmQFNehXQ0BepI6OIpprvkixg0gDgPwh9En5HYe7AQhe/6IN75cjaRSO
9k/7Dvmbg/KXXTqFkVexGkgZrm3kjjofQWfxy0t+CX5G34x7knJF5zDWGm5utOtY6XyGPhljH9RI
m/B1a2b517ps7T5l9XPb3AgrKxRclIYWCJGGrMmYHcPinCgM9h9ZkU+euPo+BRf6nAZKWOIsDqsf
YRSaSeRmhjM3slkITz3o2UxWF2tEFHro4IKrRgBKUhyiVxZ6KsmoStr3B9bSUOhRN1OcyCpSFn1/
7vqfgehUwcO+ic1dtZo3Cj20MhsHccT78YSihLmwufTcivB5VjaEsaPoJkqJnGUclwApIhl8D6Hz
qyywCr17QZdpMI7SggGLrKmj0GKshG4sYmB7kX7TR+UC9qk5aUwRVOJWe25HAUWoqGFS53Br2ZNc
Be19U0+6dHis5n0QF+84d3+1GKOisxXdMve5KCAZV4GymKVf68I12vzvvI5OS1RSaUijgRAwrbs7
LZ9usgSq3qP8tj8Wxo6l8w5ZMfJ9XcLzZA8Snh5uSKC4oePzYd/M9pSBeyGJRATeoI6odhx5NIND
bKlkvJnrhrtE2qUKu4jhcNvnsHw1RHmc0U5JDXUwBSRP3spvwC7x4jcBN//IHazZVaCHzoPy2VnR
cUic/UFu342vYbtKZmEVykxSPfMih8kkDNP2Jj7GSGDxUMCLjjXjhrDN3lrZoiBjzCWOW0QBfdrR
U6I1y3suNCcgbma258bsPO6gOiA4oIaRxdvdhtxfd1e6vWWio9iGV4CHY+tGwjMfve5PI+v71BIO
S9tXYtfhZXx4jNRL+Zc3UpVCC8EYhnDgUNQUNtmdVNS3QccqD9p+kruuDt23clbiQIYoONlWKKo+
i9AOSJ0cSc3S0lF4FjyiZ4UpvbG7EW5vtF+Lo326V/Fanqq4V+nS4Cu8eBurmidGf6KLK6zGRwUS
aDbNTQUPHxiyszIkZotqLGaZxCa5c2WEiiaUWYe2QwAXJ+ILgi2YwV3g14cMsiws8sc2DF6njQoj
cq1TO6FCPobUz/x/i7c/061cTxsFEOUwJF0EiWy7bO9m9HZrlxP0he39/bMdTFzHQiHDpLWINHJo
QGvqra5fZMOLp9uZldfcfli5ro5OrQ56vYh9R4pYkj4Hp1hyA+O+ipDMUm/F/q7pn0L92Msj4+xl
7SydWilUxPWDQV7CSP6RMH7hFE+lN96hK+xkjTaQ3clbqxlN5cCiffzmZvBramlqbhgGaDAy4p2i
bMwKRbNOd9d6ErIKIM0Gfm+j02drVh6rM+C7Ws7nAOdql1pSXhjkTtShVl5kcmJWSdtYwthNllyl
g1vl4TdRC14CFAzzyoCqM+MhkVRHHuZD10JtvOkWotyF31wvmsenxas8Ti9y3H3tuvyg8miIZVSO
NtaxqYUoexrVQ8+FTq3z6JkahaOZJroZp+AIT5pvoNIlCccAZAIcrl1+0iLwpfJJeC4m0UXBXc5Y
cTK2vbFTocMsLlBvk8DYiHXDz/rZN6K3SZxvuSD6vr9xtqPj6yxTB0/Cy4FaSpAiE+bGHPH2mTaa
rRuFqS5+kzKMbafbVvuHOobqEj0/+gX7p3UIdZ0k3IgMFJGWyZ7/KN12NUZzevhpGGVjgdhAr6Dz
BnfRRBaRhzF5nwrLY37J4hanajY9DkAdJNFH/mUQX6KKwS3bfkNeDYY6fFShbOD3uMW0TvYkIqEX
XgZQlNzFUlFpiUY3ytO+YzBc0KCgLhbSqYU/IOnRPSbcqUqOjeAXwR9J4a3GRUEbN+UB+k4jt5Ir
JyWwA/4tZdFFGeccrW2eZDOnCyFMDEZ+z0vVQW1kq4vms8ChI11qzOaQS6+twXqnZoQlBgVgBhqM
9POMGVSUW1X7our3XM9YJKZbUEChdkMwKA1SKMC1s+zExwhNoCuHFPkP95HDAmWWw1NoEcViVqQx
pjJM8ZKYKOY4TaZYvI4BGtX9+AMHVERUboqSLKOb3MeLRdiEUwWGNAg8c3tU9MYOVShGC609iyy9
l00PWZminDDX2yRvJshek5bEhFhD1NWTI6s+jnzmE6qvzFCRkNaUnRATtm+VJHdqJ4UWX+f//t2s
UU43NdwCSiWyD0N5P3ZuH/dW0T8YMgv6tu99CgIeAUskibR8u7JwrYHKIMJOU76i34m/PCCdAsIA
f2K9iW5upJUpCvvqaV4MAb3IcUrfTXizHlFRmIX2/sRtxzkrK5S/BWAKBHlICGNN4+mZ8k/cCV6u
lMdhQa3QiJBAUlDqIJeLrfTJaxdX5yAEVVTmSvxXZTmpo8Z4nmINnPJL5Au0AXwkiKMEaJGV8hbu
ifdNX7DKUrYv1quxU57ZVpmWiSlOF/GSnbuzSLgoL+UzeQxDztmprJE0b7Faf3/OWeOjnDXrRx2t
zxHmqJOvRqeZs1tW0fT2q/NqaBRCBmq6oACQFCehE6XiZm7+1p2Sl86ZbRkdBkF21Mz9UW1HOSuT
FEo2apGiVYsCULY1PDiTxmP/L6AXuhFD05DM0WdQQd2cJkBYXqFv9ty0GMmyIIBTas6qzTLAbTs6
G5nuMUbFMERf71PU++RtDc4myZqlTujgKgctlMpvv4q3vCuhXnpJzJFVurLtI7/GR1/u8wwKRIKh
Q+88eR3w3hIXFhexqIbbyHw1QiGMEEgiKrFiGAlv+OY24FkaC79xw6sFCl1KzdAUMQ/xvnKMb4q7
wkY3Xkd/Ta1ItwZHd9GHmHUnZs0chR5xOC7TmJIL1PSYy48ahPsUpuIca+Yo5FCVaaiSAcvTLSgP
5YybIOkZRQ8sExRK5JMidOr74hT/CBgE+oawdux2AHBdHRokFqMQNQFAq0Jv4zigz3dkZY8RNi6p
hF6s4oY/EOJUbvM+K6ZiLROFFl08gSvTQX4jC541iH1AMDQoXxiblzjwDkpo1MUrb/pFLXioYJAs
rcw5iOCOsTU2PkkLx67ATAszRkUzVKah6cSiBFqQkEowhZfCjf+pfNlcrNAKv1aecVd+3x8kA6Bo
gkqXDEGrQ+7T5sVj0Y1+XNd2Bw4cX3cMyjBrcBRc6IEmhGOLJUsEuwncFOxoyd0fDMsEhRdCogec
pKdgDQpfW/7Eq146vO2bIE694xN0VqkoAiFD5TpICFx11+rzaUDVqNVC7LPDv1RSzKJHMjYynUlq
oghyDSrCbLX5ltZPQsJEWYab6xRURHPJ8VXzfksOkHgGxjbvKpEC6rpxOAmH/Rn8TRD8Czd0Cjfq
ohE05B7xLAAOb+xnj7E3WYGZoc0567F8OwmoXG1ROKFKBlr9RgNuD3bv6CB4xk5+qaGG7kDfKT7P
LtEtKZ4X0HlfWC8vrJWj4COYA1ktOthWhQsvP0jT320oOlXTikmE/BoCwSw46vVZFd5ElRFLM9CB
ztVosyinQQF5unqMnaLXjvESPhSyfpfzTLcgS7Gzs+h+c1oaDJxALnqNzd1mh+ZARHrSN90mrWAl
q8OjHG8TiZ6cAYGMdaKTNjzab+ZzDMNDZM/6F3A59x2egUoGsb967MvUZNYWAZDR1+40PWjiqW4Y
j3ysIZCfsDKhCgggyoLceaCbnp8zFl2D9X0KIqCgjBIF4srC4I3CaW4ZRy1riihIiJeh0PUA1Pqh
8Q3Jz4wbntVwjDUECgmmUh+laSK7RQL/A7Fq3LJqVhgBEd13ruZ1neNIXfDYP6fSa9O+dOklSx9r
49BGZyVmhHj7k/ap3RyXSi30HmcwI8WHIbqNw1OXL+a+7/7mgv//APqp4RzPiXycldBVI13RxaNg
tx7gUwvN4Il0SxbN6W0Ge/Z13+z+Yn3qPsdNpTHXoF3bY8kfIrF0Smn09k3sQ9unBnTod6BLik7Y
wIpoBpGvtTep8kPTWX1/iOv+HtYgv/lxa4oJH4u9jmQjhI/NuQrN2bgtOZ+fJzOpWPe+7Vu0KuIV
DXdlA8JRH62hGDFIigBAkJ2Xr4pLHijlJ+4iWZDYvf+jFNPKGLWlEOsIYdIC2GZogHHQQhrOYv4n
feKElRHqFO0gkB0C3lCzClVLbpxNVX7O0ER43xu2c8JXMzRVRxGiChVSER5co/bAidO/dVc9ld2c
ohwL4l+FchblzB966YBCjX+1QjXTvP06xWXI+CWbu3r1Q6h3+bSu1CE10IMon22UgQS9lf5Rt7rV
nNJcHoPvglkj908tfu7Fm5Qlj8UaAxWHL1VV4qkAT69ye860Y5K/TdzP/QXbxNrVNFHbqjM00MUU
UswihY9SW1ldMLql2j+2s/Jv3/FfVPTCMuecRX7fhI2VXTL01Uk715ER1j2mTu8aq2//kRsUSqe3
PXjb+wPcxI2VIerINZQwrNoSA8zaQ8vzZlJEpsY9TqMjcl/3TbGWiwKNNNKWUiBiZr3Mndqo8Mel
PlRgo/+dGQouAq5SuV7FOwgvu8bg8tVlLg77JrZXR9FFAzxgXeKp1QEFeFZrlPzaRnyOxptE7a1g
OIoyM1tJPPgTqqtXQ9TqjEqL7sIJaGrLrXzfnKEPYOUXXjKzf4NbMK3QwIYxeayRUWs0CGmVzxpg
UFCeVdkRw+nAQ9246VgN3n6DhNehUcsUVws3qov63/WMpCtF1SItnWTJmhF/c4eKpfX9m1PrapLC
eEh9J6I6YlNJj4Md+q3HOcvN6M5IHXEH1gv3trf/MvZOV1nt4JiT8qgixKeBv5uhJtXVp0pmhGbb
nJerf7zfgVdGQq6PjIgHrSs7EKJp52fm7JLnMdYlkzUaKqvSL2LKKQuOi2Zxy+627/xSYmyq7TTs
ajBkM6wGoywDErFkMPMROsxHFMRZncn9o5vgdoBEE1isu+A2uF+XiAJ3WVuqQclBEYja+KWberub
pzfVUvPpSZI5rxE1E+IcjDcB1kxS2DHlch6lI8pQO+6oD4dFfK0KBiGBsYnfZTNXEwmO8yy1IRZr
7r6VtcurGtoonoac9Yi+nWJZrRiFFlkDecp5QHBLyK2E9Qnqg5cfsILMFAtrTBRcLMJcRkVpID5T
vmqVn4YqVN5bM5lnZx/bWcD0zuhdzV6ijti4mkTYHKNOEkcuZ/0IQhv1l1buZs8syCVetoPxn6R7
a7ko+xKCALOgeii08zK1dBlj2j7lf3k6LTk3ddUc1xlyD/yxNmUL7GOc8g/VST2jnB27q0HRWf4i
HYRXhuFNyuTVQ0QKN4Y+1NVax42b6+uTrlSF2Y/ys8a1x7KE+EuFIjilMocCRDWjtCcGPn6eWl3m
FUkQZDyDQ9yW/4goiYpOqIWmCzbf8LYYxeeqbxlZnY1D5aMNKpCOjbkbtWgRUMU6WySxWV5AwIvR
sQU5jO+sB4kNPvlHc9SE5r1m6KMIc7I3HPL78J/wghZgttaaA8iGkpO6nVd4+ff8JL2yKJas6aQA
uhEWZGgE0Oxy0SuS+5DVi/DdGz5uhY+DowA5BMl6qPRERMp2cQOIFpaX/k17EE6xx711juB0Xoge
1JWnO5wn+nVnsgpSNl7bP/4ECp6jMYsnLZ4FW7wXDgqUE9GH0ZUeMjt0OlTwlocJ3bWSI5gO+zvl
M759tEv+foU6QTwoYzqiZCRXBrNBSU+RmDVqQQfG8bNRh0oMqQq6zCqkUwc1wHoW+VDoGtGOv/QO
HkceE7fxJ7NwSy9AoyH4kDUeGms+oYvgEQ2HGAEm+fznJb6ap8bZTlnFBUsFea15Ohgcrp1BgFiC
1Vlu21WvZqiTKYxlnQtBLbOzoXiajf5YBBrjoPgcPXycSOpEiiV1rpccnpIcAq/3oCRxaA//g+IP
2dGfZkyVZFHEionyp6cziADGS1djUxwJ+2NBS3b+MT8oAG3wzhknxea8aRJqGyEEoCn0M1CvtIjL
KxX5t+A8hRexedx38233Wxmg1r8pkjIogkl459BXT5BrcAZ0V42f0UPBifzaRRoe9H3IRWToaKj8
1At7/xeQZfk0nZomqIqB+TQ+ackuo4KefJjOrkwsqRy8CI0gkZRRzUg13vRMdORQ9Pdtfj5+4Sor
mxSu9aUsiPGooGRgUa1wttvwZx3ehIGfBvf7ljYSqR9NUdtb5wNZG9SQvO2CCXIjgsUr3ExWZZL+
YYEpmrHLuuls+8x1Rqkl1XuN06U8hm5Ki6KLJ7Fj+Az5//dWjNrLcSzWmD1OsKvstgw708giswvf
OpWVndto4vBx8qgtjVxnhwZ5uBC0DjnJF3/ETUTzJ584p3Ykr0I1PLOzUrQAZiHj9tG+8hICOKsj
oGn5WAn5kRw9o8M7BcjrdtdapHvE4lhH2BxNFG69oA+OxWpux1hDlYqUhD7XQ7BsECmlLyWIcwlT
5pblmbT+QJlifwkJTIgeb12yu8Id/AHSmAis0Y7q8T60We1FGI5DtzWR+bopex2OA6nYRfzegf80
ZKdoOOzvuc0jDY4DJUxZF1VaDVOM5V5F21fRFsTIHMJzq9VWU06Mg3Nzha5W6GdYLqzQ7LDCiSYP
t3HvCcmXvxoF/QYrlXPUZjO8z9CfhRY7bELP8Id9GxsXRoxgNQgqep1qiCvwIIzaKagupH1tdlv5
mkek3VkezVgV+rnV4KU6lqoMqRHdD0BxKSBsy7hebB4lq9FQsB41Ia8bGRa+V3lrrF2JO+jplyEe
PXV0tZYhSrZ5iKysUcjO9ciXDaRBchtHdwn/2LRNaE064kS9gxhLnjIOLdYEUrDeVNwQ1Q12jxZc
JBTGFplfVy/7DsEaEwXtS4KS0bgDQXJSpFtxrL0Q/TqSavD1OXHTNmVQGTYahnz0Pwrgo7YZtVHB
is330FV6IvnUyOYTE9ensERlLOkYktRmb+pMQQ7WdFLorvFtg3y+ICD5OP2oDpWb2OHz+Np8D1zh
3rjXXf4lFpz96d3ID5LxajJp7CIKCPg/Hin9kOZSgyw2Giwf8i4wBUjNpzzU1hRXL/xefdYXN2Sq
521GrCur1CwHow4ZwCj6r0ufDM2RxO58IpNdutmFxb3ZxsXrEKl5XWoJr3YV3BTKnpF+M/KdyZjE
7W3+ywJ9NioL+qDUfIn63BvxQTE7uzkYJyLs7KWWXuAAi/zOI1JVzMu+tBX5XCeSPjKjDglyQUEw
R3QEhrvaU0CZuiv82e1uylvOlmKPMdbP+Ro4DKpfUBFvKIZMi+caQZnM0oIX8c5FeR0uG/xB8xSL
h04vK97ZPJ1Xpih8aeVgUXsuwE2g99LqW5vfRvXPhmPpxW/k8z4OidoDsqxKatUi+DYeRUt0CN2n
OeUx+gORzFdsL6/7c7i50Vfjorx/bIJEikOMS09aU0y9VsgholgyvHLT7VdWKLfHQVrWaFkhQBn1
qUaVXsxQTmGMgtacKapWNLIK31eCf7j0qQleeJGBTgwHoCVm+EkeFrGDica4LOOdIeBK27kC5In2
F2QbBa9zJRG8WgXWSYfnK53kVqYZj7iT/AInN9VZdcZSPo5LeUqF4gHdXi6zoLHcj3jXp8vLyjbZ
4ivbRsbNQg1NaluQGrPNvpehbhp4DtIHL9ZYNJpNpDJkSVY01dA0OubJ9JLLDJ6oWlTxaMZwvk5J
7SwyPC2J3UjP3SjJGJwwlk0qCILmr9pHGo6YuSitpT91yTHjwZwPLSHyle6P0lerIRK/Xc1nM+sC
NOhSkiLMDjilJ3d0NJeIp8vWO5PPkv7RMnuxGjScRNLXZ9V0bF8SMbu6oMlQUaNBGQ//nTRM+AXJ
ITqLMKwiWUm026EFZSlOhDfMZjbr8+JAX+tN/aN9ebVO+XLTio08N8if5cO3SnhO+NtGcPf3y/bW
v5qgXHZRUy7LE9TrT2N9yOv5WPKtG4zNn8Szq3mkHKeeOkNtlly0Qfw0a84JIsnUgrNQfUlZ1Mjt
uG9li/KaEnFsEnGDgBzajIcqyEyiTXdkQ5HCwVpNDnmxKl+kp/2J3Aa460RSJ9zUNVOSlbiClPpj
nWdmp56a5iGKWTSB7S14tUOdcK3eJ+hKiqhWqkNUft4iN19K37rOnVVflfz9QbG8g/yY1Qbk5LAv
YpHkSMp/g/JMJK7UgSmbsw2b1yFRx1sQzi3aJ3dE/4K8wEEGyCbPHN2xgSDQYiV+5Y2JZRxYt8bt
55yrp9CVVEIudgGKWETQg0ekx0mSAplQi/M6b/T/oJU0iU1+DZMuoBICroX0PfySJJzSU+xMnam+
yneNI6AUI/jef4+eQ5f10s5YQo3CkDmqUKYYkjNJ9xLxOeyPAuuV+zdR13VkFIjweauqCXnMj7vO
H5XA0qrippPqMxrN+moFYjynmSDLHmKjdatk9sQSAhZKOP/cd9fthPNqiimY4bmq6UUBm5B0ahg9
AtKLN6JheOZOPhKWqNEXT+Vpem+qE1gNA0zJ5z+f/9d5oJAHMgda16mIPQTtOz+W5jRnjPCGtZoU
yvRyopRq0ONiaVwG/SmHCEHKOHSYu4JCmArPAqOkkDcIS3BVKyOyQYfFI9o3nM0siNq89qyWjIKY
IJXEYehwMrTOZOMJx55M5SG2VJMogUXPir3vIkxfpcCmqwq5nhNAGuEFESoSWFbPgxl90Y68WVkK
44LAmk36WVoKaqg9oQYLEQRJBEx+4KsgF4jmbBYei6TBcED6+WhO5TJCzxf4P5TyJZIC7VlcLoYH
0urAY6g2GUp7cIgur2NsRWhiFqaMfbSdOrw6BS3vE5WzEmmkzWAHYNZcwSwv2YmIk3B3rNLnDSYS
ycSQXoOqIKK7JfWmr4epkCwj4ujRKr+EfoFAASwQR34kHJAqxSqx5PaZJilMrvRiCpeBPLxB41O1
uveyFONmvm1LdL5MXf1GYtURbPrhepgURi+z1us1j8s+CZ9RrQAJYhsVqf9z76EtV1zbI3+/Ch0U
Ph46CRkNdKl6lKt/Zp716rsVNawNUGDbpOkgNSkOHbRxtsYEDRMyLxEyU4vuc45VBUhQgUb2tTEK
d8umSBON5LLx/nuU/BiHiuxmzL5sm+i0tkNh7yyHpdJDnQKO/19LWX00B0hLFTeimbqZx3o1YboF
Db9RDMV5QcNLw2zpR7AkLcNKvpTnGVpW/0OSi3xubx4p9JX5SBcWCc+H/REaIn590W6EU9VaLQrW
IeOfOKHNPTVeccl5U3X2oX8LuVZz+545WHnkUvcZLOMup8lnubsUFdSjvuyb2HZ6HX1dFV1Fqoka
Hi+3fMAr4LQk6e0kHitWeQ5xs8/T9+v7dMCao8KRS8BTRoHJd8HwlvRRCk4jz4Df7Ym6WqEQMUkF
iB9XcMIiPicteAEjulN4+zPFskFBIF9PQZ0OeOHicumu69NjN8o/kOV62DfzG/++joWCPT7HS2cc
I2Divd6ZndyJXAg2HUl6mrNZQn6/2b5XaxTozUs1xsOIJk1EmiF32ufoscBxb0DkfTzxL6z0xCaB
SRCu9sgsr1xaTZu5QR9bZNW+lv6As5L3uFsZIc3yYjjVbHYzbJPWcqxTk7V8FB4qtcSnrVTgtptB
EogzOeWmrR8Za7eN8NfRUWDYljrX6RVAl4AhDkurtArByjTUiQVuC2WlAqyREYytV+nnvmnGPtYo
VKwSbi5nUjso6Ie+f42Lr/vfZ42MwolsHsIpD+EngQF53cPcnefkbirvpOrbvqHfhBq/5pAOPzmQ
j5VU00l4XQwmJtEDf7B0oIltBhDnQ0o8sAxWVQZr19FxaDnloyQlgFoSvwm4zQe2dEPEfRtPO7CY
3UxrFJZIGJ8UkXBKLn6iaFkpn+PsUZK/yeLPWf+uC25Z37edH7Lq9hmbgI5SJwX/JIgq7VH4ih6Z
tlxh4yGxtb+ELCsUpkToWM4rBZKA4fiNXCq5YsZdurf2rbCghCaDQRg05xMotAP0zdqXPfJ8Urkk
D9PMtnQ/ZIhMC69DOQrz1sK0TaFJLglcIscIQgw0zrmNb7pDfyF6HwEU1U3VjF8JUbG/DeGrjFET
+N85UGndAFnvMrVqsIS8VxwiCwp7KERQnPf3SztFtzF/3yADWHQKWLQhC4tyxmWjrb8o8imQGd9n
TiWFLHNq9EtZvgeq/6Wp07foOzchuiL9Ko07FaH/o2SOPuuFb0MWgdyjfiENzVmRBrSMaSW8nBKK
JLRRvfRZu5krU7vRQKji7cThfhZe6SOHyMpxMeCUprNAXBJ6tuBU2nGrmXn0NLVog640YDF8GVnt
LBnbkZYUyOWsKWNyxea72Or4H/0I1Sx2TpThmPTrDh9Vi9EneC+DEE4LhSfZqh5zaDwNM2lehtCc
9bTOQlFaUqDph04OW0R9nF8dNDc8DlC1lI7k3ZT9HsyaRfL3q8BlHrUqysqZyGDfJPHT1J8NloIz
ywQFKuhkoBp9ilxgXEsmr5rFYFitfv9X+5mWlucHTURnJBx0slCi9jqy5pzxCLb5oLneVxRkQDuK
a9HnByd4Xv5UK7TK4pO3AMLNYY/dVUSjv9QZNPHi9jjEMaO6iIFXn+QHplCqlhFOIXN3vPo8JQxW
1f7OlXmKilgaqcZx0FOzjZQ35ao3k670InSqbKr7lFVysOkRIiBKUlAzD17yR6cLU1WUR07CEdcf
a/kl6TNijnFcE4D9dKKsjFDLFahKiHfX95oN5HX8zlc8IgzLuj9tu8XKDgX0ETTMmqEYiAQ/AfoE
ijeQVz5zzFcSsk8+D0gRVdCnZQm8oo+zFvNGs3A9TpRM87jA5dJ7Pfg2s7RhN1N+gng1Q23XtJsF
aD1CZaCIeH/Sahstl52qRs8EFKD0ReFlVeYqNXr+xCgXDWN7fyNvw9/KPuUcmR4HY9SI5NWQNCCL
79EK/MBdSMjKHXjWtXQT3lfWKC9RJzXJ4y5ELgIsUhccIxccI1e1pwgazP8TvYgEwXvLSPlLm4G6
3RckJHd7EI6JbqD+VKG0Bor2yLnszybDZ+hUS8fp2STEiAXQhK03OblypKp9zDQpNrs4d/aNbd+6
r5P57lqrwyQKUKc0jQARxRQjdGvCc49dim7sdSgyCGonclgZ3O1N/stZ351pZTEw2kSdCHdc4Fw+
/BpVTmQ4Te7hHdOUUlNXWJX7LPd8n4OVxSwbRTGRASsoVHTQUxQiHNM96VMv+oa9MFCZNTxyKqyM
cXqFsokFdwHS35q8ivYuCPG4uu0vHMsMhSx5F+n8jGY2CL6bQ4/2L61bHzqmmW3Yvy4WhSwNcv5G
LeICJVZ3cn8fLm5UMPbz5jG58kAaPKI+CNEFFQQqPTWN4U1NGfd4lgEKL6YsydGwEAmDRihcvawv
ZRsyTDC3EVmu1aorklj3ITQe4WKkECKxy7fArhzFI+V343eWSiBjWehSWDESg8EgOYJ5uWSFFUw3
PWfvOxhr17y/F6+GZEiVKukNzi6ittgdUGUBHcn8HPlERJeZ/RP2IZauf83SqCqXCJc7cEctCKSC
HlSBvgnZ3ov+l5gnkgNmNTK1K8TWwB+gLmQHQnLJLzG6uwzWfy1KFAYiMPzvvY/1yly7SEkeRqOI
imzFEROcGpPBCnQZZyJNR62LrELFGHw8OffvEIdMlSN5o83bqc2hFJThHCx7FC50WlbwcU6ePi7v
Be1WfdEPPxSvfCJpMRb9gzWDFEQkQ8KFhNBmRwr4amp5SkSOsUhMd6dQojCEWclKjKixZ7QnkfzB
XzySfpb9zGOl3RhnPN0gcRrCbFFKwIWKxxtZRsdAdIaVVFevF29/pRjnBE1PVbKULxQV53uQHLn2
Ph79LnmUSl+snprwyWhY3c/INO2ESjRXda6mxigIibgskXHWjtJ8U0axxTdOwF2M7Mf+6FiRL81Y
rSR4vUA6DY3T7Onp5GhhVph45jnF3IJS+eK8SDgVG/W2yV/SePi5b5+Bw7S8/9KNdVAMPWKZXjCN
6V9gmBWzBNS389DXE1Ii22MFIGKcJpUENW6IiEFtyEGA9hzYA5qOjG5AyhUvcWvtj2uTu7m6UUhk
4CuTeaHLkaYD/JsfiztDabc6zw74mz5nQahzOGrO7Kpu90aKJTmbJaKyud9lUZYNFIvhD8p6nIxK
lWYRGI/pWR4rUw9ZT/qb22JlgcIvdLtrM6g5CXbNvSj1UZkews6P89xM6jPfPAwNQ7hz01FW9igE
k3quNFoe27BGLCVANS0dVbPSa3t/3chnPu0+WdF1RULvVYmOdAdZysJcVNGdPOEfxO7nDKU+UXT0
pj+WkciAlk0QWxmj3DI3uqVYOqQExnpB986XOn5uhYdRYl0vNyFlZYfyBmER80WrMHdx8BL1j+mQ
2XH8IMz3E6iiceTuT+G2712nkPKMseKTbmrB+ZPkM3gY5oz4at/Cti9cLVC+UAzBVPUafG8ZRQS8
P3r9GOraXxqhjrM0aJR6KnA/0BTfaB66xQy01/1xsGaKinm1aawkuUDrNSGyFfVJ0L/sf3/7SL4u
PB3lZq2YKkqPY38Adx3o5xa8WZzec0KXGsIdDHPS/uahA161zudQg+YtyEyjw5mVm92iLgBa34Kl
nyqPRVDfvjOshkeyDiuMLUQOrehrXHxEFC2VR9T3nzpAa3nuD7yPBl4s5YxNcrewMkgmYGWwK/mY
60hWt+/HM2pkL1VVnIq4P/RagAr/4vugdY+DsbwoXb84E4/+c/PPRmrvh0pxx1Z0SjlkkTKZs0Ch
SAgxyWlRZyQWvy4u7k/PqRe58kHyIl/9zn4v2958hoSGpoogqPTraluLgzaiT4idKbOpCXdSplqJ
zGqf+5tRXc1Qa8urImntDddNzsLX0Jf8wO5M4V44vit/HlkFcJu4r4iQKZFE6JXI1FYMeIMEyCAW
xhyqkGTFX4rmls9yKL/wDxziL8ZWYdhTqNSzJsi5iCyOYIdfFldxu8fwGJ65B0gzgZrsEVloxJmv
GbOf3ibkXMepkFvkyoNjjFFu0UHEbqu70njgxvv9gW2GBYoqYOEMHU9yFDRXYxULKF4nieEQYhsp
4T/77G6S28O4mqHAueug9BR1uGuo/beJ/8ZrrPLdzYTlahyUPyiLlKY60Yf+j7BYT9b/kXZdy3Hr
yvaLWMUIkq9MEzQzSpYs+4VlWTaYc/76u2CfY9Ew9+Ae72eVpgmg0d3osBbuFGqyGPepg2JHRfOz
m7fqXR5vqa2wbaeoRbi4NHUAbN2h0A9USb3rpyPYNt5Aa4lkLWODKU/DlIJozm8kOdtdFyFaCHdv
qzquTbtGY2SIcfE4fbab17kTOZptLQPXk62aAI/h2wVGNUmk0oThH131rO8mDPhjrPozA1BS7+KT
cak9NkYRwTIJLYVINhfekF6dh8xAdnkIgNyBlmoFKapuJ6rVs5/5IxA13pfIXaQRkLm6ZCPJO8bf
VbrXMUBtp85Ca/9vzutdDneT+nCc9Eae8FLQI6cCDbbduvIkKORtW/PVarjrBPiCuCiYNR/d+PKT
C0lyw5Pu1MAuK3ai549g8/hugHwhXdXLuE3VfLGi2ElitHZYd40tnLXftuO/to8v/vfq1JsFe+aF
5x/sueeFOhSDH9qOnMoDZfAtdzR0xc0j21f5XTB3z9JqHuCqsKNddZ/TNyLq5dj8faLJBEBQxFAM
LtQpaJtboYIEqaaejPmh0UR3ePOMCEP0Vmxdsf7AMimHVM4MNOOqrf5ag0AgMYdjG6VuY7Xn2azc
vMRAVAJ8cRJRF4+wfZjnZ4uWb7rZu/qQ+/ko1NPtVf/6KF5xsqKYc1gcloUmx+6Ojd4jSXDHaMI6
t/hseyJ+TZFAzh/rk6KCJgxPM5DHKhbg9V+vX2/BLvMNI0anDkpNUExBFstLx9uo6pw2BpSA9uW6
oO1E0vt58j0j+kKtES0AOE80M+kAgwLY2o8LULiibp9NH7MSxTZ1FcQk0xin6cSqtUDITkonrzzJ
Eg0Gbp4MUgCmhiBXVnlAizpRrSlJoQpx81RK50F9vL5hot/nDG+EHlYL1JaKN4GALvxq1SLbtGma
VgvgbK4RhbGhUAgY4vC4lJGLEVgnjRrwSlmO1RaikGnTMb7L48Er9DCJtCj5kf8d0exceDUmt8yP
JfDqBlcO5JOKCSfW0JM9iYAQNrV8JZq7RWmUaFkeY4yraffT8L2TZ28xFKcvRDP2m5q3EsRZXRU4
82ltsxb7ObCio1FesnF/XS9Ea+EMr6abo76YKHbkBXXSGCDL+kPWf84WYZ+swVTsjxhjtRruHuXg
phkiBRoS5aFrzONHRQG741SfMqX73Fj2ZVSJbzTpbWJ9HPvyTJXWzUqCpPf4ISP5XsvmC1CWwHZc
eZMsn+KuDqo2cgd7esjy6CZNUYnqALxIxp1qG5+jWkkdrSCLow7auSBx59QzkX3dDFWnGWtH1qsA
uFcHpZncZE7uo0G/1GnkWlMLDwtKtHk2jpoMJk5qWW5ZtjdFFAeksb/mRfcgW91eShPPkFR3UOTb
1hpcKetQGpdu8ykPVKMK5tIIGls6ycBUdOKh9puqeW7JqDlLrx21NjumBFwg1QAw42w4ynniDlXR
OdFs4QlgjYE6JkHeZPfdUN7OdrsDFQ64P2vX7Ig3J/K9WqrNLeo6zwmdnGjqA6u3gySz7rtlcWKL
1G6YARIH/ExjHt5aow5Aov6tmaqdHGuPSzU9FJL8qETEQY8GkvHjvaWmpzqt/VhF1lNRlENE0+fZ
zA59o+17fM7Y0f3cZT48rZONbeYaWS67OS0/2kvyupDppp8kEN0Ur1pqP7XV4NC4CNQO3QoTwSxn
u1dTPZBIeZk1zUFsfRfNlbvEfe+oI/BgFFK6oUoAoDbK+5BS15zwJ9okLmn1IArJ50hefGXKfQBL
AuB8LlHsnm5btQo6e/aU2iwccKefSC8HNfgwU4OexmncjYPlkVl1iEY/dFHzotiZyCaxi39Nw9l9
XnkKO8Rwx2TBvQLD9pSDnpYeDExaskkf0fTjdoy7uk3sYq9kLbU0dXkF+1eMqt/X4OZq6SEZO7/T
zV3aWTspU3xVl/2elJ87JI1UPTlHY/lw3X4IzD7hHg4WehujmI1c9wbAMabvSXspuldNOXQiNLpN
GEFltWLOhc2D1dY5A4pjXT22N++iuypAZ483ueau/GYdpG/Ns+bP+/x1+HR9lSIryTm3URuATcwg
w5Qs8czkIa6mgJoPWiJKrwm8Gj/0VGdplRUjwgB9ZwTa3vbZ7J28F3XUCRwLP56PmzXlUodnM1X2
if3BSp7QDuFc3zNBxMEP42d44c1ZDhm5etTjixIJbptoDZznGgGwJsc2LkArnyP91jZuGk0QNIlO
g/NYIGdOlBwRG9oOGKtCumNjHapwwGg7cf6u2SZnN+JGb5pxQDNFeFaCCoDFtotQ84AxSCBiivq5
BDfW5A3HJBW1XmPflNyt5U9Sg3mHwk2BuZfKIm5EkQ5w1qEYuyUirDhDqrsufSxFwN2b2Jsrm8AP
L6VhXVI9RkzB+ng6LzxmaA4xLoyKnoJaQfFlIWD/dhiDIN1W8JAkfOvGYNv1LEnIBg3oTIqfw+gw
Spkfh+cw+2C3osTMtpa/S+NOa7KGqSQS8t/IQe5LkNCakb6PpMi7flm3aw3muxzupPSpqaKpaVjK
ZHZZCz68P+O/Uu/6AF0pp/SwAKRc1BUnFMvZ9CnRW6Lh4QB7x7rvqFOfm5sSk7l4YOUHGHOMpMeK
Owns+bZevq+Ws+e6SYefkyMN2SvDJV4EhkP58fz4MxT4JYHv44jsYTYW9t6y2/FQLvcWJQ5BKGqO
sm8VqdOFfaCmS1Dr5BCGsx93mm8s6G0OGTvzEeRFfl1fZHl0Ss1y5oZ6moxaxPyNqoZbTzmKIL1r
pdYxXNrR6TsKhwukJlBhJDYGIct+N2kLGBNRGwsvVENxRn+V+7vc/iJ3va8l8Z3Uvxg45LqiXjxN
rlLOXplPJyl61cwQRtVXs5coBUzvmJ3yEE2LXRPoZevTzDiasr43hztNzT3NUP3QPNGKBro1BRGi
5UEr3YHeAksq6CV6b9WFIzegCQ37Y04xIoOyfaYVjmkTV6vLIMxQZpFPozE+RC3CPuPbTHO3qCcP
LdGvtQno8XByB31GlTx6sKvSBcKf0y2fShW95ho4TcbuGHayFw+9S8jHZNRdg6BKFp7yVr+pu8Jv
JG3XRcm+GBK0wUtPuZ1/iczByVMgSOfHWjLPmWGABVSGh4+O6dw4ti17yCY3iFHLWr4J6Xigcfxs
Z6/ZnHg9Ks1JRryQoAmIIrouFTxpuhtDesvo4mfy4KR6FrQLBszyxaNGeaPT3BmX2bEa05Fgaauw
c9XZPBch3quN5Zf1BLwYoEC3s4PZcUdJMA2G75Mp4Lb6L8T8nEs1XhzGIYe9jhpE4JJ8G3XUFjju
7WYSS0OxDTCvhkY4zxqmUthmAxq2y8bJDjKMQX4v+dVNboP3NQpMv/VKdjf33ehKe7QzuteN0aaH
Wsnn3K5khB0Y5GBh0WHcTLNDFWOnWTiZBjC0367L2va9K2Gc71VRQZBDMHF7ik1fm759NPrJbar5
UFfxLiFoxhiI24YxRlEWR2sAJFE2/vVv2LLxwMC3iGwblqnyqBx6N0ewSIBNiZN9mTtTek61fymC
yyQsqbYkk4ReFisyjnlufVVn25NILIjJtuzqeiWc5ky0bvrKgL8f+t0i6U6kKwLl3N4rXbUJan6G
waMOZC2MzDSgNzwcHrr+TVnwchRNoW7pnyr/ksEH4WBzQ7sRsHqQK37o869a+jmUEU3gRQ0cMoHj
3Qox17K4XFJlmv9pbFJ3DJKCHFjAL65gbgUtazHc+aNxodTbCSqWdjH446ifd2+R0j9VmXnWcn0n
kfDD3yg1uppUWwZN9B8DSOZMydzAs0/0i4mifZ2eCtzn/12I8h618N2LmqXFiU5hKczxpq+e9Bp8
TXImMEfbj793V87tXWw0WGWLN9nc2rdLlQLH2R8n7baxBkHhakvx1svhro81hFIdpwjNUzNx2/Ko
Z+iwj/ODSWNnmV7+Yu+QatbRV4F7xGfQR8xZ22YGYWP5XI57S/uqdAIkxM2dW4ngDLme60O9zLCt
sYYRvgWFqToPSpM4zUB3/241zG6s0yFI78lJjgLSoOdeZ/eOZnRBjkTRdTFb11VZrYgLx6MxqQqb
zQ2waRHgC+C6/n8aDjYVYSWG/X21mmhczLhmSDWycVPZAbEkjyZPXXgac0mg3dsrenf2nAGSZFqT
YYLJzpT+bo6j3WJTBF+2Myz0NI35cZKpnxWtYCO3m2RXfpe7VWaOeEi30Y3GiJHnsxH8GFhYMIc7
eiU4TFDEtN+uH95mzkwFX8l/bRL32ihrlQxZgve88tiBJxHUQC4wgJ4mEDOyMWPh4MKW/q/lcc8M
qZNjDN1jbyuPoGcs9dMnvO7POriWGA2MhfAGsxlCscxM8G+PlViei7dSmzo3x5nNS5hOfUmPOQC9
l6MCILY0kA5/Ux9bi+M0qNSHodIrNPlYxeMcWnslKl14NYGjZLbi2qI4fRkUdHkqFIuaJ5S30zDo
VVFXluC4dM78pm2TGZMJJHuLuOBUk5PUqcGjKapdbiI3rjeMM4thlY4TokvNK331mH6vgJ5T7pLX
LMh3AOhzjUvlL6C0mT6jKctNA1H5SrSTnKlMNUIUq8Yy4xAvwdbcy4OoOsd+4tphcWaybG3JQPkG
QbX6rNPHYv6s1E/XL7NoFZyJzCbJTjuKiLYaUMt4Dsdv139ftATOVpB6qQzKqI3k4pKm8MOYoG5T
wRzQphDV0nRg4aMtgW+clwo5q1sGcKtUeAceZisFk5Ko8ra5U0Q1wU9iAa+TT1jJ2QSQ4LFD3tzw
6+pzOr5d36ktD4Ie9V+/zx92xrxiiqI/cuLonEx36YGFsMbhupjNvVqJ4Q7cDvWcyBTLmJOPhpqB
c75wUtAUXJey+R5UcQN04OcDz4YPixatyaSon1lGEUQxoEPId8oDw8nNg+SbyOIIpbGzWzn6WIoW
yZTwnJF31s4Mlr1yIc4Ib8SICURTYNs7+L409veVMJvkZaHH6ALV7IPRx065BEskYpXYCl1UU5MV
AgBgdMxxPm/WQ00aGc9gElVuRXJHxiC0bXhZ8pgi/3X9tDZV+10Yn2VbkkZecgkryruTbD5ryd9M
malgnrQs4CjYhHBbFpap9hNGITkAQdWPfVo7ygOq5FDw+lUE2rC9nHdp3E3q7dgeUAbAFI+qXGw7
/KYhZXZ9xzYv62pB3C2Ss542JWP1lI/xPgbqdH5gkA1CuOnNB+dKDmc+e6XMsrySf47gk6MZaB/J
XXwk6GhVA9aWYYN9IzqSBxG2i2gPOf2ridShCWDBgHwe9MVpzl+ub+DmJXpfGJ8cGKPYAoQ3Fja1
R1Pfj90uETW1bjY3rbSOL88hiIoqJWLvJqP3pyjb2QWaP6fWs+fyYs+gIVDn2gHx2JGEsVsrs+Dd
JlojF2uF4La1S5ZkmcLzkqCZMdur9NP1fdwMtlb7yAVblOZ5SY0BnbvVGKRI8KaNtgsH4oNPaH9d
lGg5nJHNrSodjHJEFUq7KfMHvdpbIr4nkQj295VpbbKwb0N2rdCFYFW6k5YHnY4CaycSwpmHsYiW
SCogZNYYAM8RXf1uRROBlG2ftDoZzkTUMmmooQETW2YkgTcMEQG9KvBIEetjEDw/RWvi7MQs0c5K
CLy6HB80UFRat72oSCgSwVmEecraajJx/DT0tdRVSOEYkqh/b1MI0HZUXdNkS+YnS6N5HC2wocC3
do1jgAKagLMedcHrmrx9NisxnCrHXZKjxggVYDNPDNE78UIvDBhcdByIjPjmFV0JY2teKbXRAzo8
rzHHCmPkSHMwhJVndw8ZWpz/5bI4zU4BS5eaBI7PeNSPRgDa1F3yvLhs+CYORO/VTTghBN2/zopT
cNoowIemeLCyomN7Zk0WrFws70UbuK0UxCSyJuuIh7iX8awRZMMZE0hjPnUEVZy3UXkQbN3mY996
l6H+fkiJpNrxlLERmx/42rFPpl2x7/ziQb+JvanzTEGSctPBrgRyhru3Q63LKdpwMj3ZD810muRG
0K29IYKNWmgGXkaAsDI5LZfblDY6jskD6aTV7mQh5NxGkPqbAE6z53QKQZkUIdEqXarmUbWoo48f
pfBZXRqBgROJ4lSbWIatRh0MQ7/cYsrGVBH6aC9ZHKNmmHvXlYEZS+7Z/duyeMUeKPB/WVP0YEuu
rN7U4V5t9lWHjrn9YtSCW7uh3b9J40x3vEiD2fRMWvdioH2oove1/Hp9RVspu9+EcMY709D9R+We
qfdPkPChc1J3cBnJWXtLA0UQ8QtUj8eQVQuam5XS4rhG41bFLDaVRc8wkQjOKowGXeJJkmSvi5+M
7hkUIdf3TKBxPGtB3hZLX5iIrNrhS2ydWr11ssmJlV1FD9clbbmj9enwqLA0Ns0MgGnMks7P7X14
N9/RyBs9BjOQfKtEk9gbDuk3cZxdGBO7jY0K11ZFI8w4Y8Sm1JEHyGC721Sk3sLFcUYiq9rGkhp0
X1voyrLxNsewiP+DnxwQCqKat1AaZycq1eh7OgOaYnRl4HoxkuZ4pzuMQ1Y8sSSUxlmKMJ0kq2mg
5tjMAgiYSVAs3njHMOC0b2IITHZLrxgmHgq2TGgZFToMuqZ/t7Nz332qQRieK6Mz0cMwt94SiUqD
W61FvykLZzn01uhyI4NM5hj18+wyMvtpL3/6ShxpV55YbxgReOOt1om1UH6iZ5Gs/iewaHJQd2wq
Hey8IWgZtfPgh84c1Hj/kmDeD6OTezT4G6w9yDdMEMmhqPcH7GOnKpGsD4b8Q4vY5Fvs5+fB6ZwS
k2/zjQiUfdsFvIvjXIA2Zl0atxFMjXrfDmdruSzS/rqN2baW7yK4Y0TCApgjEvL+aPW7yScDKBwi
clDBKvh6SdyStOxt9GqNc+Eo6pPUf2mif7cMnTP6oVVqnWqhAF8VL23nl83j9W0SrYELA7M2HvtY
s2RPm9BzBrCSKOsutLQEhEmC0+BLJKOhVrqpD0i4VQ9o8m7/As1jrb86Z+GnouwxPobf74udHd3K
veD7RdvE/r560gwSMcq0gE0fY/O7vFheki+MUFIXRH1bNZ7fFsKZ82KWswr4ojLQ2JCtAWgpIwFB
o/7Zfpjvuhv5MftC0Ni9fDLuWA1QNJIqWidn3xu5nc2kr5FJrO7nyV30m2jyr2vcP4Rmv26mzl/+
sJXzPGLQDFkZ5FO9U9LZN9T4cUrUCzoWdxjYvzR1eDFGwGTnCloMrb1a24LHgvA7OAtRDPOMSZ6E
vYkHT/6i7SUfZhblTumI8RBPSCPDwBL+dGa/1s2DKXQWejiVBC8udVdeChTtQG3njCckAgWBnOAQ
efQEOyqN3DIQXSXxw6R8kQyMAgnMxnZE9b4WzmzEOoaKjBm5nnzsXRX9OUoOxLbsriXCgZXtGOBd
lPb71SsBcoB4sfp5TMBMd+k92l29qPJSNy9c5Ygxt6OhOc0u9FvZoYKXxHZUbKuarKKp8Q9o36mT
pDqRcSOq6r5tXMX6lCSP2ew1wgSaSBJ39QlarBYjhime6ehSLbBRapmUgxyfbOm74A5ubipm1AhR
iYZhPW5T+6Tqe63F+J7hIFOMwSMwW2uXyMNQzD1a4/zxNkaYkbDU3a2oeCWSzdnqOC7syCIIIBkI
foV7QA/1Qd33f+M5V0vkTLYBh9OMBULVTP/WwpqNgWAPN8/LIoqsqphZg1H6XTE1rZr16Ufkjf6u
MPxUqemBqng1xe0YUAtY/lIMWCb9jnSSSwv52GmVMyjD2Ui/Waa1n3KYHU3730vDtrr6Ku5mKk1o
GZIGfZWVXZw8s3Si+VcWfCWD054yzkLZjCh7vgFO4Jyfl8Frv/5sh6lccskkgUXbDB9QEwRYBorR
hsmOYuV+Lb2TQwUg6Gilyw9DEz9YVvZ0/ThFIjivZNEsneUZzdtzTp1l7py4+XhdwqZZtomuyAqY
r/5EuyuHKrQSQHJYveZjvuXGlJpDY5iCTMR2CLGSw9kRQJ4q87LgdBjBp7XDBQDzOsAeMpD82u7P
krTkaRgvLJ7KACief2MxV/K5w0rNcVmmOEW3lKZ+ycswWNA3ioSMu0hACpKXl+vbun1w79vKHRxQ
1+WUMmZcOz11sCpdLAIf2TJYmmLKKgHzofkHyAQ4H2yzjBGT6al56REE2qp61qr+ImN6G3Qlzkzy
S9+ZD9cXtqUva7GcnVzkaCpGRZO93HgZdBME7ZfSFvYtbG3fWgr7itXV0tvBnA0NiwufprvG6042
aC3oU3YDaix7x1CERCivW/wr9lokp6BDbUwx8FxkFIqGA7TyCC5J13TNBx0v3cXPPblzGPGsLgji
N7MXa8GcZuZK3851B3cX192nAvgcwA9xgAe3z9T+CPBJdDQNIPlGiX4pXFXRXWsQos9tRYHrb+DU
VQ2lUFpYRz2LOlOUEUCxt0Om/yyaABNpLfv76mAXkgM9Gt3JGEIcDiAQ3DMx1a4VhNEC/fkDT2E0
TcCfwDTHYRd0ZXRUaS3wtCIRnKMNJSMbJsLeRPaht98AG+pcv2kiAZzPrAChGFEDdXO5vui9X2Ui
k8wcIh/6rw6dn4wZCwm+ZcFZGLfWbjnNTxEgtmGJqdMnjgZkJoamTFG1osE0Os0TfWsww0mDIvGu
r1R09wjbipVWyFNm0nxA4N6AL846YvQLvGPo9HQ73D1swB4p2F3sCWtn7Iyu7QBnZsrMwsC9/B+1
15+VV0b6kT2oDqpnAv8jsJuEMy+E1E1FUVXz1DJ2rPpFbfda8S9VkrMkOngGEqXCNnbmuZTvYvP+
+jmx/7+2XZyVCJXZjMPUxGxaTpxMz5wcbyxJPhdRi+CkF2mFSD85W2EqkqF0MrZsRApZdXO/dsud
6SPfhHmt6LgI7oPgvvG9MG0zSkk7IBIqCVAOmlfEQ9e3T2Tp+U6YpkpiAB0wk/HY+z8Lw8Z5Qb82
AiFhDn5zOZiSQdefaRjGj4BsdafwaFMXu0A2M2/kg01mT55rQfvVpk6vRHAWKq0jcMyk2LHaqtzU
OnVD7AJnSrBrmy5jJYWL66051pUiQs40O3QHcqyPxW3ushbw6R6DnmgDl/dstpx6QPd4ui57ew81
y0YK2tb+wNmaR5pPpYSOVrPI3X6WfJksgj3cVgr0GGoanvPqH1hJk0pCvWPV2yFYAsx63iR47yr3
jHk09kRW6EfD4h9XeCWNu8KSOal4Ruh4sxjLY5OarZdP9GnuFcCLRMOR2OpdKM+PdRRdCmXcWX3+
bMzpp35qg9aa/GQCBFE07tqoOefm5GfNfN+0013aT35nasGQtechzm+yofyCdoEj8FdqR1oavwup
QC+2z+Z93zjrAIM6VaoeIpIwvhrz17r5dP3st5X71+/zIUQY5VWmNXiwJPqDYd0PgGQcx7/pFcHo
37sULoogzdDVZoxbOqDdGCTzN/pbuB98Zt/MgxDF4ge5xJXjJ9yNVcGBR/M5/vlGrl3l44JQl9xp
F/NSAxGCGVcMTnvVEzgHPXR+WQ9V4oiq0lvYJ78tmrvRppbVNLLxOOqP1QFIZI/hjrn83JWefVWD
PVSd2Bsdu3LE+U62wms7wNRqZRZbLD8l4OT50RFtgLwpPIR7HdR8ZYCZb0Fsv+kwV6fLdGwtTLXt
qo/RLpHNmDaev3bkPmpjx0wvXSFoZNm2ku+KxMUXsWWVVMuxrrzLnDF+JK3t1NqNrn5PtEeDnumy
uNcviEgiF22UWj4gCYWcTnbQgK0w7NmwJ8bbd9fFsA//48A02SQ2zDCgi7k9zKRpjiQFN0RN5FNS
oReoJ+c4fm3K7m/Cp5UkbgunPlmqmaIdTY8TxwTG7/B2fSlbAB82EpuqjMloTKPz7fikWGJbzhDR
MFab7E53FWfaZ0HkfcWZecuX7kmI872p7yuRnL4Pqq1h2h+V+M5D4djNwAkV7gmjotzZni1Qwq1e
398WyB1WpA65uXSIcFqg2Jm4XcNevmV3y7wTJWw3KyXrzeSOS1KQUcQwvQzTqQTETY9oQLmw6oUe
5IExOqIq1GYKay2QU3ggs83yMEPhh+CsBd1pvNRu5Ml3OSZ2L9aJBSMF2huK0Q2f7NHZi7BuNj3S
6ig53x2WrWqVITI9zTC7c1Tej3ayr8P8INBSkcqwi7+yWktDwUTDmrzkXXcqjwxdmzih0wEQGMDw
znVp29f7P1fClnkeSdKkbV+2mLfpI+Ouk6r7MNHPrdr5C4gyr4tiqv6nJXkXxflasCBZhWlQvCfp
iNqMchdnzYd/J4Jt7WrrtKKx+iIhsreQXQR+c1FakR3xtSVwnrO3iyIvNYYsu/SXtCBPtOkOsT37
zVTvtY4+1GotMPOiXWN/Xy1paEYzRUMrwu/mQCWAhQnU7apWQwF4k9FSgtlzhCSjYTk9PaRW6FQi
eC2RlnG2glIpDY0eYa+ctU5i7vT4Jpcbpx4Eb0jRYjgTMS8ISGdGn0iX6hjJb7SwdmpPBEey2Q30
yxJhzzhLYMZx15IMRWI298JcL8odKNwO31EBdLodcqTgAlY+/Tvd5sxCFQE4HKMHDAMhB25idKot
y7suYvsx9F8TZ8s8/aQapTQqNSxM3ZkvGrrGUrf1yAta4jBBJkz/bGY9V9I4gxBWc9w3NVQv78q3
tNRxasi0AnFoVoddNUi71GweEq08lKLZKIGe/NiH1aUCymaSpClciaoHhfQJMKXt9HZ9L0UiOFOB
F1ynLwxuFUQsft5KuyXKzks+CjRecLN+TMavVtIss07TFPFFrs1eGh87xQh0cBqJGhW2X66rw+Ls
RKZ2BhhDMIWrj4vtZnnxOR6qjxhOeLEj/b5OjZteVlBZbC+N1N2boXKc0+SpyelHdB682gYe8AUe
q1OHDuwhQFH9APDQL2muPALb5XkYMjDjTcE8zAczHBsntqP7Qul3SqMLctNCJeeMkRk3eIP38K/p
c3OYnxjV23JEsRmJjOQsVHJ2zn+6DBOlKEtHSZ1wSk5KFRMjrIE2AjlfeFRAopV8RBONi8rRPvSl
4Lra/UNY9i6Pc4Ft0+h11+MhkpyWIN4vIFJmQZkaaD/YukTr+4eo7F0ep+ftlOoL5lXYg04LzP3y
sXYahLr9AwO0UHbTd8VPjqOnuYmfPXU7UZMks3rXtpdzj0lNJTlqMBVRpumzSe8IGV1M3B5Ikn2X
CWqZUlL6WZ9PAlO5fe/el81dhzFRKKmBAQGIkLcoDSYkkOLss96JGqPY919bH6esI6ah59iekDBq
qE8V5VMxWv/7gB4eDe9L4ZxmO6tN2FKc4DI9ziWaFsFJ0X+4rpZCNeFcZmroRV+z7oDpJdwxLrkC
ZJ90n/r5Tn2cfOZhLKd+YVAFyAQ8ouBx/QP+4Wn0vkrOfeJGLEqow1BKFpVdYLf5OpH32iRlroka
DKHV49CE53bW3WSM/FCP7q9/geAk+fw2EFKTOdNgCIiyI/29aQg8wbbD+bVAPrs9NE0+ZjX0EASP
6fRCm11Vfb6+BIHS8yismrqYbZ+hiK+rn4YBnBS9l9UBCKIEAdZmmI2WCAAMKGjs4Me+jVHJSsoA
pka1dKKidGLtxpYQZeePZD4lsSBNtLlz7+L4we+0GztSE6SZh/rTnNxVy+0kizgHf9j5Py7ySgjn
B1pZj6yZzYl1xWg6YRH6Yx7vrQwGGsntKpPuK7Qnuyrp3kDlcK+nsQMoc1/RkwLMp1LiVMnoFr0Z
qNZb00aYADLdQU1f42h50yIbbOix9GgBojGLpjegl3/QhmzfhSNQEpeT0UmlY7bEX5o8cmoVuIpz
Zl+MsjguSeXNfXyw7cGJyfKZ9IYTZtGhtUC1YxVeWVPLA5a2Czpg/GsjvRbJ4k7pdDdo8VtlktNU
VDfTYD8klvoBjI7nhRTPEQBWIAfZgXJMF0/SjAe7k0L/uj5uGv/VnnK+Ll2WJmlN6AljgmfNk8C5
PGRHUQpsO2+0ksP5uM5u1RJFNkYPm3xgXCnkDsDoAdAncQZoxc+93HISXeBiRGrJDMoqtFNare+r
ESazaPaztK+bfSyaZt20SauFsU9YiQgVo9F74OhjEnMKlL5/LtRM4F22s80rGZwHs8bRIFmBZSyP
bBYlcgFL8y0ffOMsuW1AYPZZjTs7N51n3IkG+LdL2yvpvHNrhhA9qTg6RrUUuRgtwhxFCjR1ljAK
nWyPwomLBoj9dc0UnR3n7qQwS0eFRUWG9lRUkzNGuyYvBAqyHcmuFsf5tKawML/Akos6mocZ7g/g
XPXekQM25mO/laJgT6Au/GxDPWZTCRRSPNjSOyvytVgQmrPDuGIj+ebJYrCtZK6Ra0469THpUXMO
1UMODqKKWo4+/c38AWZC/+tmdN589NNgZCPsflpPh7CvvSmbReVF0ZI40zHN4RISHc+mjiTnuZa/
5xb0gGqpP9j5IdWqk6VUB7M0X0iSnkNSX2yl3StGAi6IagYfhZ4+zGUbuzSjAh3dPk0g9mmmDex+
m7satiFLYUQoIvfiG2kqV8Ec3PVbsBkv6O8SuFuAcgidpR7xQm4bD7ERPqOpzMmQmtHyRhQziFbD
3QVbX8bJrJD6S2U/tb4vvSxYzHUBCp8pNUFDnjQjnI1k225ulY4x/9UIpPZrw9AT+rs9plVq4xWJ
C42JL4x5vFP3KS670kLqvn/wbP89IXQt/y5QssvKMEfcOAYB0O6HIL+w5mv9Q+Yox5+mUVQ4EO0j
dyPU0BzLPsGkxxS+ylLmWLHA42zb3vc1sQ9YOTXUpbtQqZAxrSKQBQGAN83Cm5SImIlFYjjfmZNS
MdIS5aqWRqmTtd05i+vGGRqRmRcJ4hyopABDua8we4heDwcjAFTqnF6E3CgSwhmDbKRqpA8QIrV7
aXroW1AvCR4o26bw/Vw4a2BPuqJIE0whAZ52bagfJaX/lqYYwpvqQ4wg57rxEeo2ZxHQt52aOoOm
67wlkG56vzlUt5Jf7PVD+Lj41l48xXDd4P0faVfWIzfOa3+RAdny+uqlXEtX791J58VIJon3ffev
v0ediym34il9k3kKkALMlkQeUhR5KPP5U11vJGUmwAiTokbGMJ06e4xzJE9H0ZD2f/D9f+/m+313
peVJI1NpaZHCxJSbHTgNDMzycVuXPSwmL6hUF5mtQEH4lOksLcloLcDXIjiWqZsoeyoaH7V9R1dZ
sY+BHhTM7vtouZVqkVwf8UyAwbk7RkgC7sdH6vf/Q0y/rYwXUZxRdXqVRkOC7Zv7xY7Mx4ZQW1f/
ig0/FJETbe6cpmIyrSGjyIgH9RbF4S1GNuGhfjwtOrW14vuoiniFt3hILLqSwiH5IqdRZVLkm4sb
5joWaPm8Y2xcotB2U8dXgjj8HiLSBOMIpIgyad8dtFD19JA+hKUqes1mX/otHFxJ4oA8UIbUCHtw
G9QeGwGOiQ6e8diCn4Zli8InSSBv8za5EsdpH7IOQ1bKuKi8M7n4yJt67ClbtH/bWr6Sw6meJeVL
kYK/HT43/6oiai9O9IjxSjZIYx0BBrKA4doW8rBuBUM5gGQIaxoOy95yfvwq+DZcQeguUnIO3Otp
qvKRNeNY8k8zOw2yatNWkH7azm2vdo5DdDrPhoTmKILwCF1SHsobPmm3jcdukPVT5gvL8gW7x8O5
MUcRVa0CZE+3zKbiL9Ue6VGnOc5Cdp9tPL+sjcfzXNabSe6xtgY12HTHuhlzcO+QHV4OPFE70LYN
g70TdOeG8RvxvRVXmNTAKkdBeG6n05lOfxnRZJsYPCFQQAY7vykguC8tRgSr/cbcPsxFyQjdoewP
jDQBY45d47Hx6hssVNjjur2JGPkKRn9gIeUfs1Vww2MS27sJZ8+YWOKb9ypmkiu75UU8WWJbHVfS
OEMOJrUkI7LIrnw3uYwfoXSaT9krFMRm76UifNoMnFfiOFuWcinSmxHiMMTj6zAkRx2M+IJLziYG
rmRwZjyB4b0cK5SYJ3X2F+47fkBqFGMVxn3KepoiRcLswpz4g9r/ST3pSjJn23oTIcX23uNuHhA1
5cvjdU3cBKjL93lb7vFoT40ZzoSk+zq51ZJDL7p4bMYUKxHc7S1XFYyoSnGhzsrn1PicqV+z+BDH
j7n2cn0t23qO4R6saZDKhGdOsJIJzBwNsquFuTelV1Pyq+AT8gmk95vx0Mpfk/FTVvjyH6UkV3I5
j1xOZCEgQkE/ZNntU9N4SBvLVvJE4Ey2+NwBFZf1ca64RrYiWWoUF7N+KGZZqBN9G2wVD5n1gbWf
5d+u7+imba0EcqasqVJfNIwA2iL3dP7WhaHAsDbVbyWAM96wMaO801B6KGNyT8wYh9SfSiaiGdo0
35UUznxbWscdhssT10SvRg5C+ix10snNgx+p7s/Jl6kvBeva9CQriZzZTpWqB3mGjZOn0xL7S/7Q
jTnGFAnQgf3hv7mRixiNlZKsbjvN3FSwAiierO+79pw0kaO1j42BMZ8ZeqOIqCVKoA88W4KhIJw2
A6QGR6O2g8Gys0GUTBVohKZ8XNKSV1JDZpxVgVF90U1b2bkq2LVtD7XaNi5Wl00pnYqaPW+ew9qJ
9z044SVP9tvGXTy0l4npENlffe2gOIRAvXVelzL0QX+QdxRtnOQgH00b9LyYsikiP9vaQhU4YWps
3hEiv49bOBSTHA26Am+lpY7SZG4/a3auG4IgRiSGW9MidzEGuqPGoG+/5dptgZr8PHv49wCE+hBE
SIQYLCX7cSl5PIdDVyFO0hhD7zwchi5/ui5icxkrERw4JJjZXUopEm/l+AUgpLVfMeDtuogts1mv
gkMDOaEo8stgpkS7xTw6S1Rlr2yp10oA/wKRtpmkmhhG60qyTTHlg7aOdbt8G06hn98ou+EW/euY
2Z7aul/u0aP2RXJFEzE2txGcH2D+MGVADvt9BUVm3CZG3cJu9epWG1674Nao/+Sig9TO3zI4d1QV
lAQSQ9XOnZ3hRnfiB/2A9wmUOC/nea//wQP4WhynfAFq8FRpRsYU/C37qu39cAHB6CCkiNg8vdWy
OA2cgiC1pgAayLLNwwFDnE/qIQMtXeFFX0TntKmLK2GcLiqkVMIkgUUF87Mk+2krMKf3zgce6la7
xkeUsV71kTlgNSr4J+aEHkBrcBMZyxGjF72gzp1IS3dFl2PId/JYRZXdGNVxGMobdcLIaau1wwpX
ojJ2ln7cG2b1dSGjF1nNUQoG25ITjKeOD0Zi/gnSXPaFv2jSYTRpqrEbWXbMar8UFRQL9p1PFKbT
pBaRCfuw8Cav3mWTwKltxTjrbedAf0EcYPU5/n7WstWja6rxJL8TprkEZs4XViK5qo8dUx+jPVbt
U10/DyLy2033vF4KByU0IpKKqkiQd+LO3z3rsAdy39nasTlGXvIiijhEJ8OhSlcHSZyh6NdNspc+
+BoOu+vov3X/WS+Hg5EBT9FGxRokiPKwgAi3PM+YhCR9nhT/uiDR2XA4Us1TnXUL3AzS7Xupro/5
QO8WIiwaE20YByFDNOXRPGDD5Cnx5ApYlWaCq85WYLvas3cOyJU3mTsd1buM32kMrEOWJd4YdqiY
lR80CaFa3XqLIT9f373Nh5G1TO6e2vdNUaopLJSRWVq7GFnVBTxnyiE+RHtyaj8VZ0MgU3Bi7359
tUy1w2CSLMIykyFyFUnyum45Yz65K1gaM/4rmPzegLmSY86Y1pBVWNroLDviyXZ4bE6M4BdNDcdw
J6qfEVmwwjRoJQ8jBvq4CkESoYPWNXoDD5mXOkZq0yMqsp8sV0QCvnXdWh8dhxhpv3SZlqDjKR5e
0tntpc6hxbdOVIghOi4OKUg9zgNmV+FuglYK3HzUwQnBv3L9sDb5TdeL4fCiBJn1GJeIq1U/8BEt
xnb+pTmFR8sxMLS8d6M95uCy4pxP6W4+Cau62Nlc0xUORYx6IlqWYZH90fiL0QE0J/0e1Bv9Tv2M
yWD7/jSJOIc3EzcqaOsIG2eDZBpverouBdVCsLGlrR/BCuZJj4E7OKMbv3W+iO1sG5Av0lg8ttLO
mNamEY+QVteNqyU7Kw0R9qMYf1eJpjNub+ZFFOeV+6oHxQubNhm38zGBAfaWJqilEYngbG3ISSmN
BPGWlN2YwVmn++v6uB1YXJbA2VYrBUoaSRjNWVnfrAlKqD5OY2QX/TelfC502Vbwn9dFbqP/RSRn
Z1RuCmvIkTG06JQ586h8qmtUakZK8ZLr4FgYZntJFEEAtW3cF6Gc2dVWX2RFiaeaoUn2bW7YUdo/
TtJ4uL42kfJx5iVJPciDDWhENkU3jUVdSdVuZ3UcQSUeH4sIkzuvCxQaF+euzTyd9bnFbmr26BX3
v2JDNm2EZToMwfI2K9pXpsynpEBNEUthgVQ5COvd+HVyy0fqso5U3Y3AQgka6sfBix0LLNj6qQWl
if/flsvnqIihBiroJH5Fj5IdOUBOj92mSoCX6NVSoDR8tkrG67ZshDjNRZ7sYBzspQAT/ChKJ27H
JrpqIKmDGgCLJ/UL0wK7uiDsbr30NjxFjiU76Uvosynh83PjlJGN+QqicXCbZaJIjWDYCmbVKMTk
cBmDC5e4MdFcp547V/rMGMhyf3yJnmKfVai2z8Gn4FSdRXfUzV1dieUAOlWR6dZmJLDqHs1Ag+lP
g/Fq0uq7QFU2oW0lh0PnSimXemjqd7fTH8tP1r5zJ9c6wf149It0m50K02HlXukucEQjBDZxeyWc
w+26K9W8waa7czf60hSf0yj7dn2B2yJwPjoUhyCm+OjoyABqQ8qyZyTwiuBZJYLSgM2wy7h8nzsn
Oa9SuZ6hHpH+WPfPZDy35VkrX66vYlv5V2K4Y5KHwOoM5g7C18GV7N4v0VZvuvPd6LIic+UTy20J
ZIqWxp1OJ2ddTCt41V91Iwla+RM39dlstcqu7xN73huu7l2XqoikMsNYRSZRVy9WS5BxalHagWEB
j+Ht7JEzwUC8veVhJqOvYqYtAvZdccsIZxm/vmJXjnT4I2Bb7TnvghWr1lqQTLv91Duj9HMqfrSG
aG7LZsewupLC+dxYKirwzkJBOxelLDfh3tq9kxe8MXZDVvtRTY74cEVmwbngGArdoGoV5WjRU0LO
5vDj+jFuuvjVqjiHK0kS6mVCrGrK3xLdCxOKLpXaHosH2psC7y6QxfMBLSnm3hgBTDDHGOlCWlDZ
ab32gXSIa93rSlFKVCSOQ5Qw19sMvbTEjZ5beLsADTh9gnTzXReK7kGbBUEr5eBZgeopzs2Y+Tz2
2jl+BQ0RWlIt33iNgcbXT0xgdzznYCEZvWaCR8MtRkuywcZDnDyJiG1MC7GVJReE1AIF5IkFjXYy
VeAmGOssp4jv2vT5+nIYTPx2hbsoIF8waCVJVRktdi6R/AJFkGp3kNNMoHmiPeMQIusqo45NCFGy
xB7aR0U6t9ZzJAkCStFecRCRW1MeGowzE9TmGLAT2qEuCPy3o4C/vZjOwUFQBhI1MriXX+M6Q58V
CM77PwtqLmI4VGhGLchr3JdchPh3qTHtB2Wx6Zj8vH72gtXw/ZRjqXYW0TuEFcfm0PvDSQZlpnoS
3aEFx8K3VdZ6vpgRIg5X6XuvyOt9OvYv11eyqWCmbGmKoWqm+R6crpxhX+hqvihYSV76bU+cYcls
qXzU8UxwXdDmWlaCOAVI4gmvVxUUAI/PTmxoBzIYAh3bxM2VCO7wzSCSURePYK8o3uLkbCVnJXQK
654EomGPm0Ui6kUUnzpNMN52Clg14OhIu+LAmDhKR/9ugdIRXSCYTU8P17dPsLb3G+HqnDA7DDQm
E2aURXqHgWG6dph79WczNO40BU6Ra4/X5W2im6mB+NAAiSQ6YT8GSUTLpyhnFQLZIJ/L3DpPWXHX
dakicAqbtcNgUP9bEI9wAWmrBZz22Elo3yE+qoccZTaVL2zHY4Hyb4C9ksSBHKb80TJiS2J0WAtI
yKUcE9gykEo3R5BKf7q+gdsB9Uocp/Clbs2TyTAiAXdl/4OlFpeH1FcO6c3kFZ50wEhD0WyIbSO7
bCZnAQrKbWlaMfjLKicagjupUR+ur2sbMP4WwQ+GKmTQOUZyj0tyuBxTI9oRPT8nYWsblmjE83ZS
5bKFFhcIkaJp0IsNWazPAIPETrmTfaIIzzGUPbGFCfWt3dMIijlUDePZURn6UeeHsSrmTmvRNzzb
yhf1qGLkVHye39QnM3PYLSBwYoGWbJmZpmJCJFoOMGKBcAc2DVGR5SOUJNRPheYb5W0z/AHwahrG
OqiMMd56f0ZYIYfVplYUVEDFwXowwrMsujluKcT6+2xXV9+nujRVCbDSraNxL+EJGtS9Jy2q7VyW
Pl/Xvc3dWi2FAyVw9GE6VMCI/GfFj8A7GlflLoliASaJVsRB0qyC9lRd8NBBlOM8EZtWr0v31oou
9puJn/XOcYCkh00cTOylo/WUY7pnTHb0W+QO9nxXx7bsdChcqomd7kRREvswj4RrwRw0TQoJlWKA
90pQi6ObJzOMna44LcO3eBINkBKdGafhRkFIoqkIw9Xp3FbgCSqewQDq/oFi6MQyiQw1V/gUmpH1
WRH1LNZPPtHmSU2+BJ2gToX9nb/tmY6v60g2YpgEtw7QKelyGOA9Y9h16Pfv3ikvxWXkm9t1EcNn
dq22T+ccxaluOH5to7+07Clcvl3frE1Y1VYyOFiNKZlmOQLOYTCoAyLKfeqjEOTIGnYy/0/KstbC
mFdewYOWVZnW5vC6utQe56q8SzpV8DjD1PXK0Wgcbi9zUxv6DHoLzBE8FHW+I1r70paBr1rKXSdh
NFPb7AR7KDonDvWilER6OjdMHQASno7HV7ylfTI8VKpTr/J1LxPzOf0ewWB0tK6ZQHHFMin/wqwp
uZSYQaEhVho9NnkqwtDs4QiSTRfQK1ji797wozBuhbUkJx2xcggrf9So3c3y1L6+ib+b1EcJPJzr
kYFAOtHc6GCCnKo7/W8ssr8f1UcxHJzLSa8lg4Fdm3LiDWC2RjEiaPIL//pqNiLZj3I4OG+jTA5m
vaWuXFT2+HMuvdkAe4A/JM++YaCOfBbcd+TfFf+jRA7H2zJPMXMelfaMchUEr27pBwf10Hi3b6zo
tXKM+39/D/kokofBNB3rKSOqm5Hgvg87X6mm3WLuQMJymINJEGwKFsiz4xS5qcej2VBXCX+0KTQ+
qJ3xLdclh1qFQ/PH60coUEjKAWNHinS0CohjXXgUsDjuMAnDFz3fMYX7iFcf9pBykGjEWVQmWU1d
vElMCQa+qE5M3hrRwNGNIsGPcjhcRHk8qUYK+1J99Sco57zpZB6yO/UNDZr3tR/cs+FL9XPnF452
UD9l5+hL9CO+Ez1wCYCEckAyJaOitGhDddE1ZUsgoZs+Xz820X5yOKJHYwjizZm6g3Zou8HOJbtL
T3EVCeJC0UI4IAlqnbbKoKlukGV2gyEEojTcBl8NOzFLQSMPQdMaPwUvoHIJn2Wo76l68xW87OfO
ZvzQnaM8x2dWgzv5SDt/q/76928RH0Vzp6TUel0pIIBww+ApsGQbE2g8ufh6/aQ20s0fpXBHFZR4
/tRJRl2KtjWEHicLtM35ITph6sr+uqx3t/+7mV02kzuuOeuKtsszODCpvW+ryO+14gXyQ7vWmmNT
1o5ZaXfTaOxKpPV1qz+pcfHU9Irdp+SUJmpqR7Ldm8tgy722tzpyh0yiP5blyazgcSk4sYr8Z4aC
G7tO8odEGZ+oJvlai3t3jYeVInTHlviNqsxeFho3YF85Gml17DoKqlHkiazgVpLn5y4MvpTUtGPJ
sqUI03eyyaUZ9Q063ilJ5KKBO3VpSr9HYfus58Ed8ly5wBdv29Blszjn1RnzkuQxdFvJ/UF6083I
nYNDG4hoXrdt6CKHc1n90I55T0rNLbP7nt5EolqgjeAWGmYoBmpJ0V1K+ConGXMNqwoMD6isYoNW
wATpBjvNp+B5EtPIboYWK2E8kmspGAX0lLHH3vXkc4CsxFKIjkYkhINxYE7XSjPcRZXsqmKy6WR3
UyjAto3L6Md94+xfldQS404GlMp0Tocm4BybV+xSnxwqw9a8Hk07IMZFUlVcTLKpe4aOxhPMp6Po
r/t4ReiWaJJq02KFjNYdpY6xo/uytnW3eA3x9vwcgr8z8HANFqx5e2P/lssX0c/JIiMlU6iYTPls
dKiT+RkQUYwrksGFFP2sjH1rqFBH6cbKnZz8DEVF9YLte7eI1Q2rG/ShDmooYQp+vQzXAat2Guuz
XAiiI9FSOD201BpYOcFDFE1lF1XnyPKbgizJddjeKGtling5FU4RawXjeKzZVFn3CVxEix5x20SZ
ooVODfItFPbUbOTyPwpk617tH6iDezVvK4rHHMWR7OrpgKEM+c0n2Qmd6Ejfrq9PtIucV5ISuStl
TOty2/rrUE42SNWlUJRVF6kEh+ZGmtejlUEltOkneDmdGCN9hjcpFGm3SA6H5qiJoaMGz+Rqyo21
3ITZYqfNw2L9+/zOxyPiEKIiZjw0bQ1LNUpEJs80RLmQIgpOBKvhH3VoYspdOzAp4AuYvcKdvRYF
KdNeP6iIweIKrfXojRDdG5nd/BanXBSef9qRtVgOGisG5flfqOPGMJzhZGLqQnlI9my0lXDaJYOc
a/I4p1WR1mjHGIfG6kFYFiG4/zWoQzwE5x+88d/GzGcslloaZxqhy7QFA1L9EHrdXr/JviKZfgqc
RUR0KrAtviJ+DDAsLEGPuBu8WsvjqHmt+XzdekVg8X7nWoGFXlMJTwRAp84tDqw7fDk139grEnNT
lTN+Uv4b6r5XM60ElrkULFmNNdVpY+d0OsWzbuuFvru+MNHWcYiht22mSzPEaNbXZflWZMc5EXCj
sU9c0zsOLLo5SrUwQBwThw+N+rUfPsnVvaI4uqTa1xcjPCUOLwJVC7pEQujP5kFnO23PWiPyA3XI
rmP8Pa4s4BfbTv5cjJjPVMxBOIDBjKquHIFJPun2cW8cQwvcjgp4Fyc1sVVJOSIYOOL+9x9hmM9b
KFPXqZGEWwX4eJU6dkpdOizjYi+5CDwEZ8inLqhW16B4TzXXbEywCX9u5BeMNfTi5aYXte2IRHHh
htyaxdINuCmQ8meTPVfql3S8l/uvMjI/19VFoPt8gkLvMhrPLOLopy9x0ti0M11d+LooksJ+Xxmy
piIOLEfcsN5nlDtFZEduBUb+fsdIW5S9cZ/9EBGnifaQebyVTCmeyyY0kXrpsl0qjTaZj6X0RdUe
9ViAH8yifjduSzMoUTTZ4GunzYyWKaWS4gbJUx4P7lDtsmavYwR7lzg0Up2qlkRWvu2vLzI5QFFy
Q4sKLVeRP65f59v8WIJnwo5eGaV7hYYWVnwf7iSBC2Dx57WVcthCgnEarT6AsRWmXdSNMxWLYGWC
hZkc4wSN5pSO+ai6eS57cnTKk9Q2cky+MD9d1/yNIgUWWP29hfzDWUlIGBc5YoHqs2YzHms8YbwM
pwQZDTe5pd68p0AuIjC4fwgLLmKVj3pJYo1iAHHAeswRgoBMC8QQINtjD/vZmQhe7raN4CKMAxLc
VOR+xIseBrEXtimh9GJ2Df1zASKUckwER/cP15eLNO76grbJQVMymLl2F/hoQGFMWifdbm8Q84CY
STR2bRtVLuI4VJlaQ29xd1fdxEDvGFl2CYmdQp0EraIijWS/r4BkJAkd2r6H724rtwevqVmDFkdp
vKxoPYFOimSx81zJIlGvB1UF4GfKESMPj67N+9iL3M5u3kdUog+j36cCU2BgccWsTQ5MqlTKAklG
dFKnCrqSSrcF/Vmn2532Zcn9RkheswkjqNxkswAx7UjlDo5OYZn2Ea5oY3VK8cogejrZ1PrV97kT
06ZppGoFQC71z3H51xL4ZtC56XDsRQPXtyXhPRnUmaBD4QtMwpRGrY7xV+7Q7SXqj+poB6a5TxfV
CagieOvd1HfzIowzLyseQHumAvN1bRfFdyUFo8HjdQXcPpmLCO5kYiO2spJIIJCxfgF8u8wClBCJ
4A6nXZR6kEYAfN30tpWAwUE4c0R0Kuz3lRX1cWFKerMgn7dfdtl3dpE13bhET58zYAJQYDeOSuzM
aVzzj9zX6ow4U8pCrQ6HyQDDX4C8dfukV5mnB8/18Hr9oES6wHliLU+JEVW4OKfVrdzeRunBIALc
E4jgUwKT1KroMWiQEsi8SFOOSdftQsw1vr6QbX942TE+BbCgFTMaazxR62eWeQAp02EJ7Qk5r3In
ubpAwTdjtZU05aNqYMRpaCwm9k319SMbXdHu2OgKUfXytitcyeEcbx8RKhfWe8TLRgRM++oU7MDT
dWSM4pWfixoMBFbFX/+HpNG6XtcpIPWbqiGOF/omkTpw0GDkaUTDAerQaPugs27QW2Pj3ry/rg4i
KRw6aLRJ+7bDOhLaHayw2Rdlf+jR//jfxHAIkTdVImkZhYeovqcoomuloxzT/6raHBgg06vN84B8
J7v2WK2TOwPYou0Co1obX0580ZVHpAQcKJi4MqZ5AdzL5XM+Hoj2r9vxEDFflJq/6OPqky9Nj7s2
MU5Kc2foRyXySKQJ9o2d8W/hyEoM925AOsPA+Gho2tDuI+1OShtvGR8nXfGuK8H2i+xKEAcGZTQM
+TJgPYoPjnKAwYB5dKztbbRF/X4CveYp01AFOwd5AZQz66+UeNQ4dcKGGYHb4+/ybWuEmqUq6MMO
VTspdmaJt4oO8/VC8Uxn0XrY7ysXi2J43dI6nFGsfVbMxl6WO0XE6ylQZ8phgZ5P5oK+fOo29dvQ
3kSiXrPtxNXq/DkUoHKnmIsCZ8DmUrP6ewz8QVcgEXJeiHaLAwI8Y9KhC1Gs1EeTN06ZrzXdMSSx
iO1S5EwphwA5KgxiE6UMbmgYGHRF7smEgfZTsbNQPRTHys4ciVPOmt9a1Ql8vh6VhBk5wbHxXHFB
SpN+6aHqin4/G/suFoQ+26Vfl2Pjn7lR1SPlvQqzVf3xlc20G8ydcc5Ohk9uft0zo/O4797EBZ2C
c+Qn11gJacslxdJIuMvDx75zSksQdYl2jwsckmmx6q7AbXNJ+/sY5CFjJ+LXFq2C/Qkr27XGvMvm
eoCSEPSkIVAwArKrtU7gyjeabz+4C/6al00YOdOEWIpmE5Bgtn7+Y77vUSYK2hXNwbzeff2JPuv/
ft71R7EcbHTGiEiozCnmXeDlRcfbi9z41z2HwEOpHHDklTEPVYZrelB/S3BXzhfbsp6sMBJ4wu0c
1UrVOeCoe9kc5ABPE/Ide69CXd45c6eT5BiOCgZgtFtNoyPqEhfpBwciU6o3AeiVqGuO3tzvk8Gt
hNVeTI2v+Hi+1ruJVUwzCPBK8at8M/aCA2u/xO1M9ho/+qEKEmEiX89TFeidTow2gTIOuwQUJbmP
yphj6TK8ENVWiIJ/nrTDIFUYohmTvaqzuGLax36AC0DjYR4r0orCnKLgwPgi8CjTyqxim4lJF2H1
qGGAfSbaP9GBcaCRtNSY9DSkbhk5zWH0VclW3rQvSHJjTcjgv4mSUqJFsd9XKJWbad6oJgvOlMlB
xjS1w+xr3kjf/5MpaxxagAu4HMsBe9fn6DuZbsLQl9NnrXm5Lka0Gg4xUgxvbjSWq8xR9JDI/WvU
qvtlkbzrYgTeQ+PwYp5nJYgzaHmv6IdBSg4oWN79NxEcOtQSkTsTWWw3o5kdt74mGgsqWAPPOBAr
CaZyjijdJWbuBOC3NppWcJERoQE/HToii2wtCyz0Vy1mBuogeqth4s3/UIt5Hel4loGpWoxKxoQJ
FE0edXprLvdZ/EePoBc3wdMLJGjfy2U1ggw0miRSdK+WlVNbdN/OP6+fvsDz8cwCWYQ7jKLBKg2w
pDSjV2fPauBp1iTwfMwervgHnmHARGudhaoX+CDQOE2VLWW7Vm9sNXugVupcX5NI4TgISKTA6MwB
pe+1fptkT7X5dv3727ZvmWhxVHUdjeYfkQy8xYQqHd7Hs/leAW+qdFNUgiWIRHA32WGSaYeRgoob
d4/FCEK/6o3oD9eX8Q+Xi8s6mItYIXKTEdOYSwhpUB3EgpHIDc/pjeQr+/EkImllMPK7AlyEsUNb
CauIhTribkayG4mTsP1SKEfVfJD0h1xyF+Lp4+v11Yl2kP2+krfIhSKFPeT18h4q5um9bkeB6IIm
ksKpWq1nPQkwQsVtwtBp6WMQ+bOQ3W7bRi9bx/maRotnlhymbqZ6oIZRUJmWm3tDEaVut230Iodz
NmSJ9UlC0bYbYTKjVsjOTEARo8d7vWiOKV6O/tsJcY6HZBl4b0DY5bYL6BoONfVG0eVru3gGBOP/
b6p8h3dUoHMdQwyRcgBPV3hCrL0vTiqGX7R34e67sJNOsIN8k3dYhCFKdWBRjFN5uIuPs+Y0oW04
GEDtMDo5/bbdZ5/BvCZkBBBoosUhRrVIU1TXiOeG3jbPQ2yDlsZJdgV7/aZIhJGdHttkL2qIEYnl
MCRDrRBJDFxoBkx1sh6CqbG16uW6ojC9uwIdFgcdiURKUubwuJFxwENcLGkY4bjvoh964NX6Hz3K
XTSGLXiFG3Kl5FY14Tnf7F+CcK8mg10IW0fYrlxbEQcbkzVKMp1QJT7sSGYrHihFvX6nvE3H5Nbc
pU+FqL5EdEwchEhGnldlAFub9dNYZHZW3deqiOBHJITHj9g0W9LNqNAJC7uxDmmtHpeoE8CGwJFY
HGwEalhnUosyDxVJXuQgfDSZwGMJS1mZwfzzGaHx5aMiJKo+JXmIuHjalYujgd5Z8ggish1L9huo
4v9PLh/P6B/lSUmuT0ZUw5JkUFBKqTMmhV2rgsLF91e+a8vicCJo67mImH7rX2YfEz1dxSOmQzzc
2N3xfvkZ7VuXnjuvfGZ4JR+um/KmK7Poe2MY0VD+/nGRVTmUIFFkz3XG04Ia2uq5S57rYnddyqYi
XqTwyYiuiTqpDKCI1Dh0cmdHZB+O36/L2M6GrYRw56WNqlamDZpzxqq1C5U6laF8NkrtdVJiN9b1
o9lpjrKEBzRm+KUWu0VVOqj8viWR4pCmd4M+2Av+pq3IV0G3HQg4VPzLR6a0QJaiTBFlZ4f5NXKq
p9IJ3ORnjHpelI/dgYJQtAtb1riWyKlTnbbq2KJcDg52BCbDIFltS9w72Sl6xRptxZb8BIyDgdeG
wnabrYNeS+e8zxIb2GxWUFwQlHZFr7PqgJpEYJjvL9a/mczqpLk1Vl1L0FCIGgDFHz0oFUbg0l0P
OpVmLx+ll/B+8eID2Q3+uKc2iBhFCdDtQH31B3DLRIl2mmjR8ovlEQ7QK1/obeu2h+4c7kS1qts5
ypU0zt0qoWUNfdnhenMI96wPu9iVfrOfjvpNfkCCeW/e1n8EfiuZ7KBXXreRqkpqW1ypQLBxLCPd
nVXTw4VeAAzCneQcr5ITdJ1ZaIsYHXmHLvOdSe0O09AYpmOq7Nt1e9wyR3m1Ks7rDjXIKYIKl+ti
uc3je90QxCoCNOWzQ7ERDpLaSqo7tXlh52FxL1v1vpMCB8MQBG53y9TWa+GQu0E6rZPANeRW7dlS
DhlsIXm+vl0CEXyiqJk6bZbiDBeCad+k5xL51vTzdRGCE+HzREmXLVElWf+m4HX7Oety6nyCKCrj
mmY1asiav2anu1EdxlBq3DadzYaSxIf0njGwmobtpt+ur060gRxOmEmhLhmYzjAHrXMkBdSXQesY
2SLKtjHAuwKIfNLIqJZsXgp48feSV6cAB2vuFPvyULrFi6gIQrQo9vsKGkKMjwuSGsoQU32vDTUg
gryapS5AeYEt6RwydEHdZJaEJ6Cweq2nBwODsbLCjToR/6poORwmSKhRpqGK/HSQnwzTTtrRmRIR
69N2PnSlg1woHpaRRDsC5GEv4YvLOM2DneFTrxBz0bFvXdMGDhl0SuKZytB3xnq33KSPkWOcWJMK
kojoJcrRegji+LvMMW6079cVfiv6WIESz10pF2jdmDEoDRQoqd10t2X7MigoyUkqZ0n8oIqdWD9c
FylAEJ7H0jDnRi0k6P6kzD/Rtf3Qq9S9LoKpwJUNNbh4o+ljuKgG990ifyl71SZabNfZ2ZC8tP6j
vOxFUXiWhjlS1aFvEEFZ2reoO6QpqIfnb5bxeRlElfKiZbGdXRmymirJhNpjFAbOB0l+lOcZBPin
1DwrwiJEkSgOM9pQlkATjWSIEfVu3b0O5OtovpBRthtRckKAGwaHG6UO/gLS4OVB0T6r+r2qtKBc
uKtTAT+OKAjlm1KyFgm5JYYccgxeutjOzhW69pAQRFE+GM886ZYc2ptgz3r3WKuIKEITmRqHKEs5
jXM74TrMat8Yufi40xE0iejcRGLY7ysl0dWU5rREl0+d/h9pX9YbN651+4sEiBJFSa+SSjV7dhzn
RcjQ0TzP+vV30f2duMIoxXt8HhpoIEBtk9rc814LMMQ/pzJ1ab8bllss8g3mHXD5nOuPTfKexf2U
YqiMpc74dEt5E5inMvrI/IfNTAM8h1RnIihtFXRWuZQmphear4v2pEm38v+SiL5LEL5MiFn2gcQY
wB4brL3AalhO98I8CrT7EFMZ3U0ELsfGj56vX9x6JeHiZMKnImj558WE1G/y/0W0HHYVFmDCg3Gj
b6Md1l9c5VRjfynaKHcf05NfhxaHmRclofNIYLcm5b7vTxqAHVhx7OoD6RvfqL8rliToWffb7wKF
dL9o08rosMvkseHbuIDQoo/cfKwlUv6SfL2LEWx/Oczh2KG5hAERDsVbPBqhw3O96CbaJYdgQ+4+
iPzx/iHFxWagbWZN36JfRqzD2IfbtH61NNn00LqdfD+YYP3LYjHGSEPJM8hDJ9O+acXXwQRKLoq5
/5teimvNRA0b8Nei38yjU761FNcOtnRfluNecekTBQ+J5fB9uuKfEStpsg3M9SnEi+sUPEJTGv2U
pSjk1cWyyRb1NuzYLkCPi8RW6qpd4tFh2BtKdGinYHP98G/DeGLswPm+LctiwHQWsY6jgFrRSGAM
6IAZJlb/U+bjYx3bjl6a902b7tqp8ubWcIGpsI3V9IZZ6eexGHdD3vkD6ptWDiRzJTzHGnkq62a3
NPlGj7tDnk/bOLT9tu38uLRcuw+f1ZweOmXxm4Y5mh6F7jSRf5rmn5ZkpQMwt59MbR/DOdp0Meoz
VTHcoFR0yiabba8fe7XPc3ls4c7zIKOGnqDwpey0Q7zL/OAp+mZi+kh3NafZ0odFtiS9lgNdSuQh
yIWjSpIpWdQS+gy0nJ8cOF3ZJMDU3XMMstCbPwKccylOMPKsiCIWVQiytWJDTWCp5udck9Jr8ATx
mvYIJp3FQTZMHaTM953HVyitPUgNkp88c6i25E6G8bxaj7k4ltifM9tAXerJ+E+eQhwEGKZLDLAv
ceq4jPgSRVlLVi4FCmY8NcyxxvwBwqgtPRRejbVGvk6Ubotd79sQqjqxX++0DxA/Mf1SsGDYtQHL
lFaJOKOznqfkKdGeZhmgw1rsdClCSP/NmZnaEKIZTdp9yA5x6yfh4Oj2zVxvm7l3svTT9dtci50u
BQo2vYrSIqhqXGZVGFu1t06pLcPYWp29u5QhhPLTbNKxLwHS2G4mD7R4AP4LnzvsE1E/99HP/wgq
wKU8wZKA5SUrS9hwbwqPub7PQIg9PY2d4aS5JKRfTdIvRQkmpFnUwkAgw9cVgi2feyamU2Finfnq
Dl7i+rd6SxCuvG1bsCBlO2e5NdsUGwvlp4BVz2FSJ05nFaiA5qjmZZj6p8ZwqEK6seLUo2rho4IQ
OxV7XsLSoWR8iCPLq3rTB9eJW1ja/UCNxySznnPL8Ee1/TSUIX6x3hVFBxYUc9sTZ7TNU5zic3Wl
g2B4u5iG4c4k/WxEaoaxieUfXUlOcXnfZYAemeZDNCeuGgGPLoqPoUG+LXQ5jkOwGRbMgNvdJzOM
3Kx7CR9oZj3WpbVFC/qL2gyfIq38NsHLluZzg8rxDC4AZ8is24h1rl0wzzCM5yBSvaUFaH667Gbs
wCklZrfMlp0qY3phZfINxCGvfZP8E/fLq2XlvkZ6iQlay00vexbCo4kbvQhmgmirwh6wtSlzb7ZO
UfqYjK/Xv/haxHopSHg5YznZVqRXwLgaHhNrx/qnQJV5QW4u/1Sq94aT8FqypIwycwIGIqcK5BAy
4aHDqEGBOpMMA/EvPv5dlvBcQuR+Xdnh4kZ3djU3woPJtxxxUQecvVSa7DMJz2WhtC6yEtI4fmq6
yW4RO3r2DSZ//dkH78I2Aa0Wuatk+ehfDN77MQUfrOkpY7WKUGa+50BDOZbFU3e6x5gA8F7kTEay
axVdMCF10DVt+2/5zvrJ7VDzErsMIaNbHCo39BoZsMC63/h1RHFMxmgAdNFR+I1h+jlUx0R5uK75
km8nzsJ0o1IZ4YLkkGnnMfoclF8q/Sloj3olQwSXvDGRZqFJNW0EJB71qtTY52AvYem0g3WTGG/Z
hQk2o2eVORUTqiIM6BkT/EP1cv3GZAIEW2HUANrrQihBFjDHwDZMEjNJaisTIZiKvOibqbSxxG82
Z7Xb5tIcYD0if9cq0T4YRVwpzRsQB6cfqF36iuk/j7f2bE/aJV0/zq9ESxxDmdTANhQOErM89g3K
s86b9dsobvmdwet5zQ2mRLzrX2ld2/5PJiIHYSTFjkNDXULIxCS1r4PIo5gav6Ay6LHVitKF5zAE
bShBMFnXOVouPINm6DdPJw6fObjlnuNXgtzciaWU3G/c5Vd8iTi5PwWNBZsAqe2mf8Nyq06ay6lL
p2PWITBqvWHDk4J6x3b/tjLo/2Y3DFGD6mEuqhivue++WtO5B8WDXX6yx9tSnmqtf8tf2ir2boM8
7bRKQ/Cn7MIb0jtA+N+EG8sz36h1nv6laBll86rrWvsuVXAuKQuzKSfIWtPgRk8eAeB7XUP/ktD9
EiD2cKd+7COaYiqG7wFh69vXcyc7ch8971R5tC65RbGfi7JnipqDha500rpqf8vi3E1HScQmEyKk
bs04Wbk64NJm7V4jlqtPT1MnCdakFyckb3Y/BglQXLkbnjzNLbzwEG8zICeWXuxLN2XXE/33z8T1
5KJ6MXKUNX15wzIcNxqGvzJwF75Rxede7Jn7WfKyJHonjv/3VdX3IcNg7Bidge7jhIPmSDRPJkLw
L6GVj20eYQuyxXROvim3tPO+py5Pp6ptck7OsYxwcr2W8H6JgrkAsjaZpxapaRye0ZpxaD96Y925
lVE5DUJga3YlZ+S/eMVEisyDZYAkqFFgIlFfQw+IV2iab+QG9ZJWARABx6KIDlqO8QKAociiNtkz
EGyHESVZTgaMQYXq7WS/1uwHS+4lB+Qe7MoBxYbu0JlTqxT8qR04pnp80O7MLc+HpfG95OOJfdwk
LseiKXCazgNz+77aW18xp+FXu/oEXKHP9Qn0dIf6RTt/zIn/0hqxu0tokjYFw5R9PD0r9JgwVGl2
169RoiZiU3cs5jksR2RlZYVwsduAg9Wj+SvNz5MSS94df1bXvphgSQArhcFijphkTYszdEd0Epxe
+VY0X66fSSaHa+eFxSJsUAOq4ExTC0wm/ZFlryivQykl55FoudjPNdsChBYEMVYyBNseC31T1GwX
ZdlfP44szRP7uZgemKI4w3nUg+GnaN92xwybCYXDtd24k01KyI4lpLN6xOxu4ENJy+LPoJIssy+9
KaOSlJhgU7AQVheoPckAixCV5zl5Zp2k3CA5hNirTftGjamG1DjPvHA6zIAXjiXtWpkfFstkykL0
MEwxU9d5b5DdbvlsbyY3vKv9bKtJ3KLkQGISYc1UK9seifCE5YyqZbda8C3RQ0mh8boUKqYNWlEo
OplR0rSnOxb62fRA9P8pRKLi8HpQDhVl2Cn2YLrDMHbCdg+2G8nTXO04v+clVNV+twFmZ6dLO8N0
6o+LD4e3iQ9L7nQA0hv9yKN7/Z6DTPXH6nO7sT31f/pYVBUiNNQ4yTgMmItV9OAuMWMPef7esKXb
5vwUf7eoVBUsqoEHpDJU1DF/i04WQEidbheeeCKrApPOkaEurj9aE1yRFjEsANf8fql5FwPALeC7
pq1fFHcWlWjfXyzduwDhPM0yjj26i/+C4Ic7oIJPjgKUaWNLXHIutvaP66ZVdiD+HC48hdYPVdzq
2HVpJj+2PdDOXf/99ef0fh4h0LQ6LDCAOop6ZetgKMYp0u2sfr0uQ3YGIbQEOW5r9xW8A132Nnvq
DclHWY8Q3s8guIOmNKkec4hnJVed2bKd0P6aqi+q/VToMqSBdc/9LkvwCtiUN/V5QVsKvdktGAL4
Xpo3AD5t2JAtpwPiyPC1xI7zH/3zEf0SKkJbDXE86uCD58MpfEvoPxSHMqah9SjyXYzQTmz7oqJL
A49nJPOGGKd6BqWiMTjAVvOGJZfE/zJpgv2LaIc90AlZWzz1DvYyaY3hyqVxwCrbAOxW9uVkdyhY
hqANTdakCJG1cHJSYm5mEAJGirXtsR86269acEjMzXXFlyimiHmlsiTSDB6WN9V50PfmchdGP+ry
tpSWQv5S+H7/doKdAOv50JIeIVGyJ36aO+OWjzGzCgsBw0ZHlo9quwydQnY8wXbMbW4WAA6DWhZn
Hat/aYuG/i40fGv+fv0iV0lwNPX9eIIJiZSkrS0d/rjzVBc0s050G5zCw3crchbXckJgx2NY+ymT
eenV+ZcLwSJeVFxNWAqimJANzhhHAxViuAcmLKbAZNxzEkMs4kZZfTnOy4gpz4p+t4uzqX/Wys+S
W1x3xr9uUUSISmllJnOP10zPLcY8OMJk9GJ8eaOpfPlYavguTHhwIanaajBmaEf4APYiEj21hcTw
S7+O4I1nw1bUgUO3q4vyTEDZ7NQdEuAhfujHYQNK6VPCMsOZk+aAXH9//TolBkxEkIoUowgXA+qv
twejOlB9EzK/qF6iarvM0jI2v64rPoCKj80IB0PVEF3XGwtzHvXWftBvENhveEUIWOCy5ca/1M3f
v5/w5AKGia84Qk238ZfP83Z2268R+hCBp/0IUdT2uhs+V7JI4h2Jf6X80i/inWDAbs4Y4phpesDG
chFMblDtqlAGfymJSf7Y3WybHC0PjCb2Zv6aD4jjzEymnZInLW5u5qYyRphH5wuMOMnjBE69Hpt9
MMjjvtoqP8ajcpSNkkrOJSJJLZNWjW3Pt6iUW8V6alJZSUFi9EX4qKJRk9BuUVKoq8ADE66zkEMx
f7fGo9yryQ4jmJAkzhUCQkaUkaOzUW21Wlbglzwqg/8BF9pm230TkABdtuqz+VihPV3CaU6hQ7bl
nmw6KcHoKo8kJqco2OewMGyJpWOF1lGJ4XfeKGGHCJAG5FRvAZptPzQbZcurg9XWusnO5TG4+Uh+
filbsCAR+GqwS1xCmFLsh77bEnC8lFknCXrWXvClGMFuRFanKqxDgt4S2MFP2nCfNZ/0QLbrsaYb
l2IEQ7HYqT71OsAkLSzlMz11wBHrXjfwspMIsT4+U7FkGT5WWs6ORR/bWdvNwK8Ja+Zcl7Qavl2c
RiwVdyzSIrVGySHGLBIWIcpteOa2NvBDLOPWd6je7q6LXDNOlxKFYD8cwdw1WSg/BdmuSz8nNqaX
I8mxZDLEEF+146WiCAE01O+HKPIU+kTU4b/+TGDcVk0gTBmYEbbERmeFDSYs3IItsMx+Lupj1Psm
OFzadnv9wv7UBoghBMQA4Lkz0Rr73VbkTNeXVEd3zgIspPHSjpXDyAMbA8ml/anYv8sRtE4xa7ue
Mwt1QVVxmEoarO4NjUTIn1/mNyHixoGST7mWhOhsKs2uMmBZz4kUc0JyEBE7vU9yNUwmeIq5wTwV
Z8GOfGxV7Cj6gCj/ONG9DNhcdipB35K2HNtOnUAQUAepE2ujm+e1Vyrkv1fs369PcEx1mUZdFy8Q
RHZBbDrgXCrbSKLXsvvj/37hnCIy6pHJl/OyeKstd30nqWXIfp/f5sXvjxULkyJDxsG0o5LuMB96
/cGsJG38lqipM4pVCUMc30+MOldiCwKi/eKjL3sYjuiAhU7rk0O/x16X1+/sJ+tmlrzU9YO9yxUc
XWZ1faDOMKZ996UBtL0ugR1ZKav/fjDBxemB1WE6WecjJcSPd/WW3unngY+S7DJX/yG5Rv7gf4/8
f5cmGJ6GGXRp+TXyAZa38T3LAfYgxtnt5w65fYmZoKh2TG+8/8g6ze/CBWuUmmVkxgHWNxWA9mGs
dlskpcsa2Ryp5JOJc3u9Se3UnPkQ3fLSV7lTazKzum4bfimFOKaXFnWOHSskorXhN1PsUOuZSlc1
ZUIEAxRQope5iYJPH2H+mGUHUv/sIxkE7ronskCmTPGDtoioatFsKBioHb2JgjuZs3np6dHSU2+2
DUnlcfVAGpi/LUoMDa/5dxvRKKHZFTo0HbwKCXC4zPI46x9Y8IaSXUgRrq0oirKZWvAqKPr3UAU5
zY0yb8zlU1meKnK27aPRv7bdfx9B/i5VMOI51VVTCyC1pIfKOAST5OGufiYNTNdUt2yVWcLTydUy
bQ2O7dSoxLUb+PE6drp5p/QSe7T6eICbbnGwHFsVAyA9qVjXMTiKEttoC6jR5/zzdRvEDdofJkgn
NmhjdQZSZMFVNG0ydfWIYDFRvoLFYZPX5yjbhuFOVT9kCS5ECca7pgaa8BX/KmQX0xsl/f6/HUWw
3YE2lFGeAPqj0MLHolz8LlFdiyh3bZyB+rf+dF3c6rfRDR2Ph+DLiDO1i56OhjrjOAkl+0ErHV2T
tT9kIvi/X/jxQrEUI4Eqe5kdn60ZBCiZJQkVVpqVeCtgZ8B/hqUZmqDLIYYupqnErSUn5bt9az7G
N/kDyqG77Ge1673yadh+tW5nTJIXroydYmW15DfhYvujCzRityA6e8N/qB/abbqlKPvmd9ouktVs
+KP/Q9OpwZgKawcKMEE9unRQUwVrDW8bOtQdz5EPWGQQ8bR7euxflP96jpgf7V2c4NvRVtaxoIOn
W7TscczbnV7aHwkjL0QIn27qzExhKsyQnsxu0O7VSeZaVxWQ2qrNNNWwNbGokdbVMPY64i11Vhxi
VkeEg7sPPCNg98IDmbYJK/S7jg9L1afJBEochU6buS79Uprtr2wr41tcyBDeEXYkWKpnUDOgXm2G
J074zF6ZxxygXfp8X6GSdndXXYRh2NhuNXSGTdffj2VFYZVaESYJC4rGhsocK/N7VBiIJavGr8es
F6IEH5vUoz4zBaWuBqMgmotTPrM9w2w3PcmBNP9ylzb6/URD95UJStclZlFpFDap+95viqdxm3jm
Q1641Jl93TXc9JE9fGCKnX/AX0LFIsrUTk1T8Yo13ep+i3k72ye7dKv8wwksk4OZeLKS2so4wO8i
hQ+YT3qvYCvp377Ugr5Uuw039iYGnzGGhF9kTaJ1fXk/ofAR25wGfcs9vaLkAAK8o6ATjm7t8ucH
XhtjmgnaAYPAb/2uliy1l7xPoJZhE/q2Efp1GG+vi1hp3eDmLmTwo154LTsK2yJJ3j4WIDiOHIJj
9hKAusrAZFdD2AtBokUfmmACtgFMbPWaToNDli9FLVudWemW/H4cwZDPRVmjNA4HaWWfqhEc9csL
XNaLlRmfLX16oUvlghjkDJ4y1SFK606DVzXZvmWdk5rsZ1nLXLb0goUnqINzIcvrEMXzVptAMKy5
tLqpp3qbJgrMtJEdF6t2WB09G4VskkBy529/28XHbREQWyAkReafV85CM3fJ75ZC8yQ6tOqs3z/t
W+BwIYaUxVTnA15fpczYaGPqyWjNW3PKjyNZ/GqaNkaXEIdNbYXGYLUpDdVN29pNlEKSJ626wIu/
RHiYJA6MsBlx4F5FiEfqU0qzZ8lpuS35IzRhtknQPwD8ijgIG49kTuwGMooT8TkhWOe0Xr3//wm5
+Ju4JkpwhaFtxk1OcbFm+7lRv2XZNstBmO7k5v31Q60atIszCZYGm3p6V6joSNtp/q2vkrOV1Bsw
LEBhdJnF4U/w2qEEi5MUdTsmPcaQMj38FjIsA9s085FhgylwuskHuMJw/gTkxuc4B74XUX8YIIpy
LGN2p3Tq3XmYnKm1b41evVeLThKm/cWCvH9ewU5VuVawgM/DjO7gGb75me+HA4nuRXE7eE3LGe5j
C1We6x9AdimC3QpHew5VG6Z+mSdnflD7EvPB9iNS/rNZAvesGqW7DavKZeoE+aqmmSgs/G75Sdg1
vEbCEUj5NBM5xffaa2ZihI53v2xsv3gcUzD0ZEQU61d8IVl4pa2eAxuJV5n4MGIVAUhFca2nCs3s
GehCHCyh3amBPIFZ1fILuUL0qpZLBnpKOAdQ7jxxyh26j08MWOaDi+EcLBNZG+U0SeaL12MTAKfY
yNstor/9+4V17DuGkSCes/EqJV98S6lju5ObPIB1z7G92XSu69JKdxNO0AZfhMmFIqj9/csOBXC5
NXARe9Ntu8HA+TZ6ZHdY5oh+sicwU2NMp3HBtO0FrROA6W1zXfzqLaM1w3T0VS10aX6XntkYYywp
Uu1ZQ4UivjGN21y1HYtJkUX+XOzg5/wlSWzsA+0GW1QGqmKsjl2tfOjYg92cos6Ppu9TewqTp3GQ
tapXrf+FTOFu0wrL4mAD/DcxJV7hh4dil9zUfuzLNgfXnBnaXEw3oDbUFOv2LQKZZeLA/y1RtgXT
N1RtJaqy9q0uRQi2mEXGoAVI6DyThFjR/Z6TY41tNx1I4deVYs3Y6CpVTQBT4wWKtdJmbNW4zpCb
tslu6Z5YYgIuHizL6ZM2fr8uavXBXcoSvCbVsrFaIsjqwM/Ap52TyAlOw5viT2fFy2U7W6sx3qVE
wX2iToH1cw0rVPZjsNV39g0F/O98arYf6axdChK+l0pjVmsLEo+B3Kj2g1rtzVZSxZRen+AA9bnU
STgTTJYg/8bADNqF9LXa2FvQTrjho6w9xe9GDAcujyR4vi4GW2I4YQIo7R5C40YJ7lImqybJtE8w
SZYahYtFUbYAysNGwVBm4hs34cEEP0Lvsc8clN58Gvz0m0QT14zFxdnExdWYkcwaJ7zgf8kNi0eO
Y25uwborr5jJZAmGaanU2apTPt0NLEX9mG5P3SYBYF7g/pCcai1WQU3eUE2TEbQjREldXxOSQBJ5
nPzFsweHopfs5v8U377PfnoqnNmb95rijp0jm8NfAUK29EvhQuwQo65l2EBZ8dQtR0wfTpjBc0uX
7u2b7623QE3JJvXNRErOKzu1EDxYPWnryMKzUDEnbcX3enpLs4diOJXlkypjHX6j4v7jVRBwQemm
TjFNIWhsQ8NqnFoE5COzM2dK9M+L9S0j34wRlHrx4E1zPjttlp7NwNoUoOXsleZrow5OSbqdraku
My0fN3VLQqV2Krs6AIXrJqvrn6nepw54IZwhLgaJ618tEaPA/p8/W+wftgMQqaoEPdLsZDvUbbfT
zgaOKPWHsyy3XZnVgSZcyBLU0FBJqQGdjT/q/KsFnnY0RF/ZE3igAdBWHEAXwh6ua/6qQ76QKOie
EY1N14aoleTx6CrVN/VDdazLMwlKtsRT3hkEs6wtNt3zHU887E2x6zb2ocNAmirpJ6y/posTCa7S
pnNn1rwLw5MdfC/X+GbdRbfkWLx0B3PLmRboMb9tLb/cXb/LVbNPoN62qVpoZQhepmlV1CUSvOMg
a5zZQFcO8HazGXjXxfxFI9/lCO6lUQxDTdisvUHutFtH2XSbE6cPlU18ro5ZIJv6dSLhyaqMNEkY
QffV+6R37Vt+nXyOcb6LfiYvQYR5U+bPu0lxFP/6IVfdGwIrYjCL1/KE8AM9XQUQE3ChYQIM/Y1W
f1mKO1BH9p0M6kFbDRgvRAkBiFmq9oxRBA7FoPudF+7yg30DChKY4wFIahjDSRwLm3P9PgXXi3qc
ANXaYFN+Psqwg9cf4/uhBQVawDNXWSH6KSm9b+snXTY3Jft9QXHSrEPysWDOjEzs0TLGB0oLSTKx
/gbejyBojEWs/0v6wfd5H9Jop7DoTNNU0tySiBH7djkN7SkLRjQN+0Ogv9QRmNEkSa7ksnTBFkPr
aa0V+Bh1eKvqLwPKCNdVfLXzqb8rni7Y3qiuQs0ueDK0SdzRXUC00YICgbk6Fp3zc/hMDtMnThnN
jrG3yKatV9VeI5pBmMGoLbaPzZDiT+MF/4T+IAxYs8Y5qn4kQKS7fszVT3Uhh9/zRa3ADoO0NZsZ
XffopdBA/ILcdhy860JkhxHMRUpGZQZ7IX66MzZ9Em6ieHiiVekA6UKSTKx/tosDCfYCWHF1wGJ8
tvATRdhxCu41lzicvGJ+XdCNQnTwU0lhGgmwQEMvfrl+1NVSE5qVvz6cYCVCzOfkaoqojdzydlvh
Ga1reRHmiJ/4nmDo5p45Ombl9DJTuRovXkgW7IedTnlA0ZXyzORZG+/7ZHFS40E37roGkIOyIZp1
P6dRZqHuomI6RHiBmG8xpsl86+Mon3MwZccoMVmfNYAqGR957BeihKeIim3Ta+2AJFRrHACvuCSR
IXSu2pMLEUIcREyK+TYb721uUj+wsEPU6LvrqrH+1N4vTHhqBWnIktu4MGx1PqJx7ivoShgGe7ou
RnYS4bGRwRp0s0eck5SvegAE4+rrdQGrPV4ML/z68sITUxpipnGLJgGPGcNjugm/DEe6NzbNpsew
RNk5xVm2CbtuQt5lCs+KdTUGiilUQIuDTU4fQVdba8StZ9lMw/pXQlqFtjxsrDjwQiI618qAoMpK
D3V6M2mHsPtAz0jXfokQ3aMxN2MQYeDGmwFWXX2ypHyh3I3/kctdCBCeZtUPfTikKq8CDBgO5Ziz
6sbYGYkbJl4DEk+8ooN1Q3exF2xk5ZX1NOlCuvBaMdeiGXmFNCk4V4Nj+stOfc04lpzTuPqBANtH
ttKwrvLvFyo83q7Xs7kskbuGS7urmtIdtXb/IaV/lyG8XhanXYl5Zzwr0CS3QIUYFCzmZ3AlyD4P
WVjVgGnNb8K59to+vANI8rFbsn3T6E7Dph9ROW6u/0USRdWFd14xjSScgNOzmuDUatr3pFo2rSVD
K+EP65ouCY89WBKlzzBD4nWK4hP7CbMyzpLuB/tzlcuoN1dnVZBiY1rFMC1VFYewTMC6oZbLp0cw
8UzddGPd0X3vYQYHrpq8Xr9AqTTBYbZG3vYxw2QMn/tZALGfnjk+nwZI5nEnQ2Ret5oXZxNib4Uk
2tDMb/R3qCI9pYfUjV7Ms4nyUQWSCeNH6H0oY/klkoiQKTYL5oiEKip0OXbcKqBINKF3/RJX7fKF
CMHU5EGcWFXL40d9fuo19LU07ZwMZFvYtn9dlOQGiQicggmKnoYMacX0vf+kbng0ro5Yq6xPCQoW
1E89RR7PcWv1h/5jnQxn1JDtigNoITpsaKY1qMIdOD7+gC2WdG9jEzwG3kMluc1VQ3YhTDAynYrO
SK4iCqGxAmwCID6kg6Q0vRolXogQzMbShP2/zE+8ple81glOljx2OvCzbZiwUTbEuWqmLuQJ9iPu
CaqHHChar7IfoOEGxlv2T29/u64bMilCeDDV86yQGsmLvdyQ8dOEqV4ZFIHs2wjWgkW06osEItSs
8Nu8vFXsWVYdkymbYCOGYirGyqw1rwR4KM8zgz15mFzs6fuhR/9HaSLEQTjkSa5UCBMsq9xbUfPZ
nJSvqVW4So4qnAmI+kTbdGHyyegt1H8LP2j/+51RvKh37RBHAuZBQSVihFHM51uF3pZW5nStg21V
57p+SLReBEDohqUNtRqWcJyLXTFSV63INkumm6xPtvGYeFi6kBRBVqDqfz+bEJWoczmQHKPVXrNQ
XxuqHwa1n5RpcNWa7WcjPU7IZChFkytRfDYXXmxlR8vMDtNQ7PVK8w17uq9LelOz9mYO55NWRjfG
BJSUPPKK0dw1RX9jpWyXddFtZpK7Ykr8eLRu47T0l0nZRYW+sa3lRikz3+jUY5H2bt3opzkfdrEd
YryEtoeiM75h/thEkT/7YjN1v7RwTPhLkpbuKzAvNgDbrxbzUVXTfaH2btlVt60GPM+y3Add6iZN
th2aqnD6qXkukvxAymibkvQeiWMINWrcICAYAmMp/ke7LdXqGJqlV+n9o9nE7gi+tiQNUr9KgRxX
Nt6SfZ/78NP1779eFrhQNMGytkrfDyqJwFX+Pb9B1ejMsTWDp/mOT/mCtPxt3dZwKzd5BsMvMF6v
y5fYJxEyolRYGDcxyt6E/TDy2u30wlFb2YTNujP+5auoYGtZl45JpSrEmyt0/Zpjmm3NNnOqSFJG
lMkRrC2poqCbQkT4s/ZFbyYnHg8DFtG6UAbFt15NocTC7omNxXlxThpzy1mYlzFvF1hbDRXfYY+1
eZeC6qT/3nu885Y9y2bz1xvSF1K5mb4ois00toY5RaY++NUee9mPiRc/VxvVJ5thq+w1mXZws/5H
jHEhT7AUMbMxTsyxZngnNT3Q/b9wr7IG1qoSXogR3kCUlInB6hZvoLnXmOW2Y7ZJu2nzAVW/kML/
iovLa4AfC1INBExlAwzZBUvzu8mS3dj6e76QIqh6hkDQqikmS7PPPfgFyvvIs7z4gL0UL/LC5+EQ
PbSP/S73+x1Gy56uH3FV/y+EC/qP4eV6ymdM7Bn69xm4tVvWvjbVw3Uhsq8lxBsRK616mEJMRfTZ
QxIPDhuIt9Bc4qakT0yIOWLUCrplgmucDxxfht9kt5vv/p1e6c6FawCzRDZ9uB7Lv1+hOCicVVod
BB0cv3E7eYqTefVzt+NbCQYn3XvbEG786xe6msmCQEvFaJOuG+JqghoB4nVQ0JhT6s86iOyn1GMA
8Bk3NTUl5n5dQX6JEhcSlI6q2EeAAUlZ4Oq0cViq7nWzOpmFLYnnZaKEBAxrX6BHSnCRabof6eOQ
1q4x7dWk9K7f3nq99/36RMTfTs+ZGkbQk87nKO/TLtjZ2xAeM/Q+lDOA4l63gZcCZlzhfZXZ1GMt
CvMewMbyE2W+ZUNxVDHdLTnS+t29yxGemAoe16xB6uO1qE2dOKQfOeZb5mm3lhPf6SAJGHeeVPX5
F/nT2r9LFR6cYmSKSkZ4z7TKdoWenuxGPas1fZxsYjrqmNxh7/uOTCgtjUnrVaSgEvX8y5v/9SeI
kT/6WjpsJ/QTxZzyU7yzj/EGfWrgM6A6eNC3ulv7ivTk6w/wXaqgqiNLAgyQojLd4ouO5zJKnSy4
Uxe/nBf3+qddFYVBIdOgGlF1cZFl0RLbTChcXbp86ZMfS3JmeelMwHSlMjSw9XrnhSyuZRcOrywt
klU5jmXvGCiw0g1DSrFtvdED+PYu2yielAZr1TegNQBUEhtgQuJGQMjmJZ4V/hYDIJ+F/xjTl0hW
5pfJEKKFlhmjGczwsL3yCA+Utp7dv17/Sqvv7+IYQqhACj2ywxwYA7WyKYbImYdjhCfRf8ieXMgR
vtCkRzOGhJCJWfVpapiT0hPCLYmBlN2XYLSKwLDorHI1MHcDAfpi61Or+NDLNWyV4xlYJjoU/4+0
K1uOG1eWX8QIgjtfufWmltSSJVl+YXjlvu/8+pvQ3JmmIA5xxn5zhCNUXWChUChkZb4Ptqyr+rSt
UpTel/wwHigEQgOb1JhZ5BLfvuGsXwF/2G1/qH+J8atZ6b1ZLU+KXK5aOkQ4OtVtt9MB24dKGhTs
uhtYTQArzwfOJl5f0atRpiwWtYjkAaEtdwxkgqOIopT6nxzP6B/5kI0XC8qGeY/LZ2/ihjEdi33t
+LvSC1wZ4/QXySuPIOVytw2udiIW9qjTi2yRhW04SD4yk05+dvKndKJwPm1wY3G2FJ93wtHvsuUd
E/laOeiNYCZIRDezp2IqMjgHh9lGDwF4fJ5rvO/F7ICEIhnEHLGpZLFlCrac1g6BYN72AtIP8sEl
DRxqsoyZdEVkjs+ojKfW7Auk9snpuoNsPm///fXS9GqALU2nINfRtXiLdVW26TRDpQDFRSfPlcKq
b2U3cYYTb1qRa5bZ2WNU1GqeIhnSOd35JjkVO8H+PtvNITvMMAmQCedZffWQXDjKbOokl8sk9rGS
ZfwlFO6a+FsWoIb8NQacTcYzxGzkMgjDptBxlcmEwM4bDEj+KhLDaiRbAI/r9uejn38jPN4y2WJ/
tUNu+k2P/VUYj1q+06fYAobSmqKnAYOQrWTl3WHbIicg3z7swmJc6mI7D0hOgQLx9Si47yPe4AnP
BLONCzJmNW4U9Ob+goM4SS7bLqzu3EUkMDtXahqpm2M6TmCca9Ebo4OQcnpGPBNMra0pcjzXAjJR
Ix2VvLNmDGLxJgl4NpjUoGaAc5J2Rpe3Eo6pXqHzmj2QTOK4wgmxt97E4oNXnSJ1AA9QToLvcn9v
SrJFcAJW07HTQKl3mgXF3f4+9PtuBDULgDdlUI8XAg6pPtQviqnuaiF61cLRC/SAY2q9+XWNhTeB
s4V3WtQZWTtTW57s6afYC9DZy6zeHhwZo3LlU81jy17/bComx2TwzOgfRERCVW3DDueGH5J7LdNu
k3k89mrE+Ww8M0wEGmNfpBHtJdbxcBCyL40hX9RB/Z2iRbs6w8SgLLaaWEjYqiDYC6BzmAtuKfza
Dof1cuxqhJUQaYHWb8MUE2/auTyQz7qXPhpYPcs8FwcV19b4J/d4Wg9BU1bBASOC3I2u7iIsIPHb
l0JjEqf9TExL+xI80PtytstP2WcpcESvcLRvIHbjpPP1R3rtapdJfXoktGLv46tRRbEAugvV2ccI
JTAsx2mvclL5G3D540a7WmMSoSFrUy1NCMXGjR5EF0StIJTEORxBEhb6pbawC29Fp/n/sVEINw+X
9BCDYp13ZVkHyi/8ZqI1EfzBMGi+JHjEya38oHqpl5z91+m+uslP6q4/GnezC7id91uwgYVpJoRB
FpsodY6XztQ/m8Wx83fb4csJJXaKUtKEfDBBfOrIw0lVvpbdcx6e+46nM8ALHZYSWZ4SpEqZIGS9
8JPqVRC39/cQ8bNTN3S5gie0PtsIHZYfGQ9r2kwKnKGBYVOK9X4vPorfJ6dwUIU42yvIiw52uhHj
ICmkatBkjw+g8rUooXtkyVQwzkbd/QW70Yvuske7etk2vJ5D/9kfLG9yFkJxrGjRFDALPOT/iMGY
zJ1ho3tsayGZTBOMeST3vkHeRC+M8+TWr9ERwOubEZsfA+IWnZ5TGgQ+b1lXvdMl3SQSbirq29G4
yHE9ECZ5Sa8WOv58Np5J6ltjwnl2X63lFkbo/y+MhHJbkbxGnIi+th/KygGYkpM0VzfYwgSzgqrU
zFEPTiVMjo32JF/K4ZehQKxG5vSeea4wuRlC1kQZKp84pejhhVgNeCj49UblwhMmHyuFqLZjiWpe
2hFv2EV7gllX6T5/9vcYunIzL7ejxm44lcL69lqYZZIvhIqnrJQQCMpO+N7tMgTh27TXffxrdOPm
TXZi2I8yYpCX+HlryiTfMPV1BS/EkhOl+66/jNXT9g5+qxU/bK+rb2z1OhR5kw0ES0rJkhK8goMy
aZcTO7iUp9Yt4Vvs4t34KO0L0aKiNsHv5BAdMplgStUNgyULCFUhAm1diQv8UNtNHx2C8Ms0pftt
P9fX8WqFudyOftaEtQY3x/qgh6UVRr+2DawfLws/mFvt3GmmELUZrUwGzPiGdnhnOIpFdeMnbnuA
5w79/0XW6Ca57WsD7vjpSfBvK+Jue7OeMq7LxaQMQESiBMO86AWMt0J8g/dAkKN4xP/Dr8JkjLZr
ihQQJ1DZGBla8kB9VCpv864exIvvwuQMMYwiSaDUXMoODQaMfgRuS499l08xtd60WdhiEgVavvLU
pDiHg9SaIG6PEaHo0segO6NNtsyjBVr2yGvH0o/xcQtfPxaTI4rZ9FURMGsn6TI3lCZLjFNLj0dn
OybWH9l1U9Mw0EJJZxk7YiTKBRiOiNMdtR3GQ93xRb9NncJObKCYEOeRZ7ilLQHYzX8EXL+IXq2z
ZaLfj0KKJxzyNnhNq99ip9+iCrDxQAyeAy4ceLUTvLDHNOCSsezFuFPoKOzgJvvUKxtbvqW6fJkj
tpbPH4Zdj9R/1pctGeMBkELVp3cqPKlSepgAyNIYFDh8Ls31kLmaYpJVk4ahEgCI5WTFbVU8Zc1B
5VFFrKeoqwkmReVRUo8iBX7owYOUfk2Uw3Y4rtaFi+/DpCipVdpIoYVTn/S2jidbdQDoDLiF/qeY
c8bIeMvF5CkSkzYRabodcfsjX436kqNnte0Pb72YPDUb3ZAAjov1qj8LEjTJTE5/919OqOsXYbLT
KMhdofu4Q85vs2hAL3+jLzbgT0WM8ZIS1xqTLVQjowLZMgFVbPeLFhV/iVkG90A47nhYJvrTP6bA
f1zTxPfnoTkXVRyV2KxjrFjhPFljfhSlm2H8YTRouPC6ym/6kVv2mOQwTYremxXKMhkCJ4nS3rej
4YLoZl+Hem+14uhNIZ5969QtQvRh0lt/1u7JUN+qFeimpCqw5FSyAgOcCdG8E9vW02bNqWrQhYud
MViVHPDQgGvxpUBlU5JMFbMUH0ToZL+N+gD7RQbXvr7P+uft+F3bI5iQUlQDHU4T9E7vP4HUBqPZ
NjiFiP+UdKgVp1Ok8ijC1+oShfLxgvkO7B8sxazQibHQ0zclYwgcI/hcR6ZtQuWj5qlN8wwxOz5r
67ipafYf4n0ou6Um4AnrQU8ftheNd6ppTF2KM7UDoTf6WdNxcqGOYKPHBIpUeVd8qu74eZ9rj0n8
nSb5SR0gkxlPqqUd6esmODs+414IzUqo2Tkc/+jv39oozCnQq6AcLtBEQ2eivqF6Nokd3chHqo+Z
2ryu5NpHA/3B3wUKGx3GMARDQp83lcZ3lNIT4sSuNGw4HtU2dxmZ8Mj9uRsME2MMVA6Qdj4DtzyB
Uu0WzA4ofrjTQqulgSGLJijcKHKB3VzTXJUlqHSdCoNzIMvLdphwH2vLsAjq2I4HWFvLFfLCHHNS
mGEnRGOJ8iAXjk0yWw0ADJzAWM3YIGiTVaKassmSiw2DAnLJdvyL+aO7xQx9YkFTTrY0p3OEycqc
8mw6431pp3bwbdv4Wqqi5HB/22a+XjiHfdpPE47aJnZns3sY8PxYtxEHS7m+ilczzEcTQWophZT3
IKmestpVdG/bjfUj1jDBFUlkWQK7/PuUC5R9Glc1/KDNcNGl8yE55NaFHXCuL7xhpNXNhWMDFGoQ
4ITw0XtjodJrsZjBmzz9Ehi7WDuL4m0oPGz7tPppFlZoPllcbKHo3g3VDCiTkh6NJLWI5kW80Z11
7OLCCLNuShzJgUpJAYwzFdkKjooAJvnRlW6mUxNyvhJv3ZgM2ClxkhhzAonGeu/Xt1P2kMUPhsgJ
6dVYW7hE13WxbpgDyUwlw8HYaw8z+aQGnGs0rdY+5PHF36deLv5+EBaTNDbAlQKE4QYQc8oE0RKl
yC672cmr4EBi9QJ66MvvhIOGe7NoiGCWZ4IO4MGU6BUivJIvHRrM3U0HYNi2jdVMBJbKv20wIRfr
xRC30MBD8iFAwQj5zzHTvDkrHKUS7nLVvBkGkYPEWQ/zq00mAqG8JyhlhVkrlIwyqB/Cwo2Lr9t+
0fTy8ZNdbTCB1/hqa/o6bLSkATqLWNKgObSTE5DKiabZ3Ta3mo0gIK8T6I8aVB3ifYiUEfSQzBgF
YDBZ5QFUJQ5GigJLA+EcUiBaA9v21iJyaY6JyFj1jbyloMdZU/dyWoHkM7ohUfVprqZzG2NEjqB+
EmV72+zq0b+0y2b1XPLbBun47ZbePoIi66zcT3ctZJ+KRw0slj/+0CBzGENCMZ/HEbBkYU+FxlNn
hnhaj9as6IiWwJ0SXgvNpX/MvW0ymkHJKGd3bsiWKtF2rN//lk/XywhLqxD0UdhLCcrCVP6R5l/k
fN81zwr0zcpPUnEkYm6N3X0h3oskRfHxG7lyeRNiLovdPKlNUMP4kP+qxy8Gl/OLZgx25y0NMFlL
qlIFlDYYvGqOHRgsQUrlGDcDun+QaeLC7Nb33XUtWWaivmqKLqhhrf3e40k8ccGXCRY6yet3v1nQ
L31jMldjJL1WzqhEKWPb7GDq+jFBf5O2/+Dbf34cg8THVSaVBTbXqa+Rlj49C/UcWKOmWGUdft/e
X28Ilvdf670RJk/qSiQKQQy5e6opTrUbssAufmLKy/Od8FsF4Q/a8it/mrGVHgGdhOS3NnPOoI+b
jv4GkBmYJtQ/oOb4Pnd2jWmaU0ZJ+olwUkkLjGt6H8c8pnzqykdXr2aYo64JFWXEEwXExasLQI38
rcXzg4kOGTN75VgD/Jale1ICl+Tq0X8+Ot8vFfO5YqmLixYSNE6vRFbYZE4i3qsgvNuOihVK3fdm
qKeLgkfOm6GQ31Qrj6DUdcb9vFOPBcYgeH0/3pIx51gga0kjDq3iNOJZ0M6TJLlFxWtnfKwF3nvD
HFphjV42VB7R/IG4TFH8aDCGO4iugdlFiat+x4sy5sCC+ljX9FqkOl31tRxi7CdeW4G3ZswZ5Wua
nsWUpqypvrXBaY4q9Nj+LM5Y3K8s1o3UNmgod60HmU94cZu2PWffryTvdx/m7aqyCDMVggKEVLDS
eoM73tAr3PiAIY5D5gV3PDwT1xqz/4V27gNDgJA2pWqS3NgLHdNVAW2X9oHHm3jnhMFbIbVwrcIb
JYl7jIvXg3GjZLpF4vGyvUs/3q3erx6TC4Jx7hI8zisOQbOxA619cBaFT1HyedvM6u6hpL8qnVYy
2VHBEVT3pCyhMW1OxB7UyY1JeU4z2eu67h48IYdtc6teXc2x44JdCI90ZcCcfZJbpfwUy1+a/Asq
b07wrX6ghR3m0NGR4iSdwM5Q3KcARhvK07YjK7Uyvs/CAhNvbY37x9BjsKx1cNEGgQ9wSTto0gM4
hxbFiTepzXOIOX1EohcxxIyAmTe/yOYjAd5y26HVvLPwh4k3NEWUQa+hITQHD43kTRjD5adP3uen
P2Kxb4Lax4rRfTPFR7N5bLvQElRP1Hk1x8ojxvuvw5w8nRbneenHKnrPfzUxm8pKfkr37QniQGcN
uEYF3EfQkn0q7vzbchfuxJP48GcryhxMEQb2YqRvEAb5bpHsMv+o9vttEysozvd+sudRWyahlCPH
pjft4S82/oP+QCfD0R52snOLnhl9n1dOBHSMIEF7oGyxTWbxsGy88GGOrapVisCocAqj7anpd9n3
lNdX4OwAFglskHnWwY6uOHmXulMUOQIKse3l5DjB4nWCDI9fEp2SzfWH0tftTrxVzcrZNkJX4kOh
et1oBpM4yhZzgKmItzUFIK9mV+9V8GLxARsrNOcIDYWIwJmbIGJmLxgRpq/EtK+w147EC+3pKUgs
4SFyfSf1JBAlP9P3/tqeTtBtgFJ1aev3w159rQVOYln9bovfwSSWuarG2iez4sTtXq5qK9RUjoXV
rLKwwGQVQ+qaqGhxldLbRyEs3Ul7ajViYd7N2/50PFeYrDIG05AIwGyC0gXCvZ1VCbypx9XgUKCh
qkJSkKAv+D5BZnmHZ6wE/LFBFlqjYndyDJK9w6xctPiizLeK/J+f/2mU/GOQLQVrzUz6ts1xIEcP
gXJL+xI6p5JZL80WNpjDuJWLaOpULFt6EzwAnYwXJe1HC8bu5pGv5r0eDFeHmO0l10Kph1hEh4Tx
PYBe0GeLv+kJTuiShxparZ0WfjFn8qxG7VBBXsYxG92p297JRc0moDoaW+2cKLxhHJ5nzEbKJ70t
IV6lOuUEWvfyFAkPYovX+Jr3nM4zxOynwNfTPmuQy1EA3GVy7ii5A5K7r1phcnbuasJdrCCzocpc
Dkjmw6VezO0mmLy08q2+TZ3tfcuNQOYoLsIYrEy02fI32yJYg76PNq0BAq/4tm2Nt3zMmSxqIDYL
5l5xlIIOh5ZON2vQlYdUhP9j2xL9Sx+OEoC3ofxDdJSAjFtR0zRF3mMKbBy9ur5L1TvDBIf2aWhf
hrjifKvV5LcwxriVge5f8zW8C6uk3g+1dJPEubvtz3pnQoVqmq6ZoqGyozegjsqUTAEdBiVBohDo
EuMfxIWw6WHb0rozV0NM4GnaqNdaFytO75eeqH4dVV5or18QFr4wHwcKXbmOMVcKspvc0os981b8
8TZbBhZM7aHmIch5LjHfR/fTZCQRQDBz0Z5KsXDlRuH0DXgmmNNJmeNaEzqUFNUApehAcOdOetn+
MOsh/c+HYaGQ+hAHElCmlIuhPvchVHYkkMqoKuhXfJc8ELn8sm2Q4xM7OqMmXRcCOoaq1byNxF8z
j/lhPfdc44CFPkbVMCsa+OD+mnZGV3nc16DWpF3lfMfjB16Zl8N5vrDGnkmx2emFiZZb9ky8bB/j
JkCBcOoRg/DAuP8W7Oa9RbrAizud3sp9i1VEUBD9iVT+XRkPt4rafZ4lctfUya42h6deC05kEL3I
Tx0wxDkkqDi5g26nj7nwGjjMoeVLsyrXElK8D0Wc9tQIhxFiGcpZfd6Ol9Uja7HATOaQ1RSQyaxR
nCj+lRcvTXEGOSEn1a77YkhQldYUzWTbS0izolpEJnypMHBr9J+KptvX2uSZOoQs4pHTEF536WqO
+YJSDFxCE6PVNDcGyqTO7TPFzoWU84V4Zuj/LwIlIVUrFiY2QhZ4QMdbk7YLhM/bX+dfdtvVF+bz
CGLtR73vKyCxpYCzarQBl8J7nz26dJgq4E0T8JxisnxvqmY6+BLadGK8V40OY5T+OUi1P/xETHJv
B0GbwROlOsIIoeOscsd+tM3O2G0vH88bJsGPsS6GJENTq45vmuAxmV4ajYO2WM+3/3wgdiinUX0h
82m+laRLIn8vZ04E8P4+c9lIa6Mb1VlVHEkgz33RiOAa8UfOBuWsEzs5DtWlRszjUXFC4TwPowu1
TLvoOm/7a9DV/pjSrkvF5PI4ADEIUdFAUnYBOgXJbvAU73+gvOHZYfZ/ECjlAMQ8vLkB9eRXBWir
wM3s2g1fKmd0wxNmozxKuBN46qdtF1f3q4IehQL9AQP/YJJC2RKjDnTcNehokUL1SwCmVs+jS99c
ZQ5MfC02lsaY5BDHdRNJDUpYpXtozB8YgOTExcocCVwhGCIxoRoBXA8TfUHWgwAaQG1MdPo7iqAw
xl35Er/QLpyVP1BQw757UR4QlsU3nbOYq+4tjEvvE2yullT/WQchyPA6dk9Tz1OMoOvDBuTSOyYg
50gVIYBr4qE4exXlY5R9q4PBjrm9aJ4j9P8XJ8UEDEUp5kBijf5ODz/FRcb5TivTTO+/ExN2sV42
QlThMbf3jKO6LzDc356muw5i47Qsy16mCw/Us5YzlovHBF8Wi1XSi0h8QZXa4+ARUAKHKSfCeUaY
48jwyajKU646tQqiKskyeswD1pzV4xlhD6O6l5qICIqTAhmknlPQkTacm8aKCYXOTIKCQUMBxCIy
x9AkatGii1Mp5CRD+qSfiicI3XPMrAT0OzPMjoGubJGVVBdBrj4P4GMbofggnn2esgSUOz/uHAVE
ToA/YAwUTNj0/xcRLZtg3x6oCDwwhpOF6ucw581+NL/PpH5NMh2DZX5wimhLpxcseYogPjm+anXl
ygPo/kXdioIMqHZiHjWigJA9Cq1CFVxRQoc/JkcIg7jBDAFWA+RXEDZvxwL1eGhYwmz+LCZykGcI
dyEjBJZuZg5K2JM2gmyhlKG42WuVi0H0r12fBVap6zZu+DdTMzziVnwftp2VSvFPUZqeiwkcV6Rt
TpOI9ww0P00//1GYSN1zbOdhC6TxNJygiLaPqsZqosqdy/RT0BWflDF2IQnhyhjq1MT83M2gGNbN
o6kFXjWYlqDoN2peeknQfgJntqUkkjsFs1WDnsM2pcaeDPJINHOfps2rPpkvopY86r3fe0IuvShK
lFhypOvHXDHuW1UHiYuixtaI+l82CXSQh1OmGD1+OwYqwI/uhrrsW1HrRyeIRE92M5e3fZvsTcgM
WpU44HeNT9EYWjoxMmiBTvbYYUI+jjpbSuIdGfpnySg94FJvmrL3Gh/Ibnm6ZE31k3M+0pTKpNx3
gcNkjRoDI9lYo5lEz0eK4IED0a63zV3hDafE4802raTed/aYBDIbraDnJVL8qLkZeVa48Di6pbYc
YpJHoehdVMc4pGgrjjiRGzrybe02h3qX7ni8pzxvmHq2FyvVGBt4k4j7IntIiwfO5+EYYAWO4n5s
ozbPVDR55sgyveKMiskmdgsOIel/um/TD7CxfqwcYNlLQx9qKJjKYKd24IZIH2XwuFfxU2cm7rZ7
PFtMetTnIBJSEy0sIYnBqfC1MTDPdcqwszLuI8FqKr5mSJmpLZROj4IR6u+Ah4ECRrHVm9RDfvuR
fpt3uMRhWL8BL6Jo8RiuVxDz2jLi2eGxri/6VJHROKASUgHehwUXb6c3mgf1Js5xs1btKpKBmRCI
siqKpjDloZRiMiOtQsXRNf9+lqcbgMqGXWeMGO2cnyHXehSTDNDUotkNUbeT5eKcJsJu+6uuH0aL
X8F81nFKhbQLUPyIFykEg0t2BKzSib/2LhW2k7wWLD88WNPqRlnYZD6vUUpGnAa+7IS5YeVVbY85
79GfZ4L+/+KM1at+rlqtxs2vTm0N4h6mNljbS8czwRzjZqHOc+Fj88n1oY7uoGzxZ3+fyfbFkGmq
IOHGl5HLOCVWo/735z5FMiUDKHbQSmJW8v0aVYM4A7eC7lUiRXda2h1qQzpHPk9jkK7DhyR1NfPh
VbEsoF2owY/IEO1RCS8y8Pmx3l+2l2vNDEjOCdTINNPApNB7b+J+ikjU44uPFcqLAQDhRN21hehs
m1lr5WOC4mqHiawijiOpLBbPR5jmev2uYRoJGvC3XLWatTN/aY6JsqzqzCyZsXqNix4u7uJSbEkH
tLSgyjDtAQt85fi3lnuBjlRBfICWI5Lw+3UMxlAiLb21xocAsgLkBTKenmlrj7OteRCJtKu98cCb
aFxNhkurTBoKu1BsOwnYld6rD4k7n+qT73VvwBz/lscA+jFUQCMMRVJNBVM2hm2YUCmEyjTMCmUH
EY51cwrGUys/bi8jzwQTJW2lD5IZ4rSs1T3Jj2HqlLyAp8XR+3313gsmMtI2EvKxBayphoR48zK0
qq23D3r3OkqvZajbf+YQk426UNDHqkccdrUntLdNhePiP+cjOARab4OIkBf7cM+rw6zMph6n/mDe
57KlZ7dK/zteLEwwYSbnmSGoFRqCYur6GGfpd73x/BsLtTDBBFeek24oTdy6u/QYGL/IaBGdY2Il
B71fKSa6pAyCjVmN1ixtBoJz7aQ+BDeKBUmfA33WEXlErCuEVO8NMrE2CkVQiTTp0SwUvzY739Ht
7AxJmkfNonoImG155U0EvfX7PkT4YimZmCM5dAqTBm8Rg67eSfV0rgfVQQm6G0i+l8Xys6lWFz/I
Trqg/ZSNHBhC8lgOkzWYX0JcyURKnQY23EAaP5lCi6pcu8gGOeP1f7CAC4casY7HN0ScINyZiXaZ
6tY2pq63kqz00gTi00mdQZpp/NIloR3l0U2nQ9zJb3ZSVn2bc/EszcQWldmNUA4PWR9ZhZTtMNzs
+A1+6kDsPJh+oJO+q7IZRDnh4Ayt4aZaYwu1OXtDKx2aRPjWheU98Bs3aQKJZDkLvWIGrmMYCzeX
8wt8gIBcMJacCuZjr/f9V2Xud1OAMsmf8VXfUj2o+/66evGukSsv+bBD6TM1zHVTSoP3R4pYodQQ
MDOBcKVigtmO7AzLt1ro1W/vvVWHroZMZuIpblrIjwGwDEP9gex193+D0608rL5ziB3XNPVeF4oK
yP/eC/bFMbiYNp1Tx11PxqGcfZu42jsrN5P3JtnMFY29Nk0tda09lHeFjSMZY/Et8Ko8XDbXFpPC
FC1M51jEG0B6Ux+qS7/vPB17XLLEPTc26O/+sMdNWaPNPaifqkwM4g0/V0qoajmqHx5mU/pBdMFr
ahUScRlaMbHdEa09znr62dDEb9AS7dFjHg/bcbNSftDVvf4KphExTlU7qvr/vxQ26PQAlvb/L4W0
Bcx9KfyXLXE1yGyJCqBPo5lQgkTFr37a9fo+SHeVf/b91B6aXVc8m7ylXi1Jrj6y3DFRkKRd42Mo
IpmfUvO1AGFEFvBSCs8IUz3O9QQRbgMpZVA9Vcd447gXBw7fwApP4buvxZKJxFKhEzwUgUwEs3m6
91ddHBbOeISSC1i5oIh6j0deT3oQvO1AWXnTeW+a2RrqoARp1mEaV3+cPUAyd6NHxShSp33RbeOH
8qlHEghs8rN5qc9KwEnYH3sw760z537i60MD9AiYjeTBzuLekcbC04bMNqpxX1Uax1v65zb2Jvse
J6hdBxgROmagxjPVC+Febmg+3jLAHPBGLfmmquDOprbd3pe6F6kCJ1CqObXf1U48kM8zlfAdQQHs
S7xRf553TOaRosgsxRRRlI/aI4DTn7WodLfDhbcbmLTS1tmk+S0atiTckepFTo7SNHFiYr02W+xr
JpVAO7Vv0gJBQclCoZW2Txtb+RHefUdPcGd45ZN68Ccnedl2jbN67PCOGgR4TQhR5vrqYxHc1rxp
Bk6o60wiCWTACxuKPlDm1zzz4vy+q7+Y5T04qP7MEeZgndu8DCagqBwBNWZ8M/H4ongLxWSMLDB6
I5WxUFC5dTMflFhot33d9oETZzr9DYtuV6l1SqfACkZpHgVjrwU53jPsP7NBf8PChtiTRDNpRw2a
blUCAS2xtojEA5byPGEyQpaHkqCNqOCGwi3bXyWmc9pf247wDnsWKeuLhAjFTOdkDuZnxaatZajj
/qIA4GGPl7FtczyPmByQ5so4NjLahFr6a1a/+GFuTTzg/mor4JoCdCYFdJ1e+oGJlwf0uyC6N5zA
yGaHBQDoagy9CfVnEvPa1xy32AkcdIznqTBRtw0p6ODDfRZ/SXtne+k4W4dtRXVy2aWTjA+Fp/8g
aC2DFJyg5llgNr+KpkmTqfACbGG4spkeqN32205wEpnB7H+ojSaTkqIiMlrotg7+Q9HOn8FQ7RX6
6Kq+zEkFdINsHKkGmwpUUoyollVHnPcTtqlh/Oz6o2lWnJVb70FcY44ltkLfWG+KAB8nPkzPb4xn
gxVBbA71T+GB+/1TK3N2EqFhvOUbkxziqRrkSARlhwz1TM2efir3QFLb8Qt9E6IUqcQmFNlnRYBy
cz4jb12ZakFQwYDYJbh/5cZkzRmaLFFqFcF9KvGYV3gxySSMWsswH6PQErr1zPy+SS7bAcnbuUyy
6MshCdUcnkT6iyJ3Z4D5bangTeJzrLBX8blvZr/uOoxgx0eMPeThnTkcth1Z/yQ6UBR4RAMtMP0J
ixNJ7VIhnGJsXil3U6qjFxeWrNyCVY4TeOu+XA0xcVclRlKXDSZTOiCBtNBrdWLV5X+XUNFlXYQn
cAgAOI2peMJJLvxoBlpbEwULBD9PUwoIUp0+b6+atHZYLO0wOa9WQxWYesRX8WvE1YU+uot3AJJC
9iM65nehk4qW8Wrc6BfKlZhjUPA+PWMm9otv4+0cKmec1V3d1ssfxGRIPZ2lWqBarvmNYVMkAM6t
ffIzuGQQIJGPOWQrmtPotjZk6XhZjDrLppSlbSZd+kpWVeaMgUT10byTPXmf2cJsyTsQEziA1fBe
Pldrj6U9Jma7uIb6agJ7tUMHMVNHju3W6hwwZu/jM4/ceS1wl9aYwNXqIMgrSvlVjF8kwH3K8rkw
Pm3HE88Gkxhl8e8b8eC7pdJaICUWU8KJkbWcuHSEyYklZkXL3gQIUCOfTP9zUHBSycoz+PvNxyRF
uS2MAL0LkOOANlZshSdtBjdxmyXgXFWVPcShrDbHkKJueG0f74oeLTGSWPUs22gFPjRdxYFGr56v
C5fZC1ahSoacSW/3Bo/K4FR2CBbrG9PuIMPTdNb/gP2lG21jM7B3rl4O/WTQ0Q4vP6O1AFL3yjZi
CwnJMj5LVuhqHNoj3s5nxZVNsQjLgCAVNS7gt5Ts3DhEh+wc2boNTXNwqmlecdd8a/YXXieHE7bs
RHQNvrvUH3B4xP5XUbufh9lKwx9/tDXYa1kUkjE3CQUE5UejBd63uhG41Cpv8Metr8akFKEMeiEt
0YwOi2w/JLKVROYrSRq7rvVzIAZoMULsW/3V1+pjkjQnta+tqDK+QZpwsiBe6ZJYuUhi5+LF1O0V
0c7KHJCJ8Tfu2ct4ZnIRpsOmziCAyRt99ZiBZN6sTF5jkBfATC6KSy0MRQFtXHqKhHbuxLnV7ysn
vYUcIjYqN59z8pLO5KVKUrOorjGibUDlfDZkry95lyC6Llufl8lMsZqPXSShoI+6yRuhSpXX4S1G
QDw14WEb6J/6aArUL3iFBYCCZauLoyb1obbx17Ni4vZ7eUcvxbwb0erzCahV/7bDAuXaAoz8rZiC
jQD9Wwk4/+lnsovwngHdodvQ9W956jJvvMEbnrFAuULW5GI2cBCKR9B4euXNhPCobP02OuANxVYv
f0mKgSZqOwOs11pXT2n5sShR+0CSjLRGzx1jstp4qQBH6cWDnN+UyY+4f9029i/FxdUaU0iZmZgF
M8H9aDoqR3olK09glgVsowblNa90Wk+gV2N0ayxcE6O2rucS5arZXnLjU15EljGZnPqMZ4TNbcga
aReiXBrLvayV3qTWtljwJnjWd/HVFSY1+SUECZoKVJejua+EnZZ93v4wPC+YtDSGoVGTDn30LobM
t+sLXxTD2zaxniWuLjCJCN+CJEmFDqBB9GPaSs9hWNwKWbTLM55u5WrDebl9mYw0DXUk9SGudj6C
zZoU/6HRAZbvheBFqNDjjBNXlI0fEwR11abfNxqQmmP5s1DVG8EMf+iB8Dyn/52EmhZw/yyAwjz9
5kWStmmASEH693I1O7ZhzVljXt5iEZuQII/1uMeLQYviXXEjd9y3e3LpHLxl29Gjb08P21+Va5HJ
H40Uil33f6R913LdONPtE7GKAUy3TDsrJ/uGZTkw58ynPwua/1gURBPfjO9UpardbKDRaHRYS4Xz
V7vqKin82ZKIbgPX4rmMyTkX8EiZfE+JhTMGWHwrM/KXpqiPdSrYasirknKOCWHdS6SP06DixCfB
r7YIbcItONGDsOGmCeNT+lhQwjpCTikUdkIV2oaRWr35InaPSSpxXMsfAux3i2F8S5+UxAxrDID9
M22WOoELIisEu2h63QUONzjhKcd4mc6Mw6aJ0G5JGchyL0StBmXD/XhL81a1lV2D6cHunnl3H08s
43zwUhGlsEINyk+PQAyxjEp1lHlXoyc2xOTZtsHyTIRxQyRX0rQN6Q0UQicZ7YIzD3+Z4+lYdiYS
k8lXIwTuofZLNAKrAO+K4qqEh9nAcdos+ICKkkpTxXh/pdN9VT4q7WvdP2yvFkcVFm6gF2opnjHK
46QJ0vbZa9s9tUiz8NgrOZvCgg70ZqbUiYlNIfrk+GJ07AuJ81rlLRbjGvS5xHpJeJ8HieT6474T
hQseA5wjyzFlloazKTO1LjBs6Yi1eqzUwUFt+tSJ5tEQ40tEeDBmPA+hMh5iNrQqlygCSY8eA7wU
PSmzgrO+S/dohLHFHa8v9Q9ZiN8uSWVchBKmUjbSejjmHii5nvRCZ30VlAy/iKZF6Nztz+7EY93g
2QfjIcyqTQy0E9IyyzEbbv1yv23mvOhbZbyC4ld+PtPeUa20fVQNX2Q3dXp4PrTkuaABlWz/GrRx
16bDg7flqcaEKkkWY4KJMryn4k0xXmW8vBHn99meGo1U/lhPsJCovNL9c0L+cunYpLA5ziMYUWjb
14VCbNP8ZNxa0TG4hL9ET3GTe4wOO+ael5pZPdCgRpFFTVYBPMEkoxOZlH3Z0OxTe5jFx3R20ZnL
uSx4MpjghqiRWhkK7G4SL/CwsXxshqdt0+OJYPxSJBEZeE8IKBTpPCQ3eXFV8sY0VkUQFa5G1QEC
ylaTAcNZVERBVFQVPsjMDMc0ABYecAd16Gp8io0WcthDZJhqJ0eoI9MW3NBWT5SPUHisDghWvOx5
e93Wk0oLaczBkXOAeJchbtnGVbzoVNmFLf+QvwhfDaAF2qXbYyY//0pR3rNT45oOt0OOs6xsfVkl
PRq1R8TzQXWVGUAKHK4lhZd/pNu/saZsgbnu8lJNKtrgdNLQVtlcRku3pZ2+UwBw8F9IbvFGeV9U
Fu0xV4d4wkgXOnUq9G8q/gXnjzM0RPdlSyPG4FPTx4ki0Ih2hv/vMBG83aF+cfH4J/BJw6zD6LUk
sn1EYeLYWJ3676e4Pi4Y/YyFmDIykybuMCgmZIaV/k+DYqsxxWJPmCt3FIReaiYER37vdNLXFrvf
/Bqnh17jJCdXr4qFIOaW1duYJGmPq6gKf1bN9RzJnOjoLT23tfeMhxh6tU/FDg+MPpYP6RgjTFI8
Q9YxSt4dZBnTzACfehkr7WUaMq8fpnNUaE9mK740Yfw4I66awhqxhhEeKj3cJX5cuuIMvNip2adj
7wG04L6JjCvFFE4I9vZZizdgnk1WojT/HsH/484z/iedh0gYEqQiK2UnTPum4xx9jgGz5emxkVRj
po0fo35RxGPi72YemNhqdP++4WyT+BjOitGJUEGeQDvZIsr3xfss7PZZLnC2fj1wXMhirtK4l6N2
pij+xWRTqqfK9m/IjxRAI76l7iZHRksEr5+YY9Am42qCmoy6nlC8xg4MIBi2C4KYE/7wdolxM5Ov
6ZT+RnWGJHGyTL7gtXSoKpWXpuWuH+Noxigr9TjDy7j93rntQTmFXrTzPfmmccgLCs9Auwl4b2We
fTCeJ6zaRjFLRMV+BT7y4dpvKoyWELcPuEQtvHVkfE/YFBnoddDjOIGoBQlwZzxFgNZBugMjBIpN
9qgN+xyb5KnHeKNeEhNJLNDJ14Z3Od5MNQpTuV1Ij9uRCk81xlGERKhJRGF8+qo+J+p4mjriAj2U
o822sRORSS+SOitFBYxBTjgRN8vrEy47zht6e8EICxdUZ4IOnt9SdaSkc4BD8r2Ws+PQta5BOs6k
3Vp4Z4K6ioKpyAjx2dHfTDXyoFPh8Qc7+Ubrrv6BogMaD+Vzi6rr5OBl4ZgOJticxAq88cv2pskr
t+5SPjsTnMVdipI6JoK6QHpRhfkS5CKGMA3PVPSvklSeJXGy2qDcl2L43MvyaDW+/EOrDRtcl66P
+y0cTJf0qiv2iTV0+h2Y536NqW7LQPmVq/Yol7NjpKI7K2iuKBqePayY3QcF2PdRkOptn9L25Pbc
9j/TYtfGT9uLxFsjxqfLqdAVtQ80ZtGMzmLRH1BffNRnbTfrxUnOq9dtcTyNGHeeNQIo/Aj4+ybB
t4uh2Rtz6qYil8yRrgwTpZiaLsugdiAY82TfSyPAUxItR+jYuKOD7lvHP7RHimASeMphW6UV5H+g
bimmCt5NQ/ncIZaqiazkEYIT+esEyiOkAbxsp9kUVky56zr03fyDzhHYojWd4l39fTjxWn4+e46P
38C4+SbBQVNKFZUZ8bqsvcjguI2VaS1DUjAuK6L9WgJHJrNxY5zWA0YAMGrsdABRSVwyWDSNTQfS
ZV4r3GejpMKAViEDltwQ2RdT0owJKrdY0QhYPLEPeKL4EgjHKX1JRm9791a6QyBLllSJYPcwiM7c
Wp1CiVMbEH5pl/gwYvfq0KoqK7qE18pdcJBf0OwZWvkl8yInA3EN5yn12R9/FM9cYNWstmqnh4Co
nKZTYTZOEdRI0XZWXJrutqorNoJhdOCVEoWomEpntrCdClQ6MoRRkr+bAsMy0oRzf60U7QyJTkaa
gBrBH6zHN0FTE3YmZml7gNFR8uX+UO0yO983ktdag6PYsQsspLZ1tlVboR37IJh19f5ghACAUuDG
jirY0X1M9weuAHQR3/keHPNTb9dPdGpy/JJ5pqPdDbz+ws+O7eMHsK5amPyiplhrZHK17iFQrJrH
1bWSKf4og/HVUZnHta+gD6THOBgNsLCBVMfZVuzgZXrmeTauQMZiRD2DtPKt02VECwU6XXB9a4D3
LQ6FIxz+PUHdR/2oAS8e4qSMCjGIEauKo3+nGbKbjQInJlnfJlVDwyAIDz7l0UxziAuRwmgG4X0u
4umCjrApvt22xpUzDcwdTddEiNGIyOgxJsqIhN0oOT2C7Sq6aANeSt0ORYttOWv780EQ1XaxYDoR
gHJQ9RJgNINv9SEH/3hi+7mVnWl10XR4o3Qrq/dBHnPL9H2qaU0+4yE27mNyiQtX4iKDrMowRQm9
1rpBgMr+Uad+MgF342Px4jO9uaWTgaDxzrT1r/EVqON3bW5znMfKpCcA8t5Fsk2QUxenc9hGAJk8
G7eqV19HrulGt/KXf7qFwgxtXZGjO3DQHO+/MqH7UTTjNiq5aQE8CZ+s1TkmT6IfnVJ7CgH+SYXj
DaScSZkAvxbETpQmP7bNh7PSbF8kUcN2Fs1adko0sIGASQ8Tp/V5Ixyrh2GxuIwP6SYxE8JWAaFm
c9QKuxJ+ZNP9wCMVo0fqY7z3cR2ZIyeXZlX0AxibI+3k+3c979m0MpL7UQBz1IIuq5uWEnYrwOxq
rtr7CqFeg15231Fd5bY6AE8RreMgWX8ELpq1vVM87dhzJ81dMcw456qClhDQpslzxAE1WGnropzN
cIlAc9S1T4+1NsFEiNwV2CcQd9K23HlPPT0t/+Tc4f81hRbC2Ova6OfSnwFri3n8zIqD9oxYguPp
5TXDW8pgjhambqccWR2YxGB+x0vPHv3CFUXjRieV1VWRpQm1rTa5PWSToyfB9zI6AT9inxX9fo4A
C6y095oQ7xqhjey8lb6K8mD7SHq3RQSCXfNKb0pbDCRApI8//v1+Lz+dueiHvNONfDYltIo9DsOz
Ue22f38lvl7uNRsJiumcjKIqS04VSF+zsriTGzQozpXd+vEhFATOQ3zN0SgSwnjkASRiso+xxm+7
JvQR41bTQ6TXIGBTbfTbedtKre73QgoTSUejnJN0HCQUEwVHks3dmKagr/b8mgf5vrp8C0nMFVWO
A3yaiuMYjU6ufOubK13blSr4blWB87hcPSjvotgCVWf6WpUMQKXVm+GBlMBBlOPwcXvh1qJ2UD/9
3p9Pz61yTCZdhz7yV/O6BzTWDGI3YO+42UE7d87gRF8Sfn8uXSXWZS+lMkbelEKT6FWAaYvL7GlP
wP8HBFhvlb8KG+18nrDrAc857bTngMsSuxo4LWUzl5LUdwRQPXRZ7wcXUw87wc5P6q1hUW5105k4
540rj27zIlDLZrkVSBchUDvMnuh2SA2Yd/meQh+CWe6ZV1df6eiDM1/sKHNbhVGbSppQ4Z3+a/bo
9JV/g/4OSr9WnMM9wNWd4HXbiAjnUBjMHSUGqlELPS5II5FPYzK0lhTKD3odf1UCbR8W/a2UY2hc
jg9xCPC1udpVs3LMlHZXdL7nN9lVJybPSgxKQSm6ymf5KGjoqq/JEa7CjYzRNYz8Ug4IxKT5qjC6
yCpV3apJe48S7jk1NWsuwudE8UWrxPx7pVo+LpdM6oHk23lNG7pik7kTRq9rMzxmZfxgxN/Eooys
Karvtldj/TZdbABdrcWGCwNJ5jySJKRLcPEgjqW1bfVKOoJ478TDteN4PoPxfOGAZFeH7honzsTd
1KTuLutPcTM5f6kU4/caJZgHvUMop6imaVUDooTACmbxpfIx3ZcOFyWS76JysoOq8KZRKK1ZyDiJ
KM5dwpbUErDuhYmJbxiLEl15T339WmqcIZK1jB6ODwF8toi0HrIlH3dPk1owxgiIjOu3EaUMdIZ4
+2KCP8DDwLyAz/DUgaaAYqFpXrkTzupg/XsuT3qE37+BOU9tM4m5NoK0vK7Ep6it7nVDvC0j+WF7
U9cvmHcxnwxVQu8PyfDcqvZmDGACzlqu79f77zO2CcSTmoLd0qhpvOiSiWG2cJcHFafuve593sUw
pkkmuRtToK5hBAK4auR+VgEVrnqSqtjGyANDWV8zXaPsESaI0JjbQ6t0sQT1OyLL6baVb7N/X22i
W//++1T+wnkYpEllQa8lxzQvWvIadMfO5zw8113GuwjGwnW0zwqFjMs3SzJ0Ac46POWcY/wwGE7E
BCjWtpWt3/Xv4hhjpnM40hAioUtxxST0s6s7zIuAA3dbDG9jGGMefKUxS1mkBZ/RqsyAzsJtS+Ct
G2POkxaUZhMhWzz1YNkL7sWsBGQuZl7Np21BK+2MMAKZZtyRqsKzhHm+hEEhNj0gqJxMw/UJuuoU
Ts8k4LMf210JLPkhLTwjEuxBri2zi49+8dKSyAlV40YQSlfSwKeiqJwVXtUfaXJNMdG3Bwrvj6Y5
h6bYNKiyOmJBfg4+yAIExW5NpFhFXMacJaAR4KcIcbEE9P+Lc9AUsl/qYis5BiJE3Zv30h1Fo6NJ
5HzHqyTTL98SxhxqqWkCYPlqkkPS0Br0U27qdi7vGnIV+d/z/Nu2bquWulCNOeJF3aHMm6KVwkiP
qXIgPNTl9d8nqqqJEvwU279eBaBHa/0OwTUgjaYXM+HYAef3P/Wtt4MujWGJkCP3CmSCwy/b67N6
bci/v59tWpekIa8lHSm5fHiuO0tqH/36L1VgrEtH4VOJG1ywZnAWRY/03H6PdZN6V4IxqSrTx6Yy
EJeBseZhuEq9+nkoLd0bT/W+dSnAPHAPmn3kyIXDG8jgLSBjYMhOY3Cugzkn/n3dXkn5z3R62d6j
P7goncJtmqL2qXQmV6aWm4IqQT+8fcEUgaK50+3aV9oyKhZ4TAmHKbO0K+mwLXlVORoc6aaGfiQW
FWaai8kXgx6xUfJ1mF/q+CD4HP+7uncLEdQRLnxPnVcwDwywOmRA2uJVmm9KHfRuwOhPfxmAHPw7
hZiLK1bGOc4n5Ja6tvQGQb+k8U+941XFectGdV7opFWSVtVgb3dMbFL8IMlHv3zeVmT94bNYNyYQ
axsS41Rh3WgDMUEaMfaSXXAG0oUXXfMKVOu30W87YB8D+TDoodlDIVVrLHSLWk1+16Y7o+MYA2fh
2Ca7Phf8oBepHPMYyrZKTo3sbi8c3eFP18/7upmMN0rNvEkVhYYuXbETY/Icg1NHKqrM6gbl4nNJ
8XjyGN8E+jhMx0s6mhba17Dcm9NlLG/k4pDyII3Wcx8LzRhPRIpCBWE0DmuWWhRQCckIAYQyUo1B
bBCWeKAN5mHL8vaL/n9h6ITImprk6LsMSGGF4quuFqBF3m3v2GpMu9CL8RCxP/Wq2SNKp03QudcC
1zjc8/EyOI7IpBu50MUIlagCew1ytVrq6PPVOJ0DubFSQDj7/W7iDoPSuHLLEBknYRgo4c8kwxD7
rjzgrtrnp+IQAO0UvZ2cV8FKQyRi3MUSMs5CagsBI3XIc3dH0AC6yV0DRNxMQHl5Bi61k7vDvtrj
CGxv3LZ1IL7+uKIoB3RaIGJFpUo8lkm8T3Tzl6L9+6mQpXIy22mnR744p1S5xniurozuAWyq24ps
uz+8az4qUpfI+UQzTlY1ghM2NexAJCXKKb41qTxgjW1/IYuMv5g7w6wbtAahwGZYSJ/uiOnvTcUb
rtOuu9/Wi2MX8qcCekGmdJATxA/7DpMhGUAGQof8qMCV1+5y23CFA88WVwPa36Yoi4zLCIxIESZ6
zNLMQ+nIKqP2P5nd+9OJWcEGxJNDnOI1M8aPWfZNDnZJ/MBZuHUt3mUwvtY0I01IK6RBgm90YmZ0
VK/EDLBy1YDwbDdeANDgbovkSWTWrQJ2UNpliKILHehFYUyIVWUhJ97jCWFc7TjEUdsnWLohuC8x
F5lwip+832d8bFiHfQEeDdkBFPhrq8oaaJ808pf7zzi7uZzrIgDhlNMn48+u1Z9LWcUsV8rLHq21
6sGr/jYCdlxQlTCiMQ+NBA8uH/95NmcHEYWNCKPf27u/1j33QRaTpaCVMJJRyJOsTBpgAonfmkxz
shocPKW4L2XhR2KkJyGTH1Ox/976480sGc9Nq2HWKs6OpZzZXZ2czFkfkZavW4sEDY9D9A8x6fuC
sH5SL/UhLGly8Dq6QofryXiQr2kzWuYZdylnSdZvl3dhzDHXBz0VFAOl7bgWrb7qbGFIrUEoOOdu
Pfp4F8Oc9EIaZU2cce7C+b4tUVM1dxPq00Q4zuVj08fWnKQcA+YaFnPWp3YY2oKgbNx72RW4CHct
oNBboL4E3NBg/bp5V4858RgIqtSpwnUzg1ayjCbbkFpbavS7NuuPoqr85WoyDqCfZoGUAsTl82gV
s9MLziydpQKNu/lNG4I88sf2weF4HI2JskwSi406QKAZNXZOMPfY8Fho1p/nCz/AOJzGN6PWRJ+m
U6RAPUtc4Uo+UHw3cgBiN5IPxmvgNUeBu3cc3dh2KrEIWiGl3QtG8zVorgG18XdHjEWQI7NcNE2J
Xsuh/CUp+7x8ylUeRLTM04JxGmYhRoMmIEMHVpT6gF5WL32l0F7xmRyBYenqd7TxMjwJtvijAbIi
2dea7du8MtD6oSOSjkZocE+Ayu9jkBfmQRGFI3bxH0CPeT+DG4Z6L3Sz5gLniK86r3dh7IO69KMR
bJwoC5DsXm0by5zddvr37A0IjBdCmDtDxt036QlWNh6fVfDKR89Fwmn+WX00LUQwm1ePZe5LM8Yg
wS9yFMP2VgV3cGYGp7zQrTCP9qHA7X2mv/np4bSQyTh+Tdb0xiBoXPwH6aVBwTfZ+XvZKzzB4TUO
rrr/hTBqvctXYTVLiJELrOGhPeTX0W4+hsCLCDmB0Wpr5HKvGJff1G071wbNfKDtTQekQrXTvsTX
mS1ddabVu5o37cvYiTHCo3NKLTwVmSsgC3zSmdKb4VOyNuNAueiB0b/7D554sZKM6zdBwitPNIlZ
9WdVuU7k5C/PFOPqez9NQp1Si5vqYE9hfGy0Bu/2+cu2Hqs35kIPxk8EeSYYaobl6uRDMXrEcAL9
MLRu3fGKedtOArWpj7YnF7UWJwUk5eZrlLyK6CwJooGzatvqKOzrWTNHfxDQ0+XEvWn5062fdhYx
HsvpknQ/t1eOpw/jLOZ6CLWKNiJF8aHqL4Z/EQaOka0nwX7vDqgWmTVL0jyNuxzBv1eiw9I45p7v
iDfmZXZTF1cwR95qZmAhjnEPfSYOQzjiQTP3oYPmrl2eC44K4j5f0B+3V2+9e2whiy7vwhXVkapi
MpLmOdzJbR8i61DYzQBa1/LpSkVLrFpaplPtOVK3vS1IHT9KDczO9+uQzltc4odkX10E2/wmHc1j
hhEv+W5bGs9CqLEuVJxnSrYnouAv0XfueS52Y8TZMZ4IxkuIfexTKBR4CRynUXgR1bueV3Rcfwgt
torxEX44VMIETAA06zhgvEE7S2YrswV2Ok8+lzveUBondkFD2sd1k8NW6oUeniI++McKQZPpZmea
9Y2Pf2sQb9+y2KMOo4CmPKPRpHGBXopJFZIDQQQzrmjQUb7wiGk4B+xtpZfSwiKuMxW3RlndquJ3
MXzqlReTBx2yLgVhn24A80WUmaMVtaQdyhA6GcLgpiV56KTMIX52ApwCx/7+sFfvspgDVU16IY8J
EmDxAXUuzF1EIPYBl4QjYPLhvxynd1HMcWokMe5i+rgTpvs4vc2VW1l+3BaxGr3j+fj/V445TkED
Fvt5wHEqtN4bQh8wxQrPBa0eWdBlE8UQdUx/Mj5dytJeGFXEYIJSXEuB7pQZmGoqvTmju+dS9MW1
Kca2Bp5FEH47egHasKT5FjeNW5XNVWC2/6XVavE9jNNX/TRMQlryHbQbM3Xnwc0IJx6ky/Ypxl2I
YAxSzEsNmM8QoY1fY+HLHPmWeBOJ58grubyR695qIYyxyKQNJdTW0WtDcZbfmlgd+UDBgmuMWfDm
MHmbydikBJCtclIR6ErKzzry5P4065z9WbXJhT6MTWpRnBM5RhcP2ibU6S4M7rdtfj3IWAhg3LuZ
VUY+gnUBQQZFHu4uRLCSNwLHwC6ug9ASOCH6tkaf8ApykqVGOCLX5UfpKalDF8MlD9tKbe/LJ7yC
TkqNfhCQcwomwPKrFhxhbPKgeVfHsEAN+n9HmbCVlGQaOlml8yjTESUNcIe2oJhpUGzoOE6Dpw7j
MwY178t2hg0EGEARkhd/uvJrnjqr18ZCG8YR5IBj78vpjd4qsDDbtguRHumMqwRkA9u7Qy3qz/6A
sFWTUBUBHTDDnhEE2qYW2Uiln5tQPPjCACwltXiMRfKTSAovPcPdMcY51D0MI62xYzlGdqSwOHZq
uU9FE8S2grk3jeQYzzNSeQOQzHkJZd76Mr7CKHzENDMuf7mbMI/4tapbLzYAX9TwEC85R5qIjM+I
aiEtkt6gLUTDr8ktPTQHCBi8Lw6o3FthYPNeDjwDZXxIYgC4X9SRV9b1a930/Owspe620fCUYsPC
WJgKOY1wpsnOONLinqhY8newGKOtT7qZr3m1Pc5NQtjYsAi0IMxavPDEW3IULPESHM1v86/CEU//
w9OEYx5sbJiYZk0ahL6OHlrG7eyMDwmmBEcAY13Rri9Ev7fzRXB4DYzrQx/vx/5t2RcxaRSPSp8O
IuRarRPtKc5cYn/pnBiJoR8Or87BXVTGyzQ6eDyqGfmu8XsPcdWu3cvXNN7+X0DtOGb5VjFe6KYJ
UZTMBl4uWXGjT9/7yLQlgxeXclVinIrQmiNwsCfEGk/GDnCOe4zp2KCrPpMznf/dPgbrGebFfjFu
RMsHFZEwjoFy3aSWggw9Xs6aIzz6++Yb8EOQqo9sDHI8GVZ5R/b3ArCNrnlpo+2IDlgpH59okapk
fanhaSsGlSXEg2WSr4p5X2PCoR3BU8NBRFt/ZiyUZvwL0QU9UVVqNUCIkF0wq4k2AYKY5NbgI+Ys
Mcdq3oZ6F1YD/grMC9FXmgHMnrHxXTgCSxt4mUpq6Ru3oMwktJEMyyIw6cCf1bU9xfVBankTm3+4
71Q8YnUAhiCO+rhPadCjSbBAMCwe6VnzMZo7eaBd/G899EDp+v+CmGxYkFRZbwjAHBJ71C6LeS83
3W7b8te35V0EEwRhQIwIE0bG8WDyyvlVGJ2Axxe13kKyUIPxTnpf5mE7ItCiiWv0IVqRKwTwh9kL
HT2Y9sZV5XJZOP/gQN41o5ovDC4JUjH2I0QlyrV2TPbzHvOMrn8N47b5Dp+3jIy3UjUdRaoMJpHl
p3w+T+Wl0zjvvfUa4mIZGR8ltBilA2ATHVyUPPESuS3QGpGJ1zyCvmXDRbxsRdf+FW/inacb45b8
UAUXs4EwZMwiMLZM2Xd10K/6SLe3TfEP58owJVVXcURZNhofjF9jIEyyA5q/g9aTXV2Enqga15Es
gGcHyzr6jyQqzkNY3W7LXtfxt2iWoKYSBTFUcswISnFsAyLU8tvBUseHbSnrzuldCuM4akICtDbh
sM3B4LZ9jikvHmUDbxEV1mc0Q1KElBckMq8AMzh3rpw9qULiJv53P3qIqx8dD27+D9HOu16MEylw
0oBmBOsviZtcDTtU2y4TwCibyNKPLUZETG63C2/DGJ8Smk0yiCne17laP8sScqejdO1Lobe9Yzwx
9P8LJ1JMlVrmDaJVbbrkkuUPR1XmeWC665+vrPfVY3xHkBdxlotYPakpYqcbRC8Uq0PpF0eSxodm
egTv5SEg+hc/JbdqBzQEA6BY0tzfzWF6ClGQtkJf8ATYsGXqkeXHxWyLJTKvavdjrit0ZJs3cilb
ZWaehtZ04rTR7DGeI7cc9afBjDVQsE9XoYCq29jGVpenNwQxsqZktwIRr4k0fxXD3uqmcj83j1NP
vDGokU2LntGWYelRmFi5Ge2GOXDkzL9O9XwfjdrL9lasXyOarKhohTZFla11zWQG/4iAvTDSYScF
iTtN+V5rxV85qKNJ4Htp2ZxqsXd8ITlGU3WO/c5NSXUTzoKlmdGe8z2rp3nxPcxpzjtNQcYF3zNf
9xSRyQtuq900WGhYfNK8xDMCi4fSvWqOC5HM4QauOSaJKPN7nk52odRfRt9/aExeQ9MfIsN3k2Su
GqI1XVB3MMn4EO2zY+h8167RUG0DzvO/DD+q75KYyyXp8sJvaDlnrva9sQ9K8Lel+2LkZMf+EA28
y2FiXUWL9S4NkB2pHToCXno9JmOIZe5yF8k43nuC54UJU22pjCgW6wB3NdnNTmjPp3Kv74Dus+Ox
cq8a4fv6sbD9aaobhpDQQxFd/PxcR/8esx8dIgsBjMmBKAugyQYdF01aR9OS0+C/tgDo5hwmekVs
OEGWaghRqKkoIRaM0qSaXuoUNnAg3lAZaJtx8botb/UgLbRirg8FxIExoTdWLXiS7CrmzaBy4jXq
trc0Yq6OdCxkaTbBrRkKHvoukypHaf4uGnkZMJ4qzPVRpug/1GkqGwNYmg5I1/wlJ/8pXf779LwB
TiyuwWjW/u9lSnInktH3+9+Sl+8CGDcg1CBmlwaEfhTypNn1+wGgI/wBDt5pYbxADCpvVepoCm+u
vVIprwajOWxb1h/C9N+qsOOYA8Yxo2GGR6O9R+A98cIHWsQLjuIX8Xq2QdpVW7ElHLSaFz/To7hh
ceygZutPpp8bePtORfLUS+O5iCNIGobYKnzdCvzutp7Kl1yZTr45PelitYvygnMtcsyR5R6Sqlno
VdoNZUpned4J7bdU5SQuOCdLZcJNDKM2U98gjCZ15EagUU6Aughg0Fbg6MIxF5Z+aBKqJo4DWGUh
H4l+Nv82WGf5hsS6qrRphI+gU5vonNiRQ3ag3YS8aXx6YX8yjd+BA3Cf8P/FAZ7JZAShgVRPCTJ7
pX7OpqtuOhsGMMg5F/rq/i8kMSeZGFPdGQ1q121p1cOvrL1ted5odf8XIphTjHRuasR0HF9Q7qTy
QJo9CZ7qgfMk3Jaism1Cqdh0LSAqMQUIHD7wEyeOfwVETIvjLlZt7LcyKjtfQ/qIpD0dBO2ONDmS
e9FRsKMzxfGv7RpXn+psS6Sr82dTUNk6ESBEjaKRYApv7YqYlaNlXBwizrNmPeJaKMbeSwAZ8zUT
kcnwxvna2M1jD7IVGgbFt7wpQ94qMvZda1Kp6xpcn1Dv4z6wzPLb9qqtF0oW6jB2rbaiVIHaFYHW
JfvWXaVAX5UCCxfh4NAqeHBP7rYlbh8klcXvjfUxb+sCdxXljlEqwx2r1M5D39sWw9unt1B24RqG
ieRaYSIxOx3TB+LO+xZ5Mu2FjhnyZwl4y8iWf9IxA0AC4E5gFZL31kjwxX8YvHA/7iKgffEgTDl2
8ab8QrmgUP1S8hHn6cYuxej9xIFAWu+4ezcLttBTmb3UyxR8gbY6Za5/7K+BQ/kD/qK2jOvA9k+l
ndoyF/+Jpxj9/0IxvTYVWaQ51faleKLEP+MpsdOneTfbs5s56SOvpMUxR7bqUxUFEGJr2ncndF7m
F56e+IcyKzh3O08vxmuQrgh1gVqjKiCXcPbH79vmzlODcRSaKWC2LMXdMaKs2oVWkXmC/+PvZDCu
YvT7VqhHanS5aKtyc9OLk9vn3KYnzg31NhC2sIF2nDDgT3Wp3AkT3LtuJ1yZNigevPJZ2VFMC3JC
EoKH+MA7w2wpp8wxZ1iaOMO9J/6anWyf34fOFKN30b82PPBZcO8Szq6xVZ2ciFGYz7hLGlDiDRfA
iduNJ8eWdEvRr6e9Cv4ioHf81Ta+4ZwvlncUcilsZR1qmgel8/T8FNT32yI41v4GfrYQURmzEEcU
QS32iS227beoJg/bItaXzpRlBSDYuqwwwXKGZjApoRPWupo5hircm8loqYPPcYQ8MVTThSYZRuNT
vOBhi8ouHX4IxU4POMdqfbHeNaGfsBAh+AlgVEC94ISVeeXHSmjJ8sDZEJ4ajPsZetHo+8JHT1Bz
zkG8Kf9MYs48zB+ujHc9GBdkJjPgUgwYM9kJ39NDdKcD9NJw4skaj8pRQNe0eYg8Hg7lurN4l8o4
JVlNUl0caIQkHLsC7Tj6qwZmEYk3LMDbJSY4100FLEA98kVdmVm6tA+iv1w/Nremojt3lAzsEU0V
ETs7xvfNJUGDcXUwPNESbuJjapfO9jFaT4lqv9ePTbTN02yGmUqtb6ysRBTPygT6oSyxxbgHbnLj
v8SjaBXT+KNI1YNf64HN+YLV5/3iC+j/F/avGULQicj+Oq2npja98wXXOM8T6KvBCs7tieAYDJuR
GxuR+OB8R0Nh05+AeO6JVeFiIq20hiDgzbFQm//8KHlfXWpVC92aXFPCcECl29Rexf9H2nUt140r
2y9iFTOJV8adlCV75BfW2DNmzplffxc091gUhLNR4/OsKvUG0d3ouFaeOYk0O2r8Y95+oLwpSLkE
Ns4iSvZbvBbAvwMcUxtUw08yevL6W4tGu7ti/Mhi1XaZVkiyquxRX8J5oOQDIlPjb3zvpDCepN56
rYo2dC3T1eku1I0Yj9q5eALKT7iiL5x7RSifV28JxR3v/xIFvF8Z41DMItnkrkGUYwJkFMoY3aPO
ZKoIQhe/9uZDZ/m94JER+BYWSQ3A4fJGKuTKhYrivaIGfWGF163ssyKC1lUB2qhimoRgN/KjIpb9
oG9EAu+FAnznTkdcsfiLrQXyNOHdmQTSPqsilWYAuNLUQYDBTpKMo0Y62gv3RnKfF16uYRDV8q+f
6PNH+yiDcRtSnxJTUihJ5Jq7sV099Hku6K6IRDAxBpG1qMxacKU10rOaowmoigDi+Nfy/qGYa0mM
QoOqYYk0Sr9qjZdLGOeLTmt6Rp9e5GdFl0L/vvNF2lBHRB8jGmz2X2QUcEHdipVjCe0i+Qdde4we
ldfrd/S5JkPvCARLmglV+DT5kA1bHWtUZGH93S2RP5EnFaPI6XCQqtcFuOlCB/XZu3+QyA48FEU1
lskKgkDJ+G5ZCqgcoYT64PRLIQijqR/46No/SmLapF21kAIjwqAZG8FjDd77TP5hZMcOzqo4WpKo
k8S/vV+fkp1/AFpBXIKhWfOM8rWdb0h2Au789dsSiWDU3daTWSomENds4ylJ7+rhoIyC5pFIBKPv
xQwuUd0adU/R3XXC5orkKqoheAg5cxsfr4bR9Hkq7G3McTV0qwP8Lk6sBpv9bPlroLlTKB8MNK2E
E8C093lNIZi30Zw74AmllPdHfy2xfuTPhn2cyOy3adE5yC1ddV6dFksgjtxsgvI0p9yFM6vgsyHw
Jqg1UU+zs+7OzFVpnVFyn4ItoDvUVubqzysqUGAMeZ1EbzTXNe7EMa9kipkpMrSo4ukYPI4ek+V3
FGX3/5lwm4CPtS8TkPjV+dHQNQfzotbci1wi1z/9kvJp9GIl9mxmvaV7Nz3IUgsgkdF55umkH+MH
LEe6i6/58iH2MPKf//vC0/7CEGF/vLDUzEdrSEF8lc0BAfqjfSnKx98w6N3xmCdy6patnis8kbn+
PCyXJfq6jLXI2LhP2E4I4zXMWKu2YWp0pH3RCbSEL9XgJEH0bGYO6R0g5rvYDPKam7o65o1//YAC
rf/UZYgXPZqjCvH1FBh/UCS5yYkv1oMCiYkvIvvk+5XdURm/0kmb0Us1WHw7YIwfKTqNeqy+Gj5F
DI4c/Tx+F4Ifcd+znUjGqZSYrFuMBqze2dEIgBlGgviEiaA3zpw+wE6tlwbzWdTsvG7dhsw4k1lr
yCxRZ6KgRLTdGIsg4OXMPH1UfsZ9GDXGSGobGM+juwWUZq4Gi17mITQIe+8NzuL137dSPopkPEpn
WUCtiqGncX4opHOcC15PToMcAjRCTADeyCaWaT8atLUV1qxmBPRNd+uXBuYwoOMvuZY7+LIXHayH
1Sv81Putc+3EMp9y0OvexlAd/Ih96JaLNgs8Mde+kTDIcLO6brF9NU3pU9lMsSCcbbcteWzWp3QY
vaq9VYtC8AlFohhlXwfNHJQBapf2o5smP5fxSxrdRNKfrWiPlVOswmXtTsVcVivJWjeSlJK3aoGS
OFuPuZzByW5lrwsB/edj7QnDDJtg4ER0QuaygACpDoCWgrNMj0p9IsahzTeE/M+q/O+xAD+ekNF3
pVmSqpmQg22Z7KTdC8CoPcX+ct0Bcx3F+2dkm2x6vbUItkDti7KlJ0WL22318boIDi0aPQgQxhXs
plHKqo92Jc8g8VnK6T/RXOWh0Ju3TneQ7xZf9daA0gfV8IINsByBBS3aw3+bz/4U2O1+ABu06gDZ
TnoUzA0HTDepo3nbOTqpofGH6o4hlgvc4qydKj/xq5tb+U4BVaYSqoA7KL7FQecJAXPos33t9zDP
UDK2VWlW4Oik0xXpYf6bLvHEzxmm5eezSBr9Z9eEMTYJqsxGQlireaV8h5t2hgVUhViSvX7JIimM
OYL5Lq2LVMfuleTX1QZanZDUL9dl0F/66SSGrFqWhmEhcDZ/1KOCSH3c1Qgp0ezO9Zs1+2mnpWuJ
mF04FVXoq4n5fQMYLCDDZa5n3cZpBg42zQNidylqT88uSecY42HsDq1+mOZQXXrHTp6vn49rizu5
zE2p0TpIWiLrXrSFa42JalGoxxeAzWUF31AnbE/YrHpj0yZErGZRuOMi+9WQC9qknIU1+vHeZTC2
tuV9oukpxvzrKg7SfHkcBjWc2+K+r7EJMmi+NLWXdRhe5yhuHKkyXzJJOetx4ecZZs/WOhhMwx9M
gJfpi6OCqKhqCqcskmADyO+wGqEx2KIpP35gaFq6YaHcoakskca6dnIsSxuc0cn4g5ZWAD9dfDef
wIXlyV4ZVOEoSh/4IdROJhPcx02b5+CIoe0WBSFUC3p7Pw2tB/lIHuio1XiQzqJ6Dj/e3gllfDEo
IgGBPr/RA+snStGdh8vj4urBEJqPwuCX6xV20hhlaOfOIjpKZOC3mjwjdRBOwfmcq8Q1nya80Bhd
esy/mqIhBA7TM1XC9+tkLFi2ki2uZ8ilnRiKJj4BeJsyvMf+cK7Aq0Bx0Ap3e82AWl0CvURYS+Ca
miXbmHaARplsRXitzWpNavyC2Hb7n91xvkE6JR+x+vpHfpkvhiufRW1hbi78LpKd7yS5scyzhKul
WOPaIQ+1sD/KB5EY7p1aoJ15Y3SQ36LoXZ0iVceCJDJ9T/JDbd0P0n0qIibhBlk7EUyQJWfVJJem
jqAkupMSrEuEmfZNLcHPjeGV6z6X0y2AquxkMVHWqlrGIgNzA5iNFaDM6TZei0EFmvTSfTyRYgi+
HjuisCZgCEiiBRFydKtFZ6O+LTJBiCo6EjuUsJXG3IHsR0NorARIPEGusAAPEom8hh1DIB6JGlf8
AAvUnbKi6KYJnJuPL3NbWL2ib5Coh+mj6qfwKiVx7BMliDUwe6QcyrCDCVpvwCzjV3Ko0QOK/M6T
Tl0Y+f8eORWXuvs9jN8x0oRUUQId1dvbOvMNEUoL19R2/5/xL9GcT/IWoXgGmsKTWrVPag7WwHIJ
CWUKLKNjMReuZosmJDnbGx/PxUQIsanKkWG3MIyj/GXENPp0sk7Nw2+q6e6ATDjXt8tQ1hXNGZez
nH7Z8oM0PQgsj1rxp3BuJ4Ox8mUAwGcyZbq3RGNQVBhIU9VbKbX/NIiNdsp0nOf0CMACvwf4nju1
GEBu0GGWuqOqTs+dkp6zdggwOHVDOhFpCN+Gdj+OcQsmiEcTK8GXlucmc6asPRet/F3upTsjV8O8
nf0orfyssP1JrZzEWr62dQdk4FiECC66cxape2j1fNZKVNz10AjmG6w8zUF32wkXdrhO9/3EbMvP
Qoo0xhpNSrLjNituPCJXSFVs7oF94+/rdy+SxYQ+dTaqlRwNyMOm2NXK1rXK0O4Sd9BqpzQ777o0
bt6wOxnjneyYxPOawhtk2hak47fRHjCHi1stBcEvBwn1g32ajN8pB1tKa5kW1R+2OwyxgO6ougOU
uGe58g+4X8QanYNkXghQKnBIJuOQmgwcEoMKMhNaZexDE+jNIBE9iID8+anR7lMyDmhaY1PDpiZm
f0Prj/wASrez6Siu/IwjuddvjV/hsXWwP+JhQeubSfeWqDBbdZSBXl5jPX/xSO7WLyUm3rG9SyuM
46UNACsemL5AMP1Ynx3Tu2BGO2dCmrWVYQnZrB5QD7kzmzyoGj2cs+FnlW8v42a6g169JEnuYbHN
lczu1HQUXx1rNFl1vP57+Or7/nMY9S3Hul2UEWmhYR7G4r4a/7KHQyb9dV0KZ2aD6u67GEZ3VdKC
U6qEx6MY0rpPvidP6U3yZPmLC2fgwhuQo+XRVzvxRTUK+r+vfXFGfeNNV9cYagBiQiDgAEw7E+Wl
3DvFAr/8RkJmG8yDFuld1thvxeOpcxPFuhQTxsntWFBr5R5kJ4Z507ZC1rfehh3OWqBhLrMQ/H/+
MUCuiU4JuFxYsMcp7oZZUqALGzm06b3S3hLl6XcUgbzLYGx8A/xnr5kocdo3+S1d/MjuKf6ScTvE
zhhQki7MGnhxkITJyXy8Lpyr6zvZzDXlgONWV3nVvMXsHV1Go1U6JvroVJnAVYs+JHNRld0Vlkob
JJqh305q59UEZT89EwU53J7y7kBMHFEOpF6lEn0SumySntPTP/u23Y3QNVM38MmG3iWxgxNZC+S6
OEtozrt4NLMHVk8OjDo6dz+E2d+KIM3gq/ovNdEY96xGQxblMTKZPrpXF8yR65l3XRn4QdjuSIwj
btt8avV+RJigOJio9EHYil0Cx+jw5AA1AKmM6NHh658NEmBZQf2Pheuc9akrJgPzLqqpn3QNi04G
ZOoNpjiLSlSm4BdjyLs0+ol3qTQZ66pZJ7ymS0ATNZS4FJCwo1tyUfzk1IsGVPmF+J08xs3C+feS
jvkN2v40jrQ2krj1Lb7tAcAYbtcAj1k70XLX7+e+oBrFBBux0WRjI8wW65ct6THCVlSlqyfmS1/3
d3O5Cat5vPByL4jRG0AsbApJ0HCwbxqUnoajCTaGFg3K9X46/KgvmrvcNi+iZQCeS9lLZd7pWClh
fVmH5KywnQoDuH31bOYChyISwqiM0vVxrWfwJ0QFFjOIZxGyu4MQ5UwkhtGUvm0xwZnBDsz63E2p
03a+Fgl8Pc+B7L8X8860KSlnA9v1oEi+aaag+vcs8AT0Nu/qxrwlYKkgDWZ1sHaCQhVGoAuE/KNw
Kk90CuYhwe6qZK3gh/cq64dlGqdl0AWTQXxtNjAcREwM4r0VX3ZeIlkju1NG6iXQCixapxgcLT7m
WbBJgkiTW5I2Zdu0Ube0NJOdQVo7SbVt0HMijUgPqZ8E40sZyvdaSCNA/Zycips5dq57eb6qvctk
PuCExhzwY3A8u36SkjsifZWEA2UiGcwrXJBCq6cSprmqslur3zQbIOPVb8Rm7x/PYmFgED63gKGF
zSyJX6JdELfelqTub3wt5EIq2jdIi9hEb5jjsjIafK2ie+jng6Q8JKItdq6+7UQwdomFpshslk1H
NWMLSs2enMI0gsiO/Umr/WoCC9f1M3FNaCeQMdTaMtKBzhV6i7I6cnS07ef/TQCjYlupjQVmjFAO
3LJTmkthOYmGOHiBA+Zjf90Lo2F6DmaeCP7Y0+MbIDO5WPl15ugop1lw/SxvIT4b5+0kWTTi3LkD
K621EqD5umc9SWcgn5zqU+x35ySgsDFr7cy3mYeRYG/9wwyyE/HqgxoCBfYkQikW3BpLsFRr86Tl
EU5cDHBGl7IRjBhxbfb9i1rMI75qalOTFRF6V9+UMgV1PtSKCKCU3vy1j8m82RPIEPXWhs1qy9cG
ZF7Wt6z4aqR32fAodSICZ4GOWPSL7m4umc10ISPe7m6+XY3V2cafVvJ3F4kQLUU3wzzeVgp4eYU+
fKPUOFPShPOYCy6HG7rutZBxEpu6zUtDkOj+M6FLO2vdeQxoXQYTZ4J3ia8KlKfetpH4squCmVWN
Rh7D6aXSbSad6/Vsi0BxRCKYu9ETvVKGEudJNusm3TQ3GTY0Soqn69bLV4H3kzBXE2Ms1kL/GiAk
6SVdjgSxr22GpfLyv4lhbsfclKpATwu2mb5Y7alXVEee7uUm/B0xNibmbLg3bDh+VOg+LUEDvGio
TE2muw6BvWbeVv3dGIJUkzuZZyrvghhfUEjqZm/2W2vTPK2Pg9cdNQ/Yt4F6zGtnQV8J1U6nCkW9
zrca42f/8C6Y8Q+6CahTQhlk1HAL2gNm2bBL37rDIcVQIE5L09HVM4CHkZxoTUSUZNNn45p8Ri01
OS+x8wPNp/BDIzDn06MaFKffSl1235dRy6rsVC2OcMy4zJwmr73Jnh193QTBC98xvX9NRi1BLFNj
YQTav4yrm0zWoas0gUpy2yV7VWGCCWubhqSa3yrhA5gMM4/4lBMsE34z7tOhqmiE25pqIadllD9T
6tRuUZ7GNrabLUHRfSfj320KK7idgfRx3dS4n+5dGvvqb0DS6kiNLpCanmLtUk2C4JVbazF3Alhb
BvRpJVFNn09boKGHUOrO+Joe6V6RIjniPT2ux1WJJuuWLWvATfz4/Sp16lH5N4AhXDYPU6w+LKT3
rTkTuEKuBe3EMDpnjukgxTPCJbVFwzAubysg51Qqtka76JhiXzQfFkda5MP1++KnUju5jB5OjSRn
ywY9rC7tnyBcezFqz7yAvJai2ujnynTVDG5DVAYUfVUm1JXHpc1aMmueBaaDGlsryd9WJ1h05sqA
zutgtNEx2s44RZDIGRFFB/CmNDolzYLVmOYCyYLlPb4p7+Qwzq/Up1ErU1Q0syPGos8DsNfICcDx
QhgH7qu8E8SooraQWir7VUPVz3AG5Dpp7ujNcZBEDXyuFe8EMcqY1FtiJ1i3AwZVeqy1+rmvShFz
PVWsT0/GTgajeFpvT+U2Ii7P7LtECsmoo606OXqHOav6dxy6hkqeaskKkVkooKhYKyS8Karb+oOt
Jo4mYiPjH+aXgDcV2YXMBonNWu4xnjyNbbDYIPVJxnvbBO6VituqNBGkND+ufT/RWwN0J3CJU7Um
Bcy29Wcfew0BuW3OvYeUEZRxIiQlbs/N1E0dlVedYAqJUbwkJYo9K/DqhoOBgpvVN92scoxz5sFR
mJ5xsoP4tcaGSHuQvxOBfXHNWCcEVQQVtDVvL8LuqDLZENZtiubliX4YFv0olzkGMfVA4AlpcPZJ
IXdyGDPOJate7Appz+DJbvJKaddKt/0hBxXmQR2RA+S2jU0U3AzTIBbdl/74rkhTlmdb+bYY0H8p
flDAzu6MWd4XoPujk6k6PV3RdUXcclxNpXDqmCZTZJsd+MtLMys6c9I8wCE8K7l6a+nqeRh7hKUT
5is3El7/rFxX8i6PnfYDefLSdUYPeVVzLFTprG+V6OaoI/90czsZzKecF5LnRIUM9F+aI+ozg4NR
eSef/r//Ensi++Pq5E4iE+gbcltqGsXBBEF8Vh2SAlhLgmSSH+nsZDDPV1xh6ntesQ2g3W2BESgH
uuKjAZ9K9jJKsynwkW9YOde+IqP/gwTM4gqVVTTWu6PpFoHlYCL6bRw1SRxyS17It+p2CslxBaoe
jbdiTwQrK9IWxtGgN5iahVGgb5yCw/ZhnX5e10aB9hvMw2bLulLkkgkQLvtQjT9Lq3Ln+SkqHnp1
Fmil6Cj0p+zdlqytZlshUO2XQ20euuL79aPQn3rtupgIKp6GcZVnuKu+2PzUcuS098exCm1NNAEu
UnYmgxi6diwXSlHerLdS46UAWWh0QZ9bcBp2eiwtMgxESJisWNKLhLo0qdwiulQidhP+u/luVGxv
LxlHScL8HjBg3rBv2hDA97fpEUQ/YeSKlrAEH85kvUTbaXE9QpvVxcPcoJlgyfjhuhZwRYBKXbUN
7GKrn6actxLbjSVcn4p1mXx5ViZAudu2d10Kd+/A3IlhlC2a4sKsbLRE/+EDL1BMxbRY7ylumnq0
xR35/SgwIG4b2DQ109QN8B+hzf3RgrRK19actoGB83S3ed1ddP9DvUvAFlNfiC+91McpnM/qrXKv
fxNVjf/Lid+FU4Xdma9tDtI0E6R9JuAqkReF24GgllId4nvDHeAERZDn3ATQxJss4x4N/OePAmd9
yIx6WnWPxGCbKzIfDa5DrJkOzC9MqjHQQYNd/xb0CEahf4llvH5ZzNNQ6oAeSbbEG5FzloXuX9ce
rtPFPqeGEBIwLeyAHCLjcjArON0qfZHi70RFZrR+U8fzKKzccDcqzJ0sxuSICbaJctaBXoFZvPig
u22Y3KFCnnj6sQrAhjI7lA6Rxld50Dyoip/mrmhMjGuUux/BXGW6Wpg/p5FkW66vHSH3pl0+zLUq
sH3uC7MTw1zd1PY6WBngyzC3EyYDMHaaTNDTpXb96ZHZiWBMcIX/mleE5l6WNe6YPOjaLSmebEBO
1LVD0i/XFYX7COykMTY3bVmH8TpIwzsznKP6QcX9ARTpuhRuYGXZlgYjs9BCZsv0ymaqsd2gcZgk
2X22ZHdrNmNLT7/I7epMXXTQC/Wpy9Mv5jY+RX1rYkpCdeVZe7n+Q3j3t/8dzP1hG17KZOrftrRy
NL10lu7P6xJ4PmUvgbk+uy2jnGQgGwDeswPmYG/T/xiKHADWgZGkzgb0U9FDLhLJ3GFTl0M+9CVS
xXVxZkvyy4y82lp6nFviJo32OM7tba4LYfO4comuaoqhgkmXLXMOVqTOSAGgqcf4UAXTQQnbo3r4
9+jcRMVSp4XiBwRhB++jl5YRPKRRgaS+6k56qwMF8Nsggj/lthH2QhjFkApSL0UGw24Kd3ql6z7l
t9oFWvKCpTDyMP6B4UZMuM5nYQOD9xX3khmFmdJ5RiUUkvVw9bt7CivQnNsbc3ax/oABPdWRXqcX
xP1n+buIyYRrlzaxQK1uobJhslUaLa/MxJTR/i6O7bn3GzQShq/zvY4p6hbE56IMnOdtduLYmk1V
qUkmW0C8GE3zMFnb6zhUbpIpDz1pjtftkBt27mUxGWq5GZFcRghv/4mfjMNysPzWI2HhF3+LMjmu
NIJUxlZNuDmNLddkaxXN8ZpQzIHVBzaqp5VYqxrfcLbtWxGcLc+N7aUxFp80SjOiC47ek32fSzeZ
aM+Z6hz7Bu3/P5NINVNitlGMXLvd/Fr72qf+0gsqxdwS7l4GE9/2VrNhGQ0YBtmxvq2C6Kg9UBuD
Pgj6Fzyl2wuiBrgLKxPLnM2hxgIvOGPcfGschdxm5L4Bh851lePfCrDQbNNU4K8YR6XbUlKDnBLB
QXPOl1O2CoKP/6Jk7wIYJ6XVihqT5W0tuLjXDpIfHf6DuR//BlsZwR6nAmgQjJbJMlssyy3EdNmI
+urS9qFCmhtSbl9LYzhc/2jcqH8vhwkfB13fZGwIYp7wW3UE63iYfuu+yn/VqaP4dZB6ZgnwTsFN
cSuBe6HMVSl2py6dCaH2S3ak1dzELR+2Q3eWXvLLBOSJ6e84+J1Zhb1Q5vqaNJZ1wLngnw/jQc4s
B6tbQZlkvuCL8iJIwDNixNGg7ohNUOUZiE0FnYlQsT0en7eD+YxFbic+0TGgGS1pLK2/JDfDq4ix
g2sAO8GMSUuDvOkF7crI0Rel/GstFff60bh+SVU0U0W4gQyVeSuNqqgLFJCQIa53ZvWnkR/kUTBQ
IBLBuNYKGbldSAhqZOsr2o/OVpyHQrQVy12WQung10EYBwvYxFXpalhyjqmzSH3Nt9QdVfRirGL2
JADjoNoZKLKEkbTx1EzV0/XvyL2onXjmoozRMocI0bWXNjLGZvrXuCOv/5sIxus23ZjWs4ynvpzt
gIyxXzaKd10E3x++H4Mw826IJoolkkwM7w2PVfRA1tPQH1sDlAlYv3xIRgxgRBVWeULdDK+L5prY
TjITXCitqa56uyLd7DoPbI7y8kcsnYbqoGG5r18EB+VfFyh132BHDLZOIW/gDgKWM0BqolfLDCpF
kHLSu/j03Kvv/5/K372Qdl+3dkNQ0ZoCimuVh3Qs4neYrPCi7MQw1rtWajNkZomeQSf7HfglpIX4
1+9F9KUY60UjMh7XCvGsQcKhPw+i7e7/onI2umKYNlNgwh8/VZ1obdfYMFw63CY5OZYyKKxZexxC
hOhff+c078KYp7GRJrvSBhq5rOaNbm+HqtIELyH/g72LYB7Ctc4s4AGg49Ei45kfMqURCOC/75qC
ChGd5lBtxhGkldVaYLj8p46J6RF0ORIPbTdsH0WOea5CUbzH9eDvAlmvoGA1SEL/CyWN1R8Bulsb
/tZ+u34z3JhyJ4NRA9Il6IBtuJmijkK9US9RedcU39v6dwagAQyryG8VWZNdTsw3i8gDxYNS0RCa
+5tCtO1GX5pPtg+8AYz8oT0ps2uDhTEbehnhJFqHwSvDcposciL5UbVu+0FgndybgdVYNjDtAKfH
KFsh1W2M5Xm0lSWAkBi137eJbzciCjT+67qTw/izZi3yrBmQHq0nJWiAHPmjR8OccjKK8j6u+ewk
0RPvPOdGdKkCWjVcmtpdzGo+tkQRfDSRCMalLTJ2Sq0ZfYAtaQ5SIV2GRNSg5i6nk90xmHCkzchq
R6AHfMuV069yOFzQ0j2rf+VY9IhD1FyO5SuW6sSriVz1A7atbaJIjTI8I1klSTbOPYYq9JvmQp5i
MLeCIeAZebS3+fGRwg+pb3A81+2X75V2cpkIqNhSFWhnmHDo/cVTkbP/M3tgvVB21fxuPIg6elyP
sRPIuEE1Kfttwvvu5b3mW/XqVlP5LOvjF5IrwfXDcTXml6hPyLeGPcypLiNc0AvLmbQHUFuInPr1
03wCuAVguoJyNAoE46m46KfV75E/LQf7SOe8p59YK3XXg+g55D++u4Mx7+E6bPKqDvTSyvpHvslB
oSshBggf57o8tMAAa7P1Uhb5sS+mcM2VPyNJNA7LHfslu9/A+LCOVIMcx2gwUgSdxNXoQM73+FQ8
mQ1qhePNct5AsUYBdQASpKPpod91v5c+7H4E4+D0PCkx/wsHN3iTN9xv6LUMJysEFO+LqEcmumnG
w+UAfkwzlL28vPnRFkcs/bgLRbLRLZFO0Wj900u0OxT9JTtfalZyqoP2h6at8YEi2GihFNKwSkR0
IToS43OsKLOwNoc4tNVfo/JiFODtAARXZIvmEfhlht2RGC9Dsm1MCTj+AF5ZHavXPnzjnMovlj/4
Gvph6zkPxrMsKm9w4/mdWMbXrLqCFnX0NhMfnShB5xoofiMegRfcGFvO7cqq7RU67ZkBM/myaK55
qsAHWXhluDxMh+QLeUj/Gnzljd5NzPbCrV7vbJGdyEtkI27kGgUVcjCBgAMoKTcOF9d0NHdwxbAj
Ar/65p72Cgqy+XyaoaAmNrDjv4pJxCgjci5sBbFKSW0CQZ/Ow+kraMPyE/HVOxtkg7aj3zVn6lfa
Y+VXoXG0EqcIRVOo3AgN1RV0dRAOYkX2ow3q+pDLeWtpntTYLtCwg7GU/TERYXtzvyTaDehrKCYa
D4yCtrll0p4HCkULGBzutU4QnvOP8ev/syPxI/y+Vq/oBislgZVXN6W0nbRGDq4/tHwFpJjQJjJL
8JQxnmSr7bpNNsRm0YIpOESa/0zBAYVg9TInRzFblK+9kbl88pI7kYxL2eZhq8a3fYwFQ0F2BkCU
PvlBStUH2P2xV6anKE2cpczOVZ//ORrlCeS2/pZBYawqJGQ72NJ405atjO6k9b0czTvASLnDZl3K
PDmr+vatI+lrNQ8vo4kGKWYJ/UGzDk1hPObackyHKlT09JSj2rKu+vH6F+Vf3PsHZRRDXmPbXBq8
rqV+KqwHKQOLnQjqlO+VLRU3BvRFGc3vj0pepFmXkgwJIu0MyWh6YbQWc6fxTRRsP2O45fnQHkRZ
KXfqH1Onv6Qyz5tWj1GeJggA17A4UkyHcg1pQXb4kt1S3lzpiK9Nnq9/T36cu5PKaOhYjXOXdpAK
BP+w8voXDSGhm90qfhdaXu3P30UBA98oLAIYWQVdkM9YvFu9JMqK5xVGYZ5KH0YBTAcKzfGPUcxi
eg4a+H0yip1IJjDM7WQ0mhm9vmx0o9A4JNi+0r4t8JXo+ASRf/2j0m92TRoTAq7tEG0j1R91ceXl
+9peMukPeQ2k+fW6IK417I7FhHltFwGAEgVpr1Ve4yx31u44LAIN4S4Nk50Qxhq6QtusVUbBm8aS
Ch3RA0hjd27d5hlAt575SvfZZG+6aUL9h+wNYePGwL0WrbMJ1Yaxj2gk2HjYcIetb4fGJfXjv21v
ckH4AFVFE0g0NSH6uIxlAF4X+682ip79duqWxyk/j+bD9fvjexrsgGHUyzYMm22v96tCooj2adPC
ke60oPSxPOUO4Bzt/PW++UKB2NqzaOKSG9+iBwmqAjzkisWcrNCzvC/ojSoDAeKAHkyt6tR0YBpE
IddPyH3Id6KY12icrXbLSoiaEX5h3NISLBOL/j/zHmRWN4+ziuKhaZ7j6rKogso3P6V8P4DNtBAW
M6lBnYn6Ax1eyw8K6E2A/4Dh1AYIr6LxB76tYRnGVjFTAeB7xtaIZcyjYgPcsLpoAWbjnoirPChO
5oEXFgqPBBIkzKHmUkZIus1kHY1X242DWbQJxFV+Wle0ZTyAn+C+B2nImwFb+l4X35bSQbYwLy2I
wbhXtxNB/76Lltt+TTHcBdWoCNBozuijXVc9XpVPk2UZgBzE0EFGx+gGiZTZ7qL8H8clOaZLIQcp
ty6WfUWyOA8MZAFb3sAsEsJixqQACVmbMwBY3sr+IIx1SeykWBr5J0EVQnHTF4R5YT6IY8zKIv2i
jgSEYPOsNkCTx2SOBm5uZTgMWHBKyHBZI/OCzYHLjM6QY6+516TlNznRZu+3vvL7yZmvDEwobW5X
PHa03oEiWaA3TudvrhkkJ1tUV+Ko5f7cb+PJe50x7HUzFnQjik56mpP2qR+AWJmDYuv6qURymDTH
1uN8kFaofxw/l33jatLT2IlI+TgGgMNY6ltuoKPE/tEAOiAqdkSf4Pzj9Whpy6utFH9ePwffBhRd
0fDvgbDMtqPySkKZe0UC0uHxpjtiy9m8WCFIQkNRkZj7zRQLY37oFhGd7ePIMWr6VtrDBCTFr9q/
BoANGaK+Cm/tTYN5/UcK27yppabXjBGAL7MbP86udQGML2LI2I9vFkrddZy97ZQccgCziwIC3luA
/R4bYwUmiDQ/QxwttVzYTUkn8ZJ7REIH67FwwEhwASyrJ1zw46gH4CqAIUh3nPVPyBXWpkZZmXcw
rNMInpo5hGF75l8LiMls8LrFQtRUTljwQSDjkDN1KvKuXXEw/adSK67UP2rG8wDs1OtKyT8Y1ATs
oJb6CfqhULccM5uQs9b39RoCF/n6/6fOj3GOmNTSUTig+5Emy/URac2idiZasOm4HixzcaJm7p2s
UQ5kqoJ61R4BGfTjukzumXYymQRjkGezrLMYMreDlT/UfXj9/3OM68OZmJRCi7csXig1htbcyGvk
ZpPqTpEoNeNqALb1gcqBAOTTTm7TanVCItAj6/0jghC7J07cHCoRVhh9DD9f0C8xbFlwAdxjVU2r
6tWJGzW3/XKS9R9j8cf89fpH4yW3uolBIOzSI8381Lus67TaNIzLeeXPLUD/+oHuxwyolIEhxKUL
e8Iknqd7WB4l2CLFnNOnDqaESMTOMkgcAoo7rIIOBLQVeKOns3azBnRNEENPHTKkyNWerx+XKxvg
qjK4VhHUs3tUmIKWomZqMF6oa19togakKA8dkW7nZjlHU3vs5OJ4XST/C+9ksnofyblpdDYY2A9V
DdR+xKxIrfsfwHvtPTontx56USOAZ2vYQfp1TsYWUoDP5d2AuK41g8E4rbYgK+P/fxPuCQNy2E9n
IposLZK1omN4w3aR4pstFezVcWyZmBSKiNIxy8Dj/fjuR1YaWXI/KZ4tfe0wulj9H2nX1Rw3zi1/
EauYwyvjBM0oW5ZfWI7MGYy//ja09/OMIJqo9dY+unaOAB40Dk7onhcbSvacEGbtvYzhdxC9QX9X
x1AFE8NUtH2M5K2EwCwM9MYeXsTX5m0afT6mJ3LiNqqv7BvUpdEQisklNCSwj9l0qbU2Q7OmO32O
X9F9ei6c0a/2tI5RQnmVuvy2961t5JVBFkdGayJaY6qiC21cu5j3pK6cPnndNsJZ1VuEdRVyyuhF
UkIT3qaA7KMjn8GozftSH9YB8QuwImtUn+pNLvm9Q9Cm8SmblcUdvhu2T3XHTXd5iG6g+OJn/mgv
nCV9TDXKCGAUKnKDcQkwQTOvFdGMxXAcJ/GtuN15orNgmG7YjahQOqNLnOLW4sYzH+4WWTdA+GGA
XkKTpA89amGvkVGcRCSKIFVUYn5nFOzKRFfjt+3v9QEFGTv0e159Lwnav/0SpkBaMmFF3Td5zk9i
0kKyJ2qDcclTZ8wynprsx0/4fnXMmQYDUgKdRGtxUz1C1Puok4NWLTxHocj27uJk1kb3+GptmpaR
GccMSTZ3AakT7VxRTuAas6dAtCOfV+z5GGxTe4okYWQBpJEfmtkGjDyaQ1WILsrJsd1oc1C3qCLX
2ZOZjI+LiFmeUHStJnkQwuSxWfRzaE2+LIuHVhJ/daW0F/Vsb1mxP4bTY9rqv7a/9cdAwkRdRdNB
BKRohmJQX7jaj7GS5kmgg015/DyEdqz3TmPsZ8WTrJ/blj58X3DBXlti7gRpaqZFESJU9YvCKzLB
JmKFkJL422ZWhh7e2WHTTaKc9LFpgn+vHPVDFAvOlJhnDBM7c0Ge4oa4NVEgJac9TSpPnpuzmex9
IadxLSo1NFWk8S48lKHhaNVdZ3wZ+PJlMuvH73fTpP9+9d2MSMyrwUD5jdJ6yA5trYldDVRsiJ99
819ft++3lAkX0kWfh1aD9N9o1I5RLbuu7F0gurf96T7eE+/NMLgjVEtZVwv6IJLqbsSr5t/T27//
fQZhJBnTj7omgJwzj+wq+aTMP/UKzLqWwblVqSu/Axnm4zAgoydmlxYhrV6gzUJDy84bdVLAa5Th
7RdzB81vKi70EdBABWPUbs36cfuD8PyZAQc1jiqFtMjczqrmC7F+gBqPJ+W1C67k+0aTOVi0Em+9
/0AMROC9O2Q5YkpkB1JkB6AD+KNxw8fQlu32FDo8ZVLO8thESCkkadUBvvFKM+xePlpSUItfLXQF
zN+3N3IlyH+3MouJJPN+IJkGIkjEJ/WNYIMP/bmFxvav8Fb3551wU0ET51/XDd6bZBAC7KD1qCN7
4KpS5GrKeCcn8Z6zrA+RwntHZ7tNhRpBVx/DQRpP+U772hF1BdGpOlkeBHrP5BMVGTQLW3kaePPO
nOvEYsBCTuRsxoQxbUMvzooOkcF5DnqJJwNMj+rGUbYYzKiMQR8H0OK4Zg/txOgojpGTSyfSv3K2
kgPoFosZ81hFQgpAp8IAuqNAFMB0tdOEAS3MhXF8YyUP9945GOjQIEZq6hESFAPYBqn2QZs69Y6G
rqUn7BMeJy7vYzFAIjaCUrYggnYz6VUS8MoNb7uWV0DgfSoGPcZ8CS2sixJrJKgyZV/M1+SEidRn
Wlvtb2vHusud2XI5H257bSpLPG52da53tBMsmtGgQrValAf5lXY7yI/0+aG/GHvC837OB8RD/v39
P3V1AckgZLP0U+8lO/BBuGBjxUux8vlkkStF1mt3gbzse2u9oBPdJJg0ajHFDIFWRBvmvnnOnN6n
LGkpdNm7HS99u329qSITdYhp1xNFwIkYQWahzMIxSXnVY+oSfz7dqsiASNyWIOsVE+1tvD47JJjK
kbzC5xHZcuAfWvDv9y9v8lYz+lh7q22BhMrVU1d3iaeChS1x55dmxxtf5nklAyckXYwlk+CV8ZQ5
kS7Z3dzaIe9lv33k0Ojzfl3FXMmjBUov1wwbOzGcukddKdonxtP2IeOthsGPuk261kjhf/kYqNJj
2vjF/LBtYqXO897HGfiYKh2SGCkKggPkYOZT4tWiPT2Mvu6LuzD2t6295Qc2PI9NvKDBTC7IBJXr
tga5laSfWwtCy5YQ+1VrvjSR5Qxq9or+QTdMR3+YGp+A5RaqfT+0aApaI77XtDRxTDPaWYV1qE3h
lBnTMZ1KR5iWY4xfnkpIVEVgiRNB8VPFN5ZJvJosgR4iW5aLCUiOEieblGNmSt8ttXcSE7KhlV6A
G12eHWWBhF4BgoakPsRZ+RldTqVNZWCjCoAWGndzXQWNAVL4ziK7SaB9a/mnUquOFam9OEpOfVZ7
c1V/1bWZU59YByQJCkEmXq2gGWQAaYqVgZQxaIUodSPKLfYw35SdI3zVQatAhf5S1TY0B7vAc8UV
/ib4yZVpBpaWGSXCugOlLSWFjqFu3AcgkpB24R0Va8NwJPoawnN8oPxR424a7W3PWffTK/sMZk1p
Uw1JidGDgtwYJpRly8gWkMPtgGLjJ0E8lPkuye/BcMOzTDf1g89eWWZQrA3jziSU8Uh+G16JDpgQ
tkObxnh5wFOvXocW0KOhf3CFnBPdpWaK6XjMz0qvE1huh8awo/x+1nikh+vXzMUQg5SJUWZzkQPD
msUhENuJZt5lzbPAoORolCRMByrpQV7M/hAJvMjnY5M4ha7LEhh4BItoWopyj2RA/E2CdnqV7efm
82xBOTa15ek20W4GoPO2I67G/pKMjCsO4UcC02gy/x/7Gxl5HHKvWMdcvlfFTwYEN3nkMatbeGWM
cfq4SMNGm3DeM9Lv2wRCeFkfbK9nPaS6ssG4Nx7sS61QxUuq4N05zc/wJv9FCzBQ8T7W3HO8fpou
+8f4HQSMQdtnINvRIhOJx64buuFN7wtBClVNXsC/eoFerY1xQQygNnpDMETXjw+gRnC6LLJli3Op
rUZTV0YYN5zRP1GXE5Cpx3u6Ttx6uomFEUIs52F5MKzUyWaL44TrKYMrm8yt3aBGBAkjvHLDL5iM
8LvKEe/CXX7WwJPU4GnNfcqs4tLFINs/o056Fua0D1ZqGtkurOSgdPMOXGX3IHD3tl2Sc8TY1pPY
GKrZonqTWpt7oix6ZS7sp5TckKX3TQkt5biGt01yHOWNie4qr2jKaqVEqG27AglEdHtVd0vCMfGH
G+y3579Rtl7ZGKY4y1WC6iA9aMXB3Gv3Jm6RGt14PL/n4IbM4MaokTKZSkhx9EqgybezyBt04u0X
/fertWRV34akA9uZ2Pp9ekzMfc6jDuB5HAMUmaBldZEbaNhvvi/ijQp6nUZB4CHxDhMFgY/3++W7
MCAhExOTB8RCTCp8MePHWs7tQvg+Tc94/7nbbsZbEwMVSdw2aVUh2DbnzkFpz8ms2C4Fy211XqjN
M8UgRKUpwpyjLwNZ39AWUUupDhZmsQnhxKQcT2AVQPuYmNJEFZOyBXVa00P9xo0ab3vfeEaYZz8U
zhStHBGsSPKNhEBlqn5my7dtG5wNU+jFdeXSaWwOLWhv4AZk16V3hnrs4gAZTHvbzB9i+N/uxhIW
aqSwSNKUmiuU9oyZgs7+Ykt2eKfegX0dJDrTVz4/Bm//GDwQOiNOQ4NGldHiaeYCzsDC03qNcy2t
w87lecJ8pimfKgMJSlDkgrZYCtHsnMSftrdvfSUXE/QrXn0lRV+sKY0B1JW4J+SchudS4ZR9VmbW
3z91GEDIjaLQ0gaB69xlfmEiOTh1+yhNg7yp7SyS7zIpD9DPR3svvCXSbSiFeapWBEtvHSrN3Fck
vZsy05Pj8b9uMYMgEtha5LwFKrb6XtGPhMcRyttfBjaatopIQYBQcvfQg/WmPHY8hhuOl7D1h9CY
KkURYcKIgi58ENuXbRdZTztdHmxs1aEYrSTuQpRc0xszmPblbXSv77OfiaPdF3ckKBJupmsdO357
pcVgx6RCQ9oEZQO0PFKnnJZgGsmhGqoboez+Kod9tTrmIY7h/lFeclBdqAHZ5+7yDdrilAOXzm5W
36BgzdlN+rd/vB4va2Oww7BIN489Qs328+BWD9IOszMH+TNtzkHJlYMgf3iNXKxR/7w636aVSkoz
ImU+Otr3NzlQd1ZsHEU/3qWHiEf7xbXH4kmKx32CgTPYo80sEFVyhx3SJ8EQ1H/R6PwOWFhKCmkQ
hinNcw3MrZhdFhcvbxU/zHgKaesBzWUPGYxQCj0vUpokb4zaThVi91JjN9VtH/a2xFNu5wCGxQCG
1otxOwo4zVXxfaxLaKe/9vW/76q/3rgPvBPdUMiz1iKtFTbFDdDWCdvwdRryYNvXt5HpA/cEhkqS
RrUGgOtYHtS4sEMr2W2b4IAT0gjvHbyuR4LJxpGq3YrebeaZrzrG4xwLw2iY/f6mvUbfti3yFsXg
RVGW5iROOpXmEZyoLz0559W5tuEP9FXv1zQKxCi0PNXcIsGl7KgtePgzVyS/tley3uPyG/o0tp6g
L0uIExTSUhfZK0dKHk+LCeqRJ6y67dSayKBCPImJ3A7YM2WqUEi+hRKhl8j/8cMwYUZnJdpYqhgV
UbPvS7brhp/b28VbBAMDudgSSzRRPVDUb0qi3tTVLzRdPW4b4XkXc/xHGbG/VU7o/YEgTB/Z1lBz
rgTOMtiSAX4dLHI9ilVK6sfzN7Px9P7H9iLoH/nxioP6NG2t/SijM2eFUQgGXrOGciP0d/0A/Zzm
GzgSrficWLvMiLxtg3/Ipv+2yArplFraE9RBMML22Xg0f9E82LBrNVu+qxzw+5o3lFcjPQANXgSE
LNzK3PqlfrHPROpx1qUyGYHaHRSnKK9G+Br6uk0Vp/JTw0nUUkfb2F6NgbxGW0IyUR8ZQMolLLOd
5JIzKMpJjcCBrfUo1Cmftjf4bWxuyyaDekM2jl1mIoYvfoGj4Ka6T90ISsXn3FcFhBMFSsbWTxNd
l5XDay5eR8PL3jJo2Fh6DjpWIHyn3gvql4Vg+F74hdqKzVkjx201enKuYiVFGpBJrfHcSveAQzc6
CA5KY26HhtzlobmhNEEzhvATXz9rT9u214/9ZY0MQKbSKJqhgjBN6A9xWHhty2to5Flg0BEdcUTP
WxWL0726flTCX9sr+EMK9bIEBh4nY5pb0B2pb8XpYY9ZWV/f1161z736lAe8egvPKxigrFojqpOp
Qsep8NWKNVuLn/L8Ja16DrTw1qUzc8dWj1ZCZQDs/8NBQaXIBvCTqzjcOQZXBI4n/CGg+b2P7PBI
J8/JYKJuBXuDW9+VbnVaQKzsh/7sp7v0y4J0DSfn9Ieo/WKTQRRRDuUmjJEPmvwwGIMq0O+k83yr
HBS08aBZb9tVOK6oM1hSk9Ywqgw7OvSFW2AeZ+AlhTjOodO/4Ookj+hSSK0Yal2LNnijeRRIGgjL
rv/3mvQ0jr7sG4MYPdHbqlTxTu1ytLQYoaOaPNZt+hMbwKszyLBMqJUXKYBXFF5Ifxe3mU1Albn9
RbhOzqCDMLfatCRokpmD5hd0mXfma7tboNcetEECWg7eiCrPBRiwqHMDrQtAdfBPt/aiBDOvD4Pn
AQw8iFrcYLgfnBG1BpZAUTqLMe6rtk6/ymPDq8z+IQf52w9YFqPUrDrw/KMPjmKE4ScP9dv0lYZv
5UU//qlsS7e8RuT1YwtGRgkjgtBFeru0r9xclLNwTGj3B534Hh4bzBSrrm5LTniM7/9ish7OfmWN
+Wa9iVSrkKIu9w+fXu4KD+WuB/kjZX4rXjgeSSOmD35/ZY35gEUj6zU4r9HqCmVmYrRBblilDZ1S
2Y7Vu6RxzGXxxKbZGZ30XJslp7q0opX0brVsgS6cLaXpakSU+Z6mMco9bSTWIhsdGu78I9vTbmLw
bCKvkbkRWCjVE28GdP0muGwBW7cjYG3s2/qNwVh00BbrJPfCGSKw9uClO30X3UqcRfMcii3b1dlo
dDOoZzE0WVd2uy8OZGc99253oznijkeysRpvXa2PuQeSBC0wSY5qPFWlodLAGYSq0wMvOF9/HFzZ
YW4DcwEjhT7hRu0d8SA7Me7Vxc3OspccTLdE+OzMfoQpVBrgiVzZmFUkurLO3BEjuDvaKUELXWl8
n+RnRHZ2gllDiSfKtgqpV3aYiyInZJSqHHWQTPeV6aGLX7dP5OpFdPX7zBVRT5NStQKSEjnIZxU/
k9wq9LdNrF9DVzYYiNGWKW4xnwehQzTPgeuLHjjxjsY9YN/Z5YHMKU3w1sSAjLRESDKntHmiOcnx
oZA/dbwZ1o8jfrS5/bImtqCXdsMYxyGSYKPT3ixuZzdzYEQQWqMCgcphdkEfU9qmGmzvJWdpCvMi
VYusjkGfhhfp9LzUByIFrc7BaI7HsRW+DO0DGGxG9DPJD53Rt3YHrUJOZMJbBoMR2TjXWVzChiV9
AjteVd+b4X/cKQYejHpeWkvGS0LJfUzAx9le4s3Zr++ULqu6DMWxD2KNQjEuyA6gVWEsg3p+iMSH
v/nYl99nzn6CGY2pqJF1T4eDld6H3W7iTRbwlsAc/0hKGz1KkHQootLJYi1QJpHzIdbDKPmyDOb4
l2aRD0KG4zj5s2f5yw6syOGPJaBMz3VgQahYebR+8Ei4/oA6F7MMCphz3sRWhZI7Jj/A71H6qeAs
D52b/KD3geVGfzUNclknW7HrFCUqzILCzgi6MSOXd3GvCI7aNQ9l/v0/uQZbvDOGQpIyOq0mGN8m
7VaqYlusdts2/hA3/N5Btl4nTKiIqBTjWpcktoEvp7tZZYugWch8yy04CbD1K/VijgEFtcoHgkZ4
lN8z3Sa67BkagaC1dJbzjOeT6wB0scWgg6bVRmH0eH9Fn6h6dvezOJGjjN6C8JHqZBYQf75L/quD
0D/qKrDXjKZSBaPF88iUbrUF03/tL00fvbkjnK3kLY9Bjq4eSBL1aGsp0iLIhcTXFEBIwutq+cMZ
s3QTQ+4rAq5lbwgahBNUF3zqrQIGN9mZz6lvupZ4mH3Fy7g15D845cUk8+XSQRDVJELYp9mLLzuC
3QXG+a0RH3yvxn77CKzv48UY88WKKW9AYoGqbp6+llrk5dl5mgVv28iq3yOlDhoCeUUrVlXwGhAN
FCJl6SCWX+PyxxA5Y8ilXaXn58Pb68oOkw6KjUnVJoWyUhuOSnlBMdMeTAfzdvEUj7Ld8crUq7t3
ZZA50CYCFQwMABArcLPrw2s63xa8lAO9PLYWxbiDKUmj2tR4vjZV9U1TFLvqEh9IchgMiMNO5s9y
4Gnc0ItjyyTjFKTXQf2u031EfY2q9VCedHnHq66t1/Guto85xD2Z4kYocIHRhxSdqiI7LdAhx8CT
DVu/oa8sMVGA1WL4SclhCaMK/nTTI1VY76J7+igdXaTbMGYouAOPRX819riyysQFUx8WWpYhPakL
vUfC6phZvKFx3tFiYoChneuwKxCh1eZXWdqVy+IsMwpHWcMJaHlbyL4H5KaPZqvHIaYi6zoGP4wH
xcAbtAcT0iG2i9K2XBTnnrahYx0NL3vIvgeyZBBGIQQamvdUot6vAvmJeOD5BUMbkkWciIBzoNmn
Aak7SxZiwCGEO14WI/LDsfhUtMTZXhXPDIMb5RArVU1QNmnyYBBzZ8rOvbZwvhjH+xQGOBYxk0CT
DGpYWX1sjaPYcR6hH8k96Avx6tMwMNGKILGaJQrrUAEklIjBg8ThN9PFofKHwwLuSnVHmXzrgEcV
xFsbgxxz10hRPgJ4B7V9yCP1OxF4zyueCRYy+hFZ8hDPK6TjRWE/5vfbPkD//w2QVRhw0AtIVokZ
iDoGTXDSGgQ6c+yCofgAlWAQp4scjVKeyzFAMauQshMhLu7KYr8vehRjavXcaLwm6rciyMayVKbs
VKsTyNTKBO+tDCn4eh78HL0msSjdKUu/qxs1MMf4XMbxyzzVTiMpgboI4Hmc4tkOu8XGFN7O6I0A
fHVBZBqJDUbBzq6n4SnpyZ5Egi9W5n1Yal8h/xRIk+FKUp45aRPaXYQkWWgtdmuga8tUIApo3ZR6
6ILt8RiR8Wcytn6eVZBQykEb1xyUXjqEdbgTJ4z2quJNBrVMOU/2Rt0EoSyh6yPf91byjC0jgFT9
RyHN4ATsnjqpkpEJk89tnbwo4bcKkvNWWD2rgxaUaFtzsxn8Zdv+sp6QuRw3lpUwFvpZBosCTchQ
YbgxKEs7EFDQe10c6LJMdu7wMp3rKcgrm0xEFQ4dSssWIoH6++SPXvMwlPZ4pmQr0rlJbBBJ+r1r
IqXcOpQ9nKtpxIN/lUHKUZ4zOW7eLu7Fp+xw6SMVrMi/UmJrzNlw9pgTbKkMZiLlWcYCeIxc7ZYm
XMtbZD2be9HLvGFXe8p5eOPjLeODcMd9jHIAh2V1y6o57EQa6JnPvUfjfukYunXqdD5li44P2j75
tr1cDgSpDIqCVrwVuxz9LmZ8msi5Mvd1eIwad455414c9FEZME0T0ve9jI6tGdpvXd07yFvsGiRl
txe0voW6Bq05UYQwLQNyg1nVshHhXg1bX1Xv0pEDouvR1u/fZxMgQpdlvagQ5AtmiGAg8ybcGNIp
GiZvex3rH+Zih0mCam3foISEjo6+DJZEs0PUANp9mDc2hpq3TfGWxJxwOS3IWGp4srftaSg/o8vX
Hoo7tYk5Ic/6m+KyJOYg13GjjnXfwNdK45M4STupDW8x2L0DrfTLMuWu2U5BN+hft5fHM8sc6Loi
pEohYvz/w1ZkV9zQBmKe8DLPDBMKlY0wjiaNtd6GJ99eTCoG53mUR+sjCcplF5kTa6UTuMNjdMNU
3uIrdkuTVhoEwtDROTqN27vFHZVe7lBz4DWurB/hi2nmCMcGZJeTAdePoj5UGMYbopcIjX7bn4vn
jUxQ1GcjSRICnDCK8E4cVE9SDD8MobUEFZltU+vrsSwLZNBvnJOIz65yVWXSCQlUutH3I97p0Fpq
7zReaWu9EgrW6v/ZYJZTmUYcmSYeL9QtSjd+LDCfWXuDJ6H4XKLjDMNs26v6w4V5MclAoF51mRaW
WBaNEmhHn3DW0VdMm37GXcXJwq27/W9jOhPsJcscx1WLYnMMjto5BxFRb4v1/ZCf9MRd9LtuDDnr
41lkkFFNl6iJJKTzK020rUK19Xqxy2iy5fbQmoM9dF8sniISb091BiNTTK9bZolTBx2Dg+Z3Adkt
Ae0goKMPvLbB9fnQi9OwbUZyrRAlphN7VSqeo348dUV8Ekz9OcoyW8kmW9FizzCiJ326K4aScyy4
i2UQU0sm9PEvWGzn5YMte3TQQzlpQeQsJ/5q12/siwcxwKngFQLVAwSYeYj+z/lxjmbOxSOvY8rF
BIuZIUhClfEtbqbpWzraEfsYJnblOZiO2oPhjZCUXL6SII1wJNMb/SzaUPVx+288Mdf1dPLVt2VA
VNMmqcDjiwJC89Xyo4PlRPvlMEHNMnO7F649ehw+vsYua2cACBxhmqo02N7wNLkdxHZiNDcWewje
nLh3E2+fGeRpuqrLzZYmQ39N0OiT7MjTfATOR3VPbyYlx5BzeihEDiLwHJZtYlKQVNOzCj1Zc7D4
yQ706ef5LvQHjwbNExcMOFtqMAgUo6O3mCBDjQYbKp+XBMSDhGzsPfI2lHM0DAZ1wjYD60+Pgzhn
51wORh5j2Nug+YZzGExI1oMMckgr5G9ox+Z0Q3N61kMfYFBIHN8ERocDFTqU7SwGNyyyoyUVPXSV
1+0ri3MRGwzg1IUw64WGV4g2fJZBNJGPla1zk1WrIbWqqBDLgAw9pAffX/dGGplW1OMkZCjizB4o
CAPrTH20wG18ppI4qZdDMjz1/qql78oygz+LNGqFSoeWi/mLKkNman6N9NwfMw5yr+7jlR0GW3ox
DMGFhM+ZF7cd6rNh9xiHP7e/1eoZv7LB4ImqV8My49p1S1Gy9al8lieptZNlCVp54VVXeMYYQFny
stVBwI8xH636MbZGYRddfKxySG1LoNLeXhln99j0NoqJoyTVaO6lVOBRf6snz3XOyZjybDDQYYZC
oUYRbChSDUL10m1zCU4XcW689Vvm8pXYLDaKh0kDjQx8pcSWHdqPRPuiaT5W8WIv9HhhIG9dDJAk
jVKDaw2Er7FWB0lXelO2F+If2x9oPS66WhWLE109loKJhOzsLH53zg7tUQv6fXXLF11fT21f2aIr
vnocWGWmjASVUTQGRA+0j7IKrIcG8ob0qVV7FBaXL6gnQqPJ5/ZP0u36gMtXxhnAABT2FbTSIX0Q
dL+oUHHhWE7/SqselFmdl+RbDalV3dRl9C0a0Jx4v9a5MKc86eAtEzrc7T7Tv0rWfFcZwk6K5doh
arrXcxktTJK7/UXpB/u4zoth5oMq8iJ3maXiyPWZLVrVTip50yMUj7ZMMN9RSapWxBA/Hnm95ULd
Ilgy8Hv20rMxmi9aWwC6Gl4Zmrcs5vMVyGlnSYr2V6kQ7iWjCUSTJ/y0ngu++mYM1k8KYsxoogUk
L/oqfuoQ0wqO/rQ4s9v7o4sZUk/idYuvn/LL52KwP2qFSJDwMoCi27HO7i1xNxr32x6x/mDGMKwF
JUMoZ7BDJLnedmCGApKUlm3djl53hvcHnW+ci8TWfmmOvPurDogrk0yYBRaFOCIDrs2qPSdx7UrV
sdMin7Ow1TN9ZYU5ZIbZj8hDYFp/AuNsZ5ePqeSg9IMjre/QI+4MPIKI9VTRlUXmdGlUQQE9VChe
oTss2qkH1Vts4SH0ybH25M8tkvaC232DwJG7vdZV/78yzJw5S4tHxCJoqlrK29iKoAzM415b9cQr
C8wJA2lOFqkqsm3EzOwi6h01OlbT9+1lrJ+xKyvMGcvRCNfPlOqKljYpaXUVFPehmziLYxxamwTg
vXrZtinT3/yAV1c2mTNmmlam5jmgP71R8VC9kz3zJDqoZPnmKQwKL30sTr1Pn4tjYitBfs7wRP8+
fFJ3JYo/vH61VfS8+muYAGySM7GbdJQou+arRs5C6M2KTeYgKk7F8Gl76ZyVs684YYKwSbUgPtci
yIiawiNRO0ePwcgpfdaqkuOjHA9iH3E62KazOpWBZak/oNoxmG6jJM72kv6AZgomhkXoaaPu+f5m
rUYD1YiI/DNaSHNxqZ+ANZjO12pUwsnn6rJQz//oP78tslFsPifoRhIQMqda6/UGQmYpHx9ycXDL
wTibaetLpmqbeeR24YQneX4UYvU+Ulu7iSNXLdIdKZXd9jas48Hlb2KiXgXkewpK9BgkSAYn1017
GXPO5+SZYDAc10ZrlhrSxmne3Kua7qlyynld8UwwAG6GWRcZHVZRm4elPFrD0/YurTdDaZdton/A
VcgpJVJTjOCedsGWiRKZakvlvVbsOi22SX0ToaGnoWx0vFt9fUL6yi4D16VaF2IqI2E8+cXZPHTO
coTQqZcF8l45NE948fvmQ3zgSVxz18uAeFvVpjTTysyYvlgztFeWb2X1PYmOaOx0w/h5mlzD5L3y
eF+RwXQtyhKNULZy2XT7cBdXD9tfcR1XDMkQ0U8mmyyzC3IZJfTvME9vyTdVFoj1UzJziH94Jpgr
YjHCatYmVMTnKgjJKdG9VOG8U1dfBBDh+t8qGNxCG21aDgIyFuKBKkqHewl0kvmBF3mtZ+5+24Fq
8XuXLyQ5noYGu0WlkZNd/Rj7BAJSs2seaz7XwTo2/m9VKMm8t5YoURuOMu7WfnaMJzHQwZO/7OqX
+Uc/2vJT63X7zI9A8vyffMJimV6KUTEHkKChmFvltq57urkTCl6zF3cvGXwyhK4JRXQ5IlrRviPU
2ynn8TPtbQR9t8OjV18/RpetZLCqV6a0EAeEeNAQcUsh25GRJwy47eZQTnr/tbo8V0oxx3qyDqUk
w9iZVXhs5CL4LwcWHMLvzaABiihhjo+jCf5gHKr5c6vymh/+EAdctotBnbnLrXyqgTrjfXgiUN1q
nCIwnyjP3+xqn+qAF4JzLTIgMUyilRoTOteImz6Jn6Q3faQk0MEnonjInf1lK/TVWWYwo08rQa1w
bbkxcpvVMgSaoO9SaeDFVPQq/xjh/N5LlgamS6OuDg1gE43KFV/1qNREfhSxrvKZd0mtp8gvq3rL
SV1dymYlx62Q0y+HFLnhkxtQI39abjpckOD9oxOtk7OcaQvs8lzdpj9bB1Vdb9tF1xNfV38EE92k
81DUTaUDQGKsuEfPF+obj7L/djXzjPH2l8ERcyIKJJiR+aL1Y4z9OVSuvvOB/+Bl5rVNcA75mxtf
bS8k0CphRI0D/fM+SnT2YBwF7lAKzwj99ysjupSQrqZMBHJ4Hjvix8n9XC0u5yPx9o0BkqzPwjqV
cJe1UG1VoUiGZs7zgr758tAfBX/b2vpj6XIIGEAxhAHjeiLiXdFqAlk/SsIxRKykN0kA7vttW7zt
Y6BEq8Sa4FmKwDc8tOJDET9o5cN/M8FgRxX15phQbeJlPGYF+ggliL8a3OcYZ9femh2vHKGQwrCE
7ivYYx97b0A7o3JbA4wjzzjrt9oJGSYLXRKxx51z4EQe7ED8osqNEVqo6P/TkwH0uC9fYt8E8esr
VeMmDsRUX0kSbG8r55Zmp+I70AAQUsNLlqr9GhoWGvyWnoPHHO9gyaz7WR9ITLNnHblRIG00LQdV
5jwgedvHRBumoGuxpqBZUJReK/0wR4+DdadbHCvrOf8LzLIVwiYtrKloMg2ND5OLG9MvfoLObNe+
IPnuUtqE+F4/K3Z63x//qm/xyjQDHpomxEKewzMHKyDNY5592vaE9T7eKwMMYIxjXCMljdiXSvkO
t5NLp8oET/hUfO4xzk3LuhBsPUK6w6mO3EFVniMyENJZjRENC0hNqBB9cS6QiJx2+g84phPa5jG5
5TGN8bySARSVKDoaeWmhrd7r1k+i+MnCoz7noAmbammJmCuViRBL7qRf6Cbf53lpV7LsDx3mcAQe
+dD6/M3lE7KDMHVRRdacwEe0x8HVfGlnPAjn9tj50oEOMSle/Yx2PInTHsr5dGwpkeSRoY8zRlaF
4qmug2XiUR7xDDDxRhgrZl1pGJQPs9I3l86Ps9nf9n7e24idhCnmrO3SFvhrnmjlf7HppBlogFEO
zbjltPXq69WHYuKNsJ9qsagQbxCXivMkXnGKnolNy69toBc2b7iNA48KAx6QQk3DKUJEbMx3cxaQ
UnJy7SnhToDxHJ7BkEgZMpLM4LNTiyrIjOyLDIprZa4PbaF8q3qB96TlHGJ2QEZtsnmeDagrdsgZ
hq1o68gNVc9/4xu6SP+TDAl67e+jQ1LWEOmgLNT0bpbcBk0whRPdAIcDkKRxcjfrNYUra8y3kvW4
JBDklV3rcUYH2rITX6ejiKoQpAeXk7AXI9t85oqtrO7klVXmy5lGlseWgiHB3noc1H0KWhydgxPr
Z+zKBoPxI3jSpZaSEVCvl/Eqg/+FfufGO/UFg4FP259tFTWurDEAXy4FAXAgOzB36Y9o6nO7LqPP
2zbW310XI2xJoozTDBj/f6R9WXPctrb1L2IVZ5CvHLtb3dZkSXZeWJadcJ5n/vq7oNxEFIQ07ucv
D6dSlVO9BXBP2MNaaEZSli3VpZVR9WiHbVCFIhsWXR/bkBjipNpWOvicHemIYru4lM+4spAd1p50
jBtfcDh6Q5/e0bvDMY/KOF4HTcsRk/Ww/6H6bdjdWGfyYH6doIoq4A+6+9RDNnBY70VtJZEVsINn
HRqEkQmvAX9shZhXuiUP5QUzZylaI8lhueRe9ucomoXkuq/dgalK7bL/MTewv0pHISt5cfLmrJJw
BkVF9SDlPwV3SyuJ1+6W8Sn1CNoArQY5QYdJMxXLQ3rmGKgU0ABAKkEGTg3rmrBPLiVvjETHZU72
pSnvx0ny2wUbhP05m76OqkBvBK6EMK6kaeW4XZYJwW2rHlYtBaXoqoatPpmO4BI530u3NVQaNM0y
bMNmFHRQyBgP0QbQJqxs97527P3hTEdYre85dqKm7u21tr6IameccPpBLpOQlG0aAXkrwcebQnW4
HcfjbBwH7eX68TgO7IMURhs1u+zTDfM4njo+NXawSILf57X/PwhgdFAd5HhYNAiIn8e/sjsQesGj
bHRh23TISQ4cxW/cQ/MkmlrlKMgHuYw6xuDlmZq+Qt25PyfDTYexUbsXYUHzkuEPUhg1BPFfMrfq
qrwh7gBP5TTdgC7b2770Xv01czAff4xvB2GvjOocY2sfxDJBTqkXWTUyAki9c/yF5uCSu94ZoewV
JzHtLF9FTIpzbtjENhhFlLe4UofBhrD0IUpfZREwGs8N4zTvAhgdrMgkq2qcU0LDCG44vU+89IL0
zlHcGHNmyZPkiZww90y6JmuKJhPMLzFxezbazB7XBnxl6VEea4fIgqDN8YbALcXCjaYahvJpzLfD
2NpcG6hH2Kbp2MuzQXmr53urD8sySFvRIj+vaPBBHqPuozba25S9DYlMeFTT5QLQYVKOW4M4BIQc
q7dAP1AXvmSt04uWRbjWBtAPjSK1QUkYHdE1gCM0Vqx6pnFD2pekuTNEC4K894yOYSxCDFUGZic7
k1XOydjkmQFXFVIkoeWA5XEtdqJDfaSpiVK5oolpruvfSWRcv2bFdrtpJRIv7Rn0OXV27upDQm5q
VMyuu2H+/b2fjbm/pYk1DcsDyHf67NhuQOvr7EBRotN1MVy13x2IsbRmLLVoQrADHXGCrvZ6K+mG
YDVV+JkYh98YmZSuOi6N4nPoYFAvgtLtDr1nh7WXJo6oqim6Okbzy2zS7Zzg6up+upG6Pii0tHVI
pAnqz3xfv7s8xtcn3QquhzilaTggJmBbq7v6TbAcBkxAGX9lDrDqQ5Fhcf3ITijj6ZNeNWZbwW2C
QCh3WgkLZtHk2ZruTtHqd1V5zK3Uu64lohtlnKOyWaY2babilZaXKD8s1Rn1P66L4CY378dinzRa
tCpWTYkwFwPzY8bFsm7j4myrj9fFcE9iyqqiKMQ0Pw0+yWrc1bM+KR7Jzpl50pRwFU0Vva2/fIrF
7zLY+hsZAB00aIXqpWX1mJIuyDLDNzPU+bK4iN1emk9qDGpRrfvT0iRfiwigzzUTuA3x5FkDpkuy
yQXZo58XtkeSfHbJCDj2dtRdu41Cpd8wU6g/NeZ8ykzrrs6su4mUd/X0M4U6HtVMPqay5EbE+J7I
+XeQ6gRV07uDNdxntvKXnpIX09rwmEsiRIX+e12k5yJtXDJMfrdECeLE7Iy97CiNFntz13nEqA/6
JLsmmW9i/BSJMqRtSfY1W0ZX6xJsf4O3hVJr+HZbH5sq9xcQMLpao7uSOh4b86W22ierBPuyUj71
4J8uFGBRENCjRJPALLmaZCuKhvAHYC92oz/J21Yr10H1YuUejBz2EMy20yXH64rEj687MYwdKmUm
VZW2wqsFVpi4pR/fVN5yQ9z4ST2aTnscb2XMsUpn6btoLp7vUTG3R2SQMoBflLFHO15lbYtH+gKh
q7QoW79OwD9tniPAXaAWKkovuVbzLu9Ta7uNJFPfJvicoXZb3XC6ZXTmpg+u3yn/y/17LLan3Rp1
u9Ut4vmcn+I8nCXT6c0/0kygIKLTMEE86nWyIXsFblmauOsGVigovjm1gpIaN7TuLo2J4Nosp7oG
LG0vz19KDeUtwYozrzKDfPL9upjYTZo4AYYA0vDkSLuFyyE+V28ZcuLHvwMoB2GWLJsW/jHY57U0
dino1ZHPaVtApG+kD8z19frn53+XdxGMRWnIztuMLjpt0hgUGaYYhu5BMxbBvXG1zNRMncB29E+T
cFm34nWr9sisctXZ2lO7tO5ILnYqmFXjHmcnhzmOVZvKgMET+KEl8pKid4zxYRJVN986tJ+CDZEN
yjOOFJgl69ykLU6wvqXADSlBgux+CwDFfUOhzc3Mr0OM1jzaYXMCjHX6iCJP5oha/nxvtPsTGD2M
zVmJFUlXvOZb73fHCn3r7oY80f5x4ae3oook16524ui978pljRmZ09pCEy3lUMiXaBB8Nx5QvQ5N
t1QiK7ZJNCats8iCOf6iBfjerXR7aZ380D7IulO61q85WL3CXw/tMXXrY3JDp2qIcJGXOqBP33T3
BzCak0hyORc2HvNT0D/TibnlnnIQDFhS/j9slHH1dCeNCSbTZDZSqQ2KpzcY4mkC6w7zGnhrfz9r
92pQB7EnolngWuC7RBaJK41nVe0tpJN5dafiMdx0DsitnVhEmMs/GTFti35Gna3myoY1mrGMe+xm
TIxKdlDLuRtbqnvdb/ENwHqXwxhAYpCuHmYat1AQpNP0tZuGSaBgxqYMogcR7qboWIwBdEifpqFY
oJ+t6tuT5cuFERrlb1AawwzeT0W/4t7OYryaNKxCeVLxxwhCmbH9Pgt71bwh7w9SGGODx6+Be41S
TwEq1O1YwHnod+jY/Ry9BmgHjVtctrviSTTXwH+77U7H2Bg6r8lSbPTtNgLMVndzPz0oh9ydFYzO
yZ5xSR4q4JKsnUBZuBWEnVzG2vplzfK2QxF3HdKb2T5jIRZ41Y+luniZJAKtEQizmDFmc503uxta
ZAh27lhRgmdG7WjZTab/MszguhUItNKirYeduoD12CZmiQKakm6VMyQoP3bmRdWF6wg0b/rkHXeJ
NyOoH8Z+S/CQ8dLn4dwE6al057sF8xqI6F4jJA3hOqudOCZb7FOyAg8Qxl0XL630LJGvsZU56Sja
nKQf/tqxmHRRBzhqbHcwt/VE6YKGGy1MDqoQqIkbPXfHYXyV1SGHUyuIGdqDkl2GunSu68F/pKXv
7y/GPZF2riv8VwXIHiseJ+lpuPlphMAVusTCqi1XwXenYXxU3evN3AywpkKzn2WSHDaiVI7UxS7p
ki9LUorMl+evwO6qYIkPa8l0d+qjmq9TZMzxm/262H0BNnB9qYLkVgJTEApNX6Zw9WpvlB30y6/f
K8e+Pghmjpr2ejLX66x6kv206eGsPReicSiOqkOEbhHLApIXKuEfz5bO0WJnFvVN6n1VfrU7TPWi
NpEaooFH/lksTdEp05LJ+opBVzUjjmBTjeH381fbCArp4Xeu610EY7ZN3OTtEi/IoRJv1RWnnNxx
6gXfhKfrIOFViCETC8h+OuPN64kshZUgetE9ETqTvL3Q1InSK8SPosSX+3nehbGUnMqy2gYwJ1HX
3I5VfazGXx0GDn9jNnN/JINxr5q2avYChj4vjQHsRIpDXi/e9W/DWwKADEOxTFB3yPqbke1ixWKl
09ROKPb1vn5SkeDafhxu9xQYZwWYd+eJxrk5Xu+DQCbajwASVOoYRVNFCsD51iwHwYk4QemDAEYR
usYq5XqZ/6nI0BQwD3OXqgLeQIEueKPwUs69PHZiGGUvrCfFaKJSVnAVQ925n2DdoPXqo3WohLzg
vDfRB3mMVphSsXQJlrYxBULeRjVLDGZg6zfoDvMdXe7Xv9FB1NQr3Axl8CwUJWz8LwifqxJNgYdi
/G4ddfOm0+UyKXmwhsxNB2Ffn+uVoJP/iGA87FxhFLoC+5snU2sGcxGm8UqX7n2pj+u3zc+99UVY
yqMXx4R9XOy7UCb/bco8WkrqCun8a4UijrR6+VkO4ISxBBgI1JR6vWvSGDvIbWsAPCnUZkUNDy/1
xMODCKBGjhrQLQqRx+JHy93pGLNY8TQzlWrCCwy7B6hL+BEEYgvHNb3ew55IaB8zNzmJmrn0GFeO
yaKhRm3aaA2AgMDeg4p08kPR/qBVHst+kBPfLL5dv1WB3rCEMIU9VZtVoQRjLeZxXMugy+YviBXh
dTG8Ug+KvSqerah+oHjFhOc5ahfJAk4bBqPUwgFpMCo9Cd33OUpPA3gKFVBfZY5+SJwOpjgfJlEZ
mBuAVAN1dRNdf+PtD9y57bFL6qQC9IqXykc8poHsgc2EYfh+/ZxcS0fPWJORg2gAFviYhWxFCzD/
EeM1W4xX7V1hCAYCBb/PKkcxzWnSqhEmKsHcE1Vf7fx3BGiqZpogpwI7C2PSvbQMKXqe6JaVSjj1
80kvRQA1/MRjJ4Mx5Ajr1hsIwTGCAWZlJaDDvJTZzcaUWh5kTyL4B+6doZWPgSeCkinbze+BgTj0
cgf2gbQ8dYkSqKso+eRa0U4E/RN2ypXVk2avWYb8tghMNKZWycXqqChh48ZpQK0RMONYBCMmH6XE
W15sMy1qNN7o00HX5aDepa4NEMnOBQzp4Td0GTMKOiVE1GV261ptuma0F9TW2gJTJT4RlX+5Frn7
fUYNzNGUUGPGoyBOsac+l4cpSj1SRb9aO/WvH4X+1Cefioappergq9TZceR6kfJlKfC+l9bWnSTT
M2oA1tXhZFeuXASJaPWKNwRkyKAwQi6j67LFVrbRCbBiebQwJ/ZFwToURk9dc3Z+LhTT8KFz80Bc
C+Wq+U4ko4Nd3pBJlVBaXsbQlr5t+sv1OxT9PrWBnY6rcbOmawSrbQ1AFJ+y9Pn671PX+PkbvV8Z
VZfd7/cgnzCHFNr9To+jg7RGxEXCVwXbMnSk7rbK7qvHNv6mckCBvE9Kb0vHO2vUIrfXkkMUl06d
tM/JKEQe5+sDqCoxQWXjxWUycWFJN1UvCCbrKAr9H5tXYCTe/G79ys/5Xf9YhEMgKrRSR/3pOt8l
fppJWMdCKo0NnYYZ28mpJ2mlk7cGCCruot+ZeTPknTDGM60yFloSExm2HkYnmtOjq3uYHAVQOmBz
9kov9YQ1Bf4zYieUeSVXc01KTYLC9H79A/97oYi65Et8HD0zaMLI9q4rKNfJ7+QxKQzmLZWsXJDC
GNl5aMMmP5itIE3i55xo3ZiYzwVGG7ufH/UYH0xtVHaHwDwpP2OUdSNPeUjP6nEOFD/z5xs8H25F
czlc296JZWyvUIBy2XWI+slwAEtIWorGqLgvhZ0AJq3YZntMUV+lT76/B/rik3qk2+XS8bceWztR
TFgpV71PAHGA/Llqn7R+c9ZyFnRh+ea8k8GYszxtRkRGjGlggjqgYM70eZAEcdj9ZSGBnS6a5Ije
Bfy06V0oO8ggmzmYg2inJjmb91E4hqALiR2gjgX6mbKyX9d2gUqw8wzqWi1qnSP6rwmgSM1XIuJS
5JrT7jiM+ZrYC1UiAFx6beUrSDLrwgLYuWiDnBtVdlIYo13J1qaGhoSZ5pqUdO1vVmnRfLZIDL3N
XfCa1UmZzeTteTOgD4T5j0APulAkhpsy7U7DxOBGmpp0pvNzBnoFdqDWhtsU4RYTQarJf67tBDEO
wVgmO011+KG22wbQWpqB3Mmnsh5vFyW/V8FqUdWxOyi2VxnbuVNRPJSJc6uRL012KZcyxP/Fl+Lk
vpaTsMnym7iTBQrK275F6fJfX/mpEBcraam+PZTPE7WJcC0c2sAsn2wM5acX4lqPzQ9AjgftbXUR
uUy++mKGHGVaDTk5o1ixlBVEnuHRNPs0FLfJoDpr27rXjZD/vYkMgGWLKCg2flSruk+azpSgvXkZ
O5r9YC3fY+XZSkQsFCI5jC1mVY3XRotVNg2sx3JN3NnubzdNugHw8a//vyMx9yavRJnsFZMlY39e
lAcM4oG1JsTUq0CF/8Ndvt8dY5LtjFA99HCXlCWi8MbWoQgf5F4BuygQZomII4KrECgI44Fhyjbe
Sx+/FdCjki3ZsDFk2KfR8Db5h20/X787rk9+F8FGACK37TJvBJ+pP0bRYZ5ElVmuHuBpCZRHGcUt
tkHUKUZn5QXcGF3WVxHbALgRxJf4bJxil04EZqBAFmWqIqH0v+98Z9bEVaJgQMuLrW9pMzq5UgeR
oru6XYpcBtXjT0nx7nxMGjLP3QZEHVS6s6P8pfPo5FnmYaVgO0THKkO5FDyPvnrAzpyMcjCA9TGM
Jjouv4Fgy4RYYG4FBzpjAemgAswnQmberm4xutWRTsmQL1EgXarEbZ43PwMr1XXN4WcsO6GMNdQY
51NsxI63OJifAIan32kPNhZTQAr3xsqAwctWFEeEZ6VGs/u2fRW1zUiTMbNxO49WbWtXcssKKxy0
aru+/saemQHrUxVdMUzV+tSdq9JaSxa89LXqVpFwv5tjVk4nqvNxjX0nhnGYpVmr/ZziMWxX36Py
xxpd+uzr9U/GNfadCFZNRmxzWjFKiXDJY/7aaj+u/z4/fu4EMCqRGHWUzWC/Q04u3cp+H1bH6ISN
nkvqU7JJOSh/Db4e5B7eHCdT4Gq4Rr8TziiGSfopKxOqj3i9dU/TgPWe+FWJfwPU9oM+MM4lH2I5
bSeEmzSLX6wxSZx+NbwkVx6u3yY/3GBKBA0RTVZUtptKlKVfIzqvNQKNYzi2/8tmQ5eUUNXyBNL4
1/evNLadWsxR3lgSgpsWS4fNHB7jcXX63qaj6beFpt4kkvS8peZxxo5Wr5feMlROMalfcqOigODO
Gon82huL3yfn+n4DbPPVStemH2ZU2NuunN0mnkK7AtTh3L1KetU6Za0uTiRPq1um6aFIlEvRxc5S
NU6SkTvdVINu7k/2qhwr4J3levJsk+whTq1gKdRvQ2fXeIZEL2W13W9581Vat4uZYMhwAhl1BIFT
355mqzsvQIYFCO3dVFWPg908zf3kVMPoo+T9lFbyaxEf7LImTq4u2ANvW18hvwOlbCgqXDutMFlg
zfvo9vRyK0ugvCuYJ/qD6JqT6s9SLRjR5qnAXgaTGyYYmtumgo7oKrflNnp5Bl7u4jYtRTOyPF+3
F8T4umiOly1uOvhw2yVwptkQLKUoA+VWcxRZoWkHamQmm81rdqbJRQkpvU+JkLMgOhK/8SmrjnwA
kvd3gQXx3OteHlMmWKOl2mYsCyM9rIGdU1/0Y+fnaEI3z4pbA4ygEq2Uc13EXiSTIdroYE52LdPN
UPsWRI2h+r0HWI8MiKD/g4vg5To7aWyXPVsrxYh7lBxnlyKV92HsS+4MGPvYVW9ED1NufrGXxmhj
ZuWanZhIajCIS8M8iVxgaAOMqETuOB/zW0C06BeRz+Gq5rvSsFhcNUhu44TWYSrDdMb1a97ez3Li
CFRFdJNMJI4w3VatKRoVeljcmaC4yV37hxb+3eduRPTm3Brg/iqZuEzMDRR9OTSzOBZ3lYc85g1n
0vSkxq2/YkcGEwr211hYMRbpJwvVVc3dSuT6rapFARZSTEgAVvsrTQK60BCZg8AA3wjGdqlhPK+N
tqHI5JXdXTKcLRGiL//3gQ+uItUmKPh/9MHtllH+KqRo2BQ7mRF5tYrtcF0zRCKY5EIzsb42ydjK
TybiDct6LGQ5uC6CB5di4OX/7zGYJ8toTSWWPugxjvmX8rDdACze/oPqXhOWtXddGrfus5fGeEV5
SqKhmOA0Brx7UIMO6fJ1lTjF4GQv043lbWF9BtbpU+HGrxQpM329/hfwLfr9uIyPrNbNGiod7ZlS
9hvjtAC5SjiES3+DTVR2h2Sb6GsLhkVLxTgOrQx0t8sBNUhAx2avEdLeNSB46+qDE/mZG31ZBHFH
oDKf5i3UNa4NC8Ydr/GpG8tTn8+/56/+vUMW42MmRC/kFI+uf4ARl5s0nNAnrgPpKJpO+4/A/S6N
8Y6VlaZ5WU80kFJY6yRAo2l7GHzjVPlVKJ0r0fn4V4ghDgubQ6bGjpIMcprb0QqLKJVvdvYYZaLS
EQ+f1lAw36mC4g+jHOwUR0GIFNfZSCd/lACvdPNEAC4M6KCH2E8vNrA+Ft+glQLgz2wuSCuQ4iuC
QQyuIbz/DaySdnq6EWDqKF7VaK5lzUey3ve6CGiSH7dRhzABhoGRVnbeI6uTARxuLU278i+wA8Q2
A9Bq2QtI29z52ITJ0ybcEaI+65MBghUJK0o6pqjYQLPoU1W2MVJX81J8pXtfGra/6AUTkLiCyxjX
m/5MTsJXE/dO/03LFXYSxCDZsJYRHp0YQV7xHHLo1CvoP00ghTWmU0+O7NEql6hWzFvY2L0HcOqP
sWjd6lw3aO8cjaPFqdtSdY0uPubpemqtLmiiIejWyB+X6HHTvm+yfAugVmeZpCebYG3L6A6jaj1f
97T8cL+7DSZAmou9NJvUI7s4j1ggSU/WVwp5aLgl1qaEd89NonbSmFhZkC3u46gC3sU9nT2nfc3o
QO43v/TEF05/7LOC/fP+UtjRlaJI4q6q8P6yVtDBGQ9zjAtPVaf4nU3qD1+WCZhbZaelbuPZsp7U
zqHnQtEJcbL10qPkT6WznOK7GDlb9LB9n2X3+jcUKTQTLRWl7CS7gl7NdfRNVSUnBWOnk0jb/zvA
we6Uqsz4+HHUs7Sz0R8ewIul3hTpS6KGpiWIjXy38M9Xw0T6RysZomU0+p6+aDdwVeSAQGylwJgG
b2qzcztLhSBQ8rUEU2GaBT+EwamP8lpDbTKZco42GLC3uidlAXJZrjhGHf7OZ3oXRG1jl+qOeIop
uobEmqzDTUIKp2tNr0tE/PbcwKi+i2G+0txr09ok0MW0PWvqoQY37PVz/IfLeJfAfCF7a4ZJSbEt
W9QOtgX9N+i+B9tVv1lBfmv/ui6OO7it7A7EeKgMKDx/LwvaYClQzOymzrW/Rql56BQrUBc9QCXJ
Has4UJX+tc/T5zbRTsYq3SR58jKu2d1A1KBUMZM3jUFq2IfRGu5WdTn2fSx4CnBzyt2fyri3vB/k
JO3QqcuOKfhru8MbDGogml7ifwENFSUMH1vAmWJ0dsZ6Ocpi+MZvs5OH6Hv2smCbFzi1IUhQhZiC
tFD1yZHuxDGa269JPeoDjiWf0D6/JN7g0HWo8lZYQOBeoIapLAPLKBiUYt45SBWStmyRRsLcveW4
PVr3tGEfeWvjVCBQBC946VFmhzqwj4Cfuq5qXNPZSWfcuN1mg6wRRCdd8pW6c9R1FUj4jy/3fkDG
V5eZPtv1gKTSGJZLYWUB6NbulvRVsvRTNiSOvBSB1h5motxNiuxF+hxcPyM3WGAmGW0nwE0BQOaj
FzKzIrM6CUFx7LWztZSBpshHU7IEYvgp5U4OYwp2QiI5X6Gi9HmFMf0AIGgoPQ0OMRwNk6oUXFCE
XCo6G6M9vVTnjVZQmcMPsB84qrU6CTTn+g1yWybK7miMmmgdmVpQG9IRHLg/F6D6EojOlRPdDIi8
7DU9zt56TE6GF3vlS5Z51+Xz31owD0ooKssyO1Zq1kkxjSCSgJFQ7BRMXbwiZXblIMLMUfRFNAFM
v9Qn69+JY9z9aBSmtM4IkBkIdpK+uwWQEpaMDeDpGD+vH41rgDtRjHIm5rpWmqShlJJPQa0jGTVF
Cx0iEaxedpu9GR2d0UlnV9+MMJFlQaDnOrHdKRg1hH1X40qzQUxM+1UwHbTwd2dYgcL3rxowamip
tT0rtI2NfeI/czkO003/I9WLQypn2CbdHKUVEV9yDWwnkvFeWRulCEd4LOgj2oM28azGcrMoETkP
mqNcUTkWXsFUkqVuwBntFbbTHEsUIbsXEEnR6oV87lzpqAoakf9hUwYBWZupWTo7EGy0PSjHRgy6
/dt4+Gr4BV6/gDEPslCEwsd/C+Kh/Y88JqTW+WRkHcU/av3ovrujC0XEj8/Ely60zlq4hrfeiKo0
fN1/F8qkhuVQ2aNkQGNU7LenvQWoQWGZnKYenz/duwzGWwy52i9jTmWEtAOwHLC/pDvmTw2YI1L1
e4ryLo1xGHXbgsxZov2bS/pMgTaTIA2LG/OWEn+IuZ/4rvBdHOM8okya5EYi2L0YxtNUF4GRoYKw
xt6IOuJ1V8jPFHYawniROS/VUpKRCiVn+20EWPKbw9YBW5YCopr+dXF8y34/GeNMmqmV+07C267M
D4t9b9m3ufxwXQT9iU+aYYDZFZtf2JxlQWlIhdfjmEPlLUCKbxVwPMvBXaOvuXKy1NdpEcVpHkwv
mHjfBTJnijG5Kjd4dMHGzJAummWBnjn1JXex1BQ7+i3q507uRfjXh1hU7eHamgFMbMW0DA1rILiN
3WtPA0RXVhaImtb6h5qHOhAXrl8nN8rsBDC6WJCuSdUNGH12LjukvPQWMGjwImuX0DY8ZXoa60mg
JPw2xE4mo5NRL8eJThDZoosCnB2QJB76swrENjEuguh4zMdDB8qs5gFxGuOtpwFABk5sbudCX5xO
rhtHBRND1wLQXelmgeVxTWF3SCbIrUPb5nYCdI7VkoMkzvxxBZy5MQuyBIEYdowPuHitPW/oJ9Yd
2is1eElHp1B7wWH4r+f307AT3Ks964qWwEOub0B7hRefAMt4Wm4U7AZ3h87f/CWkfGeNa9zlWH42
RRtrfEsAcDAGVWwsPjNRp4jlSVs2gJlqHSTiQQOw+MN1W+A7SzCZ/COD/g07a+tU5EHVqlLM6ijU
/eoWTZyjdi+BaUInjsi2+dHbVG0A2GoaVsmY9zfJMiIVyL7eeiug+wGxhRS5JHO3GCCGlqPjPuXe
bepA+52GwE4ykzc0KZK9acJB7cHP+9u1BKLl1+uXyVXMnQjme02kK7C6i+6fPdyU/a3e+sn4/boI
rkrsRDCfq57lrLQihIJYC1r5xoj+uv77XOdhArnOhgO2MIjLqAOZzSktEDuL1Nern3JzruOLkd+X
2ebM3fdM+vN35AFxzUA7yrRZaMFcU8oyGiY6GzAc8xPdL8iwxSqs+3CTK6JB4QxDNzR2Mre3txR4
vYjStvlcmiRY5DlUZOQ6JDsqRfyt3Gxn08cLZmhcMOW410/JVYyddCbi5EVK4oxWnTTVqcYEiKnB
rAlqzHzT2glhQ4w2rgmxoBqUkgATYng+UdYY298ABDgH/VE9YK1GVGQUimXCTQyEJLyroTFkcJM7
8GY85qOn/xq99E7zFz92k/vkUgnJROlpPuVEu9MyirqNetUAlhiECNmPoSpctIRa+b5eb2RVwLEt
+HjsrKDVS8aWz1CdbWmdNbbuy/K2kiqBe+I7YuASU0RzSyNv76ydI+6lgaxtgwNJN6Of3NG2XvRr
/bkBR3E9iNpJ/DO9C2PciGnkyqKhv+ip+WGqjlN9I0WCyML/QO8i6J+wOw9wt8feKoAlU2nnHmPp
Rj95XXwp5Q2oietvGdi7MMbARkClRnOHlKCRgtz2BuVERHtxoitjzKswqkkzAV7ogV7kBLSk3KmN
6M7CcKggPaV/62fNfj8LY1B1PCl9asEljgYWazO0yhPzZpGHUGkmwTfiRhMLIEZIs+nKAhONUc5f
5n5EwLJk4qb2dm9klSBgcQPKTgQTdldTHpO0QclNysgreg3Hdahu5gg1cLxpy14DhPRftXBtjfux
dlKZSJwPxjirJcotzWw6DQD6LevBthLvulvnXx868KhK26gLMyrRTm06Njo8rppcLO0uMV6u/z7/
FO+/z2iCpFs6RjXw+8MYKuptju2sVLCKKRLButEkMdJFwvxCosWPDeBMl7iXHTBYCNybQA47TVlu
Raa2OhAeonRw1W12hn5weksJr98Y/+Vqy3SBQYUTZafW8gELfkOFLK/3zVOJQfL0JvWnQ5461jE9
Kq4BHFXJU28kb40Fdssv3O9kM05oAEtxbvWYyKOVMN01DsvBePh7QtV4Q5gYXRGlJNe6bIrModnE
MNhZnjKyI0UeoOfqVN5O6+paGJVwJqP9E82gsMuNH5Udh2uq3gvumRrQJye1E8wEkDkdJz2m4D50
g5cWj6rXHg8xsHbSbRj7LhFBJFJb+iyQ0JcDYiOIRT6GEzR/wOVGJ+uWvHejrQGVlF8vz7P+0IkA
vXgOGN1zhcLggXudnenpS7C6qi0AT9TitEiRZ5IqbNB8yadNYH3c4uleFGPh04IVYZg5bUg0Z1T9
vOoRAMpAGihdeMxjdtl+Xf9w3LMpGBEnKiKMxo7wKFYUZVk8IrjEm9fU8c2U9DdDjKetmgjyJvq3
s18MZgjoXVUHZhE7HlDHerFstBpgqDEoBf7Q1tfZDOf2EJdB3yaCDIDni/fSGP2Y9UgDAIWJkpXp
betDL27e8zRwL4GJKRjv1cZsxdNVeVy+SWA8uNVdWgoA8prmjD+l58Zvz3TaXjjSLJLMGNu29fZo
guTJ24oaQx2V31ajr5PxbsAw66zPj9d1hJuK7k9KnfkudTPlCKMddOmbYqG90Qfdmuhcv1G2BKJN
Jr4N7PSEcZsYAF6LeLOxR3WavAGV77J1zF/WcQwoM11i+aLkl+uo9+ej9707X9xFRr4u0MwJ9A1Y
DgZ8nu5NB0rgQOnwhov9fROkQXy7ezcGxtBVUlRD3SI2EOVPBChnkzKvsc9SLJpI5AVajAYCEZ6e
UFGZgN4oU9JqOgTF2cu8fZPyx3QUtXwEMliSk1VflTRWwFxb/gW/9ZWyuOUhwVin4kaPFK5EPJHG
FamC1wPAkdj6ZMcbSqOvlYIYNKEznCEr72a1coumEfgsrqXtxDCfKUmHsdBH5N5VK59qvTiaG/jl
beWmAc/JaiSiMEq90icfuZPHfK0OIVurMnit6Kk5UjKPOgQYOh0jVM/1ragKcv0SAff6Ue9LpV20
qke0iatHW9+cpD23Itx1btkUKIL/+6WwzvdRiKIn40LkGDlB1HnRhpBWR6CgHqKDPZknNcuOsVY/
lcrymk2lX8ij16eyByqDcJJbf+2wZw5o8zYzv4w5aqob0O2Szq/6KsjbURNEDW5dfv/XMmFjK7Aw
t8oAalDyyqk2DdBj2NmYt4u9yccxHsI2IZInd3PrxlPu98os6kZwA9fuvpiw0g+bMcwdZsIsIzD6
L2Mh0LHrKg3Wi4/fo16rtakquFerBkhcP/qK9K2NnrLuycpFvTC+Z90dhmrgzrNWVtROo4mauRrO
fnTSDhKqTzYm3FJ3A3YXmKaJI8JD5brWnUwmfoDGXS23lCrc12FsX8caeROYVLUy9q7HRY754KkH
mkC6laiCr+rj4ZomM4uW9h2KUnYs6d6W7hrRHBwvGkIICEroUCWcOOMREluOUHFCltH+D2lXthy5
rSy/iBHcl1euvai1ayTNC2M0Mya47+vX34TsM2JDPI1j3Qg7/OAIVQMsFApVWZne6IlQacVtGIN3
RQqMv9Rd6HGTi+1V/THIBvMqaYlk9uBEkatvaXY9ZX/J3NyJ/mgmzGFR0D8E6g6bx0ZvsVebUPwb
ON4AlNbt/jd6lw1XPzPDRO8k79rRVAiWMqZ2GOE9Mj2HUKCK/HxQA44zbITuM2PMh5I7XS1ARIBz
qwwPGYZn6yFytSy563r1pIaQSesnJ1OgijJnft03fjGrdt0KL6i47OKpOnUEsXFJD1XReUPSuV2m
ekY6vC1zupOFZJ9bzc3YozW5iF5ohqCdB4GVIBHM+46uYCY3oBe0u1rdF+NiGzpGVLrhGAvdFVhd
TlaoBIKh/ig1QJ1i2Y97YVeGYeosneImSuH344CorIr7pq72dSJc1c3kt2RI7cv7tBHe8NEVXAcm
COM+oea6Ll4G0SwB7JQwqkkCPdI4Ft4xm5+8a2WCCQAQW5KysgKKe6rLm7FqXvQ02nV57xqRdJzN
6hAZwk6Qy++TqnwTFGMnZFBTs6y7UZsiP5xLX9JSPzWs7/pS93bY6gezKB/SYThZ7QxZyTILIt18
TCvhgFr3U4UwnTTp4yD3p27OXkzAGS5v2tYM49muMaGm0AaSqjmci8Jhged0c2/axQgCyQ8qvR37
iVMBI8edIt506tVWMieoU3TMyEj4WiVxzKAC+HAoMVWioM9Z+iOinnd5oZsndmWPOUQdBL9Kacnx
0hif2/5mwFjJEGHOIL0uTf0r4RuPXorfRFuXBf9JJBS0igC/aSn39bgfkgdh4PC0bcbSlQnmrlUW
SyQTrYqgc+yN5ngs8sS2mmx/ede2aEFQbxQ1CggRrU8Qia4w5Uw1AbdtJ/UB1OOg0dAc03jWhv4V
XHFBF2pBrkF8bvktZWhYNLUrm+NBiEVOcrH5S9CahmQzBbdhW8/vxB5S2GOn4U4s0vIwSIpiG3V9
W6Z1bI8lSm7ECIw8xdxD7U2zCJIY6RZzFvdJO+0Ns+Ycmy18qWWhXkpn4EFtxTbMQSeqCJWuiO8t
MFyhgX4LphYow7aQ5DGvqCYyHc7JoUiI+UTtkfeW3brn1vaZ71/ikSJl6Kyim6n5lC3t73vuC3n8
2TKpG66yLNUaG7mKUbQtzJ0p1E7dVrZOJE5c3XLm9WKYsNo0ZV3olAFT734s0tscHkKTo0C7efxX
fsyYMKZUaEgBP9bDys7b3FHbwFIDIh9CI+KEmu3MyqTcCED+G5/QFIMVWmWTIrYpD0lsh+/RTblX
TuNLuR+CyC85xT364z9dSxYlrwXppfqplV6MelvnEpq+lZA5UvaYy7Mz5YfafLwcDbaczvyww8Jh
pA4wJlESRLdA11fayfvZp1UoHvx361tZaBXRDjqKze/bu3K6JbRUoVLwrSzpvmuuCrzZ5hPSnMVK
OF9qa+NQRofOoCYbkApjXpBdERZpgy6Ym+SJ26m7ReudCWKjRvF0eec2PRwTSrT9Jeno4ZyfI4PE
fZxNuGUFffG60rjX1WE/RgKHaWTzNscH+o8dtoNshMAWT0mKyuHN4KoOMP1IvRLXvLW82hV92hzI
nuIbgHx4Prj1ILOgkYO1qQZYr9kWlYmRsJ7QEfvhRT7MHsZEA/W1eY4dI7AOmScew3venb65qyuT
TA6h9WVcqSXK52KI+YhMvTN6xcOYGAfvsOX265UxHy9Maj2xUhS6rLS3xa70ZkB6QivzTQ0svbq+
q/LKneKW45yc1bGNrNlQl2ymcOehC/rKr5C/p18yoUJpE58Nghf0J6xOWm2KtYYuB1Qghh8JBmlA
xLPwhvi3l/Fhg4m8PfQpUd5CMETyek+W2NYFyU/CnrOUzaBrYQz7P2thElnB6qJGL5DgjY58kPwx
CPedPUIsSYa8G6YUOfUc3rIY3ytqjUhNh3QEKrkuehJ2JQ47EpccMzK9yNnYvl4W43zDoBG8CijR
nyXak6y/SXO0U6pu3yXDVbIQHyXKHxNwU8vcHUSpP5lj9nPKMoeo042gm1dFaXqLoD8lo+jWVeSh
2nCEymoErtD0yoiqa61rf12OdpzfzE7E522WG1WJUtcCpqM+v13CL+A/EWz+fGyWnKHuSbMUAj52
Pz6F0jFOniweMzxvEfQBszobaV2Gg9yiwGQqr1r9s4z9y5u01fs4WwNTjlumIYtME2tIroo9aAtO
lif8phQu4i45cYcnaHr82Y/+pM9s/5aEajyYKS5V4HEd1alPaNa+3968lHHzTv3I0zW6r6t9wzvr
nzx9ESDAMuV2pu5JGvmx/HZ5A3mGmOCltpMyJzH2b0i+D+gQTIOT9jsD+oOX7fyXm+1j65gIlk25
YpT0Q82gxDZ8wHO/xwd4duvne9Dt7tK3sQM8/bLVzSRotY1MOCtHQ80LyUASVJ7G+CXEiJxpnrou
tS3CkxbddvWPBTKxbCRzRCyMM7pNBVn2PoMkfBVcXs5/Cc8fNpg4prXxZEod/Vo+5ZDI7wYoiQPa
TNv4+QMpIeh02eL2rf3HINsUJkua1ijFALtdp3YdPXbEl9XYbobrNg7qMahQZLhscXMb0RGjEAnd
Qlfs3PPDpS5nU0KonvOHjtyYytPlv7955az+vnz+903A3Cr0Z/GsMHcEFBDzMYn/PXiG/vA/S2Bi
khl1RT3PUJobAOKcX5Qy4ApWbzr2ygQTHwQpKsOlSZAK15Pdle1uIqItSygj6PJOaAeO421GiZU5
JkqknZ6HlQJzavGmx+4yXC3tPms5KeIWGuhs45gYoetNGBpVhUzqkP8ID/FBEB1sHrJuqbEVj/LG
kSC7CoGw/EJXAqYhzQ28CigMWQ6cvprGvBWxQhReSsqjisg0Ys4qSzs7NZTHrzjhH2vs3W60OVk6
SAK7AD8a4qNQ2+PECX3b5+jDBHOOVKItGQarYEKDcp9l7hJIbl5eBc8Ec5S60KzqZUb3VbI6W0hr
J5s5+7QZfj6+Cgt/6bQ2LxQLNcAR/NUmkbzWaDAWc28o3xWxt6Uv1gRXjsBy1xRaI4eqRIs1+v3c
vVbgdAp/X943ehN8yiJWq2JOUx6qwyh1wEa1KGwI5DFdbkTNepcqCR9zfnWa952YYzU24LRcKryb
UTanVWKIgQGoatcv4Ly9gggVlSvheN92lIVUnqWoKroIzMVLjHhSNClGMaX4HvWv9fwsj6F9eRt5
NpgLt4aW56BJBJF8KZw8/D1gPDEzaveyle2SKVWQ/WcpzJ2bjnqWSAIuDJDs3E4m+jl99tplpauF
ZN8a4S/UVL8VaVLb0yI+CCCEHOmLtskeAbXnRcjNNVOoJAVpgXeX+THQLhcXacBzFvzBQRhoph0d
5leEqMEGfbcNtfvdLKJWytkDemN98li0hChKBUPDbENwGaPKFP+GD1IETuYCgfOq2h1mqrogcrlD
Cpseu7LHfFqQJepynqKkhMn1g+ghWZwcy0lPFGPU3iae5fa8p+h2bqValKIcmt8myxcxy9UA0DUO
vninB+muxvTkT/0GEBk78QqHZ27zRl1ZY86kZeagmDXwuuviAZTdx1g5Llphi/3L5U+37TAfq2IO
olTIVmlGOIitfqyG62S5qTQevojG+U/egfFTUwLRhgYpn/OUqs/DNJ06TCdIN5R6NfO7N9WlDCbF
gXDRYJsLAnkRsnZw4eksXkVbpDBKDSCTJQLOmXJ2Gk046m3KSXy3zUA5EawgloRM9HxNixJlWpsg
Rs+6akeWBUb3xC2ajJNYbY3joDcAqTZaEUaTi/k+OpGbIWwsERl9e5APmr8Qe9qJt+KveG8FuW+8
pjd0Lv+yV2y/xlZmmQMW1qO09GAHcLUb0XmHLQQtui/Lc+rIN+2++a4lXGHfzct8ZZPZ0noWzFyB
8t47lw96PXtKrQOm1f3ltW1+OV0H5h2KdFR+8/zLxXWu97WBptIoZ8cWqXEEbs0h5fHWbq7GACYX
8AhTQWQ8NzMm0pBMKnJVAKTANpwGlPuCL4GzHZZQi9ZNC6SoYEI5t1OFajfMC+xQ0VkDLMoCGAuj
vY7Rywahd+Lhmza3b2WP8QzZzMg0RuiJkWqv9N+KzFvCX5e/0GbsW5lgtk42CSBlNR6VWdG7zdDa
E3jqy+m5kDjBb/MbfRgymW7n3DWKJijYu9jUd7lhPE7KSCEBRzOPncESrltitMBnqJw26+b1tbLL
5N6NpSZSJJiii6fswWqBDYFOyuU93A4ccG/ILVqIHu9+s6oQpaOa6IhL6MXpcu2PpAuKagQS3Wj8
vhuuFyhQtEr/PZvUxBUFjAvp86Ea+geIATqqADnNsLGrgVdppd746SpY/Sq6M6tf1aBGGk0o6rqi
6k+WLxIQz5PrULjql3+dYVJKIKrlDmpUKnZ6bimK1FZPZ1iayHciSp7S/szbcXd5lz8vhxqh8jCG
DjURtt4XmQZCyYx3mmLVo0NETD3r8nwXSflTYsxe083eZYMb9cxzi8wGAhenCkOCLKQBLxia0mgA
TbYOkenCix94rZ+NBjy1hnF1iKzKlsQWW6xca2IjhTU6TQ4Ok6Pu5vvkptiVTu4MzgDa19Q1c9u6
aiE5zeNb2vDhc/M0sVh5iyH0pZaJeKOKd3j/kF90iBLkH575CBrJR+ugHExQ+MbPl/f4c/g5t8qk
K2Ux5JJSwupoYHhY7uxmWoD+OvYGJwxs3LLnlpiPWRAzlVoF2/vOvPyQ+LOAxj/6KZSVHkIZfn+M
nkdezW7jxQKzGBqxZEPCh2VrGZNFUg20JCLKKKN3I9iZX4h2dqSV6ia40yOb+yFpQDs/9mcW2XrG
0ndaodd4YVKJe1D9Q+na8Gaf6lLyKuMbRaJzW0xwXYq6NARKOqVC8QyPEbF0rOtad1KAVqVDhml0
8nv4oTj1A190dgN/fG6c8VhzHsAOCKYEN0Q77P3an+60OwOt2XHHE6LYjgVA6ojQGgVrsMWEOBL1
1phPSJgKzBpVD+hS7RLgZYE2z3YEmLd/f6VgcbIpG7IG9CcSm/PjOFtyGy4Lrn7INFFKo+FYY/AP
nvM3JX7kqtfF/0CAsr1ORHAgS0RDVdn3w1zJAikpio0O4hVufMAXdfQbIZB3YObldPfpmfvkqitj
zJlMANObhBzMa6mu7NKhdrW6318OMJ9TKOzjygTz3aYuz7WEMrokRgqZhsqeuiuScuAq26d8ZYV5
QeaxBmZSE2EMxQY/+UXhU5ZnfZeue7ffN6fkxIubNPP7tHMqJIR1ABNkpDfn7qFVddPKGsp9phU6
cq9f1wq0NsB3XqfLVZz3V5PScwB6G1AMbOXKJnPeMLWiK3OJCGp+R+V3r/ndQwxyRc2jwyvDAZhR
HL3Y581pbl4RK7PMFZGRRtSGEXMeMxl3hTp9A8GRY2rl7TjxxlA3U4yVKcYfpzqJpzHECofqThPd
ONV3sbUXOmCGs6+kTCtTjF9qFZ7urYTuZRmfCmW/GEfuB+P5COOUk1k0gzWi9bFAeTwBGNcQn2RI
yy0vk/HcDrH9hZMGeXgNVRu0RNlXutGUeogKMar2mh8qz1F0XcWc6sbmYf4wwQpL1yIGoasFsLq6
eGgnqDdFd/UXpiGpm/9Zh8EcLdDjaZFAuUqVeEba/kZazqDUdrRYWWAOkjjkRl73sJDgEKVAJ0u7
3MmelSC0GxtEGaH37zXjztfEnKFIlEt9DDHrHBkSpLj3efESTz8vf///siyQvIJFFw9ktnySgdfV
SnB5uFoEuT2McIOLPILSsuFRxT2Mrh95+cd2aPiwSE/AKmedp7YTBg0WhTaDZMfiAE77kKnVPcmL
t8ur25jNolv4YYu5kMWZdONIIdCtZx7Gp8SvjpjNylUb8ok7I4AabmDeU/7EdleBwh6D3JAC4xyx
DXWIsx/BUlRGYzYv1oRKGMW2T6hTjXcLxuUx6XKqnuPflte+jFdUO9KiYgIoWUWu9Hp5I7Zzvo+N
YGmoeq2TlsxExQDjGft5svF8dadjCNEs+kgp7kXf9MddeZw7m6e5xPneKnNwqoTksjwi3RTyG6O/
LnQQ12h7ovLgu9v3wJ9vrTLHRYzUtM5S1CpK0el70za7tybDU11OXY3EzuUN5S2KuXTQPS5rI4QT
L8u3PvqrV2+B6rcHLjR0M3hqAG5hCAt1CBbgLZqdQnSMn7qDLDhTmnndou5KWedFt207tE4LaKiq
s/4x9xjKzIT39weIgn/IT1R2c3BmtAu6U7vPMYHBSxG2386g41Nk9GIUMJSfBwJ5NIswlmFTP3Uu
0GQ78mBC+i6Ynptd5/09VtvvskPooEYn73gl3M0lf5hnYcRlujRqPSA2aORpjiJbAJt/FWbeZUfZ
vM91yi2GEjWYLKnXrqPdQJJZAZ+/q4onEMyr8ylVn5NlL/RXXcYJd5uZuY7xCBXvVstgOb/CqDTS
xkCjbdR9WTw29dPltWzv2MffZ3KTfkoypQ8BngGy3Cl7BKsqtUn47bKVzaMF3gsVbHkaOiLMOV7y
cLJSA+DhXgoIhgETMA9NxZsg8NgGNyrDCMwrS8whXjDGZY4i8nECQRNoF/toyhXOTzoSL+9aKFhx
gsZmhFrZo/u78gWBkGYqdPBw9lazr6upsUNddZK0c8wkD+0IlDeXt3LT+cBSbOgyTrZqMltpZV25
yJRZSVO8vvQwymXNv0j7prZ3+pi6l41tP+1X1pjtjJMJrSUVVBtkP7iyk0J7rHgzAt0fnlrO223T
01emmJ20lkxL0KXAqIbYez2Qw6lRfyVtBW4LTzXao2CB5I0pkaWc8KelCNJN4htSZUfmaepKNMZ9
ehKurDDJELTaSaLNgKuPh/xonvSAymijW+tZnv6r20FU6VB9a2yQz3LVMrbdf2Wbib+W3lfDHOOV
3bgzJYeH4GO3S/9RWgbVLc/9N73xwx6LJB8TNMYhe4834VR7lbw4U6i4Yj1cK51g9yCGiBPV4/gk
Z3/Z+uyShqk60nH3LEsjOx3N2ZX0dLEzDVxFWe/mtXyaJe2vMopHe6zjW7Vr3iw5eU7nYl+laiBN
5Q8xyU6xVb/KXZJAmlX3L//IzbC62hcmQTIyS+jUmNYhWvSwUwPhGypohsjbi207OoaBMNMioUJ1
Hn56DIpNaob79m+6phwqBOD/OCLeSU6/BwzBV35dXtl2fRpDNKh5SKqF58W5yRyjNcAjYmYB+ukO
cfqTvodUK9AzUSD/VH0qEx3dSBz04PtH/XSoVlaZQDRX4miREdGB0rkUlFkQ6XbsdccMan3FW+9X
12CGd419BN5N45aHTNjc55V5Zp8NjEmP7Qz1nqHVrltpccExejOQmRMDN13bUjTMICLpRYQ631to
licjyHJpbby8TkHVqwQoWwVfSpNWZhjvRPU0mvscSJKO3LflUxGdJt5sxnaZf2WDcZNJQK19Vt+F
REevche/uKVEQ1CPvJN/KngZxTc8Tpztj0TxsSJyQPSGz3dParPekmME3iIH0ZX5w9KeYzRSL/v/
Vioj0fKbKSoQ+mZBXGMZ6Zk+A2zUyqptAQljfDNysKHyxIm3Eou1HeYWUVK5xqgvjlkagZO0Hnsw
nSxOPZdOFSpOGg2cvGLzXK8NMrsXVnHRxSiHucZN6U2xvYDmFaKzzS4tbXJd2VTzU3/GEXMvb+jW
V8OoqwmQA/4DhML5V8sMMiwqbe4Z1n6pnq3JrbOXyyY2r+S1DfpRV1maOgtdK1PhOfQrB1vz6yD6
TXx1b91L190Bmn+QqTyNIK0JptevvUrW1pn3AtS4LDOkp3ouvQoOmYFRtm44fsnbRsZf6mUikRHi
881SYJUHLT0UEic6/ZdtRLaL5jqIEFjkaR7WyazRT6UG1WMFdYcyc4T76jj/tAIMvB/GXfbSeu3O
PIUej5Zle30ftpkLwIxmTSuoUmGjeSUqp+Juir9ddhOeCcYTh14RlpzyM4URcSJVCwplcuKo8v5/
ZhhnrNPO1HIqt6m298l8NdZ3Yh38/0wwHqcOgtAMGoJHpN7lMqjIxNthiThPH952MR431TokZ2jR
b679YfiWWntTKDlevdkGk+iD7h+XY6KSjHpMmNFu8eDTB0hLM43rKDCCwqueeK3/yysyWW6psDba
MKfI6na+CdFTjKobi3cx8mywV/xYtgKhUGpJvIV0nS2Xg5PrC2ffNvOlj33DZOp5xEuzWqpMFe9S
8TBdgRwFM7KlZ6HvTXUwdM15J6Y7qnbzjRybgE9tzVsmc/2HdSh1Uo2tnLXO76SfVaH4lcwV+eCZ
YaJCPoZLavXwwRwFe1908OiAQJ2UOJboAAC8V5zSBfZ35uWD236JDVbQgaagJuYz6rnQx6mCGb7G
126oxBm0RSg/VHEN7v8dj7eZLoPNfoFd+GON+Zp9RdIqhuyi27RunC12qvGKn9wFMR9M7jNCQLwK
6ECw+HjnA26Z2ZRrFru3MzmhY7OuQMfwUdOiw8FsVx0dwzzT8/c+LT3WxClPoU8PNWqSuy/EQhla
34pJQVEshLnJs7TEy4vONjVXpIBqj9w86EPEaaFvb+DKDhPWpT4yu2p+f4pVe8FWILWBiQIsCpJc
fJAS9a9PHrGyxkZ4K6mjNEFGQ0UZx9+5l7gqiPeiExiJr0RXCqg6dXsTo/sxB/0xfb68qdzVMsF/
MJtiqBIUGlpv/kv1MJH/ODiUKR8Inhse1H7T/VeLZS6BZR6beKATpg2xMOBtXGu9ydM1pX/j84aC
3BKEWO/CHucBM47bhEgdoSIOtG5NRRwomJTXKXsvQV+yw0QssoShagk4Z50rOoa/HOllpkAlnWuJ
BoVLlmjsXCW9sSEUyGjG90/0XgsSHOn6bzKXfvcFlVD6PDYsFCGAlQHU6tyaUFakbyoUqrv2kOVX
VvkYSonb1/syfMp1YDDLG4PXu9/2iw+bTFiUyg6Bkco2NOLVXO9MtNY5bv55tvl8VUxUjJVWFLoF
bq5Cz6wPoEaxRyHZjt0vfq2PtTB+AeoVIrYD7dbcaSB2Udzl2B2tH+W+9LPfvLKdTMPDZ9/4sMb4
RtQb/ZgTAf1LKQfkD6pY4IuEOOdwH5qiJ8bK25SFQTeWvqpLR9EUXotl+lGT6FFKulcM+ARlaz4N
qHBbaRVoDaJAVbtW/GvG/4rHxm6NLrLrKikcrcvu9KXgPFd5n56JtguIMuS0xVs/78KrEC2eMTaD
yx+fhrBPe6RgoELCBY/HPhN1CjrDZS54cbRD5XbhrT6Lnon3YrtL0qNocGrTm1176cMci6kI83hJ
5BQOgLqap+wUtwzA0wloTQqgKw0QEtTLSvfyGjfzp5VR5tSmSpYI0KIF22C6r5a3iBxH/e6yie3C
gkLZigzgLg0WjpAnU7KI6XtNOv8x7ClYPxfs9PcS9K7omsf5mZyUR4tzH29/PVPGWBiMSuzEQ1ha
TVlGaGwlo7aPK7DTiHkgNLEnK4ODD+vNE1Bal5e6vZsfNhmnNDSytEmPIuW0DJ7YqjcjBEwTteAA
wOif+eSYKq4pdDGo5AXjmFZWV12pw/f1bCC2plTX4hTfyWF3WAaIBHxhTR/G2JZqrXfdoNcRHmDW
fqofWuFQCb++YAJDuboB/iJU1JhcJisTAdzgMQ5avAezYlU9RyknXGw2RiA7+McGk68IShstbYVn
13uh/Ldl2AMoiuur0Jbtjkr7KJx924RnrC0yX0kuSTdZAlLcIexO4BQ5GbN11HQ89QRBvJYqaK7I
hbALrWGf0iFySXPHQXMbY/STVP8uZriko/LBShu3DUvv8pZvZjsf28EOgQgJtGasGtXZmmQn3ZCf
qggj81q3i0fi5qbsNNP8uGTF7rLZzai9MsuEm3lMFrMCRYxrhrKfqYanz7w8fPNwrEzI53lIXJf6
EmOCzDXaGsJ6NQgAWn9AJb2pOI+YzdMOJS5cDZIBolv6/1f5lSoVqJLR3qglCr5l/AUSs33d8ep6
m2hPKvj1HzNMUNHlBsK7Aj7VCAm/2nuHkgdZ6winZjf7ww8RJERJYBCb1yXYzBFWhpljiRkhM0xH
HBlUn/dNM7nxbEEBqXPaGWzSA29yeftNuLLHHFHTMOe4A7niewbe3kVe6qh4gTb34o6XbW07ycee
MmdTq9raymlVSZ49rQGPeO/I6WMvZRwX4WwhS5oW10CyajUQrGLzJmb7DpTcpSPJ+4kHfN72RbSM
LIgsGrjQz30xLhFbC3qeBeNJkr0ZeNl/r1iJVFj7MEHP9srda5TPwfSPPauiazX81XRvWq1ygubm
MnRZhgyMjn9Y1jy1jGbARJByCa2XJ9cj5hQnTl4Aohv80E/X58oIEyFmo8hHDYPGbm7Vdga63WW2
UluZdDsbjR3EP1WbkCFYmnLXWINnmfKN2QGpQpL2rTOlY18BWSilR6k27oV5AbeZKjpqqBOnGIza
GZIZrPtDYicpeZLJ4iSZ6JWk2bUhng+Z5YbKcq3o5LWpmtex0k2QRhqPUTX/SvXES/JTrf2c9NdS
XMDHk892U8BflsEVEyjizcYBTZpvei5eqZEYuXE4e0bduvkMKWJk21fREL30nZgBXjPhHSFGpyWP
fvcoNavjciOTGePBlQ8dGrealoOiJIFMdMkeLeWxiPXAUozHVjfuE2P0umzeV0QubMDaMRhY/Naq
wrfU8Rspu4coMoNxMa7EMdHsvlZ+G8mEVmyV3aiDnIHqcHpRw+ZugCTb3E6Pglnsa7Ev0K7XNDeP
h++go/fjWDgukuZoWeYO5viCAZbOlmMlaOb4pqu7nV6Kx7xb7vNpqW1x1jJbCJtT2yW3sibkbtMU
97IW/ZWbyfWSaN87pbEcKNYD6KZqx6GdgQtt0nu5B0a9SG4HaewdRZkUW8L2K2J81BXJW3rixtIS
lFX5IErPepu3zpA2tl4nv5FbgeBH22tz+pQ3GBKyFqoDM46vi6X8wF/xuqFAr7ETnFCpkKrP5uNi
pa7UyU84MHZU1rldyKXqKln7pEh9bStDdQCQ3R/m9CoRQ0eNrKcp0cCajXeX8LRY47GJGt9U9MEW
0661wzA/AT1wrWAyzA5rIdCi7GDhRpvz9lSNdUBa5YDBbCcaqx+CJu70qsBwWio7uSZdJ3nuzlZ+
K4a53S2hU6VR4ohN9Xr5Yt8MdKszxcSfbqj6uSyQ7IDF/lgm0k40yQ9Fa11dy93JIN5lc9tvCjBo
APOgAFXGsl52KJVKxoysVDwYvibaxJX3xkm5+7sC1b6BTfGu332pB/VhlQ3nVjERLbEIbqhGB3Mo
sUUSuWnJe0ZsJ6s6WOjQbAJaicUpCZg0yeIW1wZGSbzFxfSPJ3ggHrZnV90VAa9Cup2q0gEnBU8l
TI8ymcxiQvx7yjDjJD3MDiXYVIAZl73EFzxQe4Q+ZILB+IBEubbbL71AV7aZ9KYQidZntKdYk8aR
LWIjIJZZ63MchgZ1JuhLgKxgnBPIAFFhueNko1MR+DE2ln6r9ssetdlvGP17F/rKnnjdgY1r7MwY
s59tGsWtOSYYiDNaJyX7Bv8RB07BYCOXPjPCbFwrKS3qL7mIvnmgoSHLe0Bv5Ej4+ypcQlYs02Cx
KLpUaa0xNNixRHCyxM+FoDQSG+A2zmHe3C0FH0YExwjGPZg8UzNU3PgNwKEzchajNfZpazp50XDM
bGGTgTz9sMPklyAsGMyqwAB6eJogB5960V2GTkd40MGnFQfLAVJNdu6HAxTNqyce+c9WegvzKsaK
0S2io4vn+ZNRoOY20UOt3Uzg+osO2dEIwFDnxy6vvbLxujszxbhGXqK+gdqYiFISatnHbqcFZMev
ZW96yGpFzIeLIxJJVYeKVTTkthZ78/BYqL7RPl0+u5uOvjLDfDe1bvS+azOspt912UPCgzVs+9/H
h2EeA8NYKE02GzhIRWnHy0tan8B5zclsOYtgFUpIBz2HsMZp7fHZ5Zuymb5iAKVKsL8o4Phg21x5
Wk1VOaZ4aiAbbdriqi4T//KH2HbhlQ3Gr2aQv+pjRws10HXpbkuHuPMNVVQjdzzCEpl+1U8Be2WL
cS6SFeWQyUQEklUPyL7cde50lXv0PgQBtJMHgyP6YAo6SjuKedTuyC6BqgR5/5fXgNrKN0Cug9cP
pVZQcSWfH95ZQ6TU61DEXEMY6I52I4FpMnOtyJauVVvvnc6BoLLDo+rc8hqqf2ZQwJkEjYlzs/kA
vddek0RoD7wJ2V8Wb7pgK9NAF/bDAP0Bq0ddaxZZEUXwmvSbcAOm2CB3OrxQUFiY9/NuEGzt8bIP
bR22tUEmCqZyKoZti8NWWD/LRLGJdFJinkrG5udaW2EdVcp7yMK8O2oYIAOOdymasdmz5lEGJh1U
9l7q1288vsStROpsOxmnlQxSZnmDwAvBGggcwlPzyRYTWwC0zBVfrL86J/nefbf20dv4/AUg3Zlx
Jk7i2tEGocC3rLPIltNAMx7SiRMCeJ+PiZV49WjWnCBT1Ktrq9jVylU0cx7oHJ9nR+vydsrIAApV
dwpBsKp6av4FcPZ6o9jD3MdSoxCCRWhF7TdpuCcdRY8XnMbH1i28ckJ2SC5bIEgtYwrMFdBWa/Ts
oDUYfYmz+j5LtNiuyQzqiVZP7Igku6+cMiAqQQWmg8yECVdhF4nL1CJuiMqr0l1r1XWlcxDZm56A
KS/DwHwZpikYVyclKLowAyy6kdDsCVEcEP1ei1q7v7ySzTsH3H5/7DBebcUVWZYCdsITxYnUDgCw
GCXT/dQ3OLY2PW9linFuUcqXVh0pSdYkP2LG7VBMDad1s21CB00bKikI3Ez4a8o2T1QVHyZrHpfk
kE2cJWzBC6Bi82GAiXyL3BmWAEJ3PIyHfXsSgIKilCPJgTeuQ/8Qez+DlQIjB+DFl0yVMaSpZTdC
TQ58KkA/y/khgS4iuLKjSXUue8Dmlq0MMY6GtpbcFwIM6W3mNMnDEnPO6RaWRVovhXGxvp2UfJ4Q
OCkkAwQmduxFB0pirnjdE8/JNs8NsEjQnRZ1/VPXoMxSCS9tXE1ZP+4xYBFMqXyU8fq5vGtb7WQJ
o+14VBlgL/lUIVHGPO2rGPkTvYrQUHbpO+DncphdtJEfsoB3+2whDtcG2eKINGjmhFc2XDtNbs2u
f6yrrLU1PPDtQuhRAU1vrTR605K5AVsoWFvk9pDPuukYZnaPc3E/jkPmtE12Xar9HhW4CPy/UFwC
EVk38Fh6N7/Cx+5oTIBsjEZcFBOanfNQBmkj3k0YhQBOjdd23MCPnG0KW2uurLpZ9P8j7ct269aB
Zb9IgCZS0quGNa/leXwR7DihZpGaxa+/pex7TtZWBAvY5zFwYJpUd7PZXV2Fr1AkuTc6p67+pdr7
KH5L9UtjP3N+a+kv33/5KUr95ZhXW5vljJrUu84KEQEM40cvA8XcNebGMXY8gbhD7Bbxj+/XW84h
rxacHPgqh1Sy3snVFmfZh4F6oAfMXG6M+wSQtIsRcKjCrJnassNerTiLog2oIYVI8ZKfWmLxcbJs
zGJMxIkedDO33+9vadb/X99wFumqHiVIkeMbGjeGA2gOYEBHvhu8Cs/q2xr/AFnWxPnqKbeO/48k
yNqs/2KwvdrwLAZmMW5AvZya8IXhqTb3ZLkbnD6QkCj7freL0fZqpVks1MWI+nfJVCgkKb7stY2h
2ytOseZ7s2tWFJXeO2REXpSp4Hb1s9IIDFtZC4CTC3/jB3NVt65x2gQtgIkoagxqd0oczH2+1wK+
XYvpK59nDgauMvQoEpDNQ4imf+36aGtlvRuiT5NUaDZ8/4FWTo/OIoqSgLzR7ELpJ4USWEZzqJTs
CNbSlQxyxQ7oLIoIFBZ5X+OaUs1sa8bcGxhbyVUmo/37A00Tv0CxqH9VubMWSBC1mvLjwdxEzl0t
iJvUxzAcXd0uVo5t+RP9WWxm153UIFuq4FWhMgnSIu3RVtqNxmIfHb01H1qOwH/Wmhm4zHOJUXiE
p6LRwB+RuZLvq/6d1ee2sd3W/Am23pXtLRY3UTr9n8P8/fOrIBwOQ2yqliL9dnQHH/R2frpLA9Bl
7JoRbYPKK/eTRBdDrVHfjse1kLxslX+Wn92nGRoyTobP6evJIae+zb4c8fFfDP/PEjPD1xqmRxow
un5laBfIbB+iftzpvFkbclqxlN/XwdVJRpbdqWGGWEvvBr95LG66aYA68UxfHqJdfRMFKB/cyjXq
3OWaxdUXnF+jtNA6OPY/l9rU9FE93SM7wHFA2iE9ft/fKP4aEHTxu0Fp0sITjqC4Nf38arOYuf//
381K30v11/TqVlbcfDGSXC0xnffVErFtFn1BsK+8bVyjRftUXZvJXFtidj3WiRYaYFsAtWx7Pyq7
tFl5tS2axNUWZsFDVm2m9vAvP9fMr0yLoD1vbAFhehUVW7kc17Yyix1FklgMLCBQ3ySbiJzzNSDc
yu+fk1K2ajeEGeqNvl5+GOUxTF6/99KVo5rLZzWaQ1AFw+8fRebp0a4X71mVea29JvO7tpFZOCip
0daqiW9uQEaBPERDsxJSF6P4n48+H3Y0w4zWwHD+85LWdgw6qHQTHdbSy7UDm/Z55R5jCCkFVYfy
ZZIUFy2Kglame2WINzqgIP+3bzNzdhtOIkDTBUocUWKESLgszUDFQrw+c1YObzlFvzq9mdfTMa3b
ssPpVb/jWIFpGOr/AJodrENrvYKVIDYXYqhq1OzVHPetanSJi/q9p7LsZMg++C/nB+cD7wrEQ+fM
B/ogLQ4eSNDSE/22KsQFjfqtHEAgMZjRyqtq2bz/rDUzC+A7QKtRwLyH5MMpLkr6/P1e1n7/zBYM
ztXQpNOZOfxgydJj9Vq7aNmy/2xhZgLFYJeOEyO/ww3gNoriNgBSjT9FXPwfv8ss/OdpWbZkujmT
WoFQPKC9ae3a5U3krIIxl/YEgQW01zAqr9tzgFpPQ4cVU1DoPSQHt2AX9bQJnYEyG+bjITaiH+PC
XYMrLlb1rpedBbtR5ZVIR1QmhQPwOrtz6FsRvvD8tSpu+XiynX0acv97C1msIF0vOnsCJLEAwIAj
XNRB548fxQZ4EKQiNjhoK8w4jru1JPI3rmX+IgDrNiqKYAOwMRr471hYO1YWphypl3mX3Bp+/WRZ
Lt6I7DRRh1XepJtRgtBP1B75Wtns0mvxeumZvyVVpRcDt/CsAqFf9RD5k8In3RR36wL1S+Fq0jwH
DRFYDwAH+PcuB2rlWtagBpxWYMItP0zjuYpWRKmX18CECpSHdSiqzNKIxqoNUG4NSCMcK+j7fEN7
DEzr+kqvZmWZeVfbtDRmxwAigjdYdYV9Sgpgov4L0AUgkP/ZizE7r3ooMjRH4XNQEuLNySrvv//2
iz599ftnzlUmJIPUropOhtwVyE2btnZLeYmEtRKn1k5rZt5jTAZoLDS4f9MnCqyeeHbW1OKmTPQv
D7ray9yMI72VYFvD8yGxP9Rc4OVSDr7N6xdT5tt6MB9JudbTWNvW9POrDKZunbhlGGEHJ/4WEuFV
eMn4ip0tB8Crfc3ukqGWrWHX+EbEHcGlru0moZSpB7SWS6yuNLtMosqsgJ9EqE2cc8c7t6YXzdrY
Vu+qCEWDeaeD0FA4b9/b4NoZzl4YkbAH2U9nmFTcNTnGh6FFFg0rqyxmZeDfM9BOmzqDc5BIwTFJ
MCpopk1TMNYxDmxffZjAQSqCefz5H/bkTAkRgNzAn89iUG4QikFBcIMp4lVLPZICSkj/S5wDeyGI
NAkBWHJ2bqRKGsXicKmR1AdVhE9tom6HsVuxv8lt/nKrq2VmWxlZZhoDGwEZ16EmpqnBMKwFh5Ul
5m1v0LbZidkCbmc5u7g5iGTlYbkY5TDbrOlQGwIh6Myue9aCZSet8UYWjhfnuVtrkauJwYvWGgKL
tny10uybDKPVOKRHR2vCU1nNpSZfyRqh5LIlXy0y+yJI+GJD9AJt4XfnBpIg2+bFRpowPDfA7q3x
giydHfwFNTuAqwBSnAVuHQouKp3kV7OkcLmzkcVlCC+VsnIRLXFmoV3/Z51Z9CYyHB2Z8Mk9s8dJ
UW7YAZd4qX3b1dBfSP0wWKNz+w0hmpv29Zqz6K1bnQZ9N8xQ96kMtBR6XjL3+h4scnrohm11yVn0
WBH9Kwob7lUOZh/sn3HPb8NR3Wtdvzf0dlPLaqPTDj92vhrQNzKzAn/UsMdcoTuAf5haoRun2olY
gPy0FjhJwvIRkjhH6jQbu1R04IAixfs+/qx9tdmdUfDaTDAkDHhi2W9pQd4No/0pcnGbZOnu+6Um
a/vrENEJsXTU0ay/1O5TJU6bAXRuCHV7tTvpMeC4n0biuBgA9Yz804wfv19w8qG/F6QG9NEwGAhB
tn/fuVFUmNGYoVynAM4/QCwv2hlN5AoViqCK9PJkjbRoKTwB5/G/C85M00H7FnQTBlJzcduAHoE8
fb+hpaBx/ftnZtiPvZaCIxaZZHbQhy3oq8Jy5a5YjBnUhAPj5ebof8nZxhFtjJx1U0u88yf3Qhrm
T8ywEwbXWflCi8+nq9XmlTYZVnYI1OfEOdYH6TF6BQEoBtp6PwTbmPy5jvpd29+89taGWtEzvf3n
dp+GBqx7euoAleFb41bbf//BllezgFXByC7YaOcYIwGh5RECfhMzk7HJA7mbSGP0vQZ5otJ211ps
i/Z3tdosSQcMSLGKiepBDE8MVo7xPfc/bQgIdLzsLfKXumFbjyhexrhSagxZmh7Qe36zk1tn22wV
qLx8v9pScLIB78DgqK0hQZrdXw0kIzOBAqPPzXoz1A+1cclG6oty5TP9hpXPI8XVQnMz5KSEtksJ
x638wQcjLCiSao/DAYzNRNuiYxSCXBp3GsUv8eDlZ31D8bZfg78v+ff1nzF7xLUFGwZl+jM07aQj
AaGntt5+f6RrS8xMJMzCuBoYjrQZNzW9jdNTS1YqqEtx/noXs7BrqNCuIzoKFD1Ydww8QnqQqf8n
wkAgqoAoni4TdLxmwdbKWi1VUrwGOot6jZUGhgUBXW1N9UdfNMKrdWZBV44MlS4FXJbKTj3Uz4CM
QXoZzEX8AWJDQb9Bw8Mnnr43tsWRYFZBd8U+g+5r5q0NmyxGSxwdGCIoRJb+ghPaTSSAsUD8dx7+
Gc5IbjCM7k3UONEh36yrVi0FlOsFZ1lqTwbNGSWqMH3+0vN3lGlW4ok9ZdR/ed7VlmYubjmqBF0n
wnGjhQ80RVpP+vtUmD+qusYMtQVu4DJQo9I1CnIfSWNHBPSzBmQM8ZCjTcZN/I/64mRmYI38RKMB
soagr8yc+pjF1jNVo51SolPejeJU6c2B9OohUVPMaJuXoU9/tXHyHNf6RVWEV0jpRpZ2MO3kMGpx
jQFBtpGlfhgVwCpzPeB9+B7r7R48t5+iTfaJMHYKpY0nKtD1ZxSTqdHWaPQg1wwvz8wEo7PjwSxb
sCUqaDHX9omEiZdIeRsrchu1uYTEU9JjBjL5IYvGKyvQEQo90KbpQKbAngukkvZFjca3qgAq24yC
yrE7tzOdfRWngRI1bxrXvDEWwktztrNFeNIjqMWlGEcblOksP60OA5k5HVdeS4vWMVV5J3gjmNYn
XNdVTSNJNSODiSA8F4ofFaFrFSL4D+HqaolZRKxNE7UzFeEKop9unTauGYaodrb+98ssZYr21TKz
qJjHomvGELdaQeuNrXcXi8nYjVJl27Whn9rFzaAUKz303yW5v0zfMgwHqQGem3NqhLQMIXo0TKaf
m/fcSF1hRucidjB5K0u/0vi5aMkbHfI9abnv9MkxL1TIPZMdHeRNOA3Z1mXi1a351vDkGLXDPehb
R9ei8Q3VqkfLDO9FZwElaP+ENuRe5vyXyYpNyIHzr2u/ktHX98e4mO5AMdoxVGBF0VCahf7E1isn
0XXpj3fF3tpoL/J+4sdjHt0p/toA4SLm7Hq1yT6v7C9loqjpiNWSvZm5eQCMuqe5cmfvs03om/vu
MPG7pT67MTflg+LTS3SIVu7TRUTC9R8xux5aCCZSooOqzH5qA3BvAlQS3QD7BlZqzIf8Lshnq8Oo
S553vejs1WZyS2QogqGi4wQJBxZ0ZVdLWQLqHxBHVSkxyJxmqcnrHAg0XDSqclL4jhk/wzX21WVb
uVpj5tqg9TRDzPqh+r7FJP7EBAhqSHyx9rfoytq03+KJXa0283CrM0ITk5mY3oXSl34nlZXH7ep2
ZqYvByfs2wxHRs868h4NRQn9pgsMDD2t00Ev5STX32dm+YPJoroig8TUROhCHEf01LPZlrG37x16
2Q5sSIGqBjRy5vMLYV+SAWo1+EYq25d9DzEN+9woa4/OpWWu0oy/ynqizCTGJJFmGONWinKXJ2NQ
Unvz/W4WozyZLirkjGAKnbkq45aGCiKqh0Pdo3a8tbQg0e/yQnF59QPShP73yy3v6s9yMydtwjFn
g42ya5+hEQoqGFBGUKi0fb/KYrZ9takpwboKgi0Uo3XBMPhpbhvEvXRbBdMY639BYEDakyLdNlXn
r8huU2cwcwUP2YF9ZMIfCs0rnT0EFle2s3xof9aZWXZp0ZAPGhgSQ4Oecqc4a8lwp1trfdslB7re
zswUqhhdx0JDaSgc97Z17MPBTdVbXq5RDC+GheuFZkYwNmGTALjyD5Ol9Gtvqlaa7sRY2O9WOQqW
s+k/pzczhiJVGrW3kceQWuztAgQmeDz5YWzvhTKerCi7s6XtUSlUNyzFVpLiM4nkSafQjEyrzRDV
gSUx8x2qK72Bxc/6J8Gas7FVo9b8gzM2M/NF6ONDaUOTrq6fv3eGRZg9Ss//m1PNjhuvW1ZbDnIq
c2v+ckC+jrIqqknpLfM44vAavmrR+a6Wm523MpYgTMBkxG82JmM3PQcnPtQ151vst11va/YOa2Nh
MqtHUQ5K46A0GTAgDTZgDqijNnrhmL7nHLNl1Dq3SR+tPNEWAQfXi8+eaCFYS0anQxyLYgD7C18r
d9D3yLegstw2ntHvzJ0CFZXsjBknsjJAt+infw54Pi+jmwxc83EP4dEWDJaZjYJ7vzU003fGbOU1
s2iiFuTKJtjKxDH570Ba6TzU0wa+k1HmMus05u9l9fC9fS5v588as+iWKYTlZgZ76ePeM3kbUHav
o262ivZZ28wsvjFH6RsrwmZs+2EoqedEg0sia800FveDSjGdYBrOX1RUFsiwUezH5WO/0+1U4Iyg
FzEp6A33phv/drr+Jf38/hAX92ZjOhCCz2iczlHcWLNj/QiWAAXFj+ZGFJvU/C+2cLXELDcFx70G
GhuwXwG7VpYf43hUVnVVJ3v66/l3tcYsI3W0ijt6VkOG76bzJ2VVrrr6Pj+Jx4msrj6uNbEWY9XV
ejP7lhFlJtimcBOJcxmwcoepMju76OhwOtAD0oPvv9Kyafz5SjNTLwQpe1pie0rxRtPBzVA2szHP
Xa+Jjy9mdVf7mpl6GA4RB/UVyo2NekuGJuCxdeFsfIql3FjgynMN0a5sbvlax8Pdmgr7YG2dLUqj
OG+qeBK4AUZA6Vx2sO6nIVJ7YwAluPrUnQ7rL1u5Wm467KskL1GKgjsl3kplYpduY2dnGUYrZdvl
6uLVIrPLbHBqTpIefmXeTbNApAZzRePm++7CvX9mtlYhe5Mffbev2b1mF6WRdgPesdP8ZXoUWFHd
W+DKUI/2Si9h+Rq72t7sGiPDSCU1Jw6loNuMAfXig9xP7S2+6wLroLvljQB0eY3ze7FKAeJLVcXY
CXj8511IyDNzYM8QI9VDei83GoYWwMWxiScGqWO4h9bTQXoGKiTdMyppXpa61u3aQS8649XfMHPG
3Ki6jtXIH8bKcEv7tYRMbKWDJxMCo9+7/eIougMdARSAVBUEPjMrsgpW4TVKpK+DDLzYTGnCSd+Y
u8z7+n6lJZ+4XmhmO5z3Hep2ONcU8qn9QSFrtelFJ79eYWYxDUogimIjhE04Vh29rtJDIu2rmyIA
wGX3/XaWC0l/Dm4+ijeNrNksQRwzIN7WvRmueUBR5K7Zhbt8b0GsGCpXmzU06eIhAhfoYLIMFAhz
VLhWMMogFSb9qn8ps0/NXilyLp/hn4ognX2lLkwrXpkGXj4IlJP4At2DB6ndDKCgQdZIvJVTnH7f
PKJcVcbmeCqlFamigdXBb14HtK+tl3SHgtyG3E/FOLDEb9UN8ejLOmB1+ST/lD5nxfC018PRtHG9
EoHrgHwx9cfK1paC5dXW5lLvHMbhdB2OEuKMGzQot9Em9Qzg0vKbtQfHdH19c4rWLDfJOz1v6gZL
0eJrRNczesIc7cp2qLp0ZPZV9jhbxapzuyksPNYMwzgWGRpZtPdYU++pCXh6M2yboj1qjAnwRuZe
2ejnOk5Ktxqyo60Ke9tYLznaO7WjqB5qV588p8cMkUfo6MVx8yAIeiQsfhJ1iOg+ALRc5YEmpNg3
nGd+yaFe76Rp4UV4lW4U1O6yDNAQ0XpETXzIQ4UB2CF3pBgOI8eAmZIMAQUlD0YMQUutth9taARp
FZ/TPpkYbML7wqkeqyQvvHNVbFixpfS2BSTb083WfUevvOy2Zi3fYjoGoWEFWhHdaEKJcaOPdxm0
ugvibPOsvSGVdk64uNVUAJvq7kwke7aUN0pYCbrSdvBDLX9NuClccHhCxJKVkdu2/NyihkZN9qvT
oKqijD+gL9BBEq84YjT63ZRgiq2hsq4xEKYa2qaLtTOesInH6w69rx+pXm5qq75kDbbDODmw3DkK
+62qeOY6YeqDtOepzPPAaZX7THlEtf+u4WnuqkZ7thPngqewS8f4FbzBEJCL6TF1nLvYrB9bMFy6
1NHf47I9VEweaUHviiLEKIDNbhJMWMSa0bqMdo2LIQU3yqyjHncPlKul22bOvgTfqR3j/9NqZC7N
stBLEkN3lbb9gMr6Bc2Ph6hQAJnSnhVQYJRV6OmVPnrZMGwLoXqyiQ9RlD4amXh30hL6skbxwq3o
YahpkJv2ptJk5EYkPoyEYs6DAFlfM89M1XPUwBqZeluK/lzrEQ+iqrwhVrcvEuWjruxbp9QfuhoD
nRk9VZQcarCRI97+Egn1BLe5q41spyr1jggtUK3yiFxc83gmB7eLmv2gkDFgXa16QiYfg+hOmspD
L8vBX63JhPmW7HZtax6YCAEuo/kWivaXDIfuKlp0qmK571rrNWEQeuVmwtymcAyPtDFmAMRZ0/g+
pA4GTo3DKGJ5bOPxV6Gib9qmxWtrO9vKDN0mNj+qmBzaKAtGiXum5J46Wu82LKE3e5xOtlcpaEsc
UHO4eidCN+mbh8TOn4wuPNpQa3PxgMaW2UetaJoH3tHC7fXYD3N+rvhwbrT8p2Kwh24otmDdu5XW
o0zlF23lvo1bj/bkkFTd1h6M2GUVepgKWPohvwkIBOb3pfFT7/tdmqt7NU8ewrG+5bEayCHzQVi/
A3Nu0BjdtrZHsMf3riKcE3hDP7tUfa2j/qKT2C+j9qEq1NEfR+rqTbuLy6EL+gyGWfOHVsg3vToo
Q4XyQu3FSrxB25gBTs90mHLK3TatxK4ILV/t+UMfgzaX9LwE/azzXJLow6raRzMHZVHsFPtylIcq
VYJWRwZkhGdC2Rur2J1RyT20GFxdmZrP0b1FQmgQR+I2ZQXxjNT0iMXAh2zcohv5g3cg962MnWiF
3yQoIgPjtjdplaOZXXlVUZ9ztbhRS+Ujj6PbQeLdSC3fKPAHG817nlSbVDEyN7Ptn1BnUVw0B9Em
azUdXMQsBexO3nFRBfnY6m5FmmOh0B2T/Y3F09s4wRR2TVEKqTR1w4jGPJlR0DCFTZDK7BODKc+q
IREHB/4Q09gfebxtiTrCh6JAr7OfZQh8o6Hlmz7VYUQ4X1BbuqYgd0TrbmmDehF1zlU8PAKn9ytN
aNDYVZCE8l6y7FXL0udC6ZNgrCkIfSG7kpIT5D5PtqocM17/gGMdiVF8QiYOujZMvydjeymt8ak2
8ESyQomoaJ25iRjfV3xTj/1DmZJjotg7A3zDYI3eS7BYFsUwuqRMfBWaA5opNrHuIHnIjJ2mJueC
kJcKwAAtsX5wpfGqrE3cqmw2dcP2XYnJQIdpZ2dAgtGmp0g3bmwNypJW+86tagcOt0MZ6wfAv11T
V+4tI9zFOt2D9zkYmuIiWORDfcjDVO4N4Oj34IZ56nTlXTjjz5pAkdAuzK1UtSDPMS9V2Zjh1LNL
QZizhzTXXurWsWHDltvQIhOtgWZgfe5Q84kbE3gD/WKXKhg8ZX0QA3mvm9YrWLMVjo0B4/xJZf2v
qm6Zpw5AimVZ81AWoESzlPQha+ghBcpBlkrpW2R4L1i3HUt57PTurdLp59jVZzvWDiKOkX2HF2J2
r2pmfREtFS4x+WdLrQN1xIb3MXisq7PJoLrlmEE64BJUofxVNFtHGYNM5W9AXukuBuSCIspviwY3
pTqKbWNqN5KW2vTtv8ChXbgljQ86L27VrttwqTypTXpMu+K9k7HfRTJoY/z5Edc6b4yG1k1jkB3L
7FxV9I7nMXrl9DFOxS8ClnBCQ0+JrFdVMe/qQjAvKSsAEMPmSVMZHkhG+CpFYbvNmP8kaBFpzfCh
2HQHofegM4zXOkPvPYn6HT4ShuiSNnRNmiAsZ4NrsPwpM9LUZaLbNSyxNnorPJ3r+8KK0eDKz3jN
I18RiR8O5LPi9IDPux3HX2OhHTqQ4Jo2P9c18UEyAj1bCNs2SrMNk2Efd/o27btHWnQbu2UnYcjA
CLtj6GRnZYDANySXdUXuiFNuixK4cmaXfoYOYWFzEKg7RQY3bOqtKYXwe2m+jxaY9wrVsry0qc5V
Ry5SMV6ZrsI1rK+EWO+hUu1gGx6NiB/Z/Z2eq7tY1Z5bW/File9K3XlUmwRImWJ8IE7yYCaxz+zh
IkYwnvfkoe3EOdeso6ZrrZtwKCqK/hSW5qvJG80D8f9BzZFgOmEw9va2NMrctW3huIli+CEyoRZN
OsGdrdSyY6VnQUjkvufA88RptmsVy0fp55DRdNtp7N3JMz+PCAbGLH4IcxAKgqkyAELlAGVZr7Cy
XTckL0OnB7UuIR7FC0RBta9dTVU6r7MZ+tAahGki8ZQnAjM0EUu9uinORA+JqzmMuWPWemGdGjBS
w2VqutUZ9SXJHQypjcdaBUl+GRl3tSHvgOY74ebf4poLJu9QFBiqkp8VhR+LRrwkinkydctzaH2o
O3KGcrdn6UjiSBW5vVUdDQutr8RB0oYbzVB3OTHeSQNxIEw2JnGKcQ7lRwlV96PNy4NSFW+ghB6Q
6JIvCM/9CJ0c00aK8dFykFWWxX5yEiQWP4k53hBWH3nDKA6ov1Q0gup0KnwtsXfFJJfXJl8sQcwZ
u0meJ32ADBAmbVL9pmmKA2uTgDn5Pskopm+0DRvI28ScnjfZU1JwmN/wJUDMn5Hkl+jTD9DFvUbg
u4iaclu31TOER/ZK2EI8NPuy7CZ3MQJ95kxsJFU3IS32mIrf0qb7Aa6TzAdSXnjWUO5byT/TEPcp
qObDOvqhVWDib5NbRNv7um52Rk24W+flj9EEOqy1qltTxNsyrvwEITQa6bauoXpZlw8WFJzMiWEr
VswH2rWbTMm+crw/4jjybSI/rDB8G4vMU6NsG9by2I+IJywTAbO1Z1AUf0JxlXkh8iaQBPla2xVe
hQw8Gca9gTxwNFtfr8hjnRJfR/ISJmYAU/E6PAwaS+A/Sv0JLLH3JIIssJDvCuw4zSvfGaqjbMZd
1YFjtFIDKPm9lYY8jqS7Y0MaJFmL9jh5KxoyuDa+Tw5GIBtBuJXhFkLiZ1OPBLJxeY4NE0NtzqlX
yx9Jpm8txTxWAjgLiqeQPoaGGxNxNwwidVOzVgKqD35XVtBzGALMcWzSoj+gkLN3IuZpafTS92Sr
6fajiPmDGeWuiQG2Ju96z+jopqPyNIzhqQ7NEy0tFzxlG6pDbFRVhncb5WZStlvI9tw1unWCSvyj
7fRgOyjpUTHlhQDWxmX6yLrQpyLyME8M5Zt2p1iwqTTU76LRAtt5KiBLrQ17qVruoKJSZ9s+z2Xi
Nk2J2F+cBe7nTJg4TIrgBtmXGHhQoxm3aQyZMNle8gSiCtAxAIXtvdBKBB8K0hljG4rsXirDS2GL
LVGIF+rypu6sp1xzfpJpCIjgEDXtczDpPmeZx0iyw4zi3qkS2G/vYoJ6L4WF4a3RfmAUgx5WcxeO
8bst6sQjYfjgqM3PoiQH24z9iueqN9rjcwpgqUtJeFQipAhxu9Wg6p0M2t6CYVtgahAoXvtlwfvb
mmf3Xc58M2lwcQwHeJOcSOB6V7bDATWc56pufvUgoyrzsHQLMSIrZhvkdFtRggrSpNxtAK8+J/X0
CKH3ChEPJo8PnOJ5mmSN6SpxdAE53UOYRS9RAgtPiemOQ3XT1/B4MO37wpapmzgZBigyZB0s7k+d
o0+aIMWpVfpbWaoeOLE0jF6HHzokqqwuDhIyfrJQbqRKXad+6suw8noDgVlroldiYGBaCe81JTwy
3rtl2P0KI3ILVSjPINmp0Ol9LrvHPKw3BoSaUROgz4aSPOsJexOtHoiI7pwofaZaC2dWndFlRQEd
ZxhOUqoxStj1c2d1u0pN7xMBxzT6xy5kASXZQ93m4N0Y8bjqK7fKyVPUWz9BJ0BwIfZ7QvhnY1S3
ScsSN9cBDzCH5F3t0LETApyHZX1sVecwUO0mLhFJ9M5E9h3KD8i/XETbtq5U842R2TsZKwfmZBtr
7P2I1tsqiS56XT3YinUUbfjVdzLo2yrgCE6qTl5i+LyZRicy1oFpKL4xaK+JOewVVfdkVwFp3GO8
aiDb2MHIGK4qz4LYHlccTw6Wz7p4j9GjIsV937SbKqnAGFVs277fjBwQ6cz4mZkcEchGoKjsKnOZ
gaidjHurwUM1zHtAVQXuuVyxcR8UzSWM2BnqwRvKh13Cmh4hlvg2IiuRagAGoC2rwxt8e+5ZZYoz
UIonCMndSqIdSsc4geYJ2DEbWkzGhTg9d404fYrgw7ls8ByjPyxdPDpVi3QwfwqVZF/W9ERzvsET
z58uW3ugoKCFJPMoPLXJNylHEj82h6JCeaWuA1ZYwYSPjHu5oRjbNXvVDOKseS011ns2Spt1nm6b
AWOcBr+TqvmVm/1jYicvpUp8QIVOJuDCOlMCRtODBbXHdFQKd8iBx6y4r4XJXaYjRXFG/mpL03R1
mj8QXluu2amBCIcHFvWKX1gKGO6keZvUJKg46o0QzuODEXoi018Mlj6ZffM+0tAdUsPPMLg6PdC7
Sj6TtvWmxDKty9taSA7ccHJD8YjK2+RD/D/Svms5bp3p9olYxQzylnGyoiXLNyzLgTknkE//L2h/
2xrB48E53teqmhaAZqPRvXotO75rlDHI5fKLVkIXaZ3I3djUn7oW0ziafoI6zH2p5MdYRcQYpRIr
6kI7ikOlHEIyVxiUjfUvdNRPSw7hSR33eN2VByq1e2jktG7Wyn5vQx9Fsb3SIE6CbY3mdLviTh9m
n0aoQeDWmVrLSVVtCz2osIur5xmaUEsHuPEwkt2Kmd+pKr/TWUOet24jsLRgom1ZNnW3hEnTf1IH
a5/30SFe6f2ogzE7zTJoNGMyORk2Od4eVVphbrgx8bQ1bFfGOcZMJSxrgb1e6mDt51AqIRqtRwez
Ne7LVv3Za6pPCs2TJGnf6fDDUfLA/H6qjepzOUHtZZ42kaV/mbtMAzx63JEueTbMdpMAH+LqS506
Uyq5RAbnNTQ43aofH+qWNo5kTY2TLcivYtx0WhoZ/mqDxB1B0CEzeY3Akxb0ICbtSuKCSeO7TtMf
nWYFlYlaWAvtXDxDFsCU8QBg/4ihsDQ9O0E9ZK/H1M1QN3BiPT9m5RrOaXM35PGPiGj7bDU+27Ly
tSzsoxWlj5mZYtCg1E+trD0sVvzQdpU/of425NCcTq3HhESJA17TPSnLTY3Towk+5LTBz+e4YZsc
V27eP6w1JjBk+SRNlpejFOeUdApYQckoLGeGHJE3m1aIrg2UaJcAVLInQMqQFC+rn6pDiKB9h3Ts
ASRVXllmL/lQbPC1bqfFOPWKvjULKej15ocVxfcoQv7Eht+yX++i8pNe4w7Ivy61ct8007MytTdZ
MXmzrW8lVP1Aqn6fFRZOfU6DZQIqKYFkj52G7apsSpp2zmRJh1Kzb+zS+tLNoGlLjfIYDcRPM/1o
WuDq1JrWGZThNtXbn1M1hmg6h0ujfTHt9RFq1seuVu/IRJxVUnfJlHvww0di0W0UL0Es2xBAX802
nEiy7WMb8j/lJzwYfFOuw8mqbqUMtPWVcaeQ4jhGqGISBRpF9XQyVm1HtDhMDfClDytxpSw+qMOy
i03rIBlJoETqjNc3Hqxd5jfF1HjgcD2gqLQETWdojimhmodnxp2GN6JeTv4SKRuUEvejCmn2MbX9
atU/N+vwTZar57xZXAwp3XTN7YDyBWh2dIegiOEWUDryoqQKY1TXtrNEHKbfOWrtTpeQxzTq5wXS
lAEGJL3VwhVYm88TU+UhKMJAA+OOaPprvAx7aaSWA2B50NJi05fywypVt11M/cjqtyiSBNLSH8hs
4HVkfFlscw/ohx91hY8GGbLmsQrLcXKLgiguUJZhJM+jQ7s5xstl/Vzm2uwQI90SXSq2rdnYbt6A
ZiGiJ4siQ9ZigB9yCW7fNk+LVSINadxJoZDTq9MTdstt6zxzKqKEJvIOPYH+U0E3Vp5vE8Xcj3i6
Ojo+uTyLg3lEcE3TFMBzpcTrMnteq6XaatqMp5mEyQ9qmLumR4HV/DlmoENVkxs8f++6vsMren5u
2rJBfNJeAPlHtZWElhmBfj/byZF6j2EVEF6r37oy/RktWumsbTM6/dB8MVMUe9bYl1A6yqj1yewQ
BI2O3s6S9WhI46lJqmMNDWYKNHU1JjZKBnMwEgiGFgbqq42CKxHP2F5/pWsRppH0WNA5UFR84qhA
B3jveoQkKD9NbWBngNhPhdNUZMIXnGyRs3ySlG6TrPoeI0K7dIEuWxd9ldvlS5uqe7rSTzSZ3R5+
7OdMrwxTK8D9JccEOlhTVD3i6fDNVqL7RU43dJG/aQrdmGUX5sOXCbtU65hs0nuodyn5SbUYnZNJ
DxZeO4pB3GyO9m2ON5hlbanZe6ncvtjsrWY2fqqjdTqiIlUYqA1OhwXfp2RJP3Klj4NmMiBOVntq
Kuuu1GhBrkSOYuiDIw/9g4okdiaqq0udM6amqyqT5aa6dBzVxE+RnYi6h5dabBDvM20LPRzrNz7o
Rcr6FOV4bO4OVqFdUYJHnVGDN6FwcIB1t/ge25ktHtoGdms8oivALeKnwQOhdhh51cY+vnHkeqI+
76WGHnQ5/sVMvYEjzgAkqZbSnGZotS22vZHweI8MtLWTanu9qScyw3V7tabGU2HATJ7UoZjQOpG+
nbO76zYuIgzO18K15a0aauZxjca/tg5+h/5OoTSfSzz2dPpjwlRtrqq9U6EVlVRN5iidSPL6IgOB
DTYdsFspGhOSwcmebaZsVnqM7hMAkQc85XyrdTI4SuoWTyAu3aqOvEFPS+Cal3ql5zY5BJC92vas
ghQAgg/bVatBGf7p+raKDHC4DUkGxmjKMSCR6NaBTrU/jfQ/roHzjo6OUaOl4MBupQc73abNX3gf
xqigjmVbJoYWtI/n0rar3FkzHCNJv5rk0FO0ie+v79IlBz83wXbx7OjXJrHyhh1DMnef8lhGtLO3
RSkJYBOX8Dq2wUTtkMNj1ppzcRSwpUzHJezZHbjJt5PWQIIDTd84uL6ci4duqkxZzjBl483Tz5aj
gnmOoH4CyJf2KFcHbRF8qxe36+z3Oa/NVyRG0HLEpwoepxlji6m1biXDEMA1L3+RZ3Y45y1mVEZM
PD08NA0CGrBoSvf69/lbA/kw1cNoP+6rl+t7dxFQZp8Z5dw5onq6LBEWpzxEHUaC8VJ6npzBQWlm
W+ypy/hIMh+FLAGW/jKm5sww5x1rUrTzjAIHMDUzcGwFKlpOCnMMeg7Ngu+CdbLPhr+oztbJ421X
dHCVJn/DOvZPqtuA4g5ioGDbJT8htOiKIh3776+ZY3f0mU/2apfWq4TVLfbnujVvkr70Yh01l6I8
FllxB5ajTdyKuOBEm6pyYJR4tCiSZkAsjdhXd8C5A7pmrE6ODm/q1B6G/UV01BdR/ecby8WrVV+y
pIMOLXAVGBoHM0nSv1jdjET4vqj9Mt2n9mszbf7jcXIhLNYLRcsGLLT3x6cGIxIrRoYmP3JiNw1s
TxKEGOEquduyTZrKphrOMybmppbYiKtOnTKrd1lm7ZtOupGz7jaWptMq/ERFrsvFHyWiWdJHbwi+
2a/vgfkEC+V8W28rP9uJL+nL4Y5JF1qqDX5GznUTlCh0KwVsykDTRgWu+oc6Cr7GyxH73QTnps2S
j9g+jJsu3S3qxqmI+vgP38G7Ac4pyZJMPcTdkMJt1iDdtKHkVgAgAmbpAYniXXdG0YZxvqhBX8pe
ErZhZBtLm7HblJrA30UmOPfDtEAcT+xqMNCFNwBgsYH9U3Ln+kKYI/0etKArjleDRoB3/Bi0Oq2x
Ce1xF2QNRYkS/IiKCnCTkd9kc/34F7YIEk9oAhBQLnCXXdOYWR0XLM2ZOqdvPX28z5rvk9QKDuey
K5wZ4i44JVGWro7w5doP0JJm5DWg5gEgK2Yz1Z5oluri7JZNbAbRVjF6zAOli26wRsIQlMXB2rX/
k7ZH3SGsfGbPECzvomOcmeN9r0pie8iQY4327JHZeswScHkthcD/2Gn85hlnZjj/65YhM+iE2xPI
/QcrVV1p0lDpzHfaQJ96exAMTLH/+po5LuJVaFGYlIFEF3mDClksSoDZmV/7fc75Cto204oOo9fG
DyB/jO1DqoEij35bcsNJiSjHYhHzN3O2BippU5WN3/Rg43W0jIYwXwfuE3Dy2I8e0a89AU2/ERHY
Xdg6CEEBs27rlo0sgjup1cwUtWHPunpd9hZa/MDSCWYsLjjDBxPc6VBtkPSpYiBh61tc3Ooy2rja
jxlkeatIH/tCRPpgijsou1oLiZQGstOqCi3FAv6mOo51/N2UJeGU6+/HBLyXCSE9MFwRRSVcpLDM
sSBzWhieHT0a2vO4fDVjlEXJjTZ975Rt0hpAV+zjQTDT8fsaP5rloq4sJ2M/gKvKK23gmOQbyFJ4
Utk7GSrJ/78x94Mli0N3Gz1tkmboNSDDggywnKo7pqikCRnHL8Tcj4a4FKLQqIEGW6yBMIwpkhVB
epS3vacHJXIz9f76qi5IcX60xmUT6rJOmTWwhtRhuW9/zj6ivNcE+VF/pG51Kp7QRkGwT4WSGheC
/UfLXJqBbl61YKRQf6OZY4xb7THxmg0AdWEdQPlFlGn8/nF/tMdFeyLVS9Zj3Aj9d2fqb4tREKl+
v00+/j4XPHpAQcs5Rmu0MTaMA3LIU3fuBGUB0SK48NFZ8rQUead7er23DLTHVFHUEC2DixojRsuh
M8+6amQboXGOjui0ve50v8fAjzvFxYqJzpmU54DGTMNuAIx3vs2Sm2U61b0q+GgvL0aXdQVJBQQ4
OR/Lo1Rp1dxWvcLaqvV92qLzBd6C68sRGeEcy7a6xIhanEk1Lq7WdTcIkm6S94J7/UKJg23b+2I4
B4v1QZXVDp9q75vgDfWgHHcTPcY73Zv8znQgIhdqL7IgwF4YSvpolfM4IuegtKxRvZ8CcwdUBtgL
p/26R5/Cnb3YpZ/k1yIU0UuLtpRzwiZZtGrOSh0MRaa7ZJY3V8AWFyS8fnLCxXGeKE+qPGmATb2R
T77FoNZJbt7o+x3wtrDJGm/eQIxHYFe0Pu7aGvEsGEZasaOs/TXQn7SN/tJseq89MBEjtKRCRTgY
dfmu/OU/PMeKQVJrKQos1sB4WXWLwUd0wl6bZ+s2d0evOsWYvHHtF6DMBatlX9nHFO6DC/FCwnID
7OjAdnl9gHToTzbpHHmUAFzrqEGNVtZfxvr3pXK32tqC6idDngee8GQTtemzSbIHwarYb1xbFVv1
WZWqhF4PmNhjA2cou4wmVZ42GNJbHBlrmjfaKIiaouPjwkxddH2kJIhlpf0w0J9DBJJUQAq71vav
r0zgnDwrmaVRq8kTXJSYl3XNYQiApcMcQyf6+ERuwUUWmVTmVEczPnLQbGLe2MWMOHBhFMOBn0Gb
5Cd3jejmuXx9vvsFH1d0OgK1jskXsOm9AiWBYQtRc4r9xDW34EIKzWi+kpyg26lP4Ugzr5WVYJAy
4PhA/ZKmolKw6LS4UJIkpIzsIVK9VXGaLSjQ0B9+pbEzue22A+XJigr0vIlfr/vIhVHxD9/0b71L
G9yECua53oIJiMVd+qxsJFQHalBfYqzzk6hbyvbtyr7yUrSrrWjNWKzIfPLnFPC0KFCrlwQ8i+lB
bYpAsDyRNS6AKEoyrkQ2VXzcOL3bKgC2Sp5RYyd3rMYe+WmQgPokDaTvouq3wEf5IkgjS4OFmTp8
Fkn8grnxTbmU94LlCT49g4sluWzpnQkBNdx7k1feM71wIDgO1FXcbI9Ot+DRy3zw2tkxHz4LlXaj
W3VWI6LoIWvMDBAmZwxVouf7H55Ovz5vg4so8aytk7HgNdj7feGAfXCPpuzspofZw9jdppkEkVJ0
VFw4IUq2QnEDszajFbmD2WzrtBV5ouCaMbh4YpllAhgjZnsYPzZaTFDdjjzDJ6iJiSXCLnTWP37W
XDSRq4woEbvUpI0VkgBKL3tW+YVgsPABKPjE+Gl3zA2k1aK08EGAnuNDThcfEHq3VoDwIkDRYCj2
utez07/ihbygUGspdZ2vyGRNc0/gjHN10CvdMbXCvW5I5Ie8+Gw3NZQuesfOjIJAOvfLsNkz6eUp
jAMRRfaFLuSHM+M1aO0qUbMJPLTwen0HOofOY8ybxYN6ax9NZ9ilWzss/DgQdSEFN4/JBZFE7lso
SuIADUwBlV+TxlUxpHV9KwWRg6/IUbJ2UgZEOFjadnl+BOg9w6him+xnguFDzDImokayIDSaXAwx
NCmK8gIpQq4bfl81L8uq3+h1takrfV9Q+ybNoy9ysW4HPQ4TK3oaMVihmHRzfeGC0GJyocWQTAwq
SThUxdoSDMrqD9d/X/QxcGFFi7u8wHwP+/3NLGHaCFMOsfIjtQyBnIDIEBdRtMgc4gJ6Fl67lhC8
MDcYEXQiK39IG5GaosAhec7SvpPkCCxhCP9dBDbpMozSnmkcCqK+yAxfoNPTtKxsvMOj5r6qMOOi
b7RCqHMr8EOegGExGyjQrHAAaT94HVjUIad6bHwMrPh1kAYidlRB2sojZ9ZuIqWuE8wyNUfMHFh9
ARoLIBlQgswHwQYKfJtwgUONoXjTlwiPMXnoLep0UiKwIHA6wo7wLOFIKkqkboTT1RHkO5Vtg/pI
bH7LRWpBIlfggoUiFWU7DHhndgRp2m4y94aoWy86GC4QEBnUU4qGCBiXP+3hYZGfbEBg+7AXUbCK
ToWLCN2KKk81Npqn9WDHeM7in9cjjuj3uUAAbMVqSmgKePocedmClrIdC45dcBx8jX6EXIWuqcj/
OiA3i9ah2lGvVu/6OkS3O9/jz/VKphhpZskz055G4dr9NyOr/gYk+uF2t1h+eObKJmbvwNwp6YgD
GHXZVIH1ojsD8j9GBiTMoFkX4/ccieiEoNJoAd340VpM+2TQEhnPuuXWtrfx/KhCyEnqb5Pm1NUH
syNukhWCS/4NP3TNKrdGMAvOiwwNNA8qRyE9VG+SG29QjftuQ+7wKMFF7wx4cOWBWE/zco7xvmYW
ic92eJnHWimjEvH8mG7Snb5dAsC2dsK9Zau4tkou7KWYGjTrFntbt9+bNMgqP7GOfay6yvB1lfwG
dBmA6PfT97YUEVldjofvS+TioVnSqo8h9uNB2scx9QXT3oDL15u6poKzFFniImKHqeoSeDGIYyT3
TRTESCvmxFfmSWDn8qf+viIuLCp214GFOtO9Yv4MuQd/WZ6UehF96iIrXEws10Rvl5yyHhUFDMwv
ffQRbvIftsueyoaL6fH4RhWV3EWOwkXKBnEyBWERPgdw4mEaza/d0o0PrC9WHUXoLMES38BbZ94P
WYLIKtjFD96DR11mJAxgUrBFbyKRGS6wrGmRzAa7kY3uiLEsvduW+eNfBeZfPvEWuM+WovSkm9sO
H5gJGZgnVtSQ/HJ2ygMW9JAGIr420ZK4uKHVYD1IZFnHLOQ9GHCWda+3z9eXJDLBhYyiW6EdVYOQ
YIq+YvorqX8ao+jBI/A2HgFc2HG+ZhbKsAxLqvpZAM0SHaSPrM5Fbm3Bu+YPbd/3Q+ICBJVMjNKZ
KzgWPie3RlAEeuXW31h/uwuTT/NrK+iYXs6f3u1xgSKxIXcZEaQdHSZi+2QCF0vrQ2YGUEvLrWbZ
vX5if8gO3u1xIaMz124pTGQHrMvCsoN0x2SvGTFoGvSCxV2QrWLZwbs1LlRguE41sgIBqijyfR3n
d2ozPmGsBpOnOYiGYsxrqulDLWsYCEwx4F6PDoZdvZRC2GqZbgsQEziNvD51g7LRTRpiWu2extMW
pEwYcc62pFY+DSvYKkvz6fpGMdf97TYkMsq2NuSdQYz58dYFhH4p9RZBLlOUk20MhzWtRWdxMZt5
t8Hng3KWDRPqWapHbhpAh5KbMcju9c1fIddwDmeWuPAmEQVcAiqKtr2/gNaz3EW3UUBdiIQFuWdv
RRisP5Tff507j8gG5UjepMVbzafZAgCO4WwHlHQychfMsrvVJwXjxc1/u3NVbpEg1kkmwhrQaoa5
2r2JBoMucGhBLsZjsBPVzhd9QbXzH+5QulFCcPWFIpk84f5xsRscHGskrezWA4OIM2AsYVMA0149
WzQAT8FuOGqgdRCUwQXRXOWiOWY+weAIWkKvwzih8aVJjnoqiuYiG+zvZ3dgpndp0cjIvzCluFVd
sllfQXG1r54xaxmyaQQw0tFK8KGJTo2L6RK1IrVsWWuy6B0afQetjRLNDkZ8bX0H4XNHmQR3PfvF
36LHe9xTuaguka4urQZb2abHyqxAp/aj1X+mWR9cj1KilXHR3JDLRo9bgHqm5RbkiakEAGz8jVG9
qN1BLo+DaAiL/eC1hXFh0YjnuKtzVBTs3g6I5Fpd4472jV4eIUEV078Jwu/byAvTY0QcwqkJ3vyg
iJqkz5ATE4UMgT++SWCd+eOYtXYLAlAA9GqMP1PQAkYQZpKnn3Gq3DX5vDXXwlfT8hQXpU/x1owW
DJjMuQc2in0hoxJVGG9UZJORfbaLAXN9dnMfr21Ym2z2b/jejtWNPU+fYhtYqLlqQ1KCsarpj0UD
MqxEutHASpQozSPJMN2QWbvMxiCxXE++BC4LqyYTyB5LMINFbtqSo9yDUcau189aq+yVufmeSctJ
XhNXVgunBbfjZP5Y6qp1zUK9xz93mBqt9q573R9Qeb/Cu8ZytrNdy5o070FWgaIpEHmyb+wTj9wP
r8Rn6BDDlZ0UDS16nDfDy3XLF7Ol93uMJ881q7RJMdqtenrcQYb8NGiW0xi3hv1ARkE0FCUAHKCy
zoah1Stczp15n9Av6yAIhRc9730pPFlu2i691HRo9+gqqK5lUAxVKagMJ0Hsu/jBnpnhjkpK0oXa
y4KAK3dBNj7QFeQEW5meSgzNWwIMmGjPuGsrGWdSGSqq9tF4sO3nuHu4fvyiPWP2z/xO7Q0dpVkk
yxZ4HSm4OKr5UJmSf93KxaB6tmXsvzizotRprpIICNdsG2/yHfg/tv8vBZeLd8SZGfb3MzMYZ20a
TDziOQiKpskkkPQoAqP8tnQisbTL6cSZKe46iqyUaksKU9qD8c2ACkbqly6SQe0NzJUHsScqEog8
gbuY4gyzRz0FTDMuHjKk++n04/ohXX6ova+JLzx2+dp2uYQXO6tCECA8otsYGknu5CIGhqjhCgtk
Au+zOO8upKpVJ4qI8A9TeBZIbhSYt53P2vdNaJ5mV3q8vkqRSc7hJ2uJTCNLAH82/XgAzVAoxG1d
fhGebSTn7kOP8clkQsO59/+RFk6CDuqAEso5YG0UJCwCv7A4p0+NhY3BIkcHd9nrWNVfJCiqXt8z
RfD9vim6nn1YmbnmJGEUo3rI0uboxUaDOw0zz/KiW0CPjBBTUL59K+/BUlOLRB+F+8m5/pI1k9IZ
oHSbXSVgFA3Tq7wd3woImE/7fn2xIgfh8jFZGk176OCTTb8BF1bSB5EmuKgEcYqXns56OZcqgnDY
a+amk14I2urgtBsCuv7HO9fmXnBUAbdgBHlOpv28RPe1KbjTBbtlc5chMafclMYJafnQuS0YgKQq
CeVYhNsVmeECRdTrRmdMeOQkYLlav7X1ixH9/E/nbnOBYZAmMCA1KKxQjAsANQue7q2UPF03Ioqx
NhcajDW3SadgqCTbIrsc8QlJrvYFsr0O42hxZkc4YidIV2wuPnRJmlqzgntDuwEluqc4yib2LWC/
FNMzncWj4byvfesI3gwRqFtkmrskW6XrQAmJOAjC5CQ/4hE8Sz8lG0BFEnaR7gv2lvnaby+p97Br
c2FiqEtqzza6zDp0qXK/PaZH4paAgmnQ7lg157o5Qdy1uThR26QZFgPWopE4TQvFjkzdXDdxPU6g
FP8xnxkgxW1WBkJ7Xp3ATaVHoP3vvQks0dftXF+KzvcAVROQ+MLGxU/6z7Ll0/7b9d8XBHBd5qJE
k9b1mMbYK0h9vg0Y642z3ALOjKNpQlCpXrf3Vlf5syfoMhcu5EqObLPqAfzqjDs6l0+FveKtCa08
8Py5sSJts0i6Bxe8S4gMPm+wl3f9DeQo9k2WfFLxNgZBkyt1w04vJd/W59CMl4OyykGSawOoFUH/
2Ge6iJrjMhjvlwcD1vjxwOemwFPMBsBqCrSAqRUts6OE0Y0KLoJKiNK/HlQhavXRmlwWslwDOO8t
LtQO8IJxkwB8cLhXl23kqE4TkhfRTJbIJheNhiWvh1hBSBilg4Yyeac6QzYI/Pl63NFlLu7US6xp
VMe4kZyaTr/s6uYOmgcypaD9d2dADq+7m9C9ucBDLbstZwXf6b8dgHUj+eBqQ8c+2f1VE+rMR7i4
g2YGsRJGMzzlN3p/A47jTjTYJogHv3UIqW4pi4l4IEOjxdyn6/31Dbvc/n9fw9t3cJZPzhCMypVY
QyPtSD6rvra3tukOjJLgv9uAtdRTnQQkKuAfCObn/pkIEPSi5XHRKEbvAZJnFRpExeiQdbhP8liw
QkHGrL/lAWcrlOpCayTm5/9I9EZbnfXZfLo3vdbDDIyn7eogf4C6xFEEDxV8Ym9P1zPTZd9oBERC
8MYKdJpUyk9DS04j2HkFpyjaRy5+oBSnJ3GPkuxAu6dmUcEav5xoq5dOl75WMtTnbSVIynmv0Hbf
2+mTmlUnJaanRoL+jIwyvNqUp3waN5A2fWpkul+XMkgyaav0PXi/l8ahMRXk3qKP9W1C7Gx72nht
JDVFIyXZ4jHh0428hdqEY7ggsRdCnkVnwUWiglZWlNTAcsnR4o2kv58mE1iu/Pv1oxCklfpbefFs
UShILmMmw90gc45FQc7XB0b98+wZANDEQoIXQWLy5v1n5og6LuApZYmdfaqTbaavYF/0Sk2UYwm2
j296dSUYnfMR2TLYeF1Dbbba/GoXkwh+wU7h93RB13TbVlToXHOnJEEBUQPxK7t238RuQXoBFeH9
tKd35dYEACl9bV+r8K/mPsi7We7a6LIcZEBopOCa6kI1W7dUzTyBY1y+Ct9tcLdFlA1qslJE2uKg
PCxut52PdZiH1R6zLY2/uggQR8lrN9NR2HFjT8sru8pPH1pouZuajfkdtb+XEojprDd5V3kDCPdj
s3CWgXqyFWrFt0409HXZbX4tmh8/hPSHYUHYAW5TLZDqeKrq0ypCGVwezn0/PZ27RWSMf4OiysAV
H/vxfbphxSvzAMXizfyZ+mAEdMQTFH/4zt9XxiW20SKB1C3BypCAdof2lO9KQA2iEWgD2ZtC6S/Y
elib+90guwPOvnQL8hINzQF5QU8ETRwnM2Q8jse/y6DezXBXSa4m9lCZ6M4mB4oHAiPGlLdzsPql
lwbCehLbpWueySWhatJBSkXFc0R5sG+icIS1BUyzG9a+n8Lm+Fdt4LNN5OILOJ3npFFQWijT1Y2X
2J1Mw43lWJDXCL2DCyhESuapZ2FZ/RI/QWMG0szGvXIa/PhW9spApDAq/AS44JL1yrSo6tt88QwS
id4dR086QaMBeIgtbh7PIo61eKLBwMt5xy9n4ScRSzLWI4nRMTWHr3TFmJ6IilFwH/CTh/WS6osF
5TOvqdBKH072AmL2G0neQLtIkET9IR15XwwXRiJp0aCKg7cDDbpt7icPGKn06A5qIqC76YRDBoKg
zM8aKouO4VEbL+Oyvi3KO2u6y6AcUhaOnpdgrs6dVb+XlAdFJP0o2lIujgyznMT1gmXG033ag8t0
/mTMoQ6aP/Xr9StPEPwNLpRAY0iXc2iIeFUPGbD2pEDkLRXYEHk+P3c4SJGEYSiERYb+0RnFXL+H
7mMAGbIMc46Fi6ksSXPWl+trE+0iF0j0HpXjXGcNruYpt/xuTBxNfsRsQIxP7rop0TZysSSpuqlc
RziKBopvTae3VZ77ipUL4D8iM1wIiboUrEwl6sdjtR/GW3M5zSKEzB9em78+MX7u0Gy6buzZTV0c
Zl/zrJDxPsS+/DLs8pDxmynQrieh5ldQLAzqzfWNZCu4ctnwQ4i4bHJikAq1qPmLbgZmugchvQS1
o2qE8MGDLBpHv0xx8X7b8LOINlGnRdFwuyWH8Wf2UnhAxbrWoeucb6PXHxixdf28CvrUolVyiUme
g8k+goQe0L53ZUygn3Orjo812UT2HbW/t+qn67t6eQbybJVcQLElXS9JixjNvsB127oWbnAPM83f
O5/6kEzZ2LNj3mNuyhdYZhH52oEylz5LiWy8dlKQvyEl2oywDXTVpnhlY/DgKA2EaaYgV+GnE9fY
yFcwT/zbS4QgFJpuhs9SFejpbbWtYHWCBwM/hgia0KI38+GfIjq0iPCBgNb2xZDdxpcDDZP+CVC7
K2S3fNGLQRALftONzgmhZo62GLR5A33WfNtCcG3rQLBE0QFyMaeOQLafsvLg4CnQZs8CG7CHZwZJ
wJz/PRXxKwnSFX5IMY5GmZgEcOuyfKW2q4vo/0QpBI976ZQojkHxylwE9RbX2DBqcvmGsZIkdyKH
FBwSP6XY5XVNsh6vus7wwckN3u2dYosK+BcIZD88O/jhxDlvINRs4fYBfYzbn9Z9s9F2DBJgCd7+
grj122Qi1FKHeMLnxep0+c7cKjszkIVK7yIzXMwwrT6CPAzWw8z0eICnb2h7ETpc9AIg3MumSfWm
rivgMseddjMdRuiFN5t4a4TUH9zEF2mGi6Iw4RKS0VgwujKjQMMq381t7ksn2x189MwP0OJAdaFE
BRyttyW8/g2LvJDLTmLZhk7EAKiXEp/07KTWL9CIEaXmglDIA9bHeC7XdMHiJqTmFeKE5Mq3w6u5
jYJ/sgXldgG0vN+J5uxF6SUPYzcUaKbZrHrc+6wglQXGKWb18QakzR06MygaY8qKCBYs2FR+zFGx
tRlScMjRreUGzLbQaHyIFPu/5ZU8yKg25LlVbNwv2rDTIBfBZGHot+veIUqBeFzRIi//q/HKIbui
oRrnRugwsLEM6mo/0XR0Kzd/vW5VtH18RlLbidWUbDR42ErpY1kcEu35uglRqLe4OCIpY7nGFLsH
xuETS2PpRrtnxD8s90g+XbcmuLh4ZBGglKk0tA1UaVe3RDEe1QWBx7HwcCWV4nFFcaZgfqtFv5Mm
YQrBt8xGXgMEMN41SSWa7ROdDxczukyy9T5hMcOGeJVU75au22EEfnN914TOx6UXjdRbhlagrZrY
kWMm/a4EmCRqv0oA+fRlFVLNDucVY/0JNNaqb12f/QS8yR/j+laHKpVGJkFdSHCOPNwIZPoYlLMQ
x/TKH8dHkgo+t8sbSzCWbmGuR+H7yFZpSkmW4X1FGXN+hXL2l6EUkEqIbHAXW6kVMQTOERGtfNtq
eNjLwSp9v35yIhvcZZbUgzGB0xbYnH63jIduPqSr4Ll7OQ943yrOB0ewd6JAAbR12UPt/inJttI8
eKZ0JJix1qPbv0Q1vRvknJGQVdXq0UC6pkqBJdkeVEPDaV3861v31rH9/Uv+ZYdvGceq0peLGrMR
+QUTrIWX/ojDwWcctlRUxBKc09v/cvYAa7NKXToNmOhY3RnoOZl0L0MdWrAiwVG9heIzKxByt60o
QlYt76Zth4AU5K4WVs/y1trGW+rHbueOr8kRcmfWqRT4yeXA+L6d7FV4ZlzSIBfaYzDKK6QjILIY
PQioHmJKyoAk7PWFinaTRY8zU0teJtaiImXssk/K+HPB9RgJPqw/pKXvy2H/w5kNzbDGdJowAtqB
9o+9uPAa0p3RM4NiB03L76oAlSjaPi5a9OAfM+MRNUCSyejwJ86aPUg1kIPHNHu5vn3sp645Phc0
UjSbxkoHVmKKv5LGs1coBUJS/b/uIBc46ET1Ik5xeY270U83UEqE+NQYQEb9japLRA4jcgoubIA/
fI27EhvYyQmEvSavTg13KEf/+uZdHnuBpMH/rg6+wStBz1gmE2uBIlFbvXzfuvGX0iX+6JGddGQo
JKYDAP2yx+uWVcG5qaxQ/n+kfVmP3LjS7C8SIIpaX7XW0vvitv0ijMe29n3Xr79Be8Yl05ri/foM
cAYHGKCzSCWTyczIiI1LturYLGYPlASrH7VfgcR8bmGdSfrEz8ltErCJfxOcsNWROoxQscG4MsjD
UJIXvtqU6z7Ez0AmgMYVHbvc0iMFvpnY66FHM8oAG216ooJK3X+MLlz2nIstajnnACshsP3DL+ek
fhYYDghGGM3QWQQCFbgSPwNpDQkN5xppMcSUw/omUsDkaD5e/5qi6+fH1PTmaw6dBHWkBn7E3qHs
eIRuhh6UiVqnqOslchwuttCODI3eogYflQ/UPBCpslXInUtPgiWJ7PCBRasaaiwILGrABozrewNv
wPYMxd+fk/PNjw6zqP7Hov2VcKZwccaE0p7Zt2DZCNsI4sCTU1tlcH1lIofgYosZ0ThMJKD5Q0WH
GnJ8Z/SDp2arwIxgJfykI13iDiThyEjkCW9lGVBPU0SyInI7ftaxafUFwr0/BhMGj2IKaD5ot1bA
gpaohyw6tvyEoJIZXWPNKHiDP0sJGFcjsOOerjijByLn59gTQTWZg11xBZ5K3Zpi4IJTjCSWkOEu
FvWkrlLrAH5zrGn7Ei35OwsuvyITZZ90c4qBBlOzqIVFxOTvZLDDoMaIdnRbfZTAomgTh8m6kU/G
jfQgQlX+x6vtYpt57cb2EEW1UkLSHcetOuhB+ql7LYLlIfmWfukxudNgqj/ThBAgwSGnXDCZtGaa
R43tcX4TgZSvQHNKxbNDhIgV2eGCyRgbZWt2AL2pJD9LsnHIJOOxx1AzZocECZHwUHAhJIdQY9tJ
4MOYG4zZU3N1U1k9MjF4PHODKYsxzGqVR0uSzzMkybIo+Xw9wIgWywUYDLJKTdLgxkkLXx9faJs4
kDRX19a5buc/qjG/fIZHOIVxrjWrhceVUbVf00T6UjTyGTIzp2kNX6mSOnKcz1BdVu4whfparNL9
PJcfBD+CXddXjikPdirzAgovMSs7ufkLy637N/p5cJG02PKX0BFhI9jmXTPHcpnNOUnCKs1TFSFv
OTGOwv4w+N1ROYgqy4LorXJJSqKGhS6POBj5+pCgedkI6v6iJ4nKxRptlWdSACiG4i441tzmdbSX
r1rAMs7lTboRvUhE6+HCi2mOpqLoSDf1TnXSdbwFN5IgYxDcqyoXS2KShiop0cqoptY34+xxzFBV
U42DwOEE2arKxZLFTBZihahvsfxRdcDxeQr94siKqqhBCm5x0aK4YNLX9SQRNq4ZaqZuD9DzzrU5
dpJKkEGK7HAxI661RY96sBY00uTWRHuYM5TZrVVgRuR2PHZJL9slU9hIFMSS2YSH1xI0FSag90Dd
jifxYRJYFDgej2XCUKi6NAMWllGflKdp+nrdHUR/n4sH6TDh1kzxnm+h8LjK0sdyTL5dNyH4Njxm
CVDOKSkaHFVj/aAapaPJx75/lwbC5SWqsXVu4lqM+aQ4WigyjOhJ7l7pCGWHUfAtRAth/31jIyol
M1dWBLWRfKCjgzPkza2ozC36IFwYqM1EhzQ7uuhNkdxVSfzFyNvj9Q+y358yiaIQE+pfQEz/vpAY
QphlnuuM8mpFBz13UV5B44+laJrDWOumQ5vaAqO7cWdjlPtClSy1NZjRcK0f2xfIHhz/BsXrV4wp
Obkjqn/sX+0bY9yngtJ0mg3sSY7XV26j1HjKHNAEtf8IIYqg4Lu59sYc99FMK6vwVgGbVFaoz0ie
HrW5PCTx/DrP/Yuiy4KOwK4jbsxxIVyKmsUgEuC24XKrTAeV3IwiwN9+a3hjg4vcci1TZV3xTlaC
5i8ZIwnJZ+suuTEAXZH9yMm9/DHyi7Ooob8fYTd2uUheZgYtBwiGA/6kB+GJ2JFHIvDbrQ4Q0rdi
HuXd83axx/dqF2VqNZpgxEOSsmNOk/s1Wvzrri/4XHxjNtLNvpRLHOmk+paZ4J9JbJl4122wz/FH
XrdZBhfHh5H0iqLinkBr6tBoBras1U9hUjr62PsGOAXWThG4oWjruDDSz0U2hDoK+XM62eV8iJan
64sSGeBCRkj1Xlshhe4m0WNi3cf1//hhuCjRLjVZtAQ1mrJxSznoMDeaCBJVQWTgm7AtNfQ+11HG
GGnsmOqdab6m5mp32V+j2QpCrGi7uLCQzqSqNUbQI2X3WnYqp5frn0N0Nk0uJsxEGlGNR6ewd5fv
qlcFo53bGdQKWDMlcoVAf8GVYXKxIOqXYpJrZN2QEmXFhPk8TLb0ITlOrulDs0aouCUwyLdaF4wN
9xDsw4uQ2D/gN274Qp7k58GND9n9KBrh/VEZvnJqeXoHq9HksUrx1u5B2dItNoPhlz7KB2DGmk9a
sAayD83Ak/604G4ObRB8HnVB5BB4KE8BMY3RZOHxgQywMkG93rmz9dBVxMnUr2FK3OsuJHBRiwsZ
mtR1ZcxUDEx18FAgjWyai4gqRW7KU0EsU2m0c8cKCDesKxE73S3oTsDss37og9IRUTQIwjvPCTFm
shEXM5rC2fBEjMdVvqXWh+vbJspneBYINeuNtQAt2z+PttKdD0mg2s2xgtydqOT/o+55zS25QNJl
chorNYppUZ+DSsxwyVK5fZazcVSpsMNafzFy6HlI82s0ZwfF6G9o3kJTpLKXagLrWm06kkltqshO
2Q1ep2TPYZkOtlkaSPoSFbBQaHTQ2FOjAtM00qeikUAxkXwfYu1cSvlNXkiiGppwD7noFcprKREV
30m9nVE06CCTrgDz/1OeQRS7RE7BhS7ZUgc0aoAYRNYbmHX3NQVdnpKsIo0cgbNrPMlE2mizXNa/
hniIvQwu8InQepxuunsptYUFwutnWOPpJpawn5poRC/zJ3SbZWjtgUGapaDwk+fQqwVB4/peajz9
RD+ijW9QpIRJfiDzTSadqvTl+gFjCfp/e7z2B+OEvIbRTPAMJsqNRV+bqrSn5auZ/I9m2NZuXpAk
W8mghohMyep1FNKV8+d5egS5hiATuJ4Najykh2btWpsMK2XizKpL6hACea0GiuxlYSvhrWq852n8
K/3UZLa/m4WtDVirDAokWKlnnybN6tyi14JKRQnr//yhqKrI5g/Bb8yWcKFJBpFU3hYWcfUB+jey
Y9YaeHTdTsgQt5MK/GaIixYtdHUzUgN1NTnlkb2RoZf3xFoJ6jkC9brgg+3432/WuHABTo1M1dMc
RCHQTSpN1bX076WSgbtKNFy7Fwa3png8ezIs2UTQTHP1WwZFaAJQ1QfVzYIKlnhWcy/D+c0a+d0x
5MxKG1Nr2GRoD1UcYKcbuz1XAbpCr+qxczEi6ktBego95TG5p58kYRYp2Foe8R7GU0f6NkOBvSN2
1vhS+XcjP1gi2ZedIPXbQrnMJqZari9hCcxKq9lRibx4el7Wb9e9n8UHLkz9ZoSLH3GiSkiIK9AW
ktprzcmPFdm/bmKv//ObDbbQzVHOp5WWViURqGtgJtQmduyqQKDrfnwSdQl2Us/fTHFRA3KUvZko
sQJS4GMFxkLlJtIsu2pOuiySLNnfOZVS2TSILvPdUJmUU7cQeMEU3fbjhyYT8VIwR/7z01wMcJ+m
IBmyprQD8z9yCwMzHKMdHcFjalf3okGb/W27mOK/kExjVa+xFqM5KLM993fG+qnO7iJVgMPa9+mL
Ie77hKHUpwuLSr1812q3SvexFyKj9uPsxQYX0I117JQcrVtkE8Rn+xa68dvkM3UB7RM5Cpx71xol
0N3GgIpi8HS5pQaR6jZKkat/UBwdghNgdDn2GP7CY+GzyL13t+9ijI+0tRKOlZTjtBrGYZbOUv80
hQKgocgEF17RPQzrke2epR2l+ktYuyrIta9v2u7RoapOTcOihPD0Gp0qD2vRYc+iPrk3eyWzab/8
dd3G/jouNrjbluZlr0ZqDTWz3gEix9Qe6Cz49iIT3BVLS/WfU5NJd4002yZ5hnagd30dgr3iW8rT
kIdar7RoQ2BuUnowhASE7Ff+EWYuH0PlPnjSG2EmEdzePTSYcYefdOC/DG89GB5TQaIB4yJUQDed
O0LKvN2bdGObHa7NzTDkY04jWQFV6dp4aTM5oO5ySGH6xvSOdg7FxO+/Psf3j3OzVwFdSTDziwIm
CPPq1qGx6EUo+lhcyB7XpJ5pA8eGvijkKef0w3VnEHgcr8utdlGYdYlM3dV8lfv7ULkpjP87rv63
feIidDKtiHEa3KFOP5eSmyx3nag+JNolLkBPBhSwuqJAVbFo7AZkdvL/+h24wy/HY9xHCixoq18Q
PxMSBO3ezRtv4o5+r9CQANTykxk5OZd+D5qy6hhhylgTwDMFu8U3iKNBXxt1RABQ6EtSfFrVt//J
p/h+cLKY46BHyKfN9X6J/27aWyn9ct3EXkkBTmXKoLPX4T3863FtjKZWGjTP8txhb/zOlhsbAp02
xECBjgOZoVA9cz+0XExyfgywWqZIg8rwInf5+JBOn+f8YVEESdpu4qQhOpq6rigWP+5oVnpr1az6
KGWfqXowMRS1yi+z9AZCO1+wibuZxsYW59TJMuRpg9YS3o+Mt7Wzu2+M64dNHravooxwj6+Oqhtr
nIfHQ5aNDRq96OiaTCAlfPxBkvDZdMGBaTMctGzHd8Qbb0tHVOraayfDuAadRp3qBP/393shHMx4
VCeMB6iP9ZGpeClO7LBEbvBxJzkY7vRF4MZdf9mY5Pxllppxrgp0hib941yfeuVej85UKLvOGFr/
uG03ZrjYN8ittZRQRMJtCzb6M6O+x5vrUNwPh+vusnutbwxx3tINkql0BFu4nNiAcX/WAtUXw7JE
Zjg3mQdNysG+g/L7Op7iRrajGDR6eeqXEBPRpejWyqfSNgfpPendZXl8VJwtLR5qHUMqUC+xtaJ0
ZrWyafqOCditI/LBUa6TmPYp+kWrfJc3Qbg+pKJK/O6dvlkJlwNVRh4THeyQLoQ3Ds1seVWV/w2u
NBFcYtfBdYUoumYiFPM94yzLo0mZ0GozOs3OigO1FCeaY2+WI+e66+2uSDctC2ONBMygnI9LaUyW
ZUQTdMrToKbEm/TSL+VREBBFZjgPT+Q1m2Joyrp1eJKzuyE8mYugH83+xB+ndbMSzrvB5lbnisWo
IQ3jaW6zTzkNn/R19OQSdS6DnOjaCtq7+9USQ0GuinuSEn6it+hLk3bD9O+odwU5AsiIqR9LjJxo
pWAP9yPtxhoX9sxkyMusA8qpRfYvf9DOxSuYz6wOovGLH2JaP38lxBeRw+yBqykUJX8tknOR1Igr
DBMhIWBvdKDkXclmobD18rN1uzoU3V/poROBaoR7y7nMpGtyKckIir27+j04YtZDFqyn+JA/Ci/Q
3bxts0TOd1qjyEbwijKyADRhQRdAvoBQyyGP0CA8Qj3jDSJD7zh3F4t8r7mMskXPMV3jGuWnPHwx
woeqf75uYjff2ZjgHosDOPnGrERNqlIetRUYDXpTNKFTKN+i+NN1U/tl5Y0tLjBCx6JIin/HkvqH
FB3KKDCC9JCCiFp/um5tNzoammnIqmERjYcUlvmoKbmh4nk4anekrg+tNkAf1wQCv5+/X7e1G7g2
trhXYp7qvWLJwK0ZzSlP7mfqzyJxtP/YPIvKuqoplsVPs60JKas6QkWPSXrSmw7ZU+Yozw08T3Kp
4FPturqpYHtURTcVHlUxL3FBk5ItqK+f60R7tDLlPXeKqaONANZ7Xde4gFGk85BUPR5cZXuU2rfJ
+poLdZx2v8vGBhcdVFoW0ARDS1xuPtT6auf0JAkhNbsnaGOECwumJU31CgJW15wqr4hbp18lmFIG
Lx9LjKYqIuqc/Y/za+d4srO1rhawDuPZ0EADN/tCpPd4s2npRAWLNFqpbFc3NRyjkCypCpFXtN2x
6+8tze/fQWBN1Y0J7pJq9Uq2WgX+pVbnpYAA+HhqS9m9fir3P8xlHZyHQZnCyJIOESC2/tKACozG
QzN+jyPfgP7edVP772EcTrSFoWwO+VNuz3QENsnEY2P+OANNghlXT/IMT7rV/fQ0HETvqV0X2Jhj
/33zifDKMuucIhgs8kEDEUkoOP/7WcTGAOcDy9BqK6rGODmPDcMcSXb7DDlzDwmtC908NvRviCe0
2C79kZ1trHJu0Sj6EKUzvpj8KD0zrszxMJVO6xEncqpnyRWx8Oxvo66C0wJAZ4Mn7rNWMIXnE+Ae
qFkG9YTq0iCqjO8N9YF1+mKDu/R6c4zMyqKMz6W4k0FTE/vlYTzUHpBUTvkoucXbdV/c0w/+zSLn
i3ENZtN6AoJgCazn/lje94cEjE0WqsCsSV047dl8mU/hPcBiTnIfOn1qV77kEhHz6R4t42+/hHNT
zIhNQ5GiZPNzDrl0a1AzjkeGtB58+SG+Y3tQ+IxHNg9E8zgs7v7pTJeN51wY3PXZGpngOkqPmk8h
15AcYxB3ioaF91DQWCRuZJSLAJVXuPhP0JcYpgTb3fvLaUbBPfclw6Zn626qbe2ROoWLcmjS29KD
aGJ0f4m/TPMDsIk+zh21kHSvxhpY1WS3dAjWMfaVVn9Z2vnUFuspXNXjdQ/bOzbAbxgW0gOqmzq3
s8k6Ja0q5xikzA6kPE614O/vPdK2f58LA20htV2d4wJCgcyWq0O23JvNXWNGtgQhnjgSmBMth7sn
zHFeaoM9XYboVlk+Gpmg3su2g3dEjaDpISPGaArfV27SQbFqlvbG6IvoaFjMVeTPpD5c/yq7GeLW
Dnfa1NqoVy1DtmPemo9MhNF06W11o/o9UBsikM3upm0WxfmAGpfm2IS48BDcMO6vSW/KTEW36l5R
frsizhHKupkbMgMVrwbRYXiNvD6y0w+zV6G+nIju1N07b2uN8wNAGudaa2HN1N3sbgrGc+5bXueS
7/MTI+Os/OEsGsZnf/Oab3AZqtY3vSbpCFLteoY+gJ11n+f2qU9SuxeqZ4k+GYsmm6Qhi4fCKjJU
2JTIH7u7aPomcMC961sjVNd1goInYuHvBtIsXbuOEZmOg62fcOP1NhQz7QwjwhhVbTHEI3r/7y/p
YpG7XGd9KKlB0D6DwLhnLMo50+uv11clMsHdpgP0KbphQYVBWnyL3lNdEB3+49jiVypE1wjEn37f
NWOZ05+kcuyS/HFBB7obHaWgDSL/XegGTUEdyiTUAsaFc3LJTLJsaAvE7scJrHnkID+MAIJiSBtn
6j0l+K0xzrvTsaqozgJ5mL3p860ZHqz0TSks+/on2uMSpVs73BaCYEvNW8wsuxrEpsdiRnRV7odw
9aMkxDgpTU/9kn5XMuLliSjN2I3ulw3l2/mdTqWftMhrHKTKazM9k7ARBcLdk7Uxwp0sawBYOKzQ
ZGCB0PiSnIogvElAUdU76aP1SYjf3Q28G3vcuRosZaFmAadnnSnFAZb8HPqyj0MAbuDrH2/3fCkU
ChSEKKjWcBdJni7yipcMbsV48rJK8dC6dK+b2G194eL9ZYO7R9qQKUsWqImyYUb1c3mTv2SH3MVo
QXhDb7XH7gjizdvFZRel6AzsPgA0lFKILGOmUOYnKaVVsaROxXM9HRz6UYG2afXNelqfUImS/eZB
PeffjJfrC2b+/setAhibqsu6rKk8AgSsjqAtGJAJxNWn6M1SY7ssHzr9IA+MVs9tRwHEaD+GbQxy
/jLW6jTGOsaK1M9M/S+/r9/KFKF/dYgngyBc9EF3M0TgAk0F7230PrgDPygkWfoFM+NMRa/AlBHk
2hMvuw390bNOJsSe8Cld45inriXY291HjXaxzfPgTZIS6uHw413R3xRPxGfco/MhvMlODNGHiYjC
0TEywNT1lArCO9e/7f5e47Bo1MLyNb6Vmq2QIksQDt0Kau6MPsWnd+Gx9oqXyo09URl1t8Kubcxx
Z2cBDe8ySDDHlI51J/dB7vHvhyUiNSh1z3E3xrjbKRqXKp4z7K2aglPzwVQ/XN889mP/OBiqqqGV
peFfP8o4mxQoscZmIkxkdp2Mv9oeGm2T9JqSNKBjLvDR3XtBxbyNZgFGACzh79c6oV1bkQE8rnJx
ktpzFwfNIEgddk1omEchuMk1XeVOQWsNlaTVM0rc1nEq/oLy0ly9vmPDLib4rmwr99gwJupRDIkX
KskNJckt1EyC2XxP2VHbmOI2DDR7ddvJyOW0QvbIsnoJqUDkGnvXV7R/GWzscLGqK0PSZFC1cdu/
86PhNw6Gbj2mSh6+FB/7As49QZklPuWjB9lcwenddfCNcS6blKxQU6thBJ4sfJOGr431KFjdbmTc
GGA/YOPhkmRVjWmghzr65VH2Snc8l18Mw04CiEjd9yilhaCuyl/Tyhcxdv9oQfxxuja2mb9ubGtR
pg0ZQf7PQgXgHUdWDSEHBvWAoPehS+3iJr8LbTAtPQ/gvVOfri9ecB54yRZZjjVJqSSWSlR2AbrV
eX7NQ9GFvhtDNFSvDdMwoKTLxahpyhWMfcB/BvVTFSX2WH01p+9xKFjMvqdczLAPvdlMK6qGdFnh
KVl+yruz2ghggbs5wmYZXPCQk3UkUYza5084iXmkgJP0GB69/k12K+OYxf93u3j+x7JB27TrUf+s
P5bH/IH1raDFVdvRaGNg1g/vZFG/fd8NLha5QNJP4SorBWgJGm90GYQ7ypC/riBxjSGiRqEUPU5g
4nXeU03GrUIpNTWi4F+/f7FIixo90dGtjYanEZezCUW865u5/80uFri7OEGzZjFXpOU/6iEBquNg
ZmoDEdJo3/UuZjgPn8uoq9oYGzg0d+ZwyOPn68sQ/X3OtccJXLQjfMJt9MGNNPXDOoexYKtENjj3
7suRLmqzIA72sw+V0kBvB/f6Mv7DtX/tE9+en5op/0mUpQZh0N6vB/NFf/mZG6WnrHMqQZq9uyb0
/XQkfpps8C1tvWwWeRoZK3I83RmW9lckt4LX2H4RbGOD/YZt2DFWK41SAG2ZwnoYoO9zH3n6sflb
O0UACA5vybOogi5aFndulrozZ3VFQJX1u3W9H0TqUPsvsM2auGNjkqkw2xITEOC6vGHD3otqox3g
YHgeWbop26WwMLV7SWxMckeoK9Z8nE3gjBILIGIF2o1h6hlS65fl4AvccDcqbGxxx8nIc7UljJyd
/P1TxCJEno5ezxPQnE80MG2mBwW1MhlKFsnbdeOib8cdM71uQtlKUXlZ65cWc3sp+XjdwP7iWHHH
sJCw87AHTc6nn1yscoW5yjh7aErLluvJq3TIkMjUWQwgjkJJEKL2v9/FrPL7MTCylE7VgI6gWuYv
lo68KY1dLTdeijU+Xl/h/oMObRSVGAbqBDzYIpGLUJ1SVCeGYn60qhDSebqK53oEIfM8UOv2w2pk
ZyvDfIM1PkRyaRNVBFLb/46/fgMfyuhYj5kW4TfQ1nC7PrmJGs29vs7da/myTJ7IotX1DhzBA14r
FaS09OrUNLVXZiLC6f0vd1kJ9+XmYVLnDET1bhsPGLBMHYM8VkawTKHghvmPsHKxxOXyo5ynWouG
oFt87286O3d1VO1t67b8Ue6uneUcete3cP8wXCyyr7gJzmkYgkQKuYebH1l/JwkY0hhDcAKP3DVj
KDK40lRgS3loTh+nowT2RCDt0TllUkY/zbwr7m/McHGrp11aGGz/2vCWYr6diAYhWJD94z2yMcDW
udmukYwklnI2jGRUQannAF6iJaoZmAbPCmjczqLyxf5RvljkoTmlZHRhF6GYyVCQukPP4YMC7fHm
WPjQqnsPhRnVNua4THfQx7CWJpTdGDeM/hckcNzopmK6UygLizA77HNc2U1edLBv8U/HMGFpSP5W
pC62J6q+dnV6lmXLDrPwRhqzwzscfrNA7oiZCggKcujOu+kst3Ycqm9JuXhLM3ommXENWF5Bvkp6
/PW62d1QtTHLnbO61Qepy3tEfwyVyaPsRJZx1BJLMDu7H0E2drjMZ1bnMU8mLC/5IDsqHsnT4NZv
9NZ8jiHXvdgStNGe/relsfC5ORMVSC+lxgyJO9U3ZXrQTTsWjUTsRuDNqvjcx9TqNEQDwW2aO5pj
1CMOBg0QE90U3CjsM1zzSC6AhEC5tGuMvA7aQrmOYcpv/9tecfFjkqJ2UQzk20X13JCzVLxVswCP
LlgCP/9bamAxrjrkbkYz2jIQ9VM3CV4N+xXcy/fgxQPlQglnnbJt8qu/GCVX5nQ+PUHuWEiksP8k
2tjibt9SAQC+Ci0WkboP85EcdMCKkGhTjwGN4qMoKIkiLt9dmSMzbkwmZrmc6iPUlg6hD3ZXm3FG
isXZ978WipQUS1QVHhlZ1iuhmMfAeTUnG9gbb2gswdfaDz0XE9z5DC0pX7vMRPOcxnY9P9Tjaqud
iAbuPyLPxQx3RpMoS82GcTz/ZPiF5qiffWM6oARQ/eYZGMmX62dpl+VDMy4WucNKYjVT1AL1JjYu
GDvVY5KhKLnaCuROJY8JnOUQ3ClcCWLimI2+Hd6E1+V+XnP5Cdx5Vmiaywue82gDjm53l/vmA9i0
3fZL7TFyE4xE+8MBpV/POo6fri9f4Dk8UquUJABmGApwWbxBvcvX91TzLrvLyxSkyrIuCygN8Gzv
j/mP4VWmdSqiK9gP7b92kFcoWFa5jg0Z0wKjGUzNa2++0SXoQ0HcFVnhbv16hCQdFDvRrp1VPzMN
AFaeIv1VKwXBV3DWeDECtWybWF+QH4bJcyYdFPIwvu8KuWwY+wmb63aVar3sU0QMvfDk+TTKR7UO
rruWaBVcxDD6LAZZN5IIJZrdeQo9MJi5xEy962b+I9JelsKFjGxSjbxMkK7HxzBgdLn6p/LAlEoA
Bf4kqqUKrXHhQp/a9KeESOdBlsLJvNgtvyRHBSXq6F50i4gcjgsMQzQsQ6MBAYjrxG4zxHZ1cDLz
VotEEz0/HtJ/5iy/dpGHi9CBKKPOUna1TWyDxkedhv6qdsEq6ae0bY9JCa3ieMpvOjk+LTMGqSEw
sNQJJOsqp8lXPybqk5KPb1Mr32Ract9LirOqo1eV5gMQCH48y29kHQ/LUj01cfMyhLMd9/FNK1kv
OgEPsDE4yoA3+LpaTqQOAZ3nz3Le+1ZfftRT+pyMltt1phfpozum1l8hUm1NNz4bauRWfXhXWblm
90t2HJLumDaFa7XDAZJtXyY19Ssa3WSD8cyQHGNE7pMqee1ixRlM8raOxU24TGerbt3MGpyGOZOu
2VU+OpJcfF6l6kaaQ59k0zkpum9D075VeBViTCRoyxC0TOU5qSII8hS3BoFaU74EGsHLsZuqe2mt
fcuMUKCBBmNivlohRrKmdBa8+ndPm8mq+7oO3AEv1l1Zeme1oUxcOvtJ7lnlA4kEj559E5oJPBjk
aygPKLaktYJkcY0Gf3cT10dt/kwjwXUhMMFfR3qpKYk+gRNiyp679MHIns13ZbYQ/fpnFfyNREdF
miUtQVgKnzPyQdIEzW8Wbv44SKalaIDt438WF44iyVzL1MIuyePrqN/jdWZb1l3TvRlxJvjm+8Fo
Y4sLRkTOjKadYWv++JPSfz709uQXL4xFJRW8CneD0cYYF4wmdSlI3uLVUTbK81Bmfl2SwDAWHz0t
RxDT5b1NxISMYmk6VcGw9Pv1VC95GdUTG5GJC5uEYDRsDjmBtu19Z96biEExARpWcGHtb+fGKkuW
NpeiJS1tAZAcXCMYXbDZQtHEuAOAPahP00GEsN3dzo0xdhQ2xtq8CoFMRlM6rP5uZtQ2TVCMjk7a
y+/yko0l7iImRlkusYnWyeSM7k/l3vaQ21bABn0lX/Dp2Kf5w/831jj/T4cxV4oamwhFucTGYxty
dlPjMup14IBOi2HPAmqM3aCxscidgk4rQjBtg+qLLg/T5NVZhzn9p+vL2j3VGxuc84N/Vau1BJUX
MBDYZBz8TPKJ9CBVT5JE3eu2dnPyiy3+Ks6rNdOlHGkmWjRr5bXvyvk3f5+rzo1Vr5Cpx1osM4jr
07wKzpHge6jK7549gzoMg4CISgrmW4aHVD6003vgJKDCk2WUlfEPD04u5kwGnAoJv2Ynd5KfJ3Z9
LLzitT1nt1HQepOr4cm4HMUMdntfZ2OZr4xkbQZVYzbvmq0oIEjVsZsiQf6/b8IyDUzmg7iMh562
ULvMR5acxx3wOE9y8fG6g+0GOrCdUKBzqaIrfHEC0jYqnUu8eavwTpqRqZ1TErTVoz7WtoSOXFt4
ZL4toTkhqSINvv8oxVwyTc79mJZGu0p4cjK2QUzkn6Ftf2R6opDxCdJbkavsxtnLC5T3RkoKNZpN
nKZkvY3oKZS+q2Zmz+GH63u66/QbM9yN1dJpsDL2AlUWyV61z1MM7ppJRI4r3DzmOptbwzAHa6Ad
Yjmbtp5QKpiJZ2CIjkLVgo2slZUonu9Gvs3CuHsqLUpjijDC4ILo7i6NM5+sqSev3Q3O+FmphiDp
F2+1qK1EcNg+O2fycI7D6BRl0t+1ZjgF5r60yBIko/ufFVy6GExQgWXk9ntok2yVIJvkRrLmNdAv
ypLEtwbDQd73nvvFuJji9lwiNdStKIDSYU09lZ4MU/bNVLDPu/6zyd+5UxGiPSMnKq7NRQlC6Rh1
h7h+ve6i+8W1jQ0uMOvtuvZ9iT3rvPhldhPDTt3K6dF3CorR6Z06sMQU80Kr3JcyauOfk8Ew+8Ud
U54qgvpcgMOM1bbik/WO8In8/tdTiPteEWTtyWSxfIeeaPzSjd8F+8j26Y8UZ2OAOxIxsPRFhLIh
SPpZJ7L0C6RttvRZxUx17hhfBeb2MqpttObWMyuZWswN0FVgtWWg7iC5nZ8I2BIZfsL4KsrgWLrE
r25rjltdEdd9YlQdyD1o9C0rVm+GwkySqycpM+ypn/8yGtW+vkS2gmsm2WHfRrVETlpLxQpH5cmY
bsCaITCwd7q2a+KSUry7YyhbrhhzrPM7AzUEwPSf5bA4Xl/HLoZ3a4dLRdesGmtSYB4mBf4SuTbA
pn4HbHr4kDjj4vTfmXh77YQYF3SS77oAYSjaRi5JneOlHpMWdxCJgiF5UIRax3t3ga6AKI1R1qPZ
wG2jpVfAnjJgN2PwjA4UINraz93s1oJClfpROgFJ60dwnPd8vo1dblv1wWrbpsdbKSsjW1sSu+on
W9dFKrC7XrIxw+1fNUtlrVa46sbJssfkE95N9rAK8Rl7j9vNLv4h27Q0etjKYK1Sg/mm9Ee8xVi5
Uoxx3V0PSB8UjPkAmsND/cNuomVjskQ8S+xMlo4JfShbkZQS25U/Du/GCouWm8NblhVQGSHCbXr8
l//t/2uefXfbNna4eyRSwc3fzDjDOfiI595p0/s0fpIzd9Vyt49v5/ybbETe9RO9e6Q2RrnY2zRL
pEeMrzqaPczuyUiOrxvYjbYbA+wbbnZPLio1JxPSU/BFQY7C1Oz/R9p3LEeOc80+ESNoQLelKbKc
VHKtVm8YbWbovefT/wnN/VoUxCnMVW960xE6BRAncXBMpqwHXiEtlhkZO0kZT0HWcRa1Hf+vjLJ4
q8yGGQpgdx4PgUfr+5BkOeleB74DvhQS7xQyoCF2eSUJBYwVo7eUh3Z+ULqX65vIM8HgQ1lJhWr2
Gibl4Ua9q5XnfPlEUKGttozBhtAMs0YPRMRO7S6IOmsaB85J4CyCbXWLmzogKtLTTp75k7JvxDN3
aoZngg0yp6ZIQLYJgEvkvRCGdh8a+8Gc7eufY/OVstosVpcpjxuhV0Mc6uBpttH7CSltzdGfJntx
MxesUPvr9jgIxL4FgNuz2YJpCwi0nOJD6NG6fnTgDVhwsMBksGDJshbMiTSuFN2huwlGXm84d9/o
91uBgV7Oeq3QzrMWku6RXdwOPwJfAwdqaHdnZUTQcH3jNmNzDQI0yLQSyJKwk1pTFw39lGEqp3Ei
1JwzJxgt9QbENn/LmIsffemF1yu+2fWxMslObhVD1CiRgEuJDuP0d+Gh8DGNaU/QR6w5PQvb+0kI
qC0kU5fQMfh+P0meGkKRQnEFyuo3NJ2b22pqtQ4NnWe/PX4Kh5CQEjFsBLoltilY1huMzFPeE2Lc
yKWNUpDJ6y3aPOvoOdZ1Efc6uo/fLwltGMU4jogw5+ASyl8nHUU2zC2pP+fkUVfv54QXOm9fFrpB
xwUVsIeyrCpjDkWtvMYm0gYJSDx7ZC/uW4cOo4Edr+Wg4JaT6ZgOBp8yMlMyO0FrKGAR0ws0OGcC
KHiz5izHkXP91HNMsIOy6lxNBnrgUfs2MieUf9XB03UDm1u2WsSrD6z8OGqSbJDL1zM+gzqBnrv5
ongRZssC+zPp77UxJv4a+rmGoCqMKdJJbzzJvBg85fWte2Ntggm9tF5ra7WXJGeefDW5y8AlF/Ae
1fRvsGHk2gaDrqFUCqXZwEbyOh6YPQjoBoM4F9Rb5KO+j3/84TdisCGJSCXMGezJZ6ruo/iBo9wo
HlISzn8Ytt96Oa1Xx0RcmQDGhxhiIY76QMCBI74SMmG8053uUEBz+q8LKBP4Gkb0z37YVAlSBOjN
1nXlFSBXBzFsIe+H9DkMzLcpnQnUHoPIGzEEdn03t6JYaNP8tsN+PFMfTZKhbmsOiTtUo50NuQW9
rjE/quJtO/Ci5k0XXtljPt605GWiQfED89I3GS6QseQsaPPEE9QQRAJeS4OdfVAFkMZAKgRhef8U
V6c8OSWZe33PNtcAkgBdwz9IYTJIrsVGK4/4OhAAO8TF94Kb9JA2v8rKAhMWF3KOSQADFoaf/6gG
vubdoMwpXyqX3OroZwO3ymMsWiVnbdvb97Y2JlquwcIzJiEsm7q/xC/BfJOAOugz+4dDLRO0Nmps
02NtLlKrNJjbSAZ5p9TVd4Es366b2AxWICXw2wbjtnMXKqNmwsZQ3hViuh+kaUcGNOzXmR1DaFRV
QzS/kMzupuKJE5xt7+GbbeZ8kLxI4h6cBE7dXEiN6jCukSriGNk+hG9GmCOSoo4WjREeHRFGURo/
Tji5861wZb2BzEFA4i0w5xq4N+zAm3igIxtUHonX/7dJ87yywzaOCNWUhx0aExzzgUoWjGcB8qw3
4NPMMDVPJX6RcsPbXd/zpnpfY7oPEIupR8R7hiaa7OMj0pRIDEvsoPGk3y6/yAElb8gl6HZyI7/0
u+q5tHO7eqWKnP5Knsrn60d085QgGWcQRYVxlioS1xjIOEyYn6pH1XgclEeI2nzChA6XRWcxJt1Y
+qy2BsevmOAgVp0/dZc6ds2Y0zSzSVYIOmTTEBH3SYQN+6oojyc9nnEb38mDU4D/IEGzaJ1Y88t0
3zoYscN3xIj0seLByObN/GaZjQaJVpdBRavhSwuOJmU8SGpyklJj15nibdRk+09s5soc+wRX5ibp
ognyR8ne1O968mvUX66b2JyVXW3ma3i6uvWh5lY2KQ2lkGL2Yl95Nl3tljjBiRKtqyjzZB5P7nw7
5F2tiwkRa8wJQJ5El5z07+m22BM3dI09UHKGv6Os611f4uapX1lj4g2zjjJIxmuSI5jpXmyJpcTE
1zWVY+b1bfPBuU24lyYSiAWzCe+xTqBWFwFWjKn8kglk1yeNV8RoyqiLvZosvtp3ggUi6txKg/QY
gAkbyp6yC/k28H2B2zco6G/roNHe97thLB1TwsQOCZ8qRdmbRuLEDS5GPU6PTah7MR3o1KVdL+mX
bi6fyq6WLVVuH9Q++7pM0V1LSkc1EakK4W0eqE4XNvuukOy4V0DTlzkkGg7gRVGtqTb9FlwN1tgb
tlQqpymqnGgo3QI/k4TqUYBkjQWtUr8IxHtVWk6yFqZWEbWHPBhnuyy7JzHUWhdre5zIHFlhErm1
GYBZnnT+9a+5eXgMKm0oGQi1THYEc06DAgCHzAo5Gx5xk4efaLy8C1/TkTzJ660baW1Lfv+AJvkg
KxN+CW6k6dRjiFDy6n135g0RbqZW1nYYh9DNdujjBDVx+a70VbSnUJcQbOF77Yi7zEflzvnDXWSc
QsykTDEJeCKJ137/pzU5tcXeotrGEVSQOKHDlg+uF0j/f4UyWV8lVd4DycbiWKjnpDsVE6cd9BV8
Wf9b22DiL2FoM6MfwaeVTFA8bHqrbHVfSwZnEju3EMVDWATQi1bRz5bmPONbj6e1cXpzrBYYottR
0hJAmnaebUrnFRVW6E3HyjW9DuT2lVM/8OvlWxHZ2ioTkfWhrgYRGtqcKv0+4LZbsh/Xz8lmxAIJ
SaLphiYbaFx4v66+7kiwDBi1U29rV7yJ9qY1OSDHsYFdIJ4zLh3oSOQHylYWPKc7w71uf/OuX9tn
zilIRNWxo8JvdNylumAq5Nh6ASTXz8oBtOR3plMeE7fwPtP3trbLHNi8Wbo0aOH5whQ5/ZTaqfjz
+tK4W8uc13TIDVKBLsApTt3JsOnsV7anyQUBzo/xtgx1Ulocq0+o3duFzct4bh+et0/LHNmyhSsU
oYxEjXQosrMhONcXuO3zb3+fOZxR0oUZpAFxH9aXIRCgy/0L6kgcYNlM264/FPNoMGYtzQYBt+58
Z3gLstLRre4at5RtvbFDh5cF3yQmX9ljp6P7ZNCEGExpjh7kz3Ea3zY9HhC6dhrm2okCzYvm4muv
So+VbnWgh8qNn5MMd1GFS6YWPsl7p1jSfd5od3rfH5tBtcdBtoWotCFh4siQ7wnnVuJ8C7rXH7AR
EbmoGCCahcrHezeuFMQjYY5dkkTNqqTLWH8LpodABgPLjaxw3nH04FwzxnySOUmJkEbgW5Oa0RLT
5S8lmi56OdnBNNmFMPnXz9nme854Wxz7SYqWtJAKTVA0jMHyj+HQs4zWRBsi7c+SNzrGrjjrj8a9
yBMz3zzgK7tMeE4iKPqqoOXBGPIlx3jI2HqlxBON3DACfnIQsyuarunI4r//cuWgkaWsMORYmKkz
pBBCjZovhdrcXd9EnhlmLU03gOulJJKTKzspAt2mFbR/XzexgTfvVsIEU7pcZEG2YCUKiWx1iM7R
rPOKOPRvMEfvnQ3mupI1odQ1A8swvtGmk9YTXPP7uNMPaDXZ8XrHtkLRd9boileXvqkWlWYIeDt1
u2lHZWph7z7FpHB2T9PQ17dvK0h8Z41+wpU1QTRjGe9rGoz+wxdK9pgUxvQa1aWqzpkt/bpukXcm
mAuqUOSukypcEGZ+XpLakvM7ws3O8owwt1AmGfOIEIM60V9zgNaT5mwWvDh+A5HebR0Df0I2SpqU
qYjO8ue2Q7MtRLyW/DCT20aPdn+2awz6dZU5JV2KIzhLaO6dh30azm5KTF4WhLNxLOrJctgnvfna
1U4Z4iJb/1GWtmD/lCKMPydWkVokxxVkXV/eVpi93ssPSSRVCuI6x/CY3jqF9F3DvOaSoRN8thLx
Be3oOyLYg8mbc9i659+ZZdAjrwoyLCO29X8M46nhGpgUSQMUvFPHhDKwe32lG3fmO4sMlgxBG5mz
EiGyaGO7MM6jfuowO2CWN2V2a6Y/rlvjfU4GSxZZQJFChTUtBHKlwa6Kc2/MW87p5HgCW6CVweda
EKpynAiLbQyVrU8Ces+/zuL9PM6cs8JbEwMguVIEWUIFhYqlPmphfkji0YOyN+fxxTPDQEgLKnhp
qODdiZxY4CO5ZHHqVoTHKMQzw4AIRFKJNJRIT1eNeCDZ7C95dNHDkIfzPDsMgORT1kzou0F6OrL0
W/UnrhUoMRU/wDdZfx0yEDNBhcALW04kzTHLzqoEkLPq6wx+3ShfEjGzuskZjZfrh5x+8CvXM8vi
IVWobw1IGjth3B6aOTsmrb4nGrR91DzjHD5OuKEzgCHnpSkE0Nt2ovlYF7eiwgs7qf9fWwyDD/LS
5UtQ4/bXzlQpElSJkEXSnAyE4YnfeTyOed73YQAirZZiWpoRSVMjwJMhhe79oS45rrRVxFqDnk5/
xSrIkGcIDtUlYncKs7lfox5R+OKuwLgNjwSc94EYdIjrTJrEGpIys3Is0YeVcDqct9g63q2FwYW4
zTsj77AW5Ta8aXPEZ+j9/JE9Ui2AaJfatdM1yF6MzvK9sSO3vMg/eLlnzh2iM5iBUw227gJwSxnv
jOyH3N8F0hcx8iLjlFTfrnsX74QwwLFAtVVHkRiPvEX2dNSg0Vp3h4l7DkBxzLAtyUWaBuOEKRdn
Ce+l7K7Qvs4839o8GujpUU1on6ofRFh6NFLHagrXElMvUg9i//f1ndq8BVd/n8GGpCeirk3ABkyB
yvOdEKpWQb5q4qmRuYQtG63I0CB8WwsDE1HZFIacNzSDJdrDvj3HHtTC3c9lkd9ZYhAiGiK5lSMg
ROuC1B+zH4GzgCLOwsMbUgLJN+2ep/7O+04MWow5GgVHlZY8Qt03Z0TUkG++/qm2ClTvVsXARCLO
aHALcdyifXjzSuX3VB1laAVouAllK/sWuJ8gBH1nkgEOcMXLRtnhpZqm+1Z+5g7Vbo1+vDPAwEIr
RO2Mtyp9yoV+ZKd3YJO+gJve6dDdb3zFoJPbHkffsAWfd41QEPhwa62OIwMSChQlx6rE0af0y+nB
dGmRXfR5wLf9Nn6zw5ZKF61O+2EGdQK9SAYIDU9+deys8FK4woXHfcI5h6+32urWkiRwj9YD7bZV
7jT5WYq4s5SbkctqOQxiQNMhWOIA0yz53+atupM1O3LIhViT2xzCPQis4V8hXydjM8ZYmWXAY9AH
zJkMSEM3Dm0OjF253JF95y6ucUxvQfHE02XdfmetLDIgMvfprFQDjuY/7I9UVcA4DXaBVDREUOzP
tESsXeHV/VefrssmqQ1kBO/V19meSqt5rPYIqWpr8RHwTrbpTd+NXfoIxRdPtkRLcHg1hs37bLVi
BmDiUol1VUeYAD4RSwHf+Wx+T3j6ebzzw0BKTeY0VGd0DoRT+thV9SEcO7tdFE/pCCcJtr0eEyR1
Kji2P6hjgW5y0QsDefcszq2wOxDBDwgvLfkv5+TNCgNh1WD2kTzhsll+Dk7sSz7yXq54O7iRD55Q
J+csanv/3swxsIV2HQNSIbhpJhNyqoVT4nFUlPdhmnrX75vt0OC3IZZQIRnTISMxcEsyD4l0o4Jy
Nx0exBAKKyPnhcLbQ8IkXVWl6AsyomjYuqKNwN41kLY5di5tvJB99EPwhtZ4i2NQzJzH3Jwhg+3I
RWt1I9qc9EdhBH+dbCvt6FzfSe7yGPAKpFwDuTxcu8Mwj1BaouqE8w0oRmDaVRs3XJ57UA8VTicg
URV/4ZjfvBQM6JnCe8EDzDIjZAIik3pBZnE+UL50yUcNSrnJ/h5c1QaP+WjlP3g6ajyTDJTo41jE
YoOEB5lUsM+ML4rOSzrLm1cCWnShloM2E/SSvX+hzWoxRnOLimzzdZKs0Q48DWMzqftYn4OX2M6+
1KABdJdD5M9OA5mUwv5EMR+Nom+/gIn6QOofx6WBEEISHufsRR1f6viR8/Ho0f8QpqxsMDs5SOJS
YpKfRs2ju8A1gkt3aE/ED3cy5524+UZbmWKgeRKgItKgnc1RBbzdA8NR9RshuCe6Hxdfs/jn9ZVt
AtnKGoObI/psszHE58ti6SyXzV4MwF6W1/7S8/jQ5U13X9liQLPX+1lNBIyY0Bisvsnd7Ct0JECs
D0laqoNFL3dIfe0HF7j6d9NY+V7bpTs6zmM6CidhvXktvf0Y9tmYBx2YWbQBb67gMOkHUQYjPGfu
jrO37AwrScI2GgY8FeZgdhIxeUjKxu3Q0NRnuWpf/45bEmprLzAYLA2EouuqDu2+0kOyH93igmx/
AZKEYB/b5UkEY/bolM7wBWkFaFKGP66b346vV9vJgGuyBNOY04YTOhpFMxs0Hu13MkaDwXD3/IfW
GNBJ1KTXF7QJwtqrvueOgDeRPmPpkErKs8b7jgzAtBh4FnRppKPjoq2j2iVY4IE4ZxjxmL8SnM/u
rI7cHqXtysZqSxnMMUrcxXMOzNFvwT/qhC7Zq57k/odSHs8XGMhJ5w5TbSKuJu08ItMKimFyCago
3WRXX8adZFNxYLPYXf+KPKsM9Ex5n4JwhubJwVVfu9N0O2oc3rftO3+1hwzklAloBbIUzZYUcqC0
50BQxgl2ky14sm/c8/gn/uWbmYZiQnZW/6AS2TdtVCsaHkh0Ork8BCAHii/UBXglxO03u/FmifF3
8DaC9tIEuNBOpMVpreJ2otrAhY/eY0wJQpfVBQXAc/wc3/KeKNtxxZttxtkhJE4CRejQKiRHViTp
VlXcXz8bPAuMg0+xUA9ph7A3zzObLMkuCXlzHtsF7NUOMm4tVIuSS7GAu2angQ412aFVA/nl8bKg
YCk9zb7MWdT2gX/bNsahl6yudYRLQMf6se3QZ5/us543/fMvR/7NCuPMwyAupiyZFK2go/m9tQPw
42JwNLzQ8EsYLfPX9W/FWxbjxwpGi4UapDa44iSwvRauprQ7Vag5cLHtW+Du1FWCac4PAqWiOqN+
NyKfnDY96oSRG82lVWuVnTTtDt3DN7X8I9cWf1yyp+srlDdjsjfTrz9tlRVoG01KphpzilPQOTJ6
OSuzviRjtBs004q7X/LSHtpU98VZOHZFs5dANSkv46ksdQsDRRd1gMTw0uQW9Hh8IWgurawds9F0
zao4jGbxGA8iOuoi5BNVydWE4di1vOnlzc+0WgPzuhMDk+oC44au5UOJEZMheBCl79c3atNtVzYY
UJpqQ0uFEXCroeQ5jgpGczJOSYi3DAZ7MrmboOWFZZjN10DA1M+TvDjXV7FtQtORp9OgMcx2zndE
zIcMHRoO5Kd79aIlT6T7+//fBAEDIKF3hPxBcFYK50oWwA/olOK3Mb+vew9TltZ1G/RuY98saxsM
3NS5keakQgm/GZTjAH5hVRVPtVy5ydjdZIL8BcMxD9qSe9fNbvrp2i4DQHpj5mkQAQsSkFoXu2BP
hddla7ZaThJm6zutDTHAI6UJaYwawFMpyTlOZi/R5mNWSn9ohokhBMU0q07ETUva+6QGybRkaT2v
eW8zgF4thm2sm0Jh6ScBh+5VdwaRSvpU+WjARABtgoacczboN7hyNlQGDDA00cVtDWthecmre2L+
nbT3rf5tCTiXAz1kHw0BrhUiqeIHdeCx0OUgQFuvswRPUaNZansKICLR8hpvtw/7mx2KTCuEzsU0
yweK0KOWHMY88JMahNex7iZJ7uokOVU6LtxF+sI57Ntn8M0u/f+V3VLI50aQkWLB4BUIzpAlFixh
QWdEuadBc9DY5BtfE4S3Wta161BWymimLkZ774K95Ano6+f2+G0VC2lm539fj3HlejHCPAyQfV+k
0BKE22LR3SxzibbHtM+g3IeNvUQ652xuRjBrq4xfl3ql5gUtR2Wn+J6SxnXHckRgO+8oa5yUcAV8
/sX53tbJuPiUEWME/QUd4QvuYr/2ImewYxkVvdwJd7wa7LZPQIbLxNC5+UHGuswqVZzA++FomQtA
yZrRDmNXn0NOTmD7bL7ZYW7jcoirUkxxyYjlbAXqbEfynabFf2iFuZB7kWrtTZQ9NJ4sGaNahHyZ
Ol5+Yxuw3tbC+HeQNKomAUycqt6LwnMdfCmT1pnJKa/yT1z/KLj//jyMS1Mh2myhTbtRBjWOwInE
x87gFbZ462E8OBhAZqTNMGJIj5KxWGN8A44eK9Vu5aXkfCGeLcaLMaw/mEVBz9vyYkjeHPxVTzdF
6ZUZ77m9lSZdbx3juW3TQ2InRchhnDFDAPm+0g5OnUuzeFxs4q2K8dmuSUZFLtEOPKqW8lMvrchG
e5C3iPb8tXxU7RipZlqh47OCbebaiISxSlUBA/EHkfh4keupWLChCQZkzB3oz0svPAdO5epeeJGt
3JmRawt3iRd8K554texN8H+zzkYKkYDHw0IHZWi1XvH/81w6hYcPV/fKDhMjpHjyjGUyocz7hTav
SxgE6g7qHZJsLr+0TP33mjEGq+Kp7TGUh2m5Kp3BKiH7/Sztrt/Vm3C4Wg8DVEqrjqSgs1uB8SCO
vqb+MHk0tTwTDEpJAur++oJsOhH3TbEvCk/tONMsm4mf1eFTGXiqgzCWR7A4OShcRfvXcWWIWVix
TV5oktA40ZHzHFQwolWVtvLr+iZufycFc2AKJnc+KLWL1QJq1WmA14W7pvDb9uH639/s+AM/528D
DISMsSRkwYTlyR6lRZ98cV/vaebC5A5PbX+tN1MMgkh6kEBSGJV2PZk8TYv2eYdESZJzKg2biabV
kli59lAzptkwYKcqkaujnjRZmiN8SU+986oodV44Jjkre531W0Wlogra66CnK6sry0hv1DIBJyPv
gcmzwvjsOORJ1w8imgjSyUmiElydxCIq8a8fiU2gfzsRrxXI1WLSXBNmUYZTibPq5kRw5CRwo6Td
ZUF4J3Q95wRuRmcrc4wPk3Y2AqVE2h2LIoFmL4UDmgorkNw/Wxbd3dWyJtEMxQGEbHi9hpY27jsl
szE4hqzg0Zx41A0ct5WZcEPOQUVu5HBbsbxJwefFu5N4R4EJMYphkbp+RPUJwkeWWkCmdf4mpo/X
d4zrSAw25HpVi9U0Uyaqaj890OueOJ0r7uYTFSccfd54JW9ZDEJEZRQObY1UhhFGXicEoEJIvGIQ
P3Uz/QYilgGGZEE9lJQ+UyBfJAKGP9AhoAuIEwZuv3LeTjYrH6Q1ehGFNOkUoUAY+yhiO+SX5FG1
seyJl27kuBEra1cZ4ghtKnQYldPTMF/CxWvL1jG4HeLb0dDb3jG3emO2pmlQoihaeCR27yU77bL4
gg3I6w5gvgWbpnzTHuMf5oV3PDhexYrdxXOp11mCSEyB2Gh6bsp7zoHfjKdXX4zBCDGfzAJRC00K
LTt1lx5oCTDyKwS3PA/moKzCIMRYKkEeR1hL1tl9vxdTX4cKWFjtcSNbnGXxbDFoUSuIxWQNkVhl
Wg0u+dDVEtd0u6Nx0m5nB/zInnKpnpInXkWe6wIMgiR6OspNRMMXW9qlfrYz3fm2dxaX9jfxCsfb
LqCjYqEg7ASn/3uEHyJSmzH1N2MUnbZEM4ymQfop24Vi43G2lB7zj/Hzmy3m80lZizx2hPfxADkt
0HXcRc6s2p2lwr3RTlvay8t1i9vQ+GaQ+YZ5G9Z6HiMPP4e7GuWEfLwZY06su+1fbzaYrxXISd8h
0oV/9aEdgsOsrHjasDwTDMKH5RwgO4gYJoYyRqqVu7Ecdn+0Uyw58pioy5R1FKEyFGRLDCemi13O
v65b2c6agd3+/502logG1ExQ157gwA11qmI3HYuj4KKc707gZ+zOPScs4+wcS5Q8l50ihQnG3LNS
vREF/Wc4Ec6p5plgsF2J06AsFrxADSN0wL1xEkve99/eNvTjaYoMJkOdZRRBsWeMcwkpC8ry9k8P
UuE36OZHpwW63UvOrm1iwsocXfIq6ktMNYGwKFIHzazhEGT7VE5PS68fm5F3eVDv+AAJK1MM/Mzd
pAZwHLoyaQcdTnQ+LJj1CIG0lAIXje/70tW80ec1x25XgEBtaILmF1cv+/yQdT1cOgkJ3GRM3CwI
9uMQ74Vm8ZMpO44SsesiuVGVxJHr8O/rbrAJSyvTzJtEWUjaTBJCxKEG6+FPWf7VGCbn/tq2gROj
yiBnJizBpiFrUNiM4dBFvhvAsJBl+7H/DKE26J9/W2Fho1EqGaLyuKr6Q4RmrszJz4NFHv6hug9u
PqFT8c4cm+2p9V4fKPHaKDyDDBq5A2+Wv3/m47wtifk4RtRi9D3ByGrbxce0yt1Sye8kpXf+zAwD
G+E4xVqYoHnETJ6y7EyUk8oT+9x+iqy+DuPHS5oWUtNiu8Q7zUNkdkfJuDpfhWtFvgxeFYtXNdgE
QwQSOmgMVXBaMxdunAwK+iw6UAAtl6iaLCHjjahuR0crE+x9K1WE6DOeO9mJcpn9T9X+lcxsxwue
N71oZYy5eUFXmIV6g/PdtP6wpJZWnGeejvPm4+DNBktKEBZ47mggWwUEdrgSO/+/UXhylqIxvjMm
/RKHAYqPqnkr6Y9J9lBXz9fP9ObcGVkthfGdQpq0YNHRr5rsy5vWLiJLfgm9/CQdAuSbxx+BPexw
6jhW6V/9cIesrDKu1LRxZqQhNrA/0AdIttNzq32hbYiir77wWp95+8g4VRCEo1YpsJaYe3AHWSHE
EPEIub6mzRt4tST6I1Y3MOKJWgpo85oUoen5GM4HWfkZNg9/ZoX+ipWVsO8VMxaQEGlmJESyR4h8
W+LgJTyJwO0tIyBxlXQTpPPMaqp8KogJNmYHqj37JlC/R+N9og2fySdC0fF/VpjVjJKUIBjHhzET
w66K6dTKJsLYihPv8xbDQNysDK2UEpgBLV+j3mrzTc8j9d1icIMo79tSGIwz6q7oczQCOBMaC++b
r9lgoXvSnvx2hBahfqgRp59UW7T+Q1y0GZGtbDOQ1wzjCD4IBH/zXXCWbl/5InfNkVgFnGqwyV7B
a63x2mdeMmb77vi9aDbBpPXDUEFCDHmEQLZKcTqGcfR0/cBvQ+2bCQYDs04wWokKUClafk6S/jzp
4xFsRLZAlONMxqcBDfBZiHz0dbv/cmm9GaYQtvK0LK3A5pagF+J/M4nGvgALEd1Iff+ZCePV6WHF
neUx1cNColMDyuJU+uLmYs9pcOMcEjaptJidES4aHj2lXh7Rn2aFYfGS9apdhOFzKxJMJWacd9Z2
NPN2MBUGRRa1lbJAa3A+wBxFO+rTu+aZMkfJO3Du2pCu9q9/NY6ns9kmElRLAp4l1Bb142zUdjG5
es7rkeadehZO5Kju1fQVTpw2v1+Ev64vYosycY0lCoMlTVASKDHAwHzQDjmaf8gv9CRAfJsSb8w7
BZdkYqdWj4mh3KnO5P66fd4mMnBSdOhbaUCu4NTll7H+vqgoeocv123QPfoYAPz2Lnb+UE3mOFUF
ZBUS5aTP+4nsm/JLWDsxl3mL87XY6cNZTYs4TdDeW2eTBVPGwtNn4ewXK6erI3imM9MoAMfiRabj
DWLnBUn66/qWbacU3ryJMEGTLAZZ08fo86YzxM2+9fKz7taO6k1u6Qh7Hnkub1l0Y1cAmI/F3Ok1
BcDOU0tfF+9SldPYwfs29CesTDRNGYaJjixZEh2H8KwknBZLHogTJsCQ1SJTaxNbJviGN+3jgyC6
lDadZu+jp+VTj93VF2KQQeljo+7pu+Cf+uilapAg/VQzwMoIgw6zWS5yANZ7R5PuiuKuHBsLLWb2
9cPG+/gMBuRhri6xiI9fGi14zuQjkma/0O4Tcez8y/vjNxCwXScJSNuLugHY0K4T0RtAAJC7YBQ3
nCSzTK8EoWFbuzySKw78sH2qYxa3WVbS5WHW2ozjb4Y0W0UlOEMPjpxs4Mxebr8N3hbJxBJzS8RF
aHEMF0yBJI+h4TX1rkJ/z/WPxlsVAxDVFOSBqeKK16djL98KqZ0pkmtiSG8mnO/GOR8qAw5KNtR5
V9InfX9okdYxiN8FnHuIgw5sR0okhI3RdbjMU+WoL/s6vbu+XbyvwoBDnddiMc3Yrmq+LPMpHmqb
xLuQ+zLkoRCbYgHPbV8nLWCBjhUSu9rReaDs2J/QynvkKf/xdo2Bh3iudd2ggwxSfV6GX8PIubl5
X55BhhHSZ0EW9dR1vhgZmP61ZzXghHGcL8PmV2RjacKRqrQWUW6BgsESw3ul+KkKP6+fAN6r7UOG
ZQwr1JKRLCJ3ohuBf07GpPkJ+gm34o6qEhdP6uN46I/cITHq8VfiH41BBCEaYrFNgQijTUWRWzsG
Rw2B6ni944v+0U9+zRiDC2QRUfEKsZ3psq/CHyS5MYdvpvSiyM/G+Nf1Ld0+frqJnJKKS4rVfiHq
XIYqzewswm0jHYaKM/y83chFlZahu6KD9oB5EPbKUGvmAOQZwSSu76hYYnj5byzY25fTyhbzlQph
aTStQaljtJsTfc4njrFvn1J7sOkw33BO8cLmnH3qPx8+1som87EkaQ4FbU5xJD1MzB47P7qh0cpn
aOkwI/R7GxkA7xIFmt8NtjEGuCrfRDnj3BDcD0WBZBXchZk8mmUHoNCRD5lia9H3xuhLRQIG1c4y
ux+y8Wwm4BzVeEdk87yv1sYAuxol8thP4z+D1aG/7Htoh44eHVmP94sL5aOfnS365p5HGbGN9CvL
TAAYkEwLOlpc+Wd6VgK9D7gH4NagV+VyXG2i5MoY3YbVBudGrBplOUFSVlCtJT9pegq1X7Rs8jsr
NuFqZYoB/aElEKA0UPooMI4CgoXbwDHRVb6nbYb6C5dynLePLEsnMRqly0o8DEZbayw6q2E4xMJc
ZmAlbuzwaiAa58SwjJ1obDSMhqo5TlW0k0iJwYn+UQ+Nk7IIAUoi1UOZpr8KJfyRduWBaJWjzbNf
SrOrtjkoerTBFWPDGcfSDTPc84K8W+L4y1Iot5Iw9ZaGSS+rVEagfdVonpCGx6Zpb+VWC60qJY+d
OZyXMborhvahhaZUJKSXMit3ajHcxFn8RGbB6RewYVYlRo762QPV3qHMhxNaQF2lDV2lxiz4qGGm
eXZJIt9E7VjYWtR6sR7ftbX8S1Xin13UdVahlk9TIh9IkZyXYvTBVy5ZwSIelbD+NiWGr1bSk7go
X4J4eVkkfXDjonGvXxKbMcTbcTIY8FmiqCqaFtBAwh0BF6EZPKAdyLluZEvrj6wgju2T0Qej1YoM
V1G0JxjEzhxEqztjXz4JdhQhKavY3WvBofdTXhMmb4EMAolSoMuLgXxer2t+NEyuSZabRTX215e4
edmu9pGBm3jQwzIVcD/VcWwl1WUOeWlQngUGY5ZlNoWiopRz+mSP6DEqzML7o0WwDLaSNkSZgDet
Iy7JXlb+j7TrWo4bB7ZfxCowg69ME6SRRsEKfmFJDsw58+vvgfauZwTTg3vXb1urMnsAdDcaHc7p
75qoFdQZhP6Eu1QjoIWhXof33r9TkPSVYoCEJXNhgUK4BoG75MGLJjNprIbRqmgbRr0H6Kf3Zjs5
il+CpEGEOCNcHHfRomibyxp7q+MJfa8CikJzc4Aj/cMVJXKVQmmcaufZoA5dAI1Aj7s/LZGzzMRW
u3gjxcmj0aFLqC/NfW8stzRs7zUtOBZy93hZZQTmxU9S95LVmDNjjJNN6qkT9ZKZXhmxLvAggguW
h7XNNRlUZB02tl+IKxtfG/ktgTNXBsX+u/Vw12vQJBgi6ZEnj+hebY9xuyHky2URIkMmn4MFSpRy
nEcEC/XkFt1NKBqwEBzJb6BEcz3MPeuADJoRzG90vgHC8jcTVLeX1yGSw4XktEbvnjoxzzqVXk0G
Z5KIb2SGIHoVHD3lHUZZqWnLNEzpvqVRcJ1HmUOjMbV1VdpeXtF6leTMi3Onn5JkbgoGSsKcE7un
6i8Mb0WzZaexy1vLlV8vSxToAt8CFITAvpQrxMe56Uv6XWoVAn1eF6BRNKESWVYVbkVUSpUq65Ci
DIOb1PqpJt8uL2D9dH59n6875sM0EdIy5NrmTdcXuyuOY3hNqsG7LOcPzu4kiHtsIpbL0rlGGbzf
xzcDAIwA4H03ugGgw2Jh58ofApaTNE63W5Ip81hQFrAkx86vruufrOMy9CqQpWISO34JHjQfPGCO
LLgg163qJJlTd1WOo2hi6byINHbbgSN2qoBgJsoqi86N6c3ZiyVUAl0KWE2VaI9lcjVj1LYcb2qA
eArOTSSIrfdM0FBGtJN0JmiPJiov37AR+hzs6RSknwzEiFwlh140YS7aRfarzqSC3lnXK4qwVpef
QB6c6IHTWpLAtkRL42K+Usv6ZNKQzOnl19hypzpyrOapQqv05T0U2DBfhBy0VG8qNpE3BX4r7TVR
E+56lVM76RznJJoQjSxVhjdeSOfnPCjfSKUDuKjwSS+rzpgDWquid3qd3YOd5ypJ59clN6/jrNuN
xnSLUhhoRU2vzYg7qNWmGXuv7QuvjAqBExBsBF+qDIZZUZsFLTexcjf3mKoWpCtE3+d8TJY21mAw
PPvEvO+kY/NfULXwDvrXGfPlyULr61EdEV8H6qsiP2WTII3Ozun3hNXp+7zvKEKg8GJUAdVqupe3
DZBdNaCLiPJif7gmT3LYPp5ZV5i3ZYDyDCpF35prBiNbIxGX2eQlRvovdUNXhCH+h/TfSSLnRSaj
rYsoRhAwOiYIcezCXZ4lp/EWR/One3Ojgi4iS9y/sju+ZKmN4WgNIezOAFCE1R6l/OHvBHAOJIkM
Co2GbwxCx5BrW81FLkqk0dyjsanGvLAaVNZMld7rsnRlyoPg0Si6mTXee2RNDsYJ3JUMmJnh5YeH
cLc4oEBzq43oISBw7HyRcpGnSJ4CAAqH6fckZWOVx4yMAoe77tgpQMCBdsvmJj/rd1lPESkUnItC
ALgeg881s0sT/U0vl89/vegBDvR/BXFbF6pzPY4dHEIS23QD4C5QunxkKdGHGR5aTC2NLqhdaiGw
0h9M+F/JJuEeIUTPm6Rn2Apk310rXuJLoIEPD9OeVeTJVn4VjUWsjwz8WivANz5vao3pUYS6WCvY
R3fqlQFQec0HvK4rSnevq8hpaVzsplopNUZmVX0K2r9FP+babIOwU3BZrDeBnC2I87ZGP2ZaFaMo
qtyBxppx/6Et7r2Y7Th3kELBHoqw64Wnxjnewky1vu+QR8sjh83OsyKI8Vhsldfez27APLQHu6dA
R9l2/X6pnLaTc71E0kM9ZTPghWWzwTPIdKf73p99hpAvGlIUHR4XuOVNPtVtgMNr5ZequZKXTd//
uLwiZr2XFsR53daqemkBxIJrjF+HYdMCbigyX7sKlec9KraC/bvsS0zC+ZJgNIOaNMzHy9kV1aUd
xtF2U/iYlqmgrXDd158OinMmI8hvg5QlWWeyI83XLvt2ed9ECs9jJJp5Rzq0KuIyeaCb4ZEhABPG
mDC6ww0QQ27/W2Hs14I+ylpnYUantWVdhigFyBJeQNdm+P3ygtbDpdP3OUfRWAmgNljXgbIJNpWf
b1ofZOsb0RidQKU/tvVsGWVQmN3EyvSk2NTt10qFu3i8vJLVo9dlg5pEo5TwJHsdUTT8X3QalNpz
qzi9LlCt9Tv+TABnlqTKw8pijZadqwHcvnATN3fm23xXI40q4olef4+cSeMsFCxaejEbrF6Joq4X
fTev6FG+GfaZDwQeZG/LHbULjwK8K/P6LSotgvt/9cTO5HM2a5apaUjs9RhI3oRoU6YeMV4vH9m6
NZ0J4cy1btFXYdXINE7fpsouUEAHulb1zIoTNvpR/JbYouBJoCZ8LY9MeqilPdQkJHuqXE8i5JqV
78sWlRVFpgCOwSzB5ys+7eSkb3RNc9XIyzoAUN1f3rOVc/n0fe5cYrkPVFOaNBf4qXu1AcGaEl9J
WepfFrN2NJ/kcEejLpaFVkhDwzsK+EtXA15S+UtmU9vw561x/x9ob8/F8X61G8zaUJJSc6foWme0
t+PNjIjz8qIEZ8M701ipMARdK5rbEF+JN6365fL3155on1bBeVNV6kNMrxANTzQAcf/UvMVOf9DH
DuyEij8dqi/Wq7DIL1AI3rXKRmxSzRg196CDX+ADG8Kd7PSQ3CbPaIVjAVFKBdqxcqF/Wifb6DN3
Tow5Co3KQNVleO5kuwWNyZzcm7DhyxsqWhv7+5kcKbSGqpSxNhOkF0Fko1CdTqLmwbWo/NNqOMc+
m71sAZiLnRpx0u1yVW0ZrmXsi/o812LXT5I454DUNJDGkKEG2FjvMSaw4FG5pd+tAyN7HLcN8Ise
/24HeXcR6LXU5anmpuFdaBzT6C3L3v9OBOcpMD6qM7p01bXSt4D+pPRrV3+9LEKgbzy2lNoGoOGM
Kxhu4MdR6fXqPaYe7DkUMR4LFO7jVj5TuLRFlFp2Omv1u0/1G6v6NqgPl9fyMazGxd7nSvDBoHkm
wzDkuWmNBuq2D+7yq9ZjJGPznhVbCt94tdDMRe3az+xqm+4UX97/Qy8hmkxdy+9/+h3qZ+Mal7wL
6gxb+EEv8dgegl31XGylQ/S0OGj48IvNdCsfp6Movc+0/NIGcN6jsJSpXKxadRsTCKuJrcw3irlv
rZ+NXv+dA+EHB/N8avRywhol/fsURl6cA0FRMQXuUKQ1nAMJamMKjKVGLn/YRJJk5zFA6yRR5LIW
gH46MM57JEE4LcWC8kTrsS7NCP1/uYNCE0Zw0P2zvaymzGovHRLnOGo9VAfQEagfnfCFP2x7n5GM
ifKooq3jnEdGSqXQUktzB/oWyoNThm91Zwi0QLRzfIUONGZqq00VU/UP3hYf6TLNNuyPOcR3UcOF
YE08AlUZ16Wa5CZSw1aH8nxp613sWIrAj6x1NJ6rA489pc1KZlILlyPZx9vqAcDPjgnYJGCQb0Vd
3KJokJ8IRGksq9MyYdqg+sgoPeeY48yQW4+2yV6qbNEop/DEOB9RS1EPQpNeRc9KvO0eIv+bcUtt
xdaeM0dkWB87dUHX+cHANKrnzJoQFzJir+F/WWiqwjaO7ZcA00B280yvzRv5BtNu4AFvatuq7AUU
QwVyP41bHDKnSAH9jlaDy0YouPf4AUIlNoZeiRu4L3S2hOUmMVVPpscoFBi7SGM5zyL3kWWVEuQE
I910RmHYS6zuAqkWgWJ9wBhe2mrOrYB6XEpRaFNdsoke2XBNdRvfDZHdvRvuhHy56gUP6Kq0q03g
SDtU4PaSENBMtFrO53QoosxxETB37ZTDXbv4iqi/RSCCr9IpKDooXQgRVLpW+2NNjoaoYikSweWS
Y5mW1cC8jEyRmSeeRUMnEfW3a8zOLpwXX67T8nLWgxS9TF1IPEmdFPTz9k431X5r5a80BdwmGOxB
tzIZ38Cd50+0fdQ7NKFOnfzNWtrNWHcvTVLvKJGcWU5s8HFuA8zDhkEB4q6ofO0nsi/0/ks5aAfN
AmJPad5rUyfZXbs4fb5sNLM6DInxOOJfx7O1revOKymxTTQEdMb4Je7qXTFre5MMDw2d8HfwjOu1
KNUt2G8+cTAvhULGiKJNZbbnDRt5rO9KZ7Cz2VEeoptkW22kR3J/2QGsC9UMQKGoqgU47s8xWlsA
AdRqErz2i+/RGNmaFtl5sfs7IcpnIdY8BXUXtpqbhM2xoOa1EaAhuP0PDBO4r05r4eJNbUnLLhs1
wLV2Xl1cN4U7FIJDEm0Xd2vQ0ewlWbLQuzTcKNXXuNuVjag7bt0iTstgv+EsfJ+7Jm86C8HeWPe7
MVR2sj59v3wg6yJ+5ZD40do8reXQMvHcUYbYQR/H/aC2AsUSRQ8fhn+2jCGikhVilNJVb1nWgA2T
KEcGHKNdCUHM14/ltB5uy0qZda/JiCXDHl1ylr4BUOtmmgDpooMisXxfFPN+QW3bTgtwlObDtkwL
8Ll0PoqQrh6L5h9FP4cL14u8byRTalU3U8PrKi/25WjY8GSCR6voFLlLtTAzK5KsDJcqfFh4L80v
l7VE8IzSuKs0V6WpiJtIdzX5bsAkZ/08tq+keq2o5F6WJAhD+Oq2GgyApAM5jDt0j2a6LYKroTxG
logtQJQe4QvbwTgQ2ivIbbL0mWRjDM2T7iV0VUh3oUNs61UWeD7BFvKDtwBjSIJRznS3pzcTXlL5
fUYfxsTvxUBnAm3QOSfLqFvnWUPgo21kP+tt8JW96l69M7ZsWkzaRT9EYa0oaOdB/0Y6mXgksFTx
wQT8S7+hr5oKuNj6mrhAGn8V8piL1sj+fuZT0sGcOxIBkFuprnLrdhgEA/oip8XP4I5NqhZgyEA2
CxDjkq1hTrHZ6htGmCLM1bEo8ELko3NeQgqNMpHYfc+ePOC+3hgAYUbz47vl1O7ksSYfE7mLg7Yp
HBHYgWgjOdeh69mUVDNeP9WCSbXmGzDA7csmLZLAOQ+8uTOD0Flz+/K4mI+1cPtEpsUF2TTshyQo
EDhqm+wITkpfG4DEzGBowZAM6Fvkwnf1tn8Xab3AV/HDuvVYp40RwCvOxU1Z3vektsfWlbtBsIEi
6+InP+UWoMhBBetqPTaEpngtpsLU1lahjt0XoJyL+jnXSoLnD/7fpnT1qG3VBUurvcVPXrNHTFdc
6YkT3lHMEhJf2qd+v0UG4KrAVJqV2CK1FFycBhfBldE4DkkPk4jiL1F3qKMvnZBGgH3jgtkZnA8Z
RsmIJgo/qabXVDsUw2ZYQqfrtn21iaxdVb5UCIr6+NjTARXxp8tmIVohF6kYUU0kg7BW7kB9zsPS
iZf5pzS33/9ODOdbIt3oTNoMeIFWr23U2Ul+VSaPl2WIDIHzIfXUmWE3gPhz0Ki3hMc60DZt+sUS
cZ+JtozzJGkqR3WpSJor5Xdh/hZZLkh4BMYmcCYG50yqxDDUyQTdZJ1vSP4soUPFKu+VoLNDAJpd
3rc/lINOAT53OJWqzhL2DO11ErnT+tC3mtgtgWhMusRrwJ/dEuM9TPK7mmY/L8te38uTaO7MgHI0
03ZkxeP2OZd1O0DJtdEEm7l+sZ2EcAdGAmphYgFNaFPYIqnkaYAva63FQb+zVByz/D2NRcOP67fN
SSR3flnaxv9gOHXNnTI+j6J6pOD7fOCYxKToAXWErpxFAk+vme/yAdMxlw9HXreoX6vgo0U9JJi7
STSwc6ErAxEcwEMTVw9tqH5q17s6tmXnn95fUa1GtD7lc2ClyFEplwWrKxddb5tVeVisQIBOtC4D
hLMqJSa4PrgzqpSFTH2OPVzqO8N8CkSYhOu79+v7fIV/iKc004wYj4j2MCHjF6vXRnqriTJvIjFc
xmTIljrMSpSm2+JmAbibbNrJ7MjK82VlEInhTqSKiCRXPS6KtnlTh8Ce5E07/qT4r8tylHXXd9o2
7s5Nl4wE6oL1lFr3ns6Wo1jp1urJvV6o2whZRSKBtwWpFVseu++TmV7ns6IBoqT5IhuGPZP6Jkz1
ezqXL4lUHJa+8qu+qp25anZpZNh1FuR2FkYHpY5vko5W9gxik8uL+Kiv/H6pnxbBdO/8YZC1bTMG
meZGUrTPy2Efz4YLzkWfNgoIjsPr2Uj9PCegZdBvqqDyZSl6GtsMyQHrRTKyIx37hz7vNtM47Aqt
sAdJdbsydpfJtNOs36kq+uHruHKRyHblFtM0anfTB7pnRpFw5pQ5yEur4YKEIaoXixbw0qyLt/Bl
sK+VTvRMX/Wr4Wo+1tcAddhUhtPGfopjETVF/CHyPO0m082z3eyWhOaahswvPfSe6bNRotpFjAvn
0ziFI+owWb+UTuK4S6muAcXYxmgh6OYHffgeZTtNFKuIRHBX0oQ7KaVKjgRRhRyvZtltjDzQ/WUt
/EN64bQQzsNZclSMaEREyuuBweCjqHlVbFnoDCvYoYsO6MKXJQpsl29baKnSByUrOxrBTTH8qDDf
WD3nKvoWdIGbWO88smRdsUwqI13MHVI6gFWu1BFRHlrPegFfmtPcYs5sd0xLW/EzL0qFXCrrNboz
mdyp0WYC/1aDstk/pDSsFzY+tD6bK7dc6fHyXq5eT2fCuMObGhrVOoELaTogNGAuK4lEfdcCEZSb
BwCyZB2bKbQwztw52C7J0+UlrGr5aQn8UHI6lHkaJ+gz6kOU8TDEnZDHIOw3l6WsJ0nOxPBXU222
gdphgouhvpg+5imQush3CFsOomEukdrxg8k0A5hxXyMZXnuzM3uGUx9YX6x5H6MWjb7YyQY/pMCq
RNvIXSbDUk6W0aNlYOn1bS2TbZpJXm3GrmAfRXLY38/cbDUgAVSy9FkGDOW96ia+eZ+8B98XzL4C
5tpFu7cvrPiuvz7OTo9z7tWsZfUChHq3anW7VTcL+Dm077o2+hjMdgqyW4J7Q9SFsRrNnAnlvMec
GE0WNIgvtWSXpkcMdACt5RXeS+SmmJX+dnWeCeJcRhQFity2WN3Q2/nP5hq25klO/1q/RG5nj99e
0SiJsRH3e/h8+TRFh8m5j1BbTLnW4D7y1pfVzJ6qm0TIRS/yiPwo+5RFsRliHvYjJ2Q46Z61zTYe
mCp9ZPCE1ic4Np4MB4Milh6jIRLdY/LD4BbH+s1AHQckDXfy1xSQ317u/x/SQKvxz+kQeU4ctK+Z
Wt51rCvzbdZvlkoCgKAaP6SdgytPYO3rry4LI2i6qeuapXFmqGlAIJt1Be+SW9Yz2W4C17iOYI3A
zUGjGsv9TpKwTXxdX05SOTMsZjMmYYGGF0PemeRNm57MUeSo14/vJIOzOsXKaaSPuLOB6e2wIlzt
JH73Pr5qt4uT3IOlaVu89KLM73r4eLahnA2qsYVSnI4svf5Q7FiVJbrtXztM2elOhCZU0QTLusmf
VslZHm2TgSwB0ilkH+zVbbed9ow7hApATdeju9Oy+BxAFM9D30somsJvVju4axdThI9T4OjePznn
+T0UIQiIlJNPCaDTqwzGiTUot+j1yuNxOyiDjYE7xZYn81ZJYi8zrEM4h5t0CBt7kPHnvFc2eNW5
iY7Qk6ROWJWCu2u9x/RsM7gYIAJVpSKFiAGucps44VUGYiRb3ZaO5ch35R57442+DF8LRjh0MOV+
9UPydQGMw3o89evk+fpTolhj2KqMERYdfRnS/ujg/i9e/SSBCwX0wWzzoWBFNStzzXA+Dpq0mVLR
TIdAhfmyE5E0uc4tBG75fDvBE/Q/zeBFkne0ua7NTdn9/LtVcb6n6ZDopwsOL0wci8JCUSeUJoFf
/UA9+f0qPu0d531yqa01tUW+h3W9K+gmLe0eb0fVHj0GPpq4QGdLHqg7oBtZRfU1Bz9x4/xTO0Q+
9FlUuBEaMOeXwtLMJsJeS+BLrHaVH7nNc3GF3iZMyRo+sQtHE/iMdQWlGgieFUtVPzzlWYS3TLmE
JirWQqX+pBjGVQUefv0SOX2fV8+0GwGQjmhHwXB7g4wAw3g2ys67rC/spH4/yZMY7oZUEyCiLYTN
zsD1IWuyyUa/Cw+N8UCayb0sa21cG4xnJ2Gcciam1nRhhFR867VPOCu8NFMvcg1XP2RPOCpWFt2F
D6Kn9Hrj4JlcTl3DQK/mrELXfHFNnhiDXfOOKOdKNe3oXd8ENgVfaOhnjnIAQe7GfMj2/fN/qn+d
/QZOQ4tmKXVJxWuH1MeqhYuf72oRFYFIZ7jrUpkbki4L1il3D2VLbULuB/0/cLudHyKfmOhMMhmg
7sHMffo1AKi5/k0xBOOSAtviJymCepYKIynw2JW8ZHhKm2eBIqqXtZ4fowDDzTJMC24XggG11Au/
Kkd5m27ia3XPnhDCfsuVaE0hRKaqaRIVY6ZcYjnTrFwdqIo3EnDhy12cYbarOcR5KnDMKxv3SQ53
dWd5qEbJCO+fxG/ZfJssAqck+j7b1zOnl4ZZKlsRzr5Vdpb5GmT/Qbk+LYD9gDMBi1zlNKnhIeaO
un0P5p9o9KIsdAUKwDacc3uf5HBuj0q4wtKEIi8JoDIJcCjhPvBxHQNxo/3/10Y+ieKcXhcsnTlG
aGCjXWqPY3atSrPgLlpL23ySwTm4uSRBPlTIpv3T/ASN3mOG3VdBYClq51/xMZ9EcX6sizUzTBeo
gNJd0+Z2Rt2MCHZMJIJzYwDNXMIlwnt7ntpDJc23c1ZeUzATCyJAgTbzL+7CyC210bCUjr5TIq5a
sa24oGT8EzsmcT3VFL2x5nwTBi+wG5SU7hSpdzByG4++QKeZcV8Sxxm/OsdDLuGR4KrI3S3XbO4G
z4qdtGmc2Y5E7VQrLvRcD3h0dMtISUoTqPXsxDfEY1TpJqDdelfagDLGE3XbCXTC4hxDlQO/LjTw
EjTCF6IPx8D8nii9YFEffv/SFnJuwQLUsEIbaASLa8t71kTIoPSnq8Ge9sa1sRt9NOhsYre+Mo+G
l3wRhSrMUC/9AM5ZGGldV0OLZ32k/8jjFJ3wewOTsaR/QdupyAmuNeh/OkPObeQl1RZtxttEm+Vt
RCJcGJOfZtPN1NYuLca7XE9+hIgDszSHwpKtJOUbjCnb1Rg4lTq9WECHSZXSi3pzbykFpvylY6AF
X1o9P4yYyJLGtLeTzLhbqOXkxugrMlBkiwkTpY0tN4NdyMsxnXezWThJVtjMGJUZBIqpAsKrzs2S
0k6Ku4QC9BycR6o22Gj5t5OGOpTIfqFNNzWgtBsMS+Rz6VlJCNolFDCnwo6laaOBUZxkwzaZ+6dh
qXZK8ZMil7ZMX0DBBnBXehjCzGtlfHn8UU2LPeTZMybJ3bHTPblc7DlXvDRSnEH52ofRtoBs2ci3
ZWfuZtJ7UYcZhSj36ya+UWrpuQ6b7dwhiSaX4CIDoBO4yWKi+H3YvjRpYCvLtUyqnQW4PqkZPVpK
W7M0d3lU26m8zfPgphutB6tIgMzaUDur6XNqlq5pZXtA097UVeuYpfw0z+1DUUR+acWOfgRqnpJ5
BlVvURpww6nw9EKJ7TlpdmVuHgyr9YLE3IQt3baxktlmDZg5Yl53VNrW/ewNeuHO6Hroi/5apnHv
WXDwNpnJFYBcNyWmPJ0uGg6zjKOOrOssHu3F6N+mqhMltS5HSYDigHGcXf4DnQCTQxnCkQ4V07eo
6uGXvQbz02VPKZLDWfnYF/Ogl6jVpOleLQ4YZXXMfA8qY0E0tpaPh33pgIwzEPgRvvd5mYxE6VgX
d7brdiloMUZ/BJgxiEF3/2VFvwTx+SsznRe5kTAbHrVbZheY5p/327+TwcWwk9KnbRqia6E2buYo
8DvylgW1C8Xz/k4Qd49FS65PYc2C2AlZg+BLOoWOQt9BiP13crhgtpJI20kmPI7chdtmTJ8t1S+7
AV0Z0v3fSeIVew4CCdyELCE8+xhJ2uqjaqNZ0J7bUBA7rev2SRM43U7Af5qTCs/MJSztoXmI8l1s
omdWfb68JPaTf7+oTnLY7zizVZJbdJZGdlOqxG81/YspJSIYubV8wbn98GxDuVJMphSw1iVn8dG8
9EEHitRsZzfbyos33T4+go7iSgSgI9pELsaNx9QItA7v6HjxqrB2+/g6GdDSZwhuYHYYlzaRC3RN
RVICJQRiQCsX22AkjjSF+xwjapfPai1rf76PfF+zoVOSZRNySdY2OoZbGUwe9JoVCgiyt5kQglco
j3MVBq5vKaQogPzT3py59KgcY2ATaD7Zhqyx5S8XyLmMbu4HPWKNTv0+f1Mc1ZW3g93ZKSu1do7k
ikInwcHxzcza0FFtQAHb7ZQnY7rLlsJeyrfLi1qX8StnwIMohhJGxZYam2hOfokupuK21P//COSf
4j9O/+Ja7uRcQ3ksrpwcMG7o5A8RuvzNOn5DSlQDqi8mOnRcRdkncgaPflOBEO+ykHV39O9m/QaO
qA2kyCYZCZ2yLY+FZHr90AmSUn/Q6pMMTsmMpDHkYcA85b+MONktReHZAJOLsRUDvlw+f+SNPnvY
IkzG2cqRCinaXUleJPVVjQU34LoIgJ6hQEowIMqdf5XpUdNb8K9FL7korztlhJKXIWp6E4jhM4al
EpVBpMI69eRrGO3yijqleEiKbf/vzvTXYvikYTl3fRZFUObRiQY73tab4FF7KJ4YsU/gLYL61Fr3
CmznJI7TBqK38ZjjugXC+fTSN3Z6I9mZG3qDnfys24+yfejngtt9rc7xSSqnFLFszWE5wvE07oQh
JrDcpw7jE6reWIEldvHwTgSmJTo9PnhZ8NRoE+SWjOxBjh/BzTLRp8vWu54oOe0l+wlnwcSoSHpg
zghfu0XP7XLBjEakPnRK4Y/NDGyK3nzOaCwQypT7kr5wEQyKRQpQzuEytA1AypD9VQGAAWpxQdi8
7plOa+Pe2NIEduBAQywxl8s1SK4A7rLsLm/fWiX5k1Zw8UqTRKzj4qOhmKV+wO5WO8OzsRsc6w4P
eTio3A8fFIH3EK2M8x7tLIEus0D0Epi91xPpIFmWL1iZQAYPvjKii4rSCik05aDswbcmb7PnCEhy
YLwBbR1Aq4fE/S/4IefbyWOwzEVnxYECf5XsGoDE5ht0emIPEUz8HzrSRCvk/Eg3tVWsdQjYg/6W
NDuz/CLYQuYSLug5D79C5jrXmw7KMfjBprtFc2ziqK2tb9Snxgld9TUVJbFES2J/PzNnMk2DpKNT
C72QnlnsiS4Yjl5Pkv0yKR5yRU6abCEJ3h7zshwUefC18H3Ul02qmm6RiCa+mR+4tH+cnzAGA42q
uBwRJCV2tABepEKq07Rsnf64fFQCT6tyrqLIFLCsqUj+xersEjVxlwBscf3kXRYjOh7OW5jjWE9z
AIVQJpfET+jf/7sbQ+UcQ071oe8khBVTcDd1bxFaBAwRc/1H0HDhWHiUFG3W6Txi1gruG/xMm3Gb
XxW7dBsiD71swFiBFq9iG+9mv98RIV/hWgPEuYvgsTWQbDTxBsDtn5DiZ67ON0Zigr8HlCaq/N6a
1JWC0W0qusFI+r2xJE5tzt/LYl9H5VWog2Wqn762U0icOJ+v1egqaBWvUZAWXEav78k2SRNbIoYt
aWSnttZhnsbrtjUEmiC4AnmAFivOQPOtYhVdZz0uBaALi2A3hPm7qWd2MC6JHw/FWytlouBJYFM8
SAVILcHhWiMDx+7ezI2/dldgjEAo3b0BJMaV3LizXREq2R/SCb/8Bg9bYTWW2mGSBCWLveyDQQ/w
tLYEELRj+IOxoOKWdKsfJhCZRSwCAsPm2xDrrJQMrcdNmerSI9VCVydNbLemaMpXYNka56qaNMaJ
zsic6eqbZmw1pGovuw5BoKZxHioPkqooFiQStFj2DDXZx1O2WWLLoXHktVHrgUvAvSxyrS/2k6lx
7ipUzGbKSwRQnUsc4sl26KWHyiOYFACYrCCmWQM2VIisyJpuKJph8kyL7diPQTOgnjCjAqSDRmDY
ys8RWg9tjKBDQaIQfU7LLcnt6iDqdlyP486Ec+cnm2lqUgYVT78yREfGTgr9RGCqoiMeaPEY0Al9
EeLcevH4TCp3qLSsVaLFuE7zxrQLCUxUyGYYr0nvGfG7brql/rVIvvedwAmsKqus62BzsagOiuXP
UULXZKEsVYi/c8NVoqMpia6hVSdzJoD9gLMwJAoG1SIREihli0kqy4+Gp6m7p2jgFmgoWYsQzgQx
8z8T1A7VQMYCZjdrUgrWOLJTZuUmlhfbnIf9lBT7KouOWRhuMXwsMI9V13Imm1MZhc3RFDNFLSPb
RUpnx/r1PImegKsB15kQTkOMKE1bpcXwqlUmB1IgsaaCpqGT0Hc/DV+UWdTOJ1oUZ/KDngVLs7B7
iVh+UnU3Zlc6pdHfXz44kQZycQoZJRLmFnrfygEjLnr/NakCUY/BetbotHd87jVOQtKiMsNy2LLP
HIp102xNXDcYBNlarpBwWLB3PLTEks1NVMmoNRTKfdRFdtIVtip6+q1nP85WpXAqL1VLYbUw3s4H
6N8jwIjd4Fp7BCe1kx8JrnCMvRDn8nEJhXIeIwN4g5JZWFr+ZOI2YFN4+UbeaEcLU3hIkrnZF5F5
rSdczhbKOZEELMSzNqBEju5I7+NlPe6QcHnUN4x9G5BTmSOkDFkD68Al9Ms18nQE9Vhl9ajhyYHm
fuD7gsvGsM0XIIJvU2faz+DiBmV7fWseBo91LOk7YcQiMA2DcyuN2Q4qyXC+YXWlgpJQ1BQl8CgG
51HKZS7kdMQTsbXocUmX+9nSvHmqr0jXbutZDf/OTX6wZp+5aIux9WQ9C/0kag9T+JT14RFpfIEY
0bbxHkVTC8ViGHJWNPhWLb114H27bAXrIiy0Heumoup8mjNPplgGDCYygNGVtHxpChF5wx881kkC
Z9ulMcdxZUGC/oHupj8P2xg4Wuq+3wFZ80aULVh3WCdxnFVPkjnEi4E9q+rHojzIwH/MlffLm7Ye
4yiKpgNH0pAp5Q4mzMY6Jiksatyz9vDQy51lo++1LcjI7cuyVg/oJIrvKpvzXp2KDNmjwdqo8psU
/rj8/XWXdCaAq6414IBSdYK1kE2PdvvCT/+HtCvbdVtHtl8kgJoo8lWDbdl7HrKTvAgZNc+zvv4u
5aBjb0bHvJ0GGg30OY1dplgsFqtWrdW75l2/W4FX/Vt9kgvWyZYkeEShxFqNcV2Ar4Z7Fhwn/uH6
kjbfoRcrElxAH6YcDJmIBisct90Ph7UUm+9kXIKbnnZhZl3mRRBYwqIN2jHCq1P9FDWeVt6GTIIg
2zCBcTJVN0w4mfaHggfv0zxkQAK7ZXg/AkYTRc+RrHAtsyFkRwlvQ6U1US3n/ewsceqHM4Y749q7
vikb6fO7pQhHRs8nUx90DDgESlnbC4ucWhtA1hqn+2xoZI2N1YWEcs6lNZHho8nBwmIZw9q9Qac9
tPNjepudgvDXO288mNIJ3Y2k/Z1B4RSxzEzrKhkxKNONn9uenSLev6ZLtR/nyCa1kdhNisdXo90Y
EDqSpDIbB+qdceFA8UjNaNhBPW7CgJn+bMSfru/dxvX67u8LBwq6alWXcvRcoxSlMYt+aox51yad
F/N2R+Lo9bq5LaDTO3vCyUqAqjPmDPZMm4Jze5XONPcgSL+Vjdlv+74BngKVaoSJmZHCxmZYRhgy
0HJHQ9Zuo70hU4OSGRGTH4WTONPLVSbVn/rdUt11w8v1L7btAOd1CPlPBk3aXEsQUY2q3/UB81Sp
sMD2+T2bEMJEpeVsnvJ1T8BQ2nS7EuRT4BsPIvf6Uta/8+fJPdsR4oTaaxo3FXyt3midsfvagd6I
khvCGptGzK6Cn9ftSXZH5FIe07jUJwIFSy1M9gvZ8/E+l8tlb5+g36uyhPCwoMhlTW24xiMNgl0g
u/KYHx4He4BcG3HJbu23cr+THNytGiVO0tmuEBnGlnUlXXeN7Nke45W75mZlilrVJXN/ONXuvFsb
2rJxcNlHFQJGa2ZVYhYw22Y/mPo4W5PdzpIYL/F5a/33F9dvMdcg2NGgntW0h3n6aGQfrzvG6mhX
HNFa13jx93sKPVOtxJYl/opx6g4rWPt//1RCdOjKJoxZa0IEzLC8WusddDoe8taQ0FFvpXmAnAKX
wQnTTaiovl9O1hRJbJUGPtdHujcc87Ac4n0FCCn9hsi0C91WAnDZ3J+zQfFgBUXaRZbCoZyeF3vS
oCUupfDfXhSAJlTFHJRmEWGPmlEp4kJBcty4wV69UQ9oRpaJDX68nekkHgscUFK+XfeLzUB4YVPY
MMvKGkob+IWRx/Y4DNAyRT0whTjtl+uGNg/RhSEhqCd9UhZLjx0rOELSax8c++Xpuomtx5mpXdgQ
o3rS90HDIJq6PI+gkQdA22kO7Cb0+R6zeDvZtM8vCNAfh+rCnuCFHUkoMOmwF892MdrTLryLf6q7
VfEWVBGfldd039ks3a3VkMiThaVNlzxbF7NCTdeCrG9WQe6mRS9MPaVWIjlnEu/49XK8iBphbMaT
QhCVtK4BDxbBPEDHK1cvg1tUIf3r27dV2bncvl/Njgtr1pKg05diQeuAyYpRog/sBRqtLuAaL4Mz
eRM6mdqd5a9pcPJKW/v6D5CtVojzidklRlFCgrRId4bynHWBvaRvQRlJElzJUfgVBy7WmWSBaXIT
R6Gelts6HjM7bUu3b/in6+uR2RHiiZmwSKtbZVWH9ecwwdRDYWPaUvLVZG4oRJBEy5S+WLFec/jc
9geuyfpqsm0RIscYaSmlNd4D7XBf949K8EDaUxHEknVsVVDfuZ8QPSAtEkZhgm1ZjBZY9+auN+lr
p8QuK9kNEsbH0szcsgrdAbQUeRvulUX3kiU6sES5bZX59frubTW83v0eIbpQUjOWR7hLg9d/+FnC
GlsIeM9yxNQ+ZrFNd53M1v7HKCoiEptRhWh50yFSg/rPX9zcw/iN821p7OoOLJw7WRzbdlNTh+wl
WbXKhWOXVoEassxCTSj6wjBqGmI+ichaDdtOdDYi5FcWi3LVIBnyn7LPoLmKs00xl1U0ZuPo4SRp
3/3L3p3NCUdvbFoMT82/Qln9QfPqfbxf0Y/5iJlDFPP2lh+/xbu/wJLCY85WhaNoWoE5djW+pNpU
djwOjkofgi6UHZQ1vf/z2jubEQ5k0ypRrqg4KD29q80HS3uZoM1GTFQFpsRJuwdjBk7jhzT9l+2h
cECtgi1WjvsffZXqZnHrI4bi6PdVbmyGxFFlA6HoFPtA1lqR+adwDudWCUrWIi3jKnhm4JktBdaJ
zZJbYXt1DJASMA1yQ0TNcF3JdX1EmAvUl8xabDPbEwjRRt+uh5X11/65eWcz2vvMeVKRxeo9XqRG
8DDXp9b8qtV4k+Y3Xf4WFQRAdP+6we3PdzYoHG/QWVllWcfAd1Sda0Sm17DWM2opf4ZsYcIJDwI+
DFECQW9jjwwFOQLbQ9wbRUY7+2o5nWd6oV/frIQrxeugS86EbJHCebfmOVeXCVct4Eotn+xRfUow
oXr9S2oyK8L5XrrSYrTAjVBDp7DxW2Cqp0N1moBqXRsR1df+Uw+2Urbr9tmt+om7zT68lzcltlAn
iDPnLRUCgGWqPCkn/I61bavepECB6netu/JTFj+ivWTVso0Vjv2S9doSabCWQbXGzoMbWk03ajc/
Bjk5JdEDb+qTWoyYPiUGtQeMkNsdQHa2kpuAIs5Po35rBjRxzBQPxGL61qUUAmUoIoSDk9XtiItA
8waUiNkI6GxvFV7OjJt+6g8DTXLJKZd+u3W1F8mfScOKzhZu11WeNHL0U+KC1+rWPJa7/k0GX5HE
FHH0sTeHhQYUncpgshyylI6hBpiCVe+oNUiO+XaZ8+wUImNXGVDN7CoEFnUJntlgPmjDcIqC5ida
pU8smQ58SQ9WRG6MIZRSy69B5EpUE0VgSKsVWQi+dddE//djsC92gd/NoFhSHeVYusWef7/ulf/y
1vx9BkSEzhiHvAjWcNOAJEPzMAv/XH3t7MnhaJyZn/K36/Y2jz6KX5RxzBWCave92/Rjinp8BnM1
cYL+hVObpB+vm9iCd5na2Yb4oOxQ1TOGAqLxKnqbixt/aV5aO3GZW3nqU+9OH/jnlRZwPjBZW3UN
GH9s34VloaAYmG1mggBeRQoIVzkNS2bnSmhDfR0iLUwSRmXGhBuwyIysMAgu2lm5K/o7Pf1oFQ+h
AQq37On6F5Vs2i8fujjro2lBbq9oUdCh0AgaM98swx3GinbXzWzHlIvPJ1x9ZrK0k9FgRZ07uPEh
9krDLr6WH6297qX3iazPsP1SurAn3HYmz7mWLP0/D/UFl2ztAC2KSGoCdIG+yjFWHeNJFsxkX1O4
/RRMTi5Bh3ugGD+q4Cleqp/zzCW3jcw51n9/sWXRMCbaYAFGE1FlFyzZnsfkNtaU24yDrgAvQIkz
rltzzfOFyw2U7JbWrgVTqzm0/W1tHK77huzvC3GjhmxgZfSoaZQ9JCLLwC3HUWJC5n7igzGsui7g
fETy85z5a+ylEAH22TOEK6GfzGRlGokfiCCPwMiz0Spz+FlM7LL+MPWgMI0k9d5/WZQJogWuQTlc
5P0mJFGWrEOzOoSifH+HkvlJ/QxqRy91FTzCJWnB9prO1gQ3GPPIAAwDLYa8vom7Tyq16V9RmSO+
n40IvsDUQR9IxFS0T2ZH34E179cgFHgykHxgPO7/8bbf/oy4+S3KLEPjYgics5620YgSaXGzUiGu
HNYr886M7kP+3Ms8cfMzXlgTAuHQxXyODVSzsxt1Zzj6gTrLYeXMprbqkJfIC59l1YvtYHhhc/1N
FxGjthZ9mFfynQI2V3vVqdwrjr5ACHslAp0PKkrDsgeH9MOK0dCMqnDJEPNZaic4dYY3nJocNsku
OsmLNJtxhFKgv5nB8F/CDV3yNikjFVmz0T+l/D4LJenjZqbKCaEGpQYgz0LcNZOgN8Yex82cgwfV
4s9ToB/GJHPrtpAcbZkp8axFC4RZJ5iarM4NWH6YM7xcUEvoo+XTX0Tfi1WJJw46ksMUIC2dsnhP
xnw3AWpw3cSmy59NiBBaM06aJigAeEkaUAoBvwN6dbftZRRTm+m9rhLKCLpu2CfBzQcjyhiYItV/
5v7Av/1tQaorxyFtodHMS0OiY/dxw+Z+gWN/nj3Ei511R/wSANboUfa03Pp2OgpVKoVPM0Oc/hvm
QeOdivbGUt2q1iNfDuQvBJSwGhBsoy6H4XAinJuxbDW1y1B3DDEQsmD2CcBg97oHbLbFL20ICW2C
qlFvVJPqVplDjybIiJnfHPTb4qQ9GzZIZjEKqnwHoZEk3G4dJB16RowhspuoCr+PfABQxHPYIbdI
isqmePkXD+34QrRJkiNtbpNmGPgP0XVTHP0bzbCv2qAD3EBhkH/J7GiqjtBr8q5/x60QB6z5bzNC
XNBnVUFtBR6+QFBbwQhSSyUL2fbtCxPCF9OLoWAKbkmX0/yW6cNdODCbz8EuMLSdHoEhblCcYVZu
uZHfDJEsVmyvEDUiAq5NlYsN5pFWHIQGyNt5uDfzBy4D7mxv1PnvC0cXg9xD3XdwxIZG9hhZ9jiH
UBN/ur5Pmzeujkfwf5Yh3BUY/rTKIBvW58foWTcYSwAq7mB400H7PsxO9QWX7knGLrDt7GejgndY
uRHqpoLaulI8gh3MpssCpjDFa6TvU5klwUkgIqXF9TKhkBKrt0adHcq49KYmeliAAJZ8yvVXi8+P
i08pPvkLneplBjQConqwt07ZLt4PToSqYnqc3ipv+pl+X2vqxNjLXnPbF8p5F8Xecs8UJTFAzeW2
9C3Mn+ruaMxHq/3R5BmUij4bzBmkcofbofLCqBAqdZ5YY8xwxtfZytZRv7J1rc4EKm4UB92V39Z6
WB5knEmyzyzUwI2pm8e4Qcqhsbtg/NKprxjv7DTdNufeNjBQJ9nWrXLY5baugeAiJw1oSOo4gj1j
X55AcbevMAzCXsZvk7cCIWQXwWYx7NLeGhgu7On1nKJwBDdaGWMBh/CiHXeC3cppBKEMV8YvIokz
v7pvF+bSiVcYHsMuDtMpnfaKeYpk/GebJoDC4VRHTxIkde9XBJbJ1IoNxJhFTTxFU706H2yLhtKR
ym1DkJZiGsf0rVjYU6YA3JE92iPVkqDiRTC+0/HXeeke4z7YDZwerWq601ftBYrpbY02dt2QZ6M0
n2ja35nacBjDwNVKvrdIv0f2dOi6TLVzix1ZWx9MLcEJYw9NPA2O1qunMCOTkxPQ33bGzVQCyxsR
tAmt6phX+TOQbpk9ZskNhXz7FJvQsWw/hJHi1+1sU7N4rEwoyTTlS5GnbjsNoYt6Zen0anYP8vJ7
Q40OvIqetCjel/PwmrXLSeu+Y2zilabLcSKZM9aGo1TcKyuwXvbNk6WGXyBVn7PJK8ygdfI5OoU9
eMWmGHOkS+pzMh5KSK/PWgc8MHgwK/oS1M2xC6s9Wma7vkNXXOnCPeHRB5Nwu5g7V8X/uR1GKBXn
tppZhyjFTG7Nn5Eq5baCj7b09dHCg8PGPCvoxcDPlgAByngN/avGUaFM2lHofHWVVzMVLI8TeGT4
1Nug39v3Kj0k03TL2+HAI7yerfGtIIsXEX0/g+YS6a1tlemTmYFnNqQ+UYZbZaxsQ9M98LXswCuV
2lXLbiwSu0Y7uurEXEIDzwoxt5vWj6nSvFh0PgCAsyuHxo7U1J8nCNFQ/s1Sp5dE1XK76GJI4QXL
oS4yL9bC21BXMeNo6fdV0uzYHH6oyTMP2vsKRFzFMu4wrfVFxQXtQK4nt60MVLgN1FdNvT8VKjk2
mfU9r1F2mEtqAdJUA9ieRDbHbWSzmOwjM82wO8anoKD3y6J/Sab5s0pMMHk2ttUFGVCR7DNKyM81
uA0sKzjNU/q9yKfPWq75TRI8BVnrmln6YCrVi9aVz4xMe25Ez5Lotxlt9d9HSrzUQKBVjNVQ4NX1
DaV51BwMqGQzH2ohr8HNP0Q2gZefyJus/rB5lg2VEkOzNOSpQmJiNZEOEqwGaF9yGCH+umg7/BNZ
ErmZxV1YETKRXM8gF61gYF7bq9/M3arbUx0ym3vm43wDLpudLNxuJiQXBoWEpE/npA8bTLiSfIFu
c3/iCz8Q84vVZhK82fZFYpgE9XeD6pZIBmA0c0LSEeVQkEat3OPN/fQ1QBtn8pITkOZSAqLthODC
oJCyNmk0G5FS/5MQBL0b/ojQSV0xBQCIAKPP7kD+tU9SO/963Uu3d/G8UsFXRpaOFcPJdDMVzOed
R6Zvf2OAGRbVNHQzxMrbwqaQjTUajfEAuub5WUkn57qFbb84WxCyjKg1dGWk6NqM0S2bEI9Vm7TP
E26o63a2n03G2dB67i7u+9lK274tsEmW5nQ3/LRCaQzN4ftpj3zNlVhbr/Y/cuILa4JLgLOznLUB
H05/no9r6hT4hg9O0s5bs5nsVtZK3IwaiBcaw7MMBRbheDUayufpgFdTnYc2N3x1ul9qycGS2BDn
7iZ17qECi5dfABv64k75zyw6XP9wm2H3vA6R0T0kYVJHDClTh6s8wViUzgannr+nw22HGWgZunHT
+yyu81U0BbVlwSmSMZo0a8E2GeB1S19Cnjp1sGtUKVHxFtxJvzAk+EMeLD32DY92cjR31X3orRPV
pY9Jg1tFsk2bLVidUQD9OUoR6h8D6n2dTwCOreHIaG0MPx2tXeIGUBS3Y9RzIKw3ugVQeMTm/vDp
+v6tEUf0e4Ng/s5kmmVRsRrWshRTRTmK5w1Mq/wb6z/lZmuPyZdC+XHd1JY7GqpumRxjuipyhPcH
uuo1hYYtDnTVfVxB53oR2VD4k8UNbWtFqN9xk2JEwBCT+DyGgk8xwAw5xofqPndSh9/+khJfH0GS
CY4Nf6TgaSSMmUQjVDSmRXrQqWRG7UFltgYUWqFMj7zO7paxkb0aNi6Pd7aEyGsVRkLpUOKaPFr3
8QFELKeks6Pd/DB/G13U+24zdXd9y7Zck3FuEMPAkDAxRddsgrbuFQKbw07fmYjB4yf2wKCkoHgm
uPiBtCi86Bi6yExVZX/d+Ia/vLO9bvTFBcD7sp8MswUEKN5TavpKgFdQKWvlyKysF8OFFaOEeM9Y
wl2UebKH+caklS1tyG7VPVCutyxAR0y6FjTfW2nCISDTOOLBFyi1PZkmUKH9S1RObot2R6Aun5s4
vDFU0BCnrWwTN07EO+OC47AiAEe+jiXWHpBb60Pdzd763a9nui8jwtj4nu+MCae811BvjCqciGF5
biHUkISP0xL+90nIOyNCdM6wJHXMsaJYu+VhZWvq81Q9KIR4111w43Z7Z0fI1wJLw1hqBvdXYuBM
y8YLwcLZ9MgUrdQBf4LTL6UM8LdxzN/ZFDJ9rR740qq4UTOtsfOluWsVU4ZU3hj1fWdDyD6MJOuT
WEUeauynm3W8fDmuoiiKVNVashiRkw4zAnmS5Gjbd7lyKFTVy8zevb5H628VbrDLtYgQ2oKTWqkb
vL8yP3vob5mf+uWDdpDxc2z6tapiElHX8U4RezqVXsc6+O3QoZoPU3iqk8GuydfrS9nKeUH7cDYi
hDx1KUejMxAmEoWe8rZ1gGG0F72HFEXrazlKIGpy6CF5R3PrVCU1sa//gM1veWFfCFPBUBpZyJD1
oO63z7LXKAP2UveW9q5XwGyG55kh62lv3KDvliwEp6Gsory1FOK2RYj55beiQO15VTTJv1xf26Yr
XqxNCExxztQZGhdQZxqOvRbaRJUY2HrHYinoZRPQgxFLbI2VfLEyEiFarChPa4f019f8FmyzoVPe
hxB5vL6gf/GW3/bE8URq5RknydrJzDD4ph8Uj/j9x5X2B9zbklP2L4sDBhF5qgVIhxgKW6Mpalat
0MeVgSf2NECLoAW74u/BT3gja71sn7ezPSEMkjpNrLxbjwL72vajm3SxU7VEcjdue9/ZihAIQXil
zJWRI/XOHxgkVuZvef9IGtljdv04f8QoDYxuEJtAX1hMfUMQR6Sg7MNLLNZsw6jtPH/KMQxJ3grg
xq+7xeaHu7Al3I0duHrnRUfatAz7sirskh3N4vW6jc2zpDMLHHloBYPb4306oxXF0Odmhp6i/qTi
/jW55E0kMyAsIu74EmLyEB+s/TwFtR1jAPH6ErawNByYFoJnpEHoHyClEEXRuDIT3LM3nR99A4ei
Y4BGih+bx3gnqy9sbcqlsXW9F1nmMJtLUFaMYMzshqVf++YF1ee/2HjwrHC8IpFmAlDz3kZU1wjd
OZ6RZt0fzAbY92B57v8qYF+YEeHlTTZZQcUC4o7FHeitydy6Q3qaS5kfb+bMwGmswUZHSBWJJ5d8
GQ2o6hIXOiCR3SrFXikN32omvwlNFyUwjC6DhSBEw2Aw/6JHyi+NCw44xhm6Nl29sh38kzNPX5uV
RLx0qBv70UF9Ba6ssGvL/gu2pHeWhUDbROGQDjES6AIauvQ0yZpc0u8qRFa1mNZG2orZz7rIHetx
P9HIBWWjgy7shyaf7NlsbNZZx3kYZXqcWwH38rsKTkqzvKN1iT43Le5G1S8Hv9NKG8VmyWHYymQu
7Ii1rzzOIFoUghMDfKxOlNEXfRicwiJ3fMXLjINbMfbQKprkYbJ5zs8+K5bDJtIt87Qib/PypHd3
OvGn4XA9cG2bABDb0oHCscQZBJ3nSjBFFOSni+rQvLdbiO6p3nUjWxcWGF9/GxHjlRENpprgEkmb
Eorq6WGYwPaaYsg9yxzWW/89fzl8/mxuXfNFeETXNZqTEkkgxN7q5K6hPtd8s3kI6f9oSDjWg5Yk
QV4Df1BoP1vjWVcSlxdeqb1OMuryrRtMNRilugaRW1yU75fUtzoNmYEWb8jmfdKDqESqHi0zob03
kULhAMoQeAXP6h4VeQxiDpJTtGnBxBXPAeY1DbFKnSeDEVNcny4HtWT2kdev191M8vfFU7rMpZmM
E3x5anySfA2Sl+t/fw1lYt6Fr/Cf3y8eRz1L66gNUd0MKSa4m7xFAzYfnXoh3xslRXlVnfw6kDFp
bZ7QC6vCvjBINacTQ4CtivsZze1y2hVK5l5f2hYgatWw+L024a1GSlyQPXCb4GXWwN5Nnfq2O5B7
63GVlAqcZofX/N9EtwuT63ZeHNMxawZWhtguOt9HfB0q22W9bFJn2ydM8BKiSoxbX7j/5q7Tqhaz
Oq65gM7x3pz2kg8nMyDcf1YdjmzAtJVrPi+78UPhLrbiTY/Wbe8mB3LKpFRCm3eReV6RcOepZZlG
Nd6MwFt1vgrOmnWioNnLJnS23e63GREUnCwdRCYmuF3O+WEe9EMy0j3yX0kdWv/FRf/nqTobEkIb
aSBFzmOLuHqhPGZDHDhtvNwynr7FXZ87eCneBgk5oRT+MCj8pVA6wE3y8iNeJphBjA6ga3HHYMht
nXwA+tKhLTsaFp7MCfihofjR19TVgStK2Uq1HTkkIH5KQDOFs2xHA0DVmnUAL/hehXDwAE6GvMz3
U8PuelIA0ts5BLdvVQ5eHPQPvAwOXQ2MRNDSn/oIDERjxG95E5/mtvHVJPYTMzlNuno31iVxsyw4
ZePw0M/R00jAt6e0e24NH4K+2wVJAfQL5HcqJd5FdeJMCTlo8/BcTKijxSSCrGjvsJGndho/JgE/
dS2SVlU7EiC+4rrx06zHlEzKnUyl923TO1Wx7Gor9sjYu7SZgRwAxcVsNbdQO73HxLaX8dgvzN4Z
AXHhZuUmWfkwjdVd2pFdOBeHJKj2mcIfMJ21qw3FS7PmaLb45/FyWHjrdDnx2aIcSEpP+mJ+LJb4
vmsMPw3N3GtKDV3oyis67aVoIUAVKOnHvAHoh+XpS8K4x6lxQNl6X1Xpc7REd1lZ7CKrfFgYvbHC
mtuGGt7h93mhmsYQSACipl7a2uF8Urw5AAKjxB8BqwD2oHiOI36oaw16qpOtzvou6Zg9p9ou4wpG
0PM7iPLd56PxOarpriK5p1j5Z2Vo/coaXtTaeKnr4LUo01eWpSipdBHz5pDs06g4lUS7S8voFvSM
HshkdsAYgnZc9ytF33E2fDYNyHMW7acwxAQxndxooEic8szVjPBD2aFc2GhvSBpPZZIey7lUHSuI
b6Hbktpx1fqhzu2wHZxwHCGRCmyV1r8GaXXfsNBnqfbQjfVNpICQqlP9ojadvP0ywMkDpvgZyXYG
qKOWmh8xsXqzVFDtToriuGCiiBo1qtbco6rySVOmO4i93mlRdEiDyutMVtgDuuxF2C6ubgVfmjwM
HQPgqKrLX4qY55gwUWwtHb/oaeOPS/p9hjOGVUbsqk8OGMl9LYviPi+po8xv46DdE8jmlXPr61Ho
6V3it2Vmuooxl35TJzg3gddZTmM/x7UPed37cOicOTAdLak/GDqkdgvNX3TrqYT2RjoPfqbhoEYx
ZIhSjAGSFvgj9jMaIUdk1OyUm7PHegCAuHrQCq0Adsm45Wp2M0VB7vRVcsrDiO87sPc6WMiMWW3V
C1p8+ih5BoroGJHU2I8JcRp04NwhH+/6qmjsjAH5xpaXNAu8sUsOqHZUoKbUnbHnJ63P7qJ8RCoR
g7nf2HeU+fEAfXFFOWQoElesuI3zwBnV+kszFs6QYRh7mKCfmUXP05y8zGXtQWTwc6NgvnEVNYBo
czSCZ3rSb+IFUK90ebOi+LWtIbVUhA9DBoGVaTkm1XCgFPA4aCiXc4a9VRsVtPA9oGm026tFvc9q
aF1BGFSZuy9Zz7/GgFHNc+xnYeEss3EfL8ldEZWAVpGvegM+g5j71dTsLFp7dJmAIqu8pFJsMwk/
5EnqX78XN69Fisq2hSc3wYP7/eUeFVY9dpA/dC39exiA7Y5Jcu8tfhQOksrfFoT0wcwVC6NaKx2L
H75lsW0cdXc6Qf/aWoe2+eN6KZZfqWXL8pbN18yFYeF50XQGiVOK8tus3PBkl4+Jk+jEofS+5/Hu
+mfcriudb3sqZH9JqA3BPKxli9RWQQuGM9u8BYdVTWV4Uj7J0ANbCu3IA8+3sbhvA+2irEYeiJkw
ute8zI1cAMRQq8CxelonuZf94ixe/BCcRhAI5ScZi7Akv6HCvpLOjFEaRmU9rD+UygcrwiWQ73Ig
qrLd3ECcdpQMc8kyHWE/l26ZCOh9Md9aBuBgy/dR9y0rO8lObnqNyTgeb1CsRuX2/YFYapVPxogm
2RTf6N0B6s5kvF2IvypdSXxm3aM/M6qzKeFZmmR1pkcGXnKrkKbhgONjVwK3MDi5X3jx7m80XeAz
Z3tCjl1aGevAqP+fWe7WaY+Fv4onJvfzw3Kc7609Jm29xLD/qhB6YVlIvhM2lSQxAiR3FkRcluE7
ygI/ItAESj7pZjS7sCPk3COE3SPeoZPF9PmlNPvHbhq967u2bsqVTROV+GiRpUtBVbR7FC9hj6MZ
2Ml8JIWsELrt7b83SxTfM5PInJcUd1fH/IQ/9voPtf90fSn/ErTONoSgxZql4tqKq0puVrlEIJgP
xsvkaLsO7Hsy2SnZhxMiVoj2Nk91xIt2+pyHj0VP7UyfHEuVgHM2feB32De5YIeGA6V9hkHMMrwd
w+cxfZJ8tc3ywoUBIfDpqJ2SDtoivyYgMnw5/hFHyAUB5FF9NNdZ4F9Kk27xoy7d67Y3neLCtBCc
jBlaaARZr4ukYK9aukdDxV+yqJaco829urAjRKaoXLUSW1ydivJozjc9AO1ddtT0XGJnS73uIjkA
Rux9tB1LoykVc3UKb3LZB8ASnBr9mMAx3NoHxZDD7liOTmrl4H+C20UWE2ULFQMTRh+mxMRC6/hx
Ia9t+loVr6mMmUGSA5lciEuaHlEjzpu1jUofiTO8rDqrzSH0QfV/33lrCmQkjuzNfv0kULLiQS4L
N0NeDIqOzItgsKy4SdIP173x+kHAwPj7v9+maTgNFZq1HWk8g3s65i2C8aXOnrr2RyxjI7++VZSI
wSoMg0grsVXNVOKV90rayI3TAoOHX68v6/oho0Rwfh7W4RCv2LAKQ5uB6nToc+WKc92IbG8Ex1cC
cCjwAqX23ngJE4zs/Lz+9zfTmN8nmBLBsXnRtGrQYxFaGdlW/KnPv+jogXBwMYzF7rqtTZSASk2M
VaM0yUBq/N4RxgAvWA1E7jjFxog0VAUo4VvcuOtQWOLF9zJl2u0dOtsTXKEwh6ZLK7gCwXwT7ThK
Gtxppc3ibf8+mxFuEki3VhXq97hJTOtDNo9vfdQ5ms58LW5elXr8qVuV5LUkW5lwt4RZHaZhH4CK
xERz1SvYHUkku7W67x8JzMVmCXdIPWRzMlNEhQAgbrDXEWc2loMZdo95N0mqhrLlrL/lMgIVY28t
GHKFAurXKL6foo+19Xjd+bYP0nmThIPUg+UEZX6KB+zyg8PXM+PtugHZGoSTFAJGr6tThDWA5yj+
lKxFvfnbdRv/coLA+g5wAvDEv3RWLz5Ux/uqsgIgH1DA6HCCQGrmYg4BPEQvqkcOENeS5H6/sKd/
usFvi2Ie2yt5P9MYuAGrm3bjjBu+T/ITdL52cYZJmGg5BrF1O6vDvkvyrxoG2PXZ2imksZOYH4tZ
cWpteiiTeFcXAK/XyudcW2wWoFbUj5+jce268OU2NOpTY8YOYZFP+8TtohQ6DzP1GoPeKenyNdOD
1+sfc/vYnlcmRCNNU8vQShAdKggCZcbsdKZ1GFZy+p6DWb3Z68b8V35+NikEpJm3RcrL9aYtHyrj
SwMfsdK/4I9CrnQ2IoQjBgX1YDAxMGXl91p00FOJo8ucUBeCT1l2YHoMfyW20zpI55Z7625Vo9Uw
DBM8yVD02yf3vB4hELUG+T/Svmu5chvY9otYRRJgemXcWVkjzQtLE8ycM7/+LuocWxyId+NYfrNL
9m4CaHQ3OqxVG9mMLqxgEN0k6TBIEnNUYfvufohg7I8ei2Uc91hREzyU5bek3Ofxfz0WxgBhthXz
rMuujZ0X9r/ymGMbNu21rlI8aw3FkHQmigMBXjqJIWyoOr7R7mZuTlnzKHZ/Xb80mzu1ksJcmlxq
wjlVAOyVyo1pqN/7AdPq8c1/E8Jck2xUDVx5COmpvMsp6hdUAU7n7P1LMTChy6wJcKhkiiI2I2aO
J2CW4plk0+qn0MOgGuAyljm35dOGMUKY2yiMrUTqJkMRm6IIq4GOt0fiN46d/7YW5k4qclL5eDqI
dhfcFJIbZKc84OTVPj/CmKUsS105HwCSAOqcQsYy0o/6eP5YU2t6Kqx29z9WQLAGV5kwoQ26CFB2
g5eal6v9ZLOZT2Au6jBL5dAoNaqz6ffa78yKfFOANCu/zNVTMN1f39NPhocRxtxYQQC2XxlCmN/f
p5IztRzV+JxXYQQwIcOk4OlMMIS3vGojM9r5kxe6mqV4qtvOnmDz0mvbC6IYRgZcu44I/M8DJCi5
zYmUisBd9gThVHWcyQHO77MNG9PcxxS0EChlK53byAWQunqOni97/kc48r5l/yyB7dmIMy0J5anC
mfi+VeqBW+Q3JTgqZeOuoJwge1vZPmQx9mECeHpgEIxGJtKjTAszFe6k8aQVv3v9YQx4GIafG7bf
l4aSOybFgC/ItjbQpk37IArQspFI38lcv0ql+s0wSiAc0EPfoiQ8dpElz8UD8I+/DZNsXlf3bUv1
IZ/RRn9MjBp4BiLoWOrHIDDMsFHvUd+0rotZlOzzCX6IYZRwkkpCx1SZ7RD9DjmG8InX7Pn9Dp/c
4Z+7yfY7qGWAgqhPAYONGtvc7gSwV6qo104ch8g7NvZRG4YYapoNCIr3/T6/AcczoAxlVzZLL+T0
nW4r/z9bxxaPZsHwZ0lt0IeQvxZdYhYJut7nM8E/yhkPVGD7Mn8IYxxXFctN248wFlHwMmfHROe5
k+UHrigCWxiqVSKGNIG+/Q/wDljU1cPgoSB7VwKzwoqfl7FM9VtqzYpFvi+zBMWN78g1Rx8/h7OM
pjBubQqlaZAadUYzr+4ZhYmy4054HlGRk03pN5+SYVMzqYQWZCAbYjCUkWfoYVL01XLPBB/NtJI5
oSasxSj789KmPEnL31cOG4je9aCJ+ozmkR9ZgYdWhjI6yt1KlnI2cTs2oGgvl1FtJ8RgFiVmddXn
SSLa2oN/h0krMHAtHHDaPTCc9r1FQB5buALw59un1ONFBduOdCWdWWhSAHs4zKCrKOnvdWoWXgJ4
/+xRdcffGK35t5WDRWFW0pi4wNcjorR0wlpHZdfPkitWk3PdSC7b9elurEQwtrhQ5nkWNGxnHd1n
wnOkBGYl/MdlMIY4K8ZaVdsWpWEwZAh7afiKtcJAi07fUQ7ZXEU1yqWoF6VoZ5kTaQ+iVJmi/JzU
h6HzOa5r01Z9iGKTFLWupkBoQOCBrnhJOXIJd+VNWwXERtR6KWAh2fpDHpc1plZhI5YhWZC3nP1D
cGn3ldcCMgx0gxgPkVBHJ1a6o60Z7/rzxEeh2F7lx0cwStGESqQOKj6Cesu4deymP6TLglNGLExn
vqZW8yUDooA2VFUkHCKL8KlOk6SIEiQCSiiqnmbdHebI5GFufi57LBdqJYa5vsNQp0CTRKA1WOVp
SSlEh+BMQZGD7gATrT/Eks3px5hzjNb2fn6sjrnHlZwYil4ilhwb4Pe5afTwhUu8WhZzXnM+y/LQ
ITKQ02cjwx2zicqZhNqMCFYimDscAuZFlZRORLNt+9QU7Z1IMHCVRPNtKIc3wEfnyNu0S7DwBrg+
gOJFGDOPQpEmCQJOqvXfwuyOIIFV8VA8Nte0ksFoA1KDnQ+Amtku6W9JycwJB5+mR7W9F8BY9oUj
WsliVKAxGhDv+MBtRGOWmyu7Af9Y5KF9Xcp2iLESw2jCUEpGW2rYNvHOAJECsRsvs+i+/WuydRfU
Txx5mzsIFyWKALKFN2ZW1Q51ho5ZKDaYfay6mM3RqH+3geFSP5/MaiT3nPUt3//JXa0EMusDp4Fc
ty3WJ3u93T9WO/AaYMI18hp7sA1LvkmQnpZ3eK1xfNimPq4EM/o/qk08Jip8jF7dlggf54s+/Lq+
OI4IdkhdLVq1FnXQINHubWwbUw8dmfzbhNdiAD+WwU6pa6KAjuYKMgwR7BPZ7Na55GAWilMD2V6K
gvE/AsjuT2yioEilSZsvDkTC0MlvowIN+vP13dq0qdqHCObySkDP0rLl1TAWrwWpTIygfOXKasjV
wvpgDSxtLdDA0IXbIzSK1XuKCVZF9ub87foqti/sSgizDA2N1KVM/dkWdtJPdK3Cx0fn6Vau7Gyv
u/VTHH/pyn6sirmyJFGbAcSMoNYTHVF6FPvcDI1LW/qmUD5dX9z2EX2IYi5rFoOzItQQvmbpoVNv
y4yTBeJuHnMp0SQ/RhRw6vaUxz8k2j3FJHWloNkFmnjuJrS8omFOT2JLBCBf14GKqGvsjCg/rq9z
+1XwcYhsRpzkcgo/YsBZ2dEF7fWH+tvgGh6iJU/Y+5xg4vPg5HKH4RR1FLEBrsYi/ZVqKQEWEnoZ
9SCsual0YGKGgGd487sXTcTzDu3CCgAWOYvcNL0rscxp9pSkkVLhwqEiODjUAjd64bUgwQ6c6Fyc
wl3sdEfBmyJQDP5r1ItlycDaQi5RlLB4phiQiNkkFgCxtSv07EZIoM83KuFcxU1tXcmQ/3zDZjTP
pWlEECVOmC0UiUVGyslE8EQswf/qmdylTZcVYrSkLd8C/0nVHjlntHzjJ/e4WsPyASsBoTGiJz/D
Ozx4bgFL3XihrT+iWdwePf4w+WKaWGEETh9YYcCY/zTorQKVSRje81EpeZH6aS8JvSeImEnB1CRn
YRxZ7LR3U9UpYNilJXAfHHISLdnKnH7XIf81ucQqwEYq7Hmv/a3jWi2QZRWTVMEopgj2a8gOkb7P
ueQ1y3lf2UGWOSwQjAEWCQ/jxin3qHShZbo328MC9ifvDJvHo8BbD6N+CRXDOkyh4aqhOcXYuyWm
ETgHtaWB6z1jNLAksSBWi1sGDK473C+JGYq2G2KNT4JdfbsubfO1TGQCZDBR0pVPQ3rGAP9ZZu/v
uehCzM5ZIEkjD6NWTukECwPLUbeVu2qf7RciAoWYhi1ySu2Lk/l0iAQcMwQIAUDOY5yQNosw0j6K
e2BuBrKLSUYVZbdLKd2VKFS3lZWoHDPCkcgmIfw0l1J/SULFCH4bZAYGN9yJOx4k2aZbIxTcEXj3
AViWfZQbZd41gxwjNwRqr8lR8Vpuj5FFDphfeeKNDW49JQjVDBSUiUI/82EYpdynKQJssWhtope2
2EduFo/3ZdHdgxWLkzPa9KKA1wZaLmBX4EgZl9IWXRsLgC6yteipiAJzIA89fRH6R0ErMbLzXEl3
A+/gNq2YJouUqHjSArmBMc8BbXTMbs323NzF1E0Usw3P01eetURH0CopGpCI36OmlRNQ0L2gDKWM
OoH8bBhAqdiVqqNFlaWEEyco2LQoK1HMbcfgXloOBAvqstDM+0uJ3O/1K86TsLw0Vovxu2CWJr1f
EkPlnqrFSZi4I8xLw8KnG7xaBROD630F5rUGG0Y99dABhkzyBI/ucovnULaeReuTYWJvWRv11Ccw
wEn7FpWWKH/r2v31/dqK0tYimCitLXLayTHWMmteBHrp7lebnaPphXQ3RVZxQtFNQ7TaOEafNVUy
5B4N+6CfWiaK6yMmR2GIeKaBs23vJYGVDtRoqCN6gFHKrn4eumbXloFZ9NS7vnOblYXV1rFQCVNL
gHE1QplHF5ObDmINL0KMMX4TgMjj3xiH1gpuyD6zMVPMVQ2OnrMtIoDOl0CBiRdzEulHPQy8sks5
C9y0sB+n9e5MV9sYpajKV2BlBVWPW8AUVACO6Yw9as6d3HKu7faRKRqAQfDVYDj689oWJPDjio6g
KcG4YnIspUP/r0Gs8SZY5vL/FrFEIqvl0Bbd1y3FcnyaOB1QM+Pc4EQzvFUwARMQJAVA0UMjxGTa
VXNojQaGaiXC80XLp7IGCMX4BZATI4+fUJg1McuqHoyCtlLvNKqZaXKSVM3KU2SbHrThBFycqgvM
THHwE184qZVstpWinjtwbi2ya1k2Azr9kksds9bNX9dv16a/BeyuDKQYopNPkMlpI8l0IAgmtJt6
j3j6nALlqtunB5612AwK15IYcw5kDYwBLBXCJpXvp0ow9SGZzC7/mYi6Veed3euBF8wgn8jQazy3
1B5HYkV59Jql2o+0nI5FVd5TIdv3U+2WaelkpWSKQeHoM0jYSf16fWu2ogLALWvw1MBn0QzGiU45
csNyH+KZIZ0J2nN0EpiJss8pJ12ypc1rOcvfVxcmGUOMoU+QQ8UziW80gDrpnKz9Z0h7XEqKNzrF
Ix3zF2yp3Uh6PwMdyJIJkdwQ1AcCqFiqc4bySmcPp/951Qy7f0/o8y5XE+FwgNKFxsQ/12YsvHoo
gsNmH0SLWgnKOgu6hcz1RZuHJf8tCIiffwpq6qQ0wDKGPH45mXmmmHW0B3emWSvfrmvFlrVGcPq/
KwKg45+C9CoBzgMIHu26LBJLCOTfWY40Grp0RmFyulzgleA21WMlkLGnaWykpbAEp31wJMNJFw5g
zbi+ps0WlvWiGIMaErUlAKue7elA3AykWS2Q7Zfpvq851LUo5lZJhRzETYnlJHpgD4Hm5lnjXF/O
ZsSwlsHcqEaIKgHtnktWorcbtEw55anfjwgcirOGd1J76B3Ba27ru2EPOgeO+K2QYS2dsXPC3E1d
rkF6qzVmWMZAaeA4Jp5KLDq6shhyG8eyOixeXNtRYafWOzXfX99D3iKYeDUopCwjI0SEFGAJT9VX
snoUOKgoqSODL7Nv2Jb0eI/3CLn16kRhvtOWY70392glgDkFyTDIUKrwnxkB86nRekFVPxv6xAm1
P+MsLRYOrtOQJF1CXYW5Oq2CbVJayFlq8sWh8OivOjCDvYgGMDD+3EqlOd3x6nvbXnsllblFyDUr
Cao84NmuukMaty4Bk4M19yoAbcYXnYwHvM7QD1DUP4dw+EqjIF2iR4q+a92gzN7WiSjmSoScQD65
ehybNKKA/uUZPmlTB1diGDVPxy6r9RFFscZRDyPYAOzgafYwN2aBb9lOndyjHEO46UVWEhmtz8Jw
kopkQnNp9ZMg+A7Go+rfhTyMvuVnPsWVIPcC8ZRkaICx+vP+JpIPLP0GiSKFyp0FGIF9pch3ajTu
hwDPtDFBTYb/nN70XCudYa0irTGwOOPKNU4tmzqomcDqh3E4+P/OPtVvy7ZijpZjDRcP/2mtK6mM
rmhA0miMCpo6LmReowGmstLKs1vJBzWW3RAULVSOyE29IRiO0gB8ISMF+ef2+mM5iDPBuzRM7kc0
AwUPX7CNq99nPHIg+MnYiHBhVXI76Lsy4tS0ed/PqIdWSjTJNARrtXhL9Edjuvtv388Yj7YkmMaS
8PtTdvEFdxwf/9vvM4pWKUo/VS18BybgzV4RzTbmhMzb9m8B0V7o+ETCYmm3ojr27XIEvVtc0IMH
diYFySF595WOWyAY/i2IBdEW/VSt8wnOPFZCYCn9qPNfofBQCg0AfKzr27Zt71ayGL0FwscsDSUa
UNS7yQHdyq7+Ft8YlnY27qZ9eNBnk1e/27R3K4mMJvsjEfsgwU2Rc8kDwIMbBihAl5XdhIbNWd2m
IVjJYrSazE1XzQVizOqde3I8RhfNjQ6CFXij1TtAtXKDB8lJ7Ig7NMJbJqPwJY3bsK/RcV4UoReV
0nEaYhfvUSeMZs5La9HtT+aOUoQXYIjUNbbzRtL6sh1a9A3Q6SzSuxY4RkXMCW22w/WVEMZNyZju
i5sJ9XXqNW9Lt/J8P7ijAyQhj3ylQWrJcBEFl0D7RMtDKfhtw1FHG73wpgaB2aff6pw3GrfZMbCW
wngJRZgnMvQiPOKN5M6+mYAttLKDx6I3J3vBc+BlqbbP6WNZTGzRDiNKKOmMSRj6mPuAeEwOc9Zx
bvSiV5+UAVShy7ahb5Sl/1HVWEyDpeim+8aOJoUbTgPnWvFEMKqNidk5AWYc8sq1cSkEgOQ1qcu5
uVt5eKqAEE8DswUahxi7ZJRtUs0EcVglDqdsGA4ZoMgsoOc4WpX8KKh86tTiu6RNh7ovOJZ+85xW
shkLRYOiDciEiQdRJfsCdFCR0nmzMO6ur5EnhjFOVCqiJqHYxqorgXDW7VBeP8di5V0Xs2mIFKSS
lqYJ9BIvNnL1cINhaLIW9Jx2GXqN8RyUijWnx6AZnetytrXiHznv7nMlJ0x6ZGgNeHg1T+zEN9y2
Vjk7xlnKu41aiajCaMj1FjcWUw7I5KHXH0h8Yj2aacPpjdtcjApKCeAPof2a7auZJU0V2mXoRZKV
nSyVXhJUHBXfXMxKBGNQtSYsfUlb+iUpYLWm0VaK5y78PorZfxTEKACd51gSIpgdIey9WNZOlaod
Qp/suyblsUps6vTHotjuJ7WNiJ5k8BLi6GTChVSJ2cz2dUXjyWBMQzCUmjhlULRUdcLxZ244Pa+h
cFvEx2Nz+ftK0ZJqBCK9+G59vpflQVOORviVlkKqYQ4YKUowcLFlkazWgE3QouM4nB98wRPJaeJS
BmyuYyWDsWRJPoZi5iP+8UmtO5mqpZZiNJEJWm4PZ+UZirgz6vQiV/Q11SdAP/pOrcU1WEek50Qh
F0GPeFXc7W9SwCikI4shspwQtdoofpQvhU/tJRPu5/K20TmPje0EiaajWQGeY+lJ+vP8QkUXAg0P
MhAwLeN+GQaDQLB8VM6atwxYtefcm3lBy6bJ0BGEQW3gtlhuCEDM/G9jfxoEZx3jJ3lSPl/X/G0R
CnJYYG0DWh7jMcSoAIG7suRAWtCnK5qXqTXncm1aJfTWqSr4WpEkYy5XrglDrPoomJQgJzA6f5fk
g+2Lua2I3Fr7YuE+hSorWYx2iqQNBHGEA4xPy3C34cYPgqW9JwgkT795Bw13tJNg89om36fdrklm
NjLEKFwW9ZC8gBvKl/pEz+EtRQ+jfgJuE0bIBKQo1J/ia2/N1gKAFT5VOyBVcmK17RAUZYqF2B2o
N+xsNOoG8QQ3ubToz2739j7VY/3UFHN2Wovfpbd59T7EsfW9apzKudKWbEzoO4ka7bO43LVzur+u
ppvnuhLD6FAKxqvRD9AFpdbPgn5fxlYnnpQQxOxvNTCzrwvbvBMrYYwS+bE0yvmEq+6DtKPWXoXi
K/GTsbTPIKRGrZKxJSKd/bmgaMxLpqg0s6IFrvaEJFYYXsS65GTZ/z8a8SGNiQqkDFqZVrjiYWgv
BFo66ApDjBVStz/DNtsNRlOvb+DmIBRdLZCJD4JJ7/SK4qU6WL4XlibZhbb4Gv61UGnK5vjbt3Qr
utE4j9btczMkjao6xfwm42L7IvXLfJnIbo1zXOw7gbeTm5YMT+K/BSx/X/lwpS2nsO/Q3N44PXop
0QuNxdjxa+cBnPUHoAL8G2LFDh8uYlGIT8ZlJZhRGMNA+kkSEW9FeoesZ+eig+2oz4nXSP2jWPmc
28bbSEZjChqGoHtF/pikT1SJzU7hIBLwBDD6EamBmMkD4q0QcAeiq/IYLbet0j8HxbYwKrXWzCCJ
gsrXaFLuVTcY86NQTDZHzxdLcOVcWNBStUQbSjjgIRQ99/YyRgmq2tF6J1D2AptwjmU7s/ahBoQx
TEMQkcFQsCz5OwagfyLecZJzocCxjA5KgFZ+5vGccjSeLQsRvQOpm4grNTeBNclgaT72YQ1Edt7c
CHdti8qs7laVRNmktUuJ3RrtGcjpb6W7FHC17zm8pwXY/uBG59gpnpowBqNW8djXGjwtdPHchAdt
3qsqz2ZsZh1WZ8bYjDGNat0IYOsr8lhjzEcV99l4KctdaliTINgKyc0pVszrmsm5YJ/yd21Moy5E
O4xc/kr8Q8WrTWw27wJr6G9TSBgT4RNlnDUhgkO+071kFx3002iBrMFKnf/DxPDi3q/dM8ZelMJI
QGcCe1Hbo13NZnKgt8vAcD6b8UF4vL53mw4TeAaggkYABeYZ8qcqNn7tp8biRzDsjW6PxsRg9KUH
ON1stZfa4wGLb+6lAiBb9P8R0NqxyBu5IDRJb2D8BIyaf2kuUPit4FSdFAsMB2dezXVL59fCGBui
1bkg1SmSeSlFQhLQQxN5VgauZdw6sbUYZg81ZQy1uUFcOB3AQ2FJwH/FaPlhmRJVeGaRJ4sxHWJX
d6Hqv+8fcasAsOLBbzAodHZ+L4OJgxO88TaQMRqgmM4poO9xoaMzFQrbwHhST79gmdbbx1iNuIqU
fFgwB3SjOI9G+SyK5BBERfAFO4HyLdVldUlJsdMFNAyqbuqhDbX2uxJfBgBrXL9MW4YID3O03SNf
qIos4IDRjr4Rq8i76+TOL07K9Hr99zdPY+l11ykmQQ3W0NVgkQ7VCRvVjDdxdtfmt1LHSdxt1ing
5f6Rwdg6oyn7KV9SHm2DqY8OExEz4Aq0GngFLdcabC8IIzIiAe0MelD/ND6dmodKI+JEfGE69srg
CUSxjGzk7NvmuYDtTFeX+RadTRV1Ak1CIUYom0anVNkV7cv1c+H9PmNmRrmJaZ1hoH8A/086zTsj
4fEjbNvN1RqYrSIdimFKivJ7vF/YKyvPvy2PFOiNhSt+4zFQ8Ba0/H0Vn+gY58doKxRtFoJjPIOA
x/95fcu2gnwFTgckDOACBZIfIyEsq3iS4FLl2geWiXQLDCtH0yM7ImJqRiTkzPkgW49fZN3qSiI7
9kbahrbTMCGObJLnaKJ7VUaZyldPIHcSzcAQQpOkhVuKkwnyl3Nd5fet7x+zbEBGvrLECsPdshSC
2LIE8MBszhXwO4zu19TP6NnJbWAoPySG/5hKGCGagtMUtM+dktvZOB1lo3sTxuEsiyiSDdF3sU2c
Sp3u6eDOUuPiTn8rZ99L5NqO0srJpMQx8vBQEHE3Ap1aCke3l8ojMoKmoGaOnLbfAjn4NoXK9zYV
HaIldogRXeT3Tarh3WlEjtYXbpcHiamX/kVHanQSa7cHq2TXtuDbkX7N6OtIxMachOws9eUlbANq
xjG2YZLbySSVBqg2xfMBAd4p9AImJVuU/ZtKFVvMAmPIR5vOWv7q99FL1Mc/AGJp9lJ4IUV2KFXi
kg4U0kkLmqnZCbV+F3bzJRnoheKK0Po1b4pHNOrvhnc+zfoiCMm9AKgvY3wCgqvlKwixEpRZJFwq
MUVZtj/TGkwG8OFU9U0/1O1WEjy/SC6FWDlB/2vGwUkYpA2rDIWNRNsFQmX6VWhpcQ7q8ddipp5I
h295mt9QfzgiTXAC2cNOTY2bJF/4lJ6AX/tTK28rBUSwSCJF5FdmyEdtApyUIJ60OH6qo8KF3jwW
aIQsq2JvVLknYZPHWNg1YrIzJsBgSZ1/l1AVRMflra4Vd0b7QNCNbpSgFhPTx66p3a4azHTEOnSw
fWZtnZnyIO1K4xb8UsDRUpuLJJ4A5eWhY94MhsT0NTQz+4pd1BVA9PEvRC+ewN+995FLiQJyaPJ0
n4zGS1VoO32sj8jRebHReYn4iNw7qui1HQSPo1qCv2s66FIIUKnE7I1HUtegc0ls6o92Eak2DQY3
7qY9yBStIB0i08hqByCBNpidzED6rgQUYQA1R7Aloc3DVvXKxm00o0g+ZHXrFlO8V+vOSST1uyb1
btuAnL1AHyyaxAvQ2PU1/tu0xSv1UR+UOwVsMpiItYkCfZFGp2u0Q+nnAKwpql3m12bTYkhaan4H
YW1JjWZWSXFbVPjGIb8FbfG+xiUKBnpIZnqAS99jPu0mQt8SalPI01EzSaF8cnjSQRNl1J0n4jfm
5GdMO09S6F4spxNVwsCkSu8GXenCTT2U7bib2vmUSYo3lcBmEUuzF3xLSoozCIxNoT/FTXFrqPMv
OZH3NPG9lAaWOCk2UELtpm17/DeVpyMmNFA/RiLlRw6g0oAqppy/kiDfIUfs1VV5qGfBFHx6iKLJ
kvzpNOiFVWtgMROgkvK5B2RnVyiupnS7OcQn9yOm+MLb2dDtUKg9X3vuUqKZCv4XYai9wfdbqzCk
zDTiBz9MvUb4KU2+DSooHCfwcXOxtLMhOIZBe+mN+WFs6WVMNXCB5uaYh9YsT6YWar9LzLUaWeqK
evBjHBUL3blIQ8ZOgK4DJ6HdJZnBdEBEGATwxxXVTdMSS4xjD4U/K2kAUaAMSIL/wAzVcTIwU+8X
bkoAP6sXXqcTByAoRwzR/MjojwHfrynTXagWrkyVyiS1KppN32HvfFOnwFqZGrPtZEDLvhaxZCoZ
zlBu+zsDPT1irKECjIHVRDIz0M2Zff87iWQni8OnUqxuurZ2+iKRLSKdA1W3sjw5lx0G0+rmPOnV
fTSCeRqAbt2E/hJZ9qrqLaP42TB7U7rcGQANNVX9N1XvHcVX7pIBGYFavdDpd0nUIyYid1msHv3O
+NYa5CQYcgrVBdTfEF2GUEdlkrpKptqJors0y10yvxixfqY9Rv0b9QXxvKmiobCEVvdleRrEx3kA
gsXcPSiK7153uptu/cPpskPY5YDpPH/GQ1mhP1X11GucJrjtx+RKABsIAXwDM/MItITmIOQvASAN
NPnki2c9LO0qOCZk36e7yAeFvQIuNliQ6wvcjCfBXqvoErLNyGj8GVWkAKmcSY0FhnV9ECLQuRkL
u5+8uy5mex8/xDAxslzovhZEiMVK8Wcan0nEWQbv95ngSOunSfNFLENtntP21Bh3179/O8j/2Cd2
CrCplT4kIwQ09Sya4MAz1XgwTE2CZ0I6qpKNQ9Plx0yvLXEYTlI28KqYm1lzAB38fVRsoSyYxjYE
hRvSrg/yQXaAuiFYoeS04NehboaGshRzgeBT5DURcfaWHQ5sEY/2PsXSh+JSxo8VDyGTuzAmUBcb
qCYgMoHuBWMLBi4MMPzWnMae0APd2JK1tOwGtmJfP9JF5T5Htx/buSx7FbGPPskiPYNKJqpwkMP+
oA2SpVdIJFaDU9P0DARLzm3fDuHR4YFBKCSO2IJtPyp9L0V49fTR97nZz/NJSs71/F1UOW/S9wz2
58V9SGISBEEuCpNB8UwU1Qh16BFA1VUS+q5CQDKfU4zUh7pgz6FWWbKSg4szSOBrgFCqJLAAc2kl
lQiHLDZ7RMwAP/P1wTKGXjHTMrroSMaaY1DfpKAxs4apOjXNK1GavwgNbxqtOod+CCkytScteLt+
apvKqOEBJEqEYlaf0ZUmqlAZmKArBo3dBEM1cqxwbNWmSVyJYBQDMxtFNckAKJYmhMPxc4qKmEEb
jvotJ/DphFZSlq9Yqx9gkPUEBLZ2Iu6G0suNyO6K1xotZ9c3jLcaRhPkEWjKmoR2W8AgKeMzrV98
veOkibat42oxjBfJjKQdcoBT4qnte8tkVeMuqBsYR7F5sjbv0EoU40kSlLUEpca+ge3H7EUk9EA0
PFzy4iL6nOv6blE/nxHaQuGg0TrCWlwpnKhS97B8yfPsogN1YSW0Cs+306N8K95IXo8qaX6I75oj
ULpfeEMF27r+IZ6JDQJRFQIdJNJQjF9ieCtHznXV2HzfY6L37+Uxd0kF0fE0LMtbkInJOyX3/wnJ
Y/mda9vIXCgtaguFGpDjP7W2bCHda/Y/EoDlNqfxnFu8XovNWpGyWhdztaZAiDNdh41QHtKX5EKd
8QjObdvfFQWyPykKsNyaAO+omFtGtC5P9aWzsiwf8/iCabyhzcwu3QXBoarv9Oq7oT9UBaaOe1sC
gIAR/rp+ltuB5GrRzBWU6nLBvMOiZc/3hkvkoEbm9k5topnE4je0bJuvD91hriF4l9uJEmSjFPK7
E1/aLsXr3EE+8vqyePvKxHWRkPsRKSEmGwoM85yUjhfYcZSTrQV3Spz5RQXlXGaGkS16Z31EKafE
QKU5HYU9r8KyGXd8HBRbFB5SwMLXC0pWVBVelo7mUOW/Ak09FHVmxTKgpHQeHw/norOF4VJDFj+R
3i96C3w41Fr2qlt7zZcc5z86wVaDI6PpMfKKLpyguNXCUw9y+5k3dcNbCmNL/DE3wiaDmveuesBZ
HSWv2oO5nGP6N0fJge4AYFlxmWBj+6TmjnTAMYHiTdl8ULsONFCJM6Itt6jEk4CWCkUITwYN72ok
cRolOWhG5nRa+UCVt9zXfrTy+KSI88sXroMuAdcSo3OEsp1Bc9yTNOxRegwBJIAMvVeRipP23fSv
OtoJAeYAWCu2SybLajWcuiVybFMrEe7BvDZ0N83wQIKZE5psG2pdx+wAIFwxa844oAgFZH3ylxli
NOOlrxE0s0eDhG72b8tYqcBFy9q8eyuBjPakxuj78tKO1vYPIrpz/PC2bFqzKZ4axUmLp6+c1sfy
GD9UdqGhGTp6FojwSqVLJHH89+ZRATAaLaDKwoTFGMdprEJVzlH2LmWkoEFxHfmm1v9Fu8NQtLyz
2qyifghj7SSSO2k/abgQ8X5x4UCLc1WghC7AZjw7sjnZrqxkLd+yio2nTitGouFppqq+1czAvwFN
Bzjo91O8pB1BLGZ0/TGCQat9BWgymq3VYEhVNDeQZVcvx4PStWYpxraWlq5Q9DtCg5K3I8vxfQpr
Vl/JhGd1KSVyKEF7u0P2Rp/BDwa2atqCrlo41Ih8pduAO+PFk8ncmLHL5SZNcQrF+ER7Haipv6d4
4ITzm759tTDmlpRpUw9hB70ik2rFQ72LS8FKcgEIJAbPzi6bdG0TmTsi5K2klQFkqelCHGwCdGYv
P6JWgH5UTwALH2dtmwHFam1MoKYCP6egGrwvnfrvfdHuxLp6vn7ttwuPgAsFmoqM0Vy2qN0MGELw
F0Qv5WZwZGc+4t3tLSwfSxrjK+87sL/KMANoRQGfzp93pZ2kJoZpQAJR+z1EXtHsm543CS9ted21
EGbXaEsjFfg5S2cjpkZcJNX3qK/ZyTvGJ6gPX8KLjOae/rvIpwPY0kYVQy8qnJGoa+wQ7ByBiCNY
EA4bcBIYvekfJHTckPsREBfhTv9/pH1Hc9xIE+UvQgS8ucJ2Nz0liqQuCIkawXuPX7+vOLtqqAh1
7qc5TMxBEczOQlZmVpr3sL7OaAHIie29ULERy6/EKlOr1bKBd3MvS66eBdb6oCvXnfltXYOYpDDZ
u9dbaZzHs9B1a7QGNQc5LNBTWU6VDs6DeSTS6d1XwlYO57MsEBCMADpELQ9Ips0jml3B6KS3k88q
iIJLUYvtlvaAwwboCEBUalgP/N06CwwxiEIEeQo2HiW3TO0IDxNUs8O70qvx9Kv8xJ+u/upS4DIw
qArDQKL0u9jGStPUjGEzfeHXy2MrHbqJmCbevRIbEdyVGJKsEhDgGR9SGAzBfFCQiKok4s+ev9IN
Ri4CpFEDmHa/awK+xhX6IWMp8GqMrC/KUhEecTcL24rgbGJuF+zqgfTWHd+ab+OxuUF7Dg8gCRgU
iDN3sUfNVe7lLVuBXBATEsUKBxlZbK4ndtF+EwU/LB605gqdFkK53eMzJWA2ww3D8LkUKVkABjGt
I8LLWuD9WB1HeSQMYU8bsAvBMYmmiT0ZThtpXvsqUVpsVKCQO1f2WqMTqzzH5RVJNbOnzVYU+/dN
XjTVs1iLTFTe3PXRTR4dici1KwAUKCroFDQLw42/C6gMKdaTpMbER9sc1iILmrx7EerhVI0vYrR6
S/mWrLKf5WCrKiLUXzVfaMzKXoaeeIbs/hJENXwyILxgNfb3X1KruRBnMWxEBPrEAr//+bKqe1HF
2Px97vrmZlrmK3sJtN3nEX3QRLpXk9coe7gs5oMaLGjJaMECVRYBjOeLwmLKZKYTQN7yJfezVvQi
jFdcFvFBE04Ep0lbLDWg5mTFHfVHuSnssjx0+j8tRs0vy/noJzhB7CJsrC+Pl7UQE1nGCtMLuu+H
xmEJbxIURxluInIzQiB1dixCb+SVWrRkwqipbjoPBz3q7tSCRG5j7vO39JPTiTN4oA4aKeAVVVc8
sVdN48Q+QBADBSztVN1HZo7gz7I+gLeVxTipGQjT3PylPCaH3I088/TOKOq0vd0CNbo5xt9Yngi0
rqvYA4mYX1D59v6PYItfDDPmw25RU1uLNE8q46YHQruTPTBwnPRLg/WA2mmeKdDvj3WU9wM+y+M+
4qiG7WzJiYKEA0YDlHE/dkM3vE6AxsPW7dJgATj8/xz/OancZ8VSilUAK0p2i+hG0L8OypckJ272
h4ztdxE88SJ4YIYS05iwzvC7Jn0Pw+MqDy5x5YivxUf/Bciz0jSk6jsEBlt4SBCWdTu0e9iIQPZW
3muPH03019fimRcjc+k0IYN19C6wKd3OSb4WD9VNE2DQDWiKXnQKa9twxtPqoCTrW4LNgIojtwXr
uY1BsmvTy+6GK6oR8vFF9X7YgDdHn0DBTCoXDbC3HIt5minvWODRoXSjExvltILKTe6o8sO+Qz0L
4xxqZ+baLIeT4spm4STNtQGXjd1NYC3+ID4vy6w+HvdZEudRTeAhFmalyO5612M/qAv018bVbckB
EI5H+Z8PeQp3htxNnGfVqnoNBluNmFPEmNBkfJfrk9p8lmYieO/fjbNe3PXDc9Q0gMQpu0bfYHKt
sGM5iCXClX3szv2uEF+R6scJfcAhlN+3PlSnZsu8j8pV6tZXgN1xclvCTCb27azJbp6te3iax8vf
j1CTr+RjPimeMMKouFGb2tn6AqJju06ouEtJYUa0CYNdDKwdIPkobpU9W1VrFwmGYKk8mbB5vnSv
r2ENIi2oMgA7CNRGRyE3QEha28C+OPy3U2Nhf6OP0tR1iDeb7CZZfjNW1UFPBXD//s/Iwpx1cC5D
12YtV/VaBXrf+BCO6knVZMypYgT5sjrEtVI4bzGrqVGJuam4aXtsFB+De+6gv4XTl3yuiYTo4+ud
04nzF3EbKmIUiYg5lc0cRnYKj2+K7lbIwBYwMIhfL+v2EdWAE8j7jE4sZ0GMlfetddHDboNss/Z+
EkTXmmbP3nyb+T217Ldr8cC10yVMjuofFqyGutGkUYADbuLC1SKwyGSoGYwUfAwlhjPEWFxzEGzN
4GWqfwLCyE7a16mPiW/G/sgHF7/RhTNDwB9mQ1Pg9oYrcAaM5UkNx2+Xv9KuBWItzDIAlqV92A+z
zHbGUHSjulJZ2SMCslTZ4eInwJJM/2fQPmYQG1mcM4o7xRqHdlXdqL6Cl0gMYh9y36lvBLCMaOMd
4qypUarvVOSn05fSTR76A0orkb2iRoWBEidxgcDvxF4cjC+lAyS84PJh7hvF+TA5o4iEsc+1BqFr
RCM/8fXkus0IER+nZbhD5Gyi6gUB7hY5cXTLlt/w6Lir8eiQXfGZgiPf9eub4+S80zBOZt1ii8hV
ottMHp15wQMx+VGaXy4fG4voH838fGy8Z4rzuRUVxOLzKAkDsaDUoUyd80dZnbYJlhrgGdrCy9a7
agV1tgC2bNnRB0Kl/Zt7VolPYiJ1yPVGVV1jrb0qW68TST1ePjVCBF9jDhtZKYErhKjbSV4ir/e9
WT5dFkHYs8EewJv7JPWdqRQ1ChDD9FVNDmozYZSf4CD62K/73aANzitIiOYjWp0yHnlm0M1u7UtX
6ScdZcTJBeD9iY1wYjH2vrrH8M3r3z3iz0bOV+DKymxROsV9Mu7YHFN7BZTM9IBJf8+9fJiE+Rmc
cwhXQarnTEO+Hj+NYzCpFnLM0s5zr4kpXnrqw3FOAt0WK0rkBPlLd9Trp7UM4oawDcr8OOeQgRKi
GlIUP9pW/tZP8U2j6UR2JLEbecExGJxjyBNFGNBmQ3C6q494Rz20n1K0+Kyn+BbbH3bsTc89Kg+W
S62gU+fHuQo9Mhk5LJIIzDHYZffJKv6ZayLy7idkG8vjfEQhxkaZigtGA+9mH7Z3hWjl1IcBo8t4
mfrUyDKhE491BrKMAStQEl6m7QzmxTKoxPiorwkRhAlnzi9/gvt4xjI9YjCjmWer2f8yfFHOnNKG
8xrYHOkzaUXeokVXQ3ovZ18zsyTSr/3KwfkLmVw+kQ29NegDIsbk/FvRqJzxCm/gow50JdIT7aoE
sCwdVQoLwIectYd6lhjNjHw5vmbdSsagjsoJwG0D46Q5NeIh/qOuGDunD1dsI5Sz9DaZE4xFC6yk
N3xhPH7jQf7RuUJQ+PFD8XzZBTKfcEkYZ/FaJoSRXrOPNsV47RqD31pNkPSgnsvKnjDE/a/3SzWM
Cf0evaa+b9U5bpX3ASHpOnfDY341OmyF10htqkJy+etJPKK2sNRViUVW1c2qoMZ4C1LQmWgWfeyk
s1C50Ygz+jQx2jiTI7ilgPF9YXUsOQw3zCX2tvW0oIku28pJ8uankuTL3r3XG9ncXahGpUxDY8S3
A3rlUEGgMt8lrfGcDF2wFPFJUwbbqJXDZZPZ95IbuVzYFMP/dys6L3kEmL8dnaTHHi1G8DLeTFcN
IY/6jOzfNynP2K5JJ5uaAjzaT1n9VHU3EgUlxa7Un28BgEB+FxFpI7BNaqS7vXGYVGwJTM8mxgMN
rPf5uVB6xAFSGnFupWgX05gFGA0DjxPs2Ck/GZHdTbaV2UbQ2q0zfRcjO6EmqSm5nGfJNcwB1asK
d5ZiB2REb9MonHahytyUGM6noAQwmFqKe5dm14MC8xD9bvjnv50hDxaLesLUJyO85GoxBL4vbIgk
C8R77YHh7aUnxlFLumZ2oy7YyftLcGOKuYGpjow9l9sXRrE63EQnULffTW7j16Bzo/KD/WwLFFeo
nwGPGUxIv9tl1ZeiVchQMj221/EPFW/L1A1/jKkTHSVn/SLb2d10BYZqX/t8+Xx3c8mNZM6vhUs4
SpqJXDLqvomq14Mm+bIAZuMfjnIjgHNea5kPJbDIZVeqX/X4Kqm+icOnYT3G1Gtm1xo3gjhvNVgl
2vkh+qkNsGLQigC39UmsyMSYfYpL+rCfsTENcwIY5jTiTv/7YjaPIDNB6w+7hW5FVMo/TuGwoLNR
iXNXmMrOJ6Go0OUMgA/3OTsU3vo8Hhgu2OACntQNewzbUqN2u6nCRirntaxeLAw91hW3WO46IbK1
SLab1Ne6kTANShDnpoYuquRVh9VXrZ/WR2N6w55uNlM1csowODclJmatTAmS/aVRbMn6WorYQqOW
LfdTnvOp8X5KjIqoWEKMswK+BLBqhi9MWHOP2oMmhgexUA7LVF6JbQ6cA8k2peaf2piI7UHKXni3
pVfFPGOzHhH0xgywPuMyKDnWKFYemPOCF3GXK4qDgvAg7wezuRDW2I6xtCiqa4JW2U71CvvsBlWO
3U2BNqfLeZEmTIUxmhHRgLKAfht72jC2a7JhSdzu91mKjTJplRaKMsBbNd7kdbflp/BaQ4Gv+RRh
S/eyY9wvJ2504jxJXJd1qJqT6sbHlTGHHsRjdWSehAaaJK7Au+Fs1ErKfgq7HO8bEIbYQIAMukRz
BP1/xqn/3V/xS+maOI7pJMEFr0LlaDkYLKT0Kp0ocGNKG85vrJE1NREI4dxJCapV9BrlSVcSl/g8
LPJdcPTvL4LNmWUlgCfA7cp66sg7sEAYnQxPRd5WesKReoHuD5mcjYHfU1+bWKsz9hjUa0x4stfg
fJCPkd3fMTZZBj9Z3hbY/lFtydF9NpBsAGKWCjjEXeYXJ1GlUMRVg/mPL+1R+J66hSPfWUFyFILK
L1GY64iO8/5w0kZvLv8QozITpQnfkk0oszVNy7AzR0cBUvexhuoL19QU4/5TbiOS8yWLkKGdmJis
tLD64zH7Wp3mZ11ztNtQsRPnPbLadWYvABaxRcmLOurmMwkXTEvmUpVFrnSwegxoJCx2fcT/Zpvh
EGYYksZUNDJMctqcCLX8IEaVG50aa4gMUxS+Da2MNbnmCaSrt/30P3Ni/O4EZC5pEU0UGLoQbq0P
v9V14XbhUztQGfq+oQIKX5ExYqvxw+WtEcHTsAbngA9WPeUVVSHcT1t/CeBL/E1u1Nog5//apflF
+149gb0O8MrYnLzpPRjnTQIGKaejeOUIzfjCfy9hvLPqodmo33TD5wazOpcd274pnDXjblyaJl01
i4jXIiqFoinZSxTdj/O3xaIAIihVuItWKTqgfRT4tFJ7nI3Slqikaz8rOKvC3SML0B6tqTd4547x
3TrUN9KsYxJ/OACB4CY1q9OiAkx06P3LJ0jpxQXuaJZj7EviEyULNpryypUiim2LMj/uEkV9WQpW
gvJ7UiX2YF5hFarpQHxV2wD0IQyCUofL98HP839L/ULbf7Iy+atQU5ynlAguYjcRoIm6CcmxBRgr
IGB6mr4SVDz7Mw+MHeNfl2Bwaf48ioLeDOj7ASQDuy6YgTsVQejPwOUP2bhbYDrUxNkfotcvmXxh
X4krKU8XdJ1bNwyiKwk9b8thaOj9VXYcsN9aT1TsII6SL/IDcmUwpTDESN1bj3mBr9iTx17+fJhe
cykQUWBNfEpNwmOYnMdQQ0BurxJ7p/Xf21xC+TGo9C9j+PPytaLEcO5CSsKk7VKIGTKQdhpenH2q
k4NZZMQR7qeP54/GTniT2I1ZrQNZDa9qtfzJkHInsXTEgVBmP7vH7pWKXTJT+YBgOlvitMw1Xixs
Y8eAOYbH/iT6pYfhBKKPu2sSG1Hc7RqMvFf7lh2c9qx0fmM8XP4w+38fBNmarGAgnV8GUsswlzDa
gzkH7XMYfgOc2eW/v9+H1s8CmGVsvsg81Eqf/duHHt3kMF4XXnrHWBNnZ3mVgvqw+Lq/HLTeVW9z
h6p37PrajXTO/xXLME/geseXypB+9U+N8Njpsm3MGTgcqPrRrvFthHHfKjfjTo5ZK7AXr8PlZU1O
4fr98nHu1+03MjhPmOfZlC8V7GE6zW8tY7W5KQS7840HyQOLT21TrxfCQPjaRz0kgjSorN3TvLTp
3ZI+ERpRAtizfWMgRR5rTcheR8spx0bxUQUBn340nqJgeOuO+clyLarhw7zNhxz9fIh8WWNZ16GY
Q+QWs4+GoOkyroveLlBVcVRgMDTVIfQua0kpyfm/oZiGqSwRJCttOaj6HChz91+1Yr9hc5DZqjeJ
mL3P3kp+ckDAsnvDzm0dUGRtoAOck/BNzJ4vHSO7DxuBohalMQiPUB1qUBwyHrP5AbnanD/n+Sme
jpdPkLjJfJljkHpTGM1IdZVSQ1KGAcsEqJpSgedVjq6VoIRE6kRdNb7i0VdNPSxwmm5+rZ8YLVAG
9BYd48utnXo0VSjhPd77CJvTlGcpKdQWQUUs73ULI1QJMMJeLx/ifhVxY/mc+6iqPqyNXGFdq9Uv
bgVAqxRBcjIeQ78BGquTsxGdR3JKljB/vgLSNWXYTHMJ3dLyIOWCU1XU8hhxfHx5I41j4H1W0Gws
HsblcRidfBQpk2DZ0AWL52H3mrC2ZjN/H6lT/NJN7+RX7WZAOQMYJN/lx8sfi9KI8xlaohVyq2H+
e7I8Uf4U6cdCpZr5hCfkqxXGCDy1ooR3X1G4Dmp/7VGtGB0NEEVoerNqBRWRKa3Yv2/MfE3rJi/H
GQ+szu+m16G6q9O3/3ZwXMohYjuniEt8pbC/TrMXUXWqv9ohPN8jmcsr+k4xqjrNVbApgjuLyRGp
zJy6M1w2IWGOUuxnxMVUWexFNw9iOBPJH/UtOG+w6CvIl3KIKHS/WV/CMch7om+xm/ifD4pfCIkt
IH+nOcrGceErxoqu/JW1BEpMLSYSqvB7H1bZA8Q6Y6pIX8WisNXsOpYi57Jh7b9DN9ow/7AxXqkD
h0oUsWkN9ImzL/qp+DdZedCQOrCJ/zqg2haEGfBbIKOsZ0IyIFdpAASuYNZf674QWrEM64JXU7jE
YcAKs2SNLPKcgGLkFBlATBPMRzW++kx1lIicQeGuf2ONq7T2uDgNqohFrwSi3ME2St+Mo+OKylVp
zs+EfoTX5tdBcj3rzAVMlKj2Sz6WO/3QVW5bTwiACONTXvs9Blw6Tc41mFUTD8WAJvLkCHeM5gBb
QjdDELvy6xoIGCdSUfzOA/ERu6SoB5cAiL2sL2UxnONoBS00e3ar1a5yhHi+DaeQuNWUCM5xZGUa
5SUT0cT/aIKnRkSesv/3DUmWZJDs6Pz08Fola6io2IsTzDUYMt2tK5nqTuxb/VkGZ/VZWE5jtaAf
wh7xbIAnOolHtmZMd4D+kEqeZXFWDyZztVY77HBah8HrQegnOMotA3QAWpJDw9ntO8OzOC4AtkBv
L03ANbnZ/BRaWE/TfwgJ5XHfX0kfDf0shTN0IDiM4dQmbAF0xss+80JXvh98Ici96WB9vmzU7+/M
S9I4q66ropWqBUX7HNgeKgqAGnpm01E8NETF4g/VnbNenHGHIbgeNZARuLPqRMkRDRW9XdDO8fXw
cZWObfLW1/dtMf/Vtf0llq83yms2GaaAKU51yp1k7T0pHSmb/8Bsxvo3+lkG99Y21gnDjqz0HIeh
bWnTpzHxAN3qqqBvn40rSTAe1Kqx5SojJO+7/bNgLnAKyWLODZvS7wTNTs1DqH5KTVAG9AqAYu97
imeG8B/8hHExWPJcCTCWKPppivd5+p2wRmU3ZJ714Z2HPnaFrsN5AB578JJD7ScewN4e1gWkrW1g
uUtASNwPYmeJnAvJMO4n6APbBj3p7+VowRmd5SVyCrd0qKlbymGZnAepq9VszRYOazj1Lpa7ffM+
/d65k5uCNpnBqF3WjvpenCvpgSCMiUPEk1SSHMMIbzSwe1wWQfhEk/Mf8oh67YKg4ir9oZ/fYuWU
jBQc/K4MQ9Q0AzBjlqhy12sQGDhAgvTQlFFveRSBkRJRE0/77mkjhLtK2pqBGzbCVUqP1W3hhcfw
oAUAqcKQmkJ8lv1ywUYWuwabfLdNFzFLywGHZk+e/nV0x+shEDzwiOjHEdNjgeqnp0ZyKB+8aw8b
udz1iiYRo6dsMLTvDnpyG41E5Yr6UNxlWlVJKZNGUt2xPeST32nfFeHHZXvbv0IbHbgrlGqLqi8o
neIKrT56VkF/ZX5OridX8jJfe7UOhDxKJ+4OmeiRKTp7m0yn0UV1AqAehsemPHq7upaRc062RBrj
rlfaKMndqrArJ91qZPYgmjzRY3sO8bNqsxxAcKvnyyoyDT6kAIaC5WOs1AILlQvMBcYqooGNXHfj
CsD8L8LS21oF5sW+cQTheFnYfnpzlsYXvgG6WgHZD6+UzgsDEGNdtc/i3eixMrv2+lfD6xthnOeo
i0Fo2gadvzJPQIIEw59EbPKmdq6AiQlku4tGJcD7d+zXab7rv7nbvbCgi2VgCyfN2Xp8cZjE9fPl
M6REcO4j0/NeKVQ005fVK7tb2ST+/r7Jn1Vg8jcqSEMWDXIKPAFLD0LrpybcGkluX9aBMLr3ksBG
RhWJU2HlTEZ31KLGx8a3PZXAXDkuPeFumUe4YN98ibub1joSJvSP9BKkQtf61B3K6sdiKUTVjzo2
zlPUeVsJc4P6mF7+ZFD9Vn7Kxi+Xj+0PYer8bTjPYFmdWPcG8hW2dAXOnJPlyZ+yI2tF/B2uxOb2
cI6hlps4nVM88OUlcbTiGNY3kTAQ+fkfguEvjfgiNjZqRVOwDATeazMoOrt010OBybLyYHnG19Wp
PrdYhW8o8lLiEvGFbQn1BEykoIIWJthkHAVHmEKidcS+xQXD+1DWNvtwLnIsCqTLrbyeLAHFrN6b
lsd1fMpJ8BRKId4rmEveKbGluFZc23N8bKiqNnGP+KK2mJp1YaKg5UqAuonX61i5a/vvs0WZOPuh
l46NyyLCoc+Gdp7g3kCYK9jiP5GXOSDH+cmAOy3XILwdFZH46btBNhTM9eLRwSLSEKyHTrDH0+ih
eX/QFFv+b26Cr3Eb1qSuZYjRgEKYbC0DkVt2UkKKzpZwRjLnJ5qyN4tJgHnXc/mIUYRPU5kc65ya
jCNvL+cjVCHWNRC/YyzuFB3kwLozfOkw2m+DmzjWQ43NZxoagdCNL36rcpKBAQsVktR4ExLLVqN7
K34jHC0lhEsdJlVLUvRh8ZkWANDITnhCin5bH6oX62b11EPyKSKXqAiHwZMXrGhNNUOKGcOwvM9y
d0oqr7dup+TOtI5rOBMhmJLGOQxT1SMltZCpyMlLzchBladRDVrNLccnqRUd4kAJ98GXw9V6wR+d
kWamx+jAVtKmQLqqn61vi98cWcl2+l6A5J7wwdRnZP++yTPmLBwtSWLRJf62ll/k2EvHA6EZkcvw
hXART3q5XRGTWze7ZdiKCWp2+Z3gvSmn0gNVCOLXdFCJx9YfXkK/AidP+Kwugz4VCqq5UybdpaH1
2YpA2tkOs6/OgMxrhR+ziOmpMnoaK/F+GpKXpVL9RGkeL+tP2RH7980Ri0KoNFEKO1olsL1MX7Ba
6+SRb3X3TX81h381DnTOShTO48RKAjB6nfVv80/LEpjpaEtmS9wN4pOqrOK30SnT+2Hqshlurc3v
rWF2G1Xw9bmzh87yylx/unyE+2XYs1J8iUMzulAWK5xhfmxuGVS1FOSPKWoPVKNo/z4Y4FyVZAM8
51ySuoj5rBUMry6vq1MRx4dyAvy8ogWXFaLEcDZR93VndjErYgsPjXEdA3YKsImXZbwH5o+JwlkX
zhKWfpAyIEbilYxioRxoCODx5/5a9oyX4Tb3sYhx33o6tpGi1/xBQgrRozk1goaJag394fP9+iV8
kVkZk86YZxaRjoCStPNPhied2Pwd9fn2k7yzIC4qgTMtmqQI1Q9ZTu6ScHxbG8u7fKx/yIfOMuTf
bV+rx0KwKhQp46MZANP/MN3rIF4Eit3/BzUhpRAXhNo8iwoLuN9u2hyE/l4Cp+9ldSgB7N83N9ka
0qaLOnwaK34c9KdiINzwflg7nxa7CZu/X8JRNO2KsCYNwdIMtjX8s7SfZ8tyL+uxv4NjnAWxH7IR
JOTmnGes0qrfqKf52KH5mT3l38WjElinBvtN01V1Jbimk/h/V7feyOa8xtCKIsOmYCny4ulo9VqR
Ld0ugCkDcdT33KFWrP/wzD0ry/mP3pjbqYvRUend1ccgphPHtuYxENTik3K8fLLUF+TcSL3mmjTM
bHRmsbxBja/KXHZmM/XABUokQYRbtLiwousoXGNEEcUvw4nCzGmi626gyuWExVucj9AblA/HChYZ
zYcwPI0D8YD5Q+Lx6+NYnINoVsMMkxw5Vf8OnSvZyrPgsS0wwDOcpoNJ3DDKIfHcSX08a1UK7io4
JLb6Vd28DT6mQkCbRKfg+4H/rBvnLtpR7acGfJxum6zH2RgCQ2+DOawCcFBfiRkJY8D824UYxqOm
13g8mTp7DcpB+pnBEAM2obAb10KpN/2K1y7hRpgxX5LHeZFRFK0MTShAvdWTjbqvrzTFLXqzgdiG
V/2aHsRhRdvj8g2jLJJzH5G8qGLOXhpT/5ZiOyej2tjUveLcRZhOqGB3FgSsh3j4KXX+WDxe1uF9
LvXSyXFuAmXySo3Z3ZUDUN04Q2AeAZTsaY8GdsXZFgnQJrB86lOTSoTjN3lkIEEX1LZhmG/sebG+
MVaaDlgX+nG9EjwFbDutHd8mrwwwUnq9rPTl22DyIBtLVeaNxCAiTXCuZ8X3GswfWWUrmhuKT5dF
EbfcFDmvMpWVohoqmlNscIRt88Z+eM3GiQo/vaHG7y8bjClyaUedTSZKJLBII86uJq06rZnltAq5
OMt+9J+NxhQ5d1JmXdPj1cW2nd5npBjl07EHlSoQxV1qF5n6WkzpTYZgrWWl9gsgWAzhQZVPefyq
9ZhuHX+2WuwRX4sFkUuKcX5EyLSiKlbk3mqweJY/3GDZ85rF57ZyhsNlYbsfywQtLdjzJLAGcHqZ
0bokjc7A+8TnJfluircLwKEvy9j1ixsZnD5JI1uRUIloXfrmiaElMMuTSY6b/VHHjRzOFfatoZpg
W0Iv+ykH/3fsrM/JUzEifDbXbN65+J4g0/lxWbldw9gI5d1jpFkFyE4widgrftjgsaTPnjL1fhIO
7jQ1xFnuX+WNPM5VNplehzqjz5icPrENfz1gmxVch/0t2ul0dkqop3FZ1Qj2SjVnwIviSfFfDJuF
0coBEoD+Q7XZ/thywJeksqDdq31WUuPSrKHpzd6YEhXbLrOL94tvlQcDc4igUHat11AmLgFhoBr7
OZvL3S+KojRsbSI+tschKIL1nYTJOF42ld1keKMV5xgzo4xDtWfJ4+KOs+UMg+i06U1utcTgyH6K
v5HEuUZDk2pBYUnBjQzsRUbV+n8RSiiVdrOPjSDOfUR5j45mgqml2DqYQOjvep0weOrQOOdhZVqc
rWxjZ60/q2Z7O7VfrepnWkwPlz8O4Qh5TtRZHfsm1eA8+vJGTfD296Ocurz7pwUIO6BqaSAl4gwA
LA3ZrAkIw618n1XXw0Lh0lACuO+ua33fFexzWFHA0K1SYoj2D97nrAH3vfV0njV5QoEwPg4Ynsi8
7Eb/zEAi0Yl4ohL4/U9yFsZ9+jGNOkFQ0IsvAS9ifDbKQO6pXg6pERc0CrHU+0SCkPAGWQRWpuTa
Ltm69HWJmdDlr3D+zbNOXLjI60VXlwLhordyW0RttUieOtPH3JUyEO5m/y25kcWFilSrirgZ4UXV
ADxBvvBYOMWLjhFecOYF0ivFY7G/N3uWx3eb1SayOnWBcWgYvRqcxYnvsQMQ6EBIqhzT1TzGSWL6
WEd30symynf7juLXyfJN56WZsmQwUL6bm9Mg3oQC4mHiFgbZVN8PTmdBXLRQtXoxUxXHur6xjaq4
tOvn0Zlcxam/Cm7zfNkv/cGXn8VxTkMfplwRMwQn4Ih6gKQBR6B2YwH2h6HRXJZFXDi+C51ijSSu
WTFgWY89MAqsW+GvOF02NsI5kERK8lF+txETsBiA1hGcPDaImEHpwTmOCSz2qbTgZRAZC5jZwHQ0
xV5Dsp3spw3nL8O5jmnOGgUYoZhBOI7H5MT2whmPMcUlsF8B35wZ5zNELD3NAC1kqPhsfXo8tN4K
jL+eZEymzo1zGFGrCLMmIXwkGcPYy+3JxKjN3yF8nPXhe8xVL0q9xgAcwmRywqS+FkRys5iIhPxy
VWZmYZQJyFvXN7ZZXH3tD8t9+VO34wO4PJ3mO4VoTN1TvsEcz6WcrWyuMIkd0MR4qQ9OO4CEYtYh
IwsXxJfiV6xyIVrBwwCofMN8StKrVX/RqGlCSgSXS+SZ3KklSDZdzQqM/meFMDy8/id/w29WDdGq
NIsKe5OlQEk+K4arUaUlIirw/eMl13qjzSAiH4OmF2HNbildx9SoNmVuvCtYAJwHUjzAwk7Foe3r
N0HJKOhSShXODUgiaKrmHDBdTfNlmO7EoXOk5j7pZ/fyV6H8Dd8FLrpUFCwZddpSuFmGfwbLU9Sv
ynoX6fda+pIsP+biGyGSiKl8T3gZ5VCqmCX82wTJTuNhDfL3odzwlhrVJiybbwhnWbRWTYM8pZw/
LXluZ0psV8vy34KQyqUJeTpO9TSipllax0y6bkYnqYh3HmF1KpcaFKMmFyMjcpqTxsWs36cxk6lh
0v0gByRgQ1QZNS33FBelYTSUCFYn674gXU9S6qrGCGyXr6F+bAdXqqkm6f7nOUvkDm6MhyRNYvbG
CI9x+mnV7Wx+u2xv7Kp8qLCZZxHcwfVSEQK7YIEFWDfqdIgB7gJk2bWIgfpq2oYlUFeK/cFLAtmX
3FQYFLOq0VFGOBrB79A5zc07tt/ixwcgJAHLU6J4y/ZN46whO+SNwLzs0rHqUAEYraNVHHqNaBxR
J8ilWMMy90MD9Ac3KarBrkXjJtTql1GMjubYnJJ0+Koqw9Plr0YZBudkBfTl6zBHhg8ot0cTSJt6
3R/bSvl+Wcy+nz0fHedn5Xqd82rCrLEmGUejGz9FWGWWl+pBJosbf3h9nmVxGVcq5KXQKQiyjPKm
vs+AEabaiy/78w1dzCMU4zuksyGpWSLrKB12xm1qLXd9vt7IbX7Shvrl8hkSn4rvk86hpssr48uY
u9RL9fihrLGZWFP9G0oM5ypMM9PKuMTxxcNpGj9bGFShqMr+EA1/fSK+Q7oqMVg7RUxhMtT88bge
1GNxVFD3JPN8ShvOSUyVlCqWivqgGihoQw1P4b0MuJMrLVg9wLeUdvqP8koR3FBGwX7UxlHMVpWn
NQO3kJq7fOrsWP1qdT/WlWLj259mPftci/MY9ZqioCsiRWLQquvnzCueMMjRYZoV8DSO8Mom0Uf0
p/6uwsMGERW8kSwgoP2u4VJHaSkpONb0OGOAKPESmz3V2E4TBYCx+wXPovhquVKFUmwipXVz+TtQ
ZO24fYuF2b98t3a/2EYIF5GzeGpKIwExxTI/dfq9Klj+NN2Lcn64LGc3hGzkcJdLCQ1zKRkqp1J9
DuvSblai3PB+8h+i4kYCF4blZhBWEThIbtuXj3X2Os5rbmtL4xiR9E0qQe3cF75pLp6hLl4jgG0H
WVSvd0ExpoYthVFhJ43SYaMq8eJuCOZCC5QpvdIs0Q4BRzivmIYtBAfrMHZRZ1diPB+jpAGCpWar
sRHMhvJPNGrHaQFFfSzc1P14xH2w+xLVMqGIbGPA3qBZ5K+amdimkfhtjLJdEZb/h7TrWq4bx4Jf
xCrm8Mp0s66CZUl+YY3tMcGc49dvQ97x5cI0saV5mxpX6VwQQOPE7mOnYea4rb0+iguXpOhitniZ
n/Xvr+qiaVkQsJSZc5tbbSi3Fi6MLOZ2gWCy4mVz10/SLwtsID7GWSpoJXZY2INT+keDXiDhMdql
J+2hAo2Z4DZoeuI29NFn+vddv1llzi9YowZRneG1xgfRMfzosfSJn7a2fN+DqnL2ZEwIg2v5SeS1
Sa/fzpth5kCncqkVkH6AT6QlzmBajmZiEyseJ+b6vv3CG42B8TjqyqijDV05Tti8tz7Udr24NQxi
y+1ghkZOs3RQ7jLOg3mYI85Y1/qXui2BwWo0agVqFyHkhxptrqBx69vMY9lZzxYvlsF4c7kiVugf
x1Dwqff1Y3AMH6nOSHo1XcN5Ua/KHWQmvdZpTHQizbwpUN4CGR8vyMaS5Dke9RaSKiWUcHJPljhB
7fo5v31E5v5K4O0vexXsCEH+vS8sO4xcdQL3G7qRosjZxmrOelgZeVMn6WTQyd180EAxV9lauiem
ZW9bWXdXb3vGCsnHpqmK8fvU1SHa50/E/ZZ/hvDHO+sWl/KQc4905rqacVKgXwHuavRD381ut4u+
UA6SzkIFQ/dF9MLxavnrFRPrF0Kw/HlFPRQjBjTfucXKA+RNKLcY5vNqe8K0+v/DLbbetLAwyZxE
mVS4CA0aS4ILVXGNfeOu2gmO9dyAuoC6mcqb9H17G9cPy22VzMEUhUlX6iHBfGgV7XoFzqXaedUc
fMh/+GWGLQfJXSVXiDBoO9ylIZ8bnuzpukzR7dOxFZ8Mg/5FOQMIlevk0FJMeGyP2XHcJ1Btrw7k
BLfSrUC1zGv047yb7PAhHIGukAJ4YKMAgtjpIpbPofa97z6UQloskPGPRLnKhX4Ey9VoZS/Q+v2u
jMKuFRsO2tP93niQ2bKPMlUVplHhaChCdt+Qwkny5JHExt8zAa1oh/xIp4HZ/kNdF4vV0WO6iDym
VtYLxZppuFOjRNjvBxDx8NuC6AXaWt1vb5miTUmJV78eKj/Qg+c0SDykZx/moT+kUudk3Zy72zds
vRiwWBvzuJUJiKxaKhuqCsklD3ovFZWHOJNceZT3yD3ZVV1fqhktvWbiZmnA03hfx87b3WNQpTVU
PbBGnFBRDr3Y0I5TYL1w1rj+vv2ywdYgjFlOxLJHq3J+poNZ6YEquxeXBHlb/YqdxIRN88T3HzmX
j511QzLGKIsEBftQvGTJnaFErlY/ZzWv8YSDkmxxooprM2taBMaiGTtB9ayOhdvz+flWM4O3k8IW
KJIUJENS3/6iswSXkeCo9vuTE+PJ+T8maujD+fuNQMOkaoEHwzKZi9eLKSFFb6GQ4AlXGMZMaeVW
Z/QiYAiF15a/fv1uxpjrVzZDINUVpr264MmavpXlHfhyVFyE7FJ/iFAVghT/LIy5dUFKwNQZgVDV
Esgxr7MfktTcRdHIyX2un4ybGfZyxWKcQLAFfYaWeEit4GxOYDSKEn/7gr2/X1v7xLzTZSm0xAgA
kKPffJ52oz+7EVgJMieAkyBe4zvdJ57lEoi0iPa05+3cOob8WiabLtQLEAYZIWoyeas/wWc4i8WX
7RVyPiSbJSxHAbBEcMW60Nq19eiCfMPvVZ4G9h/cuttKGE8y7bKJJObNrRuhUwcX4b93DNM9Ni/I
5Zx6Nmmo6U1W9EaNEfF09HOlAfVCLZzLafJzUXNyhZj2aKVP/+5z0g1dPKhZ1JmKGdLsU3sMhk9y
fZjSh20Tf/C5bp+SwQ6MN6L9VMCZpAzT5heMlEEG8MvsTx7cLy/aNa4eXN8Zvi48r+sP0cfNNgMl
SMwbQxUBSmh/0Ywu9tBTD6X3ThS0L/bbK+WdTQZLyFCaejlQ51Lvr2JausjQfCJDxrnk6+nlG2ZZ
DJhMEEsvMqPBLRO/q9N9Xz2N4C4Q8l04P04gbQGITTzv4A9Bx+1LssjSDUEmDXBP+tfw0fBjv32x
vNAr971X3zVP0173eI3m25dQF38btWjbMMYkLm1cDnY6Ah0ltGmQDyZ0NM1gPF3gsSJuAhgsMokm
oyCBLFXwFOjUA5UliZ+kvemiEHufe7ljhva/gkxYZIBGza2kQIobLJbyIe7uk5i3c+8MFn98E2CB
CQm0xlI7Bc6k207mvmr7DChW+XUV/2UR8ZhZoVvNA6IfSzoNor4jimCCkTTaR2b7d6A1oy1P5DhE
5sEUcx+0OsiIK/VjHI6HdoTafJlAoKaIL72eo707Iqe2lU56Jzz+i8uFVTBIFchxR4IGO9PPJ0n6
ywxPsfChXth/LhZsMEjVJsEE9hE6dRBcazG1FVT6t1exHjf99xbBAoNHFtFaUoPowU1VZ0iIbSCi
Ds+VsCOYGipf5Ga3bY/+va29ZyBJCgwik5lSzCmP8/ikN1+C6ItocvZmfSZq8eEYRJrLZkz6EpvT
QrmIauCFHmSizftkF2HOAN2bnuQU7rQ3G9s48ERm15UHF9YZaGoMuYkCmvWmnSAGBkZyX49t80x1
bes7KmakOYkbvPeXtoeTAHImLlStvd50HMYULVVVFY25ZG1WZeaooeo7OKJD3pqdfi971Y46XuGF
fEbTg1fA9dJiz/i+vcVrr87SMnMxKlMkCFEBIHp4qVIQpMiPpvYRTbelEeZmiLoakYwqKgRy6ETW
ThN4mkZryLu0wNyMwCoEcGlhE9PmMgFA4rftz7TqhiwNMFdhQPkgGUDFjFEffadfaA1h3Jdf22Nx
Ds6UpRjcOEc4dvuRVzPhLY25HYOpDJoegg1ct6av9Ui8SDZehnw4JmJ6Viz0wquhj2k/d1IraM/W
hU2I9RCMqpcbBeeqrgGQJJqKJpuWLEnsk5pmSdZIlNI1Rjq2uUQ7ym4p7hvOQ8ozw7yjeZCTrDbQ
2ahimCSF0g0lBEf+1eNs6vrhvy1H/l//NWgi8KjmSBg2XnYnYeonu5jfg/NPa9AadyNf5lWHV8sQ
y2/I3PVAKWTJCt+NUpJm0EH65BMlWtLvp6tx6Z34c3WmDIrN3noLW84Tsr7kG9IwaJcoalI3IZ7z
WurforL4S0us3Sib//LUsvWBOFPHTqUpPjpWjpqb134tX0RQX2cHOsI1on7JCZJXxegWV5StFcxx
YUpdgN4M+oyICA+goSJ40Di5G3fiKbwGd7ygi3M12YJBnNdtJWYAT1MQXbE0d3k0Pm+fUc5+6cxp
GcuWYhviug6dGTK640G4acetzKmMrz9AqiXpFuivDTazrUSTVCoBEDqKLoJyNbKdYX6OkK6MnMLg
hHQ8W8yta9VCj3EDkAcSBdeK9VNclb4UxAcop2I8Ld+NpfK0/RXXN+q2POYrkt40iJohUG3Ey1A8
zCGnL3I11pDQr/jP96M/YBEJ94I5RbpJB61AcaE6iTd/RYsfGGvAUbOD6jjP718/Fjd79N8X9jAS
JcRxiVRorydOJiMbFI+2VYccB5Bnhn1WS4z0pWKPjgwomiMQsPv4e/oR3cPlt2OeVt1K0zapcYsm
0AzXAlydTqrtfArdNio/dmVvH455TWXIgM9jBl+zKHbRDBUfmdd3xPtmDMIWs1SC3xpbk6QeqZ6I
4UQ84lDOcWbbKIIAkgxSCZeA9Md0Tuw++chAy2JP2GkGXdbyMMtwni21gcTW7Ezq2eIxxPOWwQAB
NKD7bKItnbM5n/qC7CydR131LuzMhjDLhTA3P0vHNrIoX2wKj8X6GoEBKceIWPvSPGfPkdO8ov3D
rlUb44QXlzx0p9ibTuYdT9GJBxBsEcHKG/SRNjMli5/9EU5N0uNpApTv20vpKPfhyzbi/cFh/XXQ
2WqC3JiB0oVAWfoAj4e88g5gPHwJDpWrHCcXmfdr/qX5Kma28GnbNOcCsAUGXcf+9G0Pbz98GK1T
0RxU3gX4w1t/Wx2DGVMTDw2kpWj7vrmjlEKKaJuHyEk+Vb7gaofsyksG8lbFAEckRKU5U5RqJPhL
z5l5yIbP2x+Odx8Y5OhSjPT0MbApnB4EZQfSug85f//4u2jz+t9XQ1YSrZqotEXd7pUKj63um2nu
bK9ilVvl5uCKbBof9A5qblCIpVmw8VPj5E+BW+6Fu/mOkmXUu+I+85tTzAPe1XTt0jATNsSSZsqI
09C/dmmhR0z1hNSDfKVNPdCc4ixzfbN+fUuWNynMY1CtI0ULGhwfittj9bz9GddyL8vFMMAVWrNV
W+DacUfjW9Hk9oSOifT5/+gIp3/od4S8LYQudOFKVKlOMNwOqG+8/oyuXCQso7N+SA66nzxZbv+2
vS7uLtGLtrBHzAmimJSUKT7Q4C78on6SQBYwuDlUhWqNs02r6e7ld2RcmBZqLtFsImR9Z6I5z6fy
ZOwQwD7EHF9p3a29fUcGkprIqsvBGtG5nwqnrOwhFmPafa8ekNk/k4zsq6Tisb6ug9LNJgNKWpbr
YkvTmka4awXDseTcToj272DDYmCjUXq5liUA+mjotmCNTthptpQaHudk0Pv555OIV/t/T0aJECSM
a9T/pGsPQZVmp4V2UUCZlfLrzJwelO37K7HZ2gB67Koe4wXJBUyI93A2rfpDgc4/uyOx6Voln8qx
CHU8Gd1ZTSKnBj+0Fj70sYIcOs5GwvmAqxyat7MOzof//YDS1FlxZ0w/04izm7ulS+tWpZ9eIXSB
iXHDE5/RIHoivuG8a5nWDvEy7RByefh4n5c5mYOpp2mnYy8VspvG16nicfzQtWwdFuZQEjGwVKFC
giEpfwTza9r/1Y/7aMZ0lb99LDkreQeYBV7RGqdUm8jNalN7l/SabYofabBd7Nt7c8/CRJJqJM8q
7NtUfMvbh0g/5+CN217GapZ9aYTxtuusHAbo3v1Mj/Rn1Ys84Y5OJ1D1E/293zBxUdp0kieFc9e2
YUp6d44X6yMT0eWe+qJFGO1RTfItc7BbbeSkDXlmGPyYaskqewE9trHoj9VLKN3lJsdF4zwn0nuh
c7GUriFSJlbosYWqhqtpMQR+otBNM6TqIRrsWhY6vCHiu4uz6hKDQXR7E3lnkX3McqnRVZo7BHeM
LaAC1PMU1v4QqPwCLbYjFXkMTAEQgBbNor0zt7kGZPjA4uGl6P1QH7dXxNszBickoje6NWJuq9Mn
X+hDcNSAytDSOAkaigYbaPF+ORbbBhlDQwwb1ILjA5UZSv7LTsTLKHP2h+1Azdp8CPoEB92Y/SR7
k/vv219rtY6+uMRsnq4MTT1JSnwuWiii7MSQVHuLjuFueKU9ytO++dryWtfXkQNt5aYJ1jZLZZmK
sjZU5clCYlXehfvsWFyyyja/W4+zaCsi9L6tHe2/MDNbxG3o94Zi82bGVot00uInMMckgladpdPW
XuGkHq29vuvAq+mpx+hUXaTMbmmH9pkKD43efIeZHCeGthIvd7R+Nxa/gnlz4JJbap7D3VLxIYov
4VEHC3XzioEypLSlt+hle7dXT9PNHJtDH6NyCoeemivuuhjUKPvtv786Ibf4qmzGfKzVJMNEDoAM
k4YW+OuUr+ahNqBZJj+Bs3Q/nKZdepYnl2N39dJLmiyrpmIZJjto1CekU0XagtJ39uTQLnSh8iqH
+iiij6CUdr7z2xDpGfkNA25W2awZctz/lfTpsr0xzU6gYsQqQJgTKJjCFrztRXLWyGbQkKOrKkFF
viAv5kMq9H+nY+QVQfz078wwr3qEWGqqQbOInEFnJ8muzP6eQk5xgLcUNhStyxmPN0JduRC+RHLt
J1HpFhVUJv7dWuh9WIC0LkiZjgkd1IwskANX+RetM93MHDifbD15tDgIdL0LO0FR1sXQUW2ni7kz
/PxaOLQ2pdvyK2Vt7E4tb2XrQe/CJPNwSyRNZ1nDiJb8YO5GzPRiyPbSQ0wCFf17Hk6t48av68Vq
SaRjU4RWYuFNnT2zu8y8KjD9sVsXiQFjrcgD/HW4CEX6QxwKO5SfxvL7wCW04K2DgdsxFubMpIkk
Ep7G5mQZHLeUdxBYEhBVjXNxFArKAkwbCnXwNSPkRFb4rHggSdhFXBodrkkmR9UlszyEGh7wCXlg
1WmvVH0wP/UAPrSIXfjTCJzLy7KCEFCkdfOMS5Wh90JVJDtPvqVdyoH01Wjsdr5ZYhDdKEBmWKDo
URiirZm5raMYWvw1h5f+QyqvcLz/eT1UBiaUQSTTFAOOEDbZ6UDsXPNTaadBwdEGH6+4L2Ovbw6N
dtiGp9UZi6VhBjf6UUDRfMR5pBrpOoRhDLg8IADuDvFx5qVRVz3WxSoZxAgGdRiGckTyABzbsgx3
8tGa9olk1/o+Uj5PPDK9dddyYZBJHmTaHNdGi4PSOeVZ8SnTIpXdUB4bzIVhQPZv8OJwHBDOi6wy
QFIYeCILGUBcDV96/Wo1p7F8ktW9Oj1qMicZw4Ngdio/LfomFAQkAkc/2FGKV8VyO9+0aTNoApHM
79unhXPv2Ml8y8qloKKiKVPjm2HnaJoLzU7Oi8lBSJa2toJWT4ZXBWXn6SXO75SS8/Lz/j7jXWgZ
VHxHCUgfpLqtl8neGmtO0P7uCP3+mpg6xs4lRZfYznVF7mu8+Th3gTnPTtoLtiIY52yO/VEfDrLZ
XBuhtxW53YtWuRMLHSRUkxOQCYNwlaPPyl5RylNYoZ6VSU5vWJD1Sd0W4/Jxq3myDL6C6VFqi9cx
0u71THkUkbkUks5J2txT0tLk7Mn6xt/Ww8DTnBaTEbZwqoc8xtD/sdViJyFv26drHW9vRhgo0gU5
M8YO/Rqq1Pp9LLlCYvoCOfQqFGxTnhTwH16tmzkGjPQM72SG3uD3vq/qAe/WPSiSvcmy6cio+jVW
7Q/V26SbSQaORHOcZiXGCjNT2U+FN1fFHqo83vZ3XEegmxUGgVB4bhOdIGCf5MYp69DDuMGrpiQv
JKih2lZdQRLGSUXwzgfj1WRGnKTxe0N1PHkYttw1KqaMA8K5V9tmZLZVTzDUQUQXAmI7wZ2ib233
qLX9vzrq8m/97qBi7gUqktqED2r4nTSJHYm8jjXO4ZPZHvdiNogiIwPgWvvZF73smD1jxPE0OrKf
et3XkstKuX25ZLbl3UAipG56TO/EZuuAKcSbVL1xpjl+bZXytYyxzO1TyNsrBjKkca6yIUUjRAM/
pmrqkxSITtIQTi1sHc3/OewyW/KQ1XTsiqHHlRJKCNoKPvrzOT4SzwQDFJIgTZFFC1JNKttz2N2r
XcB7yFc9I1kWwVFiGpjHZ8LRWWtjsIbizjae6IAg7viTGDq+gki5/xr/mFzNqdAcfxgvoZ983d6q
dTdiYZ3Zq7GLhEkG1Y5rBIcSLQdwVchjq+0gOG9jKsIeq6c5vxfCJxldMxzb4lrgtbBNz9EicJWI
lFsKbRD4WcuU9skuOYjnesdjWV+N8BaGmG0U9a6uphCNAhOUJzDDgZ6mk6EMNqZNODC1nlNbmGJw
vg66Sh/F/OeaaPM/ZuXoOP3gWtBbHPZcNSre2hjIj0ACZAUjqEaoQuz4VO2i3eQ3bvo1O4Dwdh/5
gSM9SbxQU+ZsHYP6EkQlg6lDPYxKPRMIzhAXm3euDhn6VT7UgXP7pgY9R4tzMpo5JL5a8C0EOrZQ
DU5Rr56rIHS3z+N6K/PCDhPMQsEg0aIAUV8c2dGP+D6FYB74qV3NwBY27ugZD905PFAlkWkfuryJ
Oc5OGvSbL5YpKmJjaAmenyx+6erIHovazfRDyyOn4d15g0GcUZaIYBDMARZehyERyvsQfOoduq7I
1x+3v+qqS7L4qAzAaGMYBsWMVPekncLhWnWFXScvuvHWjCeLN8C83ia2sMZACqmCPBpEnMv5mh8m
j/LRY1QOekQZyK3sEjtI9VxRbTIfMX6zvdLVZ29hm0GZYA4pAys6QTTxW2cOh0SeHU0h/rYV7u4x
CFPmBLOBYIB6p8JsZaeH+pGj7AZXdKfECUG/ybkX3I/KQEwhCrFRxeSdB/9O88FI/wbSV8hiBC7A
7dAdxL1+1/vlM68HZT1FsfikDMz0s9ikmgCOIzo5oZ2I29PSLqYn4iOP/n69enCzxepk9mMjQ58W
ZF4U0qwrTYlgVsOpdqhdiyEYw+s7cd/HH9P4lhaGGdgR+67U80b9KVdU+sUuhDso7SjxNQZJeQIK
vPNjMjDT5KC9rduAKtLITmNbEgoVmpebYIuiD5TQedsHlnMtTAZtItBLWl0NOloUKL5nGXYPc19i
1nP8KJ4ZBmfMQQbPXI40WtQ/R/WzkEV2M/y9vRQOQrPED2UBAjQ4cYjti9pBO+gcynaqv+bJbtsO
/a2/5RAWJ4JBEsyaEEkT8aYPlmeRqzhxa6B0k7csMCCCUQV9kOk8i7CfHJoqnk/BJ0S9kEWInngA
wlsOgx8xSUlRQELNBRmPm7TyLqpb3rQM/cFbC2KQYlBBJEhanLLeV3xUqe4rwH59mq49ppT3Bkq6
tdOJtvQW8GCf5/KxDaLmTPSsoruVv05OCf2jwDVLu/Fnh+xpqyZPZYKzVJb1IQv1adBC2gIonC19
Vw/f8/ma5BeFR0DFM8QgxWQWiZrSnqRyEK6ZqNiNYTphOnyKu+RZj/S/tk89D+3Z1NlQmc3YykD7
Gr0aM8qo4TE9FQfqbfEq8By0sBi00HvoY2kq3EnF2of9QW8OWfyJsxwKbBtHkpXPVLRStQoRLa85
MDYJhgNmDRW7DccnbZS80tITe1QmP8yiXWUqj4Yle0FXfhLCmuMy8BbLwIllxOE8JCXuRnntJcUu
0x0SNBzvZ71P+gZaFgMpSpTHUhFBhdR46l2qqzaNiEUkdOtj5phePwM674hGgpDLFsJbIAswYFrR
hBFdTEL/qpPIIV1qx0rB+Yzci85gjD5EeZ7oaJ1Lz/NVP2YegURFHdqdn9+pe8sdeVEW3Zg/nyBM
yOPfFxFB35fhKJZEQ55y2iV3Fng+aaSlfxodcA24ZC/b+cdoQm7+iM6mwQY5JEMwwEGgYTmd6Bxf
dLd3hF15DH3emOP21ulsNkyQQZSpSLR3Yipep7z5rIagqs07zqekW7P1JVknRB5iqYkRltO5GWlf
79ET4sKJ3HHuPPXVtuwwuFINApmlFssRtH09vsTDiELlUz9frfgehOHx/KAgbRmWh227vINCv/Li
oAx6OkJOE1tWVyDGqefPld74+qj7Dck4X3I9f/nrnutsG7CmGX3Z1TWNP5DwvW9AtlgINjjLbMUZ
UDpMHZ1HPLv9EOlsI/A0J0Eb1oiMQ8Q7hXGfF6OdBvei8nnEm779KTmvEMo4//stI0GCCFeNtkvq
SWSgLYD/TwWkMT/gK7yy6LZrpIsMpDQxZkeVCcQXrZC+lGBoHqeI56Csd5vddoxt+RVyQeuVGPg/
OOGdcabl3tKP3QhUiHYsOVTQWXZF0M3Fu5o2Ku1a8D4G3vZ35Vz098++OKIBODOtQsWP0Mzr3BF7
RHSecGIAzjl5D30WNkKtkdsOhKBuob6WvVMS3UPw6jT109BJvNeAs3Xvr8XCWKUbNc3la/iq+UH8
TNMMmQMCIuenE5343Gh426HQ32/mwmJbRpMeQK8BJ7M8gJnbjo7qfQunXfH659DljQRxQIXtDYZw
iSQYMpj1hDzaDdAQzHrJngziqajybB+O9T7kxRGlv2WxtMjSqmJQgc+zdSgEdDvOOyO+5LMnWZ/F
/GREzgx1TI5R6r9ugDXbG5z1YiyGI46Lkrav6hA/95LmyCq+aKr4UvlaR+knMUOzjqI5Akk8Q87e
tn8C71IwWJNXZaP1IYqrQvGmjN9C8YXrxPNMMAijGIWczzl20QQfOwJLu+okWw+Kf/kx2V7hREyS
lIih5o7fKF1BgygIOb9XBWKFABNn+7vR77Kxc2zfsKXlhdlMsebm8rmSDDsoTnEj2/oguUrutsH3
bXOcm8Dy1dZVbwYhZKXdrLxL1X0D5qs2OjbT120zHAdTfwfyxS1Qw0LJEwJ2hBaDLgYkLGJX8MJz
/Zm6z8Ne+fQv7VGIW9hTChKLXU9zs5Qc8Zy78bU95S81KOEKPy8cXiKAcxZl+u8LewXEC5WiQx3G
aF6M3BUGVw15DF+cPJ7+PlW0MJIEfVOqIozQj0grMLEfuAnY2QT0dg+ucCx8EKJ/rCXyhmDvxGML
s4IkQFsnQbDcaHZ5oO9r4iSao+0kr94FjsHZO96nZJBDr7s2nlskurMK1FwqeKXCp0Ll8EtycoW/
SSj0FulrTcc901o8cjSbLr5B3eAL1A0gn6lykjicNbEdzZoyalktI4cztY+j/iAUdyW39rH+hpqW
bhqKJslslBqPk5oQHX1oVEhqzDFwAOK+wgYnF7bJ+m698V7RP2TPbxaZnZLLoQApAKiW1J15bL83
fw27EEYhwKHsUHLxk6t13+9KB7rcHJRcd4dulhnol6uiMAdJRIuYdcVdd8zmSEonK7/FBaexan3n
/rGksIGqMWQj2FYEqFklpQ9qFy9KCjsmL9t4tY76Nys0+FpcsTEI56mukVBRpTdzNG0iv9XGgxLc
hdZDT3iNGrw1Ue9hYW2q08qYUlQds/QJnWm2Hu5G7vTw9hYpbG9GQExhTBMsSUHSZHb7KyG2eqDK
8JozKbZqS44CctrhBSIv2x+TtzwG+1s9tKDKhAxYJtwl1ucsftSm120T9E/8/krf9ov+hMUXxEy5
kUsFwrbZvHblM8n2239//Vm+/X3GacybOqukEOn4UH+t0C7b25r+Kel/bFvhfSi6hYtV1EmWQhSc
pvF0L1Wu8uCHPB3CP8TUt5UwGGGGatElLdqoR8TUBDUnPMWIJvojxjrs8kE48HLIvKvEQIMG7b48
oTNQ6Aebkq8THpHQcvM6csQRU0/dZfsb/sGz+bVANgS1ApmEugQQFNGaLnroxN0pd+EhxzR0vQtd
8XHbHufkscHmPHdZKMdwbFrk5FNUnDgPI+dMsIGmnMTmYA3ocCLqWVXvZfkcDjy50j88vrdvRp+y
xcELpihKTMpOR/Nw+GZuf4Iqva0d21264zUf0A3fuKtsbJnosVXFFSKRpBPviyTxC7BY2qHSnqp5
OmiK4Me19arlwfP2TnEOIhtkKvKsZQPI8dyRoM1JeFb11jfC0NHa6ZRamtNzacHXO8PB+PfTBVDe
HcjFd63VslWaGGex8aJH2jnd23kMynjTDsDgPr109vgxupWFTQZEhha64IqCA2lFBTq103005I/4
n5x3mHfuGRyZp6FRjSbDoqbPwvjVsoi7vV28g8/gRj5VYlzF2K5UOYfxXVdfsny/beIPDvyv/WEj
yUKV2yYM4LYMDvkUXBRf2xNXFCAvCpr9EXloGcS9dkZsXoKFszg2qmxEXenFDPmAenpS9ActPWJE
fntxnCeLjSTBOWaSTKQRlzj5kO8rrdIPZ8uW5obj/PEWw6CHNRtyl6Q0ZypdLSVyVOOiydXHov7b
XtEDubhLJAxa0LbBCiTcEfUnHnSHH6jucIYgSzpsfzyOs8SGj42FqmcRlXBZshHU7M2hTNLaTifr
XE/gL52mjxUkb6tjHAyjJlOmpQiyNLvz0CzhzHsZ5J10xII3O8LbLhYgLFEnYoRISxGCvWjKnkmQ
kU1CzqngPSoygxCCLGZxESDFkJ/DfeJVf2t38pVWquuLcT++bW8YD2rZyVgja0kkQdr7vSYY7lO/
Bv0xJN3n3YyiYOaKXy2XN2bMOSVsFDkLlqS0HUowoXhQujuSmd5EJgysfJ17DlRx4JYdirUIyGpk
kSbWQZgZYEi+Tipv+xNyzoXCRCHRrI2oEVjQJMhFxxxCJ1VEV4Lg8rYZnoPGitEEeaGGHR31jzuH
3FMludDrbSNBkDq55FRyNaB428QgRybksahN6HqCQCwmfT/L5FsQtEhjRHYQv26vjoO6LHkcVMR1
OQ+Qm5nHl6Y5yuGeFHc9CtHbZv5QOvqFFyxVHOjry1qlD8joQ5HJaf4GaeYTxUJjsD8ilSrdPAp2
KjYvsiDWMpQfQvGhU0+k+6vj8aXzwEJhwCIds6DKZYT1htY+hSTwq2bcQfHSK8sMjmJ+b9a1k81/
j3rvpjVGTFuV00/NcUsVxt9I1LqMZ+oe0gbABv0Ewzt1Mu/l5wEVOzprqtGUz7QlllIhJN64r0U7
Bw1DiMLmgAb8xIWIkYpSP2+4mXM0VSanUUIjRtYbpM1745BV5wl9GY3+LVIM3tmkQLHh4LODs2E6
5ZAhg8Jh4/1MixadS4WSaAqKUEJ4zl2g/sWWPcb/0PJBniP1ndpj8IpH2mSso8MMA4pO8xT6Cqcs
zYETdorWGHqTKDquQ6R9ytGwLaU/htZJSWRnAq/WwcFklf77wunRVC2Zegt7JlhHWbpk7a5WOJXM
PxTEfkGJyrgeltH3KaFt03GO318LldPmmq3lzTWc2787kfzQpODOHLp91s87zt7Re721d/RjLxaY
S1EFtR8QllMNAQwoQhDQQFmTculRbnhE8RDvRtFzz0tL8L4sAzhxO7axZuLQkLQ+QmPUQQh86kLC
OZycd5udnR3SQJsNy0R6QPSb/hOSipzbxjmN7LRsao5Ir4WgsQhACRKarlK3zqx+UcBn10W8igcH
I9mp2cTKxmEaUBZOaVF4T1nsKd86jwyIdyQ1ijCLUyHloLNQ6ByZeKQ9NCaavyf//+qi4WAVqx+R
GZnQkQjH4Od0SXYkT+2Rhuf1w7DnjuzwrDGeyKAbajALeLV7X/KrI9Wp0N3qldLviPuOC8ScM64x
6DEnHVivRCAV7S8RL9XFegTvji1cVF/eQ1UHhYCK84ry8osagyaxVhZF2sPrT1/BVI++b/yXqwsY
iJi+IYx6iFxeO/3quwaIEFUDxKy6zqwyK8epkSRU4UrBz+ZjRxI7V47GByPQhSFmaQEEZ2XdCClW
YXzOlezwCyRnD3SYEuKlL9vIuLp3C2MMMJaFKkC8Dr1P8nwYldatU+FM5pYTd/KsMCiYqlEjlRWc
HhPty4Nvlg9qyzkRPBOMX1WIatFLtCjVa5Sk/lWMn0uVlx3gGGHntsyc9LMk4hqXxmMqeaQ7yxon
sbyK5LcNMRj3iRhFGapGrLoV9ARCjYDqP3va3nPOSWbHslRVHyo5RldyBsq47l6RjoV6P1dcZlfe
12Icpr7NZwz24GsBFwob1Jovgpef1Lf5MTuLLvzsxCEgQ+K8VLzVMeCXqnkkJIOmuon22lhOEqV2
apyyluOe8faJLn7xdihxDLFyWkyLipMcHiOe5BBvGQwKiJFoaKWCTM0gXsmU+6ArnOVT1Y3e9mFY
fWsX540BgFrWwryb8daCJlkXXpX2mEOcprgM/UWbO5toPEoM3qlgsKCuSALhEeq2T7VvddmjgaYo
Qc132+vimWHwQA7zaiYaUDStXxNNs8fyx8gLsjg22AErcFYMYhwAPIVa9UAufKoTy8mUjLOU9aj1
tkcmgwlTmYmTmbzXTaI7ysYWIStpQgbnP6R915LcOJDtFzGCBB34SlMs206tbrVeGHJD7z2/fg96
9qooiCrs1bxMxMRMVDbAzJOJNCdVrxGOqAkUm5+mGhvcHBmRcde186Kfql6weUb0+xwqxIgV6rJG
T8RI2mNqZl5Qijpe3/Pav4X7qwvjMCA1lrDIM1wYvSgH4yLdo2vGDj3jTfqCl5SKnUi1iy2DDrHn
r5mjHP5qvnclnynOChzCWjEUcHKgGNljxqQd3cXMHTSGu7d1fDvHtZLDgURZ10o+yfjdPvdZi074
WJ1Uw81e0jPoAb3Cr0TtvSKV5+DCHJW0bJKY9c/4me7T+lAlAk8uQCTKAQSd1UjRCHKQLHPx/6hA
sf5BYFWik3AAIY1IwzTVgHRd8xhVx0B+UKe/YRK5fh5+jqosWqr2bLour+/irrRJ/jimgniB3cYN
VednpySk2YdRQazfZpGtsFJ39YrpLXtOzkV8b47Pt1VO4JZ4Vv16yBozB7C6A+Kr5Dmb76PMlY2/
Shasbo4DiYDkaIQgoOPLzsO59a27BsShsFfs3Lp9HhFU8HNTctxHNFQhqfUwyrePj+SIcbu9gTWy
k8MeMG/okgEzt47kfrirRkG0ItBCfqQK/QlZpWioACX6N9N6G+tLNAk0ZJsFYHWZHEoUCkZuehMG
xTaNEIetVwne1NYZQI5m2JUdvxOzNk7smu54koXlz83nqKpTTUZtn6Iq/CsaSmTWQ6tG5qf7X8Zi
i9EPMHqYzo8elbfbX3T7Rq/SOOxX5aHuJDabWWLGocPwyOI31o/bMthv/GZ0GjEVYmBfqGlw2NFL
TYg1RSyr0xyX7lwpAgjcZvS9CuAfGtps1DQzUTFu0PKpoNnTwBoVE5PUEu5NArSbTn5gPbT/BxLd
zc+1ks1FG6O1tMgworbA1AVkzOjZxYAPHMrgF8Iujc2vtRLG/piVpzTboNSHDomrnuKxqyu+NVqH
RY4+3P5gzC3d+GA8QcRgJhhM7BB0TuHnJX4drLfcfAGTsj3TSuSURbI4BTRkdcFMNVJlsk994qVH
6iL7vq/BuxE74w7Ux3b2GGIjjgBKtos1q7tkd726SzrUJTVj9pb3Az9Hyj/YM+bnyAtdoSyBBZgc
pkStqYRpjkP+m1BN3EW/aAdG7Czb5pEN3eiqoNNgu+90dT4u9pgXuQryfkTkeKzOym55ZuScNLHD
y3xvXQgaDBOv+TFc0MyuHm7rz6bbW4nmYpKoyo3OWvCoHOpLVx4iVDMmAycNiUB7tgVhEoYaMsg+
+SJYZlpKMer4hsWEIYNK6x1TzneDUtpDjQbR26facn6apmMhqClrFGsROFNXxjDpSUDBIn9+Zyt3
Ske+RPfgLWeTyq+MVV5x6EkFdUPhVah1iObgtp42+AvQt6zKhBga7xuIOsRZh+WGALoJq4UL13oy
UcNh7frmgy643A3L/EUYZ5nY0Ror4NPGs0A+ZvnnKihsa/wst4e6E1F5iURxtmjpWh7M5oClr9mP
CD2QhDp4jzqdddaM0Lv9GTds8Zdjcba4NEYgtVRX3CI9l5PfiqqmGzr5y+9zdmfUdVgloFbF8gQU
ELEeSos8Yvi5IkQVpm8cTP8i6TczU0Pw+PQK2lPYxHWGjtHQZ9Ng4nn5renuX2RxPjxRSVXMC5Rh
BMG57Kl7Rqraf8aAimN+7l46hJsDhjJ9UXyy9WhbC+Yrs3G6lPIkj2zTnHZUEYxhC5ar+5OX2I0T
CieL2Dlu3Clfj+0mgkKiBk2Uj+w51e07L9onnihfJVBCvhqr1rWKBDmUpFlmu5zvCLg+b6v5Rqjw
y71xYaQl1WbfUg0mVeQHTVed1CQPExENxQu0na+7SpoSGJOJzzMq1XPdZo+dFfRuUOQOdmT/89+O
xKFEqOs9yYxacaeY7EAU+1CGGMulgeAFIAAjvvRqatkwyRE2UAfGKZ7B1Qq+1gg5sRhr3nphl69I
GgcXAxZFItUfAI5im235LdEYXTqjP71KzgBOHt1parv9UFxEHb9bAdAvGsLBB13kIcceLMU1iWMc
sdnQkZxsBg0Y3adipvCNOPkXaRyA9HVJ4imf2MuxQGMR+CEsh9wDrRzc8k7UViHQ/t8KsATdANOI
W5Ww2tx6rMijNgq08d3Z3oAKvu7atWVSNRPu71+ehNZhxI1IPf8wXDDwoYo47CvQ4mNJIP5ddlO3
cNo9tRzdlp3osQGjFOs3Hve56DnEPtytP4x7JVCMQYdFijiFFWqTZwxj2nNtB4fFV49Whde5fM7A
9DQgFhT2aG5fPNV1almGhj3tv0bVWp83cwZqZJDc3zU09OryU5xYgkjsD07hKoU7YUK0JVVzeL5h
h800+9pHeWnAwVSP7PHG8weRr93G66tADk37oKnDKG5BP4s15vH9oAteXO+7SX7/ZlcBXLDVNJRk
qobITo1R9ulnz8L+gUEhe2zgsS2z8HS9OMldvTfQ5mITJOcrRXWa6FvX1od+oPYya5fekrGuT31D
kn1GNUzObFkKvLj5gq0THpnIQ58RJyXTWz+D+zLBg19HJZhKo52MCZqdmnura0E4beHdbLYXI/kS
FdjCM/8YmvQtCycvrAKnxUKOtqNgR0PDWdEVrh5PDugEwQcuPeuZ8pjPkhuR6TmXUlAnZq2dd80L
9pve1WQAsfP0HHaKY4WWb5miAdNtML3eIuchZiskapPimVHMIESXxmPTSN9TI/VjTXPULBJVOEVq
wbzj6g3ZydI4kxhuHNTcsfWjnYREXSIJnHswzJymktaxuIuNBKtIMIRH9ekbo0UCjaF4rYzIgDmv
gMVteaeG2Oyb09CxsI4gymZbqr7cduVCC+bcgRHrcZ6qAM/wpfdYpBUcYr/Yl2ckEU+ZLyJm2YbE
n4rx3tuy+lBLOyQJIRGiSONkta5S7o1gVxp+hqH4rioE+CS4Q378KA6leGgsHK5azq082iR7VNq/
6EKDQ70eicNANULXSjzFihsrxwEkF2Vhl4OI1Wk7HL4K4XCPREmHDngoeCIXTtDkTl3sOnXf5eAE
u4zNrh9f/pti8INIUZs3SQbWbLcoioseQCnGyME2+j0AEQs/Qrsaq0s20FOdYBX9qN1hzsGn3ejc
/jsEdvfeMLpSGMNsMW6aokEijLu91GY7M7D2t0X84U11vVwePcIgVDBYiKN+I0cTvJrDQTlZTowR
g2gf7OSd4qW7zLEEQ0Ii2+N5L6Y0QFtvawJTjob/TtVwsLxgnzPb24+2kGNa3oxHrufkIEXPwh7I
CCWSjwHaq4Y92ryPBlYTGaKc1/aL+CqJQ5UlBl932uJGO8QFbMzQGLFIrQVTVvEIbo/b30/gbPg5
JdmayJIVoKQvu69ZVnnSkxEck66w9UDUTygwQ34yqa/nYYwGAMq/RT6su36nFRCVd0RiOEiR8xT7
XYOadVs3oHdldNyMalXUSSiAx99oLqok6BSMDbnpaLiNYh7asb0PqCRAYYEJE/bfVyZcTP2SxPKE
IDGr9kEBQl4UYm+rwB8Scj8Vjh9JssIubobeYJWH5swoCxMXvCfPjAJIPonUW3RvHF4EBGUOg+GF
ao2OZXT7pMLT3hS9f7fKKWvPwlNZ1HEkg04V72zWfonKkA+KBK/D8Cm2y7mYB9mxDFPY2REWaIom
4kUfjcMKKSzLJcxVRFTgbooejF7U8CS6RB4ihsSk2lAqbj3dB+lhaFtbbl4FaiEIN/gZJIr6CTY/
w15Zvr88suHd0FOfsDce1Cr1rvHYCiIQku6FHQcip8LPJEWRHqVDjKdRcv73PRrdV6fog+m17uKV
oPkCh9/JcmUR9G5+OOy7sTTLlDFUy91rEhlzohl4cSv3hk+cCu4svHwz7OiJbdMEO5V3+4430fcq
j6/5dfMSL0Y7IDsd5a5WlKc4b+9h8D5YIuwSzF+3xW1C40oc967t9VkOUglfdK6/puQxxWCBMn1V
MayMtbV1tZfQOHdbouiAHBgbQzKocYi+w7qRF3fMGpTfdJT0DeyVtBAzl+bTbYHbdr86IxfsWV2C
bcA1IkryuHyyvkfn4kCwxzL3sZXVXe6wGfSNzYsUXvRZ5Hm21XYlmwPrLCNqOMfvFhP4PQqByQ6Z
ZQfMPc58354De/Llvek2f9Ghgw7On2prMrhYOQlN7adFNTskYvWPkA9+s2+yFf6Vm1hJ4ZBbmvos
AmUi2m13eIgDDUAEazoLOiYanz6JeHQEpmgyzVqdqVF7E6RiHaRl5Q4jOAdFjQWx6yaKrg7EwbQS
K+gcwNsX2eXSycg3SX4OsTT6tkKKhHCQUg6YggFlCuJGYwRBYuNokXRPo/TDbTGC6+L7ErFGHPVZ
HYYWL8SRLfNg5oqgtWk7TrjeF9+TGAdKnYOFDff1GN/RY4/CgvVxctqD7mBDhwCrRAfikGMkQR8k
FqA4afdB+TG1Hm9f2PYDYnUaDijysS3qaIaxTp+UneYpmM9HI+zL5BHEBP3pP2IvZedd6bNF1WDA
yPe/Q4DFDtmcAyMBEC1E3HTaq1NxUEBbijITyxln2jeiu0u0U6sXeXyswl0Ri565At2mHCJYcxHM
1IQw8lm3R49xlie7EdHjTgZnHgEZp5XYojkQkVAOGABzJZVyvK3/v3I7IvXjsEGN2lI1a8TECZ3t
WvnRCVcYbD7zVl+KA4air+MlqP638MmWGMTHChzvLCwVRfjbRf+rLL4rMQ7mYRonlgE5EEeyi8Ju
nfhz1zrNPjzIu/wgHVm3pXWIfPNNeYjvhQRigkCA71nEBiojpjPCcSR4TYdlCmI8zbQH6Y6e7fTM
OsOGu064NkzwGfneRdopxGyJgsIUeYnmp8ESoJQIRXi697k3THVe3itCszcd2HZOcOB6vbu8JMfA
C37cRi3ReXgUAT2yoU6oTIzlqR6P0yzAeNFnYsa3QinVoqUpBfhMlWrHH1EdcfXlrY0Bjaqo/iE6
CgcefZ6o6VKA7LLELED03IvGnETuimfJS6MwTDEfj0FPRIIsHsPL5RQOaDRhbJ6irL0AliwOMEzL
BOn3Agfcl6eWnrPylOqCNvr3BO9v9ZWVGfOQESgFlYjFinWDG5+WdwpwxUuOraD6dvvb/LaoMO3M
ZA5r+MamvpTkVdMEJxH9PvcQSYtMHy0FZqnQ1M3QvEU0sr9tKUx9/nxXv20onMc6k7oRAB5Ek62p
tZ0PkRtGla0RwWHeBw9vieIiCfR2FMZUNPj0DQpQgXwyi0+dnB5iY3psm+RrodRukuSzTUp8ONnc
g7/kKFn1Dpm3BLSv410uG2er7n1wHX0ewx7dgmleOjRadt0yO13fp7aZY7Ip6Mr7IpDuSG9Odkd1
uyPyYVHKJ1r1jWMN8V5b6qMyFx/b2TwYxT9513/MZvq112Q717LvUYgJ6LSxS6V+bhaEH336kkzT
KzHrs6EZD1FkOco4P8dZtMfwdOo0cVTi2ULUcyEaZbhtMUTmsCwJtDRTWel+rF5G62UZczsN325r
gUgGh2da1w9mX6TI0lWnLDh11d2QC16cIkXjcKxREQBFEyCzzo5LeaRqYivUG0E8dvsoW/QOq1ce
4QnkmyFrUyzmRVX6kN9Jr8s+e23+Ue7YWhiwHxxB7PdJEUy8ia6PAzXsKDdDTA4imlRCzO+7LQ6n
p6Ksi0gKB2vEiKw4UAtWCG+/sBAS1aZqT+6bvXIM0VyKEspDLeIV3e4c+QmmhK+mGTH22MsKHs1s
4jzbSXcLGjyd5Z/SlQ5x6d7+eAIl4YtprRnV0giDc2Xau1m9PBZ03OlN/9p30u62qNsunLy7xZUL
b6tkoHWUgIxOi+2+/mHRBaxjP+bmLVRmgU4Kvtx7dLSSVbe9XncLSzxEXyTz0TQruxcmO5mS/Q6v
uqbKlqYpOt8fW+VaUBYLUuCKXjiLYTwYXeBEYNsZJGw2a/rjWEaCMGj7XFeRnN6D4x+d4zN76aav
XfOhrytbTj/d/k5/CB2vQji111raGMqIc4Uv1Gccz1iS9SaldnlmbwDpWcSUvTUUAgD5KZDvQqSp
OXQ1lf4NH9h4XO1Lof2k7CWndpUn1Td28r4Ec/z3eOf8XarzKpxz+YlVhbUU4bSp8mzKXwe6D5TZ
GekxNfq/SrlcRXGpg9qs9biVkVWN5Us4+wma0tJakG/ZNuirDM7nl50hV0uIzsQqxaRE9pKAddKM
j1KQCg7zh7fbVRLnJiUpUKo5w8UhdYrZDPNTsSt/NOBwi8/yofMWD4sGXO1Otju0/YP+9NttNd0O
1a7imamsTHwoAhXTMKyGTLVTMI/PUyQcffkDFl+FcD407WtdTmmPK9R/VHGMQYJv/aLZUqjaRv8F
PCpY11AiBHprMJts1UisKqCYGJczpabThPoLaAAcedScuHuZ9NQmw32qW7ZsUX8xWzudlcmmKbFR
7HTI0rlLLXtj/IIKkR3R1CMNfYqxFqVr7615cvISl600u0nODr0R2mOr73OKevZIInsuGrBHxV48
9N4Y1h4WAtqKHr5ILdYb09BHs7mrjZW30MyprQzxABbMFPpRQQcKSOsOTXaWgvxQBNht3sWXOVic
MDHdXk/v9egRy6ZduZK8lvQ7CXylS9E7BuwEzSyuNcA+c8XLNcvGnkDXqBRbDRXblC1bAi9LFj0o
yqFSdTsq3/oBSl98smbJzgnL7qu503Z7Y4oeS6PJ7Qjp+Ch56Rb10KIRohsKR6Ugl1crZ5anXaDe
V21tJ+1jaoW+Ol7yDP9/ntgDuroyuRe4x228pViDbSkgi+IbFUxDl+a0QWgzSBcj+m6qvWdak8Ax
/kHLrlI4LQvAFkHmFOkqNpQ2HZaT5Wk260FCvsO7bTV/CNausrgs1YxSAOqcwNp0tr62WUN24Dn7
CDodP+kbby7IrgniwiazCU2VntJAz/Exy0uYV/tcGR/QqS4Akj+8h69/EufUjKJv5rJC/r7BgJlk
R87yOtiNJ+8KL/wgCq9EX5RzbrTJMdaSALWS5jEPQGI1H+Xux+1L3o50fh6I711owtLSSpYJrNvO
VuXZjq2nBBsEzMSWsSPktrA/uOurNM6BsXxgYUm64oIiIfAxeF06CIrVz/OOdYHgDWudRc9wkRbx
TKttTUd1LGAXur2gbU7zFjty5wfyKbBZdrVwJJSTbp9T8OH4voZG6rS2Dtgx6X5IL2Gxk0b/v4ng
PJpB0qprKCLUgh6S/CLLPzpZxBEq0g12zJXb6tshoNRCBNfkbWLTSveWIHDiMXASbbjkCfH+25k4
bME80zCCdhexlVHbGjJz8T9K/3hbhuhM7L+vzoRVGaEyaNCGqj9VCQgTP1TWKZmd0hgFUCmSxEFF
msmpooATwk3QeySV0qVIVWROjGWXgUA7zKUvt08mwiaeY9XQa3NRy1B2y8xm5PGN5IDA6lzVaC8n
tizbvWhxEvsgv78qfpoz390wyCSMselucYl8MdNPFfV66rfB3yTSTDbpRi2FEn4ItTMizNqlyEKR
MNuTFLRmlahDaPNbrURw1pTH6hDOEUQ043I/jXg6z+Qz1kB7Ub44U5ILnkbs536/t2uoximhEZAs
DUsY74jNN60V+2ar+re1YRuCriI47WsKfQKa5wp2dVEbHZK2WttoXRBY7LYCXKVwHkofQxSvdOSf
0yo5SL2MXV2FbWoDI8Cp9rdP9IfQ46ew30Y5wq5CIgUP5dZrDoUb7RCXSZ/ZiOW8r0Q9fYKT8TMd
UwsPuCDmdWUNI57mYlP0OWVN6SzzIAgqBJ+Kp9NrJd3K0DqPCuAyfCjqxLEW5b61FoFT+oMjvN6f
+iv0lVNdp5IB6EsO2QN9aT9GbvIa3bHB6hgcGHgDjbaoU22Lwx3v5Z8QIbPDr/C21qYGr4KWxYsj
GCRTL3dSJ0jeiQzaw3DBBtqDuJDwhw6Wq1j2eddip7SvaARXomGmu37Rd6kXuNZipx/JA2OOHTBO
lbrWgWBbK2YfBJq6CSerQ3P2PeZdOdEWmqqZ2AOde2ACOGVY5JFiRDd/Jt9ml9XHM0dUo9xW2uup
OaPPp6kyEoIMmZE9YAmPrfYf9eHNqkXjxyI5nNnTLJjQbI2mj15d7gyKpXiTemEUpAF8zu273DaO
n0fiM4x6NUuJWsM4JvmDmf5TEb8kopkekZLymUUraqu0T6CkrCsHffReekmx01d+WNCdjE6r04wu
A9HzRnQyLsMSpP1YN0GFqTv5IcO8CIm8DpzX/+36OJtHGdJMyygmrrLke6KNTxPmviqLimKPzc7u
q8bzzfrVHAfhYOEzmc1e7Z8lNpFCOrsZsDK1cBAk2Hl5oNHzX5xu5bZ5cInbvtfZ1E2GZRpKuuyQ
ydxHi8jzMHX+zV2vxHBgIlPDylXEJm48hcca9dwkN/1prFxdqlEsMhy5XFyqiO5UEYjlUMSUk2yY
ZzQ3aJXTHFT01qAFLkORH5QzO9GTZTMkWZ2Rg44MKegmZ62+lXrOyJei+3z7U21775UADjP6eKGy
JeMSZ8xTV7sBLBuMSozR5wiffIKb4xu5NKLNY7rglV6cWc0698PD6P773BP1K25a8fVYfD9X35SJ
YTBecrV6HJoPKTnriaCAtP1qXsngkGIKSsmSetR2pL0BNpvlRA/6HfjBWaNL5BXO3/VCrgRyqDEP
RZVMIfrtGuVh6B6I9TGjLwJ9YL9xw6j4Xq5CQypO6XAo1hmNpKM3nQrkX+3eZb2QWuKIurqE18ih
BXyylvWdwkIR2ZG/JLtn/Y7tT1culS9SQQFk8F1dXULiRVYR4UtESx1svLosfXiQUstvRsujCT1U
VuAHXSvAe4EZUw4zpJjQEYV0fLlwvK+GYq+0i0DEZnCzUg4OKcIyxl7xHpWBJqIXtSQ7LPawDTB8
lVm3i+tI0BmwRV+jaSt5HHAYUVUrcYFIXPvce4uroUWucIODImMqnnHWY8b0gtn4/wOlk8C2+Y4v
PUWyajSR/4jImSonSfZR0ReYgUgGg7JVoBobmEKY5XczCPxiF+3Ig/ZGkJRKYQmVje2rvolMiOBS
NwO4653yLV1zaqpdkMDAZ1QIlOBL0IPZoPogm99vH+8903XDyvnWrsjK4qKzMG4ZKql6F6n5Kegz
R06jB9KUkd3P0g9Zrh9LWnlgLxydKgzcbrYe+177HqAuMaVy5ShJ+FoH5gUdL7uyNpC/o25Y3ufa
vRV9u/0HC+yHp7XLdCKpfcF67XvDpwtyNaroubedp1ldPodDZt9oWsiQL31RsH89fEydSrfzQwMe
k/gex7t9JNG35qKXJh6HXqtRZQObiZdOiVM1qp2bmOWlk0DU9u3ppop4XTdAS/SrMisTkUEEAISN
JuKRfmlsrZFE59niMAcgXKWwv2JlMkkwFfnUIerrXDZgEjlZgedk7EiPKsYkqVNgy+7tK9yGvKtE
7ouB7j5rDH0BBEmvUvdlDnddi4qYaluDqIrz/qD53WKusrjPpUsFKL8LRH3JgZHro2sQ5PqsP030
/hB9LM5VYPIO3e4BWocUPD700DHkj7dvTfihOE+BzvNlSNh4qeaDgYB46LbpwJ3YnKJ/0EHlRccA
DbuBe1uq6FicuyhrpZrqCR2Lejadyrr7XA+GAD0F6sAnopRMDau0RF0qiiRbGTEIbTykxlNQ1o4s
2lgkOA6fh8q0NoK/BVIrQ79XSu085LPIB7HvcEPl+AQU2MWkamFjAqNTEFvfoZnBi89Wa1egMlsc
2W3vK6RpgtT+WzqYqzXzKx6qxIg6I4O+T1i6kGOxdJxgt8josqxe+bp8v60df3iG/DQvnd33Cjxa
Og+axAhDsoOyw4JVULcRxr+HDQ+igFOkJhxqlHEgN22Fgryl1Y4mfddBr2G0frmcl0G05G8b5FH4
1ahq6bLMab05z+NMA2CiSQ8zGZHqPVTD/WD9uH19AjF8NiYp87ykDRoZhsk6TlmzHw0dIuMPcmvM
AtDdzldSYihgiVFVlZ9eGoyqJF2DJ2kS2wbo2dBvX6KiodnFSze/b5+BOj6JcmjbALwSy6FWKQ9h
3JdwYtmBbZqSPIxYO42NNJDA7tj3/83sVoK4b4acydKlIahkKA5YgxZCljKMjNe7299sO4C+yuFf
w3Wozohj8RoeHYrlWVgMcykfzaf8o+ktx8AG8n/FPoF95udfb0vexK6VYC62zbuaxBHL3ZHyjqh3
wyS4wE3cWv0++dWWR1UqW8pyFlKNvYzBec6QbUJgQ4tPprEnxeH2cbYDN0YwaZjUhKlxHlMZBix1
M5DWlX1GqAQ6YDDQSRdG3hR5ooTMtvdcSeP0kFbmAgt7D3OUneEkO7ChnooTggGWNPmQv4qmq7b1
8Xo8Th+tCJuMLdbrn8u1NxtgkozMfS/Otm7i4vVgvPukTbwMRo/CaI8O/PFLcUD9EHnxS7c3GScV
OnE/BHfG63gShXHb+mhpqCECVJT3BMEK+6vF7OYuQxg3ZhLYj4anpDBfb+vItkpeRXDuZdQyCQ97
iLAmLMfrLqH5kVr7BUF9OtV2bz7eFrftzuhVHudjDAVFSjClMNsewANqOOUlQHFD9cBh7gpkbevH
VRYXmZKmbZOOdR82buA330ELUb9HCB1YlQ3s7yb7iHrqm0DqZi5vdULO6JJMw4oulSogH40iJ5ir
O3Wg57aJv7Yg/pup9C0fi7PSVbLbTep+qv/qSbj6Azg7LNU+CZUSx45LdHvmi63OIkJZ0c1ylqc0
ZlBi8Tu6WKvvVo9kWOsnwT+3L1Igg2/0MeuAFtiGAetOD5K5S7J9YXq3RfwBIH9qyHsb5srAot7A
Vl4J5WDNH84MsvDkf2FkbJXf26JW3D/4tas0Dv4LNcvkykC1yyrsaUcc5K4P/R2bHksd40MNf+qa
PivzMSK42ydlH+R3130VzT10zbA2aRJCJwJjlzT7Ur8r5cQ1U7YnOim9LiKCYGgz8LoqIU9hkoCE
2KxmtGlhOyRJ/WF6suSDcH+AACB5EhOEdn06AjndcHJJ/kWKv92+NpEOcggSG62S9xb0PEagT71O
foxTASKKjsDBhY6GhGxiZYaoeIvQda6JOJM2P71lqLqGfWYG1ThbbYtUSkwpRd4azurIiBEWbNob
Dstefsg/sW3GrLZr+djU9De7NzTtKpv3nJKiqUm54KGWSW9R909SfbGC77c/0bZVWZaJBRiU6OSd
n2Ftw8rSxDFzknRgHZ5ua2du+rE8Dl+xGupZf5R3DZ6B1RE71QR9PtvUDyvRHNLSpddpqyO+qj2M
5j2ldzoGXMML43M0dvGBvUQTkLKL5G6qzEos90Ubo5ktucb4qdLGIGken2SpEmjlpvleRfDgq1at
qmE+Dd04+imUnaDEMsjgvilFDVmbBraSw5zp6uMZUp/KAUGuXIm8GCuiaieJBdUokQgOdWnXmbHa
FLJrRPtIfqyivSwcBtxC19UpOHRVywhb1krAkKRhw9UFdV1VOgjUfNuMf6r5b4BaxiRXFwSh5of6
RR3e17r3vnSXH6e9ig5iNkv9WNTvbTFibsXtuG11RHbLqw+lFEUqRxqO2LmmvcDI4scAI+Rgi/dF
6r39kFjJ4lA3I2QypRoWLfvTjrHLpb48+mDRCA+Wn5ywrdkZRG2WIi3hYDilYRD3ORxkXd9F2eNI
v9aTwJlsRxurc3Fwkc+kp0PUAg3P5Rfw02DJR3cssSKvOIp5hLerhytpHEr0pMqUNIBpsW2diLNB
3LH41M2QiGDJo+YvNtwA638qKN9bSYiEFmKCr6Yth1FCqSQ9d6Ii7OZrZSWDg4uujKxpiiHDpGDi
q71c9klUuWQsnCE7LYmIyUikivwS+7Ct2wXt+kztg0eguyeZttTay3F2O6f6Ef1oT6JBJtGH41cl
hGWLlbgFMqiMxIwFpcNJ+w5Cfud9UusrEU1ibrbCrC6VuZuVadNmxkqpktVbzsZRep1OgzPviidt
bwowbMtv6bKK/Q8otmBPEIchUUFK7NnBZVb0Y20dQxG5wBZErn+fw42Q6liNXCLZl2C4U92nPlsA
R/aiWHpLCddiOKgw4mTOVRzGbQgYeu+MoHT65KUaz918MbHn7jbwbwHTWhoHGm3XJDXGO7EhS88v
U4tp2bndkbIQUMdvOfy1GA4tSnlsmglJJDeSjnP6ULaHoD/0c2LfPo3gE/EV6rFdFHDkIWIi4GkE
47iv+DV6GkWfaPvSDMNge5sUi8/Rq2hR7vIJcfvQg8MW+zis/n7UBU3R6rY+X6VwhtMZCbigsxFz
5lH00JHCa7NyX0r9sZFGJwuiH302fi7N8W7uUDyStcjGOsxPw9S39hgWTtZg6Uue7NLJOAaJHtlE
r56spL2PldQrtelUhfIuJWXpT+aEQseEUXmjfyx03cOir+dosc5JgQmvurLsuQr8USaiAJfFRvyz
UZevJ+QsVhpy2QwleMXkwPoM2VNVv9MfWcOL5QqBiBnOLWmc/U661UglY1YuPrWe9g9bfxm5xeuA
TtRXtqCGjYVbDx2Kf6JF5Js4vz4oZ9PtEIMxoEYioPWCdwo3jbGK2xp6GljLV/FDfRPyDooul7Ps
uZ7LBl03DHcLABZWdpx0T/qMWT/waokGxLft+/olOftm9DFBEMHwBumxn3u77EtbWd66+e22gQss
z2DOZuVM8gJUrFqDb9gE94v8PMXOLCL5EJjdOyH9SkSV0aoGITveJuQtDz6bova1zSMoKEmxlC/c
FRdkhEkQWnmFFpAcn52+RcUPM/16+5Y2fby+ksF0Y3WGLraiwWoAHcYlQ9kcVRuHntkaJtnN3XQn
wsPNr78Sxz1QpDCps6QDug/0fg5fU0wfJNpbg5F6wbk2dXoliIPEWJcno2kBGMyOChcp14/BzrAl
P9/NX0V00NsfygBrJxZL4R+c0c4V9hqkrBJbYTK3e2sKt6sEXaAiEZyNEi0cdZD8IGUXgwq1HE8z
XsNdLPmCe9uUQ1SKTk/LUk2+7QiTDuZSRu+1kxHNhZg68I2HGFlqRhcXgrfIckWLRjafI/pKJvet
xkACaWaDfu7ovOyGAzZiPrS76I5RdwdO+VeuZCWN3cBK45N2ovKyQFp7ZLT5xc4MsZAyPSxe54c7
U5D1Et0n50pCK5ISTQU7Dy3RGI+Oh4TUe3WQ97e/m0gMp4Fmkc0VUfCiI+rbTBt0KcW2aYmIfzcf
3zoxCfh9TeARj3iGJhVmw3YutV7/UqHnrjvqqPHiBeIYT7dPtAmuK1EcMGm5mYcg7YbHX6ZjnWOh
TlWJlH0TJFYyODQyknwIFIWw41QHbONwM9kenH/7aC13EcWcf1D06/Vxii6ZqhnrzCf9D2nftRw5
jm37RYwgCdC90iTTyquMXhiqrmp67/n1d0F9u0VB7MTpmjhzZmKiJ7QT4Mb2ey2WUFHk3bLmtGg6
KSheJJde9LC2leJdHKfp4JVCQauCDYwH2Y2M2NPG2FNUWTDUsxGzWMAD0nFTlsVSKk75iKJFQxOn
qNtST/6T3WO0a/bzz8ye/ozvgDpzMgWp4mflYBLBaWdakCfz5fZk7KNSmmPZNXNfJo+NyKBvfCkI
MHWqouBNFZzto5GgYxCaJdVwJCTcGJ3FuEvkmmfDR4y9E427bJ5mJYxTdaU34jY0cJqZ9gCPkPdF
OP7n2uPH83CarqSVaTaDiU4ffeiIu4woo2b311/s55TqowxOu6uqSOMkBH9Oo6cgbrzNrVsT5Ze8
HW3aHUzliXYCNfgcTTCJlqlhfwbjkfzermWUsWGEULy6uJGyc5EEthy7VStQ8M3vYxHVUk1dQd+C
0++i1oZaGRLwTy3PBrxgKOIh2YjCcJCVBM6708IgmsQkjA5oRsG+mz6b4G5lfNBwSq718/qXEh2I
i8GHKshq0kAbQBNO+h0V5fDX/z6Gqj6+nkVTrGVMMtkd8vsQFCOZoEawsXa2vi+Np8jS5aALlwaq
1jc2IU7gsx2f+Xu31zzrYvZva9uA9vMnQVIh+FCwPB9PpoDCJKZMx5XeZnWDaAftZqsXJqaB1JPk
inhg39gSP+ai7Ki6oZomgZ7rnBGXY0ntZmaJ4sgCaEsWfh8G5Q/Smd8WANOQNvXGqD+0rWRnpuXl
Q2UnKtiup+pW6rP9tCT7sQVKcpY9TGVxhw3tL0OdPcUjiJyIupROMObPIRoRuvErlDUPQr7OAJDp
ldHJjcSzAMEAgrYGYxnKN6uKUjtiSGUh8YDpGu4xUrwLq+YxROiBvpjguj87sI9n54KnhAxEN4sI
w/YoOWT6K8b9nVEExbxpRFYXzL3uvG8wqVOMuOAkPy0R1jHMKd9JTRVh3Q+U3tef3lvSdu17ck89
SACCWDCbRf3iCUVVPPbuMF8SN39uv9dnguJC5DWAHShw1b8A7SH4AVtvE3mRwpjlLETdnCeQggUt
2C6S3WnRPdUqdySoBPUojZ2BP+NaBvsNqxBborSlwNiAJ1At4BdHPfpEemhnAVCG5PwO9Y/iWFLj
ZZhQANCIfLGC8Y6mvZNFiz83bKiPSJ7ZGK9VX/0aSHqJO3NfLNLidAn+F31yUarZjYCCZGdh/hIq
ypEART0awTUpV3GKoDE8kYz8Aq3mXWNGhzGJd5GVPFqlDhAlICvpeW7ZsR6P9qw0pZ2EjWEXM/7H
tfpFiuQ7E2gTBKl3FlYPZZ2c8c3YuHx5jjUUyMz6tYj7QxkZj8tgxnbcd41tZso5lEZhSehzlGoB
R082TFnXVI3yuwEqUZquJIHshkHV2LoUPSyB7sZt64yafjSA2TQBDKGTJn8mo2Mow6maTIEL3Hok
69/AfVGlKZTUoDoeyYI2crbvCiA2zbpbab/h0hVdhTMnxERlnnuNidKV5hArmJwuAztKn4j+lJDv
eZu719/h5jMAGh2mfhXAu/IRZKDQrGz7BRHk8tTPX0nxcP3vb5kuZfX3OdPVBHrK4LVlV0t2MQHE
6i7VBfHWRjYGxZCJLkM3CP6DC1ItrWqWocRHyQwwW2iWdjOYC0j6GvUgUdQKC/0FjfnKMcv5Mcp7
Bw5TcMrNW1SIJb/xeRsyd8qg0coMuK/4WlVoF5o/LK/Xr1EkgFOHLpa1sCmKxQ2WfZrcaNV/Ts9x
hasDcNZ4aqcwLQN4GDmPbU1N7Ur5XolGG7cC47UQPtxqdNWcdMDL/NUOGvbpIdqLZ1w2k5aVHH7G
PDezuIk0RJHUr56AnbBTD9mJ3LMZkHkPhbj+abbVTzEIUCow1Svz6DJ5D8qYxYC4FouFObb+Z2Kr
j9qxBCGrWQje6+Z7WgljirJyKdHc1YnFEhg9+Uo72Q6yXSf9vH4ikQz2z1cyFqkMikKGNkvAt1Mk
+nXsQ0cb0995NCt7zj3bkUplORXA/tHNr1P8g/Sx4K7YXXxyvysBzKGszgGQV6AHNAgZp96P9PtB
EySTm38fiyeaDiNtEZ4fCaRMkRo2CO+l6HVaHqru+fp32AwfVn+f+/1DC06/0dAX+LjU7orIm2nt
trnkSYvsJ/VhyH7H6awEcjEROgVBFBDEZBZ8u5Ef/KAXQtJtpg7KSgi71dVXaS2lzCYEO675UmPo
11Fs6cFypmMTI+SrsMwvKv9s+WzU6CwTWHfoqlPOOJcVqQqpkFH6wVYsEFDdpDw1w62si/RtAzPG
UlVCFd0wAObwqZ+uyzElWEJllkB2duxoMxBrQkygdegkVK90J9upC17EUVSR3HqyKjF0Gf+P6hPf
Xy37uNcn1cCXq4OTmSpA4wU72BwLFGRL41UKX2sZyDg+dWKGPkvacYKpW6avZfMtqLzrGr/99992
MxV0OfluNG1KUANjO8nt6VEqTr0kKHpvvSiVQg8UzF1qnxoUcdXXgCJnvz/vj6qcAIbUdPRosSdt
9KsFW6BZLsjRN7VvJZLzrGGIDSRUkWGEgmMnn1NM+ZpTaKemiCl2Y+4S2reSxLnXLk+tqmTmqHsj
EOz91gcighsfwbrlMKSH6lJ4xb14rn/7q/1zq3yLURmVvOsi+IssmW9A5+xHauZeV4xNJ7s6HF+I
VE2pHoAAgtGsswWjkbk5WFNQc8fglGirisVSvNtYi+LMbjjnUyiTHllbMHhU/VFTzekAvzgW4J02
KoF+bL5czVQVS5cRuvIHK5toQX06BFs31R38q5O+TYqoDahuKj4qxLBKGl4uX7oL6jmx6gKfaDy2
WKR14tN8rL+oDobeXpPRbi+Mj7EBo2DnFPawn45zbGf7+jb4I1BtsChfREZ50w2oQHZSjbd/8fWc
wTDLrAep5tveCbo0YN490EcG6AI26oslJPnbLDisBXJuwJh1Q6dMS9nSUP9a1w6bZEzAYuhTe0Cp
oYH3QVcPllpx+jvxouqmXq1OzMXwqN32sxxKeJ8dUm7tu0L2Mc1ddTgOIiznzRe5EsUZnSEaG61t
UNwwl9gZB/VrMdUiYKjtJ7kSwtmbeJYjlDUg5K/NISDZ7ouT4YMYUkjbtflIDFb5w0QjMj1O1BKD
ojFk307KbgN6N5WPlYhAYvPK3kXwJJAIRinNTZwmbunebMcD/PvvZAroGf59DIOLeHtLt6jUzbIb
XNjErgIY2QpGjPVS/vtoH5zBShRnxIKxyGeiMg2o76LkUIaChHGz2aWakKGgamCiY/cxjKPykKpx
CwEMxjl/yMHrSg/RLtgzRJXqObwVWYxNHVgJ5HS6zSp40hmGcg5BV9t3TjqWrtJQ0UfaNJUI37C0
jhEG9Hc/HiwtdGXBv8muKtHZaZflTEfzV5XFTlTKj11YuoYU3cdBdiuHGP6LVWdSBqCTF0cNmHYA
JGkfG/CLTwGxZ709XPeDTNE/+abVj2NavAqep05N69pChMnYm0Gevh/B7y0Lx/W27oChpZqGqmtY
GmLfYiVmUfS5lTt4W91ywqG0w+bQTvdTE9lD9DwBOOr6qTb2Nqw3dNa/5XG2uQoQl3VAagHC8uDK
NdwS0JxkW76LAbsFeElPO2oOlcFi99/HsD5K5tRY6megVxNUva2mtmu5sOWysGewzZki9MxNB7S+
VE6BS2kApuOoMns5eu1DdA7uF7dws1ttv/xgfL7yH9b9jHGj6H5JgSotCgI26yLrH8BZUakqAe6f
IPoFFRfmS9Jj9ZW8NH9OwD8d96kh+KhvJUpeV4msExX/h3zhLQJYKVGq0SjLBpwX5T+HdJpbqVFr
B3X8LSDRH3Uu/TKr/KaXhn1ZqSCkBcWSWp1NQ/KmKDl3Rbmfu9IHDLtnVGZyMKpkR8vmMZKWySbT
eKKx/JyO8mlsem+2gkdlyk+lTn7W0+iXSulpdPTNWgfOU+0RWbsj43BSLXJpM/1x1LI/mlx/6aTZ
ssMo2qfxbKOb7poNgOhRBZVq/UtXUafTAjQmBtCcaPJt2XWY1Nf6p7nMvyV1TaElmGSJ42OdRd71
N7H10nFxGAEGegHCNs4MjaNUyjNDRv6Lp53NTiueuFi2lZ4QVbdY7ZKFYpyYLI8kYIohPcmiZ7mJ
7bk8Tw34uGNRhrr9xsGxaiDvglExOe2zIr3RhxaSxuOyw+iHD/DYzgYnMIB3epctvWVH8Cc95IKc
b/OE73L5nHJKWpL3E+z5YB3nMrTr1OuBsVf/vP69NlAfYElQrFeQHstU5Sv2xYJhsqlEXSOj5GUK
68s8J348071ixFBY/JeukHwUiW9GVQgJteUcCWULdxb6I5hY+2iwB22KKhrCOUqt5I1l701k3mNO
XeT1WYTy6U2v5PD+pw4VNUnRg1F92WFsOcve8uIDME5PojRsKyBbH4nzQbGUprSWoC8z2Q3kttT/
+6obPhhSImg+KBTBxvvxzjCh3ZkL6ydFWbTT5trOCoD6lsKAYvPONMNEdRsodOhQfJST50WwLAH8
SXKeMEGTuaXfnFjqqp76/XUl3LyzlSju89Sq2qUzmh9uJX/Ry9u4/Xr972/GBaCZsUwkrOiDcQGs
jBqDTDvUZ4LiRjMfGjRW5stk3WTx3pJq57qwt4v5pGw6IjAUNail8VH/oCRBNZvoHUXZfJcmeDhB
7YRzhc5wRb7lWX4D0HCngZew9aI+U1lygjR3JWMGbXvWvCz5U95gHsKojoOKKZKBAF2pv9FVetH6
Yk+7CpTWrVsNVrdXJA14ZpNZ2lTKvjRN+KARbUexLK2Y/VnOlMfrh9vMf9HZgwJiw8ZCwfCjVlhZ
Kk1tDGes/DG4yxl7lm/gzmTGAAXz/qLweVM1VvI489vlSdbmU4sUitYHgOMdx0m9v36mTRFIO9BF
xCiSxjt8wOjmZhVOqNGo0WFuJVeNFEEBctOYr0TwCp6PAyomUEBStg6pUyeCgWiUb3MqKMu8NT4/
Kd9KEmd+shJLMcto4NUCxCfDylfmSo9sbw+9EARre93Wjq27eEBS2WF44FljtetddBEFqMwKXfsd
XGi8xNqUIA5AngUoUOmgtXvQlaFFd5TV5+ufb/Nxr07M2cM8acBBaXRgf5jjXdyjUmSWfp1Ip1KK
zrOy7MZSE8SIos/JPYI6pCStWvhMzfxBWkAGqOfWPMqGaIVvs/5F3k0Jn90HZSd1zWBhduDV9Kiv
7eZn9DqxhAmkh9DD/JJrecDwwmaJclSc8THe1eBTZ/juhhve/pZrW/0azoxqQZP0SEAxd7bk9tD8
yI3/PCUP16abmME3dLQ9+ORcB+9aPkqIeQASecmoegzl+kBaYTiwqTKGgsolRu6x2cU9kqiNw04N
mBzs+bN+R/aYHkOv24PJDri4g1/5xkEGQr6olLJpalaCuVdhUtmIMlZJqWlwHpRiH2uiXsd2QLeS
wb2HsEuyOSugM/NRRayDg12Y124u/30ZBF9rJYh7BVNSj0kfmjBqiCAwj0Q9BMpfumk+SV0Vuddf
uejmOD+gZ/GkdwVuLpo0pFG3RihCEN52be/n4fvvyzyZ3RxAvRlMMrbwwPl8mCoE+YFt7htHVhzR
DW5b65VI7kXlZlkpLQsWo4N8pMfijuEAEmB3synswA121E4este/aBOiS3gXOvlOjBsuuNy3DHyV
8gam3C+aBPckpdlhsgxPm3NBVMSe1Cd/sDopF00GSGYWmZlM1YSUS9LujPp3rAdbbQAsPctluMts
RorlF0zbuOnwo4y/BPPJWL5d18LN7HYlgitPSvJQjyPoBl1pwJxh+GcI4LqFfC2Cx0Q+yc1hEGnI
tqV6PxN3bVVtKcMioZdu0vu08ZXmftYeo/lWb55kKtpS33Rrq9MxNVmpgRlEQ6RnCMOxVfoY6t8l
BTilQEq1I8sSBESbI8BkJYszwYYS6aAWYCF5atOj7NXHGqAC1A6fVCi9if21BADvIozDbS18v07O
/iotDeUgQ2geR8uxzTF4u2D9ZRoEp9sMfkwFvhBYwHCInLGyJpnWOZuCMxryZwD04T5QLuju7lG3
vYuqXqCVbygqnx7XuzzecoXmZGZ1ECwAAouABDiMqmP0ixtm8qOu1H6oB0/gE/EQJe2iVMHk3wDA
0wXZ9gy2OwzOn2k27a1qurUq/Sbr4u9tOxy0VMTZ/cY4d+13ci8U9F+dTC0Y8dGJnhgK6bBD3dRr
/UwBuqX0EnoDdrkATX/u/Ia6bHZelE9sgGvCa63uinvCRqU26Cni2ww7bI+59UX/GWO3sANaAUG1
Nt1ZmiOLeGP+Rep72sQ5ZaVP5ozq8C1fQMe5M0w7A1PUTnf1NxSNhsCoZ46ggrRdOF1FxrwaKlHT
1BXCHLaWgKqHj+q0XezlHeupR4LMY9NSvQvjkX7UIa2DPEYW1ctdaksZcVXEwyRrHUxL3xGlB08f
KnTX7fHme0aKjcRNAygZT0KRIEVtxhbZaG6cpPHcpHtteLouYrNjBGjZf2RwCtMZZZtqxsCmYybX
AJ9S5Oo/FX96m/Ku/MAbvl+XuGmGVwI5m99baVMQFbqSBt80jLH37X2SAuzvj/9NDGftVZSQ8tpA
J6yVD3UCUBzrS6CmThGJnv12YLU6EGfr8Vcbi+RoyzA9xJIyaga5M90nNyESl3EvmmrdtL4rcZyR
p2pcmgRDhm5v5g46r7G0j4pj0j3UimglcNvyohSHXhOKqFi6/egyl6XGKkuDZkFx/qudiEWznfqd
FRkJmLENpz7P7vTCArh5Dwby65/wX174P+J5XDR5VggNcoQ8WYkOFEPtBZboC5j7PPBXC6lytp32
+2l5TO4+kUcjYFYMC5Df+tipJzvFmoNreBPg37CjD7Ko3fBs3f1eD2glmXuEQKwiyAVxz4x+VgMP
xnRi+Gj1IfOKX6Isbdtar6RxLzDpRyMZKK41uKCI4g575at2k2PexK2BVCUdwFKPDW5RYXdzEoqs
xHIv0pgwwpOMcI/tMToAhO78hlxxax7GuwU7UYyim6DfEAPqX6BH7ECfHPNKMvdC51CTJspGnDtX
+Zb8jPBCw2cGFaQhvr2Eruh7btvtd73lnqia9qYsSbCpqfZEpcSOsptKlA5sPg6K5VLk9zIyj7fO
ziqcrfIm6eQa2qrZo6d+0b4C/ssCwHqCkZnQlUWNw02tQawHkRSbrYRvfaXmoia5Cncr7TFI6Vm7
5DbboVLjF6fyUO+iF3HhXCiTU5kWyyVFkCKtmo8jmE+znQSKSGx2u5LTeIvTP+mdLZrR2LKv63Ny
yrJ0em/qE9TUsF6V4j6Tn8zmoGr7pHoWqCWLB3m1XEvi1KSe+6i1AqTHDNviKT7GPiMLwbitECtu
SyHXkrj4bOhVNe4lnGmussscBa4WYRK+skSrVYIDsSBqpZKp2Zppj+4R4AQyO1RDJ2y+G4HkCu6N
eZ1r98Z5pUKWCsmIUJnp3A5wtNkbuZ9ih55612FYbjykbrhT356BKL7eCl5WF8kPVTZmQORRxyOQ
CTloS3w0m+6QWvoREBiCrh7T7Sun5EcQh7jsZ43Vn5pZK+x+Mn5icv43Asz1cTi/M4OFfRiw5YhN
9e4OZDIntU7cRRYtrG8+KQVNNgB3mFgW5RKjoQXsPr4X1K/PMXRgNe4UhTvFlO90eTnUSi8IMTeD
WroSyJ1Lkcox7KO3TMy6jb7rDj7UXWanB2rZ7QH2cdeIqIY3n9hKJOdUWS6SJTE0w9KTvUbqyM6M
/Dxay9N17d9Ui5Uc9s9XbwyL/3WnUiQiNHhs0x9dJBr7ER2E/fOVADA/tFNsQe/aCeDO6IEFixPm
tUDztvKp9RfibF8ZjVonY0vTpVGe2Y0Ve6p6B9RH1M0WN58jN+4kXSBzg7XKwpy8rhqUOU40mD8e
LbH6vGwwMoLpDRb4ILLbIX97kbzKS33qxr8AV4+ueeMbbqs42l3vFM8iep7t6/3nN/CDD2U59EHV
WkjQaee0Wm2H0isYsQRH3bRT7ye1uBc3tpGR1WzzoDLqn2kUXypFeyww3IOlzPvrCrl5IKx5UmAV
yuDx5vRFM+gyGSwNR7nFTaensdPstFQEBxJJ4fTF6jQyDS0+3dz9AGannVU/40kVCNl0LKujcG7S
mAZdDmVkckq15E6iIpSaqkuqNA+xAm5jSl+rpb9YWuJev8LNzIOuBHOO07SGUWvZUJZ+Kc7xDew8
PbLGTXCoJQb/U9rZDT2DzVkE7rGpJyvB3ItYUrWZ9AXXmoN6Zai+DoYbDMcKI0DXTyj4fDzqaaim
mYlZXnQxq8SeShTpMH0DLoX/UQyv9jXJx6XDPWpzY/f5PpBBBRQILPCmN3u/M6J+tCJRTIOhRPfN
XeZotpVcPkaVfskTDfTMQ2w3RiOot6oiiZxvmYM2MQJYS5e0tPcyK8/tKqgOU9l8MZocJb381PbR
2UjC22Kcfo1VdZ8neeGAOvdUlr3hkTL+JoXtpSfdi9n2WFAszFs9N+5ReUptwLv4iVbdypqyJ1J4
6ubqz37Onq+rwOao2UrJ33AiV46FhBF4Y1h/tfXMo3okuxTwVslt8bV1Z7dG2DZdmv9DSfRt4e9T
ILX6XpyBAslkF+us8SVbwGUcgUVhFdZpCPXMbovmRJPqRiftfk6rXRI1uaPrqVc1BfwBlV+wdVLs
CWldCfwNZisd0jFBrdvyps70pqnYF7ASaiA/BUNxtGLrMcM4jpeiRqgPgTf1KYpb4ZNpirYcN6tO
6O5iR4UVyxR+tkzJgHMdGThVdg73/X3pW6gxs6pdzqAYhRD12/IIoBnehtk0PhwFjdOYVPHb5EXy
1sdL31IwlrEzgnlRCr0ZH6zEcY/MIr0E8CtkfmakPqC4trNSJEdTeatmpVfl2mtqxYIS72aBgq5k
cs8MA/U1wmzEJIy6tj5qOYpcqd8dWXVC8bIbnHVvPjA4MRGt7GZQt5LMBXWgr80kIIkheBwkTF3Q
fSeJMNi26wUrGdwzaM2wUUYTN0rviwNjGw7O4860e4TD8U7UifoXdSEoFWAXQbd48KOua1OzT9Bs
K5JzTE+Aq++XWzpdJmOnDEgONVfu/Xrw6uAWGzgCN7Btasg/0nl3A94oPe5KKKt2a/qpgW6zeVf7
hpcfVJdtU6VYAgdDqnirdftDvgvmHFAddm28sDXaBZ23MG2cJVN2Aju6Vc3CGsTfV8v7nzBosfM+
QUZ0sHq7O6ORjyG1OLaly+xi4MkXhayiQ/HvguZBrWXwqrN8adO7uRNEkJth1+pAnPYTMLMSrcXf
H42TSU+dMtlSfVKWh3D5OpIHKs8i/RCdiHsLGZA99IZlHwAH+KacFTtxm9PygFF/X99hOqayrb3g
qzFUqU9eaHVILoAds6AfwfQCL3QcDvlRBzmh4tFT6AqVn5nGa5K4KLYkcy3NKiSxDbDZK1zWj8hO
2ABC0VzEQrDZ9FxrIxe6zm1dIblnMbNu/VkF2MlRlxaTcNMNeAt1G+0DL1OTmymitS03YGWgC+Cp
4u/dpJ0Spf9zatIfWqv4ZFKdPOr3VK+/Rh312rK/G9VQOPcrej1cxGss81C2LF3JMIdiMtr1fepo
F2ziOtMFjELO9e++GWCz3U5WNtUwB/4xWAwzK14wBYPPPnX7vMu8stzJ/WS3cy0ovv2LyX0XxX0J
XSlVazJ6NgXO+qHV7bSX76it7kq3eu5PQj1jj+Sznr3L424SrzarNNZqDi75DfWmfV/Z+k+sIZk2
ZomwUm/cSWfTElzo5oIj/edG4dA+3ihAV4ZOaeArye1b2xfTgsETKju77JgIIoI3U/rvRwRG+kdZ
edPpxmJ2qDQOaWjrKkBf6/E1izUnoKOXpUpoVwNFjG0mthTO+zDFDiEA6Isl8CeaH5RifjTJRGxQ
FeyXsPmWJep3lZqHNsu9pVj8eDBug6E+yrK2z8b0R5kCtHskIN8MYBkKyy5b6g1ZKNr72OzsrW+R
i68kVAgkc8bHC+vqC5Wm3UTQjulmzwzmYyKFu3YIMBNmt4k3JPu2m2+jIPNLPTkVxU3V73rLeqqk
8iEnVmkbUehdfzbbBvpv3cKeyMeLn6qwwXQoPnJGvpD0nmqC4upGhIClRYAOEdQnZIQnnM/pzKku
CjD+/rXIcw8CUl+9k2+Dc+8WaNwmXv2DHOhFEYCTCOVynqfN4qBsDSQXBER+8j02mM5oLbjdSXqO
faqweQmsWo8/Iv+/XujH83LuJ1Pnoh2lgbhEGjyryx+injxeF7FRxfgog7N1VUR6JQ114k5/9E7n
5jejD3xmDLzIGAWZ/upm+qJJ7M/Bw0ehnNXDoKsWLY0FBrWdeWQN4nHHcPdFk2qf7fhHMZyxw2hr
0Jt1REAGdw718NK3h8RCLzwSFbquC/pk3tIm6yPDlMBapWNhgozxXYtpuLBq7ipVEryyDfu2PtUn
+2aE5ijVWEHDOP3bEsxOusHCwwOLh/rxbd9THm02VgNSum+sMKqNtvJoegksfADq3PhWuUtvzRtR
9vf5+X/8XZx1MgDc1ctYm3A7LbZD+bTkonBMdM2cgemKti1qgNBgigyjBYxtvnZM1ITZxmd2M4KM
ldG91V+vP5HPLvPjuTirE+lpb5i1St3cKg9B2B4XvT/UKH5fFyM6HGdk1IUOFKyQxK3oA4l8qwJo
qwUIBU1UZt5IKj8eiP2SVU2nLZc6onpMEGuObzhbsdedZPBP1bvsl4ipdPOpA0gHHL0KBSwE9wbn
bDa6FpTSblvfze0pL79E7WBbZLCTGHwfJyparNq8x3eB/PxJuOSVlo4jnER8aRNMchraIcisI8pY
goxkU+FXkrhAo87SCfwsJnEV9ZzSm7gW6Pum4q3+PvegNKrMst7l+Pv5tI8yuuvH8mWyCkGlUnRh
3KuSIksDTQuMsVZjG8a6JxEm9Gt3EW0BiI7DvaM6bNIya0vq1uMz6LtsaqX2OP68/oq2ffXq0rhn
ZHZ9aS09YoTgF5sIYmvhjKg89Kej6U6gCbP86abyRaOGosNxb0qFiZjjAXNqVpm4gAb9o2+mi5xq
ojWfjRgQj3d1Ps5fp0tmqglGrOCvgVGMBUhtz6DRref6m3rHNqlKF+uqjnJboSzbijKjjUD+o3jO
c1sjVmXGATrJEPoYgZex2BkGWDC+6YNYWfAxmYZ/DOU/SuOMxyQDzhWLTX8FfHXoSKHN5rpMGwDN
P4pfIuoSdndXxPGDArnWLE2FVrjbozAMLrTs1ZJLLwVmcZSWjtYbguBLoDR8eZamOWKgCKYqtuZd
HhJ/VDVsaCqiJFNwjTpnSPqpTxqjwwu39vErm8jLHRSee1Sec1dcedrY9vnw1XTOoAwA9JeVHCFl
TIJdlaQ+hnBdYNx4mhaeQ3g4Svov0mDZg/Qb/NDr16FzNqZE2jc3E2KQMDA8gLsdcyFC/MZ808fj
cRYmVmdVmanC3GfgV3eY13aix+Jk3TPu+XnPRuJyQQgi8DQ6Z10wOUDrOZ1AcC8ndk9CuwXK8PW3
tq2Llon8Elu7WHP4GBQAsllTpRKx8tCo3pgC6zNPziiO7K6L2T7JuxjuJKERapoWQRXLyom6m5C8
Xv/728ENEAr/PgdnHwdljMLCxDn6o3wMjmSv5bb8XbmXvzE+T9Vyr8sTXRtnDyetb1IlDqHTDVq9
x1raWb1AhOjKeCNYhbFm5jF1lTG/g4Z7aj4JQgCBCH6+QausJAE9mepG5JwP97IuqMlsFBzZm/nn
q/CjDZU0L/mQ5/Qtc+9f6hAgZdgE3i/7wTac4oviFN789dh5pp2c5H0Y2ZNIwbcz3dVv4KxguFS5
BWA/Fe922Uk2G2TVJTu8yD8pMvi3ue8fxqEsBZ9PpJF80y8dpxE9OLhMNsASe8sPkK9VuU1vGbxT
5pP+cF0lt73Y+12zj70K7ynGwqNQTYg7Z0iH+sgGRUvUP0fjd8t6uC5q+2zg7TFAhI3xGH6+NFL7
odIbJL7qWP7EjsvPONRO0tD6VtqFrj4s9zkN3DjM7Rrd1DmVvSYQBfyb5139Bv68IZ2GeWEmJV+c
evQmUAssErgRm8cUvAXXT7z53lfCODOZqu2o9hPMixb6TfOYtwcr/nJdBHvPn6KQlQjORPaKloYU
SGEojjBfnfrjTvKTo6hBJBLDGcolJwCs7yzytpVfowbztpEr7ENtILni6a+Ow1lIOYh0ibRYnWLH
wabKrYWyXbVXwPh4rg94dn5wo9zpl3Kf+cJwlYUa1+6Ss53tMJSzAoeHcFXZAYs79srn0B+8+azu
GmDkoHB7/eOxj3NFIB9CggRWU4ICxlpCmRk4ewDSP+vSRUpErA/bkfj7vfLBYxtMSdxqKEvIoCnI
6HQHWgtQH5SAv0gxHzJOhV9U+oNVtM9j2l6WORCFlZteY/ULOIM6BDiqRCosxbmmrzqMeaJ06KGz
46fGVu3wURFYNsHj4wPLFLjqHUmR283B10DH3Lz+RwGux+tfUCSEMyfaGCbmPFHiZpLhGxmgvQLw
kMadwCWKxHCGZDLjDvC/murOxR3QE8zoZRoEIjaaSx+eHh82FklVaJKBSiFjLITXBeEUFih86WIc
O1/6vgjSGYFF0TmLYliYwUcFUP2rPP//DVfj/3fIh4+n4gxK1BTGQnskhUmcnoKxPTeVLOg0bH8c
3VAwMiMDnYer7FjF1GUqimSurH3r25cp+zNvRGPc26/nXQb3eqo0a5RBrolbYOG1DwF0304CVd7+
IO8iuETMqjM9iQhzVvIv2j3oYWpPnaPmr4X52Ab3Dah3rr+dbVf8LpB7O3nRKM0wIxoei8Upy9el
SOyKPIEIOE+//W+iuPdj9QtmRaqSuEii3UCtXBiqg9kr2MUwUh//5X9UCc4rL1Nb14sywLC3+876
XmcvlvXr+pG2a1fG+/VxD8iszEbXsOWFCJVi4ICtdcKLaODqPbTu5JW7v/698DV5d120SBm5N9XK
WlJMsUzdHsgx9QsJRRC3IlVk/3wVlEpLJIdGudC3aIMFNcRvQY4t6pgJxPAzREYGYgzKSqassQSG
VsRO/xdeDIF9eJteXJ1Gy5NF7gt4vr6Sbuase5XMYh+O4W8ls+8KwU8NqYB1IHU4Ecyf6MfIUfYg
+nDyA7BaHjMnc67rgOhQnLWgUj0qdcEyZ9VvpZ8VvlAt8BAbOx7Mdv+j4fw4aUPnTtUT1ICHHaDo
bt9aNyd6y/xR4PUYg/o9Z/EukDMTUdC1yf8j7bua5MaZIH8RI2hB8pW2zfT0GI1G0gtDZkVPgt78
+kvM3mm4ENX4bvdJD4qYaoCFQqEqKzNGvcOb6rDqVXBm9oJtExwdjQsMRG6GaZlw65ndcbUfCunp
9mcR/X0uKIxlNXV9jxVAryaiX1b99fbf/0Mi+b5F3NnPirXVNXvRMS/cHhkurXTzOynsw0qoFCa4
HzQuCgy93hZSjzqWjuFKXNz48vnzRA8tEY4hCyKBziFOdDtT1zLDZ4leLHcOZDQL59RBVofRWfMl
Vx2o86wusCFv9LDah9ubKvhoPO+LHS1xUuTo3I8F9Wn/fe2E9A0iE1z+YK1Ri3kRVFPZBDvwHJ1T
eItyziHxCIU0xny3mneiB5VoV7kYEcuQN7KGtxRPCyoUcLTwf2ncM5f7/RX1yyV1tvZNfNVzMtM2
Qh4xk28kdtPpw4xRcjI4o31nJh9vf6v9wtB7UOIpmvUmWWZTitiDOwrXo/Fa/0XfWIRZn6E4kaD0
KrDAiMYrRB+QCxyDPufNAIp0rxyeOuibmpZgYYKArnORQysTg+YNijNx/kzaL0r+nFqPt/dudw3Q
STVA4a6BWZLzB7OFlAXVOrzILNtpzHBZv902sF9h2ljgXMG0si410APCG2bxobGAQsVyXQJG4Bu5
qSAW7u7Yxhh3Wyj1mkGWDqX9YqROohknfQDGwBY1dtmX/c29N2a4Lw9CqEztMd7rQcDHq+vyjs6d
o1vqY6/Igox89yRtTHE+QNpZScBTonpN/pwZB1h1aukIkXfJOA8lEdyFov3jrpK2qdQuU5BCjMRP
m8rp54M6/hB4hMjnuEuE2EXdzDXuK/tAHkEyYYU0qMPiW/GzBTMAYC6pJ+ru3t7F39RnE7NfVkmG
X0DKdLW1v8apvYLTA/pueCP2C05YHx1uL/P2Vv6mR5vpad2sFQ7vOihOb5rusL62uYhea79E8Ms/
flOfxexrPRttwZ4c6gmIE792MaYP4qH0QQOV+SqA0u0mABtzXLwYBmiIZR1eOIOM+p9yNu2Hnt5r
+UMifIsKIochc5FDHiRIvC1wRgqxqoVaYVUa90P5qurrQc+pZ9D4SGzMfvWRDwhEsCSTiHd3v1e4
WS8XUKJWNzKQpbO+R3rAe+65y9BxsJ9MwOtaZwwhord4muiEiHyHiy+9TjptKXGh9V51tA+DD4GD
cwRKFEx5MgHoMoB06r+Cf22WykUaaWxJmVsKqj+1FthyFdAi8m+fif1UdWODiy8o1KzySHEZMHED
M6ieS7fH9K/qlVfRkOXtKANu63+mID2ZshjMGQicKb2L0XUzoaJ1ezmCz8RTpJFl7iuzlNGs7r9F
3ZdI+5gQQWNPZIIrZEnm0CSYQ1Q9Lf4KlmRnoODo0wR3jMgIl4lC8HLQYwYgauQjcFCN8VSIeiL7
pZH3L/8WxzYZIVkWIH8zuHT0En9EtRmqFiQDd/B4YJT34Fs45eBITU614BuJAuTbi3ZjODXMOp4N
pKL0E6Z8n1iWHQHg4wwBDu7HPBD5uMDv3iLKxp5sSYDMWbLqWcWJNgCii2oKoq/FBYcoNRqiIkB4
1ot0oMcSQ5GO5BaO0ToLeGioKybMFoXit6+7WVRsAWSmDQjFTOGGsW1FR9tvPNYAjZ9FiEPRDnJB
YlwMRS57dnMSf8x/zpicvX1uRVH9reW1WY5lJ1GSQT0Q+le9F4WMvB/kRBf9ajktGh9QFD+I6JAE
X+0NFrYxqc3mKEmACHmJ3jk5+CN6pfP7XkSJujNOiQLN+znjK9+NPCwA6rEoHqr3zUfWJo9PlRf7
cZjfMZy7dmoxOyqBzPn2pooWyAURtV6kESoFrLE6u1PS/5WSn3KxChOefe/QDMs0DFDF89oS2UQG
rR0QrNgVwqSjGPgVgsrh/MhoJJJT3wtW9gd3eTfJOaQiF7mVWMgeF8x2FQ+dg8v4mLsdJqgZMTa4
HYXCe384ce82uesrkQAXkgp8x+mx9cip9KUnhnNgc0UgfTve/nZ/iM6/rPFdz6GfpllW317Q8WG6
1BdQPh3se/qmzQCK2M/plSCb/Hc+826Wu93UhRRTl2ORdX2myrchfyGm4IG7D2YDc9b/9RceO5dk
eYup/JmVWUYvP3QXppWo+dlJRGH1h5vm3RKXG0u23aV5i9rKGCz+FIIk3zf9womuf791ZUFqIDgI
PFRO7tRsrDWYS9T7IZecJbJEjs9qbL+/c99XxM78JmilaWnUBMIgHsiEPiW68SLF7b0EYHuqAcU0
yWG/9B+7OPtQSJHg3t4PJ++muVvOTqVoaFd4ZGU9gefT1j5E2r/Cgmxcg8t416SWUgRM3SPycV6e
1tWvDMF7SbQMLnSkVJ9Lq8MyUGTBdJfhjvZ8zeRO9KWYb936Uly4UCfge2aC6DtfIXnKqsDsgv4+
eOyxELmiiSqB7/EaAnNUIxmVcYEu62Vc77T40+2AJNg2kwsMckJILGUIDKZ1yLLF1aPeUYYyuG1F
dGJN7s5S+hrxZ8RdwmpTUxj7UBudH5eAiR8UfxVh8x89zuRCBAVrckMmpDY5De3uoWiCoRd4HDsY
NzzBZJ9uc2YtdbLqVYOJ2S4dS22c2XxuK7RP1oNg95jv3rLERQe9iRI9jxsd1+LiqpfqGJ8he4nB
Z9B7QEU0QW15Qmaf+Mbn25ZF3sHFBoNUpmoX8D4FjJn2HSSs1FXQLd5vdL3HBpOLDUm3mkOcwoYa
ohHpr6/0MABwDUpSpm4SPS1PotrlHx7Hv0IeL4OzKEVkTCm78jHWo7tI7M8xEFaFnwaSYHmiHeTC
RRerRTmxfH7W7uJkcHPD7+LFvf2Z2B+54R8Wu102nqgvdWLEFOuRT6x+8TdATT2IhJ4Ea+H5mktJ
Lldo66KGV4JCtXmYSqgkgkL29mJEVrhQEfURKSXwwnjj0DiVvH5o9cppSltw7Yn8zuIihA1m93iI
4Hd6aH5S0O1Kru2ZuR0bj2X6liIuAcEptrh40eha1mQ95lGkpfcV7ac1uWlNHc2AJIR6X0vCmZD9
EuIvN+eB6omkaZJZYSeZm0c/dcB4R9lpD0wTo7uCZdgBFwSSXFGyKVooFzU0c1r06Q3dlJ2AY60n
KO0hWtV3cumr3fNtdxH5Phc+9A49tppVf/+fZOH/NiAr8kq25s0Ro9KqVfKC8mRHz8rylNOrqn+5
vRJRWOL5+wjoNSiue1RuLqqreCuUViEU9IE9tVRBSiu4u3gYe2kVdIjnHGEpQiWo/tbpjVfJUbBa
IvCW6H3FA9oBOLJQ8kLCRL4MPnCtJ9tfroMnhaWXeqKakOgFaXPRY0QjO0lkkzXBQJ+AJlh7QBnq
wXxSn5fAQLaBQdGG+re/nGg3uVBSVYYlk1bVMHSSu6vZvK79dOi0/DRX+Yf/ZooLIqsSgyBTApY1
ZUwKk+5Mbe0M0dUw7f8Wh212IjYenxd6XWUd4mMfD142QKpcoSedipB3Oyo6rI7yK0rZXLSojDpS
rBVe3+CLrd4QSocV/1YBRC3c1aWHImAoaMwx+xgmfpZOjHVef1rC2xsrOOA8k0kHLdkSrXTdK4bj
nF7LOehaQagSuQkXQ9oYcoWjgRJz20KzmkpO39BLKgOuVo8CjxQ9xm0u77Aa3GxWDViF3kylM5MS
g44VZNxi6ZRk2s88RsAco9SVk+V5zsdPtzfz9krt30hMMNKAAXQg5nOUULQrUV7XOnN62gg+muC4
2zyDiZzLmQzzeJrfVcfoVD3rON7fe5/Rpdie4dngBBIVGNkR+z3bMmUVJOHgIOUZQdWshSi4iakR
nPQ7Y4HGb2eLBqb/8GB6N8KdijhlRKo90PF/p6iFpyiYRByCyVP8PtQmoVTjH26fd4vcRUpqFE1H
GXVTqQu1xNEwN0fU1IPWOV2/59bHokMtJz/X0LS47Sz7I0/Wu2XuXMxxZMh9hxzZykFMxfS7JKfy
ELyBwqaoOEpu9RM4BkCQ5LeiXBZS7/ZPEH1S7rSMvT5KVYn6RLReomF0lPTHbQN/cNRfa+ThlmmV
RFG94MLtIYEgOTRowjRcz0Xkao+jr6FMvPbeKuo37Z/Dd6vc6z6a6rqo2TUPijNHnj2NKAcVcXYe
Bd9QZIi7dht0LSrcDej9IGnXjedSu5fWLwr9KthG9nd+O3u2ZtnQWgKtDT/KUUwxxqozIBpYe4R1
E2Lf8mIQMpRBJeRe2b0SNsa4RWEkZrFiHSUltbszyAmSs318uL2g/dtvY4NLHUq1S7oumpBXojBS
HoxgCOtQeaIPjPAd0rJBcwdklR/D8Vu3O4I751AfIl9UZtrvZmx+Bzshm9u+zZaybiZ4yuTOKPYX
KC4ATZ0+5uANWh8hA47XODlLR6t1S1GtZv9wbIxzqQYmj8pSXoHvMp4NfFnrVB4wiOcxy0YIOan/
gad699mwMcnF17zStF5lc5wZxAkYytr4n+B5e2ZAcgPIHMhMbcJnFYncTIUGcmlvWg+m9jXVw7Y7
jvbnmrTOWuXOqIpoD3ZvfqYFLkOJQEbeyW3mmiHpJBBl9lZW0bsOBUh8rUcdXSnzrktfNAz32qIk
n0Vo/lhubXK7aVTylOYKrsRM/TlK7iy/WPpTmZ1r42kBseztM7P7otha426qckJnViWI1gAYOUbZ
nuO8vuT1eC9l5DhLjeLIw3MfGeDNwIt3LX1zqP7/+fDBTLvZZe7O6rppkPoCk/td833CjCrVPuvy
0+2F7sWfrQ3+VsplZTELBFUjexnS7615HoUiHSy+3PhyfH3ZstduaDKc+8YnoeznKIWRY3voGI9o
uLyKQAK75wFi9Zh/1S0d3dN/hplKmqmpdoymwizCXreeOnt2akL8IjPD0kockNS6VB0FeeLuTm7M
cpF8zO01Kzt4TNrMj2qJwwd1GRes599uf7HdtE3bGOLCuYSCqR3FPfjPnMWt77VDFjAiYbB+uPr5
f4AL7N27CB8GkJYqOKB5tfKib5W4nZA6ZUfpE+M4mU2nQjFz9FHFcqqL+VCe7aOokrWXLm2s8k5j
LPVckBlwnHyYjyv08KxSFVyMf9jJXyvjGxPzTFOF5phaavy/QSyW4VaHJYg/g9AXkkbiW4iFjd+O
wvte8j0KtdCnaJgROOUTaEUD4xofOjCFmbEzupNX+flVC1ck36J2pmg3OZ+Z5FwrSIeBn7JenDWW
X1E9exb4JXPwW2vjrvfFVFEms1A2mE5rYAMEmrvRof5bbRrYjNvWdk+bqmiWhjsPulTcDaRHMsmg
Aw2n1LRTogy9o3X0g92JRrFEdrhbh021kdgGWmBqOtCN6Z4atQdzLo7/bTncdVOYWkp0FdV1YwiN
FYity6IJTOzen5sd424TyGanUpctaCWl1NXXpzzyp7k7pPkXUM46JH+8vaJdjwMPpwK9EPSt+eaY
apSGPL9RE+mm3yrFY56LtJJ2A5NhK6ZlWyq4vTinXkpFVi0KGgtMmTm6rJ8t4MSBMnHKSNSe33WD
jSnOt9ukiBQpQoFxHMN4LDAJ8RwLSV/206qNFc6pbRPt66oCs6Uiv1qp6sbpWbVfTPkcDaehvRtI
2Pafb3+m/URnY5Nz8GHJVKqhb4DWmIy0vAOJX/ylPaifssNysH8IrO16xcYa7+fJ2JMmSjE+dSke
6sfiuQzjkIAUA11a9S47ZSEQuLdtikxyfq+A0SlSY9AUlumlqh9KSdTkEbkhy0c2z5pslKtp7FBc
nNzBV10bAqBF4pCHFJykGGrKDupr04HvfhRpSwqcksf5kIrK6wz1egatIxQT6x5ZRMkGS5Z+C+rv
H4x/DNO1i9JVQlNdDSd/9bSDddSvUti6iyOC9YtckQf3dH3WUGiBsN7E5JuozUbAuM3IMpgYmWh2
arc3p21WxkUPvR0gqRWjc0Uub5DsQ3nRgcmyQ7RoPdNrhdwbAj/hIT7pSCwMyqM0W2glgINHCj5k
I3qQZgEThMgOF0VGTUsjq0KnwDSPGT2Cxcypk3Obiiamdqt52x3kQgedDGXSeixocmV3PGbXHPhv
7aT51b9Q38NTaPOxuLhhr9NIEgYg0qfCrZfksKitoyyD6CwLggXhgoU6LCh0jShQqo8W0KTtsUKZ
AhOYjJ8NrxXIPIgambvzbtulceFDH5shWrUVHe+f8T0gkE/5KfIs6sTgUSYBWsQoyEBdQgAs2U1E
3zeUT68B/5UUTGYD7V6dE+iv9HLrdf2lMc5mJJq7ENniHmS2JnU0H9EvUxDpLTt/ILNyshId8kyp
dY5GaDPdDvmCwMhn2evYp2vbwDHjbnClvnroC6jJ2LQVpFT7EYuVXHRiQxCNf2oi+1hyPC/YCWBE
6tDigbPIV4brlI7/BuahbYyx/Htzz0iqrFbxgvCY1/d9iwz+ez6JiAF2y2RbI1xUHLqiNSFTigq9
Urm9TVOnMKISYuTTcWpBTD/EauWwA6jr7V9JUvvDMr2OUn7uzOLBtOTHSDWfbn/N3Xi2WTc7s5t1
D8WsVDUGd9ALOdTLSaLfBuNo1a//zQoXNSegg6qpgZPGFbRjcAbQAsWpsH52M/lx29RukNksiIub
cbKaNWEwQq28KFDO+zcXAJxRV2RCEDb5B/tSRxTyeOiqGslLmj6u9tnsvjXay+1V7Ib/jRk+hEhp
sjbjgtez4RBwqSlOjVE1xvCgHkTP192X+tYWF0JWDQIYSYskblUcNiVRN07pji6mJBjLNIVar0ib
YS+GbC1yp82w5yFWFgZsMavDQIyQ6lGgqqMghIjMcOetKVXLQGjEhZNelPyR5q9FJGp/i2xwB0gp
FalqGwvxF/gYUqqpYy36pZwg3SxwiT3P3m4a+yWbo5orVlKjYMlcQhqgqQyJSCgNYyisRiIMmfNQ
fH+y65FPULcmucOUz7ZcNOAZ8aIqHKfKhfZCOb+a/UOqxo42PEHPTrBK0XZyuQhYrGc6rCgJzCkU
DhPDUZTHtGoEVvYuze26uEwkipZEgUod6m3QWe3Nx7nLnWL5ZNv3eiNS9dx9eG6NcTlIWxs15Ffw
LGOwepTbDvRshmh4n0QEIIK941GEptwZo52AZ8swD6n5oFsvafsvAvlmLTyC0G5iSoYIB9curtZK
HUk/VcXRiiv/trMLfN3iAsSoZ7OuNygJNGnsNDpmgDBi/d9McMFBzlFGxl0BT6N10Df1QZtEbMR7
l+t2t7jYMJhymi4xMBxN8tOSiKvOsbOWV6aPeHstoi/P/n8TGuRl6rWZAfbG6Guhl87QfUrUSWBE
dCdZXDSA0HlMKvaEzI70AwWoh0n6Rd9BrOyKhjlFd5LFxQE6lFojjeC/6z2m/FBBDDeu3ewbgdIo
OztUJFsmCAkWFxLmbAKpG8V0+Cg9dv3dtIbj+CPPXqrlw+1vJXJtPhyk6dDPBfJne8KYVD6e0koX
nB6BO/DgwH5dpqRM4A5tdwF0y9VTCNJWX2+vYzeb1WUTVWei4LHzW5W4AMe1VLPLYXYK6HN0TjM7
loeN8w03+Ro57EUnwu78wQnfrXJOqEK+qzRW9LuyY3yoH5GoOLpjovebnUROuH/7vZvifNDqOrOJ
OjBsG6DTsYy7Ai+CRcZbZ/YX1bfTl6oUQX73nePdJOeFDaHUjCN4oTlIXjPLh4Xm4e3vth+U3k1w
/jf2dWbILO6BL+9TbJS+XWhBXIyBndLgtqndYbmNi7xdjZu41C+anZFaRzLuyC5I0T8xVhPLG19j
sJVNXgaAQpBhlFnEOiLYxjcn2tgt1H7uNBnXR19SHxhIBwMygrmA3efpdm3cFVXqCdonQJh5radA
HqAI+s6FVMEb50ACglD39l6KlsRdV12crxHpUY/MpEuLAQRK5/9ogf2CzaZZcaLPFZsVmaNrQSrH
EPKN7pZjtnvG3VNahlo/xjXZnsVPKMe4JRic7tm07fwxdmXQmZCn+Cryhv0MDD1rxTIslBNMzmyR
GKNszmzvjpjAOife6ORH+U4+i1SY2PH8LV/eGOKCU1VU1bLGgE0WyYOtX5rsC+3PUDPJ54eBRN5t
j9iF/OAd+mtZXHxSlkxDiRWvauaBGQXkblID8HznGHFfXdkDPAUgFb93s9iNMlfEqrx7y2zMc7Fq
anLJBHAEc4epX/UY902OqxCXJjLCRSsypssy2SiR06oDOOWhbVI/zUVUxho7PTc+HJ866yOYvVM0
kL3iaAQ0iE/zsbvYZ9kvPDt26lMSFJZjd058bI7Dc3WR7tBO9szPL503eYxPXZKcwqUetlmU1e8e
/Pdt5lNuk8pGDhpBECMuX0rl4/hvZAo2XsSn2kmq0hnISWAB0oORnybReOp+KrdZABe5dNqaErGA
hO384aMC3p08bGPMh9UfmAjjcIgEiYnAZfgxnc5cy6ocW7zIa+vQm+mlaPs7QEX828dvN2HcLIv9
jE24jGWptCEZzmgK7ozO8lf6s4w+0+aYZtfblvYzrY0pLqyYUzK2ORN3Q9H8Lv+oAWMY+/YTOUo5
xCwh/vxSvJCn20ZFu8gFl5xMdUrJyiiF7qSM+hq4bSsRiZbQN7gYkg6FRdocyXDnr4GCmYHEaw/s
FmWkjAWI0m8vav/S3uwkF04qxZ7yhaCmbD5rsJee0hfbNcP8AVImwhmd/S00DQAoNMAH37KjjYeU
0Ghf6YDbrjNf2/RDWlzN+MftBYlMcPunVnNs9AlicI/qTD+6BW3dQRUkBorO/syN8Mg/KJrS7CUp
7liTYb2mBOJZUlS9kkI965N+XKCDKRfLI4Ee/VjH96oJLfJh/EEniDKVZvOw2npQAUaoq3FYGEkQ
a83PtCOBrmm+WSTgcexmtxqtw0Lq89oqHiBth6Edcidp2qArQbSQzX6mDx+XpfFjCBYVZeeTvjlM
Y956Q118KVC5TmjfukakH/J5fu2G5aNsQdq069pLQyS3U4s7o0kgU5h+iolyyY3ke9JUfpEqvTMb
/UNctk7d5y/JuEIVbJ0vg6a5S5yfFdhIE+rNq32wKnKs0uqLbFZPdABA0mw9uTe9Rpm/d/Xk9HXi
yni2yiY6uot+LiZMwFivVVk/RFOyOFKq+FRVXa1IP01rGahQcVDTNpwi86Rq9ikv4weVNPeKqh1k
e/lI5dwf0jI0Wnpv0eKjXSgH2RwuVYZ7SU3NsG2iMFLss6bJ18EugqbOj1NWXdA3/wvIJLdv5jsd
9L3pul7r3DoaneHOkCxtU8MxIyh8GhrYDDE8udQOmVDqNa2T0Wo/Or2+r4r8A0kMd4qrbxogzsAX
n0iazXgFoQefr64x2U+1DoFqzQyiKffRinvqWsVRZO05hsJ4k0LDuFlGpyHrSZnbV3nQHkFtdJzm
/Ks9VM+NWp7lVQQoEVyZ/MTaWnbKACAJxESXc908RiK0jyih5IfUFBrFVK7RZOgxyEGGOxVCaNha
CJDQ5i6qTD/qPkg9FZzD/cP+K9/jGShLORtSPcaySEuPpISur2z5eVWIXm37yZCuGLpBMNalc9dN
nM0G+pcoHzAmN8BxDkwBNg3ZWE52KJ/JvxEW0pV3e9xVU7Q55m8SwM1i2Xog6ELRogPcSDSm8ofg
/26HC5ZkzVbSsB4fGy2EZJcfeeRNmVk+GA+iq4Zt0u8h890Yd9NofZ8BPoVNlKyvZDrOdhpE1uqQ
PhGU5QSGeBHIJgLuP++xe7Ju+HlmQ/6CehOhXpb14e3bZv9c/VqTwTWKkk6NFNNENz2Rn9o4aCPB
9fxG7XRj0wzuTd3pLY3SEgjOnk0Df+t8etT92O9f9R9hkrjjT1b6Q4rtgxlEqBKzf7zeV8flqQN8
EAcKrQdlPCUxQnl+7qmo6iz6WmyLNzmBrEAUCNMGKJqVr3V2X8dPzeiOUycIFaIvxda6MVPrYwk+
ATQ4eukEEjRH6XSB2/0hKX3fLi5KqFFNm4E9/6wLsFEn8Kg8qJ97aD1hMDiIPekuR2nntv/t1w/e
IwXPaGXLWpXQBa/B2u896ZlxPyhO+sWCCINr+E0NgEwTSMdCVBwWbScXOQqV9FNTYDuJGibVkYgG
Bfb//q9MkWdgLLKZNs0Ir6gn6tbJvSLUWxBY4CtxFYbjIMKCalWNkK6HlXFQkQhEVijRsDHuMvuj
nV/y1JvQ25Mvjd56gk/Hju7vR/vXEvmSXJTYUN1jPDiMjIy9q1NMR/UnOxzD4Ux8gTUWiW5Z4wJJ
pELd3hyxXEXpkHPZYGFv/LZvUdSCHltzUZq7FNj+ujgjRAtwTvvJ8vtKuThCWyUp0whFz2wkr1k1
Qf13uJadHpK2vsrL4vZSFgjWK7LJPv/mvK+KNZZtid3Vw6VwFh8sfQGAR3hLoRK0gigih6gG6vFe
7InIWPbD5vtyuVBjT1W+6MmC4louh2ol/1S74W4eRSDu/cD5boYLNxq19DzJAVIYldxls626+ldk
YJjt9fZWqm9tLM53bAxiQOhNUQnQAdxhR7u7t/uoVrzJ+DzqjRMvnQ9CTic3ZCcz0zCNSZhGMXh2
QZa+Gs/x3DSOZPR+JFcfK0PFVD91VwWvF5pYJ20coWK4OCQpH6Qqc4n2KUrANhglbpWMTjlVp0FZ
AFsc74blYidAmza5s1DtSCQrjJvomlOMLyi9R/LEKQ20QjXMNNiln8vAaUyR0xiTl5glJm9itzQq
R2vLwFLHi54Pgbn0TlFctSxzVbr6spJejREFwQzPp3T+mBSNgR54FdK0PhfmAM14AAyL/q5APc/U
Fq9RwcqW1Y4cPSpWE5qD7Ze57uTReiq7EpR+Npo/VWFf5SL7uXRNMM8X1Cudunqs5+mSg3nNgT6e
YzaSN5vgDTNPJrXcMaY+cBNnUn/upAVITS33urQ8Nhr5PK65S5El0eRrmuTBRHF7YQdwnP8a1TXx
i7pCqbOrXDwywqoeTioG8dW2u6dSEhoNdScz8Rpbvy4YIGsi2VN6tF67av3UWjl+jdr74NLr3anT
wrHt52Do8ECJ9DoF3CoJrMKABhaNvIiabq+WXm3+VchmmGWAxeQjucpt68r44rOtf9Gb8k7JJzCK
NqPmlNV4n+QFfkQ6OPXcxJ5s0Q9rOdxJ1hBaS3dXJkmYd9adJU1Psl6fWtJ7Sb22rtJQw4nRK3Gy
bjja5nwc+x7S8iPxdCs/yeqXfJFQSZ5CxRiu5kLuh06K3ZgaH0wr8uIlO9jSy6wrn8oWY3MVfv33
tAbvdF87McLOSqIPcTp4hl4/qXhB6DN1lrjRHDIPz6sRf6iHydFsNSgHCBip8rdoxG/R9di1ZdNX
Y+U8jrHTR7OXlEOoprG3yIqrI28hQIKQwTjPRe9PaXEmtAwyUnxJLcnVciW0pN4dquUOye+Lpixn
PXq0ZgXkbqYvJckXo4k/zcpkQQRTO2UGcrzWvFb5fFoMhKui/znr/Z25fiWlFS6WcSJ6gTps4RCz
eKbwREkuHo228+t0OELi6tBknxUzP4Oox2ntNMwr9PZb2R2aBgdA+lloxUGSigvIMTBYaD0rRe0X
pu3rhRqYc706hro+N2V8gQJSYGuluwzdwZIgSmSqzjBXQalFDo3yTzL5quuany6JY6qya7aASfWp
Wxflg7xWzkTNo2ZUQYwBxqRIzlqnOiZYzVV8p8IGCT5OPH7mWqdO2mNeNwZrxlIdULn0hqR0bMsQ
3L874fMfQY17jqQ12ulRnYI+unxuGgnrROsee2lQEQnOzn2wtcSrkVSR3lXE6lDEwSsLYLLQfCpe
rR8jwObLcTksT+RJxAK+c/v9wyT3LikwXJcWSqUgXJ3mwfKJdbT6S2V+WqzBGeRakFwL9lLnkgsJ
slWWPUqKhxzDxYvycxYnr3Nn3iO2iBrCe/3uf6yNyyaWGqGtLyc0QHQ1HGjka7n6NNS5349RkDfR
ea6Uc62MlzXS3FgTaS+K1solFmYzlx3jy/Dk5rskf9cMxHzj0GWPt2/dvbf5P5bJZRGkKHND7fEJ
1++jZwRFEIHxuvw0eMkhD3IRrbHIR7lkIqqZchM4YyF6NzrZFKAIiRLg8+01sa25kUfwmiRASjVp
DSpvAIyONDv2mQBlvvcC+8eecYmKQZVqMCYkKq234CVUBRLSanSqQILG3mAkdiqxzOhOZv0Po1wg
yawenecEqyruZFd3tQPj950C+9ReRHR1IqfgSxv5sCzaqM4slEjX1Uvc9bx8Lpz62AT0Rcjsu/NC
2a6Mr24ocVaNckYVT7kyaorEBeT2m32h96wvLcKbC5yDr3SUtF+jIcU2WpK/oBFNRM4hWg0XN3LQ
teLVWqCUErDOSnnKPPtehhBzAfVpEVJmr4/zj73jwsRcQblt1LCcoQ3Yq5zN3VrxwfI6vDvkFAo2
/6YWgOlEQI/QzsF4wG80CXPdjlQtFc+4RpCMY0u0js137b7zGAVg9JqcQLPx4/aZ3g2HG6Nc4DBm
KR2MCJebQb53S+yOqMrr14n+m9CxMcNVRMfJQMcvbhQvzjKnIMGifr29jt0AuDHAhw67W4yoXzDu
MCRfirgK7AQq5dbw6bYZ0XZxwSJuS3QA0hFOOPhd8dUGvTNBZTf3bpvZGzeDL9hgrpahHaRr3O2h
ENNYzBRHl6m/2mAcsjz5eQoweRtkfuWanmiyc39h7wY5PzAl4EyStAFHR/uptO8gbuQAUdWnolO8
m9lsFsY5gjav1piZveL1M4gI+soxSYZ3pZU85uigUF16su31uyZF9y1ejhW4nqA2E1p2fOg1+miu
k2fgWSWNvTP2meHf3vbdGLb5cZwTEWkxczBzwEv1U5IfiH68/fc1trrfblBLA1GXrKqgQuHyOjMF
KLNuCZICs4B2jRzOMTpt8CeQACqXzJCOi2YEait7equ+RFl/ilWANAYA2oiJwTJ9CvLJOqVje5mW
6ietCDgSx+O0pM7Y2t+NUnNihRiOPA2hoo0X8JK4eZUEffwCfv7/Q9qXLMetM80+ESMIztySbLIH
dWu2JG8YlmVznmc+/U3onGvREA/xf/bGG0eoGmChUKjKynS6SbOUWCitYiB2boQ1aNhSKxj6g2Iq
++21rrvwYq1MUmmabdJkPuJ1s4OmzEmxUygRaE73HZNxQPb7gcXD76xfrwuTzBUBRmexxGP6/+cP
qVO3lrlrd5QjYXjNOGUx3sdkrggp76MkFFAvDnuv0a5iIGZEFFaE2koF3qTVqmcuVsbEA/C7T0Mu
IjNCKT8dwaMB7PD291oNoAsLTAAIAvGX74+HkZj3tSIeYsHk0HzyzDDnPzBSKQgwx+KoCXbMdxKM
i1VoM24vhrddzEGOMWiEsgG2q5CeB/NRmJ63/z5vFcw1oMQT+BFS9I2q/L5D5aGrb8c5+KMvoimA
+JmAI7ODWXpWzJIW4IWr9N+msLWmdt/LnHt5fSG/bLBTWZJeRrWqJMjayKGcX30ZesXormzv1npe
b3xYYcLenJYqgjUyGzO08giTPv4RkLSdeqfeTpRYO7wr3OGUvW6b5a2NCUBalacgu+pQ9hyb0wB8
haCCIUHkhYE11KJJFqtjog6Z01Fpfayudemw2XwSMEUQA0/wggqT6kGC8l5+QRXPSp70t79bIhOC
emFISmLi87WmJ5KnoXSEkBPl/iOofnw8us2LSryutT4QJnizUN7H+QoEd0fl0FqiK+/EV24STE/m
5xvywxoThgakBcog+Di59RDtAqXaNVWUW0mdPDRFdkCuiip2hZJxKtl4L3rFRFxhmr73swy8cvJg
mLJX6ioYzcjPTuK1zdZD/sevY6LXHAxdFBYdWADm8qmCyhNB7XSUSwsDXl6JVvX25+UeHCaOCRjb
LPWefl9Ht2aHWGAPfjUcDEZrFoVpQoDmJR7+Lu7oTHDTkKGBdwi1BHkAnEW18B06Ht/Larr5cWZY
qvNYjLUeM1FIDiKMc5i0jl018jEvjGNvcuf06QnccKpPAEohrc1mQF5HK3jiOXUgPxY/1QDSQ/Ep
3AmyxWVjW7+BfnkKy3RetRqgGQ19zJFLCm3LPOIVsjjhjR1eGirIJCdyAbRy56GFZBnlbRnz6Dp5
RhiHr1pj0IcSF6nZqRfNH/dZEd+ISsNJjNfmKpYxlB1WahNRA2f1v18oRBEGt8PFvDOu1K/pCVLP
dgvlhQpJf+RxjhjvQzHerqRmaowQjoVv0PIPGG1+aAfgDi+9l9vdPnB4MvecGMJCDwdfNfqpJKii
BcOdUGHQqA6uwfu4G6UIfal84LyM1xdoGlD4BfUAgJu/x29B9gW9pJ6YjADwHaLhC2cH6T36+XR9
GGCCFGl9pdUMFaUSMHlJO8D5bhrHsKDrZwfccan1wPFhjPlcfRhqo9EPxBHS3mpb9DAU0+qzS50G
zva61l3/lyW27B9IGMqqS+ybZDi1eULLDTC/bROcT6MwedGQdOBapXnRmD72yVM4cP7+ehULfFf/
fnu2sB92XRwFU4IYQdCPkeSvwCbv/aa80fzgARj5c+eLO3PWnqOwseWyvGozjF2Yis4hmeHtJZMi
5S0wsJmIK0XNX1Q1s/Tsp2LwkEjc1dLtXmQqyjDVimAG/8DhFDRq0IYGHb0DqSJwDEyeGPASW47r
s+rjkthLuVzjGqO5EdDXO61ApaYDVaW0xxO7eN32F942MsmRYOq5gI4a2kLZvTIeR/UkjW/bJngu
yUSLJCo7JaPVcHO+xN0Xfea8nDjn9x2YvfhGjeE3YaBJ+Ptp/WXqtUfFJ4o9oi+LJxXHFm+7mFih
hH3RxA28ro52kv8WR/tgutveLhrbNmIfW9DPyRxUM0EzqxjyfaM5aMFHwRH6WJBNk62yc7bN0V+8
ZY4JGCgKaUVbYkVzAeIw03SHSfDmTNuNs3Sc6tYWBvkASPnTtlnORn6q7c9Nnwr0du4BNOoxM9ru
St5L9D/eGb9iFcvPp8UAVBXA+EEafHQpA7Jgk4vsUa5pgXsJ81bEhApTFf69FIFyIdFD0XgGL7jz
TND/X3i6mc6VGQjYNH/oLAE1m1mOnB6orb/7NkxMMOpJFLUW6UST/1SkJ8X8JoTf/84EExOATWrU
mha95QmJmG56at9cFMH4u0tCZfIIQyiropqQa0og7Or2U2ab0l86MhMRkjhtpR6oX8ck9S4J7sdJ
3ZGCk3BxQhxLtFeYgxAMCT78JN2W/aXxR3cSMOFB/kT5D1nzryPD0u1pmd7peoCnOaXwn50MyOLk
rNsFtFAB2tornNod/c4b0Ydl3BvzAqAg+hoVfH83kXMQvCVVvCvF6zHjxFXONaQxCUOsgb87SVAo
z81DNB67hDeBxjPABAAjL8zEpJ3Y0dWOGnSoMltoLMrACGpJi8qemrz5at72MQFhEtvYL8FZ6JB7
0Kag+SvvZdEChf9+hKoM4F1Oa6cYH3ZmXtOFXgtbH46JEb0kzv6coTmmePEbcI1u0KMqnj3QxEgM
3e1owdtZJlr0epBNmKMlDkjdd1VfuUlWONsmeDvJRIp6Liel1nANRgaxpOZu6F5GAbDUCeda5MTX
d9Xkrc1jYkagg9ZeaRGWmt2/8Gzo/7SipV9ygFGTMyZor4AmOYFpcBcmFror/cv2cqljbPyCT0Va
f6pTUcJym1a3a7X2NKVxwZzEWSnPDJNchBIlyC0Qt/SuPShV60Zj4TRZvd9eDcc/WLo9Tc00ZQjR
F1LNGliztnhtI+4k+aqHmDJmxEw0Tz8RPo95L6CFjy1LrwxPvkqdwk7O0kMClobGpVTkqPscI9FS
37YXt7qHC7vMSWsyI8kxRQAuQb3bpZp/zjsZ5FZ/9J5amGHOWGNOZefXdK4wzp6VrvLGsf3elbP3
d6thzlk1T1Weizm8m5QuAaozn0CHMnKZJ8Q1B18shzliphL1fhFPxImvyoMK0ljf7a5aT/gTmjaT
fBhihwYmEhVVOPUobQqvcvpslC91zKvLrQPcFkaYc6SkKVrUIt4EKQhdpsfQgQLbcbqqMf7r29sf
aL1AvLBFH6iLJLMYgr6pNNiiTdZsR3FmlEGtANQV4r8B9KaGPY+4g+Pj78/whU0t61IliWBzjB+n
KAIBVGBBF8faXhrPCg0jCytBpmDqdoZPGNKxlFNLbG8jjZNxUr/6FFgXu0d/w9JGYjRG1CO0x7V4
JPHwpQ6ni9p16MA/GI1yXUfygyFHPEDp6nW8MMsEibyVsyoMUcMabMOjNEPRUb1MrubWZ24/hWeL
iRRZr5WJaqDE1Lu+p+PmKp/mW6hfAsDU8xoH6y3/xcKYeBFGU9UB3EGn3YhLnkVoFgTH+gS9F8Nq
DsrevOH1+HhfkIkcZTwUfq3GeDN49UGGPGW9aw6Zy6Os4J2z9zm/paeYaFqb/ky3cXQCKB0XtmBX
j3QcxfRAl0xFHHnKJFyjTCABn5ufKCJy1Pjge7kjvwqi3Ti6F+5LLzxDgOkkgHp6+9jxvuG7NNpi
pW1vylqSIskXvaG2fK/zMELwYBygKDNSuSc33BGVE8Y4t7XEZPtBP41aVCMzLsX7OXuu6mdgj6Lh
pxJy0n5OUJGYoCLhyoxUH+6i+iIGyovaErIWPC/xF84u0l+8EVlYRT7DL7so6vHpeleFCkp8be6g
AvvQOZMjWdF9wGPXpj98yx4TUtKiCYnRAVaRAwIv66eye9leEf0DWwaYONKm4B8xFeAEZTM7V5gL
mUUM5Uaoc5UJp+vJ+0hMFBnUQdYEGWsRMD0RmrotNWfgPjk+x7PCRA6zD30lL4EDJ8pVj/vFJxeT
V+xcr2l9BERWY0+ewzkcckAQjDN98KlPPfRzybG+iHvzwEsGOKdIZsJFbwRGpAkoboR+BjqFeZ+k
406fTN2qjOxLEGJEaNsnOFsoM8lH1mdiFAAc4GQYBEKrJ7vOU0444plgI8PQmEmuAi6ooM0tm+gK
VuBPNBPOSnihVmYCQ57Kpd/NOK8KLmRA1YA8j90htqIrqtGbOPF5ODU8ksv1rufCPejqF7G2AUFj
7hdAxcZXwPx6EJg9VWeMejz4EJdtv2Hix9Z0q9nzZmd4u8pEizgFSNYfEW8lOgGYPBAZY1rj7bZ3
cEIS23csonlMlBmZR1ldZ/pe4r2B1v++pmsakLJIBpnNM8DjO0kaLip0l17mGdo0JHC3l7A2no33
wocNZqMScN0I4wC30G6J213InuofChMmOSYqQWJJrSW8DfvglWN3PWv7sMtE2yYUI8FQkCEaZzqI
npzb4z8Gwx2vqLfuCx+mmGiLoce6UkYsURQ9Ert9fpp57sb7UkyolWrAekWMzjlVCrc2nIx8296v
9cvp1xpYsjOx87UoSrBdk59BwRBT9RiR/jG28iWumy/btv4jQfowxoRZrdejWpTxxKcs/t2FCn76
MijqKCIn3mtPw2nk3L3/cY18mGQC7ShWkajTtk/rlAcqhRm65Sk6UCCt4PCEN6X1e+TDGhNzIY8I
Co5GpNbyQ3FBcfSou6ljxFbzI58dzUmxUtGhwifandgiSJU7QDR2aPeDY7G0eHWp91f559zj4wcx
wbmfx7YMFDw4ZUAHZTd3/UN0EDxlz0vzOWeBBe2ITZ+rJkUMhsVLFO7j5DiPh2334ZwFFrWjqso8
BzJKKlE1WZ2EAljJqzPTE7u1XWzwKKRmAFqcFizFyaoP0G/94aMoEH4zv1JytdqOj6iqO6Cy4mAF
6UHesszEErXE0GolYohAPNIGXgQJU/rQ5D5qed+JCSgaUEmpSVGrvUvAe4NGf2CJ9+CqO/W26VXu
9JQPNve6XiNzWd4GLHIHATlq/BDPW4wn3HdgpbFLcEh1fn5OyvaQoybbtS5Rx4Nk1FaoVBexTu7m
XCCWghH1scwxXhOMd35lfof+2IU0tSNpI6fYz9kblipKUrW4D94RvcPXWW6duJFsKE55227MiREs
X1Q1lBLGNuHGreHpbQK5g8gWME9QhoVX97zpxv9Iz35FAJYoykyVXlQCChcEgC+0wRb2pu4Tr7cV
nNW7eA8psLNU85LC9bLkh1Um7igtKmt6jrBrjm6oe6P2KiezW2henNwXstVN37vh+/a+8r4e/f9F
RugrgQx2STyzcvPbVF7l/WzFwY9tG7zrxGSyGsVMZmEiuPInL3xQXbLX7yoHigtX0Mbgz1fSy2kj
KLCCw53i58B+o+ZaO4Y3HyrbP+Qo00guLpB7bs2EZ40JQUaCkpAIUDAKQv+AseMC5IvQA3XDWzCX
8MolvO/FRKJwAhtH1iDiqZkCRnzgjaI8s0BBZm1/s2070G9m/CIWo1oQULgwo7ugKe0+O/aEK9S8
vXkyO56UCabclx3uPwmvoNBuvPrU7nZkl7j3vFkd3oLoT1k4ejVlXamCRAAFi9AqJPSanoqAcxNu
p4WyyCQyTagYvZkjb1Cab36+k9Bc1ZWHhEuex9s2Jk5MRZ1A2QlxovhJleiaM8aWY2jsCh60bV7M
t79zBbqzi50zAZoiZoPQa1SDVzWGB+r9L01rPGyb4W0eEyR8s4+KnibtTfqqTdeC8rVqzwXAP9tm
6N78d3SQRSZZiYSgDMIIyWainKT8OuX1Tnl/n4kHoVgkfaUgW49jtx6uSv/n3/1+JgDoaaPVAR3+
iEC+EpwN5a8uWpntWM11AWIdgTYU8/TUdS30Xrt9kmkgmjf6L1Ek84Z1tm92KEf/7l7gyMVdPiMG
kBBU0YMbIJ4NAt65w6svccqxPFtMEPBj1GKrHNFz8Pv7HEQtrQlFuVT0Cj1VLKPLeZ2X7RtdZltX
qaxBE41eryQlT0YSeplGjmX+OiTiRSvyBPkZRgKK9llruCSUnIj3/q5cnFvfVztAMJA9auf4QNNW
TEMO1nwBhw2S1nw37NUD7+n0XtDeOF7vidXCqJhUTSzQXmT5PT9gltbzvf6BWCBbtiHPJrqY990J
Z/CWvc/zxLsAr4L4ivekXB+R+lVHgSr4705Fwlboxhq3Ms3fTDQpaR0FlF6OdogqK7LplFR1HWHC
3qp4YBHevjMRRhG0siECAhmI4sKuserxkAg8DUFOtHzfgMU+qw2YfyE7hipK9rPNn+cIpDr5TskJ
JyflLYYJN23VDG3dIg9IRAwdFbuxchuZW5ekF+OG17DdrqoKhqYvgReiUp3Gz9Lt9yWI923fAhbz
JXBKZzuIrq1KEkUJ+BJKUcbi4E2x/Zf5oJxOdR9afXlTEV6LZPURsbTCRBtVbSUzngBjHE2wFDVt
gRBDggvAPYfJB6iNZFemMO38rD5MA7GGuQaWV3TAF3WiVF4COKP+btlMflKjAVWG0FsDQtRp/Lsc
rWCZE2Hf23Xsp1wumt6PC8cUJpDERrSHOB0peVH3EyTIznzSUd5OztMN8YRbw43c4im04j14wE5/
UlNZ/gD67Rc/QG7qmKQZplgrxTXISYV2hMq5I//jy8qabBga2DNYtskoyOS8oWXa/HmyUaGy4+sS
gsDlbkTXTbbJo4Cwtv3t1g68JP4yyd7LZGzqtIamuCPLd8S4LSvsobQLRZ480PrR+LDDXMcQroUm
ixwCqQe4lJXHLfSi/NIOO/Nue0E8Q8zpyPUZIDfKV1TFhxxzlP61nx22TawOaCw3jXH4QQMp2xjT
TbunIsqNl9nqpQ0s/UynSYd9m3O+Em9RjPeXok/U2ATAY5KOLdo5VQ5yPA4qdrVJsFwV4+G6NM6T
GGDn8qtgH4JfzvKd6UYrLUpVOV0V16UdP0LDTH3gbCf9JJ/Ptg62GEPGXCs7qJlVWSEn9DIIIVal
2MMjxukBECC2fxL3f/Jgk8RfxtgaO0DNUYFJZyQMvnkkk2KjzOjWaLtsL4peYBtr+iQOko96nNLb
WoJIaO62+8GlwzTcEiJ1tU92IPFFQIAs6To7uQMRux7INtjRzua1ijdb4qFC+kU+ik7mmg7huP5q
7RAAyl/2mAxISYdJjqBk/M4WSyd58Rw5BbfTjXlRz/qlezY9jMBY6TnEqO+N31jb27raalzaZ7Ig
1agFrQcRsSOMSmGBem0v1oGTDP1VA/ZNRSj3qZQcdEm9aYNmL4XTaxH5l7j0r4ROvAFL9nOXqLae
hCrng68eUaLL0PXRREVhP7g4t4MhKjItiKf7ISWnCfm/XiZ/UBaFYMUvM0x4gySiP1WUd0ICzArj
4uTc4mHD2WQaTj471YcRJr5FyVxUDUVhTPZkR/tolyY2Em10RTzypQZZrXAV8br+vP1jQpyatJht
FtFDVs1zjnvOvzF49yvPBBPg2rHzZb/QgVcz6oM+v/lz40YAB23v3tpjcPmFmBPSa6D4liRgWgfi
TfSuQ16bSVdpeZWVo7Nti7ci5jTIRjuPjYRUMO9MJ491oFjiH4ke8CRuV7MEEP0QQ5cVyVCYdL2Z
8kCNB9zevljtWjU6S0rcWqUu7rUA1cjtRa1frx/W2GE0KZhrX6C1CKrLmsD9oKih17Z+C9VjIP3R
mht58+GcBbIUc7EgFUVJGXeEyW2Gh9DsbQlps/5HL4TF0pjjC70zfdSVABvZGqcwBGWAZp6FoucE
o1UfXJhhDrBfB1GZm6i2zMl8m4rCiczNwYhzKy6Su4rHvfYfH0zXTFEzCLi3mIMl5WBaBS0sdm8f
3kT7ytNu0F0FWQDQu0AIOdHrtoesxicZIhiSJpma/D7qsMjFA62SQ6JiHBgcfZL0lHM7CzQb/RQA
kYiYhoapCM1g/N3QpW6MaeuxdZsvujvv1d34s0bHkZ+Ar6/llym2GSclvk9kOmU1pw+JuguSh+29
Wu3zSx9rYRtpVTiKqd4g4clK/eI3tWfG4yELhktdoMUPgi3QSu/kCDS4o+g1aX0spdIR5dmTEt4r
jrdWxvvrOgnjocQpG8U7rTtWvMR89RQvlsq4fRd0XRrr8AsVVOTTGNszkvIhfBWgcba9q6vpHW55
XVRVQhQWFxmbepILtE4CNYz9P+md4v4fOsSr6d3CDnOZoOrrD3KNqUg6mE3J+SlZZAP+PNkunPzM
azut3icLc8x9IjR+qmclLuEy6BwQT9lKke1T6BFs7956wFjYYarZIzjx8E3wnhmvux1FjpOTdqOe
O0e2M2c68R6f618LpGAa2JNNnW27ZnmbJDpBq0HxZFdGwxUY1v/D11qNuioFcSmmYRB2jBEZYBRm
FS1q1dHeGBIQjehnyM1YQ1UdMWHtbe/iqrcvzDGnaVaSumgn+KAUt1dTJbrmSKymNOxO6TnuvuoX
C1PMwYrHOYMUBkwR46iRCjxhO+HP2nbSwgoNH4uwDv5ISR4KFHl7tz2kDnmScpu+PSn2YlT+rPSx
MMfcWmUkY8SPTt+JIGwfm/t+PAzZC5a2/ZnWvcLQiKIoGvinmTNV9wJEO2bq68Z1LV4qRQWz+Eva
6RbGUDm21l3iwxZzruaqirNaQbhopM7q49tBayxNekyFw/aa1msF6och5oIMRnUQA1o2Kr+rlnbM
3fi6e+lPEZ5g74RO8zk8ktKquE+T1Zv5l2GTbSDPWiHUYQfDtUNnCWKX+HblhBd5V3o5L8qT1cCh
SaIqKqiMSCyVrZ7Ik5lQnix9aCHfWvvQKWnRUO6DV7FtdpUPSi/R8EV7loVTG1T7TJC/qqQGh7xq
56XqzEZ3aDErnwWV18fag5Job9ufYvWTL34ic0MI6pABQ4RDozfSoe0gkBeIFkoC+z5I3G1Tq4AL
pFy/toNx5UCQK9DGIs9DYl5YFHGhOfq5uZKhswq9aN4twdt9xpsbqcKIJW3jG+f6kDsN6NJOlVNh
YiWLHUhvYPpH3IdQv9uVEDq3O2t7uatBb7FaxsdJN8tFXgHwEaX3wnSVKWipjd+3bXCWyI7E4lsJ
Zj5hiTSPgBTFQfag5Mad++EsRWeqr4EEREQKJn6HyI2VCOiYSY0lxn8y67bwD3YkdsRDIJg03LM6
tDytLEp2ah3e9XX/c3vX1vOHj0+jM/dRrZd1SijAkfKPB3tAKWNHfJmeNdduH5W7bWu8zWOuJXUC
DKbP8aD3hRuNRJaGITD9YdvG6iWhqYqhYfqEaO8yyIurrzb9oZRDnCw9aOwwfTT8H5NwG1PhCuWP
3roLW8x6ZlWcm04A4ZqSQ8ZSMXNLMMFBRXU6Wp1zIa3v3ce66P8v1jX3cZpnEwJoPt6j82+l4hna
lZyDSn/wp9caHmmSJGuGKLJwH1LJRBnbCIXrDHcrCU9DWD1uf5/1dXyYYHKtuIEwSJAiFkzifp5i
q+/u5OSPqiyLdTBerQZNVUc50IG9X92m0nzS9Oq7ov9Me96kMm/HGBeoNNEYwMeBgQ098TofeIGR
pyvG2zHmy+t9Bby8PEtOJ41Q+soUN5BSMMx2De9Wotuy9fnZG3DC/EST4ewYXyHhdaCEO4oj3nQu
SKKR5es8TfLVwWhp8Z2Ya7AF1SxOCwJCkEEHkfJQgOKnd97VDzweMm8Vc7C0xtyCQWyEvWEAXBIe
6C0Yuvk1iLCt4YyR1KfOFaAbkNwUbtpBzoJzsOjObe0scwO2XdA2ZQ6v7+ZDlJ0q0EE35DIKb391
uNgepCmjsSEp+ICm4JIBtb7kXksrzlo4Ls/igdRaq9uEMkAacnbUjcDTUIfYXsd/5Ee/osT7/y+i
XeEnmIkGmZ9DoMgczL0b5YMrzKWVFPObaBZORef0QujtVDqx/AATqcbAg3DwFspEEWPoezUdaozt
xxBvCpKrdioO2wvlnG0WAhSU/ShXNc0Dyy8keQ7JIf+zxtbHIWMRP4kAIQRCQY+DXXz5h9GysI23
FO/B7kHcNxwMw3pjaWGPiSJgPy6MlMh4Dd4m33xvxHw0JcJrnyK736V3wtfJoTPDvOPN+1pMLNHB
9K5GEbZSUO46/81Pb7c/1TqmYLEuJnzkZpaYYMMDcqqoXOirQUyiclHCSKyo7mxjLGXLxGshHGpP
anqbyN0h07r9oDySTj9BpNrm/KD1lPfjkDBBpQJuTe8U3NbmPcXAA5xnUU79wh4zi8xWu6sO9DHX
QwTTnv6I9GERTVlIkCEnzahKyBwTEHhDgCo2n0Se6OPqN9UlKDTLCjFklvC8bvSCAOcMV5JPZrwP
zIftLeT8ffbR0BhSQymsUDJuvcTcqT4PCbD6iT4WwD4XRCEDMxGBU7ZNcVQCzZnS8iYgzUHUGifK
oRtnFmeJZO7oD7sxTb6DF91r0EmbIcyetu0FynZXQQiuuJAUuyDN/mCyWlr8PiYbS0wlNmJAPh2w
7riJ3gDiAQSi3nPOzmqYW5hhImmn6pVe10hes/hYAIc/mHaW8N5M77fb75esKUIuRySmookmYfkC
QatWmvGADn7VXXXdl0C6VuNnLTj5GKrSKBpn/796z+/2qHctLqlozGIAYzXRyYXjqJxJwoukn7cN
BgwKgVNEQzXY5kk+lJVazYg4itcfahB+U9XT+WmGTCHovn1LfID25f8O6/jNKNtGIWYVNrIiY5wv
9V8m33TiVLurU073faWZQs2YOl5o790nJqsVIBDdSCNS9MEenfZBO2JqywaVewf6jAKV6/oH7yL8
/DL83SJzL1WmOUiqjM8VJa0T6VaOWWGrNyKblNU+yoqMF5+pV3/yx8USmRsJBS8jRtNBBHJl2kHV
9UCgFpWYVgY2vvpRvuHJ1H5OMn9fIHNBFYNpiK2mik4rh1Y1P4MX1G4x0ZN92/b7laLB74aYiwey
n2UeFdhJyuoCbJ0bnY2HzqW8uqWXPXHZ6j6DtH+zx5ImVFCcVYMIL6CxGj2/UG61eoa07Pg1MLST
AOEl4KF2ZUeOydxyzvjqnpoyMTGUDxgh2/DwB8DTNLpUvVIto7rR+8Cp073yv6tVYYkLO0wsSSUI
s5MEvlKnbjxd5dKxGznDLyvQ799tMEduQgFQkUqspQY5ZHtT2aHTeECcK47pPQnAiUFKCf8CAw4t
5eapOarX3UniXImfr9zffwRzCvWI1PpM4KQgXLWnQr8GDOpx2z9534w5d4M2B3mQABqgAHnXdbc+
RiJqKMUKKmdHV4r3dDGaJquYJQINDlMNBHUj5JsERQQfT+v2DnTHr1XopZSW9DC52Gd0uX1b3Bc8
BDs9yZ8iy8Iuc20PQyoXqgZvadJj0fmWDKyFmdtm+5g0z1TQeHtDV++hhTnm+h5aY5rS9xeXrF56
bTpqcmWXXGLFlVff79vJHIKhTsyJnkMUI2nApNWAMQDJ0Ay0Ch4qOmdZq/aARBZ1CvjDy5iJY7Wh
+LLYosqaF5gjhzQu7WiK8o7SGiV4UXK56ldvvYVFNpKZvlINQYqKYeso0Hp0sj3ZZ2jNjRRMLzrz
OXJ576K1a29pkvHRQJUSokn0otWmE9qqtjkMdmYqtmhCITqQnf/dV5bmGNechKjpCdTOHJSoCkIV
n101+hOHRBtJFQE/JMj1mBMuqApkbwO8zH3Nt8dQR/6e7EzAFbbXstK1MjGD8GGHuVGDeozmVMLT
edY9CaSw5+joo19iQPNRvG/33+NvxN4p+9zmdmzWwuTSMuOaIa6KwWiAR1Ot3pHsBjov2ouJsRjF
yQ75btpnPJMrgFS6WA30mJKkosPKXA+jPlZJOACyIEMctKTqoBC4dKJbwQ6uKJGFjnMI2XMQVoFV
3Bm5XHHrjvphn7kZAglSigblvtHEbhdOyi5r2uOQhM/pUB3rcHarpj40Y3uOdcMTpd5ToQdYNo9D
Gn/JesHuEv3WTPr/fdD2921hfK1SCkFPqIbAVN7kUCpo+mMx33EcjZ4KNqAv955xtHweZFSC3rtX
xSV8BmszgoJ5K3jFvX/hteM+P0p/XxHjW3XVSlJFPzRtlTUeRVRTdNmf5NuLNbGPa3VUKxLqAR2I
AMNZ8kUPtF1TnvMhdUqIl3F2kIaxTztIRGCWkKtJBtv30caetGMByIh4rC455pMa9738AVflgWBW
r31Ap3/ZYu6pUarirqCJVH6V3oDE6zS+GofxjmoSTweopLvyIfxacTLRtUtYIrIBNVhdJhLbm4mz
KWqyCQscBpALYnRB8mNLEXktoJUyF7xjYYcJ4O0YynUHLKyTKbmltYONEsRbMc4xLgyAEpT0PtHk
oyZKlzxovdhXnD4Ajf2cPCnTeJqahEPJyVs3k3zERNSqiSKpBPOoY46ieQmVJ47zrEbbxZqZDzpF
5dCGHfb2nTb9CmSOnnlRIPpTUR1mO7gvOBZ5i2JibSPGnZrmBKU7dHVNAQDg08Cdb1vLg5dfkgmo
xaCnoyAqOBKzeTBr6VYsZ7DAo6FMVIEXvnlbyIRJQKaJFuf4TJUvQp2182LQR/3lZ2KipFgP6IJq
IQBAgaMcoecCAEMD9WAr/TI5NR4t/It4ZVzu9+PABMthmHO8CoHgD6/0a+OxA6t+fR0lVgYMxb7H
lUiBds0V2f1DxwUSnUdevF4hHKe/geY6RNFMlS2DmmLl65Xmi85wzA/RRdwlu8Er7MzWwQ0n3qNg
4gog9g2c8Zyj1ru96+uu+ss4G8aheKQk5QxXDYYUurOzFWVfzZDXSudZYbLUuhNKUzPgPr1+MFRn
TDB9KPzYXsnqvfexjSyogkhjr04E7qN4/pGAGpYOGdceb2BpPclf2GEiVtKqWpaWaF4poKAFSA3D
RJhrS2yggnXQH4XH6pVHarDSSf3NRXQmgqVSXKNJjEr5PwRIVEU+/kar/6mtPW5v43pY+XAI+ikX
Zc9Gk3JVSGfELtRVh+lF9YFWuyImr5676hJIIAw8z0RATZmIUhEpVdUYc6JhN7pCYFwwAWyPOu8R
v25GoW8S1I1lkVmOHovlFBo44DW5KYS7ajop9f32jq0WzCTpwwYTiXVwjLcoWIug0NW89kHdx45g
S2/fy2/t7bSX37bNrYbihTVm48rGT5o5RV9I9BsbE6uWnHAisUQj7adsa2GCicTjKId1SdlnGoCO
4xf6VBDwYEhdUIs9mqhSt4dkF4IZbnKzm/5r4qZw/MTpTlpr5d4fhajFr2FidIJ5mlYawPY3mOa1
4kfHwO8dUnW8hjDHVdj2OmkLucsitDHa7rnXjn33KvKKdCvdUxzkj7Ww3fUqCKtMeG95ga6IzizX
pxHgwMH197pHByeCa8P2zwpXuWw1Oi4MM3nfpFRjLeqoE+hUjASD/W5SWZb6NILJkI6Qjp68i95U
lLPAQMp7fHJc9v0ALWKKAHhLWqsCCml95Yy9dp2PGqfwuBq2FutjIqSiDVDnlhG2dPALBWNh1R1q
S+NjlvJKIJzDwTbc5Sw20iihJU5gA+XhpjLAW+2Uw1d58oyWp2zNc0omtpR6mmWRAWtd9dqMD5P4
RQ7+Mn69O+3i80h53QgxKDtxo1E8efWj3Sv3lP2BukMDYSbOa463Jia8+L4uaMDxgVeP/KzLvZy/
+TUnhPE8jokZYdoP+aAh4dDHJ9H4lvFGJGmQ3YiQbHu8yDBBq/VYQq3Y0nxuVU/uM6uO7LLhMDpw
Noud4QLhWCeQFle/KZzT9FxUD330fftGWU9pPg4PywGfhWrUkAkvXumr5BnH4TxSTev74vvgam58
DJyB5wKc78MywPt6GEI2iLp1f/3/SLuuJcltZPtFjCDo+Upbpqva2xeGZjRD7z2//h60VmoOiirc
ndWTInqikgkkEok05wjRqeTBKG0nfwESDC4YzVA0tvO1NfOiGQsVl8YnU2NtAxabZl2Qc/Fa0eIm
Dba36Use43+SsciMpsKt3B9mG5ilDvlWH4C54UuPemOFduf/BZZ6fee2vfqXVPpVq5NbNFIjCQYy
o4NHx6sG5HoE//8xXkVvhwtzRwRl0gZ/GY/KX+V0iSkreqcj7dvblHchcMhDd5hsxdOO/Jz2pi8H
yRLQrzAcpLDwHnXXE0mYURBUjM6TAhCq6N+i/LXPnn5j9WTdAKK0YZooEfyqVSvXiyooNG47UJTZ
3F98/SBxW6Y21VGILNIZTIOw0AN6FKZlrglopal+zstbK3R2KxwWqdpdV2c7DlUUzKMjnAYwCvMy
6Yap7NoEKTnVWt6avQakYsEV72gBsHSS1OKlALcP2UogY/TAsskrsqDlspcN4F0Exltrars+xFx1
luZ7s83ucmmwdYkckxyE2CRzTV7v5bbzWn0EcwbiUiBSGkHrpCGW2Yf2Ygh7OVVfTDO9rcTlZTYl
GRlK4saN5IZicszz8K6XhmdZDTgWtekFVt/C3NbFREiDJRCdaAT97m6O3KF6vr7LPBGM0ZZFH8m6
gGyBJD/lxUNIJivKee5583pb6cHc0EjBlgtwSSEkiq0pulWM58l8SYeEEwlsxlIrOcw1PdWdPLc0
8hAMv5b3qXlEKNUP+7T35YWTadw+hv+cDvbKzietDNQRxopmENsYdEvVD1GjgTSYYwTU6i+c5ZdS
7I0tB90S5SWGSCLVuJlq/cnklqYlnjJMOK+ZgVT0GhC7spvJEd2Pt+kmAqnhZFmxn/vSPsbJ10/m
/eJ2dnOKHzO73gl7LsXh5v2zUpXxOCmS8ulE7b11aR0LFIevTWeZ9nQwbtVD6USH3s5uOi+z5+Nv
PQuBH6IrJhJnmCNlvHeVBGGfw3aIMdqm2mPY8r1TOY1M23v5JYRZ51yuonAokVSKRHJeRg0pMvHh
+oHeFIE6J5BpDFXGSOyvegilqERFji6DPjrFxnPG9dKbtvIlgIWJEJpRGxUVsSpISZfS6sC4ljjB
vgNeEbGjGZ2kzRmO+Z2Hk8qTy2zQ1NbgUshA/KfLyO3LE9CyxL0w1L6Zmfb1Ndy+BFY6MvtURWD0
iiJU3imCXQlsaouiDQZ/0ilLdFBgmP+O96jdVg8BEbjuTWwf44jTgaRL0UNkCPsfYf7xXTHFTjxw
Xrbb9Sj1SxDjjFv0gpRhjDClc6DbGef8UIkWHFhnDW7xUKJgnJ2MCdOy1vVV3bxqVoIZy2xnwyh0
FbVRVUqsqqkPQ9mjnY6HLb6dAMdwGHohZQlYEvQ7VlFs2FdSmBAKR4BqeH1W4MiCu/Z5uKPEB4ga
DpMrWeJO/aOy0REJlCKe9Wx1oEmrD6BbvfqAqAvkGC25f60wucH6IhuDjNYt7yxu3qu6qmmSjpS/
wcIhSElooHcJLSniXFhER7lZvKuIF6OjL6449912OLgSxmgVKm3XxCKWlT6BFBu9pd/yk+EoVvJQ
HMAkxkvyK1snArGniKl+2dCByPLrMopJW+Zyr6HfWsswxRQ4WZvfoZnIbUn/1im9LwTkJJWyt4zp
EaSJD6QELqiQPWm1sQMbz6OmLG4rdjZi6G+KId4DPD9eKnck6k9Etn6YtHhKGZkrmurJ6MhgZep8
FKL8MBntXRghhmhFe8I+impgL/HsNUlZWLmi7TtR3/dm6OSL4RdD7xhK/pSUZmeRoXtVTbSPLcHM
6b7ecuyr5WBLK3UFPPlwlkRnrh8i6ZAG79eP51bwJJuSgt5hgGjKbAZ9nJuyrwYiAsFvF0WgPiF2
MT2Y3YOWvBu5xjkkW85gLY3xQoLSxOFY1ggJ22/YFCvUv5P45bpGW8dDRr1N1dHnDWxoJpwIDSme
C4JHdGfofp+iO0xQurtEQV+KiKHIiRQcgVtLqIiaJJkAukP/LGOxldCI2bhgmGXpMHJnzLYoPU7d
Dfg83UXYD/Huun6bDya8ZzVNBQAQogrmzkgkMWyNCIv4yWvwlji53R1orzc5CXuB07+4qRwmcfCI
VlXMsbJuVe/aLlkK0dGmj0R/yKtnzbg11YOooqnmjaPZlnlgIFfFw1MyEZExWzfPmjmQIadv6fIB
q7ervumpNXuBhXbT2+ykuYHLox/ZvDgQARoSIUDFvGD9NcRQVxXauRjtuxtUcNHbRN4Um/KimzYt
HycNsCZ1MISMQEzpTvr+utZb9rqWz3hYUw71OUggH9CxYXkmqPFLw7EwbxYQglwXtRnhrGUxpiNq
YzqLs0nvKPBEPKk35Qn1l7egBkHk4NOmlIbn0LfN1ZSIhKXF8l4cD4w/LGpqILzBDSJYsgMgg32G
qFHzcu7duHlfKV/S2PqLHPciaVX4S9qmQUedUIRP/U98Syu7H48yJ7b/F/Xo2RDRISqzpzFqh9HI
EtQGaVW1fig8Y2/+Qdt8gLou/FYRRDGxigCsJeoFAuVo5qo8xHhTYwbXj8zEnpeR41+2LmDoomCU
CoaPQ/HrBSwBQyXSFBR5OvnFzJ4687FejkrJCyy2Lra1GPr3VbgUEiRRqgilW/EwSRblp0ocMPKo
9/mT6JSPsZPZPDzNzb1S0YxNkM1VVFNlnBkAWlIJnY3IrNxoACfq/WmXtHbr0e6ICmldju/ccmcq
kKkNxDESnYP7VcVkQAtt1OBRVpTCbjFGbx4KoGfwqC8327FWcthxnAFDWeEAENHPBG59iO+b11m2
/mo8aWzQy8sgBfR4lr9pJ1/asVBnSzvGQwLALqdsX8z8rUvuDSO2CnPiOC2eHOZVhmxyHCYZ4rHa
RD9N1+4idCgNYv0kTOnDdf9IN4RNuqwXkjF9Qx+aWu5gH1m3S5dvpXirq7IVxkdzvtW6e8JrKuPJ
Y86AnElFFdCNy26afe4Ox8rNzsrud26YtVqM2UsF+BnMEGK0UvwxJsBzTLvuI43I2SCpJwnZ6/Vl
/CS+vLaOzJUm1UKlKlDMCecutaa2eDBBZODUQqjZEYm8sp3dTLw31QjD4d0x7Qc/101QNHUveq34
wAM85VHqlabxQ23FH/qgFHaVVL5cizdNqPvhXLlo5bUzTNjKRrVr9MSV0Cw/pZIbhKIFGKE/UjWO
LCNd7mZFj+zrCm5W4Ncrytyjgt4mYMPEa5pinPU+2O5cAaCteAUAL24AmzRahpDCQns7Z95v22KQ
OlVAYQlkYEawhq6adl6AJaEFQDvNRe1FlaLzYra7IEV9SCmfZK3ZJ8HkcTSmp+xiS2UZs29ItJgX
GHxiJM/9ENGefeBVjz7VV3us9+jadcw97y296ThxAWmoquCZxg5dJGKWYewP9iOqowOmF6sCJq5S
8VAKtmJb9UsMO2mBd0JaNhV2sQWKvz4Ki6WUtRMLi2eOupe0f1Z1+t9T1yAMWslk8llZIZalGC4i
av3AjoOYMU05186mw1yJYBxmOsd92SAj4+hlafXjLu/3ejlbkxk5HKOg/vDCKFaSGH8pYnox1EIg
1TYIt/TGEV5LOz5VrjwjvNNxoWK0iSNyK8uiKjpBxkxWMfbKHAC5GgNwLND3cNvbI+ACpB2QdSw9
fG/KHwvGMNBwluuFdV0s/dVLRb+kUktaBStdhuxZSgdeDVGwRHLTlakttU9LfJ7Jt+uiNuOilYJM
0BBE0lyrM0SpZes0Zeo3S+9eF7Ft939rcwHrJuhBrGgzIvJy0e0xg6PCIo5vA6B2AuVFFgSOnWwa
pAqzF+nM9QWwmxnqUxaZ2DMjeAzENx09YdV0KjHGeF2vzaVbyaHfsdqlOZfHfAkhp5qVkxEUr7lW
7a+L2PRMKxGM+UlCtLQzzTJK0kGRzlLoZz0n48NbLcbWDFFLOh08iQ4AOawwvAuEP6PgMctEzq5s
znqqeJKhymvQqjJzeudMWcIYvfMIG2d32VOEOcFCPg1AHMO3EMc43RM7sVIveo6s4mU44/8Ui3ei
tzft6yvo31ebpoOEeaha5PvqLgMNAoksBbMTnPO7HfmvdGVCIMDAoIYc4VFTq1b6oh30Y7BPEhvu
vd7TsgVvoo6nFWOKbbvohrjQxtThkBvPAS/m5/0+Y4dZU6p1Puio0od3uPRF/owHvSUuXN5qxRgz
rBWljUYdtwjNp1PuAfKKPJOlo8WveualtP9lf3S0v+IlDVgx5lrszCgoSTfTZ/sAVgpM6uXWgNpS
vS/QOVRyfCxXHFV+ZXRlsiiFoePiotPprVUewHsPKodyPz/NO9448/aB/tKNOWeNKC2hGkI3sYdC
kTv393FiCZB+3TdtZrJUJAX+XkTmKLW6Mggo6NJFJF5z1/rLjfhsngMghpZ+sRNc89m8J670GqLK
GtrJD24D07bRfH0Bc8zESFqGFimmv1p8aC+RLILTkNJ2zq/mnjf1sJnPWmvMHDNdLKqqElEdlHxq
pLpXnyiGUOcSu3yv7Mzm4gxsBuCrNWYOHjpBx0kJRBFZQuVQ/lRlm45ahD9Mu3cCK3xKb/SDcit5
xaHwBe/6Bm8f+q/VZY5kI3WxGoRINcWo202RZs28cg/PVJngI67Qhq7HkNAClpzATLS8dtWpdMWa
h9S7malb7R2bqUvmJh3DApHwhMQZHadqXoMb4lOECIzDv/KQLzYHddfyGBdTS0FuFBPkvXRetK++
o0nRR5QPSBHtJnqUz4rjDq44WHzeGM6qfnqjlbcZG0K0LIXkUjvK2WkA8bDkj+nbdevgWCabtwsx
Gzu2Fc4CgAaAy9eBLlcBCU6/uy6GpwzjZBRUQAoF2UlHkVVb7Q5BcmzQstobD9flbEda/xg72yE9
9XqWdAGCOblTvKSubLAqHNqY67I2HxRfB/qzcL7anEbJtLxvsTlSBsyc+CmMThIKf1G9Mzt0uGul
pcQfSc4bT+ecZbbwPxEjqJFnRVa8fAnq51n9cX35Nn9fo/QhqPmjX4nxUwKQDE1dQBQJAgwrNZ5r
9Xci4ZUAxhnJtdIkqYz9Uat7JfVT6YekciJhng6MN1IFzNRh0AFjpiS3izywjCV1ri/T9g2iAdhB
VHQDZS7mxhoERQ97PJUcDXiWtCuVVn1kNHECUsLN3NCLfI5Eet1fBFYrifSArQxujLK8y2JgI9IK
RfXe/oj9zoX5WZ1PPV/NyRh9tqRdyNMJUTVkUghM4Vd5cZenSpf2yEK/ETR0yrv4WXGUW4zsu58T
ZyhVlJ5ohY7uVCdeyn1zC1fC6d9XyqZApsJ0EawkDMHhLZMnYeahOm9v4UoGs4UgyIqCiiqo+OXZ
9EAIe6xHi/jtjXAQkYNQ9w2PIo6nFrOHE1hEwKzdgvarvxmNlyX9ft1INp3fSiXm9I4xSF9jE8Dr
E85tXle3Sifcxl36/r+JYc5wO+MTRrUTnXRaLHBsWC3mXiKQDV0Xs33Vr9RhDnKeDl3R99ih0TaQ
LEVHjhM+6y7yG2dpp511TgJss9lJ/ZJnUJ+/sjogMQAsTYFemKU7kDdwyhwFYPNbhkUQFJ5LZ9wp
5+5NeOLouXk3ruQyIUbQj3jGDNBTvS3PqYsR4AoNcnvz+W5GS32OVKa1A6dfwyNx4piLwTxn0ClD
oRFNpFXyD2V6E+LTFHPqnNTirngRg/EikUaLWTVU6xErJTuFHJv2bsxuwN/rcFaRJ4rxGeYYGUU5
QJsQCC5WYrQnCt/SV+Ne7NTDHKN+EYA4yzLC3pYJBoH1ZL80xXtTDXYTq4al66gBYJD9Nh553QLb
K43aIegxVNO4mGHA/Fma0T5LIQqOeQAKEK2+H3PeXOvmrC4t7/4th9lR0vYBMLAGemJEe3aBA3QM
vNnTvMrnXeTbj+GVLGZrFyHrATw8UoQqivUhnFO72Mk+5f+qfGPhOIN/uY++VGO2t1bmWElx5Tp4
hSPhU76F1eIUobDP8sIawGdb98pjPGV44gzyT43IH0tlHkkyv5MlepP6/HlOmh6h2vw9qoA2MWYv
RiXOnM/kbTT9+8qFNEofdFWFhBHR670aVS4hiY/WIk6IwxPDXCQjiYYJyVj0DqWDp8etByIsG0NW
7vUzRR355en9WnPmPqnDUEOhA2Yr67s6fcm+ld9NWxLPvcG5Uf7F1X9JYq6UboyizMyQAWi8xaMD
MZHT7Ipd70he55sOrx7GWz/mZgEANBibStguWAOsVJJcYwEGOg8FjCOFbX42QJMzVsB3w6De4gGU
0lGDwc503luEWv6VXVKZ60OXClPKaAdpWrhR8tTz2MnoYlz7fcapTGKhR4mOGaKqhrERZddNYHPR
up1sNpnVaP1dpoq+KfL04i0f42DSRp+TioJc5mPlYV7meymjdhmV3Plk+kOXChpgBEeN0pDYVqOy
THoxLz+ziKMbHHI3cKT34UBsEEPeB+ffM75/xLEZDF1Xm7jT8MYqljM6IGq1tbqAqxTdlStKfV4V
K0+EldNJVqKBWsZt8/Ovge/lnIdu51JoikHgeL5/cdBfajFmUqdyLuvSf+6e8VChM6E8tXguKHeL
L38UO9q8Fdq5hwL7VNi8LNemtWDCTVNkXdbQxYn1WOuL7lpdC/AiQ8vVbtSE/SgInpHUz9dd4maU
sRLDOCphKFshBayukyaxrZVHA/NPorGL0U9dNhpnTbd1ApYkCA4xasJ2Uc5V/p8u26o19kmFHp1K
dKfltzLNIAz9Wwxzm1ShrCJJiNeWNJcnsSrdRjb3aadQMEZe/xZPJWab9NDsRIXiWtIuVDAWuKUP
+JL7yZ6d0K6e4epdXpXgc6D34iis9GP2LJHasWjpNTYeyrNmT7vcjd2G2NWxO6pu76Ch2C4xplQe
Ozty66PxUHEpIjZj/NU3MDdOk2uRHoQqntOGfDv1FKA089H5j3Kg8XTdRLcv0y9ZF/fOMCO1Q4Pu
4Hm2wcDlRRGaGVVXBupb52c/ePhhmxfQSh5zAZFBkaRWw/pKgZsFT3nJiXa2n+orAYxracdhbCoT
ApIhcmVpcOdFc0AiE6HlNfAKobwpladurn/kk3DKM9GNk+E21tVd1fBoFbbzwatvYW6lWQXUrYIL
w1GA1PSz2NNXYrcrT4Ej7rXH8m2yo510DJ3Iz068BhfeQtO/r3xcSKpsyCgzbUXI3hSQ3TJ4RXfO
+WR7HZOoKxNhBNWpCAqMQQHyfyZZiVnbHBulW3blTKqMz5EzQ5W6lp5JgHQDhdIOD6arWKJXuLHH
S2ZtvlWAGyfidiKaprNTPiRVhyibcfpo8kwCiAxt0I5vaBE35Erb2iWNco5qBE07F2DxsQbYtRZt
6oBFLc9JUt/2XHqorV1ai2AMYZYCQEE1yKYX03FpHjXjWTVeODu0leFey6DfsDK2XE6rxgg6FOX2
lP1zOcY+fUmC7sG/LmlzvQCShDFKjKhfYNG3dViLRYnrZyIPc33izgdsLtbX77N9rjpaZ5F4Q3in
BIYlasFRUgpv1DTnuhqbbhftELhFwcqEKJK52jJ1NMulAEnAFGaGO1VAMh0ij0yzJRdg8dUT2Zry
ubQbs3wi04Tct271SefNHRflhPstzJVXiYEwVyGCsYEYDx2Z3KBCc1UDGrHeHZufadzj0WzqaKck
ttAWTgi+8GYgnJ3dvHnXS8LcepT4UBQTLD25jc/SH+mh23VW7/Q3C2781M1/UBgnykxYndQ7yU9c
c8/DL9u0LuyIjqSIYVygdy66kPdlS6HZ5Bid1NLNJC1v13eeJ4L+fXVSQESe0tsd7zzjlKWnJuRl
FbaCB5DO/aMDcxRB+J5ECcVFK1TZSUvVncEvkKvdvi95zVDUSFm/vBbF+GUiNQZAvmA4cv8mJPeK
BmZc1P7Tg8JjveEpxRwXZCuyRQAeqVPHp7Z6rrIfyvRnZ/68vjebKItrhZiTMFQZyaICCim+8pM4
mWeiLxTsXAZYMUHH64JOB0CLnQ+gUR8dKm7xzHvH/sth/No+5hRobRgKgo75JBrzVp7qpZiQXx6k
W8GXdvJo8XiSOPaoMHns1Ki1Nh6Q3cizl6w89urH9TXl/T4T73Wa3MZjAEcXaqpn6LUzazwY+u0b
+8vkFSbkIx2AU5QSJi/dj+4nXf1e/+SeToBQ/b/ukMIEdXKHUcZ8Bo4HzZt2e8p4lKPSQA4yaI3j
Wy6O4+bdutKO8Rh5kqGpnUC7cpFjK9M1Jwnlw5IFtyCMtgFYZht65ddDf6OKVct5VfK2j/Emo1LF
RmqiMXAKDtX80IX73zAPwB6hMooewQtMUcwgScSMcZ/3ausqCnDmhnT3GyJUsLzIhkrpERjfQUIj
F6IYhbRY13aCOt2nasYRsX1qVzIYx6EmqA6GI7w6uS3QvN6C+FUDNnsPlPLcK3yNM2q/GaWAJIYg
A0VxjphdEYYmGY0QLfoCBpi1Cp3KBEWumMd7tTmDgFHJf+QwDl5XM0FYTDQu/DVXh8nsHSiaHW0f
A5K4dGIncEEU7PCCvE1vvxLL7Jgap2WWzFArk280ELfVbtgfiomTXuAtIrNnSTomhMQxiuRabPXy
65C8Dt3vwLYjwYQIn47tXsB7KVIwZgAewV0S36TNn1GLB1LLQ8HZ1ETDODsGdfGMYCtGSirGcYQQ
3ynQo4lCRl/uw4Q3ycATwjjZltRVLYCjAM0yh8AwraGKLIFLmbrty1e6MN4VPSWSWOk4raCkdgSL
QnqWqBWJnuwWPq9RYtPQVsIY1zq0hZ4q9KmnSy/zMFj5dCTGSxo61z0QvbMv4iTEFRjeVFBxY3PG
0tCkEuI1BPtZtx+Gzimj7gFuz4vT6ChWtR2Py7vUC2/XxW76bpicJsMqkORkjlEbhwWqSng2B83d
ZJ7F/562Dph1q99nDlA3CooAHnSYXbMP8geFlz7Z3p2v72dCoVlPKqLm+H1deC+Ts16cp8xfzJST
XuCIYSv5glSFjRHByRVaE1mz0H80df+KF+jemHhV9O2L4mvNWDAgWesNLaCgnJTdQgYic+Qo+/BG
s2jtStjzemO2jxPFDADKBcgL2awwmKrUshER3tHjhJ49C5ghxwlU659lXk4Bf7OkrK2k0aVePW5a
YyFxUYkAF1QtWkXI/Sax1ZOJTGL4+DujrwgcQMsII8SkFuMppqnNwiVFA0sjp3aQd14V7RV99K4f
os184loM4yPGXNbyoYNOnxQoL73/FyuGCDZiOoPHx+v5lz37Uoy53TsQ7pltV+KJiEZ19MdSAhSA
4yXnbDfuuNBYm15itYzMnk2D0HemiqdVjulQZ3xRbGLJ3wS3C60ycohLfvwOSSo8x0om45l0pGeL
csGammVtRfI9yXi9j9tPOcBzAO8fraIXqFtEBor9oPQiWEn7P1q7Bkz9YKFN8QFtwHbqk3vJKz3D
Gt9VAOgAs6dzfss9rr6AuTCVoKyNaUFMqEhP6nQbLJxbZYNImq7il4rMAdDAKj5GGs42uIcpEIH6
Wp97P3DAakLhNSmq2ewRt/oIvYonm/72xZW2ks2cijhQI4DcQHYSW51DI97I+a5/0NJMZ/ORNjeN
1CBE1DGsiYYV5irQp3JKhBbl3VqoMUD2zRg475zNiiSwTv6WwNZBTPw3KzUymJMX+L0PupgjOrfx
9i+OGAa2JU9FoGuihVI8FqeIU7TgqMdW5ZdCUbO5x2rGauo2bbJXFn3H8WObQchKQcYc83pOujxA
biP+QzmkO/NYAn4PwJvnwKPsEcajbEsWall346vEKzBvxo4r2Yyl6sh5xWB1wnulPgnKaQxuF95I
Gw02LgwSnchoCQcWwiXKmVk0nbFIxJmT/hYzR0/ZotjygiKWFc3Vg9L3/vUF3dbpSyAT/UQFyZNl
RFq9Hp6lUbRzCUXCgFf72LQMEK8STNGhWs2SyYIWoF2kgKql3s/Iry3x9+tqbE70aCsJ7Emu4qo3
RjhKRAg3CihCMSP/I/fRxGMHd5g3d2W7AHb/S4XoO3KDB15Bmachc9uZXWiio46WDuYfubETxW/X
FdwK71APN4BkBvQ7TIf+GpMIM0AZqxEPiiYRXW2yczEC6+9HqnAO2JYeKzlsp0aBLg3EWohWE9ME
4Cl51bqSI2LL5NYimFyaqdeGKCe4NgP9zZT/6PJXUj5cXy2eFoyXWEolCtQF6ce0vJM1v6h+XP/9
zQB4rQPjCrQ8N5vJkBdnVjzDz900RbkZgB7NS/99RLgh7hZeJ/VmWLqWyZh4OGSDUlGZol/sl/1y
XPz0CZ4cjdu8qitXFmPOjU6ERapBtU0BTyPEUqWtnik8uXjkpUl45sBEbm0V9UOYQFQ79PaUBY+J
kviT3nO6+7dVQlgvakBIBaoNc4KCfl5aNYSHoEQylJuSNm6C9hm4DLwH+Wbsi4jmb1nsNVxFJWCS
Z6QygGaD5Hd5wKyEO93X+8kvTrxS76ZrWAljzlMrqX2UguLQIe19ObwrQWTjqWFVEq/XdutyWmvF
nCqSpNW4EOqDBMRmymtQPAnq95SoVtf8sQQ8g988xCu9mDNG2pKAtBHhRKUkbpvoXq/FDuccX8iQ
6HwJnl0SQBQB2saE8II0EXEIlgXXBhpjA5+G2Lif0B6d4S2LSMIeX3lt2/Q3f7njGZnMlZtjypWE
Lc4xhtd/TDoBVX1yTAk6GVv5e9wu79d13FbRlNHAIQO3jX2r5+gVqaWSLE5riH6ajI4e5u51EZ+E
SBcq4bdRAkb5X2PPllwZAylDEXOlau8D3tEJ68oB6FZqGeJHvgS7dMrO4pjcmjpw6Vqwa4WT2+Tm
t6VpbyNR8vpO3sl98+fcS7ITAwBqzHMUqdBB7pUiwAKFDlNmkixYwOe4qRPFKpXcrvtgHyr6C9oJ
baBvnpIlu831xYnnMbdklPSsPK18TQ39Xk0/NKl3qyLapVn3Kkf9tyQOrGQCa9U0PZkdhpr79BtJ
Bz/rVGc0BDfo0M1HUlADdviXddHtSdKdUkOy9K56XcYZeL51Z/eSYKdzcyBFGFu5iSRsPBofZhy+
1jJ6rJrIzYTodhmHj8yMZ6stjH2htbuil57NvOWEQZt7jSkhTIbrFPqMMWd1yIuwnZQFxe0C+B6J
rzczJ2DkiWCsV586ZZIGaXFS4c5UTlLL+f3Lq5Uej5UOjJ8u4Dszs8LxqN2J9kU7oUtnQxzKkNLd
jzveoPLF/fOrvM8n1Srb06CwV0UN5CXLa9UMjjlj1UT7+gm5vBEYKYyT1sy8XmodO6P48UPlAQ/6
UFizA7gxn4/9wtmjz6zCSiVNzNSKFDgJ6A1L88XqcR38j/owztkURtMo6aoFJ9oqgyw6GODuMddt
V75wx3OZn2HnpYP5x7A/ETpWGhlTHUxTieVLKvluFCoPuC9vSRvvhTZ7CLXazsLoQwspdcriXVf1
4nr93DkkHiX0Z9Hq26+RdwIUk1xb0C0/DYfIUI+xeWvWN6YYcl7P23b4JYeJg2YtaEG+Cz+dzs+q
csqr92D487oqPBGse8iHaZZV3HaDeE6jxBLTj77ldfBezpQxC8Z4CHSrSwMm4hdHECo/FgwH2LN7
QSKelrVOlYLCL+jvxnI4odbplz3JrXosASSXHsY8fsVDKnEDpMJ4FntRgGY+i/ErNQmrPJ+wvkmb
2MDrcJrJXZraGoNjPbzqhUsCNL8rnGTy5lEEtQoacSREXezLt+jHdi5rnJPG/D6g6akRdtf3dNM8
VwLoB6xOxgJmYKBlwDxH4zwF7+Ec2mbwKCS86s+m7azkMMegLGJjTmRc8UAtsssI8wJZ5qiY07uu
zieU2MVJX8lhjoHUTUqfIVZ38EI89cOwF6LkLtWz11jU9m0fLW5U5bd1lOauvpixY6jdiznoD3NV
DHaPGSdXlXI3j4ddSDTgXpleJ5p+MEfvUinchmK5U+dmJ5B0N1etT0LtiLBmp3XiaW5UJ5BnXk5u
0wIovrIBtlFg1zOeMjGAQWEsUKitgHCjNK6czJwaMD23F2u2EsHYQNvEkyiBGsaJMPuqPI5A4Y7m
XSl+k3POwCg9u9ckMVaQ6sbcqxqsYJnPnfmhFaFTSe9gU7bC7qArvC6VbcVkHQTqeLWhwPyrcavd
bGYtVSwRnkFDaAVJ403Dc12n+1j8ndgJRca/ZTGvmxksdmmowTn24uyVqrHv8sa7btybZ2glgjGF
eARQPSbrF8coz6F5k2nHMeXwl21735UMxhZIqwzAbMeS/QVDTws9htPdgp3BqdzPFOlrmtqG+79p
xthFF4VSFLXQrDDqE3D3n5ZUQq9Dzyvf8wyC8Q5ymhY1kK+xSfVLkj1lxS4O/gC1U8y7KrcDttU6
MnelHqTRRHLcYrTkmA227CRonZsUT/8EH8hKjm38i0CdoL+CZkhZKMdJ6jKgjE2LA+5X4snOVO4N
h3zQ9vAl3IdA+b2+Zdt+6R95LKbjpMSSoOkj5Ck/k+GnsPAcH08jmTm9GgHULqAj8dBFBVB0a1QA
uyOlxzJQAeRlFS/zO/R+R6HsP+snM+e3zFVJ6RqsXyHk56JsHrqyuY2S1BmGyWoz5a1uKsku68ZR
M9UDIz3HCW8ebl0EZDLS9hQSmvFVhRRWoQb5YfFKUQ/zurYG+fX6pm0KAbMuYJkxuA1v8asQOQdy
XzrUyDsW/tRr1qJ6wsALleghunDyKyGMC1HnuRbiOEMApyK9qFcOeHmsYo5vZ5FwrJ6nD+M3skqS
ymiCPvX4XMygwJQOyyRyYootp4EueyCXINGD1B8T+ZlkRhDWprAMZbT7trDU6Zve3ojmvhx5qKVb
Cq1ksZm/KWjDXmgT2Hx4HsODUoV2G/zX1Lkw9bUQ5mCJxJTSUYCQedohvWNV6fdc5lwkm4smSQBD
AYEuYOIZc47DNNBiCYuWj6E3AV5gCHOnkmvgpB4B6ctxRpvLtpLGvBn6bFpk5C7ozThbSooKR2ov
yff//vAYKyGMHQRj2hm4m2DX42MUvRvG7cBjRb+claJbA2g+rBjtfmZfi9UwCUU+R4j20Pg8H0yL
9l8bd0hqAUPGtNsSj/7GQh6pAI4ML1zaXsUv4cztmBupHKdZDIj49COekMtMb8aMlwXe8g5rDRnD
qMoqaycVQjAGfa6D4EmVhlM1ARNKbmTO42bTqa+FMXbRACdVXnQs59TlyLd1WWQ1NTofhK6wGnn4
EI3Yl9HtrQataMehfFTk8OW61fD0ZaxmTqJZjRocthAv1R5ULGZ7J+olqLy43IrUe7OOFwCjmMqm
hPdoV/nVu2uVjNxpA29Yfa9gNYf6ftqZdjZboQSzqf9sfF7cthXPryUyrv7/SLuu5bh1ZftFrGIA
0yvjJEVblr1fWJYDc878+rsg1/FQEE3c7f08VdME0N1odFjLmBq5nWpIJMNTGX5MKsCOo3QAcK/Y
qUMuNjZ1THsLZNx9rsfNDFJqGhHguMCLFrqhX1+A9e/z6NC2whvwW2E4+nVA+rVgvHoXS+WylCiY
QnPaoz5dJp3zsN9WTQWEtyImn95zFqCpeEIqBe+Fzpmc5jutANq1kx/b+wTxBscQNi0bXd9AFTfR
CKQyRhfGRWaqmYl0W4DY5qTFj8bIedptb9hVBGNqFUbfug4DKs6cl77ez2AsN572Tel9Fxr1jqtl
MLYkCJ2RqqNBg+q0thuMQR1pq08/WrhRMEuOhPkd3y1uXmVXqRrNDK1UQSmU3hRmaJ2C5oapPs2t
o0R3cn1j8N6QnGNi36uJkSYBLBgGTItI4/cxfszGv8gTrvZQY+LcGWN8wRQibh9yzHGTr3WROFU3
O/tHxVsJ44rGINHlyMSeleV90Z3B51XzBuPfNyu91QaNcT61UgIitMNuRb3qDOnoSr34fSmX41h9
LoXSn6PqMjcyYk/B8HQKiyZNL6qgn2eBfBL76dAj/SCEDcjc8gepUR9VWfiwvw2b1Yj1btN9WukO
cFM1QW9gFebBeKB1Y8E1LgFQWhY3d+Yzb66ct+3MDT4MRpRKMbYkCD7IwqdBO2MolRMOb6YI1mti
nIli1pGeKsOvGAVT427kyMfuoAOYdXayQ47hn+xicIY9tm2foHlcRrvfe16EaNClUTdfpc5uLtrG
fAqc2EZkicZaW1UdNGgCOMjdP8BNr7aSymyoEhUKYPAhNS5DF813ViXGnM6CzTt0JYLZzmoirVmV
EAFCCF9Ka0/PyLEd9FNYRYe2lX70My9LuhmTrEQyvroQY6lLDYhUEYyDt00FDWw+enr06W92D6iD
BsYxdJ3NXWIUYMYIBt60qvqzjx5j7W8eGeT6/4wHiNELJNUhMgSq/qJpt2CytsflU64cs/jzf1sJ
Y8dLZMSmEGAlFYYhg+hpRB1iX8IfFPy6GEbVyjYJsmaACDpRJ6IBrXwCRpjdWcltdGjs8eVft45T
/0lMjRAwXCHvwDwD0W+mSoUMZ9EMgz3UkT2HrZMPPGV734RM5QC0Ce33BhBZ2MxUM4SdqUzl/xbW
fyIuzeRkGOxMnKiwdDc/oilkssgldvT7zC1sXpPQ9l1x/QY2W4V5A1OXA9xHrYt7wmntyMuej8U9
kLNfKrc+AiccXQdedNPjXVU+c4520y2rpglKLEyhvONliExhUWujQNr7rnOS+8qbOks7qm56UwOu
q/SG0g4dXgS7KRSj5CjlSyAxZFkHjIwYZiXiBT62lxlJkW74Wo+8ycjN2GglhLHAalS1IevxJi7a
oxhfQrSwG7FogW9o1Imzv43bh4jcFQU+AKEoi10/a1KWCgO2sfxJJ1xTtzt2hpXbsU1zq/T2kT+H
9ngH+oQfuceLoTf99Eo6EzjBG5tmO1Pp8p1opK6BPL9aTbcLye+INHhB0f1NqLaSyARRkRkOmkBy
BDjSbaXBBQh3Klgv93d1W02um8qcYCEDsjYYsSy5uJ/G+1j5UXecG44ngv6+CoKqbI4L5M0WR5NP
ZvkcFnYYc24C+pXvXoaY+1No/vY9unCBwddiMeBj+hgTG8KdlHCusu332koC457zuVPbkUpoc5dO
9UQekBgwbO3lNPLgqPrmjq2EMTHBoAyCEGOYG4RJxwKjQ+KhSDgP0Pctz9QtGwTgGygrv0fYlMD7
BORWlJbnU3NEW0lr6V58SjGpNLmqPXry9/iIgg/AZQJbvJ25eMmbrmMln7GnxKgyo6l1ZAjV0oqE
s9i/KHOKDq3UipPiuK/lW8aLmVDM8Kogj8WQ6FsVbKIwUZCNBL0G8C8LTXNnsXU6VPKNWPFrRTsF
Uvp9X+TWGa5EsqncuupbaTIl+N8ceCZZbcngjeYSCWy2tpiyigEw3OPIUDOqMqkSgC01DVnJntxg
nOoyVb2fzNk512QrWkZfMyZHKPMPaqK7+yvcrNCsZTNxZKPpCCNjHKFqjbMFlIaTYGelM9nJLZ2s
WzqOWWwa4Vogc4yKFihTkUBg+ZNSGYQn7ftg0xLXzG2z3Dw+RcUoBSa/6Rj2W42ZoSSpRtVzWXQn
beRL3aZ21vLo1DdfiKYOwjcT8f3GWKyQVFMHKjSEfRRK8XUw6wcBTWx329mFn77sn9nmsq7i2Ab9
NKyCoEoCpCMXw2kVxB7haOfl38SWq1W9HuTK5Ut6OIpailUFqWaZEQAV06cYVa39xWw+RddiGB9S
R0kp4amELF1vzZjckH3JA6PwKfLko6rb5BvAoL3QMTmmvW10qBaClofo74eKM0MeF8AaorHgOBxV
8PXEdn4EOcozL3Cltwp7r4E36rcgxsLqMpPDlGqH0Be2IftNf5+Cch3x1f5OEo4cxrD0oS8GIK1j
Qaa/BACDjniR4uZKTMVUMaCvvR9NEqMAyLgdPHBe3KMH1KqTT5o5W6P6dX8l9Evf7dhKDrNj0RgV
GPjGm3DymuMrMY6/uJ2vH/+bGGbDkvl/T1vio7MX4wCqTzyRi/T1nnIWt7QJFQcYLHqjTbYg1GgC
Ap4Fr8Lps3Yi09H4sZgeSZxvw4l2Y8SpV0Q/8WDiWNbG5YwAm8gabVmUdTb93YlyOsQhTguMuk4z
Jre1Ed1Vqv5lLAp3SrXD/m5u1b3eyGMMOVhKTYvGkRoUwJIbK/s820ianZeDeC/5xl14RHcoCD/B
gPg3OZ43spkwO066GjkeqpnTiwbEI16kteFy3/w/tb2VL8zKQUwW2raTDy9F9tApDx2PxmDDfN+I
oJ+wElEu2RQmE5YgGE+z8WkeOcHihvEaogSKaiDUqHjDM0EG2sCl0egQZGRSZFfS4AZt5qed/GES
h39fR3gjirHfQFiWKRbRqtslsis3ga+hs3Nf2zZ3SyaGbmDWVTbZhIRcpnIw5bCpsDiZQFTVOf+/
FRfBKuHqNKANSHiVvD0OpTbFxoBKIdvQHCvFlazQLc6zB3wpkLr5vAmeTWNdiWMUrGuS3GgMJDfm
6HNEQEOKcPMnOlSN7uf+xm0JMjEKIgOzT8EoIaNmudE1shTqmG6entP6PKs1cFCIRYSblktbvlHr
M9ayqEquVLoPyq4CZsxMY0uXQqCEp+qgnAoAoPCy5u8Rfmj9bbUuRr2XoTbCocK6pm/mHcWjyP3Q
12/Ufxrwm0ludAJN0VHhVuU29QTOHbVa5LUxdM3oiZE0cgMPj/30aIcTQDYroKxJPnJCyDK4PEap
Lb1fi2P0JIHCSjNKWQ7JjrN8URNOjp6aJnP1Yhuvy2HUoyGVUUlygA6FRuktLZ+QFGmLYz6MidWH
9UNZ5h/7MuLcxFuPAlRRqb3JKsqbLPCP0Is94CqxLJo4XS41oEqrwy8KB96tv+HK34hirilhnACV
RELUu6vbJDgbpk94abuNQ3ojgtGJEiPcSj5GeKlmF9W8lULOVcv7f0YJ0jQO4mzAbmla4g/gdNDQ
FmHt+wmeDEYRirJbJmWCDBSeT8aEMYus/mdfBO8kGPcg9VldVDJOQlnOU3cr6Y4h8+h0eMtg3ALS
xaWmTziKqbhZ+shSEtneX8V7alhZe3PazG03Ty3aOQ0sQ0+Kh5kIP7VwOLapcSIxoEdD3Xye9ckh
/eTocQi3m9phMnyOQqAyFMbTNEqfk0L/kVa1P9XGOWqzA6j3btH65/Z1CbahErgb/cD5at6+MLFv
o8yVmZTYFyHAqz8xT0NecaKArWrIemPY7EmkSSWej5BB8Yeb+xYDo5Zgq65mSbZxxlM85E8tb0Q5
b2QyT/4FiWw1o6Y32vEtrcDorT0cYnsBnkfmypcMN4HuqM6+Dmw9Jt+IZZyKHIi1XmVUzdCzQyeL
4yPxKKIcL4O9fW4ESVL05IEWlzk3rRYXbRjN2amSyhpr4H0/7C9lIz7ASn4LYJMLnRIbWVXjAhCl
yTbnvLUUIXtuMvGDHGqS1RX1h32BWzcoJOoqGndNA42zjImKxSiIM0BLQK1cf6VwJRku0RI6kljF
P6ipKBzPtnHFvZHH2KtClEWdY6xQLn0lw7sLXbptXDmZ+ASSr5vJ4GWCt8/sukDmzOAbhkiZILAo
1cYCa8lp0Ip/X2cwRTrgS8tEEspCb0MtEkpmUM9oyRsUp5DAabsAr+ovJpnWQkymi0YFslwIMDNU
UOv8oGvJnZLw4rjNvbquw2Tst4zMqp0riBDaGkAX/b3aSZxSBk8EY6t9kC9VaMJWe/N2AeVZznk6
bLqg1RKY218Rm8woIhxFW+ZoZD3o8tEIHrqKc3vylkF/XwfXqrwg/Y9lpOp86IEaBjhXzkp4IpgY
AKkMjHcmWIli+nr2OYl/7Jv+ZgBA0KoMSDcNeRHG8pOqb7RhxmErZXNSR+S4de2S55W7L2ZzGSsx
jMH3dWcuZYAqakfcRj+lo/83/4/8sowqLbqLmW0S8wbQmC1OIqjvtRHNsLyu0O0FXAUwgRIGFUYh
axFhGONwqM30nJUodu8vYvssUGgGXDjR3s2oVVE7mGWHs8CL25oUchAK2cqb4PDfxDBaO8TLBAwf
iJHHJ9Ps7UH1qpk3ar25XyoOA+zoaIpg5zAMaSryXoGQVHkgQA0Ij/uL2MpZ00zebwGMRlV9UmjR
AAHCobo0IBAGA7v+mNxp30cPVHDoxrfM7+Gd9siRS10H8zp7I5fx8n1nVG0KtCbIxZjfQTpox8Aj
lKrRlc/8IXL6d38Wh5rbWxcDmHwRaXKII34IYalP4V/+Knm3WpXO9gS0cW0kOdUJPb0bCl/p/n1h
+c3/Mw4/lUqhT+ky4vpWbS/y4O0fy6bpYDAd3VjI4IkaY/99qIdRsuRIDmbHVACuw6Mcf9wXsanR
sEqAS6u4WthGEBDf5WYkIoQQTMUqqhiMBjyA383AD/DiYL2VdRgOc/O2eSRlNX2NaUFlx8lsycJx
wbNSwjDaLPCIszZVS0eiQQZUCGUMeataTSxWIZFwtVACbunQHUYPHVI+L1zetFRNFZFTUDAogATR
WznBEM3KSAji5ciw6tQX87spdkHV7AaNbIXtw1z17rLczNpdJpxCVE2ag5m9DB1vAul9kVACxLUE
QgZRRY1Qfk2fr+7rYMawVoBSJYxpdqfIShwTNOqLXd1S8hcNgwUcj/6+7vBW4msvzkqipIuz0bUg
T6AgGs1deojdEBQwSFVZrUNJlKPJ0mofnNf7yvpOkxi5jCZlptTmJbKPTpSIfpniqkp1Pbbqsr4Z
YsVDSTbmWCBPImvhVdYotZoqjlp8jtJDGXdWOv9Q1BeTh7X9/rXCLI5RKFMuQ0yQY1N/IYnTnKZg
E4uOhM5nXusqVxpzXbaZrM5mCqUZPFpMoZjlxjEAiHTt0U63/XN752SYpTE2qaZSZwyBDg0Fd0mk
BK5aNJxQ6X1OgJHBhDJB2s9dn2H7AJJ/0sCGItzKoxXbs0e8zu+f6xfeRNR7F8CIpMqzMoOmB/+M
piZQDisaLNEtnKbFoJA937fO5FLyM+MR7bmCI/PgzHlqyYQJ0pJq2WBq0IxpOIxDcqhM2ZYr4VKB
nz2deGMBvPNjogPwzmRN3y+yI8iXEaknGW3B+xqy7cQQb6L/UZLQqMLspZKAGiCfiex0ATG9ok7u
g7pwOlW7TILkl03yj24iDlnG+yoeVGsRvw0dADljHmHL+4QxPVRUMdAphsZk+NW3h5qGRQEkskDG
oVJoYQroH/o5oPwpuiNn0e/uKkYWc4wB+iPVqKuo51Y85dDdg0cvcKaXpEVnr4axLBnYUNbYWcL3
PLJq0eJVcre3fbVa5mQzxOPxXOJpT/7pXdweuDFpUmtqLOKRAx+ldttmrgLZqyPE5PtsgrIZhDhW
caxvKTcIuj9u5ON0ij8anzN3BGGgyXkcUON/E2++3Wi2Yj3pBeVXlsERqtQ2GT9iJNSKxjtT4PUz
v4vYGEHsfaGWlTRG8EKSedOHPyv5Ifr3+JNvFPSVJGrldepimAgxYCmK9EKEUx9+2dfKzSUQAK3R
rjEEnowBEMDwLVWMvRrEe4JEg6x9448yv6+q0Y1aSWFVf4mQMK9a5XV+nwDBu/SbA8CEX7qz5I+O
4soHwRFnh3cVbV98K8GMxhvtGIphrMiv0VL9QAdoxfvOpdxBRmJzw0R64O807yqOzWyBmQYj2qmO
00KlMvqSu9NBeCqPtGk/cuXH/aPb9NMrYUx8lAxZIic5LiTTOKrtbZVyKv28/2e0OwgFouEal51W
rOxZQDLQ5PGgv+Y09jaMCYOyMopEte4UR/aro2bHbu/KtnopfdNGoN09p4iJCgsUU8iBK256Lzui
VTzFLRd2hKcpJt2NlaHF4ZguoRYpTom+db/yyiflBlDokNzdhE5g75/dH8QZqoQHBfaN9VG1IDdD
P2Nz1Q/FKwV89TyDYB30wskps5Xv/1Ecc5ajGCetSCPb1p0cCSPkGaYArMVGdcEXvmvuvrhtp3Jd
HHOqYpFGeCtJCFjEOyL4DXBLebzaWyLAXoQMNaWle0chgk7MOSXohXXaUXOKKL/phMpOBO6c8ZZF
r+SwdQy9WXpNmmrIwcZR8rHI0Rxy1x4TkF9y2Sm2TE5FMIJcEyrY72DdzX4xW0UPFdBGhgexRq/I
cDYuxXlwp09oAbURFCy8OsbmTuJJiVFgWUNzK3MDCGmqxoj3ZCeX7gggLaTyh1bwYLu3rmSs57cQ
5gLo57pvxhQaISulVaiZDbppWxQf5cS0/r3urSUxHl9pzbSUgBYDEpbK0iRP7Z/06ut/ksGGNVNe
SwAKm7Ea+cEcfibLPw0w8PZl0O9kPeNqHayDABZuEkgGiONpV2Hr08wGgW/gdZVunj4xJFVHzgDZ
BMZUdW0kXZyVYMU1/TqarVx46pvn/aVsZhDUlRDGtyZhT4gggLR9Hg+t8SEHg/pw7gSnMO/lBnnH
4Sz0jjoEQD29SYf7IM/sCm/v/a+gevxuQymrLFyuAYoUuhMrBx+OXZJpkyA7detV+kNhfp0AHqiE
gCHhNbhumvFKFPM67QZgegQKnJOZKicBzKCD1Dr7q9m8QDCq93s5jNn2gbHgcqavbCRVB+BwOepN
7KdHCaR7pHR4DPFceYwFR102jcpgIGFxQmM1mMcNkPQYmLNPncLnvVTon+2dFWPEcTuHvSKXipPr
iaOWJtouqsM0IFdSBn6p1MexNznlPN4CdSZLHfVJUg2FCMdRWr9Ylek0vEW5gdRPjf9Xhnc9P52J
3oxCjoegNxCZdo9y+DMHx0TFxV/iKKJOb7eVzk+aWEWJgedtGRpuu9Tfhnb+G1+4WgfjQMS4DYdQ
XRDaF4MVFaY1J4FtKtyZ2E1HtZLD+JAoDwFVUOJ4xgdyIm57E3nK4/Io3kW3ClgthUt/Djl+6/24
Kp4tKxvTGZdhiGEemR0SL9kleJAfxQfwAYEBO3PiE+Zx3eIAHmx7QMwmYrpguE09buKOd4CMJxmE
Vs+lElZOh1XJU/yQ/6BpwsUO7eKELEF8x9PLzXtntc+MXwGMeR8mWYYQBFi4Shh48qKDH6K9lwPB
XoLAUZrYEUP5874/4y2UcS9lBPj23jQRD5vHcXwm3V88ZtZHyXiU1CyIIBVYlhqegddR8lLHnO9n
SdMktTGnvq8VwFnOxyYw3UUqHva3iGMBLPw6XudGUMzQhbG+qMrdgtkWHvnJZoZotU0G4zAUA6SZ
OsDa8B4b3fDc2sGxOQwnAO2dQ09H4+vfLElVUMmQZCKy9ShdzuoGkQnUO12eh7T4DObdI0l5Za/N
NJ8K4s7/yWGchyGN4pzSDCpN84EQF/kHE6Pmiivyc+2boe5KFuM0Al1PRkHQUC75BuA2F40bz6FL
qbprBwhTpyi0OhvEdhz93laO6woZRzFJ9ajrTaFgEPWzUA2uUTmNFB32j2tbya9CGN9A0PGaiCZC
qEV12/wxzzlO4A938FUA4wWA/qqZpYnUM62KxAf9hSKdAVjf015Ch1vYop/7Psq4SmN8wiRphdZl
uFLKn7M/2wFe/SGw1ZrDfNc81476s3AFR73nMcxxFIRlmO5ro06bPCMown5VY/pIUewx+ofkGi/J
wJPExBhVWaM3AlCxIFu15Bv5JF0WT3bTh/xpya3sk2RHh1yx+KNK9Jh2NpblnyZjhbgVHIXgpZit
CDPR+uOUfszb0Zr171Pq72slR/VZ/um4lvLCTOHajWx5UVvJqZBWNwr16b+JYXyIKIAxx6iRw9RR
6ZwAdp4OaDbiQp3SeGlv7xj3AWIUbSExsnrIViPsgE5GXnVG9HuK71U75WIZ/MHl/7YCwngOdVRJ
ODQxPMcputc96hmDg3QyLNlJMe/Na2rnnRbjQ4JlSsZkRCbKlC8x8LiVTznvrt+sDlLiCgy3Ghru
FUbv1Ujs5iCBC25dxQMOnZf+WBBeu4NLZ25QI+88Hrnh9rKuIpmLs9Oz2IxVGHUciOjWexGWf2bC
A9rdtqurECbWzrNFCMIOtzOIuzvhixbKdtr6NbmJljsNTMr7Cr/9bF9tI6PxQtDpRR7DfQgHMtvF
xwiUNpEzWN1sSwhAdR+oa9xWC95GMvofBYVKSqGVnUQVPKVtrKnKHtt+POwvbjvMvW4lq/VJWrRK
gLoKTa/kp+4g3NChTW4BYtsFX+Uw6l4HzTQIC+5leqNJTm1P54w+1idbBNK5XWGuW74173kPB94u
MhcpwCwlWacBj9HcFtGXLjuawJvc30KufjD3p2lObanFiN5mYAfPiQUyX6s1z5p5WwU/++ER3GaW
Mt0tyykWHkfBM/qTwI1JOCtlE7TtsOhqTmB4epmd6jG9AYy/S6aYE19xzvE1wly9pCMpydREg5fU
6vt2+NjL35PKXvqWd2Vv6iXamUS0sqKbXWP2FNQ/1STHMPHWFRGR5CiIhIf5RrilD03kJh7i4y82
qdDjJV22b4KrbDYD0qtgEA4I1kgRZ/HM9QRbuR3s6bVKEDo8/IENvlY8r1fyGDedRVPYx8oEPPQL
CJU+ShZ1L2B//if8gTExxTdP8iEVLWQITS4k0uZ5rmQz/loccjwJYmSY+vkwT/aQoORv2pL576nH
3q6RcdkE0J5tqSCi7YPWDevWH+be2bfDzah8tRTGTaddQjohkhTwPn/NWydMPu7/P0cl2SzIbMpy
IyNIfc00tj5t3yRe6v3rkUSabFktg/HIiV7HedLSwCDyS8krM84yeCfOeGKjRh0pn9FOZjajVUlP
ZeaGYmNJyof97eLJYVyvlk1BmNNn+hCrl6Lo3MioPE2ObFELeaNRNCf5Llhc7RnjLbJhHuo6VBRH
PMl2ZIPL/HXaMfZaTnZ008teBbHpjXxuSj0maCBrQ8RToGWrqtbqQh4l2Pvh/7dKwOY4kj6rmrCE
udByG0Ff13Khy4qc6ZGOXs1eYDW4NBM/LCzenbl9n60WyfgECXxuCokQE2RoJl1kPAWR/o1evV9g
5+fQiQ7RKX3eVxeOdRmMg6iqruwIVXsaiKA/4aj40UE88FoTtsWoGkGgr5iSwmg/sN37dqGJndS8
NepbQ63slnzI5Yui3GmdaiHHyAsP6Je/V86rSMYQIkmo5wxTG0i6qN/CA40ewwfDoSg9ytfsxFvh
topexTG2AE6GuEGDKE6vTFyj1T0V6MmFxsvCbfY0ISf1v51kn+9aX/eakKMQQm+t7F6zW4DMH+NX
YuDmFJ1ETGzPB/X7vprQzdrZTHayucMITaIBDtSZe9TtdU+sLprgdNrD3Lkjt1y7nTBbLZIxBQIO
rS6lSazsGB+UM+WKV33aoQZm+OP+yt4PPb7a/HVDGQuIhSRtwt7Ew7oC7faCMlave2E+HSJD8pY+
tuta+9hU8k2f9qmzL5xjFoRg21dhHUjABdJLWCetov2qsv5/RhM4ukno7ysxLUj0yKzAyCPziUSf
ElDTypxrhyeCuT77JdGnBQSYTtpdMvNLXN1pPCIHngjGh/S5KgAAGznuLMQjprB1tGSbKudO4wlh
vAZaR0S1TBok6uPSAry9ZdS5V6vcDuLtq/OqdYy7AH7FLI8K3IWIzqPyNB3Um/pIaVp5T0C6KzuW
y44vS/0i/moWSJbbRgdFnfyDyIdZO0qxv6/MVFn3JDHxtAl817qM0GCqqqNNysJZCC9nyjkdlfEL
Qt+0ndHD+XXibak8d52XjQ/7q9iOn34fDEtdoGRpEM9FTpx2uLTBp5Lc18DnUxKO5fM2i7H8tKvD
XGsjapK+2pzVkePWeP9Pd3Jl8nG05E3YIV3YtBmYX0l50CUuEzXvOBijT8xwnOsQVywNHtRDcD8/
JQ65B314eqSw4k1p416XeC9/3toYR2CWimRm9EWgSX6u3SsZ57H9h5foVQcYJ9CpPdCvG3iaRbKq
Y+4uGMRAMIaxZ3oHVZj45yn2H4K/q0jGH+gjyRRjRj1+8HAT2MWH4Vydf7XIVafKNp3SVXjL5Fzq
LJ2AFoNqcJ4R7apWc1EBWxceMqR766fcnnJL+/ALsk7MreKBB1/y2qO04yxYUMNWb/tejNEa0H2m
HYH9ITk22OnIowWXBOD0yQuxBhda5GGk4XHfxv/w9P+92yz1QGVEMWZPB5oWkz4HN4Jp0fEtwS7o
CNf97Eku+G2ig3xWE4vbiE+d1N7SmYAjasI8HBAn46ib43gTu7UAyHrlpNi5k/2oeDArPG1m2QnS
WVskacCV9gdt5mO2cQyU7XXK4rjXOiAEOOFwCYdnoefxRvEEMI4H1ERllZa4PRcMv7S3Q8OZSuc4
No3xMK0JsEiQ2BIHOD8gH5LtBN12hqnb+3rIuWs0xs/MkWAsuY7wL0ifVT22y+mD0NxnMZcogbce
xrss9UKA5gPvQguNNBHc36C76PkbhYqsfHLgq8C2RGAFSoBbBzgl/X11/0R5ZRiFBN+iaC9y9US0
g8xliKQBxXtDuspgtEAjVQqAEWiBXlZWGLaWmR76+p82+GqSM5koLXBoDcvx77otwEv+v8Ux6hGC
u7mWA5r3UM6leCvwRvH/kIe4CmAUI9WrcYowP4tG/sGZXc1WLXKS3fhk2goFkQQoMi2BpA7/JqLf
vrepjKq0LRAQ0wSigwD10uw0ouFJVC2l/D6WEkf//3Dr/V4nmz03lwRUvCEcBbkxboaLZitn9N2b
j+GlvGAM6kt6Z9zq3/eNjqOZbCpdAn3CAJIt2YmqQxkhPDGcKuTRwHF28bXTYKX+Q9/h+Q8abqcR
JysYv3TJh9B4KXQv4EL6b/vC6x4y14k4FRnuUtRa0EYATcmc7kU6p/a3CTTz0233g5eL23ZaV3n0
e1ZLk3IFbJuYVHXkprcFs7WKuH8wSAsI+u7j/lHxdpFxIrGijIHUIyPWa6Ilkhqjz4aVhhjVOaS8
FxlPLRhnEg5GFaearDiVcdCLUyT7fcPJYr72su/Y1uvvq60DSWlPcG3ROSTaxJo5wff6hkL2pkdK
OJ/eBbeYi/d5EMg8DWG8SYNRhUqhvnhYbg3lMVX9/WPajiOvGsG4DBIIzZQL+P9Q+ijFkdNlAQpv
PlG9OQZVzbf/JI3tfo/bIW7QZY9SdwJqquU2TFI31NzR+GosxFcHjg7+IXz6vTq2Ez7EmFOfxvBR
0odfTTpa4ij/kCOmc9zSix3NdPYXyNHE17bQlZZUapaMMdgsnSVt7SZPv5jTFyHROBCJPN/Ljvah
ZxbtJBKSQsHN5CA76nfn6RBc+m+DG9qgeDjjAp04Tw7e0qimrpYWz10edQK6S2KAP0jZzRgTK0g/
7+8fR91ZIJsZrdstCbCwWHRHQMLxKiy8RTCeItFLBG4zLhBR8pvkTo1uEl4X7B+yvFelo55xtVF4
4OaqIcAbDd70eQYA3IxBtBc8QX00DXoI2uzMjx54JQjeyhhHIUR9oZACAVURB+cxwZMz7pwqKznX
/uYNgmobuCEx+WGwYKODJs7IfuFynLqPQYLiPXoD5vanEv/YV4Tt1O5KEKNu1UjEPurhb1+LG05p
xz4dceN3nG1u3EoQ/X11XFEzRlkDoFonqm/Icgqjx3ng2Ctv0xiti+asNcec3oU60MSbxK7j6iCh
btxI3C6AzRfqajmM9pmAZxk62ugz2pMjfo1P6q1m1RfNw7DFDQ8zeNvBrqQxWlf2RjSbNeyV9qgQ
BDCJ151jO7MEvwRkPjdgogHRu1t4JY+5rspkzMyIoPYeADjkhCFZjLxD2mt2ByAfzsidfH+9I3ZE
svVLAHfJRlzQoqwHGGnMmZa3LaBTIgeNkA06ct3okHomqpuWDlbxDEgq/3WX2dJmD5waXWjx1mwx
ek/s6i5ywqfeM6zAGm7CD+S/qSvbya1pZdLFtPdziGQvwDJ7objvF8FpM16fKcf42BImyicD0Vtc
Ko3WfJwq7esMyyhIfNz3JjwxjDMJJC1ue5oti/raKpVzWoY2f1aNKt+epjCeRDCldCJKRBwlbv04
GA5VPB1HwH8aCnkwq/4iBsbXVIu+TKp5p5qFTzrkzgriFGpqWvWQ3Caguxoi1bCqujibyCfsb8N2
EHs1H4NxRGEdyuEALAfalndCMeZD7tcOGIU7qwccT2PPVn+u/MDWP+4L5u0/45SaYBq7UkcPgFx3
gCMIUjtFsNel7ad9OTx/ZDD+SA8asWtRw3ai4+AU3xXktQU7BDrGkcZFhS3qFkci/fT3h055kkG4
TTCn+vb66My4KpoBqjVJFoZTazzkkDtzY3++M+4qV7yPj8a30Ja5ZfntS+UqmF4Eq3trjMJFyHPk
hYzyXJdfpzSwCrRmG381fwu8/v8tkHmjFnHVdC2Ij5xRuND5HSOzxsGWZY6J/uHornIYG5WrMiBD
i42UfdpqnnhzcpY/dK4CNLvoQVDtoOHEMtup5NXSGIPtdK1TalowpF1rdJY+dYH6Dcryp+qMJYIR
iHhaBy6/HGR0Dkdx6Hr2FIexRdKbqZSMM31QDk5zxIo/aPe/DJHCWswHjPVxRG6b4XWLGTPUY6Tu
owZxCF2v+k260Lz54mtoKZXs+DttPuANl2ynw1Z7zFikArIpoxjRO9W6IPERLPUQnoIDDATNgf0F
9OXhkQbFQHpLrAQtJbw1i5xtZiKGpS2KGOw7KG5HH7tFcFMd3jXWnaVQj0YmYG64f5CnyJvy1t3f
bs4Bs9XbJjbRNzNht1Flu1G69lZcZs7qOAeqMs5nURt10UDRRXE8evIhFG7K5nl/FTy7ZOu2Q9NF
Yw+8iVelWY7oxEld024dCaxuuRcENi/8+EPo/1tN2TJuLwmkEBI48VfghMtyLg7lcT4WPq++/of7
8CqJ8TmDFiYJpiRp+Do4A10bDWJRR6NwYJoXPYQ2wBq4FUPesdHf1657FvMsHxFSJuZdbdbeKD9h
CoujG9yDYxxM25QAT2zgUKvPk5fd4y50xPsK2Oezk+CW52FM8xbFOBdDAh9KJUAXDQPNbkN8FhIC
Vr6cd09sR1nXM2McShMYbUBqbB5awu9El4KCko/Vy/+RdmVNcurM8hcRwb68Ag29TM/mWWy/EPbY
FvsOAn79TY2/48Y6nNYN+9WO6BqJUpVUlZU5Wq56sEL5Bu8cL/vaFO+9Xvnx+mkQJF2DiyaRnOtQ
p0c0S6rUVebvqbYvjcLrml6QmwSG+P4u6F3bQpMXZAdz7yynLH7Tstc5EzrJZh/mEp75Xm7Zd1km
53hQyaF5bO+igw4+sfq2D8Vtpfeq1JWMx3durXwoRp2daz2UATntcheEq3umuorp9ex7Ci3MySP3
wxMwomF9pE91qFG3ElRyBWHZ5O4zEwE1kZ0x+DbVdjSJgr6VwuteIjgKfNd2UoFCmCimG7Isc6Mu
dABEm0SxX2WOfm07uShiGfh4RocDx0jhaJjeRU+JJwEJD8iD6aMJc4zvMH8NWgd5Hz32KABIvgIN
FfASxUebCF/K2xsLARygukGozQsD9IVNFFkDhgjDVb7cGm5nFoKN/Y8b2y8bfNNpcaweMz5IRmCj
3KVPaKvt8sgvv85g5lp2eMB81V8dH6gVcdD+j7R0sc0lW6A6wT6vAnjQS2YQKc6ureKjUtfelDSe
Tc0Phd6GNLee1FLyrzuUYGv5ltRQJQpNZXzqXjrH1lMpf7z++5sO66h4GaqyJjs8qWKrqRQcKx3m
IOniooPo5sq5sP+kMb8ywgVu2uhOtvQEGLPp1FtPmhEMyvP1dWxGzZUJLjyPRWZgBgygJmLUlVek
4OOwBtnP9epsFkJwxuZXuVjjK0Ngda+trkDxq2UtIWCU2Xg42Tk7I8zuiZc/iJpB2y64ssi5YDy0
fTQaDfoZMTlD6O6jKbcPKfopSyafU3m6S1XQPMlp6c9LIfBBlr//FW5WttXfLy3ovGaVXMD9iSW7
klMfskl1q+44LB+UYhKkP4FD8nWh2UzbDuI1KFTkdyPGEwszca1yFixpOyOt1sS+8OoiZuJu26SQ
KcQXVI9qmD4zJBWbHmggBh5BRgXTwDed7zzELwsmnvvnJBBBikROxEVxPY3SokxBY0fKH2V5r4rE
gUS/z90C6TJUZpGjLzCPn1rMhVEB6Ha7F7XaQ+7eJ0GSMylTVh/AzkF6xieTq+wB+/YGX/OWyY0h
QSbiFBL5BxdL5EpuJNlKcPSct5wpqCyfG4MEfxVNeEUTpcjlqUuBc0ulyF1mcFaz8Z/83kpF7r4d
t0yMQimY29N4kPeQjiXpUYzw7eLVkMOBfKPmXU9ExGDbJAmY3fzHDucMmT5mTsrYtOKDebTAxj1i
tLlCA5vBiIREhduud7HGeYaZppPktKhvDsfs1gmaMPYtT75bUGzoMY6ehyKv2HwarJbHeYXepnJh
TLidx73jGyl1G3M+lqbits0nNYX2bZvEx5aYoiPAQt+/Q+NloVzaiefRmgC0AT/YjkF+ICm9A0d2
YIWMV90QFHEFi+TLComkdXmTIY2OsQ7h23gPDsyb2GipH4Pgb8771Ot13KcbEcWgwEn5YgNVUgfp
hQH3qg6yRWqYpMWHprIPrROJ6HG3bTkgM1QMYNDe37arwNyrqrSkFAei179J8mOmGi4Zqev0Iifd
zmoXQ1wG6BqzSC0HnH+NDrq1l4JALs9vy11Pvl0PJtvMAgDS/7MkLtDHRt+NEeOTtSvcwju5P7SW
+ZAk8pcMM6qL9Fi28f1cN7tUj7xxoq1LUsNr4/qG9qLZlc1AYMqaogFkp5sAw/2e+MYBPZdFwSMI
PeIDI/WMgMdwRw+Zbl+Hs3A+eOuZubbHXR6kWG0bp8UJSfQnSXlNgDE37syod1v6Y2qhVZIvbpU8
E+fT9V3fyhNru9xjr5B1UsaY3vQnafTjUrqp0tw3IuEg0pYbre3wbuRocWZRuBEbBsr9KlROIPi6
0e/xxvWGJ6bDZiHoRot7fX2bRZ61Yc6rIPqTZX3/nn1ZAxa6ZXjmAZXE5OwBvCJ3ogMjtMjlEKno
eim3BzxuMd94pCH0HABAGV1w0DYH4N2FhaWtNLJeIpdGonxoQV+FOmqf3ijlYe731/dwK9asf5/L
GkM1K1LHuCp05SFSDlkJ5dv6fs4UwbcSrYPLEgrJGlNt8chS0kAvn2XlT2gqVwvhKaSbaYnaWcKl
qKluFedNoz8iCI0ssY+gJFiLKIDwKmm1LSXgMsViJLS9gjKI/Px1vgPj4U0fEh/wo+vfSLB3jvp7
vJrkSJJKwt6Oc5Alb4325frvC3yA5zJ1FHAXTCaOEUmUHTXTY9Lq3yE7e+skokFl0VLY/69SmzKB
5UtP8GqMZ/mrYaCzVMk/rq9GdEYdLiro9TJIzYhwxMRs2Xh3HbtsJNl0yT1rLVVfBQZFi+KCgpHI
ZtTRBd8HzRV3uilRQ5c/VR9ZY6l1za+OLxp+FkR2h4sKvdLPdO6QUewKtDw3y7KbRV1r4TZykQEz
cClwVeyV4duh7ml43kd+u3+rDuUuuxNd7AQ5xOHiQ6o7Y2O2+GhV/9XGHAHNA2fYJfFjLX0XfC52
XPgL6yVSKLysVlSP7UIxzg7/ALVXUAeYWNopRzQGgKH5oy7L2hp32YiGOkspxTYCJw6lDJC+4KVY
7FI/+U5C9h5YXugd3WuiWTNBkIJmyO9HTc07M1GhhITMa4c/WUlG4v7UeTIfRa+P62cApc7frQ20
HxSlwDJnu3Gl9sUUEUUxd7v21bjIEde63SeM34vQwc2qnT1/HKTPmvVEjL0SibrFouVwMaQiWp2U
bBDIKc82STw9Lnd/6YZc1Bi6jM59LUEv9Eb+YeGBqNy2O+pLR3D2B0JcpmhBfMTQJKORWKWFBUUN
o3oKYFztiYnXtbezK+bp3YSOrR2fix/VkHey0sIiuxU6kJO13QICJngd+qzNAhK9k3lKMEBno3Dd
nKJH/VGww8zn/u0ypgF9aMfWdZ2LKUmjKvls4J6vhvqRnEq/CMGP00H0i3jLM92rAujYf4TMXwb5
1ynYlwtiVQhiyt2wcz6CgQM1Bu12+gG+QD/xRajXzYqoCcG7/y2Qf5SqjVPNbY8jXivm0R70YzUv
T2qeqy6tij2N1T01+hNRhhd5FFXlty8NF9tceKF6IVEV80R+GgMKWChuJVd+Qn/Yw4vgM26BGNar
5EJLOkAheOixq3V0lxo3Vh06BnHjDhLTTliMpqsmX8pEhJ3YTrGX9XHxpsoLbbEz3FRSC22j/G2o
iUc00a1V6DJcoMmLihJJg4+yc7kwOHuDtyibn9W8+ghhOtGhEK2LCzu2hpe2RrCbTuw6HxiMFKno
TMIBenj1boJGd/ssij7bweeyl1zwAeV63igGkkNU+ONAXNUp3etOIloVF2zI0E0jRIUAMq5f6PA0
SMdROlw3IVoEF026Qe+gegUTjbx39LCpBb8vWALf9O5IsvTlgjtdlB2jnuF09pItOkuCkMh3vC1T
VRUiY3p/clxG3BG9q3KU+8Fn+m+Obwmqg5tNhtXh5dveNJUsLR7xYK4gOGcE5nE5QL7r63RqQtt/
K1Ro1Ki4dpE7XCrBmlmhZigMk6Kd5QJIC+nHXloAFmz9JYBM6K4u3cg3dj9hnxl4Z+pQBFsWeAvf
BY+bysGy4S15EdDkXhZdh5i3Xclt/KQysRYZFV/8fknKe0jF7ZWmumvS+qjX6a6ap2Ovk4dFzcPr
h0AUr0wufKiFqcRQpfjJNMxKLiyf437kqgEw74GI9fQ/bhG/Qgc/0FzEhlM47F0AGVRG6wdzhmcB
a4+H/f+s0n2NsZL5pILi6v+hOMRWdG2nudCSmMMIihj21jrLP4wgD9DArXz5DioOH39yKmiH+GEU
Pfq377uXhXPhJpIMGZ0ldBx16bWUntS4AjX6UU6fcM12y1gE5d1+f/0yx3MYlkqpVynjT4xmchgd
+2xAGdxN2r5ySZs+0cUMrnuS4FDyOg5pPdXNGOHDmqbtzvpttjReLv3ZPf6yLO6WoivaPM0KezUo
e0U7JIognYpWwYWWKEp1OjqsHqgfl+ycy0ezFhw50ZfhLiLy0MpKCbpef1RTl2YPpNgbNPMnjF9o
VDRBIwhbPGehMU5mv7DryGzjqzTjrSHkqdk0gVe3jN6Gijkqtt5VCQidPrWa2Lt0rm5zI6yL43XH
2uw1mCsD3IGFJ8elGuHt1u3sUEOTLxj3+WkIojtGgpL4JeRi/es2N2PEyiR3WOW0dUg/oaSgSXeW
Jd/E8qGvkVgUIWqbOey/otHFEj9EGtEktZMF1+4pYPQj2r7yMs/8oCJ7o6UoyN6b3r0yxtUuaCLT
RmGhb5KWYxSpH5zc2etG/XJ990RmuEOKdnZr6AWaQ1l1GpRTIR3z9A9wbyufeL+mrJxu7IZW0TJg
R5wkOSptFg5aJZA53+R+W9vgDioFT/uSAR4GTe34nin9mH78YoWVH++K1+s7JvA3le3oajmJGcfg
D4agAEnIa93onyKTfJALoM8c7e9cW2V/ysqUlPR2NTRoK1f94DrOEubR+AXjfCGC99P1VYn8gIsM
Q9bECR1QRx2MDCrgzlGJu7PT6QJf2H42r9yaCxC5JkfE7tCa18PxhkWH8dgc9L2YGVi0IC4spAAl
1Sn6kH5cGZi4ddycgJWJLoIFCcxo7AG9+kQ26csINVNUkrQE5KI3jXPsyB803sFMBTFSWQeAwuY8
Lhsh06KkyELSSL6bA31A2/pWKqLD0A/+VCkhCDFeJVERc3tlF6uc85G5VtqOIABpOQTpEjca3Xz+
eN3r3rs1/w6pFyOc20k21DPkliJfqEBoGNWph0C1UXepW6kDEuHkFVYFfbURiNbv1Tgfkim7hU6a
Z7YLyv066EbaKgsSB9mmxgVUQQfZyvKjrpq+YzRfCkM5RW13Ghz5czNZwaClHubBvKVOcXMvQmua
PCslnh1pIQF8tTHHYLAgDN8WLtXk+0KKY7fTgMe30c9QZftURMVbYQMYXaR+npqnsng1UwzqWMpN
hB/M08W3pXFX6dYHQsmHolQGFzz7QSxlINBz3FrKIfQQn/WyvHVMeixj+XXsnbNUk1DpyTOV2o9d
l/qR1HtKZR/1XA5n8IKAIzGDqnQT6NYuRtR240Z6AfQDXNOGjHdxn7tN1Jz0ojgbUv8IYTDfJN1j
retHmzaPetP6LTg4dch+l6UgTm1OnpsKo92HMKiDcbTfT0GvJTQaifWz3oj+emgFuPM9TvsMwzb5
l+qpAiHXRN3r3rOJAFub5Q4GUSOrmTod9f3P5o8ymPbFPjo0PvWXBxNEjACASZoQbbwd/y9r5c6F
PVuQnhjxOGjMk0ofUjlslUMsYpDYPn0XK9zB6BQQSWWKjVHJqgyXEUKauEKrUSL4ciIzXDiuomZR
EwXVIWvEGThIi2f0Z8FXYr/x7zN+WQoXiWsZ52CIEL66XRQmX7RgxPQEVMu/SrvGn9/wpQpwp2V+
mrlCvorNmsvFMfnCDjjAW8uBtCFKfIzBigEknFuG9teDfGcXru1dXyxz9Ctr5Ws8jSRZRVuj3FGX
D9UcJMmnv/t97rrWDlVfdBl+v9Mkl6KBkc4iTuLNwbnVqeLnFOZYJrIW4zDLxxrgkdZPHiEtfM7O
1nPyrIUOG7APMKyLdq4QrsPc+tr+cYHEseWE2hOgXtJ+gLfUQXRf35FdKbvRHlUOP3ti+hNp43Yi
06Ivx8WSotNoprcA/tYUVAJWdyCLiOtUcNj4+k0FeaFlxqXEp+3XJPeXfHb1P8IdrRyeixtjV3Z9
wRyk6J7N8klHwS8WFc63t+qStLmg0UpUa+iMG3AeKR/zyg6Wpvt63c+3t+pigosZmAiYGsCjYcJ8
0brlpDXE72d5d92KYCE8bqUf7Ci2OwMwNOVQV/dmub/++5rIAPeIywZjTFIHz2FjGKtd0y7fxrHc
5XkellP22MUQZDKsoxY53pKBpn2iPl2qcJDy3UwVP5MQkWNAWhZgXZKiHrzI1j2nxUHoMSEsZcFi
OKFVdBhsQMZTh9yd1eSY2ENoJXPrNc54qBRrl5hW4ZVqJ3lRlgmeqdut7pXDcc5ANEmBSB5IZyo5
fzJr65xbkD5LiqNFnZBkxmc50x8heOTlQ3NXRfUpt21RhhFFec5bOkujKm3wML+QVTo/yTkUVLih
V+OJosW2f/7KaXzJLlGG0mhMXI7J8lktHhf1yRaNlLA/+koo5It0jTq0lUNxA5CPmA8/OjsmYdGG
IgkL0SWK11ulQ1+MgCaz9JzdIkUCUTXfW49vi5d8QhUSqIzy7fqx2D4Vl81jn3P1ZorKPnLKgkny
yW+megsmF0EWFjmlxf6ClYUYTC2qsWAClY24s7QfHRgJIquTRztRnVzkC+z/V8bsohw6R8cJMKZX
WX1N82P8J+xRq5RscXdOidJULyZE9Ug90+bz1AXZIJLO2v4qv0Iuj3QrJKMbNCbqUNeNay6vXfvh
+mff3qeLAe6zK7kz9nKOF3mX977uxAGaNF4nJbvrZv6jxHCxw3/8WSGJqUG+qu6nAHbuCNnh3VQA
RtIlqZe3qWvJJ3P4dt2uaHmcG2hzI5emheyedbNrUKgXdpqXxSJRYZEZzhViS54S8DcAWGGeoIah
aE9NLoin242fS8GBh7gZDpUg0IKiYKSQY2aNgdmaZ9UZ3SUxEteBaHIxaHeN2j3OuRa7pByDMap3
pCy8SB1C26a3hQHiLG1AnzuuToqa/VCMeZ8bpBYc9e0L4+Vjc+lHbkzwSjCMrjk8L7niOouO7m2g
JN+g0yqw9R/P3IsxLs8Y9fy/y1WLsDLdyM/kCJnDnZvezh+pX+7oXvm2CIo/AndWecjcIKVFVQ+4
mKYH+zhAykgJQfq/J75IqW/7YfvP6lRegVArptjBfC3ampnyVnT2sVKKb4pJH5yhCK6flf+o115s
ce+YBnLN2pTi5lW1IEuHy3yC2CGBTBjeFrGwRXA9tGHS9PcInUyyYU+Mac104JS3Y/xXR1+VuYhD
zDpdKh07Z2f+YN442a5NBHVG0RK46BLJJZFS2PAdBP6y2Dvx219+Ei6wyJYTVUrzXpmFkhowp/0p
B1ZMvhHj067HMIzu/P49yrSuF5XB0wg6XaZ2W4Ju2RC9UrbhD7+iGGpzv1sZJiCruxlffQbHhrzT
d+CrB9Qvee4yN/Yzr/0x7TAn9SHdp7d4sHuST76KIKiilXIRozPzDGqDeM+qzo4YCE/1y6C3/vVP
Jzi47xFkdQGZbEic9yNeGbpeuSOJgSP/kVWfIlXYARNZ4t4z09yqdsugmYy2JK7dGNzL9qHe4a54
bvwJfHgYr9MApxKg+0R2uXBR63lGGoaSd/QBxXzAmPLGuikcZHTMK17fTcEne0dhrHaTDRgUug3E
/2xEXmnkbq8jg8kiXWrB9Z7nmqnmmXTmDM9gEE0W1rVQD9S9CP61vXOXuzZ31BwT+usqO9VNGbZT
5xbSm2y+qUm7u75rIjvcYWuMsZtyAuKVtrzL5ucG/Blpfd9S3b1uZzsOXtbDHSiadbWCA4W2jvY1
1p5iEUJd8Pv8aH3f9Qro+jB62+R7ktyn0cv1v/8/7hC/FsAPwPV53dh6j6t8A7U4+Qt9nr6mH/p9
79pv80fGmFF9jSFXFwrMshT3r9ckMp+iOo5mOe9XvpVXz0pimYaMWwSeyBgp2GFWenR16EG7P5/I
/w/ais2tXJnkDq1FZQlHCTPu0Vme3RwsZ11o3UaB/qF8sY5VAGynaEZs8+yuTHKJvpMUSvsOm2vU
hzg6mWipCOHpmwd3ZYMte7WTSWoaM/jv4IHSuayea/Ngqt8kciN1X6j9VtuTwOO3YV8rg2zRK4PQ
HVGyMoZLFupdG51keWfn+xJglG6f5g+Z9oNKvjxGLv6kqf903W9E35Ad+5VtY3H0qugwbWWkcdAC
FhlHRPDa2KRWAUe6pduOCRAkP+1OnbEragI/kfZsJBQjvpgLyZ5RUjl0/ntz2Ncfq6A+C0sf26v7
ZZmv/2UZFqf/ZOF6J5FFtZmc2bASOxPpg+OLLvMig3z+LKuRSNkMMC6Z91Y8uaSP9te/2HY957Kd
/Dt+1Mu5qEEH6ssQ+wXkkmIkdAb7OCQalYfuwLg2Mb8tOnmilXEnDyWdoSwqxH/LOUTKjWoIvGT7
ZF8+FbO/csRMG9plUfCob6pduTheOe0gFeJd3zvRIriThtrrZOSM+0rJboz4U5x+v/77/3GUL6vg
jlM3l3Mq1SZjEUpuVVCIgezjSffzdwRn+lk0hSHaNC75j2Zr1zorSUBw2tcwkgDJ3YC0luDbiLaN
y/2z2USVY6KC2CePVH+TKwGqTLQMLudH09Ioi4Fiq1Xkx2h0dik1/bw0dte/zuYV5tfB0fiHdmtY
cmYyxFW1LG5tHHWALcwXfX77OzNcDLCW2qS1DCrcaSan3pAeJyc96NR+nqxGBMEUOBw4L38/NkZW
KlPB+PqVO/NoeiDQsSxXf2LTkWikgco6EpbGtwsWq33kQoHs1IbaL9BBYjdbbT/ujdCGUEUbijqV
m3pgl8yh8e/uJKWNk6h4FBtZYD6XBx3krXhnQQR3CCoQyoFBmkmQKzt0IkCE2whC7XW/13i5oqGx
Me3KRuBBe+7S6E0WIVy369irreTiRWMM1dIwTnX9YfRB8hSS5yzBfAq7J+aeSGhh+2bzT3SCBNPv
zqISa8p61rxOoSWM9/9+CJAvwlQQLq4fZ41/l6f2TKZWBR5wNO8c5TkrblLhJU3o+FzMQFkSGq0S
Hv89CJbY0Cc59m5yqCCXyejoRH1/0Zfi3+AkkXuixojsbJZoZvCGPeZ1oRqMoQpRUUG0OF6NaFSU
dsgbuMVPoYcC5MHSDrifz8ZxDP8f9TPBF3tf/Cr5khEtDpS38WZRnmgWJgpxpz+R0Fyd5fc1r2ws
ajoRVHPRFJpvlSnszNuCHqVE4HvMhf/9DPrl4u/45ZWVqiqjGKgh9JXV2I2TLx35kM0fDU135VHU
UNkGUlxO7/tNbWXMjlUNE7kIT/a5Bhjpnt7SZ6ZVqN/p335G4BysFempP8MhBclMEJven6Er23Qk
RlG2CPzdhMmvRyFxn2gjuVgx9gPYTRoAh9KJPuUK2rpo6iQkDVpQADVx419PmoJbrfb+iFitp+rt
pi0qlFi7XXuwgu5cnJNQd6ub5gm8D0GLvp75l1vIhRDDJlaaxQiHZnUrVa9kFFT234Warzgjjye3
NJtA3gExY56W23qxB0/pATcEZU2olaMn1TlOdWIcaTzd1nbxULaW5C5V8zwO8qPW5nd22t+XfXnT
z4ULrG6oWI+T3oUUMroSmEXczppurRqNNnwXQ6nO6Tz6JG98yTbDootPWWpLblzVD0mlaZ41KHeL
ctfH3ZtiyV5t2N40EdOvl2ifpJ0rSalHKIj7MdwqeuMKUg9fnhgroixUwVHpA8ZoSM/mcfhBd5Lb
efEdGzaadvlL/9LVLtTdBN9ZFE557SQc0zFrW4QeigdTFGJ0+OjcJp7pOqEZzPvm9bovC+6ZPB5e
BSHBXDRITXQBOHK6j6TQnGI/GgRFU0HUVlmIWB0ZCtZEay6BfUuNdh8N3b6JQARUEUFnYrtbeAlz
PCDe0qdlGmtcaA3oDsKfvNSHpyBNeKBQfFVr9w208h6Ifb93r9mr80kohSBaKHdL6uMkKp0U8hes
xVMs9FnJ5EOeiGjVRd+NC3lN1BMnmuEmRbqP0y8Soe7S3prTHyFqVvvJPaesrFBG0Bz9vEqoGPPT
Xp0dxAAYgcpJ9ETcnthZWeOiXJKVaVI7COSMmt8M2Rg0KoT3UWC6C2rf4I9SPl33f5FJHjMvy022
ZCVYipmwTek3Z8nrgIn2jN0c5GABg4MIR/q286Gl2LqjK7ppcB9vQdNgMlvYlMYw0xs3qkpB8eA/
wsjFBPfduoTO45IihsmJGUwUAw7QTDfT5kMxfiwh+KY0WlBInTvQ+aA0s+vYOC6ZaJhwe3dxwwEz
pqk6Fg9BHZqxV4qZvRnC9pAH5CE71/sW7OsahEjqZ2hjihx2M3jrumbqtiKbOg8XSFsDHSiAsPwm
np/HZQiWkQCf3oHLVAWpUTUEegYU2pKelb462PYCiL22q8c5kKnhDmbsA6F2Nyz1OZMNn8RDeN3h
NuPD6u/jPozTAZw/R7i+1oX6IW+Nr60yeJkqovMSmeFO0hABEIZMi+egdmNNxJWwCUkqwn9sOvKv
xRh8lWKsS1MaF1Rk2/YgGeGgi76myABXn8j0oqfxCDDdGGhB1LhpAPDgqYWCnHQs8HRC8VAoZM5K
Av+6Ca0WxZUpGrlp+nHBFzLuotgzgi7U7yvnXRuo8ElQfBCVDkSL5GoUupQso83q2nF7luOXbHq5
7nKi32f/v8q980K6rGRRFcxK3jB+pHUruDJtZqPVljFvXFmYFjpkco/P5Cg9roqHpC3dAWCcWKjs
xkLjtY/DpVfd0Yyxl7BXc/4hjz6V9uCq2qNu7PLCCK5v2/UjhCHV3xdFuqHKTAmxS8KgaLzo+5y0
fmzlu78zwwUEKk9LNZoUJbhk8MuWnJpo3E2DLYg720WB1TfiIkJPikoiNh4tGNf5OUDf7pMbGsw+
4xkSDcJuF94u5vgahJMrhlYVgFWkh+q2xjjMAqRQexTP5Qt8j68/LIkyz0WECo7m0GNOEy9R6705
U28w64frn2obKbRaFBcanKaRxnyG95WaF4VDCHq3w9hCSsTwxIyPoi/GVyGGKBrtqsBcBSvjMP66
BXSavWtBQbMOReSdom3kggSq5rFCJnSDevsgQ02v2/egDrZq0XiWIBjxdYjcMDLJyHCqtOlkJieZ
CFKG4NTytQZTTRJHtRDsrOhIFcNV6mBOnq77gWgNXGSorVJPAWxnQ8SPEAVs6eHvfp8LCQRjXQ40
xcETO1oeGD4OUtsLgtv2zWzlylw4gO6OtOQS1sBqGJCQ3DM4krOLSmg56kF6jBtXLgRpQhC8+RrD
WJMiozmoHubih8OS9y2mlg2TwWC/XN/BbS+wbFm2QPhl86woGZETp2PUj1r1sUSZa/qiilQ4tyFd
+sUGO1GrpGeWaTnWFgP6l12gt2C4HcbdoJWuRazGT2LlVC/LIS+yMO4g0GFHqFimH3vVyFxbMk5R
rQaSLHlp3wTWmKCC3uK2jmnS3ik9KaOhs0C44fq2bDcpVn8z57lanFIbA/aMC5DVFjT0/Oz78tSg
ZAtNpDsb93IZVY3mlN7UZxFVzfaxuWwY59YUebRWobDndzEEIcMxfbu+OtHvcy7dT1I05gOg/FEP
iEdvgsQ2EZXJNq8fv5bAj1oUdT6X0O5Bacg5JPptMb9cX4LAb/k5i0xp0yIjqJSWcrBolmtH4aSJ
KHi3Q/1lEVwWMxa91EmOt6E1ftCMzlUrOSjGYznKAncTrYa72M5W3vZOjtXUlo5BYOOodcp+SFTB
R2Hf9V93QkNRNdMybEz38Ga0KjUymZWXd3ENmpr52MfWLp9+zMv42JJmT9Px6x98p5VJ5oqrs++U
6PhqM+JLtNy1kDBuICAaD97fGWHbuzJCYhl9HAU1nrTfj9NNLx+q9Om6iU1XWK2Di2Fz5MDjUHP0
U7Qg9Pxogje/tk59KvDr7XrEyhAXeGS1RIsoB8a6g3hv7A3n6nu9113tB1MkzcNBVHnYdL2VPS7W
VFqmz2oD4KQ0917UAPNKp3OViZCGIjNcyEnSuEstRmhnNdDoAuOp1adhGYk4FgVmdPl3TxiThvZm
hztus+xrFYjh6YvWC6CmAlfgJVwzeUobqURoy7VHuTrlpeL3KtQpl+xPosLl0+hc+CEDdWjDeH+U
9KbTbjuCHoEApLENbFzZ4EJCnqVp0jOt8W5HdyZYwiIfxP4nC1RvbG6N+BI4AESwo+071coqFxUs
swCWvAe+lQ2XM+IX+wCNX/SGpC/FATn3SLT99fO7eaNaWeRChGKM2pwPMUgHLLrTmuKrrs73GPx2
Iez50BUioWrRMda5eCFVQzLlOW7vdKm/xJmzdyIFVIuodhPj2Dr1GbgoC80Z8xOqXPjH9MEC3BIR
Mry+buEfwsWTIdedqJeQ682zGTL9w8oznzAmqHkF9lkEXN68Way2mYsmaPbltVzjbGjKfd/dLLbg
0SI6e1wY0aSujcwM6UQxww7XfXU/Fh/m6I+aI5dl8LS0Sa8ZjjniTd775NF8KUF4rUAprwCPnvHQ
n0bXvntVdur+1L3WupsIcqZgEw2ulmdFcxYlEs5k0QeRHNSGoMUk+n0urtRFZUsWtN186txa1tOw
/N1H4kHyU5HpCThgEYST5URIsXOkeZdkTZjRWoAMELk3z2GSAmFotxQI6fdIUvrLXisgTDL41ZO2
m1CX9kVMUqLd4yJJFCmZraeIJEC37UfJDq3hj+DyK/fjgsdcpBK00/D4MJrkaDuYNFim3fW4IEiU
fGdFiqnWmjPycRGf7ehbrIZ0ertuYruytVoGFwym2syT0YF8lF1+kzLPkj725FMnHRX9LkqfZ+Mz
jUU39u1S0MomFyD00lITu2cBCG3NCW2x5WT7vVuAgj8JRPVokffxRCWGA9YQR8YuGkP0KWmXvUPk
vVbWXpTbD4PU7dT4pVO+qxVa4gaYfOP0LSPKt+v7LHBIvnUkL0Qjs4nxnsVqvSx9lHtTcBER5Wue
k3ZaALGk/XuNMoFeTfRJ/aZKOGbpbXyCagykVny9ExkVuCjPaKKyB15VIkyRl/6m9NGfJq7xKN83
Hy0AA3EZ/m7f2iKrggTDs9BGKsgZbMzH+kYs7apx2FWteUvbYj9Uo+C7Cb2HiyRlNYwxAAwMwSB7
0w2E5D1o4T1a4RTW4CYUsR+880Reef7xTCa9AaZKg5E+qEWKlkNf7WdaHNJRP+tFjtcgjqg8gkw5
O3WD5FkH+aGQ7b2sQOGpMvdzBAh66og2QeS93P1ELwe8exkje+ug2l4HRWg/6RTizIM/3GDM1KOQ
qPx0/cSwIHBtI7jAJJulLo0WbhEM6/oPSYMsnOISOTAXi/qmIgktkQcXcMtHSf6x08xdJ9WCdC5Y
DV9qiaRGJl2N8poe9ocu7IHc1YO/Xg1fcbEgxjpODE64ZJ8VJNkhDtPy8fqHEZw+ntUCgyap3VsY
iTHzsCsckL6BtNg5qQhs1w1te51uWqqlqYrJT01jwqmSIHSp+zTV3jJnCaS0E6S/dxXGf3vZxQZ3
zeqsJIrkFD2Q6v9I+44luXFt2y9iBA3oprSZWVleVSVpwpCl955f/xZK93ZSEDpxn3pyzkDRuQvg
dthmrXQ6plYZRHFzahP9ZIxY82zXUKtB82VhVKOT/RV776oUucS0fZLPgMDDHgjWF9NIe8OMQgAW
XgfDga4J9h/SqjdD1b5E6eZGdfGodc1tX1tfJ6tLXW2Tg2XUn+GlK3IjS52vE/yno3kPsM2HRqoe
C73AK1w+bzboKRctrDty1GxsGRJSHqyBCF4gGrWma/fAPDHpsHc+tniT50s/OEPkKFt3tsvRGSfD
04vKr3rNaUoZw3C1061JsI6yO8yjp2vgwJh7x5ATd81VB+B73jDHrq0tx7ZAHTgGk0G0HeBDQrux
AjuzTmtsHOWqDooqPZdDcsYelr9u1u2W58HSaX7XYVAMQH3SLLvVLPnX1Yo/8KhfvjnVu10lqrXq
GDuVSD96v/5CuWsKkDsqT8RRXN1VA92VD6JZINH1MlEktSRlqicU9Qzruas/5uXmKPVrLwcqOeSq
iORBZDhMaopNsBnDsZC2kHMzGuCxUAWmye8d7u6QiQhJDJJHjcL6y6cZFTAFI+2ITKHid7eiBI7v
by6fiwkEql6TCjNFeKlUq4O5TKeWjkb3psWCfig/ElzkMJFA0uc60mrkT2vyWKQwuzo0Z1F8Fwhh
G8mpCQB9awB8DmnBy1TkjmZMTmSIelMCDWDbyJOdzq1BNaAuH7Qc8Fev121IdAzGbWZWpRvyiOBc
rc9SOfjjbDipqDEp+PDvqdnOTqXZypKKQIjddF97k/ww0Xma4/qpUYigxCY6D+MSqn6a5Qz1Qk+p
P6T6Xb09WPXhv10Z/RN2p7FzCCkyPLTa5LYcZWdZPEM4usJv413skm0YA8Ki6CoDD9/Osx7Vu9Gn
U4eZFz9KbvEsgcB5c9v3whK0L4juysA+ioZ+qelfCSUsEroBWhupoeTRU4ot6MXv28qJjdzJ+8e+
W7z/dquMc+gApftrulk3vxjJaZZf1VagG3w1xPydZco6JXv9/cNF24DJ7wGh0coPbQp60/GLmfuj
9HcFhX/ksCniqI0t8gKkIuXWu+NwAkyQwGtzo5Ch6AROzrY0jXHaAAk3qrlGmTGOHlYtqGMQ0uXf
2vjbjJk60oi+DffiduKYbzNaSwfyBSSKlokEJq7dsV2CyC6ddiGCk/HjEQYkLfSU0TljF8bUYa1S
aXmP6fpHggGA3O0/1sfBTXzRkC3XV+xE0WPvDFnFqkRtoO/s9V2OZcZws57NWVAy49rQTgbzpdpk
GZdIxgtXHjd3mb8vWNmuPpfVx3X8cd2A+MWYnSjmK01RvPXtiEhOhxJLPwlqHcjCdImxc+dDJZrl
FZ2MsaatVohZ1BBXyQ+TeVrnycnJQ4NmUzNOguoEXwH/UQo22A7IUkAmg1tUsMffpY2zrPdm81NX
RIDe3Nfd5Q7ZcKvXnVzJtMSUHVPsZUp+eqTrfb2g5M0vRuzkMGGXVGmlxBve4ROwwBZ9Dpc8eUrT
JHaavj6oevHc1GDrnKXPUTs8d5HtqHLzvQZqheBm+WXD3V/CvBfAGLUQAOhDQU/RCaX3Q3qcvchR
b0Rn5mYyO0FMZO7NOZ9iysNeAzYr36pHJUoEvUK+W7yoCROZ48aSpanD11uLnwDycDY5dyrVAub8
o4TpFbT0rpucwIGwMXppVKuIbXSP1+Vzjxa1JblWL5giEKk+40Dkvp1iQtuSOjmrneXY5oOpvNqK
SCNFn4fxHpWiq2hMwu8qz/HddNQPmTcdzM1ZHn/1Js3ZKb9evz6Rx3pfDtw5YCWxOrumvn7CRhMW
1kL7qTrMgRTi9f6kCS6Sb3NYPdBVVCAorNrv7h6FxlXHrj/FWmm/qH7rJh5pnAKPxfU4hMCaOAqO
x73SnUDGyIciJpM6vwtUjiB7OTUBLvVGuSP3m6/cJr4oYePqyk4gY8vL0HWb1mJ4rkzfMul2AXtN
gfkJS5BH8d/dOzmMKeea1ahFo6HG8NMIFW+6T0+YM6Bs6sAof6Y7FJRR/fptcm1tJ5Ox7SmVMKE2
oXy7VZZbpxawGpLjMK+CeM3PP3Zy2KQAa8OzSVv0tL5XBPlt6Wq30T2dba1mgfPlz73thDHGnREE
tWzGRdLSKOjh3Tp2toOBtfzZG3uwHVYAELfP2dnwgbMV6v/xThmbtywUUIZtBbGNcrQG2S3tEPFb
IIRfCN8dkkkU0sUajZVi16yP1VEFolOOo8Y+tnwMHBMbJ6EZ0v8VYc4KrIFtKzeVnlSpRXHlkjJU
p/S8TebBGu07QHN/+E/KyfaQR2XsRzmdMJPfaO5s3VS67Hai4VFudLvco864E5DqtJpWYu7KiO5I
fdbbR/r61JqHwgRo3iwwcsJ7/O2kMb4k06XNUGFw3mJ8jerAngSjsKLfp/++9/050I0la6GjaqUv
J81p0XpBZ1zgMnTGZZSgje8yTUatrlb8aCrdPmsOU5KKnix0zOmPd/LuqhiXYaNmIhMbXfElf+kb
yWnXIJYOyebb5XFQj2q8uuP8H8/GeA571DNzKlAeqKTPozk5pqqBqmwTOCiR7eqMh5jitqvyeqYQ
EdWRUhS3ofHQgJaZjrR0oexlPl0sF4VOkXIwLmObDKOsKV9ZlJzS2Ne2j9ftld9ivXwytpUMNNzS
BhgF9fJaQOcYcj/9ofuLK4XdKfONp/ztukTBidi2sZXoYC/UcZGdnDmkfRwnUS9VFEzYtrG86bmh
U45ZGrmWj6orOQAqnx37aXBWsIfY7uBT0K7cszGCLOYREfgntoNsy8WMLcIVL4nedOc4va2IGdRL
lzpG0bkSNpWaLffVeDlO0XhutzLIkse6Sr4r9vrN1rbT2kreNnbHDvseAhsVxAK20SylrdEXFaq1
qRKm5uJiIMNZ6leA4osshnphxhkQXUWnyyLvzS7GGaigupIXdVG86LP8vqVnfafYn+Ox8CVPxOLK
8XC/CWO8QCFXW6UNluI1a5CtKXAKUidVRCix9FeuHYlxAvHU5EO9TAqg89x4COXvk+U/NiLmD95L
9LfDMEZvKWnTD4aBw/TgdhgjJ9NftdR2bYzukdLNl7NSfzNF0xYcw9xLZYt169AVZVzSw41h29/3
IoQB0e8zrw7L1JNmrDUwVTSrsw6ts43e/7dr+e0ETF7QbU2sNuOALtimPmm6fEzHPvhvIphkoIm2
eksw7OOZc1BhjK0XPNx5L8HfzkBvcZcNNJhKKAbA5mJ1aXSkrHKbqHbX+b4BZLFT2O15IMsRJPGH
VAc3t5omD8Y8Cg4pUHOTSRfmQU/6MYcmjFntqlV+q/am06rTU61oL71WCp6HAttl+QoSEsUzkCeQ
M2LG3YiDtdXdeZkFjk8khfUQvSIlq0lZHgq0cmcMooBRZzY/X9cP/vcDGpZCCEHNVmVst59MSet7
vJqKM13ixNqWP/mW806d7YlWoTnOnOgXYSw2AnYqGnvRR0y6ta9t8lMxR8cyZixY2qHgWNzb20li
jLcsk9rSRhxLPhUPY1iGttt7yZ1PScFX53E81P51iSKBjC3bZlXJWZsrnlVmTjIHuRQ2jaAQwpdB
FF0msB6LhSJo+8Wso4LqueTj1efUqV9lhSgOUpfwR9DQLlKYoEE6eVW3Dlc3eLO/YdwqPdXu/EDz
xvZ+vRHhffEPhUUbQ7OJqf6xWTcUZTEWIARKsPMi10DgqdK3cRG1kHjlAaKDZFLFWo+lG+xSD2bT
mo3An4PxEdEdyH3asf+kh/WDDBoYoxNV5bg+CTaFBSKiEpmdnDHzQRkWHb59CvInw8WXektvU19y
yfPoFU+00BK5ynHT/8Zt7OQyelgk2UqGesNERXVvLK6e3Rbp4bqqcwPjTgQbU5LekpWSIjsV/RHQ
qJ48S4JT8Ep++FqX62PCij40aVJGKR3HT99mt3+Vb6OjvjnjRxlEaeW9aCCf7wd3Aqma7uJYXppF
XpmmAuRqaL1XBSmAFosbOaAg+qKSmErdzx82tpPG5JrYZQAPjY30b0xc61F2iRvfLR5opLwkqG70
OzQDO6T883G4JUEb5IHovCL1ZKOLpdldpjeIYevidJJnxpRd5LaVPTK+XlcXroHvzsr4E7lvjMGO
0XXvdBSOhvE53l4bIxcYnEgKE8fKZMrKwkxQBa8/NUrhlOj+iODT/8WH/KOVbDcLtOX2skX4bBaZ
nlspflNUxTOq7ljn8fey0pzceB225sNsNuAjFfGK8O3OtGyiYUlPY7vgW5El7WpBRWt0JDHO+LKl
IiomboDGOu//iGBzamJlWjxkFSpv0lmOjxG2NpTodUkFo5j8j3URw0TntmnHRYuRNE7GiwYzK7+P
jXdd63gbW/AgFxmMI0zJDKwkuaCPavtQ3hlh9aAciOagT/FRO/0iG0vva4Ea/ovjuohlnKM0V10C
mFEFmLRLoAcV8GXUT9tT79mnIbQ98N0Jzsm35ItAxlP26tB0tYLHF8V304LeUQ42Nu8NbwP6EHia
sL0knYvzeCNCBeUNuvx2w6zLVOIoB+O18l4Dz/3sGciZyXMcLm4bdm/KHS1aANXrYG3OFCS+/UBK
J7sVtU64uqQrGuB/bWznsxMV2HQqG6WHLkn2LVi4MBsCrmDMjl2/Zq5hQJ0A9Iw8RWGHG7Y4asq5
xvrnjAetTjq36u/isoI0QRtDJIj++y4OjYsdR5KOkqSpnqPlU0++9dIHe/ybJ8zuOIz7l1J5LbYI
Fae++Flup3h+07Tg+o3xv8vlxhi335dLpLQKIrg6fJUTzSH6WTgHzfWIu2MwTl+yFEvqixI2rn/U
lsTJ4lbw3bnWdZHAevxJqUhtLujzZHXvrQ0GblPgL+ebs/VIildbkPfQS/kjL9AtlWappok61O9f
3zZ0UJPV6LhIyndLBW1F/aJF/qyBLTs7zebj9U/Ev76LNMZ1DKrd9GPTUlTaZ9N+22pBqZuvy5ff
ZxxE2bWWBFxBLBnNs9NLT0oRO6Z2s2ki2DB+BWp3b6zVJNuaNQV6HppdOET7ROpHu1cdTflg9GE/
vcnTt0gWVdf4OeNOKmNFkSmXMggWkAiflCA/LAfi6WEENHBKyilcBqYB6w/dAE+iZqmKoltsFxzD
pKDVUXBG3Vnf0Xuq+9JN3TUwAvlGVMfnwfsSfSeN/jU7P6RLvZRPuYQecVAXznjCwkuoeV9T376z
zuU5f0APUA2iG/HWMzXaa+dkbGBQVLxtqdZkR4qVloe/qEFFGTA/Uu9OyGi/sTZzbsub4nVe/6q6
lQec6TvAaJ+TJ7oEZ36/bmx8bdnJY6yhV7ceIQT1RLqCWXn97XBYHiffCLrbyE3fBNLoLV27RcYi
JGnCIGVNs25PdpNPWMG8yc/lkbb4u9s4+Iuh6t/UhTGFYtUnuQK3kFfOuQNwjql5qHIRfgXXGe9u
kAkp+bCB+TfDo4Vs95KMqQXlUUuC2fDbPBc4Yq7r2oliIkummG1Trsi1TekRr1xNLfF0OUXq4fpn
4nrgixi2050DFbhUgZfh1ZZXas9LLyjviX6fSbRB6agaA30VRespzs+LIfDw/N8HlB3BdA6KUsw1
EYJ9kbXt6Qr2k709rn8xsQ21+uf32fBb91iUT0z8fiN9IfYPmZyFiCWCI7CDg3iGLHYyYJSiRKvL
/DSrooIaNxHanYHxpBsYU4FiiKJnrpyW5mT1p3kKrqsR/7Gzk8H4zNperAHRAZMa9eJLVfFSR5FT
50OYWv2POM3PRl46ZYPdqdkMFMt2hm3wI7N2ikI5NXp5G2/jy/W/iW9Bl09H730XQEpFmWLNxgy6
1Q2P6WrdgxowcboWLG1algjMlX/Hlq7Iim6rusm4H1LUPehYM8RGqT4s4MJNIuWmRJP9b850EcM4
oG60pUEaFLSc6tvZuAHhr7tFd7EmaKqITsNYVQXHky0RIoVJjqlUOnLiTEssuDK+3v9zFpYLDiuX
i76YMkYg18+RccRex/W7+hedvAhgfI89tFVNEmSX82kLiocCm8nkoZwdIOjiWUgBB83zfBClSdwM
GgXe/9EEi7E2DTNZRJ5q7His98ZWuGuhOtiwd4bmm5G+yIPgvc/VclOxiUFfoPb7cuNOy9cmHdTc
xCETdfBlLZQi3VnMAnN8ohcoVylMC08a2ZJNg6XWkxdpMkA1jC3ZPvrUY7aibOt79NQEKs6NsTsx
zP2Ni96neoa8T1ruIsPpB5Be5p8z+1z/DW4P0XeiGKc11GmbjjGsKZcP1XpOx9DYnq4roejSGCek
tauswf8gl+we7bjGQ+RYCDnsuAnr7hz0j9jpgJLns6UXcPDvs4BIWPOj4me+aAmP+2WAp6oTGdtF
mEv6XYxqTGqn1ShoqYp2lIzqZrOis2JOpy0zwmgsBZrNmyBC90I3UFVRgXnILhFtlZHKfY7P03eO
ecwTl84A0imiHJMpL/qdeWs4I0bsUdT69BdfbSeZcbNWKZvVmMOGAYonyzeVeqq0t+si+Nn4TgZz
m3ZmNMso43RyuKFO14alO5XOdsL6ZFi4Iqga3tjS/jLfR4B2OiIbMV5UOaohJMweUE0AUYrWvw/e
IvHwKre9ib9ePyHXvyMWGgqFSccq6O/qMq2lPZc2/Dt2pob+gYiKB++d4T9eGDsBjG3FmrRsG0DT
36EfwdIT0q6a8cnGhhs2zpzCG96ytxwvjjLABP+N9n3wVn9wh5fCL8L/A0Aw1z5svGpMm9i2/t5z
2V2xkZvmBEBd2MfjGhqhdk6xFVG72Il90R6NewxQecVj4Y6iRU++Ku0EMy6zbsx2BSI+KrA6oBmw
FXKIwy00H8Hq4YtHf/l2uRPHfNg1K5pISwngKULZtU508xddRdx34il35svmko+oHx1BhnddofgP
5p1g5oOrZTLn5fKuw8PRAGKM4Zmf6QN2BV0XxiZDgTy+Bl8+KONXpTVNV1WDvMV2mm/DmQKgNTdK
qN9JuYO9bU/9KiwK0KTkT6W+yKTxfqdEdlWZVrFBqTuPUrX0znIjH82wwgiYqPEtvE+q0DtZkwpQ
grGH3gxA4Omf+rAEl0E8Yocb6M+u+SkX5UZ8L7T7goxjnc11lrQOr9rOK1+jR2DUBEBvyRwK1IrO
3yH2RKC2QuNg/Czp8xlqA22VDltASd5yd7vTMX+aB7YnIjUSSWMHTEaA11m6iep52zkWzD/2TV96
6QBATMH9RRR5QnFMiptFrWKlGk1xgUyD3gva/NZR92ugKEkPf2kPaM1pNqrDmP/4XV9Qj5OtZO4p
hpeCNUEg7X6Xnqxj52d3tM0iNY4Q5of+5J/m8I9IlkN2kpe4B5wErcVRguNfPN4gzROYOi+LNpBl
GDaGWgy8334/WZ4AhF/XUcfXsxezfY7rDwZxt+SvCrZ7OYz+g15CHfMe+r+efg07VQd0Up3MkZ1K
iCPEyz33wpjP1VedofUVXMmg/FitsyF9zkUwntyG9E4GOw0N5PN0xrOXdhtHPz0oB7TgNEBAFCdx
XVZwHnYQesHOi0xoH39VTwO5XSS/EO2yaTyXvz8PE0ojIEmp2ogKX1MVIOqpO8BM6AeSS3fNFN/l
eQVvVQK1NjqQpb2bSIY22fAQb18GIz1g2PVcYpk1XqtDAp6VxOiDuLZCDTwIU7s4spUdt+bjYpLH
Akg5bWRgSiv5WjQAdzLLQOpKcAdro6tJxecC4IL+9XjGvz8DTJro0RNo+e9KnrVK3mDDjc6TZk4P
Jk81dqZNsPzBmyXH4+AihQlgZo963JK9t4Mx939YPNVPff0J2PjYTQJbaIj8AKhHNGnvbkWY//zP
dxHO2HGl2opOO1jYLO6cTv6UJcfrd8h3FDYtN2LqFGTvv9+h1W9ap89ow6b9CFzzJjCjPkh7NdSK
/vG6qH+xrYssJt2Jk1odUg36TicjmyA6xkc7VJ3O/T+wyXMWUfDVLrIY3dAlLW+TAa5dPmF3DVg4
abgG41E+/M0jci+IUQ8S9XqzKFh8HdpHbVocOF5njEBVdB4Uwbfi6/vlTIwytEs1z1OC2LHBKfXz
p6ZMnIU8C76SSCMYl06aZCQZwc2pj93xF43scEN5cWWPIm2g/+HanigU88Li/hYZ144NgrRdJmSm
xXtYHLD6SgJV+LF465q0sKSYpqXYisa63Lkb8wh1JxrxF2/9oh3SH/Ht8kQJFbpwfqsHR/JEnRy+
3isY18dOOii22Ilgu+tyeOGJzn8CEOumCvKweJXCHK9USdA+4M7BYaLCVhU6gAw8jN/tGeByVZV3
SKDo1N0v2ojqYHl9GHnSF+lO983P2gnJ1DGqvPxr8ij8A2hAYROc/R/AGjmmZ3pjQ6lBPsn+CAJT
0wUumJsEaubEfnPALMtZcWtvvkFupT1MQRHKgmEo/lfeXQJj/JaVmJJtQpu6b6Mvf8G0sjthNvRO
+kw/c/9Wvg3CjIvrqXcyGT8wTFqXSDQYSeP8PZa6+y4W8c1z3zf7u2UdQKFr09TT2uixvllPFhCs
M89+MhIn/6D4yUmYjosOxfiCbO2MdAZgNMxl9QnIKLBDNTl0Jbe7I7RT7QuLZLz34v6MjCeY12SU
4xplJEoPSYF+4lNz+LUVKwquXH96+WSExpDdc3HRgVKm0twoMY+F5isAWam9695UJIJ5z3S9XuuZ
jEqm1AE0wOiASHPbW5+uC6Gf/YrJsXDtXVbNZbkgBJEcO9PRfR2dlul7uj530uG6JNFxGO9iAlIv
z1UoYJQeF8BR13dmLMi3uNWYnQK80+Duvsoo9+mi5HhSoEhRFS45aYjekZck7vxtcomHEBTQwb/2
8DfLFHvJjNugxKTSaiC+ksF01MpTxi+RdIxjQQtZ5J5YiPaqK7S2sOEiFcXJX40TBagZZ9d2u5/r
vXaiC+DkbhPONQo8M2G8h4ZxnrFQoSbjKTt2xzHUY6f1Rk8NyAGz8/5/UxXGdaxRli3rvGLN0F6O
aiHd9/ZnqywF9iVSfcZbVI0KDuQeVwnMzm56BRzIHB+k8qdhiPZ/ua4QA/Syrcs68gfm9ta5BspD
DGdhSqcGk6+ZKGhxj7ITwFwY6ODzBcNPKHoCrQWVMkBOnjfvHR7AHQO1cIs7I8j88auwiEWt9g//
sZPMXGImb3YHoEyUBb/9LyNv/GM5gcUMUP1iPnrBTbJ90mpTBtIbaMZq5Lu8dE5J/qLba1zOwzb2
yKiQraebIpK23ZvkSz1NZ11Sg+sKzh2R24thntZmWnXdWqEfoII5dQSTROcjLjqqEM6X7zB2B2Lc
bp2Zg64XkEQXiPSzHnTPCdgyBt88zUFyoOaLSeDrx+Nnkjuh9DPu/LDcYTAglag+ukjKXydPxVJF
/ghUpHC9j87wx5QxowmNu61xIj8PRHPI/NrF7i9g/HFuNHZNYriQrDQfbU19BLX40c7GU2vq3+X5
0xQlL0sFuJWFtLemYhyqcfliRoZXb8QnGThkNeutKLbD3CdB12uNoza2Nyogzy7gA63Ub9vKcsau
87sEbbdObYOpIW4U5b7d1O60yB+KHGR7Jp4FRft8/YK5ZoAGs6Xg4Y32OvNRi0wb9DrFsPcgebNx
lufv13+fW0s1AFlq2aD3xVOH8VhTbAFsOFsoJOwvhpW6dVJXOVFMIXDHiZ453NwADzU8c1RV1tj2
WGeVta1v6KZaWnMqOyCoZpvfSqIpCOoG/3BWOzGMWhZtWY45WdBm7AtHy+9lgE0VwBippKfKqNyk
ca9fI/c5vJPHKGFqEEUyM1RSm8h29RTkw8pPuziNwNO6Lkh0f8wDApZm9SVqPZ5WSn6W1x5ZK9/O
Wv+6GH49C0MP9CGKwhnb1TMBXUnKhWYf98qzEkzH/NRh0hYVIN/60CMbsF/egfJCEjtiJl1+ercT
z3hNS0tka5CQhdT+6tJiWn6yMvDPuE35/rCofMwuuBOM+kEXQdpx2zUY9Pjn7IzNGdm8aZkE5fnF
14meamA/dTeV6SwnijA0H0oRCjX/9b+TyShsTmot7Re6NnM7YSENgeITwahv+SAOFFyXshPF6OrQ
m42tShg1afr5Q1mpX+Yl966rj0gEo6XlSMo0tnCDfXYkaJMsghcGP6ruzsB4LWlWlBGwnXCLAY2q
y0EJTSz6zEJ/JfwwTMKVFWa6lS1GOUFDcEIr9EU+Vl9+rWmL0KW4TmR3KCbDivAt1j6H0mOx1c3J
p8Im4L1MsN4v8iICSWy/Tlm1XltaRBULK2DkrUsNFzsWWydyi1w3fDmRxjxsldgEo68yQ9XAv6E2
wbQVjj4/GhK2wQe3nVeBdxT5DY3xG91EEfJokgrGCJqLAHHNT4A27KwP1GnVAQC07/4SbY3sfAZb
UbPjRCKajJNW21uW3psZzrsNArPiOv/ddVKz2yVblbXZOgpHMKsqHKYetNyHLv963XT5CcFOCOMe
tGhRwNmC9+3sKoEChPjpAB5mxw7rYDyIIMcEjkJjHAUBu2ulUO6xbrIdu7Reuil+un4g/qXpKNei
iGPKbPu2VsdRSXVUqhfyrW3Oqqo6/V/QL+Lr/yOD7deuWpVMs4KeBcn1G2VDg6naQswev0QkEfVH
uC/AnSzGpiZlnXId9utZt9bqavclOFLPBFCJ2KNw59Epu6P0YodDKHlCREiRbMa8ysm0krqEh+ow
U5S+A/BZx3fOtmPrWdjAGZ/tY3OrCl69fC25XC8bkOu6KDsFu4bG/GG1w4L8BcDD/vMxdiVbE9Kg
CEmVId+qy6OEjok8Jc51PRQdgrErO6rjQh0wGx3Zz3l6toUvTXoLf+S8O8VgbAn19DbLetQetHv7
XsYoWOpHDbIl2O5PtC0OolSeH0QuX4WJwXGdgT2rwxwNIelNPpWn2cAERqRiGqtvwuuXxy9q7w7H
hGF10uNEK7GRsAD5lPKOJl7uqvebu4Hnznj6q06TZZlokRBNx7js7542VpXYnjc0+MFBCwX/306T
aADjX451kcMcK8XEaZLW8H/vsyUHAFX4yZuGZbbOyZ/Hg6jnwfeFF3FMhrG2ba5nC26xyvr7cVVe
khptgYRInwSfi9tYvdwfOyBhrgSvrwS9FavCPMDnsX6oo9jJusHRN3+QvhvDqyJq9P9L5PrndGzb
rswwwF9G8IzFWbr/NfPU+M0rhfOmqB+CIwrukkWP0+dFzrIMeC1yaIWqr9xEXgw83hQQ4slhuC1g
cSI/qPDzqcsJGUc4GNiyHlskAL9Q+NITLjT7WqHzMdw1OOTorGHq2Z50I1qwF52WcZFj2/Vza+N9
IpWugpIOxRAQdCVFIui/77KbVV7aZQOrtJd0H2xy1KcvbSEInnyXdbk/xkVir9KUUxDSeS3GkbCm
D2D+bPlR1UrYZqtAQUTHYVxIm1taVzeUlG5W7mZbOwK5/Fh3tiA28st+gL0CiJRiYkmVubbeLKc4
gS2jwDj7KsbTpDvtznwyQTIpe6qDt0PmLsI3MtfAd1KZm5xLZQFqPbrVqlXf5vN6k02lZy3S07I0
/rooJ1utf6xtPjpJ1Qu8C/VSfwS6nWzmZo1ty8tYt1HceXfOxnE7jUdxX5NrbLYtA30GK14Y6P5d
H2NdxlizhIBNRuMIcKMfm2w7WNi6qQvAy8tqBqLeWJCJ8C18J5TJsIYhtuqJLra0GDakvVTJof9P
p4y3Jz1MbsZz7GZ+5cqxID+ht/bnrV6Oy/gWUC5YxoSXGUpmT1GfOpplouh+lxpquFqVQBj/E16E
Me5EjgFK3Qym8j8DjsOh85ODeMCRJ8aU0a3SFA2Dm+xMhdIZeWrGGmg/JuI1xo+pepgnkHH5E+aY
Nvl+FBH38Ix+J5B9WLdNbEhEwrks7PeRL33yNM8/rgceng8zsU0FIBqZYlwxajkl+lZKA0YIovbb
jHJYVJROXMtOk8fedUncw+gy9mRNAITJbIckL1urn2gVZ5ICA/vgoM0hh+sieDZm7kQw6m71XWJP
lKw8az/Ew+jIy4etfgOqn6ODZbESAeDwcvC9OEbHSzKklVQjfk7ad8PC5HclIpLnfh26KqSaxAD6
EtXIXRAjZmlJ6H/jddZ/reuv41i5ynQ/Cdm0uJqtmwQ5FlArLLZsP67d3Nv04ih2Laa7sa1PV2hE
CSpXBTBypRIDsD1YNv79ONGsKWmW4OVVFQGWaA37thKRKopEMJGkUJN4rTFkAaiP+6U6pvatbr9e
1zKRCDZgGNbaNRGgDSbdj6szoGRiUSGD67jN3U1RTd99+DEGJ06Sv2+jaXigZN4cxn4exqF2SzAC
qmDeWXaGH5iFEWWiXKXeSWZUrs96pUe7A99o8K3pg9W9Xb89rkpffp8tblhDLOfgRMQGZHdb6g96
8qHSAmyKCUIC/yPBrckGOJp0tjMETteyynOAj5ez7M2lda8P39Re+nL9MPzLukih/777TGsir0pZ
oa+RYV8g+2YoX6//PrcCacJh2gZ6PpjkY9zzOhmd3SpIlA0U8vUghw5kz79gmQga8xjA8m1vDTGE
LBBMfRcbv/eCGVc6tXG5gJaGdi1QV6VrA4DAeshW5xcdSfS0CXIV7lWaCqafwHRlqGxhrQcsWjzk
OGlTyU/Y3bmBJxcdiv7RfxwKU5gy4Ago1BTjf2ZtRUmDIsXr9+WXGIP2tr89DoATzW7Eq2xcDdwJ
Yz2R1o2dRueW1PZ7Nn/P+w/1/DeeyAIPmaxrpqKxg9SVVQIfHo7Wk6W7WnuWza9Z/xdsasBfu8hg
VXwaRkKWCXeW10GeKad1EyH/cltkaHdiawQb33TR8XczUqLCXOJWgZa/2PdmML/EPrbSHoubXytG
2Q9RsYlbKdlLZNS7Ak/RpBD0YbTn0afa3b2lR9Mfvc0vg1hY6uTqwu6ATKZQJ9mgyiOozmTbHauz
mnrbXxBG4Dtd7pD5Tgs2Cjd1QufdiIFG2SuOtgqm5LiHsDGzj6l9C0xSTNwbrS7J1wHlWqU7GAC1
rO8yVbCuzHUCOxFM2NskMzJTC9HbAqVzf05XQVGAm+dgqxSb0JpKLBamNuk1OzZ0JNTySQ/Q7jhQ
YH75IJoi4R/jIoYx/TS3rSHtYJfRCCoDJXnVLNFUJO99Be5BpGsEeyIq2yEau9papw43NTamk3TD
aYsnZ9K2uyxTb40pFngabl3AklW4Zg24sH9wSCMhqGoA0VOUrO44P2FIzMmCiE7nr04ftEdaFFsy
7y+i0F4qY6Z52ma2TNef6SJn92k7yA+Lu2LXOvU0zB5LwXV5PA23ZB3gIxgl+ZOhUuq0appGSj83
6HedNDq9kp+naRUci/dM2Ylh8TmBClLWOerBmMX8WSWhYS6hvR0s9UWJTmKAM/6hbKT1GlgR/iCr
zMtqNaUNcaiwvlZ2UPw/0r5rOW6d6faJWMUIkLckh5yoaEmWb1gO28w58+nPgnxs0TD34P+8b3zj
KvUA7G50XKv8Nqcfrt+buvWwmvgQP2VwdqsCECvUJXwnNrNdH/OjeUSxG02DFixf8+vkJJgjxO7B
k+aYnn4qfNHOqOiQXNTaVFoc9CPG7yLLj8NvNaB4TcEhN0Vg/gxACtQAIg7nw+vapHqnIuyfNIK8
P7Vzaz4rgWhWRiRG//0t1AcgGQ0dAtexAf6tNtrSdDtrT9c/2KYGrs7CfsQqbk2AgxkXKTQwzSSH
yNjj7TFvN9RgiAdyfBoeplwRvB6bQxaII37dH+cUs7hTxmaAx5KP2HE8me5XBnpXCaFE2QXxQd5a
DvdM1aM+Ta2EBIYEgwMgM6cTge5svSKA8EAZAwCPQHLhlM0iaqhrJaqVP6FC/m/YdpuaoBKAxAP8
Qcb47+8fKRwHCuZJHKS0dtJ8MUInbwXl3s270hB1AVsCxHx8TabHBH896yD2xFjKvdTEp0m2dtdV
bfMU2HY2wSiLs/ClBQJQ+GkK2edo5Y9WZZ0CdS5Q71QE+YNIDueC6iyRM8L6le18O+mHGZCrIrCM
rTfXXB2F++5dWEyg+MHzIOf1Ph1B65qA7cNqX9Ks/UAbKhqH3T4SMTGgA+x5jS+XNLUymFUbYPyE
dl/M0do1tLzPcxGO+bZlIurRFIuxDPOpF61Qsl40zGgEF+az46N6x0wzvRXFRW8J1h+2+S6JT/6N
sIwBcwxlaLEnZtiS1+/IsfWXF0Clx7WdfbEc8J+e1b307aReLLdCQxbEPQfRbNTmza5+B5dwtDWZ
9RnLemAzvM3671l3bgdBxMTc2bWjcqELCEzUhlB8vADY2Co9hXrhz7lHhbW7TRtenYV7l+KlD5I0
QrCZjHZH7pX463UD3gQRBd7CT/WwuBepyPMwLTt0lZm7wwCUN/qJm/rD0TyYhw5UZMSrb2PXeO33
g3CBZNPmVsLZl1y9VF1lSGY54XTDV+msYXZU3TWPQ2crD/QCered6k036FSeRGWwzZwUWQ7sDhEm
HD0neOmNuklT+BM9BVIrwUZQDYJIybE+T05xoznirGFTKVcSuQdSQrlqnAiT2J2n+QFIlapo/lsk
gntShigoJuC2w6MA6bEZnSE7DNY/1/VFJINzxFmt6FnGAGai5Y7qt8C+1kS4TyIRnCPOs0WKixiz
IqkCiODxLskyD1Tt/t8cBGPslmli35+vrhgTaVJlxGUp4ymMUT3ct6kAJ3wzDsMUGYhTDGLC+/6u
3WXUtJMOYEkXoAb6dN8k92mkohl3tsjsLOrL9QNtTp+aK3GcT1qisgnmVkZJqkv8qhmcqhp3Sijb
SZyeyGjaQZLv1bYAwbx+Wyam4EI3x8DX8jlXhfYT6Jpj3OjgVYfFVYHnH+5HnxGqdIA1SB4QjJ5n
bwHumvX6VzUfxOgaQh1wCml8+84cwxDDDlgsTWc7OVQHhgYQBU7wtvfd+OGjiHRw8wl4F8i378aO
BlLMdoLqsnRqkKpNikO7c6o8Cb6rSBCnRnTS21gZAJzJQmttv3R29WV4iZF1zejZz18Q53vaXSUC
M9x8eUx2nVhtRxmCmenKNydYmPyxCKdFg08Xa097kcpsqyxb8LCooWJ6ilOZYLbkoYtQ1koOmgcG
nnsggaW24TOsnEqyr1/kpl9ZCeNeukHROgDb4IOVFCTsxLLndDwMNBOkQszL/hEarMRw90bTwWj1
FGZAG8OlGlYeNMCkDKmjWd/LXBYcarPWaa7Ece9KhZYsuKjeknPFky+1M+zJuXVBtelbh9gT9a42
syNL0S2FWBb753etGOciTpQa4hjakIZht/TwtgG//4tv9S6GL6K0pmFGAyJXtwiOZu+mtQ4mLREk
/aZhrYRwhpXWbWzFDCIC2bLdG06vNLYUAAFDGOcw1/uHTqwkca4ZzKEzwvO3FYTqwGChks5WD63b
ngvAzyUiXrrtet5KHmdXSl1PYFfDydhWCqvmsX2zHVzG58DunPRWvxEDpGya10omZ15TIDdp1sG8
AiNP7SYrPhVadqrC73+jGbqlon+lUXRGfldAYJlYo2FihCk0TlHmlKrmzFTEOrzp+wBR+FMIF+Wk
fSQVbQEh2NkeiptcNAO+bUXvf5+zImJNmhHLaJX/bzWGzSlHEAX9PAePR1BhK6SZJTRCrMdxx7D5
ALV2Gd3QSd3QFZHNbHvzlTTOnhqwHzRm8IbtMIG3PjySs2nPLhYp3FoU7Gx62ZUszqKMUB+TxIBF
qf5w1kdXQjEy/EQO1S68KP7oYqdCc1IvCh0hhMWWMaMqTVFCVhVd5UuFFIC4VTP+2Cc6Uy88Ap7H
yw8A4QX8iiiu2bKqtTDOqsZcUsEQjexdUXSHGqNbGYo9yCIK37dCDe+h1nK4V6tZFFK0qIe5ZgYW
Cbgo5IBAHnxoQA8LguPZDb9KbruXMT993Z43MajXkrkHLMo6ksgd5iyRsLgaQPOmU/uQecNpvsMq
9+yCIjTCNnBO7euCt2zckk22z0rAFsTX+WKi9J3eoc6XzY9LQzATJZKwpaMrCW+VmVUEpZn5ZJkx
puRItoAe1LPi+7ydHSt1tf7D9cNsWvpaFmd7LPaWEjIgk/74A2EJeKNu9cy4JMQwc4Kre/sxq4OZ
NTadG1ZgIZmyT4r8rosXV3CgTcUHN5tMQVqAfWPOz4NbM4x0HRWWwZt32lnZD7ax0+/oTvNNm7X1
ltdcCD64ebCVUM7v1yB20umIdvjk1Z/LBwaVoI4OcXuv+By+ll7xTykycJW9xX9Y3kom9xb0HZH6
kBGtpW/wNJo7sN4KhoJ+dOEkQDVYfoivCc6sw3SJdmZoC1234EfwCAqxOvZKhkrMG8iTvEsBj2Lc
1C6jbO98ehBh8gg+Ll+ZjqShkpYcE2mj6tcROZNRtc258K7rkEgK90a0WkTqMAG9Qdslthk95zSy
s1qEvbI13Wy9fz+Ti7XqbP6Z5Q+S3U2nMXTiEAP202IXoyfPZBebD0Uo0lWBqprs/1c2OHVjb0gM
BN7sz6R9zXQRrdb27RkGdlrYUOcfsPlgPQnHnCDtHJ56abKN8tSKJqBEMjjfr6hW3NYoirha9FDO
wBh6UnRBE2QzQcLQwRvkNJKht/9fXRQhFehoLMxxMlANNvOeXpQb+cBAkSuM99oiTL3N2uJaIPdl
ZiuaWsyEYKbGlp38Bug4JfqkHWarZnf6lAKnTDR5ufnQrI7Irnl1xLChSSf3FmD8AIOce9PykFaf
JPVSiGpM7Hv86ave75L7XqFC4smKsadg1pHdmerBjOdTUMY+BdnB3xjvuyjO/9cSxv4KucUIhHrp
l49SdoynWBACbEas60/F+fumLIGkNaFrqfrVYbypncCNz/Whvw3/bgdoLYvz82ahtB1QZIDNCpi1
9iHddS+svM7SQKw5+eZDdC/qyGyaF+oqaPuw+WLezabqYqmxCh9RFok9jJ5pdnZdHq5/qLcizR9K
sZLCuVnSjHi9AtSn5ph4khV9R+qEdY7QTcMqAGJ/hYinBO1kmjxZbXIpgnxnFt0dDQGSkgxuOIKK
Iyy9PK9dNCKeomECjwG49MoB0DS65Kt17atJd1Fo5VRW/2C1umMhZ55M/ZhMxkMnlc80WmSHEiFp
z6aXxWQFRnBMA+AWnGUpNYp8I8NoaoCTA6xxPMvdl8GeAFsZOuVj4YvYlDbbdUCe+SWRM7G602Ot
V+ASSfe1KT4a1jmIqUMl7MsOSDF0E1SDjW0M0d/snK4FcwYXWYsmmcxPVstNJX+eqqfrerLpO1YH
42wN05+hUUTIqZPqvp6PZVaA0vsSWJNzXQ6zoz/UcSWHs7NMKtup7ZCFvjW0jtaO9e8xcOZfF7Md
cb/L4budQNkP5Iwhf7DpJbZ1Yx5UtKxYNcxyhY8Ki9+vnMri4/teTuaOZfKR6ad2ZnxNogocquAW
LF/lwesA0EfPPRXgXqkbL4uKDAnTAxgK03S+CKwtVJEiZWT6P7kB0NqXk/Vgecu+AAt260s7HZhR
gY3VseNTctNgbD2+XV6TY/9FFCeLfglnF9pY62kEPEwXjCrUHB0p33fA0pZq2xC5za1n4bdTc6YQ
G4tMCgV+E+PRsPrCDY/qgbEZyCcRYuRWePKbLM4saD53+UBm9gQNLuqd7rSf7OzEQBSASXgnGqXa
SvR/k8eZRwGQklwiOJu0TzM7+xBBc4O7FOwUpl1/1A+az2By6asIxnXjLVrL5Su6YxjVKenYWFzw
CVF/G8s2ETpPkRDOSsJqkI1FQi0hOk8eI2tX7OA19Fuv2+E6HTZOLzrXxgvx27m4109bxq5JQwyO
9Zmfq2fhyovo73PphVIH7aTJM5KYIfHRY9xZQ+X9767stzNwEWui10Cczlg6BnDMBuDWiducNL8+
YB0aaGzXpW28A78J457UxuhpuASoEy9F/JRK1AVUyTnVC6cxI/e/ieJ8xrQURm+kmuY24ymit1P3
OalPf8OU/tuBOG8hZfNgLVHFYLZaUMp3biBPdoPZvuuHEek25yhUiVAjmOAosnQGHM7HotlXoglt
gZOlnHPI+oQGcoj6h0RmFMQeTDOzQ+WmlLxMhMq6LQojzuAnZ+U/7tYGc4zQRoIfIhFIgOU7bM86
hnEqm/tIEoU221f3Lou7OiUI497E2qc71ZfauJunx1A0PSYSwd1cIWVAtAhwnNkKnGZ8VqEDavHx
b1Tg1zn4Ko2mBsPcWHiN83JXxicJlDSGoHu51TqCNr/L4FyoLlUk6CeMwY3309f4BgCNu/Bouupj
eeg9hposhmUUqALPB4hluDiZJTwNGUGaUhwt+lDpi00HKJ+QvvtfHtz3A3IOVepksEswPtTkzFCf
xst0YgV84xjY2VHMurvt7t7Fcb7V6ObSSlgEFRnabR/MN01JbEw9uUESH66rh/Dbca5VtuJ+QCDH
BvAAw/ch3dHE0S6Tw9D3Or94IjfiRSihUM7JtkGcoFsLof2RAFko/ITK84fgjiH7614KMHYrsUXA
U5uPIji2CXZngXTJ16aKQe7qKZtARtMeLdCGSNE/169yUyVN7ApgE4agPcApSYRZeCCVooajBc1D
kwMkNEDypZSASO3mLwFNHq/L29ZKE1vaqk5xKD5Vh2PXB7XA7GT8PJxZAXY6GQ/Vd/blUnf+UgtW
cZjH49IJFSNJv8RxUUuepVHYMSRPvTjV9EapjlL0YahuqgjzCn8xl/abMO4y+7meO1WHCcjmI2bG
1Po+VHf/8f44M5OUoBjiQWfM6wzkvbUrNI1cio43a4HE3vJXz/HqBjlbI62ktIStedSabof1kwby
UpG/31bz96/EmVZTdxEtWMycLa29hJcl0f4mqFidgnuFCYYEKDCisRNDakcJXqQssa34Pyob9/yi
ya7l4JZAEkkD2wJgpfqdLm5MUrvL9lElWgRlN39Nt7mnWBuitMlSlgTUt0tyb6j3pPsuUDeBDD75
B2I9gLUZAQcjim/tETuN6mu1M+1on+3RXPdkX3+4LpP97CvH4isAAy110BPBQ/zYbot9AyRSqSdi
nxHonMV5Bk0qpyaRkGeH+ehHjeRMoyIw1q1JwbVD4Gcva2WiOU0RMS9fFS89pffTvjqlmA00sKPJ
qgnVJblUIPExndkRDsSzE1y7SM5VABUxImPD1NHFGCaSxGWvPbDIRrZDIeS06Do5N5FkKaiiGfEs
7fQzOMxtqUr31xVD4Mstzkuk1JgMDTSMbjQmN7IcOoEJ/IBW39Ou99qkuZHUSCCS/clrV8i5jYHU
UttZMLEOkGA5LDhWn3XLK7rcuX62LaiE31SF8x0kSwFTR2Foup8dJhRIBk922HantJMfF2eG0jAH
Lwt7KqIPx3mRTjEx4SlDS4jpDsnHWghrsx1i/HTumsz6iqumjZSZkpUAlsMdLcMh46WRWqfEakt5
SyX/+i1e91aazMX0RjRNxJrxucxSOgZZuGuC4ZNJOoFWCIIYrOD/fiQFCC1aNyMUpI/gGwDMWeoE
HrFZEMMQ5UUlQdGxuLgCtJymuhRQfGruJe1Wbi5LLnC6wiNxzoIoYBolocKYlhRPO9eYCIh9HZux
xlHfJ/+IyoHXbRlz6b/foKxMJtabcYNdpvq0iP1+prYhhU95lzq1KZ2NoFfs69ohksn5j741Oz2r
cI1Wp9hdPDtBfkswomhdtHK25z4UyNuqnANeFbuCYKw2/1wao1EeYLQPKWa5Y7MOERywfteBLlbb
yScROuN2MXcljfMgcbKMA8CSUdxKX6Iltk26a8dTUSd2Zua2HByq7sYqdmkuIsLbmmz67ZycCwm6
uOw0xszJggSADHcHVjGXnoNvYYlusOaottrZwC9qBUn8pnt+P/Lb+7tyLVZVt0q4IG7swodC+ZKO
lR0H90Hy8bribLrIlRjOrSSK1izxDNuo5MkflurByJrDdRGbQc9KBOdRLFOVNCnI/9dBSdFJOE9C
zDxakgaFQr0v/YYEl1r7i2GUtTKonCOZIzoSk2LMR42PSfdPG/hm+Fc5yeq2OO/R9kqnhYx2OleP
i9XbKvnWzgKPuOl0VzI4b2GEhhrVHTxUMhtuHU8HZMWuTCrBh3/DvvkjxFjJ4UKMRivzPoyhXIxr
IkLnFbNJfnlUd6hOe8RVv6Z3bOISlox9EswBv1xXvE2nuBLPeY2kkTKrn3DM0ZBtxTg37V21fJIL
L5MdtMQELlGkf5ynUII+U1Iwe7hDp2BtS/ErwxRcqOC78esqFGmkttS95vaJ/EjS/pAQ7UbvRKPn
WycBqB1FTkfABcEjM8lTMVQ5Y6Iax6d2vmsigWvb6o+rawGcHY19oBUy6ETd4szQdiOvQwdSB+yA
KBHa7JStJXHWNFWxFlEGraD78648Jq55Jz/WoD00EXQmiGdyD6gYhiMC3t3y3mu5nIXFUVSa7YRn
w9S9aEBt5lGaDoUu2KjejGzWYjgDK7UozuamYwYW7odbhpJsOdbThKrdcNFGRzhjyHw1b9FrgZxJ
Abyva/IWAo3b+ZmtZ+Htc4zvyPb+D3StW+q+FsZZFNbflFllU5V1iKaWZtnBcldkX647ic1IZiXl
D+jiupdRS4cyGjbwVOGklpfUGUBPWbrzi6gtLTgSv064xArp2wL3p7X7MtzL5mEOBJUagerxOMU9
KWRa5nhuSdm45rgvLZCgKYdR1C3ZmpFbWzHhHtw21+Mh12FbmY7YSMfacQZ+7332Qh6Lm84PgRyR
Cz4W0+c/1Q8FXdbp+XMP3iq1LpWlGA8XPajho9V/0NIPsdTZ2XR/XS02faCiyaaumkDZNTjLopER
ECXCLabp17Y6EOpd//ubJ1n9fc6Q8mYI+jRM0EHFgPwiv6jxuSS7ArhTZSliCN3UiJUszo7IWI+q
1WJCLghulvE5Sw5TdDBEzmhTtYGcC3hKvHJ/rGPnyPENWuHbVFHr6IZrlKldivyqSAjnV4eoHgyZ
XVto3XTlgc77YhI8spvNEAYB/PMg3KePlNnQogW+u8MYN5sXK5HaO6mT2cVnbVf5SoUakygP3ta3
d6GcPihKKaW0hDGZCXjEA+NkNunX6yonujtODeo5WQpLhUrPZn+Y0uC+VTEysgyC+9vWtl8n4YOU
LJeUyBrhT+Xi1Jn3NZ6hIfheTg/XT7NtQO9iuMQlVxpppiU8aWbdjuOF9v9ExR2ld2nf2tclCT4N
zzHDdtiWLGFQ6OGn2Jhu8lESnEXwZfgV2gbokpkUQUIAENwobW18K5Tws/94EC7sSsI0iCsKxU6S
ar8ow96QRNMa2xHJu/Fo7KirtFUyEoyrplAyNnZlHgsE+sAmx+ROsasu4Jd2rn8b0c1x/mACqG8w
NxBHAeGRfrEmNxFBGYg+P+cOWnOKW1IwcA3pZlkusil4aTZLDCt/o3GmHypLJPfMYBr4GzWz41N+
XzrBtw47W8qzdM84nKUKUCzXr05kp5w7iMo275Me0VWifR1HzcbIpRdbh7F/vi5nO05QLAuYoRpw
1flOQVEUQUVNXKDqM3CQBX2CaY8lxuf8UIOfSfoAyu/rIreP9i6RU/RpCYoS3wxHA+wqptZsOf6E
OdVy+XJdzrZqvMvhlN20DCWOGAtgkN0p8m1pCj7Rtna//312zpUxARi+0kqtQrRYT37Wh/swkC9A
PhNMiG4eA9PRDGIfqOl8UJpUrRKbdYmSA9quyWWcBA/P5udY/X3192MAGzVLNRNzr5X+AES2LD/I
3bFcHq5/jM02Axu5/nkMLh4t6zkeexS03ewg72ZAs92oDoCZvdwxSpDHtN7soXKzJxXoSQ1BJsaM
5Y/AdCWb07guygHcQmBM8hEIPEcGzx3txVR+mwqxEsMpnGQCGkTu0YnqopuZnmcZPLmTiFRta5vt
bXb950VyapcvRdqpkQkMTt88snF51oSPbR18E+Ba8VD+nGzzVkHps/GNA+N5cSpflLqLbpRzuySY
YikpEemp2EtUK/kYzcsJa+mvUaMAMjr4YKkFuMowJy54UkSCOXfcS7QutIagp3MMUKwKMDIV32VH
4ew5C1CuqQznfzO0MKtCQcQHsBOCqezgoDy0bnKDd8AXpZ3bSe674lCuUUWyaJwJY9Sa/eY8HJQT
cfMzI1PKXUnY0xFK42IzWtREmykgobTbwF9AKTftwwsDrG9vxdvVm82Bld1Tzr1MUhW3VotN1p8J
/LRnk94Mf0T0Zm6HN6t75HxMHOkdYk4kObpffcDEhQeeWfJIsduJ1PefwGlFjRaB76ScY6F6XKZZ
AW0ET7s3hLoXzOGrlBo7Gg6CoV6R3VPOu2hmHOtDi/3xJLbjBxkV2d6uPuKkAOIJd/QhdRQfLY/n
wNUeiu9gV3TlF1HzTGB9lPM9tdaPWpzggkc5vJdI7OR02JsYbEkyaZc1/eeJBF6hC8fuBNbIj7KG
Y5CiffDGJQXcu30ACP/0oHqqHbutoEAjVFjOw+SNmgVpCFmsp1Qew53RYHR/dAlWXDIRQq/oQjk3
I5n5GGUM3VHr0cVVz/p0M+aT09HHaUicQE7shBYCFyoIKPgZVwIWiUWS4G2U4jZKQ3uJBc+tyA75
UbswaLsS2zMszRjc5oAcfbLTxNftCAssqEZOzhh51+ML0aE4N9Pn0owVOWhmkzZ7Q52PS6p9uy5C
8Lzza8han2TzaCIPpNGuDL7rKE6Hr/9NBOdPjCDT2oTB8Ga9T/ubvDsmRPBxRBfFuZEmpqCxSVBu
KpTUtlpvKD7/tzNwPmLAhltAZSQURTYA8GdvjqUbarvrQjbrC++e3uTijxyg0uA6APCq2lMn0zo7
xMiFiRWEyh7F4ELbdwYgURCxAo2ERz4Li4BodYbxygH8xtrH5RAeK3Ach3cYHfWQJbnCCart8/2S
yJdpqtSUzSZDtMxW3xTQfOeX0JccNPT94MwYCRHdhY7lksW+frHbSv4umAsOikGfy5gJDpvknKC5
lNfGGUM6giaTSAxnru1iBK2l4UZVAPdJD4H63IkqA//ihd6PwkUDy1RqFsIcAE4bWWVH83iRh/Gc
VGhnanTflP2TLqGjENADJbpm1xG9n5RPIxFxxIrOyhn1kBa6IQWYFUi7DHPpHyzrpUqfr3+27bIo
5rj+v4rylZ2ULEOidBKyONNP7gx07YqXFuvwBvhuAB/+ULrNkygJ+Jec7l0oZ+pjEupykEBZGGy5
5bGh6tzPTjmaDTqWrhmyxYwMxa98YauL/ek/4/N30ZwDSCJNNyptZK80Q0yPd/Lo2IyPAGyPOCjg
sbzkKArURV+SCw30Ko+qNmZD8dUFoNJTiphrFGU4AmejcSFBU+nlEjYwjSUNTk24PAwFOVzXFsE5
eNAqPZussM91xMnaa44Ajj51maicKZLBOZK6G+eyNxHZ6MXjaN7q3Z207P7bMTgnEqFCFqsN1G8Z
T2b5IBknQ/Rassu+omY650PSdMqNQcUpAO++by/dXjkyUAth0Ml+6jU5nI9YitzolBCaJSONR2zv
KdT+Qaei7vsXS0DjIfo27P9XlSsAUrYkQVUR35+c60lGnpS8BkYlSFkEj5jOuYeor0ixWAAYqrQ7
ycht3QRexn28nLtSRAkhOhHnDnKSjpHKkCcj6zM1btX2Nhk+/Tdt44w/GOKmSXS48dgAAWVHbkPZ
2LdxLojP/iU9/+XZeM46rS6iKSTYEGT5B6vQ1yMAwkYQdsx76naCiJP96iuKZ3Clhy4bOzPPoQp1
drDkp6b4kFQvtDrSrLXL0hRoxHa1+f2ZMjivkKRGVMRY5YI9dYdycugetGwo/mW5qx0LIJVPye5v
5qnAmPjzaTQ4N5GMGA6vBxwxl+NHeYkeJwPtCEOEaLj9GqKCCaYxgwDxjFMQINuDSDNDvMEoiHGh
iNRGZObViw4QEtOL7jOn8SZEi6JnaTvSWUnmnoxpzJssnsCNOt93rnnU9qWDZr/5gdF4YtnvTkhv
tvlG/RJI+cnqkBJzmFVEG9P0aBVokUuiysq2GaxEcJoyk7IeCgl7M9pIHHQLTqUBggC1VEq7yeML
EvRbNVQOVT4g8K9jJwY1lg1cgUiQLW8ayOp3cNrTJ+oSsJa6OxfaDozI+8mo7mg972ZF3s968DhO
k4iseNtMVkK5Z0dS06oi5YQSliw/VHJyInrkJT1aQO2y04DWTYryPErEUcvELZfpUztnuIb0DmR3
QjyDzbdp9WO4t6me2jqzzJll8wVewerRPGSoMEs+QCiEuPGbcd1KGPc0RbGi5XoUor5rPuYAJuxb
R44/N31pX/fmIg3m3qYRPM3LOOJQBjgFimNSP13/+9uzbauDcC9SW5szKNBB+NTuGPBy4jGs/8gz
bhjYY3+Q4cvn++wizByZw/7Doa/kcl5IXqzR7HvsVTIq0uKWHNh2gInalXDse/PNXUnivE4xJqWm
F/DlmGTzWTMnK+zhi97vfmD3NE402Qswf/+C1gNJ+E8/S3nQR9rV8QiCMgbCD1hwOu1jxXAHy/Ku
f0GBhrzVCVdBEvLAuQUFJhx5HdoTkLFCsgh8y2aAtDoJ51sSYN8koWQggAX6RCh9aqd7K7mk8WdL
yHIhcilvb8jqOPpoaI3MahgMsHg4Y9aXTc4cUodRlQxPYrTizR209Xfi/IaE0nhAKjAxJef+OXjq
XMBZo9sQuRWy06+6LX9k6OrTkaGhRALzE7iRt3R5ddoxlYDYC8wdV6oqxDGfqXZq5PshEcQzIjGc
F1ksGs1pAm9lJc1dQJXnShs+yphy77Tpy3V1FFjbm79ZnahQSrkaB4SFRJEPGq3PKKB4+SBaqdhW
SQ1POkbSgEnPua06NCYZEFIoPAWLg2GnWPomN7Udtoch+hvQbljyuzDeVyWhIg0FQmrVn1yW9Vih
Lb82u/YAhKdX+u36Df6LS34XxzmsJpFrOdAWYG/sezjlwiud+BLvAqBK6bbkZ7viiaL7LOolbjuS
X2L57t6YpxYNCoaNkZRe0qZHpdRdwdFEMrhoCY2hGFulSIUHT/OGRwbBGF7CGKQQxJv3ACN/nASJ
w3Y/6v3j8Y0900poDaJovNTAEMb+ACz7drG7D9o+eE39asfenfJuBPQe2yLInsgDUtn9fzw3FygZ
spksLWba8MoyMCJAhN1JGAYkNoht1H1xEaGECcyDb/gpUwgaVxnyoqy0w3gvq/txsdskcbJZcLZt
g39XG/b/K4M3NSmULdZrG6pL1aHIndtk+C64v+3Y7l0I78AUXR4jNmak+gyTuvSL/Y+1qcrJhPPp
KrPnP2OTd2mcc6nqOV0sGQWBdpcgBdstEUgw6W5wyjN1coYChmRQBy5Xibn/BBMMEeBCjAMmhFwG
svxXU50rDebcj65ItEuTTAfTzve8NW/7aPp4/X5F35DzOEWc5ygh4cCEzL5R5Ihqc5fUogRQYP18
R2/oAO7dTah+WJ3+sMzjsZRFnV/BSfiWnonN+IWM0EatdY34g7qc28r/T5fFg9TIAx1VI8LTM8hn
bQTHHQjUOhEgqeiqOIcRjK2hdhZeaJ28lNOpS75eP8QW29f6TeNRg8HcNEqmxFYvv5sYZOq85JDe
pGhZj6+j159paFuA9GvPMLkvwoL8dvD/y8B4ME1pqow50fCgZmc0qvZs32T02gNSnMP1Y741oK6Y
ssk5jqkEVaqBQSSEkyhY+oGjgeWLMWEA4dXXHW1/Oz0ue/XurXLlGPeyFzqYwghupmcNmArCtIfJ
u/Z7ONeS92mspzNObn4C19i5UGzGirTc12cWZOaPzQ0wSm5FYgXPgcl5kC4loOQYEFH0QEns8+cx
8/oBkVJjh4HgvRUpLudKIoVKA10Qv5OpcjTjQ6AL6pv/UkX6pTw84kbWGvFAUNbBFS4e4/Rme1jT
EeBGO30PP+xeVyHBgXi0DTMB3FrPntKlrOyk/gJ+zusCRPEeD7QRtKPRWiVS4RgRCnIekPci+6AP
X1sXDHQ+aLJsrDdiPk4gd9sKQfiHUBycXPzAOMDmZyvP4CvnY3BMj4zBB+wOYLwTpuDMW/2p9e+S
2B2vYgQ5D0qlrYHdMHiK1z4As8ExI0BtMU5BNN0eREHftpW9y+NiEpDraqgzIqWT5JdRAlpi/DrR
8m6yROMc25HCuyDOvcyZWWObBDDYFnzFNyV9apOboTwq+UskomXfnvDW3mVxriNpAYwGeH72uXTQ
LoMKr3PTC0MT1z1yqpxgN7yycs11LWH2eu3Tca7DKJKhH0uMGYEC+ZsxP4ej7mkVttqk+thkjRca
gZ1LucBvb083rQ7LuZFBqqQkLViR+ri4zEnmwFqgoAMr/EhAzre9SPoui28zxlkzDX3TIBvuxi/y
Mu/6mTxYRujVNH0srcWVY/qPnuvfdbkRxBKij6pzCVEW0z4YTTzD8n0BTPp41z0m7vBC3PANZrZE
qeqCSrzI9AUGqfMVHUwTkIDNhLPmjfxUA5a+OkXPs5vtOz/YCZEetsOyX7rL9yfJsGStkkHeGF6y
9HZGtSM0BA/D9iP3LoNzMpVC1L4Hn7ObYBmuyT7JumIDDd3JzaOeWvZ1s/iXuv+7NM7FSE1vmSGB
0ug/aooeuSsTOz5Mu2KH/QdZ9MW2M6B3eZynqUElb2Q1tgQGj8AkGCFJ8K0FIUjpiUHhtk+ngxUV
/PWgb+HJ3bqsCiVl0X5MTKQnVoMDId8nQLCfCid/uX6Xm976XRhfeKjb2cxBToyYvRqcWM1ulybc
1eNk16qo1buphytRnLnRprJyLB1CVI5crly8KjGOakQEY0ObTlOnQNqXVQOr75yrLpKynOISZQ4V
xJfaPvU1IHQ1MKzrF7ftJVdyOOfcKjrVlAHH6UC0yVp5GMQsTvMbzHkoGvjYnt1ZSeN8cj8VGVr/
8FUMU7nA8E7+hCeIuKOneoOfR7aGfbNDL7C07U/26y557zyrEVBIa5h1kDya0V7XE5uK6qMiGZxa
WLESqL2MZzyqkktrEFfRAwfLRoIyrLppxCj2gDEM+zgWD+ozkakzYxU7LPKnelcd2LZzc5q/jV7t
5H51GhzGyNY41l1vlzt00TzRW7dd7F79As6NaBTFjag2MZCIQoqxNw+sxB7vEtMGWKcNCr3/R9p1
7ditK8svEiBKVHpVWnHyjNOL4Kics77+Fmef45FpWdzXB/CbgdVDqllsdqhKn1kBv77gCsjQECVy
2c1oemWfOxmq2Zl1P7BnZ/0Cxmf5r4roq9/nTsRgdKXUqvh9Qr4TExyy78paEBFtn4OVDe4cKLSo
rTbDi6BzIevyiHQU9KKLY3yqT+BWdaRnEZvLJpxAfodoFut65VvqjWyEeNEI7E9O8ZEcWfsYgxNR
mL4ZzK7McL5RLDpRwwoDb8Mw+aV1peRJBSl3fysrtTOros6rTdhfmeNcoU00sigZCEJkyHqSc1m9
GNlTbD4LMHLzbK/McB4hDc2U5dVrBgAFpROT7ah8NP6h5AJ6BkaqGjxmncBHREY5F8lBqRFAkxBU
uOohw1yOcoqG4/7C/nCUf3oFn03TIymDeDk+V+ebSGXk5+AezUsZqgW627rEqR4bZzyyBYZufck+
7JsXfD0+0TYGuZ71DZ5YM73oUFqMP4bhY6+97FsR7ONvuTaz7SuTfTwCtIpLtMbcZlbm7RvZfoC/
uQjfMT8j/C/RNf9PhTg60IPxIXJqp+ts+sw0QxAiuJUzCnk8tsOslWGGlqt3cZXHZZ/XMNz54a3h
1wc0a55ZYjvHNxNNOQuON590i2WSjmEGFFHNYxZ+bPNLOJ0y9BeRWbZH8I/t76rQPzk4kePZhFJv
+M8bo3L1x9ozXiswIOTNneaSGPboS4cc2gKwf1T/htEWkoH/RU2+9x5eA4BRAdO1ZkEr2zrVeue1
FT3sr1P4ETmA6bLGmIwlYe9y1k+V+JIzf0tPjOQhc4aP/6M1DlmyIOmMusdcRF9haGX22FBVcykt
kOaBuk6YsGQg/Nvz/20T+WSbEYz9oDMWJzXEWMyELKqGxM3yRZpvzMUXrG0zIbUyxoVhVEuTABTE
rOsuOP9DsKgdTFCH/10f68oSC9RWBy8ImzgsJGBnpDoVm9S6zyCI5U4eIOa+EZZWt1MMK3vsPb6y
V00giTZ0DEfrpYX2ujnxK4rscwJdEim7DwuMasTIN6dDaGtqJmijFX1DDmU0yKoOxKjhmhh9s8PS
cJSgvHZy6+lL+LVSDNFo2mZ2YbVahuqr1QZyFOdtXbOpkOAwfqoRHoXXAorToGc9hq4o5tvuGVnZ
45AmrpQiVUIg23yGUJif+ZEbocnulXe+OUCaS6hB9IcY8Ce4WFzwIuVkyGUVS6Rh5DS0OkUdWBxJ
eWtWyUVWrMUe2xla4ov1PQ2Lz1QaT0Ve1bbU15/SLveyNhoEgCu4K/m+ziGcSKFUYICwyHXonJpc
E1VwQtlG7qEBBz5GBMbOUsJ13EcftO42Km5b/ZSHlWAl2yn+nx/0N0Zcnc5LvpgAuRq8oKwtLT6j
RuS1fnn6N+Oi28WwlT0OeOq6aharAoSjCe4D4xSO3OJ9hBl1zWPjIQl6f3IfaTFHO5WCw7L/1dBk
9etZ0WljWGPBpvUC1ZbqEr2hiReFzf8UkKoyB0BkziM1DSmO5AQuuRji2DoY2CtZYEa4kxzWpJUu
mwpjbtHsHmxyTDKEomFmgmjv/I31UKFjhvX5spFY9X7//mC//Wfv/I0yVx/7cmwk3FUWbhD1ZCWC
3xe6JYczlaGGLa1goPWie5aBV4OfsTY9Bo+NsPNoH0lVmYOZSu+GqWvhHXHusarleBP5qZP8gJ+w
uwrdB4f/bQ/5YEYmrSqxNGOYGU7ZnaxCEh1u5tF7n4kDEWWewRqkAqcg3AiBBsz1f7GQe6hPw0Fy
ReydAp/gmzArOmdKlONkg6SIBl8pMHl/w9hfu7Mavv2yTGU91ZjcD+PsaA8s1Ycs6VFYMhfZ4XGi
K5umKOF7g188M+7T4Wi8oJ/oYJ4ab/K6V/IMvKWPkms97y9xH/XBmfcrRLWt3ChlgLsu7D/lhVP8
IIVLpG/7RkQfiv3/KmaYrUYuww6vhQTT3vqnOTjt/77o8PKtlosM1reAUX0NCMBOParGLVSabR0H
qXPmf0Gz8oewxDCQQacY7OBrO22gZG2bo75KniZfQR9Re4jcr8tDjjJr7kK+W/CO3f5Ob/Y4F1GN
MItVChchS22r5fvFlO3MQrguqlpt31lvhjiHgBhvJ5fsei5l2QUXTwFVe1UVXIzC7eM8Iim7JopV
QNHoxLes67L7EhzZczz3C6dGHCnKNAstsnWvfDCSSyr1OtbFhDVAtno7f+y/6h8HZ8ZUU3FTUHcU
NYlvu/3bVnJXijnHcRPL8BFLB++51PthlAo8f9ME5K6RdVYIkWWGLKtVdWre91WH4xs3Tq1fk/F5
/2RtItPb7/MQa6l0rsANCWauxZuRzs7dODq2xoucQvDp/YQq3L697arHyiAXrWUBCTVSoPQ21ahE
TOnJSECLmw9O23afu3G8Sk17HLPi0GmKX8+1L7C/mUhZ2efOWaTH6RKwdFHWo4ko92oca/oUP+RO
eNP77B5LvqOLx80OIg8VbTV38AIon9IlwjOyA9V2uXzs0nOU3CG485QptI3yOQgEm7151Fdr5Q5h
P0ENuIpxJIj6XaleWjO1Y/nL/oYKHJRH5qlVs3EeNNUt0iuNL6kpqMaJfp87Y2mx1AHN4C9Wzgbq
lpNMVVEPwWagttonLlCLs6hlYRNqAh96D9RIx/hmepDvwyvrWagOVSLA+u3GgZVBLlBTSEamuGcV
dTS2ze8o8pXJXXBl3cyofjuTp9jy8a8i7JVRDkoGmoDrfQGP0GAdq+QcyR/2PWF7NvHNwGtOcYVV
sQnNScwo4CVvoEtPcUC2DS0ZqOBqIdIzrTu+NsmxfijLFUnJbSfyVsY5XEGcM5ApAOFUdCpAy1Qe
qiOUlRy8mXCYhS0YDCV+CxxX1jgUaVS0t6TwfTQQkNg20Hn5VX+yDtMBmeaLqItn+122ssYhB1F6
acL1BgFUCFOix6zyO0gesk70wA0P8fMc28kP3Yb+vCOdRGsVgAiveNCX3STNjEmx1wMnSHsnLQdH
JQLnYUdsb0O521vVCr1vGHVwoj8a/Y9BxZtCPYb6paOCOu52LLnaTQ5Rlq6Js0kFWRgFt13zBO6l
2wDd3/58bcBgHt3UfxUmrAxy8JJ0TNWu6vGMadxRea//FQfl6vc5NLEaRe0WA3sXTg9md9b6h/2D
Lfo2HHDUEP2TlhwQrCqOBL5BabxWhCWUURcTmGJ7v+MGPCXNUJdGaqb4NpX5uWkezHiwi+q+LQWX
isCnVQ4sSNk2WjAA8MvpU9XfxhgeGwWBhsgEhxCxmih5rONeDIrLaIKN4LbPBJslMsHBQhukINlg
U8ON+bmvb3NQIQVCSs1tpKMgbjUtaqk8K5qlhMNIUsQQ/6XCxvjETQU238yT7kVF7O3L/s0Y58mg
xW+XIccjaIxvCCMHqN7vu/L2lr0Z4Fw5yXuzMVkZzYrR9qK9ROnoz1Bl3Ley/RbRf5rhq7tI5f6n
v2wyp5sm7GU7rfpjkcwPsVFeK6u9LNWPoOm8fmiuitY0dtBSHKy89tSw+77/12wf37c/hnP2NIUS
dFrhrmpBDVTXn3rZK6I7A+/LZfy75O9q5ZzbLwnKhgE7wPRQemwas/DR88P6XNsTEx0Wpby2AeNt
cdwZQGUknM0Ui2swHqzdhipBH8y7cbKc/U0U2eFC6aCgbQmaaXTG59pFnQzfCPBGqM33RVQKTAl8
lC/1woqaQhQNGBhmrkE7f1L8Lvi2vx7BSeNHK/TWkpYyA9HjYh1CemvKj/u/v/3Yefsu3J1nzPpU
0AawwbpeWGYtPkVHBJ2HfTN/CPve7HCIscydqYA3/w2epkt8mJh0B0YS1dO+tdfO2t+vpzdrHHxM
EYUg1wxvM8PlK/R/c5tUCbiFEZZVkz/08W1XxM+oIt2l4L3Xh+5YmpZLSwktYWnl5G362JfkdgxT
YpemdCdTDAxog58S1bHG3CNG9cWqI7uiiqf2+d0wGe8HiT6X2niYQHEHcSF7lMpbyMf5UlPd6W12
zdrQT4PIVVTLSSbqdmDGXFrDnQB0IlxjUMGv3wSBtwJ9YxmKGNxuz0GIWMDE+uezjPizRmmnO0o3
0ZHNAQj2WmCK2+o5oIXeVgg6AqgOjmdSvez//hYqmpqKRj6FUN3itafNIW91JZDQG4LnnURASou+
1SCdz9NYoWFFE5Rx/5D3+Ok6fC1eiiDWtOh48rG+M8XRnfCsnAxw4sfCArkAQPihF7CwZ7rSIdHQ
Wrckfo6gzivqX/pDEI0GY8uE3pnBb19vWV3bsZLU9HV2ulN6liCYo96WVwy8eNmLaNxl62uB7+Wn
OQbPq6dlM2ZTXjPRIYli0Go6du11Sd3S/Nxh/njfMbYf5xAytjQovyCs5q6UhCrzULTglhzYgJLT
3gzv8wOescg1aw5EjvzuYAkriX+wigiLmESnlG/JioiMaZTpteFmcHunRym8PeTOYOen2NEO/8hf
/9W2Gm9GlV+3dQgkeQkZJ3SMMSlbkdBImsePVkKPpEJL6SwkT950zZVBbm/VfgKdHjFY96V+Vs7V
s2Rnbo45GPlOQT7ORlXMD0XNTJt398ood3dPSmrm+oAcal5/LVkspuK9XDlWY4pch+0Xj484DD8/
Ilv+yk1zGe2rfYSgXz4zrpJ6wmiG5hWmQxwVvFNS7+376uYtvrLHH4skzOiggcIHNIUQoA28ehZK
p4pscDd5VJZxooPm0pU1m/iWv3Q2uZ2Qoypd7aw5ETii6+P+stg1sreN3DUzhaMB2V6kHGbynAX+
0vtjcJdCNT00PymiJ8E2Mq82kbtputGqmtyEe5D8rpbuw/EYzDdTjIGi29jKwOl5zI2Xdvmr2uOb
Wf5CsKKpQX0E7eSzdFXoUwNiiobag1o6TRO7JL0f/0pwCiOzOsRkZOjPcgu1rKzRdJaHyLurMb0r
CBiW6ElNz1UvOgnb5/ynKZ7xbe6zQIY4LMrs46HLPkzkLqie9p1ku4vnbTk8zVsjN0NjdghGGOk7
gkzQHwXfUmdCJw8Kg8QpvPGY9/6+VdHCOMTUqy7IigxGlf6zAvbssT8bInLjzXyfSRCaoPSoq4rO
wUg4V2GSj5S6yo111zyn59ypjhigcOVvxs0CZT/5GCDPuCT2vyA93TrvpmJZ+D4W213OS5oKI6ch
a/KXH+J3/TvWKTEcw4PxKH1K79u7vwtXTJBAakRhwMlXWqOhxt8RjBQA03pmP3sUGj7YHff//+XW
ZrgvN0pRGfQYunFp9VilD7qFBq9eVHHZfI+srXAXXDlIS1rOPcpbPmbzvk8YxA+vTIwx93VDOAW8
dbOtrbFvubpvLLx+276rqZtWn3ujsdUOPeTpoSxCASJvOsUq8OcugRGzBVm1zEgxWtc+vu80YV1w
28JbPM5dZRbNYrmTLPBkxHb1tcB4TeJKTqva0efpdYb6X5SMt1pW128AblWNlssd1EOou3SHKq5s
ZXlo6E0BgZ35S6g8GohEJiKcGGcuwN9ua6vc7RZISdZn0YKXGl4CFCI1x8TXGBPr62tA/jdqHFvh
89okd6YLNAHrJEnh+4f0Mb1gUFW2MW2GIsmlgerqdIjd8Ti/r9EzL+RY3LrMV7b5q0ArB7WZTTy0
klPjk2/hLeYfbTazqqLc+nVxomPmxa52GoU0fwKX4i+IYplGTVJMDJ8VuL2TkdxJliGIwDajh/Xy
OFhRSDSmcWRQt8mz81QZ50Ap0MS5vIub9pqkubvQzNG7PLGDSnPTSRcoN20jzttDVuMQJwurbqQl
4rPGNcFw1drExkMW2rbE625E6bat62+9Wg5wemVK0oEkmjtFhd1S1dERIfV56e5jtejLcRegSpJA
o6ziYNLQHfrFa2sRB5nIBIc3+WCYSGeA+jOzZjtviG2KKuPK1mtgvVkcvBTTpBh6jM0qAutHn/V+
F+rH2ehPixLYmjk57Zh8Tyb9gbbZS9FLfhorn9sURVNruU59d12o5MVG+17vOy9RiFdH8iOpNYiC
p4J+HdF35TApymnVdjO7SJTCzqO0e81XTXMimobbvLE0hBYaMbE3/OPaJGWGCg/oMozI1eN3ivl5
Sl3Ak73vQNuA92aG89M8rbugCdijaPo8Sl/N5Um2oGnjWoOod2AT3tAXqxKMqKs6/24HURdJ5LZh
0Np/hnIwEt5QyzoNNpsHTb6MPtQAzup9VtsI1/YXuenCK9Mc9DQY0kmyUcYw3HhpshttOez//nYc
ujLAQ4teZtPcA9smf/aKb0wHDKV8qwS30ALClsjrL8vHEiQghtufRTTOotVxn7DUglyFQCvF6bmb
5tnOMOSxvz6RBQ5lWlONqFTj04Havcy+6KkAmjedcLV9HMRkaiaNehhBB1fuPBll5az6mhi+Hr60
gb+/lM3zuzLFQU0ymZhaX1gMXf4I5NZNl9iuRXXmzUEYc2WFQ4mxycMgbxHc5uSBxsexeAyg3wHG
ZKOFjIxHwsBddEHidBMwVja50CW2kkQKW5xkM7yp2vflkkAvOXf0QXSaBFvIv8eJjpaAcNARLZhP
Vny3yDdGKfhKm1nT1QbymVl1TOtKmpGkVw5MsSj9FCp+8n7003vWUk+J93dz/2uTHEgomjnERMb+
aU/6ofF1iLFhgKWwMSb/oJT2eFJssbSM4KPxep/GZEL9IYLnG6DgmwzMLOkvOTjdutHb93vBEbM4
kFCHYVgsExtqlu8k46wnoD82Jds0j53UiuBQgBcWhxfKIEdDNcQaJgiIX/kJxv+nI+7M4ij7sju9
zMe0OO6vbzPJsf58bKdXL7yirytomWIn6UNzihz1EiAdHJ9Mm6nzwKArVtMTHQQOS/SiKtpiQWSk
RW4JslSUyI1GAI0iGxySNAqpqWQBr+jwUgc/QnJrSILPJfpaHHA06FmStQWRxhwv56QaLgEVVh83
H5A/wek3inqqQSczkvDCUF4V8lAmONc4UBCME/jB/oEyZK6GXwTZ0FUyAuLcSJyiu2h17JX6TR79
T9/F4AeaGowZ61qAt6mq524wDwdjATVbJSofbX8bVFcYJQ7ucO7bgFN/kIcOx3bWMFsMZVvQkJ7+
5uSgMGUgbWEYhH8XlUof9SNyTq7+IL8roD8JIVi3uUBIwHionzuncKbOLQXfifntb2/7lVEOj2at
NAwV7IhuML30euXMqezK+pEk90GOkLDPnf1VbvrFyh4HSSQzrGZk8lP6fNRNKJ/fLGppy60uCJU2
cXZlh4OhGRIARtsHuLhUVJ/L1ql7ep5n01OG+ETK0ttf1iY8rMxxEDTUQ90mBWaJpeSaK5o9a0ep
f/4LGyahFMdWUyF6/CuyEgP+F3fYupacLe1ujh7TTvCq2n6bv9ngY4qmHaMJ8hIYqHsa0Vi8HHEb
PkL72E284FbUX755qFbGOIyYgm5cxg6J26V6DqvrIj3tb5jo97lIgtBsIG0DObxRv9WbEyke939/
8+yY1ETyGcMOoF769YNMOvrytaCibp95FZQqLTX08yBwm8k3IY8p2q4/fJw3e+zvWV2tLUY3LExc
sIFA4tPvEdKNyhMKdc7wEtwKK5/srfQbMph4JkISXJV1hTupg2LKFVGwun+qyuoXqJmwmvnollfG
o9gTwRnaPLIrg9yRXZYacgVlgLsJLTimO4SFl0UPKR6iZiDw883jahHwNViQwLH4cE+HYsmwBAN1
w+IpgRi1Vd0XuXD0cLP5BHkDS7ZkFCd4jXKtQFYNnDOMWR29XhCRN6/aQQPjkpi0eXtBb6Y4V7e6
oGhVpnVjSDchtWwVuvWhIcBUkRHudd2M8ki6CNoPSvmtrK6zCocQ5es274fVnnH3URdm4ahLSL5O
7YcI095QOhnDT2b/ff/oKlvfBoxY1MLpVRTKV6zMJA3LwsC3CT8rh+Jk+KPX+b0nv2sPsYfZ7w+v
3FjvhtkeryXUiURN3VvYtLbPObs0hbSSYwRimfaolA+pSKdDuEAOnIoMXCiTAo+QCpuJIZeOCca2
9KBdpFtowX5Cix64CtSPmEW0ZbyoRJ0amzQ36xVyaGVVQ0dNS0Fkdidd9FfawiKyA5fcUtVWH1j3
f+ZBDMVyZ1EKX7S53E25TL1uxf2MaK3MHDmVUDfz9v1ny01Xi+NJBBPdWsqxQCGGgAulGH4Y+ohx
A/S9GKJZiq1Dt7bEXZIkGMvGjICKUXfUYmhONF4+ft1fjcgGhx75EJijucAZ5+VMFtuMbYUK4vTN
ssN6HRx4aJYG/kd5YRNEix8fGecwpveY5s9F9PbY7GZe2+JAROuUytR7DA410InNwOB3Cb3BTt6V
z+C7Q+moOeiCUEDkD2yHV1czMv9ybrJiYNP39x3B47qVv5Qm9B46S3iy2Ofgb2aL6lCRAS2cYvIZ
3Hy2lGIe4XysZFu48cNw1LzOkw4UijG14KrcCnLWxjjfAKsRAX8+OnY6Kb/VZvNdFIZuZageXpkv
7VwiGh0Pf+GOq/VxrqJkqbqEPbDZSF407TAANmqhP4rWxflIUS1tYFIYKa6M6gDUEZ5Z2en35tgh
V7x4vS9DSV22jXstFqxvk6tqvaect4wtSjlGjCi79nqvO+lOfVDup6uKaNtAO0hlz6fYD1BozNET
LJrb3j6Jq+3lrh5Mic+5lmHlbJYPY+JOcAqvjNlVciVBLnT7JGoy0XVqKkTh380SKm5USXELMd2t
zK2/L8YrU05gZyjjKsfA60RC7ptTfdabTb5+S/syiY2Z2QRL9aHwEbcuj/lBd8sPvc/CZUxNPUXo
9jeE4yCvgeNvR3Nlm0PrhaCNWqtAkZrK6LUeZrCspYYD7uNTMdaXQZ6RydROaIF4Tul0l2X1u0AJ
7scUNEXFYFNGzFJUn6cqcxtp+JoFyqMcEydv+h9WTt5raX+dixptE3L/TkOzbJCO9rIsbpdnILeU
vHkpHIzle2haTGxStHZTml4YgQUl0fHcht6z3Dgo851j2XjSA8sp5tmp1ewuNOaLEZDIHtru3ZAw
ThjrYCFVqEqap82lN2rjTZi1tV0miPxy+aINhi2lk9MZ+hXzE6iQ6+lVzkwnNcPLWFXeYhpuPVpu
2xPJJn33vhzQTj9anlY1Dmj1oQ2jeklb3QUEkyRNrH7NIjWy6Wz+IFHf25XyIR6XAe3hpqO3plMG
UGSlynWZm2sSxKd2gc6ZWV9mHX92Q7VjZY53aieql7NYYe+LcvjXmb0pjwMSJFP02AyebLqW/KXG
XBy5RNk5BvXSPvhtptzX7suhXxH0NNJiuO98BpWjW6Z2FYAPDfz1+X35VByWUMi6vnn/a6ouK1TT
LP01lFvdXmEj1URWES9l2SOYAe6X/Guiz4Ixxs0rcmWEiwdnYymNlkn/xYunVy9y8WKZDlUaZ3//
Nteiy4w4WFZ1lc+idaSQ80QCga9FHtuwd0h3BWW+v29kO7peWeFuj1pO0N0Nhny3+SA74Px7WC7o
O3MjPz607uwjxeQwKsz5yDIn2UHEYS1aJHeBpFZjtAGbjJ7qhxx1Ev1LPIqC6E3HXy2RuyYmCNIu
VdqxOvE/VDOMDENMVidaCvdO0UwIdbYJ4tsU+rNGVHmNgpF2PRYMUG4fq9VyOPcLjbRLMdNG0Xw5
uO1t4WPCx0G467D5dZSyHvc95A/2UIKTMYIIQhbuJuiQ3NJTFSJ4TIo9csYbyKq9MA0uxTcvSW2L
3gmbbx5W8vuPPQ6nTNy0RkyRrinm77V1ipv3+wvaDlpWBjhcSmUrncsFuJRd/xnlLm8Ys23q9L72
QG4HSKIEdgHFBFwr/UWktPSHE/e2Pu7EkTrr6z56jZlYWzcqS69CPhkIKY3b+b53Z7fxkJvCmdMf
QSf9VxE+Ym4KTIEIIJ99Ldq5gqhNjmRfQTyCkh3V0I9mnSE5u7/R2x/ypyE+BavXyzTlKYr89Yiy
TBs4iykq626aMKhCkLk0LZNP7cVzOiFCwpkrJDwqq+DUdEIxZHZuf7s3VzY4+Oh1zRqmPKJuECkX
OTe8VC48Q628uZyOYSaindk+byZBqg3ZHAhNc+ctBJ96R0En5i4E+Q4gY4dsZWangw1OBRtTMEIC
n80LbWWRO3EDiaK01Qe8IOqbUXtWm9FJqtiWrcD9C49YGeJOXtKjfTvr0cWAwtRZtjqvCGfBk2TT
I0DZoytgj1KRz/71/UrHqbDy3oLK0XKnJs9tJ0IPtv2/uYNFVAvDQvjH59vyKMu7RcLt37mjlzZ2
50pf2Txe6Mkfuy/ktoXSOasQ11fiyUc9F3Yebz8LVn8B75BdWVCzw7OHHvJbinm24Vo/QP3EZuJ+
I9oPEXufcRX4hnDGePOOW5nmdrdK86XtRkTTTP+EVVXMk/6tRpzA1lq/NzGiJSLBYD+5t9/cddeV
Zl5mGVI6E6aZif59Abtkv9hSda9ooqt1+9tSU6WEKjKEXH91njYPlHSQIOXZn6uTccwxbZ8+szMn
LvVvtReAoJMYMtILlm7wzf5UA8cZSpaYgvwASlPpK3s7W4+pEz6DR+JAfjBhT/Lx/33+1jb5ZJ+E
eyeiKj6fkr8jBbhOKyEXMdsi7nP9YoJDr7IIzJ5maC/Q7Aoide1hgWgVfaqvjJw79kWKVRvH/Rdz
HHTl+ZCDhjvU3JIkjqm2h0Q3RPSVG60Gv9jgvMLItNxKQ/AAM+LFCRxF9GQ96H50tgQXprIBxL9Y
YqtdPV/0Ju9js0SkyhIa9SOTXFWPoFNL7AaCp6GD+eTADk4EVImYhHQrYBDe4YfoJPmiHsCNoPmX
P4ULzI00batcw6LpQfPVY3yAT+KMi3I4ou/HYdlQTGMM4UlWeczsMgT7xPO+y29vqcbO82u8wyGW
OkZ4X2Da1DWT7hwH/THXU9cEX0eqS4J34QY4YsveTHFIFaCilMlMvCDSjiT9kOZ+Z032/nK2P8ub
Dfb/Kw/RptJq6hqV5uTUneLzP59FrGn8B3T6aYdXj5lSKSvrEbfcCCTUnfJTeqN8bP1/aLKqT+Fd
KU52C/aPn0ayAohaFBRxeaM6qt+zEs9iR27qxIhFfKRYziHIqyZRPn8bsd6WykFICt4TtHohhmTF
aDZzlbQOpk8wONQcsgMavQQRhGiZHJyUk0WGidV0Ot1Lli9jdUwTgdMLvIRyOKL0w6gp7OsxQkbU
AQ8jLmjxi3f78L7tHIcR8tKMGO1AgyMBQZzWF36zZKd9f99qhF4fKsoBRIBKbW4ZgEQMqB108G51
F6bhhT4sTz2MV9bxFbrSMwSaD8LyxEY48IttDju0RJOGGA0T6DEzz4yElD0R2xMo0oVdZsIDx4FH
VphocAwhpTRB4bvy80Nz0W4wdnhi874g/DmRe0WYoRO5Iocmaq+MyaC8XtYDKIXRQw8J149VfRic
PrbZ3HSvgiVS+MQX2OUT20jxhGbRytStaGenwY90vsTg1t53HZERLhKZVQoHZdPThnHOkEVuRx9z
bgI83j4CjI8D2QoV/W6/4nHRTOhDVPA4LMfALZagBhkpOIX2V7J9h70Z4c5ARLRUk2UJVeCA3hc0
/V6T9KRXuhfVigCctuoc8Pk3W5zPL+CnnQowuyAfyFo9QASHgmPrJxm05jF3cK4vjb+/OtEWcp4f
RON/UMRUKltaMnteROpZ267wtijOz5dQpV0lFQhm8otSQtr6pksE1cWtZ/t643g615C2MbiP0C7M
tFp1B0l1t3pPDto5BHOF5MaywCkEa3otjq0igWkogE4T3tLD+N6QLhQVjaL5tP9pBI732se1sjGP
lbaALBPvIeXU6L2dj09a6lF0b+7bEa2FuxKjql/IHMDpRtXX+m9NfJTlz/smXlP/vz1MiCJD8p4w
Ul/OhhqHYyjXGDLQHxpQORb3hZtALBjik71bQ0uHNTNJVyT9HIFhFj/sGWb+v9pEbehQxlfQ7Daf
e2+5QmXDH3IUQRjdOcY+RfY2j9NqnRwi1YmVKU2Hdc7WbQxpHSp4pGyNoqjyygCHRm1nxTIUQ5FO
l56q4DmKR7uc3+n6VckfWuWFmk+ZUMVTtCgOlQKZDIEe4AAnV/NQ3LNsywBi0+Vs2rKbQ/BPePeL
LHKoRMt5RlsMbo/gE0UQlfnpS3BNT9ktq4ZED70tynNs0dD8sq8cSCWjUulphvpc6dWzjSmiCNHO
cJS+U4xHP/VuYMP0nVwK03/bmP/2RXnOvGJEt3bC0nIToCtyQCTvyh+zVyYHxVbeW67yuH8m2FJ2
jgTf91EaHQEbNJrQm8XXusTpy2+TdpN1PtriL7H8ZJnCWjo73nsm2SldnULc00Qr2bFY7jr00iC7
elQfB0hHstFv+Yuo+28T0VZbyqHNHOsgsA+R+27HT8NynefsGpNcdOdsZiZWVjhoqdtUmTrCSiU6
9RcwdvZF7klm/tQpndtWoSMtnWsW9bvCTD/sf0LB+eCp8sIsqSNNRmw8zZeUPta9IOsi2kAOZaqp
wbgum+ALog+5hP4V0HeRxN1fxOb9RjRKLQvcagr/4oQ6PWZ7WQ4uJOcsv1pJa5u5n4moVbdjg5Ud
zvnaZhik3kIzBbmrrpAcBPV58Ext9ENg+ozNcO4va3vv3pbFOV+9jHNITaT5rGnwciJ5Tfs9GUTZ
qu0ny2pVnPfFw1j38giIXO5aL7uHnudBKZwAqraFhzbMA3ub/d25elsad7tZQ1vPBesYk8vbMTq3
0SO6OPZ3jyH770jxZoLzvDyToNfE3g0xpHnr/DjPH4LF1+tjI3/pW0kQHoi+FXez9R0Z8zRPNTcp
qa2Xud/T1LYKUZ3/Dxj/tiruPkNFicQQ3mJV3OyVpHtAMxHyAiZuFabjAS7FyN7fyG2IeDPJXWhp
PEQ1GdA3G+uXtnrpasGHeg0/d74U/4xcklCeLJbmyGKUwuNjfG4u8kk7REdUP+5Ep+oPW2hieB78
dJgM5NZDZGM2W7QsIqsSIB2Q43lef9AOTDymt6d7uP5f+cZPg/yTgupx0ClMgC6dweERzC9yknlJ
LYyuGB78to8KmCWJBcojjID8ejdGElpMK4jKwjdAAQRF1EG20cNls87xNrKLg6hnfBsQ3yzyEYdV
kCTGTDNryUgAHPmNutjDGdShKHob+DNC0WtpE+lXBrlkQKmVYVQtGp7Q0UM4mnZmPAdpZavgkdp3
+s3zvDLEQT1kqqdhGUIwAySD3yblfVFRJ8rVw/9mhn3SVTijRV1clviabr6c1OhjWd+UzdO+iW18
Xy2Fw/duJllGGkyjDn7/DoJT6LxXPuqgVEJ/7sVy1dfWzn2bot3j4B0qeYNVN0ihy4rhJanqxGr2
MR8Lf9/MJjKtVsZBfF13WdDLeMLMS/hYTJVbF/R534RoJRyuK6DumwjBi6WV3kvDO6U5UVEjy2YU
vVoFB+klejyCtseDIXutBaAB4qCDn0zYhL6ZBl3Z4eBB6cZ8glQrezkzasXYkx4Nb/ZVT3kvtCX4
MnzPCB37Ci3ayDhEp8mVPcNvX+KDeadfO3TZJucJExCCAyvCIp4ZICVlOgz/R9qXLTduc90+Eas4
E7zlIIqSbdny1PYNKz0EnOf56f9F5ySi0YzwHac66Zuu4haAPQB7WCuUlqKbaEf7WXYHujfRvTy7
ERpjKhfvH9O5rh3bseSypybjJpqqp6RFT7xTY1ZH2eU7etB9ctM4SzwuTqln8ILl4hGuOPmPht+V
x5BHoQnDANcacjs66GO1okPmJcA3BbjN6X+ob2++TVYrXE56Ja+PyCjTGfKMivh9kvwAkJKrtgsE
j2HlFCCWrbIfAv1bBCY4zs1j+y29Es74kdE0gRleKH+fKZiGsMHBjfauWwStXbELmujZajj9Azzl
Zd3KVJQlnhrg6wCAvkle05yjNjwBjFMRxUlJdAXTfmqzq8lToHCSZJwoyVKhgo4qmUuKhwOpEksc
XFUxkTa/i5KH6+rPk8N4lIZWWZTEiCxm8yBkphWZ73pcWCrgKq4L+hc7wyQ6cDdB+cCCJYvmlAOD
Fo/H2sFMHEYEAG3nRh5AlpDyk/+Hq822378IZHSgN8EMLqnw+yI63EHiaZ7S+Mf1RX2U73435YsM
Rg0Azi3pxYwicB2LbplHB9ALeVHT/aLzT2F4zXSyQ1XHDhXMzA0JSEPM54nkbinUIxB4j2M6O7Mg
3qt1u6uk6phVmlVjtiCtkdsFXJuZgldSAN1pXPqgOldKfKIAtHv4XUuoVU9Pkdb/6NsI/RaVlVK6
K9tvZdy4EdoTWhl9jBO6WMrWjnTiShqnyP4v7vqyeCbqhehWa8AlAQbhh/je2M0AyCSPLbCaUXeH
q5Y4eYitbiuwy17kMbra004lurK0zZ+0U4v5w9kCEhMFJwd4khV3SRt3Vo0x4tTmEjQvB3nloNkH
jtAbaRyUyJOptz1oh0I7OdD36Q2XZe381/U8P0z7oLZ7Xr6Mo8YsgF/TdKgvZGj6TZtDNPhN68nR
jqPGnMUxITAhpZLPAgLElO6T3ldGjpPZvh79c3Bs/3weNwr6lpeMX9g5envq6FkNfoXRPpYOLebb
v5QRuyiKxgQ8EMxrCl2KTJhv7NV3LeZFNd6ZMEGN6IVUtEsFo5PfEoqxkfuw5zRDbOY+VmtgvJeY
xFE6C0hbJs1Oau9U/YnIO6AYWaX4ECuie10DeNIYP9Z2Y9qMNaBVNCGz5sBHr587t+9qeBxAp6Xz
yqi8/WM8h1KJJbwmrElo9kYjW9L0lDecDdzOSax2kHEXRVfOfSjjAjvY6M4/Z+/LtTzcjy4Fhzuv
n4/nDPXlEra6ZGl1oGZlDZUA+Yru4aFpA18K5JF4SotO88iHl9q+gZhIFJCl4v3xg1YCSZKXQzGj
9zQDBo4uas91PX3pknMRwdgR7jhGrUd4nMktBejJvDOF+ksXtYsIxpKUZIhbQhFDzBxjGkT3YjN4
ua7b/6IIFxmMKcnKpKXNMhrZok8YgzWAXY3QT1r5oGHlJ1R458KYEoDnFCGflmGhPYiOfdFNkI0V
zrpv3nZP+QN1eJjOy8//PTRdlscYkwqIwDjsgWs79GezPozqfpZUS+X2PmwuDFkp9Pdr6OFjS0WC
Jsxz0iD8zo0PJ54IT5xz2oyxKwFMGCJajhmrHJf22Nd24Hp5XSbU3lT03YA0Eeko5Y3+iVZP/0uJ
opXc5b22siQtKdJKC4A0HveHgdRWn+0VykPW287hYB5O1zBfLaLQ8VlKMqtS18t4MSwT1oNXeYKd
H+vX5e6i75Kd6Qs/ecm9Tc24iGQvLSJtoyFd4F2HZC+aRw0wTMAvV5zr57atF/8sjL2g6CgDmO2A
ZsEu29dqZGdjz5HwL3u3TDAS/Ec+OgpWJzRgykDNx4/WM6CiO/0NXumuds6PjdOhuR+PyJPG67Df
Qq5VRGC0/i2UsatOmDR0aGO7zMfRQeOlpbvDUfTCn3+hC+uYfH1VrfyuiiwJfWHiPrW5qYLNQKkC
Et4AwbIhsbU9sxeatpVRZNEfpF10jA75sX1Nj2ONjPAyZJY/i9RqeGN6PKmMw2wwuRGhkxsN8VVp
qcJ+6Csr+8IEiiKulsb4SfQyjr0Aum9H089qdtIJ59K5rTQrAez5yUFdJWUBMPUbHRMS6Sl/ne6D
fe8uDCvhAeQBD9yk2WZqZyWTMfKQan3aYMQaifPAa1C/X9DWSlf6cxn7H/Ytz6twTopN0kW1gPnp
DC6z7HNfy4QbRReeqmHgAfxy1sVm5oIyF4SBwBbim9LXbpYQOnvyNwkFK+AJc6llectiI0E/kSCP
cZmK+uesOqbIgWQ5b008IYzbl0IJRaSFYEL1JndBstTOwX362ux6dyE8Lr4LfsAlRVx++W/B+qIg
LFZnnOpqMHRIh4kPC0REjkw+fU6BDiHe8LuCty+lK2nLFqz8JrqDyrJfoAP6XXgPvB5PQjnOL/zc
nfbTuTvwasKbD72VPMZxKKM2G6mJUNDv+pvO6/eK1/itxxOzfaNbyWF8RxgSIygxeu7UToBW5Hi3
VEOMj/qf9pOHw7cZRVfCGD9ilFottDGKp2ZR7ymZfWzoLikwRTNX5+uhdLujayWL8R9KIol9uXTA
i4doL+2J01rTjiClwUPt3Aza/wjChNVnzRhmcIpLPe7dDUEersxuikThLOb6vqHd77MIaRJKvaug
6rHsFPRXJzcWzR7mebCub9p1O0b73mc5Yy8ZQ4Hat1PIt1KlWwZ9ABSWfV3IxxXj3w1XFllvMQpt
i3Qdkl0eRtfRP9hiooq8haIldzBf4KqcAAR+Hx64xW7e+pajXBkxkZseFDl4x/a74QXPSvSkF7+C
p95e7Dh8j934nRfHNm/imEoGOxEY4DQ2YZOaQU6FBGFFQTqAoqheiTtV+25UP9Ny4F3uFj34fWcv
wpj1TXMYJ8WwvNMPo6Pa0j5wiKN56i49/Nd1sf4QQClxg/YjR5yeqHTUFbvRHCW918B9zdEX3qoY
V9iJxdgCrQylOs2iMGXB7t7kH5Kb7LR73gtwO7e+Oi/GH45BZ4Qg78JoFSpKops681GwqSefJCDU
t55xz6uvbDv6y5kxPjFtShIYE5IPY/eNRD/0+E5F6tqobkCG3dFb8INy9nPbX10EMo6RzqnQkBAp
vbbZK4of8rAcON9n0zd9N4E2qMEOZsVdmj6l2hNHHzg7xs6Sz3Ey9VWNBXz4Dzvcaa/jXr2Xjgt7
feKru/6WZBa5Q07C5g7Ob7uQf3ZPZ1ykmVWSmVN0J44pgEOmyY2z3qmTmVMR2Pb4FzGMj6Szjhxw
ijXqWmObQrmjhJaWMSiWoJOeoxG8NTFuQxWEvm9E1MKz5ldWPE2mF3NpingyGH/R9r2pzR+9HYA1
6kKLRk7S87g2t4WYRDQNWVHAxMr4d4nEOqHLZRcd8CbsVvpz4hGxb6v3RQajAENZyxGglxCL87dE
dwzANl3X7+2IcRHAHL1QprgnBXB3cxLbc7kvBB/NrnUwWGFbcmIxTxZz8vGsN1qytAnoxutAB9TB
8m9ilfpaOe1MUr9dX9mGUoMsVlUlsKACzEBjdMD4gMUxwUSd1t8mTB13sBxpXwy8pwFPDhMwEj2W
ylKoRADh7cOmdQv13NKTHpTO9fVsqNun9TCxok0nUhkj5Khda/Uaia2siveKkf//O4NPcpgQQZZ5
vorqIkqjf4ztn1UFVSCmNRJetuIDWoS5QHySxMSGuGziWREI0uxu7c/fQP90lz8le3IwkGnL3HA3
vCkP+ctsC39mDt3NL/VB/87vs9iwsfXPYEOImI+ZELYKDrDdB9INFTg95rzvM36CAmpILCZZcmh6
0NRbwgXq3ghRnxbAOAm9QXwyOxE83iiYZGfRNR9rv/PKx2mwIn9wBn/0Zrd+kI+5zb3lLh+/cog6
40CGSm+LKjBEp2uCGzWvUytKkCGNMOghj+dU7H0AR98A79MdSb9Pi/muCKeM48U4tqEznqVo5iaN
gQPjRK0BoHqUdDXiDmTkVLJ5G824lJloYBUQVaRjMc+SHEw38ZeJft4zecNPfjpPxqO0GdCVZ3UW
ASgb3vSKehNVxils212baIdu4LGC8sQxjiWLRqmSamyeKf+clCcZicN5eh80n5Av5A4/rYzxLaau
mlOlwuIVucJEKfXHwTxfd5PK9nIMAnolc0k7M8tJwyTXhxp+n47UqTBOnbSRE2iGrWTjMSkAoJGp
vpzrPi51O1l7qyqxtqYquQeb4h5IGLdZhFFsVNRFobXRWn6SyPAY5b3ozGJ7qmR6U5mV11Bi1zGx
9Hq8qcL8NIPAivT5IZYi39TnXTpothSR77KeHauqcrqYi3K07VcuC2U2s4soIDUCLHTJWYov6nO8
g8FnHm6L4Po2O3AxcgkReTIZly1W1SREPXxZXL6JErWClhN9NgVgkkSRTLSHY97086WqlEmTKtMs
OWg6skTje4DK+XUF2Xp0ofv8IoLZN9BADZCRSn/NpNt1bgmudF4cZWD1t9MxvjWerovcvCKsJLK7
lhqzMQBd31Gl+Q816cF4rWZWFCsPgRJ9uy5rK32+Xh4bzqQkEYNxQDQAzComZWYfSd9TYi9PFfUY
WAuEDC8IcA6NfSMJhV4DAgIOyxTDA9XHI4lQRP+P65I/a0YqoWgemgg0tYPuy28GIFVix7xrLcWT
7OonyIR+8aBVNsPK5dzY2Jb05VxpmPtwqCZaDakQ2gorn1TO0jjqwUavcuzC0gwnjGEClanvjnX3
MsTPY+JxdpB3TEz4SipZLEVpWO5bpS8fZDdyw5N8Lz4WN0tppfY6HhXmVhcplJEAYdhUgPrLossN
aThW7SCIQDeebNmmR+GkoqzeW/QmflnmBtXvgqO71xe6GPBvVxLU1VEEFAmw5ZgrST7rchAMLdZp
Zo+kxpRwk6Iigat5Ht0gAWKnUcxph5CXb16Tuez9Ktk3AkBXaJtF5jIA4grfFKTDMJ35mNzOD9RT
vMlp7SS0Um+ZfgX99X2046nrFiwjeLcvC2cOWMm6YUDdUUTnjPKtBOXhfMwOIWDNmrfZnkCqtxPu
m31upxjVnixeko637cy1JRpFlcoTHE8zU1ch07Pei7u6IqDKVOwuzm7rRDtfP+ltZ7daMRMuDDRn
Upp9rHhwm3PkglMA2KsBcEZA/WRnb+pr9cqRuTiaa0fNxI8WiNlxH8IrDHYN+EtUmPFnPhtetQtd
jXPl3LTZ1QKZ0GG2kSAmSiY6enmnN6d4euKs5rri6mxBQZpCgSolbjfJyzIAJu0BFmQr3tL9lPwv
bM5bu4cKjwwAAcxqY1Tqs6HIUa9nXa6KaOpZQB4wCuGmKMcvlJzinju0tLV9a2nMWQVFFOTllCFH
o6ILxezPdRt9v76D2yKQaQCACZ4xLJphIHeBUM0B+pOC3gpLuicqt4y7vWkXGYxpGXEIYJQYiOAd
XniivcQ+4mPY0SruW49nx5tGhcazf1bEHFEWSlFVpuLiy5ZaZ+oordUeKwxWKHZ6UOC/ck88/7dd
ZA5KlOpWzAVUnHKx2xdqe6QgT7ouYqv6iEvlZV2MLUVy2RtaJMOWbvWDAeLyAGU6NLZ+W/AJQ16Z
mqMXLFKgJAAhVsugev1OtOkeqn6IfgHIz5KAjducxNeCk2fYukaslmcweYYo0YecEijJNGOQuDuj
TnhIesBr8otqW05jLWrR11W0CyQAro8zRC1wB5FhNUAaS/zgx4Knr4oWH1916yaG9wCYitFQQ1SF
iWxTRxUilLgiGcG7NALMr38eeE+PRa1Zv76WwRhZNEYT8tIR9g/ZTzqKyE82ri4cEoAVBpJ9XRm3
D+uyIMbGmioRDEmF19DqW5I7enBW6bmnvBz1v+j8RQ5jV3Kr0bFoYFdgeMYEYmPhzueE35WD4mbo
c/Wur+pfXMdFHGNiSl2oRV7DdRQ1umlnB7Nu72H7Aatqetpt4Rdo3Zy447eco2Ox9qSkbM16hFjR
kzANtqyzsslb0TrtwfDQFXIL6ORHDMb+vL7eTRuXwHtiGhqwbNlSOYBcw7HJkTrsI1fJ/HB8uv79
TbVffZ+xswlQfmjSw/fNkPhD0vlkhGeseo6YzWu6vpKz2PvKniMN+JxBhaA8PbTOLZksFeVqAUzZ
1Y82s9C1BkoQB201vBYNeVG/32xuJXjZ4JXgRJpL0mdY4NLLo9qdK9voUz2C5PeUIAXc/BLcHmRV
0Y1ykNwmt/BsftQOuUt34a145PVdblvL6ucwbkbKAqrrS4Ro3HkBMgSIv3JecIaAFepz0R942sM4
nCJsTLVOcmANt3brzDvZTo6SBWwjSx0BAZE59TPvibCtUCag03Uw3WkfybPVfgNcK1VaCkORkesK
vlW9V7RfKYjoaG//WwbjctSqrVXg8kqONANlKEms0SysLHmulca5bh7bG3iRxHobcYoGKUhwu5sz
q1F/aA0HvWsLaR442Pij4DaEiWnGMIrMUBMaIdCpt7kfY6A2vgERByYhl0CuW+FkAWITKrrE9PLd
eOPpyOYKV/KXf1+dlwzylrapKVqr57vMPFe82sS2xq8EMBrfN31chxEs/4OUZze+0tvp23IVN+9F
j6d92+FhJY3R+LbPRcSiUcS8tbaTrNgJJYu69Hb2Rpfsi6fUHfYVDwNiM+G3PkQm1kqRYiBlCzUR
2uK97wY/FoIbU1TdVO1cIwZOlGFEP8IY7x6dAkaxvh/Nyhqouhuk+PG6ym7GfQX1dEnTCeyP+S1y
VpEM3K0IkKkj0Psg/yNNH2OZ1/a0GRBXYhgb1LNSwsA5uMdIlZ2iRDt1JTrjtUmp8FfzQpKAV4LZ
1NSVRMYWjV4d66YK8USZzIda6x+R63Sv792m87qIYCEvSNOmcSy2uL8nXtz/jEt7EArruozNZSzs
c+ADldFFxdiDkVWdFgoCHveTr1HPLH9c//7mGlbfZyxAD4WqEFFEchJwomMWFM0WDW+MbovVC6WU
yyIYJYvCUBRmAVE1Shsfr5BdN5fAvY6lc55ipKnUdqGgLQRKvtDrt1XFQ27Y9iqrH8CoX4H68VBH
BCGgHn7Iobiby9SnugJLC8Nnqsb70SxdEED5UzFhYK31kEHkvCh5O80o5NSZ2VwLsHqNnKbJo+qP
gkccty1CX6YYwOqK/OZn7xwm4kzLBlaWzuJRnsLQGvPACYqcE4a2/aZ6EcSEoQx4SjSbMAcy7kan
fksdejDc0Z4c2UocZeG08HiJJ97amMijFI2ZCAOqgkRobBTtrDB9lcPJ/oo5XBa2/IpP8S1SdTmE
1yC0sRDguvR5NiuOkO3r7Wr7WKMbKyNUBDgO9HA11uAVHpoaFsaF4X6B464wxFMcRwByX1/c1uAz
7PCyOsYOA0UGEhaIGz94hpL98EyB04N6E3GEX/oJauOGz4FbPOqxLXPqaJsBYCWascASRLf9PGFj
TdCgxLTy5rbYyzmml+LyLp5qjrhNt4lwhukPxDQgvn0+xxL0V11Yl0h2NH5Rv0/jr+tbuamNq+8z
y6kASTrko46HUBfuGlo6IhU9wEvuviDGEE0FrD46WEOZZTSVIhvgqUW5Qj4E+dlE8Sx5+ooIVdEN
TJOBE4fR+EA1synJoRNA7T+EQuRGWXeISv3hupjNAzEuYhiVz8ZIHamIhImSxy5aTF2q1N51EVtn
YkiyhMFCU0YnM+OUYoEYUYKuXEcCk49BUFYcUjsTqHNdzJYmr8UsK125iCqSmmlCLhnt6C+l/hPp
DKs3GlsCl+vAhQtYcmTse3QtjDkdrSiLvtcaPIQP/Y3qjvuFvuSjYsNFmd2s1hhLsUY1VXCqs2Bo
QRykXTzWuM6kTvGypN7rvYlZjx4UlcQ37dYF8+gpe5yAIYZBAk5+cvP0wHYNbZdUFVzEn7d1GmSQ
hCvwidpI7LQOD5E83kpz+Hj99JYo+9uGrsQwhpt1kgHcaGxoCioTkGDcLnVomdsyw1sNE+ypLExB
2cJwJyBgT+a50E8Z6Th3ww8vdmUx7AW0bVUg6E6I97Hf3AknCUyx7Xd5AM5bD45Ywct2w7F+zm+5
E7bLReKaYCa1C8yfopABYI4ABqSjFlNc9VHtrKXVPr8tGvs/r5S52dS0yYdYhW4OB+LhGrdPv6MG
YEXegpmx8OqASxugm/9RKQnjUqApWTJquH3nNfDz436vZsCaqXJOtXbLORoXpSSMS4miSDb6JUtJ
AVYd30mjf13pOdrITn/muTaWVQvPGEWjVYSJFSkvRsQDzt90jKtVMC6+zHttzEWcEREeazBoJg+Z
9KiK90HPG4rgSWJ8hWIKgV5mneiEc4Ikp2Tl4DWjoey3XeRqEQ+Zj3c8jM8YW3GqATWLEqHyqy1e
5pFzH+Qth3EWZp4NIMODT6ownziHwIaWXlTzLYx91eBcKDhLYec8q1RJSmm5uIvzSUzPZXG+rmnb
39eAzASMyyUIf/biejPlrZGhvwI0fs9KkjkYAOLdYrdd+EUGcxxCHpWm0sFagjo9J2Vwp3f5+5RL
fhnT27gwnDqq97VuuHWVnidBc+QSkzklGA/kMbW6IvH6arZbUu3nQkYi8Evdn4Z8+YHMeTZ5ARoO
HYYQy92uUCa7SVULk0lfipjoY5EJqPFwRWT2uhXUGK3ysLcGzB6BZs3SKa+0LynnRQrjm2oTUOKh
EUtO2NTf81nrLEy634gSmKHROGtVo8bDAdh8XRqYVf97YcylJwziuhQGtG/FN4Y1O50nWGgdweST
/vhRqwwtYBFzlrk4p98j2kUm47yMJsJ5asv9lBaWFFA3NF+lWHeCiceMsDWbiQmNiyjGRpJmjORm
QvfdmEWvSZm8EEH+ifuqE5idn49gsS/T26Lrd0KR/7xunluDvJ9kM7ZTh1PeJQkurwszEjoao0O7
jwCYjjuQpbcW5aLubxvrZbGMLeCqHvRIWv/VoryUZYcdsHz5k7zLD79yfh+X29WtPEliXYVrQwh9
MU5/zfJqoHN/juzOMQ9g/LaXkhH22M0Hjups+7x/lsjO3QBWQakrE31GcfqG5GmepZx73nb4vghg
Lj9BgsIM3rIw9PIuz/3APA08eimO+n+0k622by6LOkyQU3IyNbwFqpwdE5ScktnDPMtXQhDerQYh
Cgi9WfiXcUK1vkDfj9MYSOL0f8jy9+tKvnkeKwHMdunANu2DEJmiMsy9UTf9vuQBGm1u10oE43rr
pE2R6sWJaFl/burGoRMm73tcg+vCv76azdylsZLFOOBIlQqM9MBkx3r8VXWTYY2dfJKTX+Ys3SHn
ij1Mnpssd8Rk3Mdph8ZytTlf/xGbW6phqAxpT5DymowVY3BYT+A7UFfWgr04hk6g9px1XhcBVfsc
zYYwm1KCdlDgun0n8XHi5iyXY//NQ6z2kYkq44hkfRCa6IsaDTsSjZ3YlQfM/Jwro9xrdDjmwfBQ
tIIt5c0+05T3VpF4eGWbmb/1YTJhpg+NRJ6QnUWv3rxTbRDW7Ghl4W19wDv0W7EbgNouPSo/rx/f
pgNZLZ2JOMo8dUDghcmJNeDhR+IVun4MA+ELvYHrxTHBJehQ2BEoDC9RSmfQAPjGhYrczIcomJ4T
DYISKJvXCwM6BTOFllRhbRHAoBiK31Z3Wu4o0w9R3E3kNhlvaoPbpL9Y9O/acxHMrA06MxpFAAto
nfB+drR96mT2gDbWwBo9vKh4nSubRwZkWY0gIStpbFBJtUo1hBFDAR0dbs0EOJxiJLs1bZ++oBor
OYyzFAaBKJjSx7q6YwwYX9V8kHHHuy5ki/LPBALAP6th/OVUqCkScYjOBdquCehHkXTu7hp7PJb7
hQ0P9exXBZh6pS0eeckK3k4ujmcV2tq0zxLkvdGn35TW3A12QM6jVnGWuOm+VitkvEsfp0FKRMyJ
CE3jaEV4CLlT0dvO4+KFWZr3VpyNOQzhPERvQZjGbeqP/ia0G0+PrWAHOO0COKYgieaVyTfvVhe5
7KMxCLO01Zb0RD5Wz7mk/ZT0+KAklTuoktcM076voi9gW6OH6RJxmAzTrHaAjADcOu5zf/Vtibgs
wOSMW8HTRotPD7WpJiuBjCEkYV63ZMYkkdTiXhxOmFxs65sqSvYcW1g+9JsnWQlibKEMM1MSCiQv
hD3xTKDd5kc0wy85VUAg8Z41m2q5EsYof5eTSO2WqDr17b1Mzf2cRT/+44IY1W+EaFIFMVgWpMO0
F4gKDZOIih27uG/b16VtISV/Ugwmgs4xOhlyvIadxCCPIMs7qjp9AAX2s6lJD2Kfemo5UUuK6Vvc
TX5iDJZY1AclU+/UqLgvyS9BGP1pLqy00B61uLbAIFdb6tRYQjy9GEPt1z29a4LRH8Xu2M7GvWkY
N+1gnPCavwXG9a7XJiuYgBuXz6E1JGFly7puh3X8ghLlXoqD9yGR9p3SotnQUKxsKoEREnD8DU9d
mZAOhkWzGiP4AkWFmALTW4mKJlFevyZPf5iwZ0pzP8kg2nLE+JV0INnIeBC42xJ0FEx0TSaAWf3s
nuNWEBKM5KDxdHqNjc4yNO0rW4Wme11H0w3+Z/RzwEhG38sp7lzBoziWlth+y0veONjmeayEMGrZ
CnqPZmdYdSz8EeVnLbgHUsd/XAizVWY1gL1jxB1E1xEB5OnRUHIrotz81WaDkrFaDHPqJdJ4SSHA
xoxThZb7hXA48Sbwxy1oOrE7HXVOuXbzPbUSyLwvxEwjSVbhtlMPkgXyk6B5k9XQmlseSNBmKLsI
UphXRie1JU1UCMp7sm8DwHDgMSNT6upFaU+032mD9HLdY/F2U2FCmZAGg0oK2NDSUxntlT1Kasf5
YaGjbj36KOw6XohZQshvIWa1yiUEra48NZFRB6W41DXu6EQf7Mr1ftw3u8ovD434FfJfc6UvChPS
WjoCxhr3O2fI9qa8b9q9rnBQmDftC1dhdECpwO2UGQ3ppsYkSo2D0ynojPSndEALTZlwost2fuwi
htUPGojK2JbVUlEbHdldCHLK16W1ZSmmNd8JR+83nd9KHKMaca8IYi/hZgU2I0/HmLYids519eNs
nMLogqJOcj4UJdIHlV8DFEY8lgNH33irYI4/1TJ5llq8+3r1xuh+SZQH2rRtQqt9Wn7BSqExgd31
U4toZzwOf87O0o4NHKxd8EgWyNQ9n29vcaW/WdBKIBMzTMAgxy36ShwxTJx5RFuTHFmzfjepP4OG
U9DY9EkrWUzoMDMxm4sKsmYi3dR6DSAx4hqmXYBEJQ8lFxj0nMrB9ntsJZKJJONUx10fQc3Tm4Ul
3AQLwjBZIrih8T5qMfwWWLJFTqSw2neBf4fjbO6yIavTJGFLJ+BoI0E3HzVyNw9PX1B5IOksA7f4
m20qHxJBE2fkkhwie1N8NxWnVvj530QwS8C9Lkb7TwGrEk5lXFlGeddwkQE27Wq1DsbnyUYttRjB
xj6Nx0i9TzKOGmxG3cv32SkVRSrDYSb4vmoWt8JcPCPzZ5FZ3Xc9D1txs/XMWMliPF2mdXM8RhqS
5D5mz7z+xkBAynfmXQIoH7Sr15b0C4jcYJnE7f36WW079ZVsxgUaDZDUe+EjdzO4oO8CaNoCplv5
hSNiAJrX6sbbVsYdUhASaFqKN5eg/RyC3O6EXZLs8rHhBCueHMYpmvGMyYkJwWOM62NUq24Q3GrB
y6Bk5+sbyNFDtgc56Egwk+Xs2tBN4yeBZ6+bznZ1PowDVA3MuRg1BpirEGw3U+RJQgaiLiBxByIo
143Qub6ezZC4ksd4P1UsKyUM0bynNd+CHG0r4t0gPf83GYyDUAv0q1bLw7uQUDElb8n0WoncuMhT
AcZDaF3Qm7RGXg2V0tNwCLwSVOTTm/oWvzbOcmUBrOcv3hN8e/vQB4shFKCWiExsjJtJrgF2A7wS
0U/HH2PuzQHPZrdlELShKaClAO3d5xAh4ZUvNWiLdApg2eV6ZzfyfVRw2m62rxXAmvtbCmNBWoeH
lB6jOBlHFkGVWbKKZ9WPbhZKMXDhHemOh7C5bUoXiczeVWqsDLWEZ2IGrH7jZqSP19VuO0e4WhJj
SwUa+DJTwWNXA3/q7Ego0FsggkJKBuRozmwD6tgDclpb7LhJ3uXt9NudaSWaMSuaTrQGfh9wiVoX
jQ91vtO7kwpEVDk641UADKcpFXbX1ytv+Q6yjOHifQ/2EpboVDcp2o4mTPAIsXSbKz2aj8xjJ/u9
DrqqMp3uB4k+ZuX4YOSzJ6Y2oMnu6ma80+ruTc80L2hFG9RotpA0R5DpnTNSPkRCdZRw6UoreTcX
ya2uV3bQPQchD6dmsxVg9evZBr650VOtLpHlTBLfCI95chOqp2H02uZmag5Sec4U//qGbe4X6gmq
DOYNVBYYw4rLqsqnpMV+BZNFUsXCII5tlNCI+Lsg7K8L29J2shLG2FeoEqENCQBe0lS08ynf1SHl
rGczuK9lMBZVim05ix1uz6pX3C0jkkiGm8+dI9lwHO+m079dX9OWZ1rLYwwMic54EMIQwZBmIDN4
0SsAeGMM9L9JYWxJMnoFiF1Qa7EsnRz9TKEOpBY9ca+L2T4g+Fci4Q8IMT672aKhstaUwASghRsi
7aLwWhc2Bxbx6X8kMHevMG6qpqUVEtBK29pm3TlNEt10Opp60n5nxLpbTwAO16X7UMPdr4GXSufK
mnOgHUcptQaptVG4ObVGYQnqvI80o7VM03hTY97sx7+o0uW3MrZhUj2caordqB1Aj5zB6W4Dee1O
AvhI7tbPGkd1NzVpAR5RJU0zZJbIRVL1NiHNCJK7ObTNIbQSJJaF8o/rR2xueGUAHf0theVuiYep
VHUdE6PiYUEa133AU7l8ROzN7vG1HEaVarSo9JqB1dTR7Ee0fAZZ22E0Oq+OjCPoEY6TGpzRROnJ
GSbuA2QUk+mub/JdGem7uqidpg9OVTp6Yxb3FoDCv6sp4VjVprqv9oJRxgrNgeMMDGOnNfZa8ZrG
nAI450RZuHO9impNbZeXvEHeIz05GrT0geDAebdt+nAZcOqiJAO+kC2CNxJIlXOthxg6OH2FLQ4m
lybScU5Ga+x1XmTfumUiM/+PPOYum7bGhEQVLmNaeWsGzznGXKLwe1ZlznVV3ZaD/hJdElH5Y9uU
Z7WqOqPGO6MWm13T3xSxV5H+BAx9jh5snpPyEQMxHISx889uT9LEgbbCACKvlNoCLC9MJ2syOFNy
PClM9KswHzpUi+sLmu9y+VyXqNKOP65v2bYMoAcusRwg1YzVgTqwCQtSwL0CTS+5K4jPjbCbRqNc
RDBGM8pVG1OCZejpQTTPQs3Zpu3vLxM76KEGUsfiwFbZIJlKYD/Fa82JxFPWP8TCy/Ut2rQWwGH/
v++z1Wt9lPOulHHYxhQCsNq0lETzU0NyJZO+K2Gwuy5u+0T+j7sv244bx7b8lVr5zrwEZ9x1qx7I
YEQoNEu2Br9wSbJMkCBAEgNB8Ot7q6ZMu7PLXfXW/eBla4UVEZyAc/bZw28f98MV4bFbYV1hoCAU
w43Q6ZFBkrH95LL/4TlLIsDglBaAxH8oD9JxmdNigFNDwkwl52aHbPL/5Dh+9xE/PPRjEoE30U9o
ytP9aq5yX6ufpVL97Ch+uPIkylPujED1S5ZDLJsS0svDv74a8cfX/LEpKX47jOyHgQ/uN7+obo52
UdN+6nhcF3QFZcdoYILirm9HXY5b/JXKJkCtsVwImKbCab59icYG4rHgxkh+CgvxsvbjzTz6tIIp
w6mZ4y+jTq+SJiuzJTlnW3M3zwgV6LIvlNuvVuunfI4fUj/FlVs22M8FFXxeT9OsHoItPI7WHIrC
7o3Of9LU/vEBZwQ+g+CgY9n+/nFCtlIjNonHyeZTCeeUgcP0YspLEUGT65aDiPP/ZDVN4GRFQA9M
gLd+/4n50qhgjlA25QsgNfE2LN35NP1MdveHm8PvPuXjZvrdMpHiYdh6AeOgtBkrjjCMOEhLI+/H
7j+YNBW/+6AfTmAOrjtxBEuqDR4zDa/C5UpHx399W/7xRfrtlH0c7O8OZjFBvzjxMYZkyRe95ffD
WtzkFDrqadhviT7ivrj/1x/5h+vS7w7rhyWDNGHRxg3BkuG2yzVv9x20M4kLf7Iy/eHHpMi7yyFL
jVCcfH9k4YpdnE/rBwfwwNQjCSU21+0nd9wfKgTgVvHPT/lhT5q7bGOuh5aeTdF9s+U1T2hbjjLH
nTHsQ5ruEgSQ83XYD5E8WsFvWtNcwSRsP07D+5ZNP9nDfnbUPzwCEZrcDxdffB/6ZoInpy63+Gc0
hj9uT3530D88ARwpgtMscdN40L9agOfYzurlHMe3iyBhBNXkX98xP/3AH54EKJx967T9MHT+SEtE
+x5CczdAcZdWmFzv6M/CH352Gn94LID1cZNGFitJ/E27vgrThzl6+etR/dfb+t/t+3jzt7Vf/+V/
8PPbOHnVtcz88ONfrqd3eW/U+7u5fJn+5+NX//lf//L9j/jNv7/z7sW8fPdDLU1n/K19V/7uXdvB
/PUz8R0+/uf/7Yt/ev/ru3zy0/uff3kbrTQf79Z2o/zl7y+dff3zL2iLfnfpPt7/7y9evQj83uf2
RX7Fafjbe/3zF95ftPnzL3H6K0jgUPN+4Ewfzz92Wff+8UpEf01ziGwoCkfwYmB++cuf5KgM+/Mv
ya9RnIQ5RupA1CjqStzQGnsSXgrIrzCWgB02+FQf4/g4Ib/848i/O/u/XY0/SStuxk4a/edf0r/S
H37boeE6g0TKJEyjqCDwq0T1//2K4Qbf6yijdyxv0/yoV02h5fSWIY8jScLLDDvu0t3PAE2v0xbJ
LDnR2ZFo0p0nWxbfJszO1wgXFrdQd4k7P4zseU0KezP6NfrU2Lk4W1zU1oE3dKcCsdSKZF130ION
7pKCszrgnJ4IWreuIhgMIKOA5+YBpRcpSjFYe2thtFZ5vm0nZCUnhykexrsxJc1ll1vArDZBLCrC
w2Dqu+TMJdVKfB7smVHiTOS2ZWWvCH9k3hoobNpkmy9IkUxirLdU85DdbiQZeLeU+WC25KzJl3X+
tC3j0vQla6YpItU4mNnfmxEM+fPFJ21zS4ggBUp+te0A+Q7XW0NhVzaukyrbxMnatUO8b+m8+LIN
lvQu7hH+jUXbw2GSFuNNqCLPKxOQ8CUsgn43YXdta+PCZI8gL3XrP8jxuJiHgU7b89pwf3SCYhoT
DOuxCBGpYLTktYtW8+x0gUwbZwMsQWQzwYtalf9qIpb2VRIFweMyuLEKeWKqUUxBSbuu9Knqrj/Y
HpfjbPRpDSkMDmOvC15mpIGe3jBDBaAvkE934/rBJh/g6lCUXmXY/Jskm+mO9XRKy5QGGOS1hL4h
4N72O24XgEVjS5Fc3PbUHpdgk0CSGjOQfYAx5Ks0U3/GUzZhrIBmdilgqLdTbSZgftECPyhdMvWH
IUymqUIbN9FzDc/C8cDjYmmebdTwNyKmGbsOd0UZIgFvu++iIRKsTKM1vxj8IE6roK7cBp725WSX
sJ5H9+hbDNIqz5bhLOOGmH3undrriLbHeF6iKnSmv4VP0pw8tIJLrICLC1TZtFH8AB4Hv26FHssp
S3FT5QIerCUXMf/gu0N0xEfFSanWKWIVWyJw4tsiaTgOhqZqp/BAsx0PVryBSPx24YK5e/I6k59N
MQz7JmH9dojjNVmBKRDTlF6L8LhNG7vCsuyf877ZjiQoeFatLnHPNI5HWxarALbrxsx8nWgzplUg
gwxO0wWDIb9O4Idk9NZ94cIOCIQfc5CEhMxoUZpEjlfrTMihM4pCIwmJSdXP4fiQeMzVnVxGWF9R
X0Ia3ZUmm0ryYbTpVb76UrWbnMox7qaTtH3x6oBRVHKb3Sfs9/2hcMHWlrRFe1Fq54orFUUd9i0a
UJi1D2zGaeKb/ib1pG+RSz4cZdzzVzJJcrMyfNPDsAbd148GPioXKllXLzpbPslpie7CZGQh0tKp
ldtUU+k6a6oFmbsxgnxRbTfPnrd0+NaC0JYGZeSyzZ61XRu6vuxZjtXAxfmO07VrS6kku8q6jehS
p4vml5BqYIgHi7cSHshLNWuLyQ12RBiUT8KUbN3mWk6sKI5Zw7mtFNf+ydB5U9c52tx5D5sPiFtB
tUfEil3Sy9XyXBwQpsX3DKwILG7Dpou7dO0HeXCd706Oc/lmGTH4Ph3lTXaY3Ga7Y6ZXdeokkdm+
Uyw4JL4dvlqLFOjWBUnNts6ZatNiuA1w+R/sGIsvBGvRsTHrfFXgmT1qpCpdzDIzO7FEeMi9cmdL
ssRgrBaRZHVimNjz3phah/FcB06H903r+q0k8VrIUmhNXsIAj0yBxqMKOsI/ReFjG+wsG8NSBvd9
9ogm+euqpq3Mbd9+osuI3IR5yNbKqLz/JFTXXPmA+2tGt6z0U0S/pfHAzy2bzZ5Yas9z67c7PMok
qs1E4TnPw2xAUCxSGlkJ8JSBnTCm3Q58moJVURc0D9QmW92t2fLWowM/J3kr+W6ac3qQrKEfE8vF
3ogAtzX0FclxCtl0EaPWfwMg1F8gKWMWlTDDUI/C4mZkq7RfSMgFjO5MJ+s4jLbD1m54yueuABwe
dvEwlRzw9LcQ1/kOEU/6i13H+Zgg6BNPYRNmNx1Wp9dNpzAALzy8XDpMuOFX0D5iK1mPecfyl82w
XYGLVKIBkZUSiXuYgswu5wYgSY1pu39XVA0nOqRS7k3RheXEUnMlpC/ulnAdk1LPi+K7bAsKV4FA
IviBGOO/dVmnnMbKx5l9bALd+qXSivIEQ3zpEALE8m7GsIm7Fz6G/GZdWX895/NDIaOkzHGP3LSZ
Jnu69PmD3RZ+D6R/2dmV8gGrvZb3axQsx2zJF1w17N+RVV29RXF7UmvfPsTAxk5tLPrXTUzjYwv0
BTr6Vg4Vn5LmrM/g4kTiPi43363nMZP0g7u90Zr1OZIwLVV1YzdxEOmA9JWCsoovGFgNSws5hx36
ytgVVXeW84PK0rGSQx+UfYunxVgqQSGlWU06W9Q2ENmuA2gDKQ3NPmfEbzXHArsrzMc9g9Te2phi
rSYymZ3PVHIe+1CXYcFR2IsUlBg9oaC3ND3aCNqKsZXbbtPReNnPHTvTWxRcu6wP626a3zgPZBWM
y7Bv4VRRrxHrK24newq7jDxFYx7cFQ0ddLn2PvyiNmZuttXpY9PnWLujfIRXsp+y5LaxbXNPTJQc
Mzzmn8y68OYFltvuvMGQgr9bXM+lFNilt7JxxO7JRoe8tCySX9xUhE/ajOzIfNDcprgfbmeNTQjl
2rof/DZcG0b0vrBTc4Ob0n9jox8aVfF1jbrdiEb4xWN9qNYxnI5RZMNH0Oy7gxmT+TC4BplDGbYu
KgvzCn9brI1bTll4Fs6kIXve5MX7ShpsazoF1bEk3K1racmQVYvNxdvEcXo8hjDPyGaUB70m+N6e
wx5IJ0udrY1CAAHjGeLf0zn84qMm7EsuaXLB8tyOpe/teBlDWrwP9OpuC7wx9vUOhU69+jho94hV
Zy2uXc/PGzblD5My5KuQTXqFko+cp6jKPsOULa5ah1HIVsTRbZaofBd3HCI228/BdUyW6ZtaPK0S
UgzAlCgK3L+1c/9W43PZvalRj9/M913O993S/4PtERrJ//pHE/K/tUelVbyTL3/av+jx+yYJv/a3
Jin69aPzQNkBihooLbCv+EeTFKS/YkhOCgo8I4tBdsl+65IIWiuo4/AYxzGAY9BI/tkl0V+x8CY5
Oq8CeS1IZMz/nSap+CtM+VuTlCPgPs9IjD+oqoowTn/o/QfOBLFzVCGheKi6YRDhVcNMmmHHTsRV
Z+M4LiOx0qgcUhvQKo6QRFrmPQLzimJgLxbl1XlB+LjVIs2x3vgl0TUq1PgMFavGDkcEu+9Tv6So
0QUU5ggteSJTlII7Ekwx3mvFHACKThWdqRTjuWqMxIYCwK/pLSrB/ixOILxGBRuviB81SXoNZ6LF
7eTcS1YmrQiqRSXRsza6OxQDlIxlx2wPu/thHFC88jkcymBb5tdlASMMVbzObgnG4KciXRddxSuP
zrkWsMwL2PRE19mWUxwuMH5pRdyUdBLt81hoZJ7Gk8zvRELaG9aMKAGR7xAehJv8Wqowbl6UmDyU
cpCO6rRw843P6GgeVIz54IjJ4xKYPaAW2qRVL4ussnrp+iqWDv8MbKB2KevIFwTlNv6BuDm80Lpt
oPubw2ucxWCFvXiGAqlRTYbQ8nYNylT56XmN2gEe7sMqTiEkKTcpmddTa7rtOsLaOZVzLNerocCF
DGbhT1ubQ42E1KkTOEoDQlZJUE0zdDJw8evOElRG8KkYt/l8FUQcmrGgn1HTZs+GhtFrmgXYNhlB
tV/KPvf7SCJqZmjCFIVlCiTbBoM6BM60Z31E+DVaq2K/SRmd9yppTgtPSZV3en5stxSlCvah5jVO
nX1Ab8LO2GTMUg6miM5WKCmPk48o3mKQBqfmYygxT/3NmrXsm8sFpCQVc1adYRlNHxKWY7vZT8U8
frT1fL+SOEMOzVBcpyRQTWlbuuqvfsaeiBwsudE7v67YW1cXRU/RQsledIEslyRAiFQA6KBcgrBA
ACWzH/H0dM4uyAaJw4oRycWM2J0LdPaQmYq+2PcbAxUlUqJOEPsBs2kyVsgrs1VH4EmKjJDmzgUS
KWLttOXvvePdZbZgJJX0btrbHG2BQoF8rme3vvXKia99kIAZjiYQSBWE4w3MdSrSx8G9m7rxwkAT
VydKpjWGtWY/yjV90SkwWBiCmfxFKRs8Q1a5XvSOtmeDzzGjZ2134EMKq/iZA28LkvBsFYqBPDOa
wxLxaB/qFlJB5Xmd6m55VSkeN5Te4auRhb+K5kw89qlpbjyHAY3FFnpCTR+/b0KTuy0RajdmxXAE
bhpARTk04sKqab4otoBcKopz0YxRdlS0h1J3zu0FvEm+QbqFqKlFxa+KMX6dTCmohjARusfTltRY
A6cq61Ne9/EH8o9DqAueLocJBq+HGZrYfZcW9NMHzHLIh1Xv+sz1NYN4aT8Exn4SyKVDqZagJW+n
9BsoZHJnwtaedcNE99lA9C7M9VSZrZ8ue7kNaBS6YofzMN2EdnSX45As18jGauosZPNjqlxwBPAy
7pB2Pp7FQ6cuDbXuxEadxBVrSPPcwoFi66vFkfWSTtno9m3cj0MdJU0MB7q0+xoVwtaFLuiuVxkY
Cx1kg87E6q2VdNthJJq/czP2D8h18pfJ1nR7EvbjdbDEPfq6Ze6vJqrosQAigZtn5ulQVMvQW0pg
OSTjqyRIm/2oub6i1IurATYie23NcFoBJ+1SmcYCS6P31ahc/6WbU8BFoyEXQUS3t0Vs8OrNoVC8
nMWmaR1HxeCQso7UzTLIOzHu2jDByKmNxsdlYhPApV66K97HoORxknRHq0YJOEpb+A+0BJ7bO2Ib
N9a6iyZyMY48dPNB8sCO9NiPqy12kSpY+7itIkrLKYeE7mjptL5kZqCljHl7R10hXie3cFF66fKK
2aa7Am2PQB7v/LxvJzq/y5kiyTFSW1th+s7mUm0cVmQpuicYBiw5mEgLNjuYDq5ZDwNbBiylpDnJ
pyoZguwYxQ2LTqgs8SkNlSsrSZt4v2NDku0dF9OZI6FGl99DhdR3U3Jl/LSOFSBQ2PkE6bDcUTvQ
T6OI9J2Os0DWPB83UYVozWwZ2qHTaMjiDH2sDqouowFSsvDi0bbYfFTH0kPAsvQlFc38JbDNppIj
1q8JPgRGPc55YyD8G3Wnd/EkBl11LmvaylMEMa5t38dgYgrITmc5shhPc/SYyC7gFe2jed0zRvvn
dgNWUOd5k89tBa5TQN6KqOfhGUhQPRrdMU8Vj4/gtLOLsA8jaktsJmS6xM0nAbB0RePWs0ZSOWBt
WcO1pgpCzirsEcGClhJWBupq8GZ2Z8OWZ+t9b9OBvLNQsvw9bWy8XYROyOCzCTZdiW5zF7Aa3I5A
kAUWiHV11aqK7hjIkMWX47b14X4Z2vHchyqbd02hm+QgDSTxh9QUCjlfsLZ+y7vFPneysHgO+/6y
4GP0uaDjfNNaujwZsOoeohAnvs5mP9aopMGvmwwHxoXI8+lqa1X0FRbAm6oWztPXMY2Ttkp6PQV3
JkOuJnSdmzpXKUb61RBFG/Rh8VgEpTdpT0o+MHU3ydUMuyRm3YNfFf20plt7iT9w3wWtzCZwVonZ
QRMSnaZwGZ/BzJRdufI02s621Jthv6ztus/Dvt1zQOnDQUbbfOe7Jjz6pvf3fdM06LDnLevKbG3V
PuvW6Ex63AbpzLqnbuj1+bIOGCvoUNUwkc19yVozLwBOg/jKhXN0Nwxzc9BzOh3Dja2ngbr2HjAA
JBpsmJ/I7OzTwPPhdoNuiO+IXuCF6Pr0dpYu6gA+C41IpGElpuQwioaNse/9KRNiQnKFXnJXtaOA
lSj8KS/CMaBjFdsOKNyi5nQ3CAcTlGmmvFKG5pCXolVG2qgRSG0cV7HTOS+SUpBJnGUbWjvcCWEM
J/ehje75oOgTLSIgx2Rs7xvgeqJKHJR7pcXOfZbm2lxtOpGPed9SrBGLBYWya3qKiJu1faEaLBYF
q7O6R3nzhmNMIDktWPoJ6jK5L0gbxCVa8+ZOgmH9NkpMfrBXF0BYu4AECG8Fan6gMcy9D7miUXze
txPAklkQV8a6TZ5Nnpl7vibZRQrDmfnR4MRhdRYk99WWRAaYos3jrJzTdUPpapj77HJY7Qgr0B5T
1ZbJnLA6zHP2Da18cRdbC41gJPx55FRURdiE64Xn9lOYji3wdV60VeSxyeTA0R4aJ+xxxlN0irMt
3vPYIxdZZeIz9CLx5UbWj042Ubucdjn0V0GBfh+deyVwsU4t0Nz7AoLBUuI/lhniau+1WywgTwB6
4cb1NdcMkzmzddXGE39FUmQXxBMgcu5dsE+XfDg2VOnHNWzmx63vgtOI8cRRZmkPPDMAEJWnTdWy
VJf9EtJX1CDDFROM73ufTXvSi65KAypK2LWDy9AFQ+1B/oTu3J1EEx+h6rqSSyJrKdqHScC7HtqK
sIAJYDcfMlh0XSgAmOeJ8ulVugzDewT69eOGqdiw72kHxCKHJxrgl1m9FjYoLntsFO9wC0bZakNV
nM9TxJ+G0ft3jKYWURUrU7WSDYp8RCHn6siVDWtwRg0c4oQpQDQloMPF0Za9D3Ltlx08fQQ7Q9se
vyaIO+nLcXTuFMK25msrxwYfjhlrzYMo+dRnjfiSjXS6igFPtpXrdfDSKlRFu2TMx2eyEdnjKtHl
msatHQG6F1hvitBk2AVTdyYyFR5RwtGj8ev27iUWUgyuvd31rnMgudo5q2fX22tv5LRLFgZgdMg9
Xt7cqYeG5Nr3k7okKOSvkrYXTw0SM/FwJGYfhr4fSjGx7FqEM69pOgUXOQ38KzrC4n0kpD9oTvyF
EA3KMw0ro6DHBAxKKK8+tgtE2DREvqU01TcCz3sN66ceHgcZcDFYuZQkJeg6gj6GLpUk19BHFygi
soTtAU3AwkWK/EF64T+je+q/GSwOu1YXMGQ1KcrxhPL0Pm8CICechLfNuo1Xwsv05BWz2K7Yotcy
nL39LFKEvuRtbJ7BI5n3MNlZHiidaFfS2dJjGtjuhthheYjaFRAUhhxLAocr1T4r1KF10mnYx7Qp
tNRDD+5EQ/2+KcLucwhlYJmbPvwELyEs3N4ldetV8XkMIn3Q2E4vCq2wgHWojMA23PR5i5nRYUhi
B6tX0u5DPwbnAnXzM6WanPk2RDRIMmCFmXlXMmfuUVfBfotE6631qfyad6641ksRfGlQWNbL8EG5
waEcYuhl6nQYhvMxB7oTS+ORGaEAY69p/hwOUTjuooFkbSlYZt4jFbgvwSrCp0jk7r6IOv1UREw8
BJ5OZyGa7bZcso49yYipW3ihbqelI/QetB8Q0TFr1Zeo4br7ga58z3E/wAgPfKFnkXfxfd+r9C6X
Wn2Jm1XdMCMThGNNENF2Y/Y8K4ur5yOD44rhoVbppnBPfqX+BKdJdSZHq/DUBfzZDJs7bkEW1CmL
daUALV+PkdV1K6w9rizSDyvas0eHCCO095jLMKxKOawjaQ59KVCueyaZhfHJNJm0lOmWIYW7l/Ak
ZPF8P82Ye60oE595ELDXwsX8jndqfEVtJMNaYhGoCz83WOoWOrSQM+QtvID9FqLd5jI4AwBnupIX
K33IdDQV5TIHRVbq3PUPJsiBuflCPiPIYHmOCjyaJV17K0u8GxybIR6FVvpjsV3wZLX0Mp1CTG6a
PJd7TCdbUiZIrrCl7eLsEDcaJFUYosKfj4WXJMs4GgTVA+9OoIzmOzwRKquKgbTtecSWEd+FNOoY
sSn9xHQHcKc0aKDqLtR4Qv99usP/p6jfBwj2f0b9QI3oXrvvWREfv/F3wC/9NQJxGomfoIVSkn/E
fv6NFUHIrzmwO+QDA3RLkjj+De8LSPYrsD5o20JgegkMbsFV+ActIirwGk0A6n/8VYBc/O8gftFf
aam/IX7A4ECsQK2UIjMBJT4+9XtaxMRXzMxa3ENqlS16fNkQFVwKyBN0zZ0a6cXauKbfjzzN+aXx
yKs8Z2aNEebLnYW5RAc/qrOmmbjYr1YBnMZwxAXndhQkjMp80QPT5l5qDNhJnYs2GMJ7yrKYESQf
iW5ssh14Tf0Qn7YIuH6//xg75+6EbSrYXogbxnVvAMWxo/NYZ2sCkX5+JPk2vYLKgRLWRBSpPgQq
IIyCxNhuNah7QVG5zMHglLJcAA+IG9D/ZYAZ+huTq/y6NAb2TtijZX/bkQDsrjCaG8wc2lDeYy6u
5prOY7yitk11XpIO3x7uPthqaxVm4iJJ8nHAQTIa74Z1mLuzvA+KkJVZbxL0ARY0zUOG3g0Kj84H
0ItRU2BsP08yPhsLl37l7SAwV4s7jOen0bvlHNh/G5YRwB44TafxhJNe+Ogpc1H+PNMCE+gykn7W
+27O1VemWWLqYY5N8qAGl6OkaGWPf7OQR3WkknnZd3Y0K5bctrOhG0vcUX7S7zJIfLbLRtZAT9nw
BqerNIK29ARyDYPLV8yfmvBDuBW6UMWfrBcOfavLZ3FsoALNrvBLdvmsNYYzQEB84eq+R2e4X9vB
sW8eexP8XHyxwAciwinaj0FnAEfG6wqfJGDjrX+bZW4wPO+2OEpf1hn8g/vZ2DB5i3saf11MfiYX
8xoA68AMq2nZlpZkgCslZDmGNbIYeY18ZZ9efzx2+lighVvAIY4YkrVgDj7txibsgKAAfWvpbUCd
LMoOEiT6Ga7MIeYzVtke1aSh5UYjNR+XInMM9Z8HbUDtEh9k7XFW+ch2OCmYVW3B3Ma7ya4tv1/z
QMLtFTBABwYgWuxDH095825cttqHiDCIteYg7d0VNDck/DLJLdTwmVngvt2WeopJ+AmHFGxndgEz
xIO50wcATjWX6sWLrQDvZerYRN5zTDj1IbWrRlE+D9TcslA4sAOi1pM6iAeteuCeo8tAvZ1MD+qc
C4Sze0pl0MkSFtZSqFLlXTpUZJm5ft/IUID+EuIBXDpAfHG/PvowU8VpI2QbxoouG/KWc79RsISa
RrknmRUJ2sgWZmzpLtOY1g+gGy+Nv5LzTEZUYFDjXBQxWCdIcW+L8b3HpMyeKVaMaW3gfMUP+ST5
cVQtUlmVDDHVHH1r2tPQw4blLkEvwKcyD+eC3a6T6WwdKqZitKZZkZ1n6EFZCbMgC4tmpJrBSatv
s4h/idomDY9rC9HPrsGoU4CgkwTwaxRjxlJVMeY6fkqbyKU7AI5Kz9WSebeeVhjy5Kd0yFp5Pi4A
0i/mLGiSExD1Qp8L06z5c2BSw+tWw0n2znXj0O8JmUW/jwMsjPW0xkV+3PK1cOfQH3bbrpsJn/ZB
Ysh2gqYuTt6xsDlY4W/AM4oDaH4bTDcClkAxGxpSfNp6p/NaU2rzsg9NXhxjJLBtlZxE4N4brpfp
evF6bS4EaHQMjB43ZA1wpDxEHJIEVZlVC/MxR8ZVb+e9kyCtSPAV4Al1Fy0QK6hd0RSZ0DuLSWm7
z4ulfVr9Cs8jwYWeb8RUjOIyZKrAgYJhs+0/yHoKiC26uB3K0xBSnBxegFVKiiCrGkEwg+xlAEXn
hD2NoqKwTQPp3AKFQIDe39WrkYBU/Ga66CzS2kRfhBykq/8Xe+exHDe2petXuXHnqIA3U5h0ZNJL
ojRBJIsivPd4+vuBpXOKBHmUXXfWHR01VDE3zMbay/3fqvHk2s0cNrjAKb4L2BFqwmN0zUYIxkuf
/3ew9SQpHjWp0NoDoUUefrGasftZCKVvenxuzROwCj+4FOi/ixHoKUbSXTdkD0MC6N7MdiVPrXpA
YmdlEkWj1PRfuixo2w0FGDKQY6BE1hm4zoo5wRFqUtVjbo4s6pzWhr7SFxQZ+tYuLTDAh/xm8IaD
fgidkTz9/k/dZhbk9Kewle3IJVA/p+1bjTz7tTZFXU3XDNOgdPf++CbWzGmdJJgdnMFLvzdbwQv2
zV76ch5dvpKxv65F1VIliQZV3FDXYnlhUmYOKITWNDe5qrNJvJTaCVMgF91icj9dnIOTLg/unW9i
Ill8s+CqGhmSFsa9ZsF43zJEJdku7M7zQ1Q+e4gSY+9kSC4igeha3aQ1Zj91za91igPta86wmb3x
eH6g86ql/NdDfLPWqqVczkRykyJdIfmleVBcVCCxazFORfOICUGeBbITnCVrLg/qw4N8s+iqb9yo
8jKqZRZVrOpSIMDmKzgjNVh1cX+8sdXLagtfiHUaJl53onnQneA2OZa72VEcEg+74tsbL/tXg+/b
hl7c409uiW2vUjKH8b366PxmyADc41Lp43VSbqsEhH//pI9ff7/M5+/LJKqidVmDHrjyj2Mz1ywl
1JZNLx4GT9vAUnbHC33fbDo3u8k25VE7I++UP3tddExT7qdj2UR8+f6jnhKdLqYWI11544bJbf6P
8nK8tDbNlwwE0JXh4Io641Zyes+8bx5aJtPHX+ptc+6VLntxvW3eXIeyEjX1cqgUdA6FtnlsWX68
SBzdVh8XhGjunMN9rADkywbSCYUkYiL6zvgEVqYsnQNJYqcSpDJcXfbiDWXsyFmsS7wTd9U5OdEn
5uz9equGcHE0ykhe1lsAqdIl8qVlIuudfk+By5t2zU46pzv4ZDO9X3L1YnOfPuKQXkwMGjmOfXFl
MPdK3Zcvi9QBP2Ybeqbz+w28Ekz/9VgJ8UQdw62aHwZeUe8Jy0SFzTFu6j25HPwXd1l8Wdq4k/fS
LZEXcLM2oan4Yvh2Fj6xfCHvd5G+dP/TGbds6Q8gfiWvTE5NQo3XIU4bfx+2VNzd1lvGOJaOeTUF
JHrPwgI/3U9v111Z2sbKmjRKWDe8nDfljbQzXdXNT7ifsIvPAXBXiI1fj5nyJ506CJLEtcq+7ge/
Rl4Q2OIh2rVIfTeRk+2nvfx0Frv40fTxQP9eai21T5OpU0eDpdJL61I9MLO8s2e+zdSO74Sj5ATO
ePwv3OFySHx4j2+WXUmu0rSO+65m2cYbPGRrW+lbv6vcAtZjfJsez6nBPzlQyEYgnNQViVzW0tr0
Trw291NRWjjo7JvJa5zyWvAdSs3LgI0NraXW93Puxid+APuThK2BQ2XCLVndYUUNeiwTWpHE7D6i
zzHvKWni11HoobK0MWQAvsqWYHQznrP5n71TThiok9pfJvD9zVpkYI2mJzisRnMDkH2TG8U27/ah
Mri/NwifGqG3S60OahjvOu0lLNW69GDfMG1+G28S5noP7rAfLuPDMhzgzJqf7B2m7EiqpWCBTGuN
9popvqUDTa62Zg9edbWcoZkTOcF+cR2F7+dI4p/dI+upyKNNhfTb6956I3wsh4bsz9Qu99jjqiZe
9lN3K1BV5iZxLXc3njmyVyPyXj9/FYG/zh0SDnwASSVpnpnEYEtCQ6fMIGz9sPtpKNk+6KtHoh3a
xKkH5ZnaO6HQoahSqcvo5cGQilOW9M+Z2VhOUHVHqhfnGOcf3Qn93bWtXviQtFNKtoUP6UhNpqW0
Dr8r8CxHrlzrh3Ub7+Jb4cyinxj9ZQinYmENFV78ym2qEQxY9DQHNh31VIZFJ6RTWaaif2ZjLYf0
yihBCKOqoMm6YSAje//dZLWQTyEtOhglfyuROi83ev6E2h59zpfxrtinu0p4aIZNpm/lfmO558zU
Zzf69gJWXoTSlX2oZ1wAl+3R79HQll9m0+b39/nxFTK7aGn8V5YeUfRT729Tl7tM1HL1RZy+x+Zj
pp0hfaxwXsv2fff7a0BUmGSq1lfqS78xt+NldZcdaANwyGB2IONxw1xjH1yfe3Qf392SASfCY3lc
g7ULH01IXuRefjHCkyZCRoPCHOXXsvkj91/EMj+3VT6+qWU5pIbwOsHUyIsJfmMTxnAuasFSXhSS
X3ntH8aRSqZUuQqAERGNh5J6aqY5SLb05VuhQClQ+h0txZGk4sz7/PSBS5IE4YkMPxHMYjDfXMzU
J1Yo+/LLKL/0JGoZjn7vN7OTROFVynDcpK9sscjtNtXdXJZdvzf3RRy6DdRCYSrtqDsTTn1iwHg6
hMCyTAOySh/y6oJKFEaiLr3kj+ptcIdPQamL4zb81jwWj9LBt2tHfBKeyYX/fmd/trAG9MWy8NWW
1ufVwh1j2JRSk15I99M2i/dixK4ifi/IjAkof/P4oo6P03hldo89OWwt+1mU+0k5yuGFJuhnruaT
PfLuYlZfc7Z049Wh/BKl3/zEcCqN4mB/7mP75GNmEUslzOHE56t+/6gVEYGLmUkvrSs6wYX6Mzks
xljn/O2eYwBQxv73j/izm6KYpOnwKchTrfM2RhxnahDVL2F8V2tHtUQGcAYt/Nl2BnhPMUrndgiS
Vy9xarosHIfoZXDyvfzValxfdyJKRDFC7iVYnWdbMD2NHN7uHAb1P6y9HPWQ/T9+SuVcNs000wTM
xJcUVWzm+NqGcSVO+4Rg/zJsNuNXKi3J2azKJxGkwV3/vfLqYKV1q0mCMXz5i4FIcVp2IgbUG1t9
gzSEJs2zSOOPbqJBok+yDJnkroRH9X7rZJ0fC0Ft/ZyF1M5FwU2i1JktcZ9Rsvj9pllOlPcHq8EY
HWBtGm6NhF/zfqUxL8UG//u5K9udFPa0sH4JyLuKBx0vbqS/3mzPGOhPItV3S67jGvrh0zBMrWf5
B8JbRpZUW0R++wKJnEOvwKZ6yK+oZTmBKx/PP9kPH4kl47CgXlcVCQjROueCyjIZpNh6kgMEReqO
nK7NCKgz5uVjqhgHGEU3Hwpji5Hbr96fEqnynKnJafxT3yLVPch0hu9Lpm3r95qn2/Im9eofybUR
28E5A//xBt8vvQqHKVpKeJ3JiTad0RXs3KWPYmTWDeQRd4KMZ4881XNH/McgfHXDq3POVAWa4vzk
1LrkdL5QvKOcxhxIxetHXuTZHNKHXbtabvVFtomhhJWRnBrPrG26kZm/kt3ND3Nui8fYLZylB4Wu
Kns+xZPrP51Pkp+7gJVtr6OoSs0mQdNWf53n6kbkInp5l1f63qhQ92mDHfnt4++/1Q8Hyuqu155N
01iSLiUnWaZB6AH9x7ltu5jvd8ZgtcDKvLcKTaZikJ76jb+dHxSSroVDXUu5CF3KsR4DkjWbBs+W
/fTjXCz3MRvK4stRaZgyX8yH8srQ0hdQ5csW6t3xMn+WZKfeNwc0r97ipuT3zcR0UW3b7bWfcuKY
pl09q7lNM+H294/5o4F6fyXGKh8apkGr6118emWLe0Z52+Cx3lmb7JheJNUtWwuer2N52lZZkkyu
ccYmfwxrVxewMh+m1AUFpFi2t79VzQv/a0PSUrqTDvWVqSJEdop7/+pc8P6Z4Xjz/I2V4Qjp3USy
lJziRPCoxxwj+WeTNufM04eTbXVrK0ORmq3cGlZ8WhIEwYX4ZfpZHS2nchPZ7gB1bAp32qnd5qz/
+dm38/buVhajZ9O9WmSDDukok72GZojfb5uPHu7q1lY2YQonSxzT5DRD6A7csENZ5gGYKuECPhS3
zFNqbeM4qDNm2NxNF+d2zbn3t7IOkVT1utwmJ6kpba0n5cqQP9k/Z+nPfhwrG0ETRNolY3yqatu4
n0gQNrepu5TSmo3lZV/k/bCMhbkyd+mtdSPfnXnG57bPynFHMCMkSpacljLo9BXRuZbbI2121SG5
jbZ00m7q8gmnLLk/N1bj0yPu7Q5aeUpWYdJcFCUn7VrawEYJONFVN9vHO5gd5w+YM29zHamDsIgH
hoWcykDcaVLuTGV9aMzmzJ49t8rK0Ihto6G6xOaGTPsyrsY+82hg/P07WzbE+lB589zMlV0Zi66h
uzc5wcZxVHr7EfLZkzQ4SQFEBa3J71c7852bK/uSZYIu53yEmj+7wPqgjkhn/Ndzz2xlScS41edU
ik9R8SwNmz76NqbnwqzlIn/3yJZLeJM1GAUzY55JcgIJc1om4CF7sE2G0/zXjptPb4jqI5xUVWNA
6OqRVV2TTUMZn+YyPooZ7IDiMm/lL79/Lx+SQItxJL4g9UCPpAzl6d0tCUO5ACiikziNjhkltlJE
BzmKv+uKcNnH/pFeLu/3K366E+h51KgxKsjCVt8rQQDz6zhEZXTOcHUcQ7n//QKvU6w/vKalS0Il
2n4VZb+7J1MqOjPCT9A1u0t2k3ATzZ5R7xXkBaG1LWV7oaoJXgUnHwmdXbeXreApyTejfAby7Z4P
bj695TcXtLKOJU0Hc2rEJzJSzqCgOyvPuEafG8E3K6weqjFR1mXi+6l2/S3N0ssgt5T5PuIl6AEQ
CO7vn/CnpuPv1dZG0Kx7ZF1CfMoaJADoqSy9RbJuMtiDsLg4/X6xj4WoZYvSzEQTL20AH8pCTYFm
nJY0zhYFx/PUOGD63dKLuu34Vd/Eh3Me76dv6816K8MYaVU60Rd6KkYdiY5u97h6v7+lT7/sNyus
vmzkvwItmdEpVcWDkl919LlqybmpIZ/fBg3GXKNMi/NqS0wipCUmYZ/q6iE1fkTR0//PPfz759fZ
AsgwTTZY4anCPfRzxMm6bGvauYHMnz+pv1dZmac8y2ORLpNTg3ijlO8EUfPG+twG+3Q7M1ri15PS
1i9cQKs6cyvhfn6svla6LV0mNM8Y1Md6b0RM0Nu+3RJQqGda1z7zmqD6kjUTl5rVOunRKr6udFlE
BUrTvUY3NgwTRSpndIj6lVre/NM3tuTfZcpBFDLolFs/y1Kt9UnvfkSGyPH7pRotOzbPFeI+3hL1
U2lpqsdz10govT9Pglmy5kzufzRe5y1e6MQkJnD+Tvy198BXuuU22Pyi//4v8uT/cjy+eccfkCde
M5wARUXvcCfLn/ylflDkPyRYkDLjzMmsLUmvf6kfFPEP2rzZCoapUo8BhfJvJqQga39AMTNoxKOA
SDZOx7D8W/1g/EE9l2Q2HB3ssQYK5V88lpu/TuC/GJyfQyEldeVQMVeI45luimVkGNqINbRbCXpF
LkeYzKQ3tlVZPqgjwjVHaXQmhwPjk3PbrBXNrTUy2HgUhscgGNXuuji/Lps8uhjiCqWgmFg/RuQ9
fwph3SR2Zcmx23WJcMjpGBU92R9VW2cYsFf2DTyiHIjDEIffFGnDvCs7LpLJKacwpuu8IqJXs2u1
6b4Vqi9/lXRyOrnFzPTuMVLzayuLD0mQM0WYDldHi9WbtDEQ/QQKgu/CulPGWv2Kr1t5oRhPgH7b
NhM9X5j6bsu8vzZ8iDPZf64jiTlhkdqmxT1CgEi+pLU6PGrpHNuioAVoQdEIXwW5QQUsqtsbQcv6
xJYnVPlbZN89qKdeq4KvcqHk3YMkNAMKt6qeIk+m1zl6LhSzKA4LNTV3FMESBLsffUlLbLTOIQnH
dpCORShVl10eFxs0wX7sdNTJ+2+dqkyWp8eGvo0SuU/tEp0m+dBZI/Es16Cc0OJ2yyxmbTiGDUwP
WzcLw65LZfBdRZsLYUejarhTssHAZre9RFt13m1FaQQsqWtzcqkqfoXKbdLcuIqH6yGVtlzLbacV
4N0K8lvBxDCAQRSanTwUwWUioisdBI2G5RilTCRrm3nsrcCZBQh5abLPY9p7u3BXTWnpWGb5A/4I
5Y/KYB5FZnqq+R0C5gufilshtodVVt9bQltuon6ebw0pSRxRiL7NmhVS1wrj7SCVBs8DtqUTZwQu
bjup4C+qKaylb03c69ltFdl9VsU79AAyyc60NBFTx2MmMF6xDy20ayqP9Vcq8B+Zuv92WFudz/4/
K7h+nLK1gGv5g18mTPmD6jRfNiVRCLW0sP3LhMnyArxVGY5BdxutByr/8gtrK5h/yGhXKeRh2RiY
YGg43P8yYZL5B0lMmWmr9BsbMqbxn5gw1GDvY0ImWms0DWEqiZ0obK+Tkm05AQtSuwTkD6ylXago
UboBazsztFkKTbADyGkFkbRpX6iiw2hiyIiumUuyf6C7NQDcklGRlJwoMOSggtYXZOFVm+nU0vI6
8c0vkQVqYYHOzlH2ElmZVvIBNVaxq7N4mnb9EPvlti4iqACZUaXNRVvK0PbLXjFC5Fph0Owas0h9
z1wkT7Od6eqCyRsUVUDMW1pifZH3YhhvRJ+Ljuw6L6zsvknzxnoCMlrw43qdkfOkpSQ/Di2CcDuH
XfkNjILcu1MnCvRSNmrRb+rOzyCl9bU53A5aZtRO3Q2TeW1I6Ri5pYnKAoEVul0mI5d1nGe3U1HL
Useg9Tmrb6HqIrKxuX4U9gByhj4A9IaKAyW0hdzN598iQ3si7pOHXb3Mkr7KgSBVnqlDncNXM5rQ
0ed6QthMF9Rsj6IYitdBldTTZpJL3eZoaNH7BMvAMqgeaeVSi1KOQxWn5q6ay6q+8IHm/YhFXb+d
1RzWOILqUNn3s9ibdpn3CbjgIEm+y2FXSBupq8XsSq8GaBpNUC3RcwNY+FJlkKK1C+PSrA99wVHs
DHNWfLdqaKMaz0Dr91Bt0WDMWqvtq74PAiQljTQ6U5sJ7YVMPDftUDuNc8t8xFo3HKR4ELSsGBYl
OfdYDG71sFyYSNihP0M17HsvL7I4/DKZMHmuOj2bfYeUdcN8JTSAiPQsa+gR/mfKIG6g0+rlboJV
nbvgilAUWzDxgj/9yBc6NzRMoSOXX4j9DUWzvPaSQExzzk5t0vfM4aKcXM30yzg5dN/5Kp7yICzc
gSEMgt1OyvhMsbgc7UbP6tITAat0wFIMpgkmndY1aMiMjEclBcgW66TjaNYrOVIRTWvAfLw8T2Xz
oIa5NkDUiBv/cqjYp3tzgmp84BnmETCWMnJJv4nljlnfVQz9JKM1Aym7pDtVGir+3hL0ttrUdK+L
G6XPUePaQ9aPNa3qcLdivk+hBd3qT5bv9VWmjJvSaCbtS5nXwXAnDf1obaaoCZJto6SpjFxtSBmj
OwxS/Uj3SDBtiz6ZNWfWR1E7NaGkw4P2i3DclhESahd2Jf7FoAmK7KgjB1FC9lDZW3Wrj5ylmWk5
ja5XhluDloD0EuMtDY4eVGUNlEEeSE4YKUC4q36OgEsdkdHVIucbrBY7TKSxtRXfnEwv5L0q01YM
+666gULGhIFBqxXLS8oiKW6MwIrGzklbpsr7qLNDff6GVkAZgV/GafsUQq3t7DxSB9qBU6FE3M3t
qkwdUTsQi0KXys4IJmTgmqV4Pow8vuZa8rNYgssVKI3pJJR05wu1ALHkaOYkNPbcJEV/NANJ6DeB
FkNqkIYGXdkAp6WFYzlliEb1UW52k7Y0eSqFJv8ETuuLdlcOabCV4FgiDoeU24dHTutOdKqsEAQm
+TTkHAJT9PMfaamKtBgj8+8R4Tdq13uVOSAal6RGfMq6kERmAZyFzLMgSM9iGwrp0ejKPLtOjBi6
lpToAKLAqqNFozcvjaoJH6mNWxe69fhkioXePYxp3gOUKRULSX664AB2pqXhJg7A7BqmWMoHH6h3
7E01KdWLbKjn29nQJ778ytpNVgZZOC58XrEEVkgJY9HWS0GevFxsQGpnYpZ310JrNE32PWqacrCr
Bl/U9S1+6q7q87q0G9/yG0ca5Jkdq8OlcgMtHB+SIVREuyrkedwApu7z1FZCpr1tcGa0733cLZVl
dKWQ7QIjN1xNKAtxB9ZTswBZxIlPw4bWRXehFUw/k8Ynb6+IMWpWuk1M5c+wKguDLFk0zlBOluEo
qjGrVLqaxBRBeYYRJPFoAJN9BC5kmjdJqNaJnapBvRh1YRbgojBmw81rfLNdpU3zogIrkug5TGoo
Y2FtDDfM4hhDZ8ji7Ct9O+MPpiVG6oUUdJp1UZsik1dGKRvnS6E0xocKq6BtUESm3X4ajDbdmkDK
DGeEmSq7YyVLxQUDF9X7OpsBBqpWlpSuLwh6oyOoNf1DhVZUZR/qoeImo6wOW0vIFxxsTBrK1Vpa
rDELZukIBsMsgyStrmtCGHppxNKf92o9sJlBtfBkYcxMlS2bIHn3Yq+UHB4idAgXiWwUeHKpKQqa
a8BraSOCfuFUB2RVmPjKJ6FXtfpqNgdfvRGmRmzQfitKNtsBVsw66DIsUzeeRj0Dwgo/+NjJVqPv
I6ExaRUeito88oLq+sDXZk7XpoDi0oMBl0r7MkZw7Mz0RY6XmS52il0LPVTHnukAKajhWYAnJFpw
E6J+6G4MgGmaMwx541WlTsVB1YqofmrGGeybnGRgwHKzPJZhUrZXxcI0cdTB16b7xqcDB4mqWbWu
3xUdCrzOlCewTNqkegKkr/Q4BMpUEdClFgEcowfkXaZobX0UtCkjDYFdmOwRwbfp+YkUqfuqmi36
8JCSyl6vFfDJGWhSKHYCfshww3FKpN08W4GB755LbEpBpokDyWvTXaI8xXqkeV4+jrIu++48l9p0
omEvRq0jBEW+8UVFkHdKB8p1G6pFTkwTtcXY7AHQS7XC0eU3ysVCqcw8HfZ/hcC+quliUBhRFsAy
smTDzZHo+cAJrdjjS08w0mrPBSmW2se2CvoufUh4uWMCmonp69rktb3IIhsuv4flwkB0bWBiUGU0
QneZpH3zkyl5vnAlpPEY7+DK8ij9KQ2HyJYrPFzdFtIs7++B7iWCW8dlOH/za1EDEqanIYDeuhDn
kcHyQ4ZHYfI/KNcxISeKxyggMtl2DCUY91JVMRdLL1QQIHfSq0K9l+HZe+Orcl0RR72xoyBI1S/B
q7qdXo762a+VutlkQF4I/aRIFJ4Yz6A8Zq8K+a5IUMunEUQMMG1dzQzA2WwIxHoz9W8SRMr11dSg
skLprijTN81MhuYxU9U2wwMB032YZwFrAlNl5KxjjsNmUJfTqC7HcXiYohnU8diVTXU/RUNfvISB
MlSeUs1dt3+NOv5RaPU/FKGxpHB+E4BF2dPpafj5PovEn/w7BBOJcsjRKCRo0GUQnP3F0CBTJCNE
Zc4O/S2Gymy6v0MwoLmUdvSl14q2UgPVwd8hGKHbUmkSTY15IMyCo4DzD7JINKuuQjBj6chbOAOw
fUWa8lbllcoEiWn1A33SRWISEPl8ReQJ8kVi0kBILELzBugh/PlAZ8LEqRiaaqFpxknlSYIQYRRn
a5Tiy0Exs3kvzUrR3KpiAKXFYFZou52mJK+2TLaQjNQu5DwTX4JCa8pNXwJ5pK8+TDovg99au9Vk
TomL1zaK+7IVtBvOWMmHv9QOgAzjNtBvBHifJSYuhPox1nLVbXzLHEmUCgWk6rIN5ehQBj2hSQSL
QHYGf+IwjQIkOpdtmNetOwv+LBxNcv7TtkKWXcObgfKnxx0cS7nMK8ADplbrO7HPInEbmbEUblUZ
TpybZIPg272fWPVW60tN5YD1q3ovhEKoPVrCUGdun4254ZUYkOJQjeD/PK4D+2mn4MVh2wZy9KVL
cOF3YTKDXs/qlseOCuSgRdi8iPDRDkYtuSgE6dD14DgqUW5GpwrM8tlqQ+2uUhWBLmqySeIeRqyc
3QBjGcZrRnxAFJWTaYw3QT+E8QXpwApPEUJhXt5i3UT/oqzaPnKV0dIGSBB9SSRlxpro0tTNXNLW
qNAKqSIWHOwlvA/kQwAkg01FwlqEuT12QnkzxpHMmEbJlfSw6dzKqqx6U9Zq6z91cWHZoEcZwKGW
F0w6wDdVlQUb6ItpAjosS42wvh57wwJ1onCMP2i8rfKiSnwSdF6jdX35kCVGNIIwmCHndyCYtL1S
EZt71WtAjUIlNJ944VZ+L1aySNRdvIbgqlpCNxxfQ/MBrD2kWb1VKl20k4rFvbiqm2kbp2Ikc8DG
WeD1td70+4F5BIyJqAyz3JpBDFRQL2g83k/xqJSXQjAp0g/CvjEa3NaftfBBqPCVXaXNkvBKKkVA
8naiWPAI7CiSS/UiF+Ui2AB/H9rtTGtJKrhaozXy12wwm+JRX1IaI+cA6Q0SlAJzSfSO6MAWm9mX
FxdSaXbqq5WudL8S3Rq6GcJL5s1gyudXs97PYEce+ldzz2mB6c86vWpt0U+AYISJEF/krweF/npo
9KViPCPDUAhnyQxwsAxqxjjv3PThC4oNgflxmvpoPMQx3RN7uZyjco8w2aoObQXwULIVRdUaGO4q
nrPbpBlZXg6VDKpcKfTld0VdCL0Bk4mMC82iHf+mT2jbXKCNeS1/T8umNp/YMO2L2hSt6o6J3qKv
Lk1l3E9dVMqPsTqFyaFRht7whlyOOgi3itRWcBXqgZ8mpBDuwMHPA7A/Rs7c4T1I5eU0T1m9HSEp
VjsxJdbZkj7ge3VK0EA8+NFgZAHYnHa6iASlqXZS3krWDbSHLqKyjYO0TY0gqJ8DXO0FDpmHueLV
hhY8qvCxTq3a4K8IRWt+mSOl6l1LjbIBmIx/185zNrsGWa5LgEJRdNAndYlyauL9cd+IpVZa8Dmr
fgann9UDaLYMyu2lWUxwfbTYz4PbQkrn/DKWaI4gFCvibsT0RTTniaSsvhp1NISuqkdwN5bRIAUk
SpyaWicvprXdvimN1trpET7zC0yWprwdLEmInTwbDbLEUVnjuI+0duRbVF747BCKG8VuVHiktpnl
UGX/1xFop9d5YQbluv/sCNwvo7/+z333fHo/lmz5q1++gPYH0CtAVWhmaEkhGPu3L6D8gXSSg1iD
d4GgaZn/9SsdK8m4CTq0feqCi4Jf5+d+ZWP5I5IvME2oMpFC5b9/4gmgzn/nCdCVzyWQvKRPYCl8
kVXj39806ORMKC9KEEBDE0/qfRD5kXlZK1kw23MWVMpm0lu86EidjL2UFlp2GRIx6dtYEqzqoTRT
6g/Qo7I/JfiZ0yPTyQAcWJOeZk9i12tHBpdqZMUGvknZb2qApFLuEyj2SWrei1RorF0SRSVE79cp
P1ajBAh0SwyyM4TGZcbQYxEr3TaiSncq+ZDsSmpgY37vkpm8i23+NWUom6uWmUOKb8C9JhcWGRGA
0NFvVGDAyeimlSWJsAjmdqPzfTDxQujriWkf42wEbjlZUfnMXArZdIoZb+BW1AXGCShaPguHlLzL
cKcOTDL8SsP9CMF2NK1Z2MRRMok7NSPVQQ46VzNnYEx7mdghce3GIqwnOOBoNSDvDePglxflgFQo
gvkuubJAvpCfSNPmZfLNVtkGk3ClTFnuFREjmYgfy69THzfGJbNELPmkVoQ+Hpjc8M7I+tb3MgND
ZZB1SMjztKMfppGtthXJQ18KNMYfqhHwoUwwimdk0I25Q9AkotoBTdR91xeYTQidpbdVEOeGbYV1
O7uSr870QGZll3s62KW9lauh5cWmAMd/KItdYBT73hrJ4bTmc+Vrxy7LYuVCHkVJPEZlEzAYqTZp
bsaDVJyYkqLq9UE3W1tgjo31xeos63sgdXTQNZKyH/sKbVQSGHq3mWF/+XuqW8rNkAjBgUqfXhwr
vequEwqOmmfOIhBWI0oBjqPO7b4QljWo4aZBnB57S7GtHOg0DwSklNWJjeKUSZpZJ9J0EwpzKPzz
jhRuH1xSIZa0Bw7Tmck1fXjfQj9nkMQoO37V7oKc0KyNyV6QDf0TpE8MkGnWpcw1jcYgdBaS4stQ
9PqFzwn2HVL9BFpRLauCmpaY1za8flnc6GCqaMGYU4bblV0bFLtIqGeSEipzcARR9O/Q2sHtTcJ+
CNC5DtbLJGUEchKDbcbDUkbJj4zAamt3AK9H6xcuIOquwadWKlkNvetyS9E3RVBqub4kGDdCZyad
G4zldRfH+SHQGaFWmsBT2TxGvJF9NRouaotpGH8KcwXO30JBzUQstxcgZ9Ru6muxqHr4nlH5okay
NG+zFmDUI6P3BMErGs6Oh6I3pQrweDLm96Ch8mgzT1MEeiLIRl6jVQaGeCyIqIOfPmhP+UCSv2oi
VyuHZQldCLrUC9LYOIjgcRNqtDV/Q5G5MI1S8Hwqpicmlxo3ZPstsdiSxsLtr2hq0n7oZRrByYs1
KTF2RjHlTbshxSWA8yTHaepPeifMAOH0LDKSjV9GyZAsRQuRhBZjDCT5CiKqoAGXAoMuXkhilGau
Sqw02pEQp9q9VViqnzoBGwlF5VhNucwCitLKVwkzEXEUJnBctMRlmSnB7TSFZlK8gacx7eZ0FtPI
UefJfFCzBuB6FnYGpNCEDj5jVzHnQfdmk2GBlpPgK6reLFXAMJ2uBO0PiB0k13CcGotUsi3GTaM/
hH2dMn2QhIdBcs+k/pr3k2jA1WKmXv9Qd9QzGhtaRm95OE21/62VVfKFYU3JFv94zOxImy+UgRJM
yvwRJ5ONR0FrdLLrw9hTeLBidauZjEnZV1JeXY6pNP+Y2Wfe2P8/9s5sOU4sbddXRAczi322gcwk
J42WZfmE8FTM02Lm6veDq3e3pXZb8Z//JxVVUQ4rBeTi+94RbynCgOl7Mm9JfCMy86WmwoC2wG+8
0U7sSGwz7Q8zp/ljkS2ZQDV9koTdap0RMNCt7YuT9MOZ1kWGLowIFQ6a2swJSIEGPhY0PX4DcBud
uykrl2MMifVsZEyxgSLruvZma1g/kOrl3taaolIel5ufkg6Ya2P86lNM65A8Ek3br99cohewUs9O
TkW1IPwgy9a82GmFxsLaTq31AcT1wW447qgKs317SxZKsmuXGrrpQ1qAMEX5NVc6TjtNqHl5IIiQ
qua2WsW10qt677AU16eiiZspAJrUETkNY5x7o5U2S+CW5moWtK8ttjwQQ6uX4ap2PCi93Tk3RjNr
4wcd5JrWkYSjKSwTNg6A91ipfmRm+nUu83UJC1tO5MqDJodtYkJIljYVBus4T+3HZCUzy2zM3tmt
a2FOntlC8wTwKMl0T0RlKuHEVKdNiEWLGnc315b8XvUkAd2C/tfFbT7xfARGQh42HSVGKsSpXF13
vIBGlNrnWsm/grPG9tnc6pee5l6ViBg2ExZwuzFt0QRNq88HQ0xm4jsbBB9oLZVQiykm0t3m1AyA
hmP3zGIiy0djhnxUjX6+7fNhaY+j5URWSNuQvvqmqPRH3mXyNI9TdeDrYS1bJL5606JcsA8i6zma
RSGo6jAGfcrPKCZy+SXOV5MHu4Zu2mcx8Z8HBg7wUKLO5A1cX0yr2TJ+qMlWnAHQ4z4BMjQL3esm
a1WvKgf6fVzXyYLugYmN0MqpiAJ1XKPlSiNLEYqsXmyPui2HXhtbS27HiWfYy8pyiHeR0RFSr7ex
flMgH5Q3kp2vIHTU7GOMzi7phdmQQMAm60ogxuqUOH+WpY2JhO8Mozr2ZUr2ntNTxUNZXedpW/fD
YsWI/5XpQW3X8YuYqsliz08iYImse+kHEX8jyHduvFVOyj1srBnW9M8pOwY70Fbh6EoZTvQorrtW
opUBAKVnobccazgJ/t9wa0U0KJLzgLKlnQ11T+sD5R90hGXesMRi3XMixPMXze1fePQl1Kf5uVfL
e6XrMCZgxPfJJS+KG9Ole3hX8QZ7aiuTw2hc8ulzvbI2kfBrkTKdpyD9B6nEfe3ZrWI8iXhgyAEH
8wgyGayDuthpFaqSlP6EE65ktCT7keLPhhDDqlXKdFdEhnAPRM4ujS9VhQxyOh34pOp67qyFnbBl
JO1u2KAMfeu1MMv9WFOAcW4Z7BS+p4N6nyezJDecnof1sRsG0t4dy+5xs1BCx2q51thvQa5jmVNL
s5CVnSWfzEzkPeUprbPcjiYVQCQ4tZUaxBVwyj4WzvySdItufCLrCkA1TgjaIlcZWZgvam0D341y
VB6IbATTXtS6eS4M0TFBWxgKke10i+LTT8V7JZ6FXh40MBAAK1OV3aluwXJ86uld7UQ2LCodymzD
qoMb2Pc4lYug0dOEF0atFnJXGV0S8za2y9rnemeZH41WFB+d2pmIu5pnO9r2YKPbFZJlb0f3UDX4
LII9yEWWKNnetak+2GcFeUM+UWGRcsgacnJDzU05MPtIN+kFloSw/++e+Pee+Ee9zv/9K06YMrv+
9Zb4L8mOY/5DCMY5zTRVMgWIbvv/O6KtUrLGE8SWiJ7HJsvoXzuiIf7BvkbesqOjyzGBLv+1I9Jf
Ta6Izt9Jtyphb471P9oRjQ0N/rc7YBNCcliIDS42NJ1CmTcy2AHnTmcpCmoRpHCo43DnD15BWWW1
S6xRSQl9G9Z1Kg7JNKHb/9bonbEpgGtNRN9oVXMbgls2rSITUFG82K1KnSbTONod8IkNH5VztFWQ
ulNHNGqejX5PHjzpGokyq6aHGq+e/3JFZtsPcoys5M4lXjJlR2Lf+0wxr2U/2DQ31PzJSiuZUFqS
KAqD1PfTssWj3tJ4QB0xCQbusMYWBgZpbh0gnXxaxzJRjnCqSFWIC6423wN4n9dkTgmdvMx0+KQW
32afBXd1T9VirutttXUxPQOomvGXRk2RA3g0KQ/zVRq9pZ6YUfTMp8oNReJEzkF+x6kwTDuVZay5
LyyD9l64tIl/L8nbPTUJcc0BnCidx4WiD+6u4PtceKkqupiSLBBMZDhjzKWPy+lQJjRNBdhqpLh3
1FTTr1OSxD7a+EQJbLJ/85fMrqMercWslD9Wg2TTS2R2dnprl+D1weJMM5mNk6hsXnDI9x5HykQG
NFYiog53YCpjiU217+3AAh5Y2ogchJfrVFEKoCbFYc5W+aWWUJ/3tQrDRl9Koqqnuq+Ap2jHjFNA
WBVmvXREMXJJJybRiih8Ssa54H9NShdFQRk3ULCenur254TU2DVgQjJ6YG6IaShNddTaHYsHzTHc
74odzbJs9RzLFB3HoBhLvC3TCBOWper7gL4KJisnb1m7rSnX6HEztTb5mltkZSJNtwxHokLQBbxH
123gGqja6nzRLDRcfpHloAUT3OgTctc8PhTMYupJzr0++7aSaA+C8smRtyvXDuUoSiifdh2d2IiC
s3lnLJU2HbhGSKZWrq9kNFvy1tNGW7XuxxgEeuem0BhEy47jvqHYEKloy6CO8daOoufOmhZ7h1u2
qgAik3WgDHCURNGuSR7aS62dbZnKlHciy+2DW+VdfV/26kKnNBXn2lGyoFACx8QnDxGTIBh9pEY2
Q09Ud/tYR7+LoAXQ9a6pTEo3bZmMvCObmF2c8ULepcVEB1mHpLMJ3Ubm9UG26/I4dpM5n0Uj+d4g
tzWVAwinyjLAbUiPsbWoFygr4Ee9avsPWlTTJqwo9D0HwPdCnLlRav5XmxgPMqMh3Fsn6uipjsVk
72WUw0SHNOII3MZp3XxBeZFBJog6kSeGq6kOaNkwmkPPbjn4TIh0pWtqUsUf4n5xfqzTNKZPAFyG
hgMAcxNfRJnPFERXa6zvS8oJnG0vcBTP1KopulHzFsEb7fDm6FnVnLa3hRRkAK+NZnZ70DiaUyli
7PIbsUIBI42jHNJfJ+l+boqOWpOi7UQEZd5TJF1Gjj7uOq7zeqbchIxlUeQjvem9MeT0VNU1eomu
otPFxDHmyWTSy2OVbgUJfarQyC4RjuvQBLZK8aTNfoL0hlJgXxkWSha7JiamybZGPF8LZ2a+E1XO
ny/jqKA9p2GEPU+atTRXkKgOrbbrxutD71Lf8dzINd1ZXTuUlJTH09dRofpDQ0zVk1kTU3whqXs9
MnE531gqqu82m813vdOaby1tr9Rwc4YD/CAG7L02GUS7N8e5Wy4R6YzUBJpdk2FgytsXI9N01ct4
NosLfXBcXHPeYtr1Gqb7kBoFreTMQZbwzWZIEWunmvzc1iT6eItTmmhR0F9XiCk09By04Nnx1Z3m
Jn6gXW7tHwY0gxfAHYK44Cbn8aqXRs/fNamVQfg92sAgzYdkfCTOtUf9xf4xGbrHfoxuM05iuz0a
bkxDpcrIsxHjAI1/GTM16CyjqZ0RZb50crJpqIqFfjNaWqntyaXPk5zSK4ZLDvZe08KewpTptuXh
ze+HidZTqgClq5/U1ej6XUOjOUoaM03Xh0ROiGgMJInxHkhfnQnthtAMdXeeKG9RKrK6g8oeHGQw
Ua9U3GFSg91jJosWvVhaNcxq9qrzLVjH6dNqdRRjwpis/W3ZJbnvJGygGZs2gBeQmeaRHLXpXmzY
2soq0oxVpK0T9peckktDDjBNLl8rVKaKQfdp1g6WtufkchSf3GvkeZ2twTg6yAOhbBG5UrZL4xl4
q2KtDqwPhMaBt7Vmf6ZvtAUfMpRqCkpK954ULQMcqJNyKQ9IP+f4YAyTHM8Yfaf2UsbaRFMTkCCC
hUGaH9G61l/nxRHUJpbDRLR+2kn5dWymrUsuVdntMSSwfI1UgzQ+NGedEsOd0aaWRfoWjK6xsku/
UuCIv9aRVnLWuHEe7zsaT1GBrVNDf5/X602NBB/VZVQBMEep3FtUPNYHa+pxNkx6v1g7ntxVBFbU
m9F+oHHneW4a+WD0aesCMSlllvoVr+SOfgeCDgOAR8qvF0cdP02TmRU0u7gFdJCGdmgz4sf6LTGX
cvDrlEZMz0yA9cNZgF3fxGayrIGSLrSqUQXmIL+nRrD4kVZtkYWiWOplk2HZ5q1hpkvttdpkT0cV
HZIbDomixODo2uLeGmksZKC4mS5PMIVR/1ystdGeyPhXWLbrBJQsRGisJoFumC11MiYVfp/mKlqS
G8fIzD7UNUVbHglIUHjY+k7r1QCUzUCPL4CfEOSDulrbro80sn3pY9HyyJTqaPePswtmgSZV6RRq
owGu6XhqtCh5TBt10YJKa/kocW+q40OH7pJ2xNb4EKd5J499IfKMxS1HSkpfdbO2u0pvct4ilipk
dx+NlbF6+qDyxK5yyK3riKaPwkMb7Ptj6qoLfKWIKwWaee0eHEFn/S3q2Hw5CapliZAnlJsrwO5G
UTiFCJp723UzyCuNN7SiVpNGH02duvwyha3rhusVqzSSHdUVbXziaO3dW60nafJYEf2PtJw2MyWk
A7KwNigmKo6opuPqm9BBrEfenZRiAv0UKR329ToMu9qmiPLGShS79PG7l0U4ZmKQhxYRYbdDbpFF
tN/2jRa4diH4AUWpP9d212U7nqtKXLuOQg/GziqSe76E9XDjRhUh/CZ/L+aWdioFEGYVG8+gMY44
rjoY+KEGY8geazr/dMKXEVq23x20oe6zunZT51KjsAglWMvZmi8E6zvOjZzgDRqvmUQr/Mrukvk0
WTGMflxQabf1QzZueUNPw1jfZnHB6BggNrYj9AN2lcuHQaOGYj/U4+Rub9xy1o4RCmWiC2Q9lsVT
CuhqlA8VNNZyrRVIpAOU8JDcQ9OSau9y66KTu/LmP1TVog88N7OU7pkaYTG2H6WlJHP5V0ILqZJd
YJIgw7/ozEC96bdqJeQ+qcfsy5y0iOqGIaJ573931H9ymX9cUr0vFXk43390yStV07+WVFf/BwJn
9I461DaSps1Q/beoSeAPQbCJq8Mh4Ovvtu9/Epm6/Q/bwDeAZ46WFZqD/k1k6qy2QGwQjxZZeqr4
n/ni3tCYG4O5WeM3PhUdq/3T7f0LjVnG+mInipuGi50Jr2/TJ0r12D5wqQMZ7dwoM/eVOs+7IaKu
ahaJ+JsC/zb/n//izOPC/LIkO6Tibc4ZiFwcgrC2LpfnFZHKOtaNVRXTdykYLTQiREDx7vtOelC9
jMsVeQGYABTqMzD/smOwf6AV8+bO6r1OU77+QkT/0zr4a9z866X978/DNSex0YAwNt8GyuqdmAb8
M3Goi6beV4VDvBT1Mqio2iPnwFfVhKkchvS92Io34TE/f7CJQM3iDaNyw+3tg/1yKyqI1bWxdTKl
AwenXIQE4uiyNgSJ6mJ8n8oPRj/50UT9YGrQf8GMQyG4iY1NMGqOyqOFiGkZqOt5/PMVeW1adgQ8
O2siGQc8KqpGKOnrDwaA6EyK01ch4YKDxxSmXIzNA1Ni3fTtOp78TJrr35DXf38u3tyHnz+VOAo0
AOyXJFa++alGbtpdC3gftvlUeUM02EHnKs6ud5dPmfUDEKS6WRJR7srWXo7QjJ/GvnmxAPSfZ9Wu
gb+j4lQ100HUa3fSDaaSvCzfDbV8+zF5UoRKxBsXhlgLvkOvL46VmwA41LGF2jQ+iYR+UWViELRj
VF2y6CBpi+pbN4XxMtU+8gD3pjc+z65g9o3JW8E6aCdk51SNuKKF6ilf2f/57r3JLvz79tnoJjll
cMDyGV9/QldR6edVnTJ0osYCrf9sm+1wzosFHfxgDvgRlWA0DSKD3Cbft3ENDVDNj3C8H1RzIGY8
dv/Wv/73e7tdlH8DY//8SJSaoWvWXM1Qt1Ppl0d9NZOthTkqQ1aEZxZDgiPd9r4rXcsDDig8obaj
b4CQhfRgv8xd8knQURiaVrNHUfzIeXn354vkvDmFfj5t3D2E0wIkEd/O608UW9DUxWrXYYTmJJC1
1u/Wua0eHKUni1Vzm+s40O2ZRgbEf2E733qalFfEAQW82PfKPeSlSg/sFvBhbAVGOJtPjUuD6eiO
mZ+l8qaPozgsWOsCC1mbnzCL7Pjtet8cC3hi4TxpzSmv6Q1EMB8dqKIlxB9Hv79qDh1XaT7vit4s
fNZrMyw0kbGQrB3kqUYtVEJNooJmYI9pdvBsvSVKMaW2uEnS/Kzq5bOm18rdSnkQ+JIynpS2CWZy
EE/r9g83kjDLETgFXKl2nutDJ1brlspwZT/bC86G1rJ92ZliA+UZ12V6WrT5CzDYQsQotq6+5OzO
q/nGqszpSE+l6s+4qcIlKZ9TpR38P9+uzTT+6gHCdUd4owZT49AQijD49e1C7U2rtK21YTuNP2xn
QM1g24VvDeV8jBs9rKM1PSvLFMzGYoeu1Rh3TpSiABPBVH7UlfqZaH2HLhEz9lx5P8UK3d4uUzyO
pemijGswidQJ9J4i+SnrZ5qt8uTIC/kT8cVVq+Y+pZxpuDZlj8pdCXF+dJdCNXkzNGN9g90t6kd9
j9WYMhE6Kh+z3jLee3O+eXeL7SIgJN3CdBhTsZm+vggp1Ulpj98tpEoLCwwkEA10+6X9YrXWuIfQ
xmJFrj2yoZcW/On0zj14+5XhxyOrRmuBqAr46G2WhYIUtx/7ASNqQ4EdFWMQlrZ+WBva1mTcHRKk
DDdsWF61OMWuomz4wV6dc9xVlGcnCZghRC8IkZ3tqxReBjP1SVGH5Tga+VMzLV8JiSv8rvpUGZl1
EDjPP6UtBo+eRuK6jV+QfB8Mk0ZXvVgPZlYHSdW3D7rRaX9Ptv/1uLJ+9wJkbkPkRf+Txsz2+kLX
lorawC3rEAWC6a2m+mS59k6vp+UWcBdAT1c+LYvuN6bJW2ii5r6JpOND9X1qqYr/ONfFCjX5fS6G
6jAi2rihuoo3vMjjr5SiAhHhM5kZaPCLmMkpgqa8jJp2opIuu5ZqHO/ZCmh9w2V+sBQBHdfH9Azm
lbaL9Vx/qPM4C7LS/ZqW3dYKSgTBaEf8gSzfF9uzkXepgyrYd1FanHRqEVH4uOYenUbvV2l6zXHZ
gJ2qAp0U1YMXc+0OS9Mqx9pBkAXGiKNlxZ1KRfufH6LfXllOXIfoCEDGn1f+1xfBZGI+rJQqnI3K
3PNvekBDukX9WWeHWUnbHgfUOw/uz5Knt28fBOuMNBgNmKXf3s5k4euwIMoyRLx8lQsp4ZTfNY+t
DpLZ4j3M+1g7GBwYXoZaNyxiGa7Y4Hw8Ps9Dry3HtHFw1na8Aeak+KiYqQyw6o87c8IBVbZ6fUnE
OzH7P7vF3nxq4ATCWxiFCDV/OyeXg0Oo+RDloeyrArjbJqi9ztZdV3jA0Qtq3PNkyv6k67AwECyI
66Ml3iPyd8IFzj/QFggj1V6PzqJQd5sUfu2q6cWJutuWcmJXGvmut15yoQVA/JERq2dqF0/pgqdt
ipc7aZYbZiadoGCoGnK5Nxt3vc5l86lI5NnFZ3RxHV5+wATLgZqDJ7qk8+PCDrwXGYy7gxno1Bgb
kEXH+bjq7R5HZMh4UlwEbPqct+YdlgqUGFXTcQMMQiFXfFZl2ZtnYUA/qGoDmTvRNlCA5PlItG8N
1dHOIqkizy2orWwIpojRR74kE94AbGPRlWeanrSy198ZUX/mYb69JbhONA7hbW5/O7E3fa8BO6dl
mLvG8+g45d6yS/XSROaTkTqkmPISAMjIGn8iyMIfDde90FBo+kYZfUhWmkcLaRMI0SgFmOEyn0Q6
rd5UO4ZXxbZ2SLuiCUbbpIxYyZSgNfmV7bW7Dmpfne3kMXLn6mz2ovYy5PU4oBOC7ak/PUEwjmjk
7tZ+Lh5TdSl2tlJEXhKheFxceJmcbujAsmKo/i6FAeknFBhogIbFd0nzoDhb3E+2UA9JD804tJk4
5h0gFg4t+6PRxPsc5s0DDnK+qLK+QBAJr5OFvHGqNvG1djJvmDNogG7Gu4w7aJMZeaOk4lEq2Gp7
2Cc/hrbcZ3re+qhCLyY1imGeeY7suneGhW10+4+7hEyBYnaDbLKfsQq/nDEKfT25UJIihP/iB2SL
bw8mV13wTR9T+50T7e1kwrJE04EKtYw4zWS/fv2uEFbuDDOfL8T8mPnLQJ6ikqugxNGIsI74LG81
XOXKXxIFWcc+9T8+UOG2hbZtJEyxbwvunHnbmSQ/3qAf9zq3Hyf8kXxWTnxT+NAR741i2mtL1M9Z
nnVZUFPEV4Fsiu3//3J5EX+CrXVIgMaqjM5a+jlN3Dv0FOotQ2PJlCmzQ1qkh8R2xKFbmYaTqDu5
U827qXZ6UNzxYRXF7Z+vw8938pu7TpmQafPCdpmN3gZeGS6AS9FXZYiBI7usJmZxjBH+qi4DTS0g
z+McTxcL0tNLkiimqyUV+5p9x2dpYYxQ3HANDvakyVOTb6Uic3/Rey2CdKjuMsyrO12hYHyhR+gF
KNF6qCmP83QUergTTTLhzemdJ+u3V5qFCTSJKrz/XOSUyXayEUVmiBrA73u+vXZvtF5mmeYpKhMa
eAvcVVlXQUlwotSx5QYtdOGOEtdrNyzKPpYGoTXV0L5zEr7pU/r7IeAbRng8LyeVXpzXD4GOXQrF
umhCIzHuDYW6jUm5mB2iXBf3F82u5dkLi8Wa9orQivd++m/WSdArewPDNDI0Ng/ir49gJdIWm53e
hJuS8zrQVW3UpnHmLrisUYcSZEstLW606yt6K06xM9dA2yi+ZeNiUMYQ8s7X8OdT//bxc5gYbXLJ
WD02kcmvH6kVeYHzlj2gqtzJb4xun7ExMEoI4VvjJ9IlxCWlaEXOzpXzpPJnLKnXJLuP++LiVFOD
9N7YN5F2WuMpOunDlOK/c5dLPrCkxI167o11uTSaug0dT4OM3vkC/Q422HQrm4LFQUvzdkpit43G
UWDvMhPVBpyDq1z6+FpRpp0WzbUeLD+eNvggk/XJrOCkMJLHF112cxCRJuNB3N//+Uv9289ExJjO
Cxf/JVKd11eVxhdDbakPDqWD9F4xHA3JA3V2Y6XUYY3kj0tTpEGhuqk/NdaGG3ajj1AbUM01i3s5
qT6pBiL48+faBsa3Nxv7qUN2g6Cb6C140OCswDcm6tCpUk518IqA2IdjMTKhlPK5Gljw6dR+B9j5
zU/FqggiR9UHxfH6m/WvdA2yyko0B7xJn3COaBfHzsvAKBS8l3bGVDdPDO4oGP/8274FKjesBO0N
MWqgcxoOnTd3oeAQVxpcDeEwfVXQZ13Uhi3ILlrzhIGCvJBB5pRZVodG0+FqMXv4OB85EVmU49jU
ATh6+lB45fvq2v6QSvbegfCblzCzB6spVmIXmODNpZH1BGE29zKEc7uLumYNsPkrFGHj45hG1Q3L
cUg/mKhSXbXqD4PCear3K7aK8TwVlXHJbesGvxxVPBX4L3Vw464u4zSYFPvLn6/mb6YT3URsxraq
oRB7W42kcHobPS/JsMhtJVhm9UQZ+G5BAjCNwnlnFHoT3vrznGYy2GIZSerU3bdP6ohMvEejI0Mp
aHEelkWGFRRyoAw3SeV8SHPlVtT3E8D7fq2a+VgqOgE3RJ38+Zd+E7T683OYSPCEtZ3YKiq8119k
A91Gb1ZqDbg768Tp2CcsXydpyHQnenUKohZ9tGOaL3k83iUMtjifjf4UF4OBgLR4L9D5N1+l7ZwD
aN6yicEyXn8cJIGNWPS8CPUqjYN5XD8iVnJB3qjAdu2bLHa/uWqev/MF/s1TisgQcFuDN2Bm2wCW
XyanRW17iDyySqqVgIpBrPf2YnxdqO2Rtnvb91gPHYWYbHXm6/XnG7DFkr05skyWFkA0znYbw9yb
G1CmsYLCIpJh0i7U6PQuyh9MLQvZhHtCaV/Ggn08XfMvZrfJbVbLc63MOM3F5PpWzH6IfyLfk7k4
BMUe3rz8XBC6CGPjFDc6jxSbs9odmhYVjBnZ6pdYQ7ttxnP1QLd763VFHXmI9MePq32ajG9Wi/AN
QaAXT04cInIjK7E1op2rScQ7uS0YXzP7Ktro2cpkGcJZeQW4wl0+l3cExBb7IsdxnQ6VuEdiQBoR
3jFm1fbSpVPzzFRn9BV0fM2f0TIC23WFkroKOYGYgmYwvv/58v58fl+/EUyOH0Y1VYdAp7Tu9a1t
zQXJNegfLjr7WS6DZAbPjk3iwo3nhFWNXTXcqVoTlIAv1ljej5VZw7ObZiBqvUZm51CjTigbu9dq
nRK1ZeHtxLng160Yd48IYxTf7C2dOXZw9vrCirFljOyNiAbhBnVLKrrPs5FfVwJ/4rQka4WQbR+P
ceEVCBIOSRax5BP2jeV6DOy0OA6qIryEDWwLRURkT5tBKK3+EMfKS2uayqWOpisBcethst+nv/7z
28COxqwEz0T6w3+wTFqz4u0SogqtDb1uTVH4kEx9kJNbELT98izWWOElEj9IREies3afMhTq/jDF
deA2aXaZ056Cw6Zw/Bo8bB6WnT5q+0Sf5neOL7JJt/nt3zcYGAbwSEeAaKkuKRHa2zXPXfU+imOt
DrWUgchJ3eau6MElUbqWU/nozlb6UGuVcpuuJch525zUwR29HpbvyY1eFtf1LDyKH43Rms59Ylv+
XGMUciOn8lEjEv5CDWpS3XeD8rFpjk1xa/5QmmCCqE1DsR6q9CCnwwA7VoZqsiF0441h3+YjiS8/
IlilNOS+Jt6e63ER+nVtb/fNMhVhbgPOLNNMu+DJzTU+hkzVYMiGH5Fh/1UPc3eI1C2ZSYF6pcTm
Uv/YulJvi7YiqzNWx10si+/ZBHRAJp7nNA4jlZDnbDy7pLYNTX22WrCc2j3ZLcYOXPqNn4o7JEde
s5IJYyQ36MqCIU6Y0dwkFOOwY3u5kpl2JPbonJrFvkxU35rEs5I9mvPeIn5zSYiJQBVqDlfLrP1x
/ljjHdGx75vaEIwNOYdluu+S6jazLOL/ksN+KBBPNTcApN5Yx7ATnZc3NxhYfYyh3rh5SUiBI6MK
Iy5bX6r49dh7ZfOjs7TCd+S4IO3JvcAdrm180eoLtqa5vZeGv5wcy9fLa2LsBbl3Nt/psELubIRG
tsuHC7EcpoExymcS4zwl5yDcx9k1EOouiUNbvXfmR0OE67JXdNI2vAgD0OTvya2ok3tDvWjVPYvm
figPSnSdRdhNT/jcPLl+rNOrgxmUxmz4CrnX0yu75pUHo7NIK21Col4FyXZOqFgX06VkMdQIfJ0J
LdyL4maqgsK6FOVtoLrPgwiS5IYLPqy3c3JI9WOqXYN1fs7ae7Rb/aVDrlgqD9Jd153pDju+t16X
/KWF+fKhakZPtCht4BNNr6pqTxifKv2703xIogj+7iWqgvUCm/LgzhiR46bdYfTUHwQph7Es3VsS
sNABkUqnWL4xKM90NR6Ayis3DZQ42QmlIbMNA41AdQ1a1G2Rk+VfeHCDPgXEUi3ftcKezD20Nseo
bvYR0uup2uWYr4AkPUWbd5IQfFnLk1QOBJ75g9L5CzIjZUyQ8V0R2LM4cMcxFKUERsQN1bgugXEL
iCopZuR7cGU+xdpyCNS4OVbTqbbzXTo5REEZQWRuzY3Jupu01ev0+K5R6BA01BgBv1BOTbuZk5IL
Mq7jMjteG49Hnv8PnSaCfRCURMyOw6lqmfO4VLIlLLuIT4qsrkVzH6vLU9yiyzLX07roXkXk3L4z
bRp58j024iCWMxBuRYTbvIstBH+rtieOSTVD0dkPEQ+EhVxP6fVrRToNq1o3rfs8v8poxVVWBGlJ
4ePIoQMVoGYvY8eGTKWtdC4L3ZNMqZ413CcqMMZGCra3ufmiD0+rc9jy4RaLfPLmOSC/gZz8W5IW
gB4Hbyr7uz4FxTW9wNbuib1ov8frfb6+GPFnm4wUwh29qDgb0YuuIS3L+K842unmdYbLnB4d6ucR
YXtjGzqmFeL4QeUGIx5W2cMW/QYBiqOCylVOgczx0vZhas6u/JSOXxLDOI32d7X9kRM1FnVPJkJ3
k8SMck55GcxBToZu239r5Ohl4+yZ+d3a+c5IRRlpJND0aOZbYsHul073pM5BIb3auV/5A0Qvohwt
WOEf8yig18Gd1iOjyg8x/LXqxmnAYsDsSA7bpny3vFVYx8zM6PKknrY7r4WFERcfOybETn3yjc7+
iPJ7D6p76zrdAYH01R7hXfrPAfmCxzCfo2OJ65/yYT/SDW8lDSaZaLcd+MYX2R6DJuwR7LSr43o/
Leqwx/KBT8QmfRLxAaFquvq1uCrqCAVreWpeB31PnlaVl7tG8kGr+iOMPKGsiPwA9IvkpnVzr15Y
ceLPtYOFrOOc6KpwkDQrlk1gR/lmkfL08okutWxRPrffVRIsU2sMKoSBykymm50jbG1guiOsWdOx
yFA7TByrpdxNpnPF9x/KxDiUeL8Sx3eiLBAdSEZ1L4FJm0AssLfSupESYI1eiY68jcVzxOpLOOt0
Wc7mQAalnf0/js5rSU4li6JfRATevEJB+Wpv1C9EX3WLxJOYxHz9rJqHuRMzoSu1iiLzmL3Xjhe8
CqqtYZG2YVl8lOPj3ePHxRW35n+UrRz+Swj2hW8xil7eQpCuod1riaK0d3veRANyQZ3uFejWnc5R
PyBWroArTVvIFgqv6G3oz3NWY059GNoiDCD7oLxES4hL0psig8/Z+2nTKLX3WRcj8W5HjrpQD85T
/9IxxTa119m5msVr5n8t/VvRknhilEnn/5fVsVmcuh9FPRwVq3UmydibDL7/9a4wnrEQoA3lv0Tc
bCARDzh51WZAE3zbeTTNeEB3Q8NcC6u+ZO7fjl9Otm8QA9whByJXYcsPIu0sSjyOsLa/6CeAN5BU
Wl4oTqa6jMT44Nxthsb3SFmZfVTLzZtfKhBU+XDG8S751/bsXcLubaJm7vtDK62djdoI32saZu3V
7UE/qnPNm+gBtxVjFzl8wxizLk3Up99TnYWKeDR5KIx37nfoSM986G5+ZGCTwm7ynp0Rnms37PAf
Jn3+Jkxvjx6UF9Piji0T7pswdx8a9VBtpwxjh8JVURR54naYtBszhNJIs+A+bMWj0klFW4eDVU4c
7dkTluCwWJzEX+HUGXKPiiCZNzfZ+uU4y1N1Guc/Y/pb9h+y+RzMx8if9tK81A5O8Pdo9v9rBJpj
jbLAKRFZIubHTCt4DU3vtbQeUvfU2m9aTxWlGTEz/dpOAt6WMf/N5JC0+l85To9N6e9K5y2371+b
JgK3h7iO2tbZ4Xfe41VAQhb3JDSaThnhBt0N6pRa36gzxKHwHd7WmyZu0wwUZDls1lMnrrrq46Lk
yVxTYFk87Qz0w6+5EGLfV7+VwDGyTheylXgxD5mbHhvx4mnvqfVfv73OFJArNb2tYaYBPmgj6jCd
SMe52XFLDhKqOf9bdCKxlluJ98BW8Jv56ngG1qhz4xYhytdQeVXYQ23FF9JBNsHL8y6n6XWj3zvQ
s4Rj9o6fGeeISS8J6VV821r+MFVHCdvgHexQJFuA9TklcxcmHna28ln1r3X7uOnvW3GhLDKYbWZH
kaVAzA756vKyJmWNMz0MtqTQaIw/C/HMJ2iaR9wkfCH/qv6JveJuzQVuM0ygfOjcZmM3H69ZymbK
O5sw0Yb5Yq4YyIaH3DmDfjpIJ1m9yGj5Kg6cR4pDvODS3KkEa9JpJ43YEL/gu6bIY4EecWkNnkXu
2FjI0wTTgC1MHnaZGbdVNiebZQyPc/UY9GV/WTI14sx3L3ORq6hyt3w3rP3Rx+7wuDrBZcvq5jRg
Ir5qdxU2wmszrt2J8l5oJ+wvHWZVqCHC+GehD71MPkMBCtS5PRO6wa1rUuG9mY3LofWtt6T9HhrG
3U4rz477TQPHmOe0MGc7WCo4Qbr44o0EzMQpadpPdWbFbepHvfdVeWPUbf5RBFQn8wOabzf20YKG
owHWxCt16qqn1FecA8GLO/1dlBujk8EUdJAY1WL2+pSRDaGfy/y3GrJblTgjn7r5AC0ubFjBaimB
X1sdYnG/OaPJU6pSUFbtwtYdT6R7beVFgc3pjUfSShcrel7FSfR2AlaNj/rda9RFacvV4J7CucX6
c9xuc/Ey2w4xwPX8vQusPJzznid3cti1mly3Xlgp5wi7AM1DTUhkb56Rs4IWAdKyst9U3t7ARuX+
s1fizmQ403Jq+ZvakqH/NfLvYbwokybqiRLD3SD0tXFGTQALLfTf3OpUZ8UQVStvJJTVzMsphf0v
NunU2wHFhP3D7JuPu9q4WN9cFtcZG4ekJY8vK5ZwZjiRr99Z/zZS+ihGpuuM8QrLjAOcY3gd+dFo
Hmnho3XIRYgU6XVj5z3WV7lcFdcw4w/0n6GH7Yy07vLHaCELG8s7Jn9KUWgRDGCcS8oLiY4y9Hl+
gf53Gv0w2aYxTrkfhusg8LQ0OBP9R9/fpYC9eJ4I5CJLXFK/+cksxGnFxmhlbkbM+kRX5A3UEc+F
yzDkgJW5HlbcOMEGjtV+rdyA3yyDydZWxT4AnBkygnX2agE1uAr71srhsejZR/L1fXKz6dfz77ja
5UZ3/8cQwU0z+jGZsqxNsvkdYV0yyuLNszAGVtVFG3CqLfMErtnLiSfN+GDqe91ZH0RmfiMbyI9z
tR5M87MUKxR1eATCLOB7akzFjVz8rVdueM8ajYikYbOEaweQkCqMwA+vEbtsnagoOsr1ocLoWPln
26MH95sEMRwxHBLfj263R8jz49kY3Mii7lo8ijyDQaZjd5BmKtDOm+a8OGXuXdkNXdA05FTDtBTB
6D0CSHUSveZAvMKjLnam2OYd+OhXKNBdaHtatmusPmSiZO+hPmWhQ0mI4ai9lu38aHb3w2cbLq6r
bvh/Pi16wxpUM3VqDKtOhNjW/hou5RD6uHNH6j0zRtIt3JltzP0pbeoxtbZP3afdKZvir68hO8KT
c5RCfxJ5IoRFb5Mlnpc3kWhU4nXVyTG1i2H/FyzMJ4Ss/utNGrpiqEWi1EjcDoPryANmQG0//Fkt
82Lq6LbctqxobJ1w7CH3Z+lS7QaGgRDuoMuFjMIPUCbNOzb86tYldBQse3j+bNyLQn2uNcbS0tw7
Nk8rN9rfwHH+LkYQgXl7ZBLxaPtmHVHG8jJyAr/RJH2WoGDgWdyGDYEZolLi1UT/CvzhrJdM+9RW
/hRWHpm2Ry/QYsMzIOObStTHcWMA1ksvxE3+Z7arF8Azr5ZrRKs0HjO81XjpDnJVKU5Emh3kJHRL
XJa6z0AKkZKs/246PJrZ17dItO0rWs8COoZjg5hh6Faws9zps/sWZKY6KG78yl+snXf/5nVec9oA
9YIIrC9KdnFVrwE4+XTXQgGP1NRT/eUIYwfOH01Zv6tr/4Wo+MHIFrRiwWd/v4UUsGdtW2JQgpwE
Tn5BMLLut9I8FFZ9HkDyBn7zGWTts81cP5zyJzEpPdYcqPE+quhepzJsJ/G69m0EQyLyU74L908a
sxi/wvpwwFyEzaZyPtv5tZvqd6b1uC/z4gzNKbQb7a1dkO0iqfjrGvfxE84db+lfHYdnqFnNV756
CR61K5qurzko9n2AFLPmJ+9W/ezjrZkl0Q1FOlmRde7X2QzFMnzhv/6AO33UBtDtQyD+bNSIbvFY
oKINra58WWaKK7vTj45X3BwVul59kWx7kEIA42JDxD29xFK6B7tbkjk3f6TnJkAnIq/DlzzmuNNK
w3qFoMNGy+BXpeq8zLd+2/yLda9Is5TSCY5/WBusJSy/YlxiMfLB1X+xkXW4Bnv3tZgO9mBeZbu8
T8b8xnso+ZuJveqXi1Y2lCT6k2Nsh8HWE6CgdWhl7T+zAbE1Mw3sjLILwfAMeoFdlxpx2TKOV6u/
CtuaQhPAMtD1KfFm9EMQnPdAG99FmzGlS3VSCLhtO1t7ytxx74/1y6LEx4QiIU55ncLZYb5k6BL3
86IzSzH90DfmH0xuZyDYzAqyt8LNqj0gaPRrahK7QjRISrF+UmAwAhBewd6aOZwDyT1cMrgiQScI
pZzzH31BclWmYLK39TQ3qOZKY5wp5yHa+fNRq9yTOXYGvxZia+dDNNcX71T21X4yyQx0TM5M2ZBG
VmDpxAcfTV4DT85lB1X7/pcdvHWaj33T1soQzMK4TzdBLp8dC0qC1O8/Np8xsFx4jPn6wVbpGYpM
yignl3s1on40Fozn4MrDgMSwcBzrPimH6mEgByKqy/ZceNvJzwDKr2MyY2dGMLD+N1ZddRTYWSMc
3CMZA4rMZ3it0WQyx5XcEUm7Vcei834nLLzRNFJoOsBI5obmmlwOKxI5mfZYcHegYAps9AKF/TaG
C5K8hOSkJhoCIKkQ0I1rRl7JhTgIBJ83352vLbyeWOd+EWLlWbnNvFeKYUXWxJuLytjn0znq1hYR
KCQjY12mWDOAnIuFAdWgtdHiUvC6Xvo416mIELznR3cGBHCfUUljoGGu152pV2hDwf3tsqx47JsO
XmbdGWHgKzJ1DcroNG+uZErO53vpO7aHOjBWTiLFlIfS0gQy5MvuqTfdEXmp5GH25jOqf8a7XXqn
0g/UADLYu2Oxk53kUFgJfiAfD64PADMoK6ztQaC2jBOdrkQdWOg3Dd+RoeDMpGs60Vcg7rZZL7nZ
4yg3Cl4O73ndIwDvz33Kq85r22Tqy0FGeobzclfHck+C3Nngu+5tVy0HnM0/dD3ktVPmzyORVq73
UYr75F7RTFqZdVtL7Ucuabxl1n9Z+9WqNun1nCZ4bF4G8izo6Ztnt6gTLABnCDbvsBrqqJnelD0/
jfkqYulox2ms/gTqu5golLS+o69d9JizNRHbCaIx7/HIVKvj9QB+8VCkyxHXYYxRmZeSYbRWdr+M
v3ULzrJAAhtnj6b4XmxsfmyFJ9b6+ivPlLQMLr3tJ53pvrN5YiRgxs6ynoNlA1grpx2adcqImc6i
38yrCgSSa9//5O3hgZz7TpxIYzmPU4/HsS0oPbJ1N3lM10BoX+EPhbLTX1nViDAvrK+pkokl58/K
T58Ly/mZDKeJOuhlZs/FtNjOT65bVCJNXE31GQZkrBOzUnvloS3kQ4bDhVK/+ZP5gWTYcls0GIqz
Xe6bLf+bGs0bH+dt/v/uDy5X2Y43nPTPqt04yyUAHi70BgLRYIdWVVzzyjfDLVU+gwwDHajF6toy
n3yAYOOI3bULBIufAIdCmj0qwBg79pH3CjuWQ/qLNgN9qGu8D4X9pGfa3uyoI11tAqqpNXsfaENc
5lDfMNmyfGZHUrPq6qlFwiFP+fHY4Knu5Gva29rC0fUepAl1ZfIFWgbHZKbxoBoUq/b24y/pSV/z
YwDVYKdapwrZFyUUBdcBZGVotNrHVupEP7TtrnfK/8TsvGwz+SGbhyo56H7WUh23zIU44XM1aMGf
FOrWUaZ9sStFgP+YJAH+cs8b4Xu7yYddTdM2MyopvBjKi2yaLekWeGBusPddDlhe6NLl/zQC8Qzx
EIqdoIMcR/fX9xiYQYG7bQJgYu5t5wA+G25eVwtCBgdaOGHdY6PqP2xu84Lq/+hOw29qIJ+rDHGF
TPxvsrG8EirAr4HWTvpiJu1dtzSnviNVp6+sMprQv5ZWfwFJTSCMezC7ervYrYwDhFHJyqnMn81c
bAjsMy6dJrILVjNWvYizy0THGpyPLbsvbQruvVkyk7ejtGoOSFWNvTcW6LtCNQ+/9mR/W+Bi4s5p
TpWRv/oBv3W7Zh9NWto74p0ol+iiX8ZUZQTBN6gDC/fDaPKTNjqvhNGBxGE3HBpqRSHfu2AfnZ8e
fsyuWcs1HD3vt8CS3Ba6hsv3Dp3OJ4qoIfjTMMFjKOG4Wh7CpB+So6aNUPE0ia2o047ZmrHbriqU
/Jzo852kVXl+e00Laz20Q/EBN63nC/eH6zLZtvbFaXbZzIQVluzE4JsCxBgYha58lbrtHUWnw8DV
ZrTAaRKCZL4EHYeSQcBy4DN1GAv1VtqTDCd7/UbIkO+zkr1T0y8sPkp46xAe8vG57k0WIvYMRSxI
ocxuE9MR5zmop53RMPjmhB/3JWWH6JaoACralMG3ZEi9y+QIcM+YnroMIb2XzQ9gcbP9mmcH9Mmk
52igHPVljo0MlWXv+my8jI98dGnHL83AAAZgjhl7pfjrCvmL0Qs4oeqo73qu59FKYJe8ro0MGFoB
B1rvnv8uZbyeBn9mOV/mjq6JGDw71BfCaPqa2TAqhqO5QqjXKmeL2AgSqDcULwt5STHG7T5slvsw
X+WwRbLi2UPledvM5hO+PURXz5FRrjtnLlmAJRZBymQ3H6GpoeoC/tlPJmgg5t1wYRkn6NYD9xz6
ciIYoZgkIw6Ne6FORXBfYQsl9n1vcmv2Q79rKAIGGirmzqhc8Ls5SaqZw9kfbmnmMCDxOXsFFnK8
8CBZzKX6yNPpn2nw8bGr2Wu5qcVZXhgJ0HB8H3MX1siUYIwAZC02+zwRqoF9dwMm12+PE6c17blF
CuN2VfkaF2NloxPgHTM68QPTDHXyRDNYAISNLLTs+3K50AV1p86Wj9XWZXE20K+BumpvlqhfzL4d
nnMmbiMYEbtPWUU1+W5znPoktPnQ6AJCJgh9hgjqsWZFdUxVFzBfc1+amZ4HLt1OYLdi3+qkIYdw
da7Y1tUpDWHhuS/C1V0GbyaDjQEzANB7BmT0gWVUPwuvsSksmMbnZVcc00ykjBL5zgbK91/Wcdrr
JkHK4woDeV6Ml7QpI6DJ2kvON6Qgng4DKGWsSCkfGWzWyjwVwMAifIag5WvjBxzVf3IznuYKcJ3B
TOUBniErlUbsR3+Q4VfFlnR1to9eO/jtyShb9833xjXO6PeSSkxMc8nLsvmehX5hPK1V/+VzFiXl
SuE5jTBeWEYlHgcXTFdmJ8Z6glYKxsr7k8r8lZiGmIBjh9wp8hOKGeNznnGHp33jsW61nBjDbbMR
B6qWkcFR7d7UHeeCXP+XhenJaFQQBvnKNdVXh1Rz7EvVSj5rMQvCgcr+yQXVhKw/O4GzAFpqRork
hVimUxrpfWafO8/61HQzXs2qvszegDZuKv4EkOBZMa7nQgCoQvj+you33ObqlV0kW6S72nMRAftB
/b0MgmNdFDgLR/cJAUSVYBAkDZ3xzH410jcBktPDwxum48ywdcpgQBsN/rHiqzU47IHuT5EEWuCx
aomhSd9TZuYrPgHj0AGmvXb5TTXluBdN8Yq1YSGlmVLC74z9YtKxW4HBkiYvEtI0+gh6/h2/j5LW
znBT28NLBRQjhA2nEvJd6GcaOuGAHvu+N3GUveK3gM9R6uLRD1Z8jZCdJtE2EU4oEZk6LYIF0CxC
pfVMXGkaT/BLdlAnZ1hQo5uYhfwQOvPq1E4mb4nMiRI3t1yyBu5WISj2p55MiUeJDCfDTjgsq3UR
EwJgC/kJrhnUBAso5xCVZfDMEQxKKEXGSUN7XI7MjJwLkJx2Mdo3zWwe2qVjHaX+pNTKL36D+3hq
xtsyTufMLmkq8/vjmi6two3smKt9FZV+DjIgZpUcj8qthh3s7YEhjsaREFR+ktsPeZ1/0gLIZMEo
VGeDur9039oycpiTYIeuFXUKUwzmkwCN7QyyGkpnHIATc1hjfZ/N6mb4LiVntXjgiY3E8bP1xIlx
QkhmxUtpvG7bdkAQ+qqPD60YTgWzoD1R5Ty6mX6MrInMfaIqY2INBffs99VVZ+Ce53S3vN5B2dK9
QyHbbUN+bjBgMUEnyMPoszVsCzGQXrKc9JLQPmZM/UCFBbtr3BWm+1m3xfpiQg+xC2ZNsnknI4/T
2aFO36r3zlT2xZ4w1hmtEakGcT+7cW/0rBNEtk9TLslK9ZreQShd7saq2fYbmRUHxAIkd4seR6rt
PUx0uF6rEQKlpxdf2yPNMsKaRjm0NYeUFNx0ZlvVB2O1GJU5VDO2t36RXCHiooHHtzAXNs0BFQyY
z5hC8EVOVMLLOr4r+LosQRl0utajNM7Yeb6WSgHwrNRD+geuZ5H02NsSY2I5lmvldCSi7Bdua7Wr
iGBi3ms1J8W4SsMaE+lDXDOfinWLb7VpVN1+layPWHdIhVjFm3i3Az17ZzuXEU/e9Ykhx/HQ+eVB
TaZ/DYo5jUYijznRZXaETHDfqRoRnVhGG2ITPQrRRmb8Ef42/7nD9M5F7SeuKJhH9mgc12wj9Mkk
gzjt39cpHpx8espb76MTPJh0bh9MN1WIOKDfL97bWhc2liGr2wmA78dByh1W6W5fCtOIJYapXoNU
YUGkUWmqxx58r2Zi+k6iHuO+8jyV4H2oWZ9AVZtRSyyWbks8QbVWnunH90FFKCW3+XwnQH8hGI2D
llIfjBJbDY/ZqKBYhCi9kzDWNkdsiWr8G8xoqEnNcMLmTx2uzPQwD+1HZjj1uanxhqLP0/oeil1p
En3YTHHeZ8CVBhuEl5aiKFggyQQ0OhTo+uM0F1Skhg9Ey54JCRuNo55qzCKQ7SbOgsZngWqAlp3M
eEIHv/Wq/kXN6Sd6v7nHu2jSK7Tg6hqpulTlne2GA2FT1ffkrcbVgYXLeoWbxc6p2TC/63sXrFE9
GsOVCI3h2pPcGnXBGvc8HQQgietoKM5ILtrD0guR1Wdxn0vmejSU0u8IqIapapkV0iZ5caoO2Z06
eMaSnVQgB7BdjCVZjM2nnL8MeWjOI8Dndm8Odh55fBEZlgTucYSrE6vcHnYWYT8kBqAImbaGVejd
VTZxk1LEvAfXTSDiSJeiiWH/hSx/h7u3rYtnpyF+qZuSaVn6eGoYpysmiBuvcokiP9Rq6xUW+3fv
kaDomzOFUVrQDiO+89XD3PsPzjTasaO1R9R/Ilm3CuFl/pCJbj1aWvZpy6lN8oLJo19ZfbIgkdn1
mDVyp/mXihzdxFQwap4ZAwtzvWy1dwWdkWJ9QxwLnG+JoU6ry9ZRgeHguizGit4Jnd42yvGRdJcx
nKf6riOEpmcrDcIhIrMMlj6P0GMM1XjuHRe+XMvOXa5N47zog0fbSPKbASj84f//WEkPesj2Y7WI
GLeo5Hjfdrx9xnPme/JBTtsnm4/66hBWBKSudpIKbPrOZmI/9hYpTtrYRK7hgI908b/CTSjCNqOM
py8ALLn5r6hRWPO0kpThIdjpZOuxWzAIvm0RidI3ObUWnAohWy5ALY2Al7OWBZG3IaHYFo2KiN0f
7oY9jVtFfo2H9DHAT9ubDA2ttjbIxtF3mlfvg7azjhRSkRQLUgG7Q9+j9zLhmRMBwHhOm1izsw1g
TaW9ZLDj6ra3TuyIzLf+xx76NrbdxWC+qmUxGICBtNe2Gk9YU5erLLZzFSBt0W3hcd1t5qO+ii9y
K8BhBx7b4WE639WmWzrMp86bfUozZ9jp7gffde4mvz+Yk2ReRTgV7GJ2gjsQVM+L7q+h0fcNy2Uu
RcIR2FXJkk+q0QhnD/7pA5mYldqrdrpi2mZVZz0phn/7JWf86xOas1u1tN/bVsnE667nEM36Ra12
2eDjh1bf/+UvkO6UVhzmteuPczm9FwzaSSQiyL4ByQAf3LpoOsVMZi82cxeJRmrKT2XX3XJHu7O5
4f05UBdTk4Vuil+aGlCeYad1MaEBzDIK/lhGP7lmErnj0oFuT0Xd/IMRByJwEAAVl3tXXZ2ZqT3b
UrTRSDainyOIQ4r2xZ4gysim3zk1Das/u+9kUrYIH3ZeM2YvmSeQn/QtMOp+PbmQo8OxHWO6UCAN
3nter0yJAErT8nGibmSPAp57nbvUjDM7+MQgF8ssWOK8YNvZb/xlxqbYEkR3nFRN6cazmeTdaPDb
uzD2B7afI3sgrfK2gz9ZD7VI9dAYp4JBPkp78kj4Dlpw+APrJ1NGDE7GC4UP07Fu3U+Db1243uU/
nkDzRKMWDk19Jw7mR9bCbEpl98fzXqvVpnjQmg0jrXYSInjyqmnZFw4ShmZLd9NdMwnZmwG8vkZ9
yZcro2rXiualxX8/+PJkmMEzCuuorQPvNky/Vhv8+CmL5j8V4sa88K91R2lA7XD18voGQpYBSsOK
ouJkoWGIySa4IJL+4OGxaV/mT3PLn/vSoatkZAgv2FrDmcpPMJKp5+2kj/K56dz2UrPP6+8IEk+W
771Vn7hTghNpKklptZ+0u6+oISTFLwLari+uGOmfdTdTT0Aw94bZ7Anc4JT10MTBK0ILVPhezB4M
BVBFN9+0MM/U6O/AKnJVNx9q03+LpboNZJUR7SBwa5ZMui2QnJph7ADRUfOpNr/0oxfErffAT98R
NMMg8OB5mX7K7wc0O8IL+ygRD/bqhYXoP1yIsAffzi+C7Y8zUDlKDeNCuzlvfWaGJou6s6JAb7f6
phCDmKJQLwAMH9P5qeiXNWJ+iFm+295UyYpIyfVp4NrqBQ6HoUYMmErEVcWlYXcbNt6k8QfNl7WB
CmBNDNDNIXZd/kCATczEq+7P3JkfKdDMw+z5P/1KBrRpTifbhHw6MpBTjZxPa66/z9Z8/92dR8To
kMrt9JxN1BOpl77WSDVHlXphQ05zIvp8X1n//v/j8e53YcHBxL0cPE5oSjlrq+CVLRLEIddEtt0n
gebMfHb5i8xyJxm9p1USAaJ8vsEF0wJ/Lr7hHdOUNNpZ16wtkTBdI2V3+r4svT9sylgwuelBpuiC
ELbhoY5FarIraffuZrrxMJHbRYBzklV/9aX4ToE1ferViaK3hudAaIA38VYZdM0oJpDQ+ZuX7xSG
l9H8w9XuRYOn/qXA7s4Qvyng/KdVZ4xnyfM88/LUUo2R4uEui6T/6t5U3ZpYOkDLpo7T7PvOfCtZ
UbKYJyvxao3Zn9SvwZ+gtxObc2xIGRejZCZSfRtKnmu3+YWM6Zx7MsMagCKnqqrQDXf+N3PMbbyH
YdifjdKCZKhnchv7/JnZ0cBIgReks/OfphodEpir+0ig3JV2g4LSx9POsCuamL/pSNhDY3IZ9BTI
47byVORLnzRu9Wt5dr+H6QmCadaJX+Ll3Yy/KBehMDn2I5+xExIFMafqwVYNYxtcfNVGrsiEUM7t
jI92yd9A417TfvwVBRM4HywmC63H2lnZ90kmW21LoVytKVt9AmcKlIOr48Z1a/0uWozhv2lT0gsD
SafQqmPT6U9Vpc6Z76J9zfpXLCNvECfgO6Bq1RfJqGVxIwav33WFhssym1cmm+E0o5ZNzWVnmsxa
A3p2JN6fef268JqydPvkRPtSElpAAZyVZDhFeLZ5mzre1zxDTm586QbtPqB0FsELMgK9oZYGuwsB
yjjZ8yPVM3CCIW7lNSeicTcP99ShefnUGnWtnGGPUPpfUdx9LZ0ez2VrRkOafRT+1u58OhPGH+sG
BjyLK4lDNOtR4LhyiWufRBVJeHooHck7q7OhLZ78enrxHISG1rdkg3FeJhBBfk0xDLZxmMdPe6aU
71ziEtsCiaUCVxmxCKeCdT0P1RwDY1bYdA9beSj7Re0Gg896Hrq41Q10N+wh67KItmL7k3tiB0VV
PW5UspUm1A5a1qMsCuPmmMZRtOZhWenBifzVEMMJeXLkGRIJwQkSTVGpJlR8QDN3a9bOvLnpSx2k
LKPsT6W0MmlflG7yVTUk3647NA+pyLzq+5assLB2hmfLZD1NLDvMWyASUQ0bEjEvaqgxSNEW4hXX
afVKTbCW9kpWeGAEFjhG+HxzXjKQrZOsEc7o2tVRaWI7aMd7DaiuNQJLmSkRUR9datNXrHO3Z1dW
fDl4mjRW78pGT1QFtbp0XeWzVGfnso0px6UwS4aKCILMcCIwOgF4asWiCSK3ZIen5YRh40DjELlr
LIdNMT0EzxP6aYCyQP5hgrDnWrViNvO8TeU27Age/E5TF/UlMp42eC+6k1c7eHde18ood8NoOVEh
yJjR2/yAn3nbe4X50rT6mQltpPTlu9MJqLaG8mtcEECIhVIcPh27E6W9IA1m1j4RGtJW3+3SU3C4
9Zsjp1do934sC5K5bdP+rWz9xemh65JX9EVU4y6HAbg3oOsihjT3tr3yXIfsSanqve9cHEyZJEze
zYto9KdLjlF1zTQmd4SLi97f9e76ptsurYi79UfbGf4OZQankQl/N2ELCx6dlBM2SFfzbCqTD1Qh
9uzy11EMiVmiOycqPKpVAdB343L1bSZ5zhQzxKgBehdHUlIKMHrqQRbjjYv9DNqIAY3HLnjTeSnm
oo+CSf7eYxyRndXX0UAMg7J3TKTsukgsI0cOboPZDb6kYG1HvBw50c3yRmhXvvOdm+ZYzh6vJ+9E
lRPeNgTA0jgmzLTsY53uOckFUmelU9cL2N1aP+HhKJFUjgWhqwzueIM/YM12LiIJuOMoZ7cmGRr7
3yzZs6zqxR65eba1ZGM8vlkW4be1F+HuoiIPLEbH+s7QrOj+HzZcfWg6gTo1HBFpYPzV8e5LRQbX
4KKxwUoFWWHxXhx0fAIt+ilb+x9/TM/SxYwywIo+1BePcpz7Tj4qOBc7HRhPgfzmJa+MG3flrhmr
ne4xw0Zq2pIBd7U2/1PMxoeGLoRSsKJE6P4zF/rKkaWjHJAQpp57yec+T7j+qFavKGDaCFbMGeLv
cjIA0d79m0HB4wQgjwFbcbIbqftlptj87KPp2DeE6nOePpneiCDMY+DZaYSXpN67rXXsCAbxVDnM
lFczo9Z87eR26wrtDL1u1xXBbVqtZ7tI0W/INNHE/d76H0nnsRw5jkXRL2IEaECzTe9TJmU3jJKj
BT3ovn5O9mwqejp6SlKKBJ6591ztneI8g2ADYXhkP563CN+1w91oiQwdSBJiSiiQqTQ/OXJCXBk1
p2jBWQJKvyccjFgWAjy6tUfqimtHv7igoVjZHekrfvWSOjEic8aohMR00TZh8m3xqXCZVbzmbrxU
YbZlLmSvrTz+xk/pUsvX9cY3sn5RGP6PNPCL2oa3GhO+Oi91sresXy9D8F8V2lr8I0DYJvppG0Qu
SQLhd0Gh7Dcl5b5wFeSIdV36YLUdaayrVK2qvmXKh1tJgGFYBOmMhJsZaR8w2hdFduyMln9jaLZX
dacYBPAdOXn+7ESSKVOO8F0oZzUVouLba8HeN8N65HnIatbv8aWu7tdpuCnCgQ2zaC/OTJpepcbP
3p6uQensEq/YkF17Js/iB0qUy+ZfQAuKWA0kzI1k2nz2Xv/ptCxxPPWSU57cP5JhleXOup2dG6h7
ZExeZi9Ep5DVRd5DQxz6MjdY/riO5nAUZ9J84kURIi7tzX5jp8EPWW6bqCYilhbrVJIdt8CJxGJL
LWQr34Gqi2VdhduJ0Ic8crZMw1Ck9+3KmtobxfV6DKpPGWcPcLRRxE7Bdzrw+AuFdcnCIBkw12L7
Ml0ja35B+YxAu1C3CUlnrQmk9cYc6QWDCBOTDLlRm6zKV45DgJW0ymXLWNUz6hXl8ntPMc4QcuB3
ai4QobgbLUWxLBidb2SfwQkttsAiTqbbnMvRN1nkRe9km/Am2D9my+YPInm0FEHkr1gCV+XwbOuR
y6LXSweNQ9f3nzWwdC7Uo2s44JOCE6OYZdc0TMh7uZot6zV0qnVAW3RPtX3MY9dAnt7wgfY2aWCo
qaacoeHMOKeQuKfE1My71OVn9pB1tlFG/iCDka7rbpC16TLx6d6r9e5OL7dKyRQLPZOM5IsTrjPX
zNa1kt9Wyq5Z65gZ5vRA3AduDI3rNE87bsWMYCtnjB6NFGkQGpwrFZjB5VWh23eZKOvxDV/Ot513
b0SItXzWFTlcQUAb1xYT57fdgy5h1GglZxIvSpZU86WNw5TedeIWnNs/+Pv4KcNhj3mbggQoysYT
+Ukqd0duBcUby+ZTeN+6Yfqu3HzPwofzgvtrP1nxW8FWlTwPvSHUcAH2G8Bm6f5kAdMvo+NfGRnj
hLgxL2nQ41buxvd2PkErSFDWdY/DbFoQtzxOJSZ3U21jYpfVuRvbrwQa2xLudSJtLKp3r0XkcfZm
2QpWxUZOMLFHrtd1MTjv4B7XqsnSjdAF5jkkUgsrxofri3FDYNcYu852mOu3vrGKlUJzFd/nb1nv
T1t4Jcs+ZD8xvfL79hZ2aLmr3ouxzQM+d1Jpb20XZvCEkH/jm8WpMsj2cwnusab0gDPgMiZockOH
hhNAlR36/oYAQRR1W2zxNG2dOIpg2hU2Ouaun05suAseuObZNnFFkpFAzTyrB2IjmiVwhB4lSrs2
m9xcjxGBFfbMF+dkNDM97oiYYGQ287E6LhD/jHfbinwAXW3dr8m09laxnDdx8ebH9rgleZm33Awp
G9HbkVv0aRWBtyopXvlmUamYfbImyZT5DLrC0jPu12b/Yqi/1K+tjfDEmyqddV5WAalGaYS3st53
aYb5MDEufWs/NyJ8UfN/LvR6pKbs/8gCeEUobwOka/5gDy8Lj98PbTXweACXNg3pyERhRz7cjoE8
H1iGlKxgJLKY6+oP8vwHOoFjZs3YUAaGPuZEFE9Mp20SPb4PBbLUKgqqFREL0yGf8y+3z1+Ust7z
WAyH5qW8GX2AeDiFkFjcxzZRNSKta8IlvTGQMg+hXxL1yMN7BO/9MD5ZZVOd0vEj16QVRGzuFvVs
fnRWM69o7bKlnP2vvmBubkBF2GQyZK8TpphF5yZdto21aQbrOsf8juvO+XVEy4IXlS5OnIQ+WF1Q
lHeQZMj5ycr5GeUmCUfmiqHafYOOV8ALbTyNbIBcBpd1Iv9mg4o2mjKLSqhE0WmtsszVq0qHm7bX
f4o9z47wWLIlurfOpqIFYXPoWw5KE2Di0hPpgVwY84kS+BvrS7QwJLhEJB3g+VoDCV0eMxlcNDAt
1ipwj7MKPows+874QIhUUPvItPkLE2aGg4ZHO3X2boq4c4hQ0ZtJBy/sHA5ieE6HweRMpJ0wivey
c4xFLOZmqZIMaNXw0FmzDSUMkXPL3GhTwoGwCDRaJ5qcY7ctf/Xk4UisnD0VDXvWQrHa6TF/NGov
5oBJ9tC8JCpmRkpOVOey46tpMhPjU4lVIgjpAO89bY28W5GKpBEszvumkw5trnj3sv6d3hd9Tk2y
nIHQYDfHEPgGBoFK1Pswn821gxB+RVX/GacF4cA41IF8yqWZ5m9aVO7KJauJIadhUMtwGQx2vTdG
/WaFBeq54m5GNrfAP6n83bhYFfZj4mT3D8x5Jf/li7YR4Wtb+WRO4YBg5HUUtvNHJ7dxA/RwBM6d
B+fUN6rZJl2JwEquk246ufH8N7i4NgKp3vKCEWxudC+wwMblrCGsYtpmNmeC5kufu95l54TsDT4b
NTEGXGIsmKHAWF1r/tKVKwoysioMV45rvRfsRh2bxleL5iUs9fscxydPjtkKbsUWJdV7aJYfMmxD
QNjGskKHaOOPxZTVAiJriWpPjHgd2/8sS027eLY+By2fhnHM7gpQvj7psMPooUscyZmOxVPid3Jf
jSNzvO40sBfErO0KkJTxSlTtVZTEA5o1+yE584ZFpZehw8rwWIrxZpJ/sCCv8dVLYAF0/PijW/YL
NhA3pqfbqmVtbfR1uEhwC8WV2iaTVgt/RHpjR01z8GzcO1kLVMLN1ySaITo49rZ1hulSb3k5ptVc
uGxK7ezQELnVDuwyXDKqEwYGKYpOHAh7Wc0/eX5/q3CClDl+YzPEy9tZw2ce3YCPfjt+i3Gm79Il
hJqDI5iXxYiHTlqo8H4PREu2WBfDv8RoXjdsqsrN2Ew/ILM7BLmcUfrY2PIsUiPHCsOkyIwBtaYm
3TLspWRd23zq7JBcEkTK3x7G862YARPP5GauPKdnpZt4SFOHeVt7vH2EjvbbsfkcdQvCpWQMqENj
uCPWp2UlscO7Po8oxPKXwtfnYKUFJewQan/vAJA8Ekx3ysI5PNoawElYkydb4lZ1gnxnjmW7dIgc
P9lZtCqhlK4B5Px4/gANIYvPfcTOvikDudaMiYFBjqySjILVZdLjIPPmgc7Y/x7sxl67mTj77E4I
hMOpQY5GgAg+4lLl+t3KKJKrUCso612IJ12RLFB7ZxHH5bpLBcVb3IsjyrHd3QGZToHaT4b8NUnA
W+QO53Ni00l3+QIhUbxmStqwm0DXnanIwdeaQ9nCMRRXBg0WEcwz8XRb3NoGxYaz0GjoHnJbfsjk
PttTl65Ct+xVzjsiyr+IzTTbJk7tXmF/Yp26baE9MGdGUdZ45qaKEGQwNzL0jPV2nDfQ6uTJiPKn
+l4couL4HEpYBVDCCfTJ1LF60rqN9ur+uMhMXLKOCy8zKQqdwVDrXODKBdy3GkBxHQgpOYcO100y
M0VKCPEFUFNOb1kEHUH3OTvZKXkvCQHczuOIxgvjZoX1dBFEHr+14JEKAnAMeD3dcB97Y4q3Q5Us
yYkgxKvHcKvYU4nTIbTjv8Ih7QpvMzefdQhbecPx5KydXD1G3vDeKXZZjNKKheF03LOqWTVFQJIf
EqBW2FRtbcsw5VbJCxTJV21UtHB+BK6INa9dXPIJMBL6b3oVgzX1CNN3wfnxHlsWbDrWkAXy/5Xw
N3OWfLQDJp9x5BlH/hFes655iavgsc9cYq1thd/sXHv+uc1IVcJFIlE0dK26VhYJQFJiKfSFWNV9
FhwQDnB0pHvV8YEnufdtofJnpEAAUTDEzbKsHCa97oCp3Lyb8H1qJXeTjNvOcnZooCDhutO1iOi7
4zn4ak3GglCyEoYyDoSN+LnghVgVqUWuFyrKdiiJqcqkorq91xKAAWTiPU3d9B4ghF06dpUvB6tY
D119RlaOyzcJqPxniyGkFR4R4It1W9iCZTmvvyCJneAhBi7xV6gN7hdeJzhE/OoQyKZkHDZXSsXf
wo7zfdK9aUv5i9Fm0kJPf9/EfqgEzlCcuou00989etrMGKiQvY98HL+DqiKSQZm7qai+RcIcGjmT
pATJf8fABKxx1yiVRQbwFtK81W+tOVx3TkpoA7PflteSqWD/0EK1MQjhrjUgDAX4mz7L7q8GrZ0c
vasVtfuBHvEuXH/k8npU2LLVEG9ioovygaqY1thVdMU1yRTSwiNfwIfq5g9YmDwc/HA0I5j0k0te
WbBLXePNtfZlxV42dJC8lLb6y5IZaYuezn0bNEfTHr97M9u3aK+YNHe/JKFTE9nMneb8G2uIWmc0
kMtCscR3THVIpXaBjgb9Wms+WzAtyNf50oG7DBJuItrrQvkMPA1Frpn3TOMBuiUFyebO+MGC6CGV
plwizGAudDcHcGQno9zJmg1UroprWBewD6TYee1PtXBDftx0wAki9DsQNYQwgtuPsx9xHv+R8OrT
0MbPhqBmbjjivGzA9E0mG9KzZNcTCjk5mtGB8ZVP6t1QjA+SZLzVAekaQn4mjvdUoJFnoYi+Xk2/
StNCy/zohgcl6Yn6YgXHhwcP8tSiFvGHw15xYekGjxEIhj62jxGZ7PS8H27gPmjXhaEd7Cc3+pkn
2mMmsbJQzTLM0qMbeMtmzJ7sMu7WsC1ovnPy3oYH160PIf6exf3RYWI2bPMA6ZrNc8zcdDUaxHyP
OEFIRSQSq+xCgiTb6cepydrrSOxdxAnu8qpZsTSOlu74xYR7UevsFUUZ2ACd/OkYRIWYERnLeN9E
CGun5Iq3lY333b4bAhFVmmsHje2EEN3xt0J5Tx3K3I1twcqu7woQBKBWNJvEHGNT79XPEJJsVino
EoYTN+gKNrg+zOGde4Mo+Y45Pz6F2BnqjUAxz1j9z3PKP5PISFsghXXvEjp5DhFALqax+MRn9Di6
zMlDJDFDeatD113G9n0v1eBZIZwwQ5PaAg8wkApZZftbNgN5pNQdgjJxZRG/QbAOnI8mnZ7qPU68
Hpb+jIgrMJ/tqHrJ//VuFS3LkgmobDnG+kZOC81IKp+8ixkNxnqyw0cCRN/rObzyFPUr2lcQIzSh
OgB5QDo6YvyoxmUAeamy2OcOc7fPBDoDJptkoCVII8a79CM2y70rvF/YJ7S7PSeoO6BJ0f7mDsLD
VFvTPOsYNX/8L+lm/Ez+1C+L4XEImnhFNXKpS+NjrN1fYpjhC5VmholCrzpLPBKGiJm3ItTTdTZN
zMcxY8WJ8PaTU6rXQ4sqfMbVDepEO49oAh7Dko+w51WdYo5Rsy73fjdeRkyK/KqC4kwL2LP6gECK
BXjU7KTpPx1v+AllTUOhG58f+2w0xm1s76mw44z9r3oQMmZHYzAMSoP3JCmb44gaPW1ZQHYNfaL4
17nZb+yz8BqdjTABqc//pv9i3M+c9R7IGNYzFTYyfMkNNxHPYFDzhuf2EOD29lGtudO/KvtOGR0u
pjp+xdzKfJIN/P1Le671WhXeaZCtt544DZZjFDwM4LCRXu29mJYgDoAsmG1w5GaLMV3FX7aP/QCe
XmQj/OFEOLaZqjYyZ5trDd1aNnAvWnHRro3VrXjxoPUjX2/xvDAEZ0XIFLtFI+qJ7iul58Rl8uIJ
QNSNtF5B3O8yi/zZvCOlgl/IjPNy03T8lLR3O3zFAMiw7cisP6Oxqf+PAGzlrtGs/x0/g2ldv1S9
Wa9KPCzUleMbORJ8Fv5MWhyx4DW1Qj90j35bxWvnjshT9xmTVdC+kNonVoOL/CJz8PlFONxVsEZQ
xNLQcR9Le5SrMq5AXpnQKPhQ3hUDt4Uv0whPxZb1fbJFmwrzDZ8pwigLzky6mWjElYFy3iow9RRw
UtzybFXJX1ZOv8j2L8rB5BPlSxTj7aXr9RNpgFe/cCm0cM0FvM8L2wKV5uDnRq50f90RLg/JpvJy
2lK7q9f8eJhOJII0u2RnP53rKTj4QlVbBjrE0oCfmtdhGf1OIXthL4IKkMSrssG/qFANDFMKcip/
yEGBFH5/QVUPjSq7JkbzlklvG5Uq3+JPYR1n8/2T94v7XiZbYUOq7LOdbVRIz9tSrlsPq0hNUCCa
nX9sdTpQoRbLt4GodQ8pUjKl3aqeymDXW3eaEYToRWiCB4sTHDKujOuNUsYqYKcNZxDGTmEDubdk
uo7rn96d//nsrJsi/TVti5jFnh1nJ2Hq+jXvBiheir0GL8fkxctm6OK1yG+Bxy/DRK4LuoKOIda0
AZV0fokoRAKcuu/uhJEW5V2zFVgYLyVadzf3eq5bP11PpMAoIwr2dgRjB6Iu4tR2DmEvZZcaCyy8
uebUcnRFpqHOZWUh4nL9+DA0Tv8UQ2jDp1wwwsyCtVGLdjuk7p6E0xxLTh2sphaGh4TnNw/Qt4xa
vXWqn19shD0cGSqxKYMra1gbjNE2Vtu9JWl6MBIVvgdHH4rFNtMhudzwfFbZc2Pbzb889R8SrdJj
+NXDIsGxjDUUuYy5HyTrZse4jpABK2UgJirCfI2xZ4NKKzppkjo7EAYHB9Yd8pDYJAE1vZREnsJQ
YCUX47WFafgWa4JD+OBtynTjaksm3WZZXCMb3rKvezJr+1xtGSnNGVGlU8INlM9oJOJRoGR1baIn
ItThplntcad/odkP+J7kC706AEFWzRmUDz4x7exT+WiasjpFmMNWUPpmCMF+Cs4kv3WSFn1Et6/K
7Eo+FP9jHJ+aohhuhIS5S9I8PFZPGVL9xG2PXuyeBZ3PCeHVspSRcc4Dah5Gp/axqbvVWOkvm2iU
McSC5ism+k2vxKWxKEARPHEpRhjz8TBkS2TG89kStBTGPL3o4VEztstS523WWfPMiACL8hCcVK14
2kl4xmGarBoPW5TRZeM2ZgM9WkRyT53qTqXpfEeDcnaGTVImubvOqUQBtFC+82A38JHeYjdqH1mm
xOvaIv6b6LB+EWmRP8dI5otMYkpIguJppC2uc9AWEjDl0RrZpXo1jDn69fhYEuQO7v6W0MVAT/Kc
CyaGg6GD28xreJwZteWk6uZssonTQBOtQ3TGuCv1Q4O/GGsYiyuMSf/SdLw6sh9JkQBONSgkPney
e1f04cprGZgg/2bZ4tgXN7dryhBmW2iALkgqQiZQ4bevP2XN6WAEHcikWizKtgr2wocZi3oyWmdl
zt7dbYdL4cpb0hThSZkJXLYo/mhS1kOkUNGzzXBgJ8/n72wdhmotks22kdtWMpiICX1iCzm9gyd5
INU3P5KVubSJxp6My4A7uMwIFwf1EqycPP3u1fyoVT2f0pJzvkuUuwwne50gpW5GuKaxzyNpGd60
h59knFjcQhv+gxhbH9yC2a6mUtya5ahQ4o/vTRmmV4lfbTPKooWLUOb+2vaLbod7Fs2z5dVP9K3M
XR2Q460ovuCTDBzPgX/ZQDv9CmcsywU40NQhpH1iD7dVgb4nqQSY+6x3UhNfQwsVSC+cE7wb6B0K
Imoam8VqukO5Zp8TNkwiZx3VJ157MdDcZdNoPAQFhizRNsc+iy9UYeElD08JOIGTJevsmFBs8/t1
d1hgV6aIP8Mhf440hiKn8SBcSDLhVG//iZxOJBH61RaEE8fmezeZCojsoN8yG7xCJqA0FUzkPUhQ
ubC6M4kE6wK/8RKFW7d3g5T+rKwORSn1ue+c8VEWMfUMLNt4pBxvArpMnLPs6qsBQoPDirIQDsif
yttxHVpnc/DbJyzoe7RTB4sZpz2b5Sep3kvvw/O/8R45V2FAJTBM4A39kGZXBowpOPa1TJqArffI
m1rIH9JR6l1g52tMjeoplEVxGhDdwJAAF8Vo8zUwKjCDrQH3qMwmIo9n7+oLHkgYMCbAmXlc9U37
2zvmGwt3fy/zpoQyx5Q9kXdhfIrQa0aRXSFx8acquiI3++nCwtxabnauSIK+etNPYxni0SjJ/dXw
8KyZOUNcavPYGARbKkrgxazunq6yfGQ4+DMpO38ajYguLZh6jEUD4mZrY2Sw+swuvVUBlJY6aBGE
G2ADuDu5cQ5F9qvmLN1R+KXYAY3iks3H6O5o9WWHEIb6d1HY0XAJ0uqYGf0r66x+l/jOVqQqOFh3
D2OARJyOLV3a+YzkADJ5R1FX88ht/7JuXBSNzQQw/anaYTi6IqEk7nxvW4aM9mLbGK6qjv+E23Tn
QdriBuEB/8lsMw2PLDBJpr2XuuIJsCX1ogtr0LLVtDeNGLO2mM1LRLdEUjAGQfalQAiRyzoIYJYZ
Q/1Vnzr21a1Weurjp8krnvDHIBxFzUxJDiTNmSmv/z/UZNh3F6SabYRNtwkXpsXOm+HUBfOh2vg+
sHrgAgMJZcZLcl+lzn7doIPjLus6R5w6/9p6oFyAEYLTTx47rw+u/z0rJgkF+/+cnFJLlFjGi9Xy
DyA1/nEjbSCm3JOCDXvD+vvLsjmrzM7UeyvxhoOw0VHG8cBkvkRZOsXIY21uoSDK94i+c6rQ+b67
GqcDQXibCK0TOh/7tcT+NIu7AAWk/LNGVN339lM0edY3pVFlVf3BqQj3E8PSgjPMsz07wfwPHvw9
BiwCyRaq3zbAkt/0AIbcxmwe8yl9rediUc4CnDeb+aVb6Y/UhgWrQ5yQpfc8+LE8zDPSBBfO16y+
wEGJrcmOBfQi25o0N9v9PKS72VTygF/Z3HaD/TGmUMukVx6oGOZVWInnQWPyM8lmPnk+o1eTSPG1
70Rv1kj4JFSw78BSrK0UVikPdAhWr6FdUm22iy5jjDIrN92Cv/LhrMCa7SsUqQTYM45SDfqxKTj+
9wem1PVQEjdiBZH90mgGelneJycFOq/KLTyDBjoMcIbNuh+JyhKirfgqlbvPDPZxYeqgNe3uINAu
GA+9ubdQp+xCN2F9d+ehiAAvawmZBQ0xE1oCr9SCSfELhE40mWPyoNvOJJ7UYBxiFu9jPhBI7f90
LlcL6hUPQVjwEAyNxFRAwGvNHHQqOhccEmaZmv/fLiuS5y43KgLfso+p0cZDXXF4hmN40n3x7Ibz
XZg7OuQvJh1bs4fEbNn+ztnR6ojb9kexL8wIhApz177td20AfCDtB2drR0zk4biWO3JNtwHT5QvY
U4LlpT8eXbK8ETFGxzZGe113Zn7orfqPM1vnffbi6DLeFCP9SecEhzEyf50ApT0rJgl5r+rWTjcy
bi0vY+j3Dxn6UJzZ2zpI2UxPeHYBXSNqQe4fEcy1i2v5GXaANjMyZc4x8msCGTdmju/VlwhOEGzH
OSlXWLSC6S8qGn3XDhVHxFE+v/BrJoLVOMafnem9GR5LGDL68ChGFPVd5NdX1fdvTYDg3YMGGVj9
lxegw0HTkt8UVk8aXzM6uKI8pZpmImqV++iAzespnscmPSndf7vD8K/IIeMzSR4eUHuPfdffBurZ
qW7GAVOledNV4ZLUK+2THvpj2qKbJyFzADKj7VveH2rG1GgVWmRW5jBfQ587F9u+uZZO4hBsCJTV
CwlRwSCJLn8UcC/xVi1H3CZpn9mMfS0DXarrH2lIv0xQI0Opg30x1vTk2rinKRrxv9ZHKYNOjfc9
9s4tsiwQO5+xCl+Lrmu2jvb7fS5ZBZqei/bfJykntzl53IC8ztHbjuhA0VLVCg9fBoj3UUwzWUaS
QbffuO62nYp1BxF81TOwvAyZ/aCGxHkm7Yl17DCfyqilLJz3qva8VTCb40Mn/XJjVV6MwAEJl5d9
2tQKl5noQao6qV8lwSG4KOAStVzCCwRP10Eg3YVFyzne98PBxw9GLRUdAjPeAId5GIYYQUk6XVgI
MxVqcLYYoducWK4dGtdwV5S99cGvwedbUim4vrS3yUShimekPuk0Kbe2yZd1KpOpa1vnJ7Ae0QKw
k9pCT0BEM9rVA7C0+mHMcNd6kfVsamQdTorzQSdhcoR+x+05TTZqhEwc0TRqiOrmA0RadbCLx6yY
ymMEvZAVqr4v8LutcNS4MOaiQ7h882JCnbsMHZaXu58SwiyHYnsgCXk1MWzfu3ggZpWqI60wj4vI
34QHI0Bm2U5mTYEcnqXAvXhw5+JAKy/2RL/aG0erf8qU+QnKvrk3BnPbD2w4QS6xgHThuscV/jOc
neMiL1DI2MFJa/hysgsvScCLh8iDfGn8cWcaKn/VBJFm3WDOq8omfZtGCqdgTXPRef+0nTwzGtIb
8uWXDeunM5bWRwkn8UZZiZvWPCGNQURRFYiuCg2ZvKteCk3CqjsFnHhmGB/jsvpJMMVD44Gg0Y8Y
KjLbe2RgEB2UKz7YIjBJFfEpnfL65lrYBpDFl5MYdrmhDqqvaYWi6jKF5sVvO/d7yk45SlYrm1ko
R2dHde2xn7sHjNnQIQbrjVngrmDQleHxZP5PgkXjyv3oDVdSD49lne7nKai3ERXvEu+hRwdxtNmG
8qBo6yDMfpdapn5UFKmdZz63QCYP5pTtbU0TYw42hvc4OqlMgu/rqTLUqNpHF+kBPnaNTCPEvFcF
MBGMYK05I8BKBdP5vz9sKzNWNH3dzsl2rgLYNrrQnkjuiA9SRbyrirFLGg83N2zAXLT7MiVjWDTm
dHYjkeJeTmp6QVYHdY0sKrSnE9bxrZUhV/PdaLrktuj3Jh+wg24R3xIs2t4CKP/fH2HTbMPcHfYU
IuqUFjNKqBRLPB5LwsVSb68Ufns1qQlcbjQyes8fsDeER5IDXoTb2qcw6c8TwdE7h1HtjgDUP+G0
3jYfyYOaDSydnUjrVwa3XITeUUdV8Kl1PUHG3DmJp45hdxcWs4Hd3AO/iRwhpqMiBmesqSyH+7AZ
QMEaDSiTecc3T60kUHvKq4NVwZiuYPXmDvZwPFkAEQ2KTTzSwzJhbxg30ylEatHfkyLQOYO/Nctg
GxQwdMIouDlkAD1nwHxxg78jG2iXNc6rQ+ODOfEWJLyJi2kw3Rl831pMM8F1IYJQDh/6dvduiu+d
Q5+H2ZM52oQKsKxn4AX4wAFiOEn+cyryiEmzTfZfbaQbvA3xCkz6zS3d24QvexlPTnRI7s2/gPAa
NGYCmECYG+XgnbYUwQP+2BwDdygjSKc/SXxIFTzTRQHZx8uh2yVeK/aUrfXqrgSVxbyepXObg2F6
9if6ZHbJ7oPXYr4PG70PUSpvtT9O763IbsQBmY+udcTS0x7COpbM+7x6l7kcUHE19kunQT3G3TQi
QTOxM7tBfGA4HGG1Ip0mwPfwLky0LSP3JnoYov4YTjx0ChcSMO7kouoxfm4HPYCAM8Ht2BPK4wCZ
LtPSHzp+cxcILD2t1MXKqtMXhv8o7lSuXyvURmf+ip0lyz8cbsDvu/guOCjHS15cGTDXRBnAX1uk
/dystCuQ4Lp3F4jM24U9wBhAjnSY6gRTpHP3BGAe34iJ9Uw/h29DDmosqGOSrBROUqvlD+F54xuN
Ln8hoOLe6bZWOqqbw0ppiHm0SsGHm2m2PXnloeCMUlg82gRrC6+LL4fax+/KMzUAYvZtU3ZoMgCu
IHDv589+crCs9bfZJFI6Zr536qY7ImdCy5Iibg7ZY6/JjCQIfuqAT8cyWmqYk4cwj4j6GGEjYKU9
zCHGQyTnBBKHgHJZyk+xbX5U1abt3eYzACqPg0EQQ2yX7WcDaMvHce+Z0GlSoG3LOAVbFNnjiK/V
lJ+Y2MEg9v6jmKEwWTMYpVEnjKlkaZEi6MaIwSr3Hf9ZnTX1B5hivZce3JSRnFGbloOr1ptpBmqk
5T5rCW3y+nXGSFVWhb9WJd88goiYCIzuPo+B1oo8f5gKVV0tKxCPUeRsGKNsAhlWt2jo6LrvurMa
3W1ae+mTgWWisMAIVxnb2u6G4M/6sHzIvNbk3UxlvDpavAWW0T4gYYKeguenaC1v35UoS80wSI9V
C7wzks2wl2N9nnPbeLmL4Jad4/82kyfOQdDrVVrADAaHDZxw0M8Kjwn1KLfelBqXJIk5JFpSZoYU
pyli8IsvuBZNv0HNN2MnAyXczN/SssylCTPpY2jwWyfcQ0lWwlkasR404AaWGC1QWqTh9GpBGEEV
1RpmfP3vj2AKXkMTTTAbWLGyBOGhXK47A0UrlYy/Ai3IZgvpwiFjgXANyQppQkjfw0BEF+6mFMUD
agiDNfC66rNhr5xo77OBeuKtYEJC88S6iIV7GSAgZIW/7Wx4h4bm/ejpBPfuBH3G6n9RKLXPVQyn
j33TIXISCwB8VX8Q28XOzvfA0nUWFSI+p3rQ/qFNZmM9x7/ak/lXEieE3N9RR562h51LvtmmKlPc
m61RrxOj+mHM0R6GzK/WaPf6hwhM0Vpi2tqiA8Hyn1nlC48/PF55m2xlrEeXl/F/1J1Hc9zImq7/
ysTZoy9MAgncmDOLYlWhaEQnUqY3CEotwXuPX38fqM+cJtFE1UztbkQvWiKFRLoPad7veYe2HZjn
QXypJbl40Mgg2kS6cFwER/oHHdhSJ3LnWrWvDDEaH7hnLW4mfTw4oYksy+Yb6isGni3Ni4nx2RP3
Z2S3lOPNOGXO1hg155JtJWm1g/VtjKSxV/3+UfY0m26VHBamJNbKrv1mzQc6VQYAwo7wwTJHsHES
FshFU6bDfS0/GHpaXneopFGzsnIIOGVD7vPMQvp7SiaNW6WsEiEuaNzE3oWlAOQGOmirV+qdKDmW
ZtHALS2e2M1L8yM0ewTlbPYeZDtcWlxOf+gAE2Grc58HOiwlxUJ7ocG7qmto1Yo3HvQiQwtENjAb
1Vtt9KGC1SW7ERPrZA3QVB44P0yRWY8dQRjBGLePSHo2auWBbmLZuZ/UprsN9bq/1rrgPsujPxIf
25ZR2KxQ2DGTIjgiHKjUXYQcdGsa4SXWD5zcRzUfYVQBRglevhtsF71kj5o0wVBlSv19HrYHvNpR
4BlRMu5/GU+Rz1XeNLCJuIcjlRPNwlVhqzDxPTaA5Es+Zm30bKqD8+QgD+VovhIsl+uW23xdRUCh
IV6DfIk+ZOBkbUvC2KxPI41bVoF+jxLmQHQNtjV/4iC8+An2JbpukKNsrFYPnjhL0sitB5+oavGt
LU2PfVeQ7sl337Xcw/1a49g6AAH8pLl2UyfjWqlK1E/z/wHv/dz2dXTYT5KI3mvArRWF75WagMRo
SYm8Ulm2s2jwuCUid7EL0bPoJtcSsQfqFsekg1blH8goqa8cQ6c71UuoCemjDs5+4Otzp4MIJcGO
vNbJCA+tWt4WP7si+tYM8JKxTEFgpFXXSjeSWs6rXGVWt+f09uAXSv3F7JDSKZNhXwUm0bTw2+yq
TbOdnrfdfdBjeZRFEcnjqHFCAwamgt2MDoPGCXJ5gSOXd5V7nOfWAhwN3rdYMbSSJNeJU9/Gjjiz
rDgNjkin01kjvGQVUpNmyF+4QsiwGcrKvcLB6E3ItLmOVNXc611VPJKCfmmn5bcGPMv3Mv0QE/Kf
VNV6ALka3g2a97uHEvQSZ7fPSl40ZC419WUUi3zbdXARwqqSnEnARTArtb5tNad8kLrxBwp27Un1
6kvc9PK9kZXWLswb+6n7MU6mdcDDJdxoSvacZ+30jOyAzLG8+TApcb636sn/02nx/3wf/q//I7//
0wqs/q//5M/f84KlOkT9xR//6ylP+e8/53/z7995+y/+60P4vcrr/Gdz9LfcH/ntC6dyy19682RK
/9fbbV+alzd/2GVN2IwPLZ+yxx91mzS/3oJ6zL/5P/3hf/z49ZSnsfjxz398Bw/azE/zwzz7x79+
dPnHP/9Bcscrq7z5+f/64VyBf/7jKq/+ePn7P/jxUjf//Ifh/KY7jm3aKkPdwgwTi7j+x6+fiN8c
i9Mo1cbL2NG12cM7y6sm4B8ZvxnSEFI6KNMdrHIpv87b+Ue685tmG5iqAxIRgOtN4x//XfE3HfhX
h/5H1qb3WLY39VyTN5Zvki+JNHSSOoUDfl2Y2sKuMRiqMJPcoFwAYd+xh9x5ysbaDheKm3JgeBGd
8upcOIP+rbyFhyDaeo1bUMoTbnEpLhC+oVFhEQhI56LZscVyPck1Zc5l60aecLQ11IUd37L0pZF4
N4ROU+ttw62Op+tXLb7E7SHCuLVmYW3Z2EBFEFhQ4UDkeVYUgsNdHqaZh5xQ4gwy5b2SbUuV86N9
F5fR6BZx5plXHllFTXhb9yFODV0uIwOzT7sWtb01apDNyEwD0BoFzoWRKzRyfJMrzWia/rJxorwm
EyWJPeNOSYaK466iIBPhd7s3Wi/6VjnjuCttFnhbjhCzUeHgjkUT81zplPKDxLOsvR27zt6WfcNt
qWFmjvmiOgWe7MAiVcDEMLW5jbJYml41MglQIwg5QTzWQ8duIxRbIRAXmCBd1sutr4wTu/VKIpEh
MS38rGoBKueLRoVO+WlMxgBouRN6j0pt2JyJTODWMJxHcs9xnfkZTheyX7t2/EsUCjb3jnHcvjhe
MH1UptI3rtMoq7nnAD68Ec5oPQLd9p6A+Azst0tIE0qrxpJ0g7GCqaNXgGOdOFavDCfvviIXFQfV
rPsP5FtbD8Bs4/qiS2JHeUQ6aU97o1FtBtJoW5ftyD54JJNtz/Fp5SYCiP5jAoRpJ+oEoaJSVHxl
U8Qj31P2PD/sDn9BRyr1g+N49aNdp5xDxlyzexsdxiXScFaj2VZJI1KcpF+OaNpBpI1Qn5rwuWlt
aLZAjvBi8JCowZnwEH9GyMJIaJTNRzg92PKYvZilyRULMrNsmo6vTJB+kgLHOMUAtzYv2q+9UDE+
tmZyH2t+cN3Xk/2hMHDRi3Wt2JNlhTc6/mV7XjVB26GOnzqIqCSKxwBLydEkn832D+SBDU8xwFNo
JuyDKiUM9klqozbLZ/Jb6yOdSjtSX02n6A86gvA9ihM40ohn8bP3LY4c2PhqwuOzhrhpp+NMcYP0
YdqKtlHdeV/yQIIop+mDk9xknd1cWZzYolGfLfhMPnx53ZGkwzXKIYWBt2kdyAWhj6fhgJqXtHMV
cKgi5E0GIYWPGtZxJOfn+ykyncvWTsxtYgf5VWogFwoTY7x0ogQMEuq1rdQz3+1ZbZMEELLGZFZc
YJqoHKIgqfY1l3ta2ZDKnbVzemgyXqUjidsNCpQb6Hao0mNsInPG6HVSxpjyVIZ2S8pUdpkkXn5n
qj4atMppD96I+kfXywC9EdLAiOmJTqkw921g4i7hOYhPbBKzhSIQE9sR+Y+k9G3UpO846pfFPdx3
SGZ2jUg5Uc3LrjSHH22iqt+sTBtoqrp9EChXtwliFhiXXf2YiGGbmk2zj6NJPhVd6rttzwEszrLP
FZdAzyhP1P2UpA3Sfv/3lHTNbdRr1oeSC4CHLrKALqVeiMRzavbc0iKk8IIUwMBgYwjkSWmH9yVZ
5db3wmyA9Osd8Qcw2iyfncqSKoiaJMRtOSgcJ2hQVb4TVYDUBUagyY3XxSinJCSgG26TkBzadnKt
DJX84qUqYrbJaJT7Ap7kS9WaFTKK3nvIFRRKGKigtoiT4F71HHGwS43rTBswJeQqY6sbrTRAn3FA
vVPFQISqTfOnPloF4yGoKn0nSF/gIqAzTEQoOL3m22Aqva8KZuHFbpLdhMOYocaukluS3BGrvpKW
UA8Vx2Fyg+oq3JNNDBkNwKx5W6TJS2EV3eUYl903bpW02zLJx4tBju29Ck6DjCFwAerVmOhhdIWP
MOpVwhAbVyOeWx224pfACeyPxFHhRvV8vJoMKptUVTT5JWbM7XeT3zpMTtxcgElNgx+I2p3UvA/I
S7RuXq02/vVRP/ERd4A4IVvEL51zxqVvq5qYWG/4fFSrbb/DS+0i2gNZu3FcrsTc8nC8tLcmsfOK
4U1hcmFDbisWbkAFhTkk6ZpgVbqfxwvQ5jXAXza0fy9hsSZBi1M13HDOaxI8p26SbbTF4OsCue5O
u2DMXjuXJ9cl8zNfl4k6Dr8Aaaq65CKBhRc/f2VbzW1SzLa7n9clDDRtW7okCzso0rdkhl0HO/bh
xZ921f+r1fT/bKl8V/wAP179+NF8eCn+P1gv6/JVj/9tufxhfMnSl+r1Anv+B38ul1nr/sZdnY57
t2ZY8tei+M/lsqPzA91mzWsYmmrywf73clm3fzOFtC2bn/MN4pDw38tl5zfYygjGJHstdqambf1v
lstvx76ia0LiwYPE7+3oILd9qIySC5/KSqDV5XH6pTAyKI+v2uGdifx24P/1+HmR/nrwRYVPmnpc
HIQfFTdAvThgSEYYftsuc7Tmz3H3ZhP3OlzQtq+G+l+laG9LCfRcdkUti4Opl5wsJLXdfAnSnFzQ
okb5e2hLczIxO1UQkx6v11qzLUKFPkRmbpVTfggUB+ZFzwrmOoAhMZ1Y2Gvzq/81e/9dJXMxa8sm
qgKRjPlhiCunOzStZtUHU0zFV1bHjXel+Wb/g4Ry/0lJoBwZk4VHpF0EUXGpCr36dFY1f9nSv+o+
BdGxEKItD13BufaFGeUwgWQ0pu2JnlsZH+bco68KCLrGrJJG5gc8PTqQ47b2M0pKW1xYrKyGMwuZ
d26vChkKcikDi2sD7hUQBhVBYt9xZExiUVrhs3teU801fFVIw0IZgVxeHlBxd3d2WfT35pTp18ef
vtZO8zh89fQ8LJquqWYVbxWK53gkB9+N8KkRiCUmTXePl7IyqtmAvylF9Z1At2wP71HEbfupNFHa
JFn4eN7T9bdPjyIlI3EV40mUp+1DqRWwTgJZWdXu+PMXX9m/5swiDGjk4IuRM6iDhaayv2OJN6qX
leJ7xo7URfI4xx6786oCcIGAwCTdXVeCAFW1I0P12kyB2+64nofswJlUMWwapWE7Gqix5Z94xbe7
9b/ecBE2xhBHSFsSqLzJVpqLNlfrYMedhUhRjClO/ju+ez5CYi8rjBtLokneQa7Tp4fjLTQP+HeC
ilgEFVMAs7VjvzxYeWVzwOmJBySpGNywHr1WuO7/dryclXEkOP55PVrbZMJHrY8APuR+9pgqs2MZ
SUOFfV70FYuo4YfFFHMlXBxYHgJ5wpMmfZZpYJ+IeiuTTSziRdNb7WCAbzv06LgwPjGjjwokp++c
CKcnosVaEfPfv5rPreZXCWiT8qBwlEzGBukFe1jQZF5GgZTnTWexCBrJVEknC+ziAAU0JA/fNFDO
YC2sJCf6Ya0Wi3jBx5aDco/Pg8gVrd6RKFEi8Uxr8lDiUI0+Hx9Na6Us4sZ8Wjgm0ixm/Rlb/F5p
NRu9W98lt0MNP21zvJh5cL43ORbRo3XGRnqNmh2E7Gd8gSbi5qPUhkFyKOMoI/beQ1btkQKTptYl
CAvOHAuLoNAFaqkZpAoerC7MnmSowUvkeqJ0IJ75YMeOV28evO9Uz1jMfVJvOEUzekxqQWtzyTRy
ZaHsoF3jGJ7iuTNy9Wo14+/HS1uJAMYiAnTYW+gegrdDWxd2tvOKGgLSxHXY83nPX0SAoZCANXKd
ZWvMwhqkSJ3/IRLVt0+01tr7L0IA9KVCycqwOITOfMhpW3AsrSTZHX/7lc+AMY/0V7M/H6DvVSrp
yL1Gk6AN9rUQuhapCPI5mcRkHeKw5viY3i/sa4hj9ohuHyf7E9+BlRllLAJDpiOB0TR6Ryk6hwMO
7NZgk+G6lza2cqKMtRZcxAZLId+yrEbW5FXe4xE19QLxm5Q/z2vCRVDIULeq0kjLgx3iQ3UBDU04
O5+UDHQDeZjMidQhmAvPszEda+Mx/io9y/h+vPC1ubQIFcEQxmMpWGionsbpD0lNATbgMervh7AA
o/JRBk2ePx4vbK0hF+GhUHTfk1nCUBTp9I3bO/9ZrQZS3Y8/fp4x78QFfREXYNAqYTk05aFJRgVV
HwgokKiYfMC6K/PnxApPfI1WBp2+CAkpBpQtWsHiYEN3a3bG0LWAHfMSKjA3wlOzPV6ftWIWkWE0
09ISVUdzqeT4tLJ8bsgZwP4yObOARWgwEi/CxILOJxEc7JiFj7O3MZwuDdypb+Jvx6ux1i2LEKGX
qAFC5EkHpFFp9qwFBqbBfp4iDmsAEMj9hGSQbLVMoA06XuTKQNPnv38VlVI71HNDY32uRlr2yJU/
DoZqZ5BecPz5az2ziAjIzSNkb+xhihEbtQ0sbFS/dgF+El3lIMz748WsVWMRGfwEiVPjaQVW6rmN
r6QFAqEtizMrsZj6eVqlKEKZjWCljetMklJUoBN+ykdIBccrsNZOiwnvWU3IPRjbVSvDHAxj4HJn
Nv1HpQ6b/fESVppovrh93dOBxv2VgsnroRhgHFYSh9uq9LUTT195f20x0TtmdNr5FR1QG8a1TjRJ
EiAAGCadWj2vvf9ijgeKXjopcLZDGAflS0o6WU4ad5h9Oq95FjPcLvOaXe/Aujkd87vcVLindGDO
b44/fmVq/9q+vppn1qRohc4G8xCO/c/J40a45OaQqzv8wxvvQ6YEd8cL0uYR805s1xYzeuQ21pF5
Rj9n0f2kh19sb9zrdnVfx/0NVzA4mek/+YgClcHK6ET11jpnMc3BqXuctzicXEXhlRMp3yaktscr
tDayFlO7EXWDMTkRJJACAz0HWyYN54H5ElA5Mb/nPn6vyRbzux1QBqMZz1Hs964JvWLbGLUFx8jZ
FpYovx6vyFobLaZ4kysdaZq0kR2ouMSQfrUJ87TcHn/6Sh1+aQVeDTDpdGFlFCz18xLzJgU0Ncz+
aEtnQ+hxSJA/XsxKb6iLeZ5hJNFhOcaOgswTAL8oDu9KdhhkhGpqG583nNTFXFdIKaxBQkL/tqud
3rc43bD6P6+31cVML43ClkGt0w/+XaFN19lobEh+R6dYn+iLlZ5W58Z71RdB1ogOIXhxAB0En4AU
tqHDYcqq+sPxXlg7KVbnkl+VYJslqbhllR+UdFJA22NUUcE/x4Ahw5gMC7FHA3r2nV2DFUYjZsEi
aBzYMvXw+fgbrFVxMeExMja1KsuZMk0xEvTz+rEdSQM5/vSVaKku5rwmh7bLEwYz6abKnR+hdIUo
iKYN+pkD1R/kofhaTAP4iOMFrlVnEQHGgPt8I1ApMNbKEfujOuIKtmG27o8XsDZvFpPfrKQ/aXOI
caxG2USeme/yEE8UM7J793gR79fBdJYfeNLbgwQfrYNhW0Csq9TZ1E3mn5j473eJ6SwmfoPcr4pg
NVOBKfqYkjrrNeSda2XrZmP2LZ5T0o/X4/1IBl787dguikFChqjpi2AkHPcTGSLS6G8aX/jPAwuK
3fFy5jf/e9QnufZtOblQAyfpB9oLHOEBQnS1Ya/yJRMk8zTOw1SO+CqUjfn5eHHvjwBzvtR7PWVT
bvthvpPRGYRFhFIXn7YRj1u7f1bKxqvPHASLwDApXdxFPo03oJG4IHdPXKLXkyfiztoQW8z6phaB
msYMMea+3BdF3l46Dfyk81poMesRN3eGkxGY/RYCd5tV5pYdUXCQ9nBqEbnWCYt5risgDgyNwDKK
ULuxuB+4h3uMX3OC79H2eDXWGmkx1aH3R5oxQtJEezeAoVGnHdDF+kQjkV37/ri1F/O84Ea3NuI6
O+iJkz10pk9JUYsuSbWnGz1ua7DrBtZWEzjmMktAz5MZd6EOMnwZAHBrnGz90sTIivS5uDJmYlJq
CIxzStwB8sieITqN1z+RroNXmR2TfGBG8ZWcivY5CScLSn43XIeJQPUsa/07kubquat639yMAtUo
Od6syy86J1IvcLz2uJFNlO5DqCOkgso3SUh0Piy7C5sF0RWyJqBPMbddVzCjpivds/M7DVnbBfnl
oGvJywH4rjXpF7T7xl3Qe0hCEkv5mfQlmEZ8Da2HUcc5aScKhIgJCYifuqFsPrXTkKMZ93XrLu6n
5Nkfzd/xlVG/5XEIoQd62O8p+r/PegPqR61NnyQgziXMjIxSKsgi0HQ83OZ79RDEVeNywaRe55Ya
X9pWYptsyQFzG9OkP5IsimOUZhXPVqTDIwuVoeeMCr8RgEpc5ZIRb8CkQSArn0IrMjeWBZO9hTIC
5g5Lpcb66RUopvU0anVMZmzMxhASWve9yO19YubBA0w7pHJjaNifUouMiEslcHKTHJfU+5E3ITLI
44N3ZYLY86B+tbAYaiHsSRTpAcLytFUyObs5O/7OUOrmxPprZfECAuZtGZkTAzev1QQHU0MxryBS
ILybJpmUruoPGpdjpPwYl3qLd7Ub2R7YnXxS+uEQjDlqu5m+PhknXmaeNO98BGbR8uv6FjUiVp28
yUOBxOypyfTwlgPMF6+vkO2GKracRQ93nFTk0rn1KhjDJ75yaw29+MqNHB1kYejnBytKVfKu/ZLU
C/AZaZTUJ6L1WhGLD5yZ9STPxWF+mOqmhG3s6+PW4Kbzq13jOHJmPebCXw2YulJJXDXiDDAJVgc6
6ep/oAzLriewhqduaVYiqr34MOD/YyqdLpLDZLWqDmRUtqAxW7v4enzQrz1/8VXAyTPsgJQCrFPt
2EWTBjEuIMnp+NPXhtjiezB6Xd/LUY9JBDQ/e/rswNgj+2xsP73Qkxm2nKjtvp7/mEQkPh8vdaVO
SwWYJ5SwgUyeHAAD+0AlxspFS22d+ArNo/SdaSMX0waWgGKVWos6BR/74QIr3OaPsC+1h6A0BLyC
HhZqCaqoP9GGK0NZLmaL4pVDYuhTfRBDrEaQzsvOxhg3th3u09Pk03lttpgwmhn2pLAE9QHQqHnt
JTK5Bw9TfDv+9Pkp77XZYqYEiGFN2wnwZTZ9WIIdOYQe+GE8MeM2kriXFxHIyuNlrZwCmXIRx9GM
mrjCJwqsIB3ksVFwHYfUe0qClyEJnnE72g9hXly2rHZ70TwcL3Zt0C0i+6TBSAjywWNLkOBM4WNf
VIZ2daJSa4NgEQZis0apn+nVQVWHGjljavvmDgCSg4Vi6nn5iWJW224ZDopCJk5YVAcBkOe6BwFe
vsDSCIprm8xjD98kToD3CY6seAmHAGYuBxif0X1L+sl04iXmifTOYFlqpAqLHHku5vJDVin17+E0
JepGloG/w7WCc4WZMRlbVrMnvVsMJyb1++0LTettKAcQ50f91Nmu3+NJ7zv+bdXLn7of3R4fHe9P
AIjvb5+PQLqYTNjarqgwj0/gneZFOmGR1wF8q9Lt8VLeH4PCWoTbuNMmz47mpHsNIkhsYmOqhmZ5
ol9Wnr6U6HWNjDToSVgpDUNxq6S++tGD0/p4/N3fD6tiKb1zuIORWGM7sLHwFieHERMTi/wRvNE2
YSHdWvM/HS9prR6LgCpt3wjTQbVdiWj1RQ39BgpM4H087+nzCHi1KGgFmUXIW6mHb38yzWK4az07
eDr+8JVhZC7iaEFOMY5QneNagX49Zv2NYejXLTuJ3hPT5ngZa80z//2rCtSWkiv22DgunEF9LxE0
fBim1nw+7+nG26dzq6freC6DtzBEjDtrAGG/8Jzd8aevTGNzMY2HqVNMgY2MG+LH8tlAQfiiT61y
XVYKSLLzylhMZSXMJ6vuHRsiUZVc4nUE2d/M211OZ5+YaWvVWM7j1BuzPDNxXwyTK3Khd0JLvsq0
PNFKKz28lMX1Ao5pD+jFTUB9XftJk1x6pGBdHm+flTG6FMPZfNxLPBM8EA+xuBrQuH7ouXO/TLUR
w4okMxz3eEErrbRUxfWRaZAJlOJ64tcvaQ8Tfnb2wJz9REe/v3gVS1kc6T06gvSYaFoUWX4xmYOX
Qfw3ZeZmRYwnDhuo0Lykf9Rq75WlACufFeLUOFvppTlx9fU8hKBGkieQQLBPvgYUclRuUrA198cb
b+3pc6O+muWkPJHBGAjppsJJtyXoASg4sXZi+7U2BhZPdywPNGYFVM6HSLhJa2nhWtOAfrGGp8FQ
Toy0lTos9X5KCx3QUyby+KuieumbcTqoUzdeHW+htTosIlU6aEMoSdRxhZJc+tEAeksqBydhTenP
BuPnlbKIWGOn6KmIQ8fV/ewO29FnSMq3eMg/tUl7KjVmrZ2WESuwOkcHvO+K1CnxKfYst8K97MTS
Zu3pi2A15dakVV5NsCr94WDALtgFVvjpePOsPHyp4gOXjFmt3ki361O8psY0TPDTzpFcnmj/tQIW
uzm/70ZYe63tBt3gwbypSzdI4+bpvNdfLDUKJam6SS9ttwVheIPZb7azOu08vaswFhHCj/3Bj6Xt
uH2Qh/so7OCI1MB/z3v3xRyGPVm3jkW/mhWIHqsudHdW7J64q1+ZXUtJXp2RT1LZvu0CvLo3Elzs
68r5IGTcXoyW8/W8KiynsKhZbSSldEuvjj5rRWA89G1RnAhyK98fYzF1K0OiiopAD1qxMsB4CDDB
nLR+BlBVJz5xa6NzMXN1tVX7Qg2IcLVt4NCZD8EnKw3RgJ/XQIu5q9ZGKbErt1y7H1ofqiRcSMz0
gurE+F9poqXYzvBINRXQnSE8tebXSWATO5LUjF/a5D8cr8JaEYsJ3PhNKRoczVyfb+/HVoTQgyDl
bWGvTidqsdILc4rb629lLkn8JyfVxkIrJ2e7r2uYasV54iSxlKGRq5/W9fwFMHy5Y+PwO5yJ8UT/
rswyfTEBBFC0JBqk5/Zp0/qbClXPZah1rZuTD62R722eCBZrvbCYC53fxpNaUInRp4sHHDygMTmp
8e14J6/1wGIexB64tSae2HoiBf2UZnYU7Rtbr5IT3/p5sPz9yEHoi3lQT1nSK5Fnu5bUt4oCzdwe
vpdT8lWP9EOCiWqJ8f1ZVVlq0bBgqszUtjCyUDFM3RhKBX5ozALc244XsNIVSzmahLEUpjn7k3LQ
Svi2qTviTTx41nlBVVvMBjEYWY+vJbNhSEOxDZwGV00k2+K8XEMxE1NeTzecC+ykqWwWXrLDrqJQ
Jc4v+B6e1zxzs71a+MZGM3ECwGQuFHB6rR1/GVUAcBwGnmj/lTm3FKHVRhsVoPBs15DicchqbLTI
ucoby7hURvXEt2dlQixhL2XccDMAE89tJmzIRKWA+vNIIzzeRr+a+p358Is186qRvH60ktTrHTeM
ncBH8IRhpjv4eMdvLBA79bUN4+wG1x0S8pLM5r4gKxPrU1E4SvXTF5P+xe8LxLyesIvLqJDDdyEq
R9vZTp+eYsG83wTGUisx8H6NTc6eayv9BFpZADHphx4H1OONsPb8xTAcYxyIKwOHaynBtW9sdTS/
tomWqrvjz1+bp4uYVqatgd8DFLIsL1OY/vQf1DAzA4ReSnJET4z396shfp30vupKE5nXoPcsQQfA
n8+eoXdf0wks+1mVWErv4OwMqe/rzNUyuGXIcGBnhNdB2Dwef/7K2y81d/U4KlZRZzap/KPFLY6V
foKsbJwI+2tPX4Qym3RiTQVq4QYg4ZwLx4n8/qLo5eScNYbEUm8XtpaeFFyfuhw/OT9YGI5PdmZ0
z8cbZ2UELbV2SST7CaWg4xajXVwZfanuuijFAtADm3O8iLUWmv/+1ejxuDgVkRNwXIdtQrNhG4xd
WRnDYj9veKrG2wJGHRNVB9SHm3PH5cqBXL0sDU/dZ6y1kP726XiqOrEHRNrNoXfEPm5ZFSjR4JSc
ch4n74RJdTGFHTXRW6lmJp4r06XlOcBVEt2VVXkVpDUuE0V/3iL3lx7mVTcYQTb4naeYbhKYvYvL
ITmzQqh3tTmVZw0mqGRvmyrtI2UKk4rPep90z2anYFKXhKVD6jB+xF+OD6f5YX9vMGOppMN6XBqY
SkgXCKSJQ6YhfuhNVasXRSdnH57rfOo/Bi3gKVA50f54oe+PYWOpPiMrzwpCm0JVvAQuDKPEgQdo
1IkYslalxQwpRSkGPY09t9E+YbnN5X9zcAKOtjuxI1llK9naVtqgnpgv749oCBpvuykZ9WisoTO6
QpCzt+maHpGoUskU/asUJ6L6Wostps3Uwpb2B8VxRZ50e/wyq4NZYAh9vD8WxLr/zgo3nMW0sRFn
iM62LTcfcUww1f3Ypxd18jKCEoPYubFbAMN6cTlVWGT61Q3XWudl8IImedt86cQ2ro/kXPSocUtg
OBtyEpEl1JV33nBbatSsMUyKCo8+lxQpaMvC+AN7p/PugY2lZidsjDI3GlBFWKGVO3SOOEN1XoJZ
Tndif7Iynu3FN7EYcjE23KG7holTp5/sofgWm9zE8RCP0jgdbh18/ELj1BHE2mgA6/LmE8PCsakC
MMEu51ex5cLEy/IdTqdFsTEmBZxgCHoe1FcRORPpU1U+AF+djAnj9zR/7rHqbIDnq9744fjwXBn8
9jzzXsVavCNDLBInjhytHhB4hNSfrecpFeba0xfhwpSeHWdqYLlljzlbmH+KRX3iSG3t0YvQEOEg
0U0mZ6W4KYy7xEm6ixqQ4Ylh/Yus+E7sXiqRLDUrRzGxFOvgK7Y7e8Rs/CsqrhoxI3ruEu8TRbu3
/LBSNp6ccXOkd0tAWkGlyo1iKapyAX1BM7f4mekaZqcOiqM41M3mqppGrG4NW24V3bo3Pbyo8EHt
rfyiRzRo7Y737ErstBdxpwrTxlFC23TzqjxoXvIpxJ1lk+vmqbG81gOL6BLmUsVRTMwFtN81unnD
mcgpXcvK2y9VTfiZydqfLBOsZo3izP6eTv5HR7O/H2+clXdfypoS2QDhrNjWd7ZZX2d+1YNnwxbz
+NPnyfzO4FmKmDgF1DVZVZZLol9zx+HQ7N2ASHibI5rZjanvnBima9VYRBMzrCNcOCQrpU7o30pu
H9WL2PAZk8cr8uuc5r2aLMKD0Ls2HbvJcn0daNFOwWUE36yqiZ8037NvU4CX4hqqX9Z8VqoQQ+lk
0rPbyCJybckDRbFsOqM+kgM/2spFA6c620AAwiBOLQKszI2IJfGWbHmsUboY35Yze2BusFdhTQng
PgrPNN2mCT/Ng38ePtLHpSaIuhNrobXGX0Sgwcf6OsRX0I2NSoGf6Vh6eyF0pTmVrbZWwGJhkhud
U/sG59V1I5Bms+IB2K8bJz59a09fxAcsH3zSclXTnThaRGjkZFcoqCEpHh86a49fRIcRtRafunm3
qUb+976oONPiLBkrxuPPXwkQS3agZCg1HS4XfLOE3PTlrB9IpIPDAF4/x4tYqYK1OGwnXcAPR6ux
XA8KOG4KGNF+DQovPusqEWjc2zE6Slgqcd3QAalfXhqB2VxIq8lO5BmvvfwiNBRkyatDU+Mp1hvN
1TRgfUGHn6e9MqxFXIAlkmSkIQBD1kSwxUHH3NqTet5G1rDmOr2avXZNlnGTMXaM1tQDcg+i1Mc4
PQv9q9hsrZ/Hu3dtBC3n79hMZd1zX9bqZfdR+FJ9lPoYfh/rCK+f42W8f9RuLJV2aPvMKYkJ0HDS
X1jMJWhA1Rz195TGgpVdYP5oHT/80spe606Uudbzi4mNGI5rdr7Nbu8EAd5CGjkdLJkr8eN4neYR
9M43Yam7U3B6Yq/PTSAUm9LeVC1ONhfY1Tt/WDIXTyMihU/HS1rpoaUGT7QRe6UAe1kZhw2mH2nz
u4Vx9aMXW9l5k3ApxItNS3ploXMnqFgYqXCmx9UakNfzKrCY4pld1HiHYOwn+8ysLoKu925Vw7d/
xzV8OBFoV4aYuZjoIRxnCw6USXdHEr8Oy59+BrkuxAbG7CgvfRzOvQ99xYtsJqRJp+B+K8Ngqc5L
bHxCongkfPkC88/8tknkduKjyHo4+hfBf5X9uDKWzUUkAPhiO2HWc+YEvfXOSFuxLxJTnDdTlkQ8
R2CcVPSsYKdWC25s4WsHEMnxWU83l8BZhewwFUlHcPBRSz1p2JZEbFNOTI33W99cfv68PDRImiwD
EPSWvIhx3dxiLRXuWrBWoeJ8Pmf8mssvoFmHrSkrwz/EeD+KC4Nkia+YEvZim3upOLGOen+WM+EW
0b4hyJOLy/lLmFNGmRgXCV6agL5xmThej/eHkWkt5ojW45VWYpLpImrrPlmGoeAL6sivx5++1hdz
xV59rrib0aVQOKXypGZ+6Tjfbciu0zHN6bmc7/YYNinFiZqsNdZiQjil1cW2woVemYUWLvbkmCnK
7OPrGN3+eHXmdv97fDeX0FjNABjWFNga/j/OzmtJTqTr2ldEBKTBnAJlutqojaTWzAkhC4lJTBpI
rv5bNfEfSLyqrvj7aCJ6FFBAmp17r72eBcAA8TMCMWA4Bf0g54PnS2BFR/hlmJsFccWP991xE+iq
rmzqMbEQsnpjAFoUUNspIFHw5rKUoPPDb5u4gQtPaK9ZNV4aEJs9EjicCsnlGp7xDWzzMh1bPWQd
9dU1OeWlG2zC32paCn9p0BYBGAEYdwxuj03eLah9XVn2LwyE7d5YE1AGhtorUKtgsF1PGrB1KrPc
xrW91iZw4Rm2e+PISV8vrsNLGnuZKeuCvI7JNZu0S1ffzEngVqPQT0BWAir11doabSThLK/4Cly6
+GZKriBmzIQ5eQRowHzgbk5AMYal+tvj9dLVz3//bcI38FQJmwKNuV5UA+qe+MlR6yDYvX31C06n
/H+2pbLtuF905GDKsPsC1S/LCGihIErA87ga0XHlogUOohRQr3AICOoIbXKKalsfdSymo1iaeI/0
2OtUuitrwoUlbis1pyNH2AJw3RFN+gkmZ1TM36BDKp+aoAl/2lI04ZVD16VxvZmZcQt0X3JOHAxs
JFmFLMN95Afsxi9EceVodOkWm7kJtHjiwawOjdRQA6ew2NJ37eyTj2W5ql9vf8MLt9iKztH6DEsv
rJxHNqPdWUehhOFu6x+dScyVT3JhEG6V5wWZ/Ri24vVxlos1e9kCnQ0oqyzfJ9aFd8Cfo7wDCgGU
a9zAV5H5zG1Ij8gUB9kwNfxD24Na+fa7uvQg5zH322yqBbhwnVcsB91MlZ/yHgV8pLvNGl15U5c+
xvnvv92gJ4UzYQUwGBJZ4Y+m8tmdaaMAfgmdDK8sCZfusVkS0EU+hGFbCMA3ark3PvPb3Jsdd1nf
h+HXt9/UpZtsTqzRVEZonC/wRYK+gvtZKGuRkwgKqAyHCvo+rQlnm+2YIfWKZoClPlIDSh0DDzmb
/Sh+59fYTPAmZG3Zg+h95HEd32mQPT+gGzN4ausxvFJ4vTSiNhOc2GQBtRa3AIXu61ihPbkc2bsK
Jnyr0W7BRwtJ1NVHqdTwGC+xBTyjV+9bmrbOqvMCf1A1hQJ7+RitWdWDaJTWzgNvEz1j4/tS95xu
pjaKJ+s4DJ44hn6FNpUmjssykx6Nr2XnznP3LzHkVqwNWwRQeXhcHYuSfU3UqtKpqe/YsjzMdrmm
Wfp78Y5vjVbBMo9jB+t3PAV9gBb55ywZSHmFycc4eFVIgkDC8cK8a8rYC9Nvq+IeGosW0eoM/rMh
RMmo3NNbn5X6X9/Za6WDC0OXbqe4z0k7QZN8XFYIDdcClblgitebtxeQS1ffzOwFAs8lmEsgfPvA
OwYSJzvYO9GPb1/90vfYzOzSi4IybEv4uKwjGEP9Ah7zSVSGfdMBjHwfOlaJJ+CHk39dF/hjnboY
lhjHt29+6eNs5rxuvHlADbM82oAsN2Sy3pO2VqC2U0ef3r7F3zMtfKvvDuhkeQMDPxjU6d0URz/l
UrUA0uqvCXNl6mp4RjC3yCtbyoWPtbVUDUMJ6zi0Ph/hNzLvvGA2r4kDqfKdl9+sAX3rUT9qMQI8
aJ5uOeSNubbgSL39rs5X+csCsO3nWoqRl+PQl8euCR6npXvkytkUKuAv1Rq9SsWu3OfCZyfnv/+2
tw/hokGpRR6k98I+V3pCebxAHgTc0PHKi7p0i/P3+e0WnXFaxD5kVYWED1oaJl3xUI0egzV9bxR9
5102E39iqLUNk0KqxffHY+R61ezqBGL5zLhWXQkgLg0p8uejzKseUM8G8RvNhA6+rOMdnd37vHmR
s/nz4hFMo0QkwWGD10uXFqP40AKrl9euuDL/Lv36zRQHgtqGdYwbENVXOcSf041alvF9YehWqj61
w2yDGjKgSozijkL6dzN68po97oXfvtWpd0vZrkAkJAeju3AfcRfCVu2drfB8q1IXXcjhxyJLNKT1
v+K+7bM4DK45FFz66Zv4nNQWGANPeQcZttVhKICnjnwrrpzUL8yurV8qHadAmmIFnV1RD76GICuP
wBVWONtCuthds/+59BDnv/82iWHBs87wqkcuI6TkaC1Y872azfuCwq1A3YCcQwF3Q/NsXdc7gNfA
+euIfF+CdKtPD9BMuoLPiwVoGhEUcFvrBeDy0ZK0ktgW3nfy/s/F6bdXVK6E2Aq8zEPool+l7ZqU
DMH9EHjvKwnzrTgbX1bB/UiUx6kGhjnQM2hDBUjhb+84FwbSVpwtZG1Hb4AlyRQG85cGxaPdBEpk
ulZUP759iwuDaKvPjlYdt6KmaDBC1SAFlepVOX1NsnDp92/344Evclpx8TEoPwXxcMu64jODw+7b
v/3S5TezuDA97AKTtjwCJA3RNJxDbxGDrcfFumuOxJducf77bwMocT26TSQpULZdnyonT74bb1rA
5q9skZde/2YO63hqQirQdpXMdXMHSxHXppBeAAr/9iu6dP3NFjzSEoDXEbvj2Cz8s9KCP2tUiHfv
u/pm75WMzclSwa6kmtbyLurceKwMjHvfvvqFA9dWnN3FboZRCfZGT85NChs+FIXQiZIBBy7LoL+y
El16Q5sdmEigBgMxYIwCFgZ/6aEeU2gkrup9/359EBv/HEGkAfy96ybs8EC03hSiuZ9XcU3T9/dX
xLZybLHgbZMCW0Ag6JzKWcHFsAifLFakDAC7K7mHv08CwKU2jzDENXos1vMg8vU//RC06l51FYnv
OI4+17gOl17UZjbX7UDtbNDk3mK1yGZuOFKl0XLlM/89eGdbDXmYWMfgrI83xTW74XKiT6Pw0PcW
1zvZxc2nMYiLKwH83w9VwHn/+b54x0jiIvj/VbUQOdrUplMCt8CbCFnwXRjI+QZcRQeIraRXJuKl
cbCZ5k5iKWS6g6ich8+cotakQej19fgoEvbOTvtkM9vBevSb5CyUJ7EYd8IEIm+5uZaOv/T5N6E2
FQjFagZssdWO5rVKopy2ml4JyS5dfTPL+7kYqYW158FOsCIqQuAVbEvbdyku2FYxDhu5aYhHlN6o
LPlyQEZZzoAcQzRwJcnxXzzxv2dPtpWNl0C9VVGBIUUL+4/pk1edrOMu8dbbdnZH1skxH2by0bn6
5BfLr7cX4AtzZqskH+exT9aqAH/elv0EI1iY4580XAtUXncVfFIcj6ifCccXcuVBLyw1Wy055L1c
SwHZdkWsfkwSOx995o3PQTddc4G/MFe28nCqBV2RgkRrpGuHJOWadHPWFSr8h+BxHma5Tlfe34Wq
F9sako5AeJN6RfTQ+2hheR4dmZodnLQ7BzLz2D0WHhuCm76RwwrUaDR0qSLhuKSxAF7rUHaoge0c
1Ob2uTQQxeQt+mD8HG5uV70JL8yLaLNwFNrpuY94cpClntIuWKYUe/m1zvgLXzParBiL0xNHUREH
IWruPF3d+sKcnC3fdUSBreqf6+ykHJKlJcP4hL32v1DwggvhR7r//Pbw/3vuj2318knQl0HQL8lB
l/6OrezbFHkoUNQf67UrUh4UT1o6+KgJ+65MOdvK29nQ4rTCYLagqHxZq+UhTMaHeWz+H+34/1N5
xOLNIkhRR+8GSOgPZQI3fwIZ38HzEnUl1Lz0sTeBzgjtJKS90Lws65gJGz+FrfeEk/W1BP+l6593
299CcXBx+ewiWKcVY/tsgu7Gs3LPi/HKZL10+U2QMwsNI+m4QZxWgBQf277O/dZM6TIO71NosOi8
Iv32BOFsxaJ7PEEcqO+CYCCF15rYLv36899/u7QGjd03BiuNV8R0B1+T4miZlDvhkvLK6Dz/yr9s
QVtXzt6C+lz4sAWb5ir6yGdfHGnkJY/o//wWNvRasfzCphNt44C+aJUcoAYqfbhmLaMFUXS0aPsj
Qu9IDW4KKc21ffXS8reZEXFVFSObBiQPhyr4h9Co+zaKIroSdFz4KFtBW10o1OkIfLhhcernfr+s
GXKJ/WEN22uB34UH2KrZkqiUaMaD78XAwuEjg5L0g4+s0OHtFfDCt9jK2EjI5Cw9jKppHYHEG4xM
jks5KWRxS5s3nDRtOrroWmvGpYfZzI/OI6bpLKZgGYbuMC0DVsCW9bu3H+a/vORfBvBW4C0sisBz
2WI993v1k89Ly2+YL5afa4Oawb4u3SPxh13oAvGYoFmnvCFV4bxsQbtHdQA64ntkkma6q4ee3yVe
EMZpFzKj83Wd+EehVHxNxHlp4Jxf0G+zuW4XbtCXHx9QJhWv81gnLzCMVUjUq0Ue334dl+6x2TyX
xTNdI+AsAw8Qs0+Y4enC0JY8elc1RX8fPnSrsKlUt1gpA3pwMjKZgQLyFLIk2AOfbXaTTop9Ehf1
5/c8D+XbdYOFtZMwZYfR2NC6rKpEv+RQSAoY7MLE6xqq6O+vDavqn58G+gcD8/qSHmJIt88VgRfa
tG0mlvhdZwm6ldm0rORrXVp6mLhwN0MtBkBw2DXdyN+nGP0fhU1bLIEJJDv4fTPsG4vhHc3+uH/7
G1y6+nkg/DZuB/jug9XbssP5MDemRNjg4wLY8bUQ49L1NwtEM0CG6pW4fkWf2Rp1D2yN+3cFkzgi
//nbUZ9WQVXWaEqabAifOvZTnUHH73sxmwkN+SxqkxP6Ymax1rdBIwSyfH145adfmGdsM5VtvyyB
tHAx8FXfrVldNGsMr8N+xWRgzPF95OvktbJEf3v7cS4spXQrpymKUJg1iOmhMaKP4YJskDNGS75n
03N3873p4w74AQJEo8oHaoDAgF4UuKC8F4bZlIFGoHakQmddmswkdFkdwrAcbSQTULJF7aMGjfMs
PcWdrn6+/aMvDB66nblikigUAj2P8EXvXOHzvO3G9xVjKNssP1WNGjB4rfQwR7CFSZdBNjoN+9q9
r9JA2ebnqxamJp0/Y+HR9ZSPgWKZJ+WSv+/lbIJ3UjOvXzkGzDoTe8RxrXviXfM+OA7dSoDaOY5Q
0fbJAVW3MQecQ5/kCrONpq2vyUD+nnOjW/nPPKBFdOwZOdiw+eAMgyUhEffhpD4WEo6THbNkP1x1
b7qwC2y1QNTAtC6MJD2g1EdvZuORbClYd4zxVIe3v8h5TfvfaIVulUC2hs/GBMd4WNUmXZQx2Qyv
iV/0Y0ZlDWkTvGrUtU3t0r02y5NCcU+ZjgYHyVuTx37HM78j7p4Cg/AtttRdGWWXXttmoQpLXdRL
EZGDWlcNwwvUPHQaJ6qi2aBbZd+32m59HQGM11adh9sMQ6Aj2BtFXsGJ7MpDnF/K3z7MZqZ3xkdo
qKh/8Lo4zioWRjm+zTWr1wufYivIadVSqhCGTwfgryRKHe5J+XbOQYuArc619pQLj7CV4bReGylg
fQjaNBf2CXnFPosK2n96e+ReuvomCnBx1bCu94NDONX208Da+r5ZumukuAub3VaFY2XcLGuvgkOc
TCJdB42edK28wqSeKv2PfjVai9SZV1w5xF16mvNY/i2mEZRwV9sZ95tnGFgx02UwJdJX8p2XPvf5
rr9dfeYMFMpaB4dGi3bHQnY7tnw/88qlUUTfGTdtXSSdLuO4XYbgMHrl+OLANf7A1Xzt2HZhVhPy
5zNMfUSSqMMzuNaJ+0V48a3fB65L4UH/Pv0u3QpxVnh0L6DaEITdJXsuJ93eDyEhX983Yjd7a2Vi
OyBu8Q9AtLf7Dp3ReVA11zq1LryfrQqHYtMOojD2D4uS675NklaldnLFCbARWGq/6xG2YpzWxVBN
BMY/zG1Q5CH4abcrs+9j5+Hn/vmJIz6VCl5SAbgUbHgtvVV+AtzhamP9pTd0nh2/zYJ47nlv+wJz
jM8T2GRc5TNgcEBG1P6VY9Xfk7l0q8mJeI02SDnjE3tD9KlHTJotdizT0JvtrSeoBHLNb05qsM0n
Q901X9JLT7aZ35HXloPosBYKdBiSdBpH/i1xga6yBfC6Zff2x7+wimy1OhVTXglhArYkR91NEMxi
58HrfD+v5bSTVpt3FVHpVrWzijrAccLzD0EDRONx7QC6RUpLmmZXmEiOO2RMawKp8jlEffvRLiy/
WwVPA82OHaT0DwJETTQaQ2egTTXt33f1zcRfo8jGfnluS1pU+aFXXvC5dW6+MuYu/PatfMeIroRC
RZBDEJlpN/LqG7Cc65UXc+Gbb4U7fByJAi0Gc6aPhsPie8mxk80KikUUP6C8/b5WFuhn/5ybo4Rv
NelKcpg6hm7r0fXnJo1rtgiU/1dN/Es8tbVY9GLpd1AYk8NCy/KXz2aODvxYu7o1SMO3qvkgRqQT
bvjS2CVdJudwxB09sb4UUrU2d1Ux+R/4HCUkc5Ps7A7q0gVmkDgRFxlqNehnqxUf1WsCyoefhq5m
Nvc9U6cLkr66qvwMpbsXcMD+UZO7LaKiu50TWjzF1LgnsJRUJqfIZr2tlnSKxwYb2xCkXjzMKQzc
T4tQ/wSjv6QyKZusqeyYhdx9HxoPCMWJzadwTXqI5/p75HWWPIHpSV40xXFmpkq9xhvTsOsL4NQi
spMJKI69a7Me3q1Wydee+96+aYYfls4LmnAaECy88knM6085FmcwXvCZu+knKJevXPufNJnDrCFm
Ta2v5yzwWZj1er6TikAgErBu7wGXwwn4tzCFlVlZ85PtvcewolMubfgI4qpOp3p6MGPw3AT8Uzug
CsIJgtB2CHk2RSNgzKE/Z2Xvvq3lMp48f/kSA6ixixLAOnUgP8Vt87lKmg8W/38H3OqUL2Sxh0HL
JBtbR2XaOANQndf0KRWz+1xqRQ4lw45Sl+Z+KfhLIRbvpoLKGo4PNCWh/1Qnpk3RPvBJAoWa9Wtc
woNnHPM44l6q7OTt+9J97w1064L5fWr8UMPvrDyZZBGpiCBdUfRbzYsZjSfkZ1+wJ591/MHrDara
6KjRLYVVmKA/feKNqP607UHb5LYYllNrkhPI3t95u/7wFLuZmo4eFqbjVIQtCN/FSvIFgWkKJ/we
j9jbbKqar1MdB7mxzKVjAf0MOqrrmy5CRwdsIPgRraLdqVpUlQdCLDtKm38iUd0pqeI01AFPOUeD
ICPVr7liTVqTtnwy5fCMsnUNx0ookhsdjWkPy6I0qscfqB27XA+t3UWt/2mI7JLhsy0AbTYmdUm/
HBdlCtjJqDinpm3zAEe7VNf6M+HmZSymD9wLYACrkaPFPIrh/AN7LRNXLyUYjzAzUk3OV6j1fciW
D+WqXwIIHtJ+go6mr9YRPZSBvmNuusek+hkN/jEqozibzkAoi4by1KcJ2XlK2pRI/bFlHc5PwfDd
cP4VTv9ICxneZ5BpQglN8BVNGf9jZad20m+C3YAURSZY1adsbv4dSQJerGeQaRnXVAWdxqSTP1mP
cx48Zx8mFjzZNgZw0643rrQyS6LmjrNkjzJWc7tOpMw4RWaysN6tq9r1OK3qQ6Oq59Vjz2uIaYMy
vTz0HhY8f5Q/gtJQGMzKad+rGLFtzzMe6WTvhZXJA69es7mF190wlF4Wtut3TWyTeudWHrRlPurR
/ySi5GkgTu86cCfTCstTZnxYjM0KXsGq1GwfFv0PNc01ZMITnNQGwcFNYzZrUX9JVyPLjDhwXmLi
yJEOosp7x6q9dsZlAZqfbsYgnED+dH7mdeyhC6sqbcPoe+/Cz3os4FWOFgKMFGNSi7LXIWCQqybx
Il6QTuKnwXhKpJMPo/EBxouvAbxWX6eiBrU0KAJURqZxEk8JqI8s44MiXwRvawVvPR3eOxVPJ2Fo
vVcwHnueRqw2xtedzSKGHHYWQYtepdYLyz2mf+ky6lvvc22B445KOpX4DGQ6tMHCjgM0ryd/7P2j
QhPl3tKaYccJ8SuK1aynZjmz4osAC+gCw62bkDH9wl0zTVlSgExAYKiJzNvg+jt/mJBrFCUXLKUz
HO1S6GaTB9/I5tdaVfxWD3D4SlUf9YcegMmc4bYiNSGtbrkh4mg1iUwa4Ej+6CHl909XWXULl+fu
V1KN5dMUD/wlKON6BQs7CJ7KRLkHSRHNZjEfuicWl94P5mb7sZRzhK8bex/4KprDjAbREnscr2+V
g+FvKgfp7qOpUf39AKsANAnzsPNSTSi9SyI9HxUVS7svPUWPyardkRi1frRxYj5p4I/vPAeEUgro
Yx2mXbkU+UTOXXaD42u3m0g8/ozQg2HSSiwDunoc5E+LKV68My0FK8RDNfPvo4ZhWTeqLgvapE4H
PXx3xTg/N8MCA3EK5C/x/elxgMvECRXMe3A5XErJcohD8lq09CXGAEohS5qweeGZ4OEg88GMnz0i
SI7iG3LeCuOPx/LLWnnfVwykW1aqJ1NL+OxBbv6x8QsMkjASJ3QHFimadMlu8AM/7RystbGMP/Mm
OhWcfAanw+zjDjpu4aQ7CRUN6TjzOlMj8LrtCAcnoH8WLLtieoTbLss5HFEzbHlfVS0+NB6y1uEU
DRlsZYNbxyYgP+NwzSjvn+oeQMuuH2FDIFGsKkf/gYekx16OyTqCc3nTR+2DBpYUzt/Fx0XzDsBq
smNI8efaDBwbuJ0ysgqXEiW/qzIBHMWFNdperMWi3mns/ziEtJ46dLQXWR+OXgqQ6kO76jIrmtbL
YLDkpWsCmkHX00+idSpbfYQXvVm6m74av8JHCK3yZVSlHaKT1FF9mEME/mOs1kxwHmczrBlyuNt+
HBzaXet2haLBb7/GwgIZ3etyN9TBZ8hTm7QKghZOtJLlM58lkqWJzTpv+lcXwQ+ApspUNc7lyeQd
Qz7EIM03da5rmExAMfW5Q9U27Vvy7Ae0P8GGG2ajmrv7sGtj7LS0dihjytcy0h0ebYr21ULn/dAP
zQuDG2q66uXQldLfW+xvcCQr7i08TH8u8zql2OT9I2ysqr1HhnA/Ti0/FhXxkMOHA3oSxl2bxWqI
9qWv4RaDHt8yB2Nb1FjlXT089Y2HeTGKGSW6Dl1OzT3vqZyOMShHe7GepwvOhWfSuSv5I138cYDD
NHRuGW9U9IxBZnNCVHwDD9zz0V3IH3Yd65uwkusRvqVu5+Zy+uqH1ZBFfWweY8voiRQiPjqx9jdj
wtcXnxL2QZGlfy7A6a1Torn3rRCqf14CVjxAMRjuvWSsvkiQVY6gZRbPoO7qXCPf8aFIKvlz1q7a
ddW43scJ1bcQg5XgT44wJ5JFN2SFXydtOpEZK8QQry89qoqHOJbdrXV2VtiWgRGfVz+59cvCPwAD
Oe9myMKfnBNzbpJ2ZVgZR3OPsU6+qLJRH8sB8c3Q1ojEazoD5OAGTOGw+lwHU/2i15bsOutisFRo
m+GrIO6rJbJik+rpbeytfK8bHmDIuuW+VEORGxrKTzYQ8anteSXSmFdwPMdOfteXYhD7lfZNXtZl
nNGoIBlwHnUOdUO5R5ma76GMMjuyNvSmS8iwE5X+OhRe8V2aZfneziXeU0nJLgSc9lsSzsmHBBlB
jAzTfNLopH2eumbax0nR75pEVgehmyE/f+d7CXMBRBaRhJ1o4R3VUo3HdjRgHrAJUEYazifwbloE
OysMT2GptKuAN80Q8iz5NHTsM/XX8NZi7uaxov3DYPWYC0/PqEN0waOeIhgjn6UyppkjuEqGJDdR
6D0lEQ+PrUYVKl1lgiWzLAryWQmdjEfgG0F916Ged4D6tgIeS9HQpEml/NdQg32ZrsCN3Nd15J06
v27BqBj8OSWFLR/rdeZPqCCbH2zR/uc54PS2XYLi60KK4JUIPwk+C172SPi6lqA3STnh/Rs1eJn7
MXCFzDxPafJvnQSty8WSVN+qoLfDvQiGYdj1DkwJaKahN8pExb0vwLwWLc4nZfMqaOPBNbtE0uYU
WO61O1EaWaQI1inLaVOa5YRh3o4nGsMWKSOTrLifDrSofzFYuWEp9xrwKdoqEu4IYxyfpSrhU5Ur
Bz4T4lQyjLs5SOCX3fRVmRlmRnJEXxWobgZMZ/mTNGCf38LVpS6ObWEDLxVW2H8jODF9aCLNQRYa
bR3elsyF635avKBOBeK+Kp0cG+yTXRkx/2jkxpcM/mOIk3qpdH0Tyz4J0tmLOgVjT4I9S8LeARY4
4ox5GOOoAbmiLHFEAm9+8HO3FAuGX4NP8OxhG4J2tprQ9wWIUiIPgaqiHy1aPeYM6I2gv3MEOoi8
YFXSnZhpYnnqPR0Pqey8QGfJsI7rAysC2gAW0id3fTAiMBTLZNgTaym4J+g/xpFhTbjGrhlp4Xc7
b1I1irGtt74ko+zQwcUp6toxZavZC48GbG/DZXkG4Mmj3+BhipI04SN42MDzsnrXIXzv9wNbvOap
9kbUUeRSF0XeT0EogLof6zGzxIbTAWdwl3ybdRFF6F2hNMDRYxW+eYach9anZhoEyjsjpLCn2AQB
wrgZktsX17RLfJq8MugOo1MjPkLdiXq5kUnLgpuiHXT8gDRAJIK0VTNJsjmZPZUais+WwnUuhIWM
q/sKx89u+lENkZP3jnO9PpBQAiGern5VuW9U0rrKCi/GguDJKYhPTSlNnCbcwJALVf96BD0Ry/uO
LBonAx/QtCZtvKo9jqQoYWOMMAEGNHNnsHZBE13sWuLBYxQ7IWZlKSz2YTuj8veyltT3vpwx2XRv
SIBg2m9qimOvG9ijKQyFchvli5TPXlzcU8dIm1cS68axV+tsUxTFuwajvZ4xqESZhDs31cpDtoPL
/iaGca3/rUAD6j1vOl+lFH5lCJxiris80wB65doGidv76FcnOPQHUmB4r8lo03A0yYzZO4DMhpXf
DnsVaP1LCW6/6Qka73yGmLY41hImwg9cdBGOu3QgAPdM/mJThHF0uYMzwRrknhoqeS9sxzV4Y3Hb
3UhddMHOLJZK2DtMg/kc1S6gn4iiWMOwm88us6qMfZj8tFF5CjmF8Jp5+M+uQFsGuSsrv39STYK6
Jo6bhdpjV8a5j1LT1Pe157zoZBBw1QBgNSCBYwpG9gZMBfOxUG346onSVsjUEMUz6xcoRmToLizV
HifpwX1fbUXZA4qn1fATLYyB+Yl2EPy8Ho4OOxJ7ifhO1lZ+DTjOhzls8zVN+eJW++Ah92E+QJAI
TLcK49h7hDHZpPK4EEYgpPIliuXg2DhsBoRhX4BXMDJMS1/DkX5WsswdYhksBUZU4hE0tWb6UvpA
/p2ELIdvS50I8cQkGeGvwifd7XopW53FrujdaY11E+BDTU0LLIhwNHVkpuvDWgyzO9hOOu/Uhq55
HUuhyyc7T5amxszzcAOcFyIrD8ytMkenJV92wTr384GMTfCLDpX/U9kY/64LECQeyqCdCpyWSt3g
9D1jLVo7Y/j9aOHqfWO47v3TQNdlvWFTM9m9zwpP3mPEBPwZJQeD3BXIQiwzPJzZLiSjMHkz+zjL
U0z1f+GBpdxP34c57McKoqY1Rfq4YYeYhgkI2pFBD4lt29CH0MlXUFY3VTfdMi3jNQ8CHYldOC+D
uuOhWUUGa1UvvmlJF/qAKPcxOQyBxWEgQfIGJw9Pzeu+guHIj1C1c5+zoZ8Y9iBTtXeocWt6Usug
MYdX7Fe5FzVduOPJ6EU7rfveHJCYM1jqC97YNHIVgUkJUHdwS6+nZNnBIHzEIQEIMC9FRcGfUtMi
DXvbROsikPko/W/LGJKXeprtmvvGY2wH20rvwY6tEIekhPo67cVaoVoJ40qVKumH9S0i50EfcTRk
6mBpX7m8xaqP01i0lOJWSLbip4qFrMiYyeKXTz1v3oX1+H8cnddurEoWhp8IiVxwS+jkbmf7ePsG
7QgUUGQoePr5em5Go5H22O6GqrX+aKukbKv6R+3J/JN6l9aKi621/4kClVrULLOckr4QTp8U8+q8
kHrd/73/j8y+pN/kqVcURpX4bpt/CXSvVkSYkPdjcs1qOGu78Ltk2PqF87eoDauLvXp0/tEDtXrp
Ag83sMpnIGu2UzAhgQ3m6kFTbNUcxDRLeRxHrysvtHL6fDGEIc12PGftVB5aERb+HklepSJdRqod
X+8uwuI85PRtcuz6+fAyh1jLY4ghy7/tuiWHPt9GbSB80KZD5PbU1It9YRn2RDII/t7DiNiWMTxo
Bnaokq5OHkLMmwjd+/2zW2RBlCRbvx8Zpau976GiG+PZobxaH1yKDas3Uk0tkQOX0ZYVD+U0vwrZ
IkXyPNou32vpyeFU54Tnp0tY1/I89HSe/7G8PLAuIRJoovKtppJfBPHVzYEz2gd2HJSNUYaXsk2N
XJpuIte5zZ+4xAi1k4YRtCpC7InrJcKeOXsPtT1JM94w3e2RF7Kk/imBzPRx16LURKG3e/tA7bZ2
7qfhVjQxM2K73Nft7G/IwMndLVu5vrBx2v0QZRJ+5tCAJz4x1LX5YQBlmqJ50u2W9D6ByueCgdG6
uIYS/aUFXHUvjV1ap7CvxJW23ECe21px/My2s7OB9lR/pI6ycD33HWlCp6b1MnWahrESBOi23tu6
7R2jet1WPhiLN4F4VEuWRVLa1ZT4luuBtq71MPyZvNk0Ej7MMnshVgO0ULWu99bS4dRyiwB0pkgt
cusAdzpxMFI2IBMKa8vxsgZd9lVyoxa3irgtl/207EWEfHsPH72w7EkL3qxujrowWBInt9cHzH5r
E03t2p76MbT+AIqbz+Db4stuttbn/lz7VFf9gtWm7veX+5zbRluh0CqVPsC0UFP4UvTb2kZZJ8CP
S7ciNckrXkPPd5Csm9tvoYL8i5tleZAEdrxnhmUy5ZaqP3b73jNSynHP2KHpvZaNlR9soxCpT3Hq
zVzJPI04mHh5XY594hQm42GwVp4HIMiqSIc6k79kvwKTVNskrkVLRWBczoYHgphpM20ycx65ZkMz
pTFn/mwsW83sRYP3WY/AF9mC7jOVgzRSMY3DpeJ7hX8IBrOMwiyEtB8lAVmVp8Wh9/TKeo2DmJD8
cX7aHLv/yKpmP3jAFOpSZTkuEmueAZdcw/4K83lXh7FvasiHYgxs9gINNGwH9rwx9ATbyd/Zxl46
t+kv+GdYjVtTvhsEr6a+UcrnTE3GWRs2j2EYqFterR5ORj+gA2NcxcKRp+xHt4REyBfL/IllfT6u
C9r6+6n9IaX2kh3++8HbW3m1+bkcNV3xJnrtvGCEzL7Nof2nuqCIl9XVcxRiWjn122I6EfjmCgS8
hpwRhrjaZsu40kjvtdpdaOLC9Gd6Yfvluktb/Br8gfOm6rxDmLvjr3pS4/fcq/wyucX0pxYBYLwO
7InqE5agSAdK3wR7ys9KFXN1cKQlfjHZ3YsRvVb+0+tQH7axoceGSvrciW0xdVuS78T8M8b2sxtt
i2fvUb9ZRXGey6AOUjVkej23ZHKuBxb833IvP2TpDik9Dc6j5e91EFtk+acdwczMhmxwB9G1k5nu
VGiIiNfPBjHe1rdgz6sv7Th1Ek5UmObBUryhb1f/OliZ38E+2X9UvTPO6tqsuKC8ITH7sWZrqpfh
XKzm6xQY0L6l89vm6r4hJ4OFLt3tP6cqh9gcwpFeLXdOasfpcIg3YWytRvbhiPKe1FVtezpsM63T
BXWm8EhLtBtgTaL2u1NdOyFQAzFh/LruQbO6paHKvjtzy6AH1+Cgzb0ETirrAzfy9EWYfX+0yIR+
zPfsJLRnpqSWdpFn7FW0NDPlTrVYvs0qN64LH1s1metDbW7raZ7VMKckThtwRyR3/L2LBn/ZGCDS
kUqKdBzJX5iC1jv4hmH2kacC8Zu2GT8kJ2loDxw5bjoY7nydMfqee9GGh6ns0ZIo4cYwk/zrrK4u
VekbF38OxjN8nHXaGqpc9WjVtDRqP7HrIPvwu3A+h6bl85Z6rOm+F/4m70+JiJt4/6oMZyfFAhsh
/3j/4yjOLkvd84WhPKIwX/mqynFnfpiMZGe2OJoF6+rkdOOzb7ryPM77iFlV83IalfukMMHXMG9B
dyTsQEcNzewN0oh2f2Wo9xJyeY10XpeiYI83jGfV98tDEObO11zM80PB2hXrxpDRWk2s1LZU+vce
7OtJ4bG9Grbxq7Gk+FyWTL+rMX8JXHOmFAoyrC11yVaEb73kd3ozay8/b17Xx8HQ9Ieu77sv8P7g
efOK9gsaaHSTYPG4Zgj7Sfxh8pu095bRfG9lw7NkLkN9DIQTpNS3FQmibkXruxcMKaOVmy5G77xO
tRcmVH+oSyHnnSk0LCOphEVD4R3hyMYecsfVSbfbzuPU5XPS1Gv1CEypjoWlrMQK9c+cGeFGymbx
vFeLk+A8mE/FYOu0USw7yjLCWPTFr2xzHouxZ6uxKodIa13FNSb31ASDObp21iTDJKuZhEUBdqwy
oEZQ9g2uw7RDVjxj5WtMXLfwfq+9UdzCurIvU+avNkD0nQZY7exgIzZOSig6frUy8+NlHuSfwS/2
yHem6nMdbI4pOKezI6bsbyGt8YEysO7SF3dOjsRw91Ns2oE5WljuY9HlRceSbu03fU8b83SNkoRF
9NVUjvvleaKb2S4Hhjrh4JLTpf1uyfat8cRexAH4EbB32S+Y3CVMjNAcL1GnQodl2aEMNrK6fqZS
rXar4zbnwx9sZfuDvcgq6XXrz3B/I5GZQDHnIXAyUvZ2+1As9Tkw5+nNIGD309ry8VcpYd9IwDaT
gMrN47qT6huu5XBrZ15GWi7UQ+Ma4tzMsuAhIQyZBMU8f3NDp+Y3NMjkqfm/RvUx9GlW+xB+QTum
uZ2/0esZHlZDuxvUYCAuqghD4AlDOmnAQPTduha9uQQJxB7YJRVnwnjkRR8iAbj/e3cN861Xjn9y
DQ7CYV3DCwsZhces9g+7Y4gbQOB4a7cR2smuToRL5bEwsv0neF2RmvMin02n/mgaq75o2Vew5+P6
PfT1Cz1L8F7dgLEf9c2xVcZyXrXaZJRbu3+Qu/vRci5E0umz0zBzYM3hYv8o6sb62KrVeMvMrvry
XVkfVW1ZzMnwHEjStp+ZaTr/TD/4O1Uqg8voe5Hcu7ngeULY9lA2h1mZ4622vPXg4aePQ69xHmdO
eG6nNjdPUo51goSGuPw69LtjcHf9KlO2Dzt9wGdEI/l3COz1spS+ea36ufrWzrQc1eJtb8Hqd5fd
moxUqrJ7CrvRSLbWpOimCpNqLPdUtCXCo1B+4YvOIqQfZRIYvKx2qYGKC6Zs25HiCdGhPmTFmt/q
LPwlfEe9iPYOO4V2vz4YufAfqrmCCgTJeXHLbj0scgH1L02niVuW4LTIO75Zv/YUYxnnIKgdGBuh
/WNKNdb4h0x9+9EIQ+Mw+2WdyFAjYmZAvoSe5WOiEvunBV/HbkcYaNEt7mdXBC3JYUbqkNSQNHbY
XG2Ltix+iJP/VkGw/2cMzs9FduqxXeuXxtzcJ2njox1An64QCF46NGtxcr3M+8QPHn57+5g9bhV0
ZVP27VnX9n4jXq+4oMW0UtNUKaIT8SwZDVPDaJejpbgdI3ugSsZUEC3tnP0A5gFOXHT7px2AXrQr
QWFUNQAuLkW6u8pK1wFCUBXTfKgrL7uyf4rTCOZ44L3g7geaOvfFuv3V/Uz59rB7D2sDsS0V97mZ
u8gE+tk/e/Wm4FDKw9Jv9WFoBufgIuP6KscJKEoGn65P2DdGJP2Itj5M9mqQUT+jxEG3AI9Dq3pw
WNAgMkZuyw1osn2sHDmejCCvHgYBeDjOdcdS3dW8D7Txtuib4zFc4CD8PU8a4hl+9ANkyVC2dWJn
DEAUWlnxuoEyFNwuV98KP2pPKCQ543A1oBbecjK8c3LorflqF6G86m7/KYbCoBAw+yc2K20Hp361
HGunshX2w7BNL2p2qzmgBwG335nDimI86DLTp8FffvZd2APwjXYMi7UedxJ2H/FdGCBj1VKf9tY1
0mH3f/PSyPRO1l7D0ZxPrGMro0RVH8Gb3TcDgursLCGEQi2+Ko9IoozuIzYJYl8WRtd4M7fhbNV3
qmODSNF6VWkmvDnKWPzfm8YeI59J9Ryy1MYzSMIv0CQIZLMECSCY/nO7dxsVJnV+WTUaD2wgwdlj
RH5Zl9w6DxxMB3KE0NcY7t7dlimULzV1KV9Cz+VzTfgt5zsarCzv1RmCvL6VQ/9khQsOqH7/r2cQ
SME887gZPOM0ZeHj6G/hAfHM77kUa2LmdfFpMHU8VR5TVDXAbmpRLxcNaXAqC/crt3j1s3FebHKV
qyaBBu+SIHC4h4h//YsUazgWHqyVEUzTaTNWrgkKMfKMARcJwf5nbmvfoTpLiksZhCpadyn/7h2s
GEHEKl1dimx9e6oPFgQnk4iUnO4sCjgA87PpoImqgWUkO22hnlbfAazO/SVGzzWC3DkiLi3VXVXm
DddB1tl504s+mkugjkoVuO5omLliveuiwCVx0/JtHS+5YR1ZTMznPcDsvHq+30UCSOFrlRDUolZG
ogv1377Z1W9hakoVw8XNH8x+DUBKxhd0LiK6RzYnIvP+OpoqTt8W+3HMS53IiWOuDmqGUjWNh93U
w8HNwh9dgEZpkOEaG6xegFvd/DTf/1Jdqv+CsjUPAQWir0GThbdx94fYnyYouHL3LuFm/vDYnEBL
R/CGrDmbuu/j0Sgf6R9nwrS6KXGaFai0yjTTmfpqAsbZeR/eB1DIRK9gWsj59yRTZfOTDur2Kejy
LNqDRX/KqiAq1nHKS7UZ7bkOqr82fQkM3v6HDD07FY52UKUEfeJ04Dqj3Zqp3aHNU9QmXnU2n4xl
t18UiRmJHw6SK4tXbTXzDVEHh8myUFDoF6HDn8OaAd9axX63FKewsi1uF7u6OoYGdLG4x03TovbW
k39Hy1hiTwb5q2VyflJ4itou02I+7DjLkrEdYE2JpEh2xErnBmVDDPjqR6pu2st4bywdO43CDxYm
AntWZ7XW81FJr4vHocN6o+gHLMzilT5fAyWJGh6055rXSS/5t22H/NOlB3wbdkVBbZ4d1srPPucG
/0yWFTSpe9P0MnONX3Kj+e5D2N5p2nFilDVv1k6Kd9d7PpRMUD/Uhv3L195/jg//o3PPiiwbrSoS
hDQMM0RsCKK5K4yOXk9lLRfTdfwn2pfEjdxY+0Z4ZRGXk/kySn85u+gOkzIM22QbXPUwmeAW7qxl
hM10JppzAfbIUae7VWNzT9Z+FEKsIZkw1Rm0F+2QRUW1Y7Gi5mJcUtNFZ6BINaJE4TuTKBNQv5lR
jhglytFMRAuGidigP4lBsslvVLuEV8kl+CT9yjsVOlu/zJaaS/gPq326J1ZF89AsPodTA6zZefP+
IcySDS1f7BRQxByuSPHCZ+RkyDIse6BwOltPO6/3BUpve6aJrUBLaR5QNww3lWf/Fmnl74hzvETM
XIaLbcmHAos41CM9xfmkh9eS2vB47MoVXZehDyCd2RUa04pcD6attIxf+Qj8t6wtW73OVUulpdIN
AirhRkgzfs38sa8Qa/25mPMy9orppRz4wqTZfFTr5B5liW6eo6C+9zL/hNGQse8bD0HDNoUggKom
F5+V/i7vYo7ZX6Yj+bJ1zKdWQwR7LjJQ+evOwcbEYjpc9f53sPa/XNjXR/L4GwbQ7sEX1uM80O7p
dTqqq+5jc/aXfWIUtldEL04wHIQx/TcK86M3F0JrNWPGthvP3bZjZaoV1Hao5kceKQeuwHFir/X/
qqEvj0NgWLHrAIuT4TJFCqHkUY7FrdHlf2JlNdqXro+E67d/TUJXrsy+ZPagzHh0gr5h+UXm+xVg
e31Xup5MtK8h61lFMdTCnfafNU7jMeiX/uTVZZjCsXjkqIdBXBnIMpBwIjKP92ov/7RlZyFJKVYj
dmEgj8YEYroP+Ww9mhP86cDG8w+ivbv1DVOBMh2/ijJj7ZLw/wIyB71VMS0DISjVAAnl+glCMhv8
w8uBWDsxfYdmAEM8zawHm1peTaian/Qj1z+HfLhf9Yv/MOSAcEgCM+OytY3DcLOh1lys0f0bqq76
1+YtOQUtOmEuMH/5tBosGRwyBsGZxjjbJrHHXXvI6FGB6F+o6XIMpX8uwypOAfkG9A6L7ewWC8od
fx/1y9T5PdT92h9Wt6qO2Z6bMXNlfQX5tG9Sr+VpW4eGEbsa0Tk3m6EOlpP5/9A8lOepgvqSfjd8
0G8zn6QhEKYojtahCp2XllH+okc8n+vYrom7N8u7v5obiCU/Kwk8XlUDnf/n4G3FH/hGquRkE5rg
mjAv/0HiqA8CcbpPs/DC1JnJ351bY30wTbOjlGit9qjLu/HPEu7dEPmTuVkHZysRkRFete/piG6V
4tqq7OmSUJk44fYYfxukPrURX2fFEs0yxiRR3FjNjAeDzJorEGWNhE1ONkLvPbR/bmGABtN05Jps
eVU+ZT4kI7dOh/CCgfOxCCb72NCF85r3oykSz9kFiJIE52DbtaOgUPUn+qRewdaLiWV8oy75uu2t
GcZAPG2IgKNS6wlqrf2pc7P+bENzvpVoD1judsSytJIDrsYQkyi0/b4Ra9p4Wwgx4omeaM2JrQU6
z8ojs58KOJ7CJLK8kHU+xX3Tu9unuTLzQmhZuYg3QJu02hqGwoJXbYrdrnLAeD3pHix7XWaWk6r9
jdZV9GmASZs1oBNzEZvrOquUjHjCqSs1lenOHAj0U09sCgzF86l35/Y5Gz2Rwj06j20Do3Um9j0U
cYdUwb/NJjg1oykl0YfWV2YYDWNYXUKV8wBrB5Ig9dUCGOYQnyIZmFeYbF5Y44cEAGxeq6yAdxoU
X0o8gvssSV93XptgZFyCw0rQ0Xy4T3rPo9W6YdoPzvCM9D08T2Mu2kTpYYc2QX4dJtIyII3tpawd
xsmp/OmGw0AbDAO4Src60Ctyl33DVCD9MTyLsvTFHgVYWflA6i7rM463IXR+IzadqpcSeGyLEPbY
7sMWtL4dIzpzlzQLZNbEi5DgW1M7yRnOb2gQxAH97o/lXLUDEbLMzETwz3xOGee4Tny/dbKPqbXH
7E2rYGt/FLJZnAbZwlrLA2nqtvEF66rnoygZhiZSMrdeHtVONn2SLar8lHndPxNi2r+XqkCgYQDi
Pw5GyW/JucqoRKOBaJLGakG5nV4Pn9BGTpmAeg77eRk1K1OzTcXXKC07i3urz5dLvxbDlpiNFpDd
4TrK3xC/rvsiLGF2T05mZvVxRRlGpddo1NAJvo+IkwCcO2+y2gGXaabvAu+NqZ1kn27/cPVm/lrb
qjwWRu8mlt3bUV1Or1VT8JfkpjxloWoSahqnd4FgNJms/oWFWz/4EhZ/cPXIwDG+SHrjkKoHucYq
4KmDnqUZKdSvCUlsoLD8ojH4cfu4a4uBomq2ElVoCCHnddYWMbGBOcMkp3Dc+oe3LS9ciNWptBfn
fXQ9fXGXPHgapznHztejcdozCPTO48idneljB2KDotbfs4kkLK+QKqtiLZIAMhahpjaiIrDlsaL4
8z4j0hlcte0btBTjprtUL9qiVg2FwnIIRLEnum6N2+qSld962LPXBYOloRGiME20B1PKjIAq4TK7
isHeHif2i6c8nNY1DXth/YC4NDlhW1gtO+v6r0luy7lDH0KxuNH3V5STxhArtNZ2zIBOm988BqkR
sBHgjeGwi+o+y78RfQ7XsmLrQ2NkrY9UA/RI8fU8/C1NIHMLraUVz2FQWthfaiwGdUk+/rG3NNdE
OK4HZ/TspxA2A5ySBwq2dnnLvXFKl3ap+YGdixuglu/23Ofnwd+a87B13p+qtRkKbdU9qa3orhnq
rDffM/0Hu1i4NVabFPllYGGJrMXtikNbuh2NzPZyIJmQhQ1hHcF6+3Af/6HlvrWwK9aqoN0fBr3s
3+4ApBV52xbqyBOomySs3pnLcEzZVT4928/6ZPDnLkJjEP4aKkQ6XTdZby6TJ/vRLBJLe2MUCLTV
Xm4GnwJU/miXc3YkYf81C41vAlEqGLqqOLht/di0zB/7touzu6Ao5WQ8C4RwCXXgWWqCXLLltXx5
7ZMY5NVZlJlKYjwTqVYkbWY5PbBJYJSwhMfG6vxsyxKhf2vXx3YZu0i643PotnOyd1Im/jITgTMH
t10xMfdhXl9kIPy4n/wtMaZRYOvpHoPZviElSrvaUad9qk5DsSZSIAVsyS9/JLnkWSnk1UZeftZF
gxCmbq3/mrX5ucH8R+7SBbGxFGimhPcO7UmvA4XsKTmRP5Ea3fxxP3qzEmfP6K6T538ESF1p7dQD
VE9x43nfwKAV7qIht0mvtYaTA8aUzXOeBI5MvbV+n43qFz1KTGcQImEDrp8XZ9srrtmIBAt32g06
WtCIY5nnoNuIb+OomyIoQ5GQVOJCXLkpFQoTo57xfFemooTnFcOp7PT9ee6K4r3020dnn+aY0K4q
tpxcMp+0L5nG/tXmKFZDvvlIg7VCj4xFE8neLVO3R+jXc8NBa+XOYRzvp49XmeWNCedn45bgZtwq
Kezdgi5tFCDR7GlO1RncVsDvbrZc1ODeunb9GZBDnOTh9iNEN1jAo0JV5865DHdQvlV4B1UMWDr6
DtzCLft4gyQ+w8k76R4UTTpP2LOctRN/QgWxJTRuoNaTzgNtqd3LroPp3c8laBdNcgmJMHNSrO6G
bjW8yXbbedndPPycQ++zc2rj/0vTfEBPc11Mq/swRH0LtoZOHT2H5Mr55o/NX7tfRZCvTGXKusFm
1/KKm4KzEIb6KloPZNhgVNxokDrYGXL/CWPANtb/jWGvn5E1wCWjZIi1n3sX7SzWyQmd7Xvl9H+H
RMsT2YPbh6X9NOOzggZbzWhyRQ9LXdpILjs8RX3xkwEba1g+FuXrYJgWHjVMAKMShY5XhdD5AUgB
tnCYf02oGC8uBr9pcYNDJm0kV8P8IhFicM0FH8yuiEcMpOl1ybsuIP5zf5vpPOvHP2qw91Nn52ec
bzeXveVk2UX9KJGX6G79Idvqw8y6H1WbP6hu1McQnfFtWCjvAY9ekmButx98eBZSjrWkEGC6O3i6
ybj01dzOkbl59q21sTEWFW8pcdpI+pBAFFcc5LySU4/ZcXKRaQvHTrY69E6VsXrXPhDtFaKbKb+Y
p9+iM/OzMfrtv93j+fApVHsUnEgxJirrgBi7iKvFcMEj546SuHn/W4pRDtFKAzajvfRRPIRZcQlc
WX4vihQK0oVdzKVO+9VIDkRfVLBm3j/cDPkDtX32P5QA+tIWWX1SbIsIKfPh6lCmfZp0UcWebsrH
EXqSHxl459LAyIhVI6+j0fDcq1gylh2zbNzvxd6ZOYrcJ6J3GgN5a/C11DG5iea/ZhegbW6z9vOr
rgYLHYkMw0/djN6H6HNZRn3bbbfWaJZTCNNYHqsePAj63CyfbTdUv3hw8vpBtI54zUWufbSHHta6
jJ7f2V8xcdwTVR4yBFxXYsmsFxMtfxurRmuiikpzTbxQ9VgKfONX6xv45LBUbOxbuUeR5+A0z2Xd
FN8TO/VpWZb977iv/ZUWSzknbOzBf0u5d+ZRFtsGyCBRyS6meLZ5aMdolTP42IJZgXnYolkXgaQX
t2q3EKpB/zGrFb0HXjD0jza6u/fKAHhxxq6+4lwYz2A1aMlwU936zDZue7UGx4HSjwz726D0wcoK
P+lMYxz4zIX9ytDpEzNrhuUPDy31Q+2a47lU3na0q3u4qZwC59Y5bfPizIFKgn7F7jC1zs0YhHVl
REWXQAtSgJgFrcyKexLDfji+KwbcpLDuqJ5pBt1zh4Kxitdu8ZNxnup4t23IhYn8887bfrg2+9+o
++mzLALj4G3y7qRagxfJ5suK40CWrBjo70WA/6Tfly91iJ0XSjHr/kqrY5oY0dczzZOWkZv9zbLd
8uIVtb54/eARNOTis8tafXPs3TjwjFSp5wcIl/fdSSigaD5lvbUIy0L9BBH95lljSb0m8nlEeqNF
b4274GcFhken/dt0FSBLwTq2e/UaExGKaQhrRmTV/puJnT/qlh4H4Ar60jt2/o7OxztXlFC8EeGy
pGOPJt5al4noaQvyqHBxLDAO4VfuthTlnMOyxucwAC/clQrAeT1/GVs5+wPH9fvimE1StBnitxxt
O7N5y8jj52cLipVDA0DVsW37nKHxPjX+NsWZ4/TPg+XpLcKAa/3hGtKHsSbmz5sHQEwKhmKSADV7
Rf0M5hscWMxGVO+AF8W2IroI/Ws5Arr1RRH+Lrv6jopl+hoOBfpIO4OZbbR5IHmFKd2H+i72+bHZ
txJ5r8/wQNhPsjZCspeHEKyllT2h11hjvvniOBfmNZfDE4SzBA5FkCXHkZHfD5w3907o1U35b2G9
iZSutrReCpp0m7E8bkvjRCY2lngyUTqhnbbSHEsi/5H5j11rNwgoQ/FIB98HGdKCwkI5Pq98fN9o
P/45d9OKylntrNJ8XjxVHIRA+AcuBPTJxhJZfWDSDks3r0TCycIQGCAlYnvyaVRv5V4kGqtmf7dv
jNa6RwYgWjSYPPZuDTZXy+XGPNFEQ74erXo9+RplWu4h1rP68DToin/msIi63j1QU7u3qbbKuFuw
fro91fOZ23F9dOIfB4Ebs2g1fxsvWI7u7v9hHh6eeqfk49wBWvBfTA9Ljt95qMxnGRbBaWqD/lyW
WRUFXduz7tojVz3qr8BBeoMBioEIFkcZdcbj5Y3WY40k8ChR+MaV3mDw6mKNypVkIzogv6q58eiS
Z4RslPs+sQLygPjyuIZlCIGDMndnRb5YOvwiszCMudwegKBn/vJcJYgTmlRYRUjWMODYQs7KmxFY
XJtIIH8WsyFKppTJe3DE2r8S2mg8cTVvp3KYBzbcfooQJXkcBitqLoVUeGJXP+LmeyG9tX4wvKAG
qa9dht+S9Q/k9dysi3rVqK3m3PTYkjgjwglEdt5dJ/ZxR0TMRyWJXR7yBJx1RxEUBm9vaDr/+ebW
xHAdvOmq1bD1GAm6zlRAcLv4XmgrO6315j/uSJhfdb3MiVFbzaOvhTrYwpQRPgsLKKEe+a/aX3Bf
Nai9s2KLXVdWj9rUOYObVIkd6J0Ulck5kWn0Nu+jlZg6vCcWtN7NxUIXo3EGN7ZxtrHWF5e+bG5o
p568qqsP5ZjnxzqznmjuvRmI22LHwisX6JaLEXDmPJrIu7YymP7H3Jk1142c2favOOod1ZiHiLYf
MJyJMymSol4QFEVhnmf8+rugsl0keMzjrqcb7mh3tVRMYshE5vftvfajjFmORkPWIAcj5HEk0sru
DX+6iv0ixgeasy0cOjtC0MnKJvYeq/bFkC/Ff3S2TY1wJs8S46ydDflLG3JsSEnHtduopDU0LRbq
pKC0XecUlGOh21Klarc1qqzrXId5Eqttb8dSd4XW+FEYBNFrUl+wkaI1Fwr33TXU7FAo4SM6+MYR
R83zS43tSD21lxTd5rvGNMrzBupjKTffRpjYmwS7L2W3sqauSPUzUCtknzK7D59FQ5vRieEUuR1Z
Qh0xHu+HsfuuRXzF9XAsN8heei8HNLtV0vDCV1XF60ztTgu6npOHtdMTNfXmxBI3YlAEPI7qXjX4
89KgX5Hlj3WCSHPQ5MmrqRVoBha6Cm69p6BKIeQsiZDcJtke+G9zb/TK17meE/QM9B5ytUWL2Vs/
JEv32cpJuaMavHjTnOB4x/GLXzxlibCCkqhgi3pYFN0p41g/x2p+0OVoesa6lZz5iRwcJDk2XfyF
/sVQ1M8laYQc3LSabuukXGVR0X+vxyLZzBwxn+JU6c9yXBCbAqviXVrjodNqJNoB6ednGeRW/Bnq
FeQAWtwWnT+a8GSTV+gkU/yDaic5sq5ccbbIIDFQJezFeoNbaaf76jUgVPY747YU5ZtAaDesjAdE
4g91E55LMd84tHOR05SokFHb90jrWg/H+0sw5gkf0Wz5UvW2KSWNy3f1ErMuIlQxvpTBX3CQY2Et
fRHb7EjA/dy7uBQ8K+zxnnTCZYqYy+v6hqJsK2OnDLb6HKPES7ufOl9g0BzG6E3sNd2ReW+PM+1i
y4x/4KXiYJ8CqMWICDEkTaTCk9opuY4ikpMzkzdA5a0KBG4E7tVv1SzfsxZ+0+ikbvzOwtUXCqrb
6B1KLI63KFCzaMN3fKbfmQReEFh23JTKpaWENAKJP8J+wSRJu/nMTPQ7pZyGbTBNNxJKOxAP8LrH
mZ7jnCQpR3YM6WUl5Wfs3UgOY5tXUHL0+4eokyfanIgIJHlGxD1WT2bU/AQwgnMWCaYpdCgcUj84
n30soaiTZgc7JG6gqix3hswcUXN9dLogA0g9s4HJUqwq0lwgb0IoZCuFGNHbau7DYI6p5M2XHMOW
rVMfO75fyJ6Gl9oWG+UcawlZAQk9TH0SSifHGkEWYvqlKBTJbn35OikypCcpNcdEU/HlUKJzgix8
Cui+k17LAuqw3xaciHOXZ5LXukGvThRYlr36xfwwW3q60YNoafikV2okkyCYlkjtEnSskYat1PIr
2rjyvJHUebyykkl3QrZND7Uyd04p9D6zawpcpaLda9Tkh0NFKc/orMk2znx9U9ZY6mnyYiq05LMp
qI0zlAUDjbIw2ojoAlmVhu8VeG2sZ2O6VdT2oU/S64pyot1TFFv8+dFOlqtnxML3IVH1djuEswOm
M+WtppU9iQtJo7k3W6P2DLXH/LPI9kuZc3WWsUnK5geTuEKPE15usyzSodfEejujtHKqMqbErPYZ
e7S6nNVtmjVogHEMWoorTOwW7DGZmSSClEZXoSHyEENFT1/wYTbfqGTlNS13LQClOhlnuIhYAXFM
Si8Ra3rv1opaZ1uhqwTJnahPFVu5EpH9BL0Ag8asrZbelZbH/n4Iwg64LLToEI3OWPEcBaW2tprW
FdalOgTaeCZJdf8w+Ly+XxK9R24ip36r24Wu+N2GPnnU0HGwZqYa9XOderOI6Av1RzT+NQCauBC4
3jDE/I7QV9ngcK0LFapxyxKn7ybOqp+fk6L+A8hLXBhPb378JMzjOIoa7mlpztBHjf05dTvf5r5N
zudDSAsw7xgJaYXHDIh/wMmLyi0ia1vasamOJd46ilzOhIAPkE8R1S1NLD16ZrNfvtRtNenU9Hw5
u5ilLiu3AFzGm89/nf8EmFph/QYlYEpTe9r6RcH+y6r4sGnDS6b3T7MynSDv/Qea4zrjS2BLkZi0
4bdVrmZsH33/QaZYE9lpoOLWLeOEOS5VaM8/v6j/hORaAb+WCOoEKeq8xfhG8UJIZ7dTa/nur/x0
eZ31JYnKQHu2nrd5V+kuRx51J4pFdIL4dfwVxBP8/hVkNyAGcqxzr3oaZGhORdxFFDsNw09OgOSO
3x6kgu+HSGurEE2EJdtCsrLSDrClyOwJ4/AEqfr4OyVby///zSwScinH0IR7MaxuQrnbJWrpTmzH
BkH5S4g6eZ3zRRMlhdiVzRDdlJfKpycoXQoPiryporr4Sy+RvM73Qr7coYMwiShIdGoQkyZ4Ml2B
E2D+41NCtlarwAitQyvFeGZztrS6tabYTqArtigmJlerJR/YSFWeeOD/abDVJE/QS0ZaywNpes0n
GAHrC7EA9WEKgmhjlllO6aoP/uDh/c+7AJrmH//LP79Qc6ujIGxX//iPL0XG//zv8u/8+++8/zf+
sX0tLp+z12b9l979O/zcf47rPrfP7/7Bo/ncTjfdaz3dvlIAbn/9/OC1WP7mf/uHf3v99VO+TOXr
338DHpa3y09j6ct/++cf7X/8/TeyZ96sEMvP/+cfLhfw99++1ISx/nj+8bfn/MffvhTfn4Piw7/9
+ty0f/8N+frvqsV3CjqNBFWGHzu8/vEH8u+iBPpH1xXNUGVpiQDLi7oN//6bJP2u0JQ18ZipGpYR
ZlVTdL/+RPxdVGVTotihm6KugyX/1024/uOL88dz4ab885//lnfZdRGhAOTnLq/enx8mUzElSdQl
S0Tjr/Dj1kBD2nl9Jxuq5YiHQLdlT9r5br7rNki13PEy2vgn3sr3y8SH8aTVaq2qOtvnhvFMTtPo
dTaxdB8WFqyO1zeP48iVyUdHkikDo/mVTMtYLXzAdohq0TUL+6GdneX78Vx8Tn9MF+FT6gI89HpH
Zrf2on0b3PIWqdJV5ypesml2cWWbJ66aZ/zxLr/5XVbrvBEMGI8mfpc2/9JVmLKiHzRnnc+vWDo2
igXJlQVGM2RxvdRXROmUMpoMR/+mvOgHSpEOu+G95k0v8Mwexm2yOXVh8oLGXr8/b8dcXVkihxhI
MSc6yEgKD6KLI3ucSR+sl/nc2ABDcrho1D+VE6Lm3I8X+WjH288vnJny8beQRKaYousyAsH1nmPs
y3is09h3ymR81eL+nJOiaCemfEjq9CKcmhvTsp67ErxNTVLTQUbDAgb6Z9C2yXmC3xHLQbfF9zVv
2wLNhV7riJ8xrtDa/9pPzUMdTl7XRXfxVHudDH6hM4yYM0T/rZ9huHUJ0j/gBRRlJmoKrSa7iDor
HndznwYU7CSOlS4WMnqOOvKXNrPui6xHfEWiiQjY1eWscyE0JmVtYQfRZWNN2pPa6Jd9Ye47s6VY
236PKDI4WF1KO8njmDMJzTCfs6/dz0i7IRfeN3zGSJY3zyw5ww2SX1ZKg/8sU9oFoHWmUwix5ZSz
Xdyrt76YUJTqHoM52PYz7U/6M1dxV/xUxfinqKVnC1qiTYQbaJw/Kr3mWJxjKKcu+WLoFcpOcYOw
ZT+qyk9T9F+Imt9NavCI9Ghr6N1GobEo6sJdOCGBqczhqqqWjljRUyjCg4L1eZNNDckZvBoSPPGi
/Trk2VMXaNswrLDXh1stMx8skzTsTsjxruU3stV6sxA/1inF0bgC5aGnZgN8QDjXzMla+hRfqzI6
s7ppq1K9sC0tpWSbE8TeqOpi+V/89A06lajr3LaZtuZUj7hMjGADFO0S59zeT+JvtE326FUkG0nw
Ie6VS07uGwXaApa41qEHfjANugzoma5Adb3GNcUhY/whGywwNdWuJLkU8XnboZU+JhY64RJPQRCf
Bbl8Q7QTjXWxBiEhZ9T9jfSbklL86mmuxLpO+92wUBEMrq9ljyqir9jM9mqr3lrgw3zYPzr1pG52
LBmLkdKGiisOtcExcPKKANxXG9BPTsZ91oheV0epXVD8atV0U3IeRFV3i8Is8NK0OaT8N8YsGKtG
8KoY3dekn0tb1NRuwZeKgApReypC8pzpGV2mtPmOPuKL5E+Y3KUfkdg9SFLkyTl28zYGPdCk1PyT
7MfECdctlUhzI125lWIEpFpKO0mdWXd78UugJM02VCImI1KgEzs46ciKxCcN0bSu6AotqeXP32xI
6yCvsFCVVF33/iHf9Ltgb9qKU2+xg54Ya/l2r1c/CZCsJUuSislMXf78zVgijqoEM5zlyBfIv79O
td0+qTfBJYoKW/nen9VefFt7rZ3dg3X1yuQgbsKdeBZfFLvPl8D3u/tfn1VJF00dU4GoiNp6hwmh
r+8NyvWOP9wP/ktLMffzAY4usZbGdoQtiagZ+uq2cq8VRC6571CM3tb7+rreF7lnbOYdC8xVsjdf
rIPyADsUfNCJi1udnv+4urdjr7a04pzlpj8xNiIe09E26ECd8WBaduDUznR2ikgvL5uQ1UdN1RRd
ZHcgyaK0TmwI8lJSxDrwHVRHnjm65lY6N6AO7EOnuwg3kReyXtsI4/ejp2rnQFFPnAePbctUzWCj
pyF+YmO2Cm9JY+zkwJd8R7+g349byzafyt186B8KF9femXQqQPLYPX474oeNGRbYBkGGj0TIJkHM
K7bI3ioXNIpTXOUXwonshePjIU1i5yktu9zVFfI9BK8TMN7g9O7sNk7s9jt65Xvcg1thc+LtPbLN
hUDx79G01bbTCKYuF7B4OeIWcMQm8Yp7gj+d7JzouO3weHK8I5tPBJCSYqkUwtQPGxLfyqbaCMAE
DU50mdBPOSS71B3us63hAHvsnf5G30Wbk+/NkXXg3birmdJJ5mjo0a9xB0/0yk16pe9bz9gqTuuE
B2Nvntp0HrmzjGhyiGFV4IpX22ypTcfZ71huG290JYr6O3+P8t6xttZPYAmucn3iUS6XsJqc7wZc
7TgRR8hl98eAEt/JreqNO3Zs6I0346X8eGpz+SsI4cN4yiKQtPADfVjjwyQvpCBtfIeKPVqyDnMv
70+40bzycbwJn/EIh41dX+YcHk4NLh99nsxLDYCeYX74mMFuN9pgYCbKNwKWf3q7SGUKW3jRXvxD
fac+AUW/KCtnkVcHW9iXLfI4uKru7GUby1VOZJocW5d0Q17ugkxrgTXo/QdP46sb9z3KI/UGdWN7
rjrs3jaGo8wshTzu02/0scf9dsTV4ya6kLZIROV/CJ3wOmS8bBucl6mN3dD9L8Y7NnPfjrdal7rM
10fSYXy0YzadGeGr6kVe5sjXFWq6n+JGepjvhX23s04tiEcetSEamqwxjwz1w6OurDq35EFdPjqk
S2fwVuyGj025S/awyG6jr/FoCz9OTKYjGxhDNDn8qJT9sLIvs/vNBsbIiJIYfMV38nOMXU6EVdvW
n9R9s+GF2iQbtpzak+aeGHW5h6spZUhc5bI+8p9fb9mbURukeewkDN8JHgLkL4CDPMY5k86ybeL0
Dh0u84rOPCUIKFPuqRymY9csUVYxNaoC/B+rJ1yEQ5uaso+oO/1Wt2eqCCZBuP38Eo+OYRAbT4HF
1Jm+7+9rBNQutzrGCLrvVr7XF2jQidDeY++L9GaI5c/f3EQTQBliWhCIgXhVNz9RTtufX8OpAVab
Ww0xgznrXEOoxYgMm213KpznyFwzJFMydPaTusLden8JhNlEPjgOwSlxCguWbCc99g2h86bE+isX
Y8miAcuLQtx6gyyLTdkkAkOhVzoXLBTw6nD3+f06dvLA6sqhg2uSGWi1RdYJTeCMyxOJ9wg+nZlS
GmqUreyWp7fERz6778Zals03T19O0erFy1gNq7DkLltS84fBd1fdAGu7Fr6cuLbl562m7LvxVi+0
GuDhZ7hl+89n3uWL8xo500bY1lus+I+fj3bkvXg32OrVJjokysdfF4eSXBxvA/krHHRwzw+fj3Ps
c/ZuoNUrrkvUc/Kau1iTnkDGgx3spF10QTNYV71wV2+rx1Pr/JFZ9W7I5drfPDh/FMRiiBhS5nAd
dY2jBa+fX9WxEZZ30FKoWwBeW32je86+MXYMAdFzcGPVHMXbcPv5EMce0NshVh/lWIRKBLdKcLrO
dLUOCC2HJXoc6B5vPx/p+MWwc9ckU2ULtnoV2qLs8Z1AT4fOuaHcAIjn2+cjHDvtmYr45xCrl8DC
AB+hTmEVKuS9HlhnQW1C7Ux3Y+/fCHX1c5a172CPgSL1KCLjjTr2T/jDHPKOH6DsOkVTXsBrxE8p
78si29HDOHG/f8W5raefokA/N/leKpq4eqZtQsWFTC2B6Tf8hN3vds5Q2/W+22YXoBtBinnt2a9z
qTM6zb66QnjqndqNHl3gFFVBc2vJaM+M1SJQqn0pwVMRmC6o9Fnimoua7Ym+IdjhxJn/V2DhhytW
dYoNfKVFWV09+Iw8QzUvuGKoAxcGoc92O2IPC61nFt7LqFe/xAhfxSHcAm0TXD3NzsAuobI1dU/v
YOuDLvqqjmD1Sj0L7KwF8JLom1psvLApF49Vl24qvPO2Gqj3vhFhlMSPY0w3YqCf6FweO+yCYf7z
YlavWK1NWdFUKGPSc+tF9qKDea7doD53Evd0+eJYqcZUqcfA3MJO/mHzoeaVQZo7t440yI3/U3IT
j+rcbfwo3UgOODb2VIULY/42+/75VDp2VjIRAFIiBKNj8bK+X9xmUerR2daC0381t/05RKHoLHfD
jXRLRuy22hMacaFEzumD0qmRrdUBv8AJpXcjI49APspIoHg+wfQvLyGobKNBuoF/i0bSbO5qNKHI
kLWzJok9I5NeZFF8CePiOinzfSjPmXviphypJr29KdZ6W2ApHcad5aZspI1gd1tEidvhvD29KTj2
kdY1mc4hmnfVWm9yzKREqx10AlWHZUfdOMGN7qLt2gA/OdP2n1/X0RlKhUzmMCjpS9fp/cNuMjmj
Vs5oo1DdU/NNYT+QtzHM6rWPIRkxrvkUmSX29HxHgOuFX5HyHfuHwcj2/P7nbSV2W2saHnLB/CmE
+bbNh/zczwOEvsMNiVL7YcqoEc/tA9XHZ4zAr6IExt1KBOfzSzk6YzjX0qJVJUmj5Pf+UiICjnRk
5FzKV+scG55nfSUN4UB2lfmEJs/lYF1fwir9Tgf9xNg0kfjh71Y6lbYwBxGeGP9LMVeLA02ATNF7
KmFlk0ooZQv/sUoayYMOrNm5T3gQWTvA5chDIHShyMoNMQ3Dc6d0L2pfNxeDNBGG08EOpZdBTpAp
BF5rldSYehG5M9Aa7GsS2bwFaA1JkERnVpT+aajybwYeo50I99vzgxAhVxRNh7IAaE/e+L1UlRmh
2rXvloWpQlYzMtufpOoO3eLIxxINItnzu0WraU9BbHmqFXZOaJKB2ET9C3BgPo2ygswMku5OjoWZ
xlgDxQodGb25YUsyQnrTgxRx61qs3GwgXCTsxNYzKzXdp3TKvT6E6qsvCFWAi1dWMN7DdRhBSlBq
53O5ieKCADk8GSkdNuwLtai7IuY2dPiNDr9WvVKC8EmXgwBzCN1mko3Kq1oYalT+NIwc7CA87rbK
ifSaNVts24cSo7ctdONzU8Xe7BciEVESED8DDjhwzVIFFmmmxoNCSgIYzMK1Cthu+vSUmv1khwW/
UBMVz3HfXcERP49QqNsgF9NrQQJ55ygoilQ3ylOrtaH26Buro7zcIpxNJHFyxyIA9IGVAoqD1R78
fNLRHQIU8JW2uwbDQ0CxVvvhF0zoiV2lo+FoIMsA1qkTeyTk0X3SSxjFk2rXFOIruL/XLCZNjPCT
BdbeborYPFPVOdhnyXheqCqgsPgl0MfbUZmmrTBXP7RFTw8YlP0paAm7rbqQAC6ansTUSQ5wpHs1
1L2+jSgbgHjmw+ZgStk3Cv0HVS8faU56ZqdcalV6B6ItgCEiCntEondGL35NxvwS6uulRv4SuTTi
aJcVgMrCxLecVSFJdByj8I8O103QfwUFchkogasK/l2Y9t9TK+TXUhveWPp9RWneZEV8ORfwS1oo
hLwLwA4SVTkb5OFBDo1r04ye6QJGZLTEX4CTSsCVacDxGl1qMlTeUWJ+lCNhXyaisdhSH7NsfB7N
EYdZ02ElDC5GsXtmCwq3cAA42tFbowwaO6oE7MoXv+hltDdqJkEfq7M9TsZDWOhXscbZaEKmDFXh
sSx6WrIFDqMExynQRmTSE05bUVFRfI2W5I2EeyAA44DV50qOPfcHZ9jpJuWNdDtl/lbHjIjcnpmg
cZkk/6CZVjKqkrVV43kfrsJeASbH9Iqn2xzovAOO7EIc/cuhtW5HNVRd2KG7XgMRBajXVnLtqpnU
pyQN6BQTLDFryhdrgqTTKP1lISQ7FZwjM6r+UYjFPpx8Dau47KizcIWA8cAPuZT82E1D/xl7pGpX
I/WbCApgIIF6yHFgiKRgSfG2TKLrAoVypSd7PNrbppYuwjn+KagJlpqWlyAjGgeW3jN+M9mWjezB
BMeO2Jous9GaNF7S4Q73eODo4PdnYAMomxuLUB4k2cSivQglgQ2yoJ4TfUSjMqlxEeEntA1rvkyp
tF2IeQVnJMp3cP3Px8l6RGR8myn+XR/MiDH8qwFCMumUXxJYSY6akagFd/SQQNK3hvm5DrsftTbe
iEb1hB87duuhvSuDYq9E09ksQHJDRIPPt/NxiAysxnOtP2Rzndrw/knWSDddVo8uAZheY1p3RMBc
Zn58WVvleRXKIJTDc6Ll6Gizm8PuaF7Ks7TTU/0cCtSjkFOjUkzs2QRDocwqDnOOJl0SAOspFSrs
GQeNXkICE2WWfwK5BFeWYZMKcc16mvPq91P6U5bagPpK9yi0Ko2zQiZ7KTI3UBDc3Jo3cSj9NBaL
FGk3YGukFk06PNbeF8hKSQnP9QM1p32sKx7WzMGLywrnQhPv6la88SPxCvDgVrGag5/V3hRUQIjg
dO0bXcHJXyQ9uoUGl143IF6o6/sllimzMTwEF4lAxgEY8+98jOy5InjMMM5r6FQZtg+8KuYuaaoR
h2DzFA6Tl9HNTjtjA5Djh2BIVwrfBdWAT20o83VVE7Axi6pNcxqTaZ3vF5uyVKtwYlo0BjNurA7O
GVhK47oHsYN1QWYmx9O1GksXRRNBeYBCJRXjbV1PFCUj82lMrX2gVUy60HgYzBZKdpGi3OjgVonp
DV6NwtYqqFd+BzoS7b2hIf3AyVo6oio9B7zdZxWZTzKOCa20pU7pbYTNw0UN3O0iVYgKyudBupsG
v3Ybw/IhQ6sHPNkpiGxWYsXHgAIS465SqElrfrs12jl6lJvc38RVMe/Meoy2mVzvJjNyyKx4hRP+
o6yDA8DnhxQ8sdKR+RB054nabDorvyJPjBtjYNyGI4EGIeiaAp8L2oOpFnMHIDJ65fabjifvzAxZ
awm8Zj2JcPML9TjeReEELQmzrJ0DzHXxpmdbSW/u1ba+VsVweixM37JFAOis48x82A6B9/mWbdlc
vts00WsCB6Qxe3nC9CJWOzZZhw2VoSNTt6Aztsl2Pqib063nD+WHZRiJQehumZb5SwDwplpjpCDt
Z8qJDrfdLvHuKvKpDeDHU/VqjFVFaMKLE8XLGI0nbThTb/19dC5sU/bsp+o20qnrWdURopScDuoL
aLJcnOeX9EEdPusOgUUuwTJudHdKIHby6lalojKQRhbIXw+q3RtnEJyd5SSIC+tQnaiIH786tBiy
YpkiNYrViSToRSQ1bLO5OmzxUBt2Q3AIttpW3mAQeZxaNEMc9+3PX8VfrfEP76IiURixRA6Lyros
MhAyUOc6uruSEraAVdis9xrQfhyAziyBzpeay6EAO9VcnRj6w9lheXfeDL2qkkSGnIlszNnI2tT5
rlPXd6vDbHMAsJl2m/gsP0w77VQL9tSoqxMLmM8oSLDt/Zp8814x7XQTuolD/c8lyG/f3PWVPexO
9Y2OznnaBLpB/i/FjdUpre2lgg0zF6tugx1sKa/1ljl/ssx1dJK8GWe1tihmAvwCPi31k+Jh8nK3
2i7RXTugDzZWYNfaV6eqXcfv6J+XtnqFVEKe+tJgSPPCvG83JvHMHBU2+QaF1jWava/StqSd0CFN
dRs320dsRu35Ijwoe+H65Iq0zMmPL/Sfv83qrYqnpqtChd+mdevzdk8a3EWDdIG8kDl2ImdwwRHv
MprufDrpdpw4ES9r0IfRjV+qaJNpvO7PRYQw6kYLbh1YdOkMmbQpzWrXh6RDBNET0JObzyfR0cf9
53hrbUieV9OcGb4F4fhLCPt7Nh8+H2CZDp9ckLZ6b+VyCWVVGAA7kD1VX8fqeihOlBg/jEERga6T
plmmCqp8XZrFeZpocQa5pk2+Zfo1yShZe/f5ZSyi84/X8eabu7qOOBIKHTQlZ1FoPoJW83UXasSG
1RDYRlT8zKrBmxYfZYW2m+DHXT8Lz3BvzwboZJytccNCCrjmfH3ijTn+m715hKsZa3RF5QMZ+aM7
Bac7fhq/RB7VchsjCmD6S1I1NtRuTmxCTo67mrYwKOSeKDO2B7Z1FZ0BXNh020UuoCJISb6EO9AW
pzUKH7sBy6r/5nJX8zPqqmzoIGqwELZIne38B7qILRpQt39ouezEA7BAn8KtzoOnhhjdu+QKAP+p
VtavD9tnL/bqO9B0NVQDjRe7RSKne6S7baqDcR5c+tv6WtvT3OpsGhaUInMJDaR22fIGHHCCC1tz
U9/IP0bHtImZu/ov7tHRNQzBl4W4DGfFr4Lxm51bmwsBdX/uUe3GewmUwp4QknoPXS267M971cl2
yg700gsRG1twJYoNmuEBh1T/LP1s9rENx+TE/uTDHP312P78lVZboUSKEgnvsO+M5nfDuFAgO0fq
qS/J8sp9fCaWpiDmQJC1riZi3g+JamaQZTdZzHZxickQWoNbXIZO4Jmueid2iPrI1nZ0Gy7zdF7e
QPo/0bE6tqhKkkE2pIxeWV7viWa+H/lch8h2kK1U7QBy//8smOF2vh1iNQtSH2pJK3GlJuELTrCD
goYWyXQhzGB55QJJEzi10Bx7hG/HXL3xqtFW9FaZ8MvdJfZO28Ub36Xm+NX/So7ZLrmD13PikR7d
QqMvXgRoChLfteiK/DE5sCrcDRqbPE6RKAvgQFDUL7cnx/rQrFhu6puxVu9oaim+WuuM1bqiE+3i
K8MjpGlDisz+xNdkWZPXLyriaT5ZKGzBIq9uZTmUcHwWSWa8D68XvSnHzANUAhvn+ck9xdGjwdvR
lm/bm+XATEW+juYvASj58NFMcyTmKPLSoiq7VDfkol6cVCoe28hI9EYs0SIw/YPMSSPpsoUuh7vv
ztyKnuopu3QjeMu3AaP5w/wAkccrzpIT55Ffh9IPd/bNuKuJEc8U3MVl3OmQXQbkLXjQubzgbFEt
KpewRoNt404b5SH0MHhs0+0huQbZeFobemwRQPzKGmCYqK3Wp+d4buA/CRQpG8/fAiadHhY9PgW9
RZA/fkvcGGrOqdlybIqiZkMugASHRthql5K2JcGMClcfn+uH5nbYxqwJmEfdYk+q2FniWu7JWXP8
Qv8cc7X/0HHft5G8CNThaxS0xiXX2sQcxiJHNbcw+zahd2otOnYaUiFjommiEvLhsDsKNWC3npu7
nIaWCsiw+cunIZWPFlA5hTLIeiUPQqkLh0X4v/TF2NPtk0N0odoDJz1I/fSSTzmJP6pyWIMIGVyM
Blii1bWPLe/KnrWwQKDHeteTg/gSnc07wysKRJ/A67iX3q/F6P9kX72IXuqiKX62a3PqOz/rVfma
37X162t78Vyu/+b/hzZWhVf1f/5lEP3gYqWd1j6/s70uf/8P36ol/866jDySOt0fztV/GVdN83fO
36KsU2gRVfR0TMF/+lZl83d4ZMhpqIMg62fm/9u4Kuu/IwlY/qNTTlN5cf8vxlVAS+++H4LMIUc1
FWV9mgp8kqBHHHa7JKgmCPJi2UNjFapsh9+zPvTAy8jI6JaQGxNZdQJiT6eLFSmZ1N5HJE48mKFo
QC1uCu1nS5P1wZ/IqQQnrrBhzbtBAymZ0amzMqOHlzbzYyHgian1NEplCMmy1m+BGIqkUiU10MjM
iq/JVg/I8uEcz9xXKOjRkBWCnwl4SZCfEgjKc0EdEJvAt5So1Kcc2GyDQGTNCfJINdw5jUvYc+hS
J5BFGhruilwodjBpMoB0mQl8P68FAHWeQe7wPWYySCw1MEtPmKc4J8p4ajUXlhR9ACKAWxFKXjU2
rmKlzS7Ke32rzHp+EUpj+q3Xg+kASc86lwc52mUTiFjAMzPdMAnG2fchSa0rOLvgbMJ0aG3JiDvL
bk1wPpWRKbUttQBa7UrKiteMhPdzIsxRBKlllGxTDok7GPrWtyYXmlcis4ILnXzFy6BQrFtDStN7
v6fBKlUDyHOVeKfELk0jv5o1iIT2YEZAnHQo3pnZV49tKmqHKo05ahIKHd+mxVx9I8anuwXBPX4R
AwvgNnHZxoZkleo7eg/9h6qmHT53yawd0yqgaorknIFt6bAuQmO7Jl6WnAVLVqsrtCKqawimCP84
AkuRA7ffAwkixRdQ1KiTq1BrL7Iew9yfYjAwtQ7irTAUEXpoEezC2Jq8ZpakPYbHLrbB4uexizoU
SCSMmwOsPJw7WkYmsS1o4DfA/5n+4MJaS9AaRlBbz2OlTxcPKHZTxxrhvWSjqv1Mpppg+qgaRHkX
JrJPaIWqt4+tKGjJDgioPzmBn0qqM4eVckWMCY67PiOUw6shDTy3KV9kQm5jsN+AxoazPMykCysX
aQYZBshrY66XvG6/hPhuBlFqbAgyEJ5o8KlfIksX5i17UdBnaTE2BzQDwU+hnqF6uRMw03YjEJPb
Oo2WKbKnVjIxvJTscsh/gCj7pCwFu67DFLC8srzJ3VCJMK7l9CbVIuM2khsTDyjI6saOML8fVFjL
e5LZu3IftJW6y0Mx2lfwWZyukMPXjAZA71RG0L/UnTE8KqaV9QghIs0bgEi3nmK1/VefJsdELx7n
1teMv6xvob3RbtHFon2GZA+JKZQm0/B8TcBBMfl+fVVRUiEKxZcWGl1YyslWMLrxBYBdutfNGUVL
0wrptZnO3V7OE4IBwiJAZiCWfvCEsqG4AvAk3KgarVdhOXUBLwqIhx6b4ALVma7ZXTyA3Z0UsgSt
fFD2PUwGF8YvcPBICaRvLY5UDKXZHMleKWpKBbpbRLuXy9N5nxA6bpNl216YolGSMxhKEP+yVrK8
AoGnBiK7pL/c+wRxFYp83abxdOHrlZw6ab4wm7r/x92ZNDeOZWn2FyEN87DFxJkiNZHiBia5JMzz
jF/fhxFZne5eWRGVy26zyLRYeLgoEMB7797vnhMF6aPFmQUX3TSqyEPyDnKokmt7tmXUbwvmMv2a
fuIpSgBZOaZYlTdrwmxhy3Wfn1G46qtw0fkwY5H5lojMFVVOAwmroK7TTopxFM2Z7JwqD4MrIYHG
vRHMj2Urv8jhoTPb4IpKuH2pTJ7PIddJInRTKq3QRY1f//ki/v8Xg0LhRPEXizco86/4Z+rE/c//
uXizgfoHbRzUPTxiv1AnON39gzETU9d1i7nVnxdvDbKEpnI4MBhbk4lCcfj7J3WC/4bnnTmRf20G
/mtTcfrz6PGX1IlfK4kgm0i5yBQFFJo0JJ5+D3culSBGqjTmm8J4T4zMD6X5IzewByG/eO5iJqcn
kcyVOJd4c7PdBMtc7C1xlWUBD3dUuGjWjmjk/iYK/G8/FjsUMvzMN3ERfj0kwshM8yCIc1jLxc5S
ip0CyU2zOLkISeX+9F3985r8TN747ZT25zVQ2FYrKnwN9lH3c8xPJ1JqpIoY5X2+6cTgEqngtSZ5
n5eBBVPPcLtIP8uz5I7VtA1GQNkVfgUuSLbP0/aHnhBj5a3cwHv9HrTkAte+tCVgPHarC5+N+W0N
kKwqE05aLSuvaBSDvzll/pZp/ePzo+i7LwNs5tgM/lYpMCyhnJmYyzapZP3QoSOTsJk/siGXXTyO
zTosy819A+Y2Brw8xHcrdMp/7tt/oc78fBH/zRf2y2e4n5F+uoaCnoJoxD+4GeuSglYq71XaA3AH
FYea4Pmvv7Ffj/P/7Rf+Y0P60w/rpTliTl/KNlE0fkxVfSxa4T0qNjBbP7NYf/nrnybz5P2yw+W5
kFmlYbLcry93yO9DwAHJHrHVynQD1RVIughpsU2CQxUe8+LL4qU+LaOBU5GNR6O9yqS3ckv6boKN
VgpemG6hBD/jEoWy63RQKRjiTEGtm1dTjO5vaflo6PIDauBpxfvCN5TAa8dmR+KGyKPqQoCI/ShS
dt24iuGQNhaZ84ih/TwvUrJdpqfq0huET/iNeFeHYhto0d3deZ7JFDi1ajwFChiloOAhNud2P8zW
rgkWgnOhV2Oajyt4c0n0EBv5fjTrO6IYxFzETgtHfVvB1NW5nWfKGFr9BCTJliUKtsMLnNzJi3TJ
N9lPj0K/G2OyJIsQuE0hwmm0djPd0D2+UCD0lYfcdMSiZjwVwDzLdt5JdeTGS7KpQqX2Op4teIqA
FQmHOom01K6slBujvDJEIYNwBo+8KGK8A4G3n6HBbgHftj7q3ucQnjc7omCO3SWav3pT2ZDjax32
CVtFeyFhJKHltJeBWGNuFU42V3uBwrMYw6s3X9V4POE4eMrDch3ompcnzaqQ8tch7oR1XlXHdijc
titca1JXoAUxPUaMJA4kYodgQy7uO8nRmZperPjNHA1riDDvppwdUlFTV4FgPcw5rO1NnahHnZQW
lIw0ctR2PAk4kUlwCRJq4yyHZ1ntspBSTImeYLb0t2wmRzSmGoFOpIfTh7C48CNsxg/scBJtszya
o9vI6ltPDT1EDq7dCd5C7OrhtmqK7SJiTyVhmZFsweOE2uMYWQKJQskWxe7ZkjpyNRAl1QGdx4+5
m9nF5qukNreyBWcJ1ifxpp5gxwJeYOj9ej5JxVlXty2GKegmNgJcjjfwwNyCPbWYNq5UESQaHoyg
R+lI5F/VETJwd4A9Wb6lolXt9GWpL+zeQ3FVtj+W7mks74RMIXYENa6xuajf+tg8RjjVPEmadwxv
JzYWLjI+3IumRoYtEQV7qOmqZKAqs4wokQy/3tTuro0abu7E/r6cnbEGoMHxV2X3J3g1fq7gDYT9
7f5j0krdDRoab7Ff60Z1zAH8VaayshSAOSohxEBLbm2d3sauXqUdb8/8Ie9B4OZs96FJgsuQ5ml0
h2Sn9eE1mMS11sXHugqvyiLuh5bmCtIiJDTRttDST3RZNlS2rSkhPmv0SxHXxzY0M3gyoCNxS8Jf
19etnL9Akxfb4CRrS2OXoqTajaqdO2Mgod3nqGrnj3GGJpzqrWVLI7PsHMuAgxCoAs5AunJObgv+
bzvNdmwqsSa0H5xOCV8V4odsFEfoY6YdDLBD5Shfo7oWIBvCbllMT1655m2nPV134etBetoVV7e4
AhPayjf+5c9/dvKte8t3pmM6+S7+MFD22nA3eeFkX+fsa7T7j5HIQehzbn9jU+zG7nfxhVfU/v1/
ZG/t//uPkNgOf6ZAPEq4ObdH+6V9yP3p8AJa9lD6+g7uMVbxbZw5sfnZ8yoxCtUxxtSrq+IyiLNl
myNtrbSGkyNckhTgKl3ePjftlj/MTvue+bRJhpykUoeKYrooKVm7c1qmd8D/layUXY23kreukLRk
6F+npkNmotuZCct5lnYkR76hrFbxfuLCEqUWTn0UOcEZECHQ5cr2x+JVUi4GeNtGeNWqx2PcIA16
ieJLx+CMkFyz9jh/JsNLm90E8RaB8YnI0VY157D5Oetehfpzhg0kqPiYNWe027INoaZiMDrLwRGU
kQdsx2mSYV12kiPEP1psfYFJ/w5chFMPW3Wy7g+jqxFIrqJszSGQ7CjGXwA2Nd1Ia1EfUsWwJenJ
Ej5jzLR3SYIMwrsQH/r6vBSvdo2zRwoMp1eeKvGl4CoUr9isN9FGQGuvaB9zdwqlD7G8Duml5lyl
BVfDfNKUrVKTMtRl5KeQn9MHCPkk1VnZON31aL4LOs9hA/U7ruyxXqfNWTJTv5wWNiiM+c1zd9BC
ahtXnDZdub9fGtN8jqO3dP6BxNxXGg2wyqt6F6qYF1b+Vt6P2bA2xgBpO2uH+JaqH+0UYNShUqB8
lOLozEtk3y+WyO8qUAAu9+Zy7vHDyBpuy12oEMCMwGhzWK4wYpQMmwfWxkxe0GYC01d2vcXDNdQ7
dnCvJsbQXsKUVG+k6NNpKgTigHsyeXIQ4frxUzZ4UnVuhZHS1xfdm+LjLr/rQo/FkUxSDDTxHJbG
UZuvQ3iRFULqMrT6YtvpJ1Nez8UneIMAgYyReta0NsqnFMmmqX2aTIRHFZFmNwau339rgmabCU+H
cVUpBY0V+z/8Qe5gvquQ/0y/xdJrPIGHxaBxokDGlE1VbcXxnBWdo+f7EoRTxj39uEhsbKYzDCMf
w5STGTsMx1ZnrbPr3SBcsGBvlvGsdASf8cbEhd9Lrh6AxnqIYbqp2leynJUU+IDu57ziNJQEPXBV
2EtRutK6tzqlapC6Glnk+KzlHu/1Qyi6xrRNLAOdtCtUu/EOFIcYOnspcrjpRVd9PVmHDDt3lOlU
YvdrI0ecA+zd6WtMtm+lglEWUN58JZ4shFsR072+EjDWUpV0cOAgKNSWTVM/1ao3R4k38pTKIuri
i5F8huaBJDs0VIPebCadDNFH66jO6zq95JMbfyemRyHPov0mnwh6m9LLZLxPFfHp8trrwHcidww/
S3kvtxtFta0SFXXsTQuoZmjVsU9G2gbv9dhZXsAFKF+jHnOCk/fRRgEVha42o+RTbaf8EYWU65AP
ZaHmzYebovGm4qS3m0E/xt0zthwLc5UQXuLiubhjrY4ZwaRAe5h4sLv0KxgfpkhmqXbNhl2T7uUh
ZkDNpp4V14pDPTMbbuwrAG65btG+Vt1+pP0TJa7y7AqCHceWH3BrTiqg5HMTf5GLrsoUkDSN6fbS
E1iOUq+3yCeWDFe6uob8ZzYcoeZY5EoLjl/zE+MItPrAdgvsbIlGoVe0APhX20QZ7TRkKGnI/a4t
uRW2fRk5Xaf4mCNm3kV9uxrvEOPAN0PVb4EiNyDKB8ceDYZfLpmJEMZ4NjlU6eEuZL/dYUYjb/2c
JZskO2vqC31SQd+1xoGcqNt0RO46luoctwZDH8NMr1ZbWzVOusSPBjYOCqIe9XWYAEfzprTYBrmt
+OgI911vdBxMDktHDJkr09iJETNH3GpGiVpUuDKx4umxXc2DE8w30v04jIuAW7DxuIKyKcI/ucoU
21xBPas6BO3mtZ/GtdH+QCcsxbLb9Krttha2IzLr+mk4kAlIm51Wv0f1VW24grW6Kee9KL5XE2R7
dq2VJLsG8Y3AjxYffUXQrKyMuVhdxTzDBMopV2d7WFXxGkq4brE5TVflE9ofX0PoFGqfw0ofJhcB
uyaiPUdZETxI+t4IuQyIkjnm5wb7L3LySNEQJrrZ3SvNBm+03FSU3SXxBiKVpMI/Rinx52FrJKt8
eFFLyx5Fbm52pvlQrrmPHKN2xol1Jl2jxypjtB47nRJZoOhbQRmodJGhVh8S+XYfIlbMHRZBJ+L4
hHsCMwz1rsjwftxFSeGJyhmS1/sGycjfrOa9Vj5rg2x6+GOOetbIwc5hVijZWaSE2nUOZezXjmkc
AN8Fy6Amxu4wBo4RHPu68wuWsT5aBWbldVm9HRmOSUrkcjl3E2hE86FbesaVtkpYM8/zbKXjVami
M0DYF0k9UQNiGF0OP5XsMrwXur4pWgTcDd8CC5rS5r5ZtIpXSvFNjXDt1KCUQoVSp9+ow5n/GmHn
fJtDKvyKFTzpYXMty++IF+ksv4hhqDvUE2eOFNgzzXOlOOkwHPKxepvE7KEHLicr1WvdlZ5+SzKi
4iZGUiQ1r3kTftd5d6h7SHlFgASpc8E7N1Zy9Lug/mgm6UhGlNd6cAukjqeBWL2ulutGSuDXTG6q
qE6iNTu1kX2rpd3R3jVCp7lgDjvxIhnDmPmtyMOpkdwKV6cYAuk3nKhAp42WYgi4WdmPS9mAZVWw
nVKHtEiuSEx2ulWdByH7MoTSSft53QBgZKl7TZrqGGpMQha8VIghV8JzOTQM/Cf9uaqUTSp7pdk7
8pLCa0QE2Ynh6q8P9UBO/vuh/g/alaIbjBoy8PdbyaISuimMNEtYhxZjNaWCa7HjtVB3jeJaODEn
TSPJOzN6l89eQFWoajdp3yWuVtJsGGCTHXN2n1FaYmGKp5OWxBHjBQWaNiwi/BXWSyGnI5XwdHZz
wusAHzkMKfEdJDiEbNJoURcNcpB6OisMNfWPosD6IXSPSG4qVG7ho1FosCI5XeXfpsS5nal21xxa
R59Wccxpt9910UeT9EjZn6V4vCxTIrMZQxeqDiOHzW09MQ82Ggp9fwV3aSj/oGkD03ES09dYtR4K
mQ8gicFZCw3X0Lcqu2zrSGvJS9TnKjwvEfzI8rso74iEq5jT1jA1ZPa5l43RKQR5WfbbUZfZThYc
Qk49bT7ROkTCXuCg2/fPgors9jOY/LjbqtHjIDc+r6MM6QuDZXs1713c8bZUfebpTRyfBvOpEPaR
tsVEO8kdCPi1LJPfbhvDnvPlouJQgNqljY5aAC43QqlmBxOVqESmbRHNnDiF2V72mrVRk02GpPcw
LiWoUBRrfjk2oD9pbs1xm3rFom1Ui/l0XEDEJpFVMobBzSbqvuqwVC3Vw5DdUiD6cVfCduHHhbOT
NqcFK5oeVu+RwIGhoGNR7NJhPdLmXCpCB8f7d2AqLRJ5P4OakT/mwmZut3VwoHPmhNZDMO6ycpdk
T0njD80jNEKhPIU9TQ3r2CqP1vKe9F9MQyAedQQhv0oh9lCp9tToRYoelgRVKNENNB6Dgsm8Dqrb
ktfnYXyt2idEXdrDUG+z8NbJj/F95pSVsAjC8VHgLqcJ2sxatmc+7TPFHeareoNGs6KQEi0cIiiP
2GOuHDNJivZpLER7K33LIk6YU9H6Iu5XGyAB0zWsGlUVPUwmC3oh8L4z5eJJSMrHqCHZrz5HlLqC
+hBAi7UFT6ieOvFdsk6DxZBb/ll1p047gHfir70SALdNtutdrHrCnMER4P1tHBvgudk5kT/y9DNl
C1NUFFzEiwYPc25/YAi3rf6qNc9xdaRLbC/l2zznV/WPN1li3M0Zb1L3HVVboT/RmE7R5oqeLD2I
rwzOUQS06+qzqg8Q2O1ysTxqlaWNPKO2Kg5dX0iQbOJX1MK+uvrQ169z8VWlfC7bbBUfXJ6tS2et
OrPi6x4AZe499ig4u+gFOIFRvZgl71xRig6TmUtOJiDvAcLUPIpAlQqllonhQqUBvvdq9AOYMGpp
dpeMn8Psl8JJil+6dssK5qObpuPLJBkD2qx8d2Y8SYy+fdQoQdDht5xF69nvNPuit4JdXaZvzPZx
6KHUaAavxRh/N+Q1aPvg/66PNKHFTJwc41ITBvRncbxFearZfMrhoGUDipl7hUgXmQbsHpeOeudy
lybTdmIzRaIXg7TfsO9k46AaKyMYvaplnKO/B/O1kf+qzji7JJNn6vElqoaZI9B4a/pUX5Vzd4X7
2tthZH0aDSVx4V6wKpBxOCjUdHtMlefx29C6yM2RnqzyRN7GVgDnxorPlM6YnFQZDWyrM2gDRlGn
5VNPgF9K8kiMSUXzzCRwt+3vXNmyHNaU/Ux7KKihMOnM6dAw8dxaD/dGRx0q+7ocP3LqxUou76dF
exmqwitaanNk7PGw8sLJoRNFVyrbR9OgoCkgDKuUluoZXAeorCiVMotCVxK/12F2SSSUJhVR+ax6
DiP4BeHiMQZJ96fbicV+aAJuw4rqS6sCz0fWHuyKUXtQIrabULJaT234QH2f7zOrrLjpxuc9ygr1
VAWXMY6yp1oGuFENkhOIteyJnfxeKNZFzWXBNge2nFYd8HLDXSKa6U0v1Bf8SBxqI+tScxXYpJj0
8LOnOKTriXwrx+AZXiv09EbUuDM3p5L2D2LfVm7UUKuOCTfYVoKPBjwPPfXJwWt7mTKG4xjLdktC
xxup5R2VKjMHLFO8zuqn2F6jwtDeiKQK/jBgBSwYoU/KYHpTJtW1KDAWIeeYUCoeMcVw3ra05hin
zOjhmfV7Y2g2dLI5+g3s5CjF6awQQ7eNB40+lEUrV5NWMWWbm9YtBx2RdmX10tsIY5lCLndrXEUH
UxD5uvle8a7KKCPuW3nMzyr9cvqketAz8i7XjjiG9Quz7Qr6166PjzSggWTgjPExS5KUEMhzZeJg
Iw8RN12c549LUgUehiknqGRefKNYnRg07zARjj+WQquPWLJK/97kUaTh21JCcWeGsh9LasnMZ3hq
iy50LCm21qYZbRsuwDaMeeCqBAVJKAWqq5ciO3Yxf1NF3EbrTH4QtfdE3CbpqtUOmjHZRF52htQf
jCVTPLGY9lFKuoBJV+6LJQMSZmpbfGU6xsNV2h+NJHweYwqCWWj0ZyGZVwWHYNl6lsdgw1SqPcsp
m/cpXbMxJpepkVEcUbgJQfRdStuBX4da20ypMqpT0Q+ptXL0UusdDtVja4nkenp1o7W3NproH1rN
g6lX9+kQmvizRAKfhvrk0TsgdknmB8pzQWJkSgz9Hhaq7Gk8WLh7Mw3bIEUxsyg9YhAckJn+DKrx
oeAoPjvsy2mX3uuMEhqoUXyqB4o4feho8TrbprVnTEV0Socydwo52wsjKLNNhaV9W5DXidlCDR/v
RdB6uaAecJzTG3kjL+Q3AYReQcGhGQ0kUCPwybliHuSKII1VmidUAJvWZNwT6tF5SVaq4acwXZiT
TXqmRYVDM6Ys0lQwSsXNqF4oOl9nmHSn4jmPI8reB8VYFRqzAJp0jgy6LXR2LMuXLZdpWRTOdlMu
1wW9KreszHqev9LgH+rJd9kY9QOl7DG2qQUO1MtoPkVPwbCsc2Or3BMzqzLyC8lXDE9KdtO0Qhbu
KlrzprEbKbFYEe2xlB2lpGiyQ2WdFgyTr4LpQ483jIoa7VqXNhzokBaTzM+LLZPjOgQu/h508hIc
KchS47PUHxETKfn9wI99j3AFz0v8SovU4zVUrPTco1aTqB7yPF1ahXRxWKMkYQsnU01HEl3SBb2U
mG97g3r+rg6oL8mvxuTLoldSXAvGYdMYe5JWrGydF4WtPU2b2Jr2hf4EOCFEeimNZ8nA7nqcqSEW
9n2Kj+ZaeNLDD52VEMZKQW7I08utxaxJ5TaTR3JH+7bwVt/FefySzvJOtCrGJ85EHg7zulp3uKdQ
HhJDk5qj1b44FuqXWZpYb9ditOog9xQruASscW2KvQwF6lnrf0Bhp/Z1V10zq5m8IY1ZSQMKkbih
BfWk5oco2mIEHoJ1rFOyPhswKKaN2W2qKN3y9T8kTF2a2/svigVZ/lDLwsl5RvNqrZu3en5dcB7D
kQB6MWIMqbdBz9aQ+feKI8lKSb15POUlx8SdMmwCM/Q4xxgBhZ2byt8abWqdPXjkNtpRV+nfWL5S
+dp4mEmf1Xs2hduI6E2n7KTAZH2u3LreFjdVW6nmcxRuGFwPrU8mByBAStugCp565YNpcW8MjJtE
e65dep+MIZtG7uIGZwO+T8ZP7CYrV1PyGSudK3DckEOnTVWfy5xNHtGhSFyXECZalhZebsqTpjkY
uvCkXVV928k+DUk7o3yht8GCBfSgJpc7nUNg1zmIVGo5E2YUT+ZLMp1rfdz2WbOugawE6bNi4Tbo
Hyq8uYDSHZ1fJNBuhTE7vc7F+xbkJzkFILFLtS2hSY4Jm2g8y9qhpf5lJasF8Pq0ldWNMm6M6U2y
WhdbpRuoPbvezllK2ellZlEA/zPk5BjioebdVe/l5EVVX7P7/ZNfYnShnbSPxXMbPQi1yobuVKSv
hlxRP/uWiwM1HE3eZRl3p9a6hvKk1k+GtOOSzyIAhw5Of8fyQMf1fmOm1mapTgN5MZHR1clj1QCG
ppQ7td+2CtGLVTY/Q1SmvfWQ0M/qfCM6tu0xG54H87WhCZGP30v3cP9di4qIF8Qfv5/2Ne/gpeo3
oTxvFEKQaj6fwkA5MD914puHPGFEZMEOTi4feQFLCGFVrBKiPN0AvLDjd/NaspuJAur8hBBAFQbZ
6+nb2g2rkiScsviHUbxbyY9KuwRTzFsMuKhk7YdJWRdjehDN5TlvOocfozNNSU2O18BiccV3oGSa
Ql317HOLxUsmt1f3ubWOaaeVtNv77ZKuu/BQzkxdsiuadrl4rEP0lc+lXGyy5WYtN8zWHuspjtSL
hnGwPM6Fwu15ssoTNI0RpfgfxYT/KLT8v8g7/e9yzf8PmXnuOYn/ORXlvOcf5Wf8/nMu6v5f/DMX
JRr/0GXIs/dUBYz3e6pl/LrbeDgR/gPCnoU2QDGItRBP/q9QM4kpnfA7kFymKyFB6yRD/mXjITAl
GtDpKeXoMNn/k1DzHwGjf01uMCRxH70hZaUAdiZpr/+WCSLrlCzJNHTrvB5ouFDWbvP6eTKmZN83
arnpR2KdUjCIrhll7SbsO5Gh8wnXp0hljTjjWpAC0g7mmHt9jEPCwilL5TY/ac3EqbcLaPIEE3/R
0tI5NbNhBYJyvmvJr+WUdi+9tmg7i4DhTENvN6YhRxPIifyBAQcJwm4nKfWNYlTxSpVotheJlq3U
lnyWFXWXviH7G2iS/9MX+G+iUn9M4P52WYx7ku0OYODqaPdkzs/Jm8Hq87iO2nUnasdG1et1zLV0
RVgTVLb6mHMuVVwMH41bj6a2++NaleKs7SRpwBof10hcom0oVg+kNwQO3jTc8q68xHQ92jZrtlU8
KZ4qyfRbRenYDawkWBbQH0m8I8grnqMuyA+hSfEsueuq5brGwNnJhpvzPdoUbAsPZ0e8Uob5Y25M
tqSjcB0sAeCfiIJVY7pGUzahSpTckqfU78IvwDGrJF2QGyvRCwrFdN9Nxt8EpOTfQkv3OwqmNGEn
0AQAQTXu6l8uHbVPMQmNZs2YhbaT+2LyRMbkso73J1+jo4REJXSzKzdzMQ8+IhkCw0zrCfK7ksWi
T3T8IBm04JpweLGCMTya+npq6WnyHIm2rvM7F/mc0c8h58P/mZ5Q3sPNSK3cbiqzv4nN/Tr1cn9C
tHvqH+2VQmCK+PCvv08m9ok8RVK7Nu4/WZ/iNXsigWZZGa+anAFOtmNCriHrbAbpT8nZ/5g2+w0T
98cPx4ABWJVrpTGC+1vttpP7vjOEqlu3iLIB0+byNu+y5+L+xf9x48zLdUiUxS0iph7lOFFPYWel
rhiU9Zqs8rfOF0CZefIFQRgODJ6LbtFz3Prr50W65xR/fV74mArMVNKFkgmJ8deLFCSTFhYLn5ML
JTvjKCybqGdQp6YjFyyATDsTnplJZadgJMaX8vxpVsX4b4Yl78zHXz4IuU6NeuE9NAoswDCJnv76
QfQqU4ELYUufwmwrFkccZUDMG0IQPQFPj7vwFKCItad+2uqSSihgab6aQYNGImlHQeuewnTO7ATm
5EFfJH2dDgAuZHJfetLcu/UJXhvFmG9RiVhVqisDyfTo54a4KYXhKozKQ5fq++EewI9NCO50EHJd
llHfRCMZdTXaT8WLuATarkKVvGkrWsllZ9KhVhonmyRjE1ntRR/geMVLGLlRmLzUsdWwj+/GbdCk
I+EQ/q0q6FrNZt16Gq2M3KuWhky8QMIH9x4dGcLyYl5u6qoeXY6gEswMmhJ4hZWLrFF6C6G9J2Nl
rGY5yrx6wU3fKnLxUGYUeuOwTZ0gUsPdiMvbr+Yo9YMiplDU3s90yZkaXcixaPRSlj6fCBeend48
DEv3Tfr0SdWj08J7fgPt7jzrNLh6tO1yTzM3Eau3vNFzt4inK8Q3zdc+xqgBS2qRoVRCmsMl96qT
m/f6tsTeHui0bMeRpkIakGJGIHQF8BFTjJVa+4uKY1yWUm+a6MnkrXIwo2qzzCIj+WlPp6YiPWC0
VPeSiFyGCkOSNqGJNVb+ViEh2XA8z03X3VjYktVEcp1jU2CrGZ0epo0+knIV5VPtDaNMG1RjbiIQ
zjG/HWHDObDOMMSfDGVmphHIsh0PikyJgVe5il2r4+cjdlcewnsjo6DXM9Cas4L2wvxMsE7G5kus
+3cATJM7ZP3G0nhRylWl2VEjiJSVO2qGEh3uu/6z1tVLXK8UebaOSVgR5rHqEZ5VcxSWikZfLjyp
lO/pc1C9X2gTKtKLLLUvS6Xtp4zNZ/cRyNp7blmZ0zNV5IaRvJODASbYBinSA44mUG06QbEO5Ibe
t7q3jCqJy2w3R1N8SKbi3VQmYxWI+k0YFt7esDq6eU9X/CT1WO6EhmkOi629EJOGHIsXrRr7FXUG
oYj2lUaeKbEyY5O1t36mbljGdBMrYgdTqj5SH0ZuFg6crysQNmFtcNxfOqccluDA/5U75lp8NRHo
nUBlE2W54/5so9OQREQPFS2AxoWmzLIaznHReBuHtnxIIhZpnVh3rxfiOowl9FwtvclYGchRlFyk
yCxtOdFONBUpNX0OrKM0MoSFB8I4oLyXPDBbNOg4fNk9o0SA/iQAxBkz4KqCRddstYewGTOqgoZb
CLW5MiPpqOlZtxc7DFsAR20mNhijlufXSes70KVwSXM+l5UTFQDnQCenNi7qgC+ZV8+Ir6oDpaCd
ilEfjnpu7cQpCw+1mbnRYDwEoaA4vQXbVQSxBZ3mQ7BG1GjJfdg1JIYXbeYe0uI8OWjeacXFQbPG
KS1N2muEV95Xh+pHEpVfbRJOTxKvqiwaGZ4Rl6s2lRc17vJVJlDKqHRtuAkbHU5X2gb9pphrzZXD
JvXJ0TOXBkVRCZPX1Mq+KdDPzoDDbd2bFFpmjtJjqfV8qIb2bVYg/Q6aCwKya5TgTp/kmgpJrq/M
cjgIDE0pkZgTrJCgZ1g0OaxleZtoZcnyMn52dZTBERXPOmhmOxnQ3adqfxmqkVDYkoaO2coo3XMH
A3C6NpJm34BvdbprRtvRJdiq+kEcyTSCZTJyEpQgQwhh1g1qYidlekvYxhbEHc9ydrRmadgpBQ3s
QrPT5SyKTeblNUzhWcYnz9BaZDcpxb9FCtadAXdtLtIZ/t3wWQacXHOReYHSuE35Jk+UaztTXiCw
XrqaRimcsuqaRiODwo9GKbwYFHhaCj6Z7qaZ0KyGWNG8MGoceVBS0jvNeZ4JCc5asMBucWjZyU1c
baZYK30zp/7/XGaD4ckL40jdkvlFpklc1h9sPSkSlUAYOggTfdcUziicgVOQlhdMIFwJp24BBd4U
diYrI0kSlNp+UOZ42OZqw1rZrCR62m1qLW4gqzylVn9MjDKk9DawDmb3B3lkQDHxB92M3QI1u0uF
9zJZIOvisL6GHizDaUs3GUjLiukdGLFVtE6XJt0GGahEWkCyGL4kND61PnsVDePJoPiSW8F73Rzp
ECbrYNFvYKY2VvF/ODqP3caRLQw/EQHmsBWpbFm25CRvCIc2cw5VrKefT7MY4M7tQbdbIqvO+WNQ
PnE3rIcZOYeReF009pUTepodoeTuybSf2uXXb8txVY4VUuLsaxiJpVlm/GYTtZVwqz714XXwT89H
e21odC/aEyhzkxR7o0WKZeFxkH63e6q6yXoOfB62+eAIPJWY+KIWAQ3m0GxH4jPhf+iqu9ZEqaaN
L447ntIYwZEu4o8ObMSvrZNsRh1NO6mz7bora2dbcgJstNrcG53zMhIfGVFMDTMl6r02e1fbWgQ4
PHHQy8/Yat6HcqolMlCkmdmgEG+yaKjs18qhW6mmaaM4Tk+waP3G99JL08n+0SQTPxByQ9htH7W1
IcIph9B2eMPC3lmGNZ1fMqQrSbXBZ+ogmLNrol9N16eKHNyt3wTYuR4SskqlTNXrjH4qwOThtUgK
cbP2e9ym1akJpBcFTHcRD8C4p9+Z7Eu32vayMY95F9CUk7j3Q3QrZpKEm7z0wxkAX6o8QYilQVVM
4KfkPWQbs5qc40x088O01J9Zq7KH1J3jh7IdyO8UVBUv6Ouz/I7ZT9aec/0nIJp3Qry6rXSe2Drx
3WMwMjUJ2f6UnrkuMKqizT40pkG6s0Jcrw2kVtkeoJNsTr0/vfoCObzvwX47Kq4JRSySSJ+ciXDh
HEGcw/OoEPl6+YAM3f7LkbIQiQlBm5d70oWRwGYCiVw1DOugrJ+90m9ObZ0S9VuyIbfib+kM1I13
HrIM9R4QUU6PlaYdpwQ4s5/glwuLR7Yzki3JeM6hxqfwRvMupALaMzvRHjJii58afy63k2CskERF
tPnVDYqvIMkQW7Imryw3fe0JAkI/qf+2vD2CZNm1ai9asoDqtvVnr5XrAGMy6gNz18qjV+oXWw5E
pMUSg6iT3AJpHYK+jDADvVTo38H0J2KReSUDDxUYGmsQQAOoPMn2uA2cqPaaERWE+ZawAoS+kT5D
/fIqLR85g8oy8mW0f/5svfcuIJqYvAe9V33oIW6qXOOp07sz5aafuQhund+8NDTSBtD/dnwbA8DI
arHaldKz7gC1+KtUw/ZgsTcivKyH2t7I/iN2kWCZce6HhYl+C1fCn1b1P/o03ooUgen/d8SSjgcj
Rwk90qBaOo5cxy4WjElB10vxqLEzrEUHXdv7DKtdeg6q9F+szpohqNacviutiyNt0vy1gf5+5UjQ
b0fY7P2VSKM6f+uCYzrXr2M+hIONNNtpyh92/sVHvV4qjUWDLOWiJKbK5cEagHeY1YIjsmXT0PR9
nBAtWjjYXbsFLd9Q753ZzdAHdMPRUcVZ75BLEvEZmQ1Jc21/GQ3knE4xXbus4JE2f9WM+8UR8ETT
q77EH1LZ0IEx1tPaQDA8SGPjMGKQPR9o2yJBseOrDQ5SLlIbheGkGcepQc3Obf2YJcETNe0omysi
RrPSeUpjdZwl0d7d8h3jDM2kfi1t8a17cGQKuVwQyENXxSwbLvwbK/CqWRDXleks6DEvGXGklYcG
TQGA2MyZU34bK7mhufXBg3EycuvJDcj2bRquUd6BP2ZSIpmn7lS49hMOqzFSGjRiXTxMQY4usBTn
RDM4B3zv5iDSQsEMh2xmjoeGuVg2ozbejXv8UbP5OtldsR50mCszGTWG8fnaKred+IARxdsMl+lQ
vwwlAjPFsnqZ7DstNxtIAe5xsSN6DpNs3240hzAbrHQXiGLnoocQJWXGBVhzsyBXqUY7MmysOlld
EWBs1NM6CH7KRAD8/mKjP879TCCpniOm0FmTBOmyvDsr25/rVTdrJJCnFCVDmHflIE9LgJqzlkVE
3/Aq49obcvRz7mLkK5GYx8bE9bbo/mHk1zY5QarhTNy6ctQ61SMtbSuuc99f+06MqAcjTdhbBoTA
cmy7athUtvdXet2RjG6fl6DMI7PWEGi0atezHuAVvhKg+06Y/2N+Nwfg0zyPXv1hLi92X2M0KceD
OTMY6Q2ch1oXbv5L/Jmz6p0Upq7NzJAy3a3vON1am6YT2QTDIcAT1MRz+VBadDUjhIfpxIZkw28m
JOA25WMSwBf0cGaMdATfN0p9N/wB4KbbBeKTcGPMGoY4cjSuDV/xexeuE7oexFnt+KepNgjrQ981
ZqQyFAaSgNJ3UHa6834RYtlQ+vtEpdT76BvkRS56G4n5oheteqoOLihY0CP0TbykPeC05r5Bizkb
66azvL2hxgXlocO4PPtRy/GlTIsEXpxD6MoeNUqXDvPCFG+7pBJmdBJCgGYCNUd5tLrqN48Xe8NX
uHetZJsU4kFzulfc8fAqV1zcUGH5ibg1ghWTec+Zxy+kgKdzfdJ73TsYA0etJZ5YtS+EE6tN5jjr
0nSMq6WRFB2bCcFrd+whI6j4UtemvNgq1JoZ5m+uy21g/t+A7Ax7qF2gv1IWa6/JQzo6+qjX+36T
VW57NDyi2khSGEJEEvWuxQP3JJspGmgixTCG3drSDqIV2hqW3Y3w5KGmcGCfxR1UUANeoYKuUkXA
D2HZ5rrOsY56ldppqfeVCL3Z5JI9a4WvfEumfk5p3wR0yTX9MNncb5PlnmIEIbwQEsfTZP30Jedm
YYztxjf6U6WPwy6dqpOIq2qLFXAm/ry4UGPdbnrhc4zD9fbq4AEssPma5rnV55ey+WiCNH6uKjRh
U5aLg6rkFb3xI8CtHrnWkkT4E7ZC+khrzNm7WIb+oPt3lA0yKlucE9JyGU4ZBpTao8RXsPxzogSh
B8ixVv28AagpV5NgFG4X492VnH+SC2gCGgytDFNTDMY9BsYWrHxZUTwcVlq21yq+MieDLUzyGI4R
MDnAj6LZ/W+te3GEQHfTW9pDZXTbRUq4JTcsNKSqi5/70YtLsATMI4n6sm9InDB7um/Vn927EP8D
/X0WBJbFlbJaFsK47bZfJxYTe1lrn6aOcG5BRJy2iJ+rAcIpUAspHmnyYiY70WCXLFMU4K464PFC
qWhAJFZzvMkwDLcTnGjVWKCsiIRT3FXbvkuhs9vq6mm5yS0Tf/aA4cI38dRlXtgN2Y03UpEl7VJz
L8wajKzPtro279LMee0rISKlw/qD87xgFj2yyXCajiBlA4N3F0OPDi01BLan9bDuAnNNyUfMYc8Y
C1C8kh0S+ho1tDUX1lpjwQ1m20RbqFFKWU/NOp2gM1JNXFWSR5VD9vvcgSnNjFesa1wnFsLJojzI
dCRByVInoy0A+0rPDm3RnetaW8/+/e71B31LcpgRukb5WPT/KsN08NjpSLj5ERYDsD57ygfQm0Qg
245V+2X92DpPR5mLvQrqg8R/xF+X3Fpb6xBf55WO9Mi90WXfH4yk+JxNsh68RrLYgM2kLD17RlVE
CXU37idJy/FQ4FvjYXjIRT7t0qSDqKdBQ2s7hClt/DB3cbUdbebOuskOXlZpfNe3LihQreseOoLD
1Orxuq5BBUpCnDwySKYSTgarNrslioGRAGMU1ky+cthzNpDoa3svldSiMZm/srIqkIzQPMq+RJCD
OTfYEes/U8sdXmDruWITigDL5lVbBT/dKJEfpO4IN0TCt2z9zWKjIJSX2eg/ZIHDyD24VQdJjqcH
9DFfbork1abeaOmp9emZ/04Vzgl5qZYG0b9mOlHSZXvbE2Sn6earMdrGiiaSHy8usOMgOZ7tleRt
mQRaJcjpW49+zjp7iPXs7uBgf8EZzEVAOORQhnIITliF/5zm2MTwwos8kZeyhDZisBCv126Ylbma
mRnXvhY8du5yHUsXU6N2J9bbOmpMcD1u83panhGOAGoh3hmjxskjvuSQOHPTQknThgtDZXy3kKTJ
gaPiEeEM8vLhUPfXmJdoLj5k+Zz1HKLO16ankCCzLn1/HbpL/TSl6sHvBUsKhiQt4TOnjoeDnMEn
WnKrCUWM3YXltBt9+7FYzL1d4Cgmt535GUddPqO7Fka67qrqB6t8sHG1GJa+Hu1NwHyzUv2mru5j
dUkbnTvsZOedNIXrBz+OqsF86ybmSt5hBGXob7na6hagel76jdPMbWQ666CVYrt0z2Pq6EAlvBet
Zr50Tnw1O/ssVfFvxKDNN8gvG5fCl6jV1lash4m/L3A5ozWmA8ET2dqYvBfbLsCqK2+naNryzeGb
1KSNmaHLM9aBU+NL/RXzOcWpNOW/Djk5lbq19TMdGwgsDTKUULrulCSbBCz70aueRfnUOvgwnoKq
WWH/+euApRrUUDJ9VO65pGRmHt57iJGRqfVqSEGMiYZV4M8aA58YBOOfiSnM5mz1UR3GbyObo5uh
GMSP4TyKafkCJaerwvUja8HW0in/1c4LtNQSQamZmo/K4j2oAxzS85J/Cw90enADe2dKNPWeWG6F
TJFf2D34YvVcqvJZApWtUockivaxcDH3Kct7RcGxQKqm8BdZckvSz3R+mPWTKD/L7rceFsCVcl1z
dcVTvAD5BRKMLCfZ2UtfyO489Cr3Nj69KeZ1Jt1lSqsralhtl/aGzveswPfqnYakmzE0mZimeNqI
Umdo4ccMRm/hxNGW0B/1G++NA2EcJ5zV4Js73yrKXXtvvyokamDKyi2nbMO2O5DMW3CyF0seOvMH
xN0q8C9yGdLQqK3IGhdqXFBaFK539O5teNjKFpyc8pfMgDDI891Q8/2Tz3TH92nj0OR3wgfQ8fJb
jrWqsh6NIghmB+onfy3xq6wy1JytQHziaQIxNBlY7N3VVEczt8WI7TGrfzTaZdru5mYn436tsRxZ
w0U3/pb52Glb5d+K+E+v6BZZq2UvELz76GUlgybfVl4/D2rmRBXFb1r4YWt/U6CwItd51ec3NqAB
ECz+HXvwAiCSAq+okC8Wzm8SeB7VggJ+6AAiqnLiPNKtaTVz4RE4HTDvejBm+yQ/wGlSEPM0TKiH
x7WBRMtDwIcykDinoipNjLAakPJ2cJ8y/vCR8Zf2wCS5K2OwOw2lxSQ80HQuyq8krVTojPSQzvwG
emNfKtd5NcEH1oy0MEgpAa01FkX89FrD5qPJ7iCtM6jdoUqKFSohXH5EWPLtkwW10eWNfOXEMG7m
4DFLU9wjepd1NYu3yrUJHXrthx9nORWUXhSXuTm5xW8HSjv9v2TyCCPWQtTJvvwqoFaRkyd3sgQ5
qT8QLoV9qA43Vfk08t04ZoW9qnhO45+E0AbhOSstUCuw8mjiufX5hzymUPjHRbuSTUyrVlSyxXT3
MhDE7eWfcJ5UfvHY4aeOCcju6Ab55kL98dDmZJJ3HPOGJlOcXuzvo/ZsKUyBtZqvY41fabIs3qau
+FmSQ52T8YA7sGVqs+6R0ytbP2aHOZ4A7hk+yLloK5ruMBiaPRpb/rdsBkocqd/kW8mk2KBLMtpo
DLyts0g+riYyVnH+i9LjopXBytC/3bjeyn4+EyG1z5iTnI4EtM7caAr4jUtpqH8smjsoX9rn9NYu
JLM1WCBzZWABFNZ2Mo/tHWNTNuuQcjmiJx8V58C2GfAVrbxxLB7AlcsqymsBQVlWdIxMSm2kaf+6
ZDFZ48CB2wbIJsOCEiDyEtgLaswLug+HJUsypZh0Am/eVAVi81bubH8v+wA7mwqAF/W7c7mJh7CP
fXzutJizdsC8lf9cMwYpB32X9jFzvZXd6++N2Z8tzWF0Hi99OtBis3J7++IPLcrO1LDJB5Bm5ByC
fHyem94I24F1xHCLaJ58AD2r3raVjvdKa8F19GeszfNeKpc8Bj9XOInye2F4ux/IR9i6vX4vvnkm
0uwSd+XRO5nOYzK82jiEEueayCq0MGzY+Rt1TKuBxJt+ZkptmQPNVWOByRBNV0xyJxApdhHGC2DT
RczbPsNHSzrpH1rrM0aIrwmZNkzpLrHnjTX5x2bKtgmHpYn28pirrdfJ5TTpPqov/bWh0SXCrNVy
NZLUl/D652S/oK2/JjZIMq08u0Ej88q/t12ZUJYKccCaGUluYns9tHmU4BhYmVSrRAW+ed3tn63s
3lNkIhE26wtcDYRi0c1r2WKP8z3mgJ5DmjPKXakRz+KcTy89RaMItolxgFrDDcXPm5X6UxZ/B+bZ
8coQWdJ2IJRGVPrea+3topQT9YX7bGTev340z43PIZ4J95YjTbVGHLiWJQ4jnU9MK/1qXEon0iG5
jc69xHb2HrvA1NIHMnHWS+mCGqGoYLe5y6ATHJkKsyHKz66yWGPqjcr+IY9fxZDEJbqQUDMsYAXJ
xEpgWbyzi7sMhMBZLi5WwFUtTxNTQsOKaNdoUOyf1JnYbFnbG214HPQZ0X5H9F1s4DlD2Lk2yb0J
51fRrq8mVvdq6leoSMOp5PAT4ENTATnsaJe60PdB5kKAPA15yTcRrCUsR5lvUMbg1NLgVLyaLFZv
ro4prv6emzUoWQgRN61laR8M199NabKpm2Ct9yaXGXJD3raZ+AOeQTxUGarVah3n414xfieiAGc8
oUGI4NY2il7CPqB76N7OZJURP3hkVgKNtnEuA+bqRSt1lAf3JBedT3+mBjhEqhGiZzmreW/r7rmY
xBEvEf3v47GvqCRe/mSQHvv0rabHjSPOSbdtN62fp/Tm65htzBwHMf+90+7LbD5MUMbu+C/1SM7h
/ptghWg+5c4bwdHuNs93jMpwPrXY9W5Ely3eDIQQ4qXotl211f1HsqdaY5PNT36/rTh+57MbvOCn
UN5aFd+2fWoAbrwVdDMRbkRwFCuRnUk1SIzXxN6NBS2sLLw41NLfovyo85+C/9e+kov4ZpCQf6ea
mBbChb3YLD/HuOUgrPGvYZ2hu0k7F+o9mC51e1TMXz6KUzzFXXGxh7BJj2jl58SDWuphy0fsJDHU
hfYiaC5q568StTmACL/RJbCParty8PqJX63+y81b3v3a9dnRHqz8auRXlNMFfYHFAUMONsB8OJYF
hRPas+vi2ppKFDNVWa6MAfvtyHmNuYYghNkzT4zm1ezsbGZxhxCJUl/rg8O9jkIP81ZrAD7YzHsx
Thx+Tt4hL372ACR4heapyNbK9zazEY/hRAUtCA5HZ1WhmkI77lkb9C+1cXaap8q5FH2wbt/01P9n
zKMFztTfgiEmd4oK1aVGQmbX0Mvy3WdeQK/3UqZqtzS0h0AISJ7dfCK9BqGtvMdfaKCoEU/+Yr4N
PHyWzUladaHHmD3T2+f5tyF4s5ZTIrH4l1wSzvIHQfJiAadFGWiV1ZUCQ/QuQ1axKQSpHcZb3UP/
Z0iywhoHgIrz6VBbu2yAYM0hIOCtHV73yMjdZ0wZe1fiYC2NaFIfKB03fc+4jYiwQnmnzVvmxdKo
N45KUDB20I3ONs/d42LnIIUBfYMgOhW6jzxq09sy4nt0+qhI2qig5DflM2nApxKtPLCAPWb6sna1
lYghfRlg7RSA2aWdktfatB5FEkdFwXcJ7jrfWqv4Xnip5BTvy9rblglSc8BkB3J5CXBcZeXaG+iZ
ZM7RNDNMcAMx1q6W5kuz+aSCf6J5VSkDwcr0zc0IsCz7q4bmvzCOo/jtxrPm34gfMtKb018n7TKI
l274DMpTLf7N85OJgjy+leVLVz6a+W+xPCv35CwYpIer5z3rEm8gf4mcr1tbjZ1cxfJDApd0xDz9
pg69tuIN7QMNXYS/IswORkzUOElG7XYfRMmxXTYgglGAUdVSD1l5LO4JSvPHrL/79q0b/jnyqc35
uMjTYQZZFS7KZQzZC4EV7hXRiYJdFWqfm/13q94b7dqPe8v9i6v3Ivvwu+JfYu6s4YSSUsPM6Fgq
lOJvREh4D4wiY7IpiidZ2VccN51nN0+ZdVfJuD6CQ9SbI4wfbL7SCfxoC2pfwf3WJlk0fDbOoP9M
wjpUc5BjFqvctbekH0WAaZPBIQmCqIRCyyqsl8aHIQbG8VFECU+a1FGzdFs7jznlSKx0B8ppaZLe
6QpXEZji3lm2Xv1aVGBb1bOdoEb/zkbUe6MLig/Yc4OIc1P8YFiQoh4INWyWDz0+5Wqv1T+iIUjI
Xxf2EOU0gxedixcleVgKM3QmEVZg7PNwvL9oLOqrmNG1bXVAur8hIbBYJwQIwbgFWOhztM1/DXgO
+RKOs6uKnQ7NYXflVhriioATdr99qiIdLQI2PUGmuxn/631/4yJgtRGzjjapK2SNOL2KbD6LSWKJ
9N8bRbWe9tqro67Vr4Zqnt0eeX4AQ6jNr6X+5fGQOra3WhnKPOiVQ1yuwjSd0l0iPeIrAESWon2w
8fZNt9I5NfmbS3ruXL0sbUuMgAlF7bdM/tqTTeJP3+v0O6pHR/YDh3ehPSQd+Rx6x6RMOhzxWPDC
Vf6U9CCuvbG1cKO+QbodB77isAT8KR/BN9oM+sa4jPau0nEhBdpS7M3c/NKN5bQ05UeSr3ttXRov
sniO8+3Q6eGQX6b8oasuTr1DChuhAM3KV916QNfWouMKdvij7o2USXqzsie/YPshFTppbk7769pv
y3SwCG/RmW2Bd7zgJWYaYg2NratLD2w2REN15kAZ0oF9nskGHuNA0FYSclg2a5qJzul4aQVPxbOY
PoMaY/xXloQla2nz3MBNvg8tTvt/rv6RuycfK0354xUfufdZJC86oiip1aHL2UbGDFIFfXou8/Ng
HHXn2eEm53pEQFLFQSTzV91+meWbcK4NxVAuugdWqfRf0jx02kVmG1bEVcamK7BLz8tRGP5XmqXk
A+F3/V7cJ49gFVd+ZdO5aE9C26vSWRF4hDKzoY3Uv5pQi85DY91K6y8u39vp0fUefG09mduaz5G2
nwTDpXH0rQ2BHSu3+3TzP/Q7T111tlgXkuSwTNgnWspCif7QPoWB9jr7V2g7V/LtYFkWKtS5QTvj
zW0v9UYPfgcnXRN6WxLXwE9QfSX25e5cCa6m/xrHbw05VlW+Td0Eetx/irPXJbkU98ezPWX2kwev
4aGhTKtX4rR5X89u9jYAdszBi80Hh6AqjeetQcLaOhn8UMX37lb89/7NkxeYBS2Yt36ya+PQaPYK
lbbKkL57n7hecaAyJe8DUFufgbk3v2v1njpYs5MXvxETgNlwKJIdi5rHNKkIkraN35xG2oUd855q
rc/fpNfVFrF65AAQTv0ZUES32O8FgGVyTzisSbEi321OcOqyU+BkI2fDhhFpwcNWwl3CCk7O5r31
rRuY4kNhCiTYNkVPz6P1dI8l4dz97npOmlpHZjEvzU1Lb0FZDSs7KD5K7INh5aV52E71KQgSZ5sV
BODNsXvGb644sGa0325KdGeNFA/7qcufOLgdmty/AT3VQPoO8YuricqntrFXCTqHhARnrvpTPLHI
w/Gw0TQdvXsg3Sg0PB5bcVHVZ8KS2lgWFzYjwGkeTpV5ttQ1935bksOyk3jETE5GmvFWBZOI/Ax3
z/Ih7qkOpuh/dS15MOtB36hm9FZNNW+A27XjbBKXjFoqcunnvJNtmQApN3W5IcSVpgsNz5fmKzfU
E1Xuxvja+nSc4jw6kCBlGEhQ6tY+xZbCheVa5IclIrKHeSXs2Tql1UfGKJEsZLCW+NG3s0I0MFvf
JtbVODNhPhGAha0vOGcCQngIuQj9PNgDUVhRbgY3d/C/HcuLhmF8t+FM9fE+gjnztsl58BpDvgWL
Fi6tzmyI62RVwPAlqBJIpkZb2OOvjjH8z6dmtJE2mqMZZhmEp5Bq3skBJl6bKISdFNOzQni6dU2N
gtxmWi9GrJ8X4ioTVzSnoi7A55dz4wAvAC9rtJPujNqArx4vnRkcxpmna0htaHGnudiEzZL+hX3O
9YuPbMId2hMeswvGyyjYdyYQyJAu72vnaaGxDAJfdOuvkVCFqUy4PirprDsC9XFfyTNR0+M61j+C
YsZ/pxXU15AJEfa9dSvM3N9XEwumbQ1QTjni6LQNPS8mJ6bLE4K8FM+bdVADoszJXID2tTxFkYog
eG2zlx2h8ud1HHzRjNvu5rbK1pjL2SnR+5AY7EfeMBToNjDjx8awsYuOlqAYPyChQwdkHOOmNWZr
a48SD3RqZ5D2+r8UHjWcqGxd9dmCxSTublQo90t+a4G0iIi4eECPpGOjRRciWM2giuB19Ic7gDP0
2XD3g3iiTBAUDquBpmL+VWHK9OT0pXT+wwZkYUpIwSIeRl8zxBNT1tyxqjQy6IFfp04FZC/ZRNzg
oNyZu6HKbjwFzGQe/blduUQWES5bNfnvpLzDq9rmUD4niD/CUVgPibPO7P65LtJ3N/0pxwIjXoYy
Uqtecr/hIHQPSbshUTLCr8gkZIJamTq9lXN2Z7aU/lqhtQ1H5YsHPX0MZK1vi6XZQM8Nx4DQP9zL
XzOiKOqrFhKi3OVCUtCWGvZnmfG3kGvXlic7SN/yyzy18pLK18wfSGShHW5b9i2XQmv2UcOLBpCZ
PgQN9bKGJ99GE92tTwoKYtJ4I3KOGYIduD2x1JLtryPh4IFsrPRL1b9DyVkhRp76zAcSDPA2VWTd
DThp9QxsIdFsI6SvAONh/dLVBKK5BX/dPlOb0TbjnVPjsXaNWw0ZuSZq3d8mPV4MrcIJIbT5rQZk
u0sJHeyY3aPKGO91GJRAZqwJPaixj9t4IFt0n2n22ln67YI9G3hQf0+kgQ7HDeinL4l7MgFr/ZnE
SyM2nrAP/YtzgvixjzwkWZBuZmH8YmNEH1UlFUJqjeaYGK5ZLcmRS+NJ85vnYpx5uVvwVxDhzZAB
ZnIj5k3Ji28l34WT8Kak3ptiKLZmORG3gaNdtiPJ0aVFNHumf5M6tTUojdlhdmd2YfyZ0Wy3+kiH
1ZxvPD2Q+8GDhPRqf1OTYMBdN4zbAZF2k7EA6oJbHZa/SZBxWWgOpvFXn2QctfIe8KLY6kfUdJAl
fJ6qpQ4Amzhh80eRo39rjKfBxQKa+RodCrp+cP43PTSpEVaLjyyZAEzD6T6rdDn4NDFEmSN309go
hObNw2QB7poSzUZi37klnqYiQVCVBqgCavekueN8LIpPahrAy6ZOhV3usUBM9/xp/Vmz8wca3KmX
EnMaYQ6v9/jIQF37NUXL/6hiqzcDYVmGawF+E3PA4zghgsuGp3veV4YMcplIS27r8lTWfXAcsnYn
C7HVJUSwhfj9aGFNkTLfL4U17gJ8THzb8zVwZzJgAeceGvVok9EaToKMPTwoa88nkwGN2Wawgr8S
WeicGf94DVdqkch8k0I7tgnimjHYzjaGK9TBt8Q3+ZtVVGCXyVsNBumm+kKAIZWKC9ihM+U/PiXd
wCDcKLVnr0qHhgzB8xsX5EGVqqgQgnZbkS0R6as/Jc/91lYT9go3SWmWuCJcLml0rmHkO6hD6hwR
d396XWZsuZHIXfNrCE03+bRGGs+5EeFK5nXnI0MdDOdGICot9+lE3RURN2ihg5iMRpIye6Kn4t5a
iYGfw5TBa+biaTBZ7lt20collDhOCDtWvHQ8e6/BuNRRUXcas1q/rFvXQ+cWkDvo+zXCW5IqjCH9
1IvqV8Vi2A39s1/Xj72oxhA+uQrLwdp3afPSV17DZkHpFxkgDgwnUgVp/NULjYi1ix8QAYZnYLwj
XRmrYE8fvTAqYm1m/pwA4GcgBSgSWoAWfGzO0OfDyptYO71PzUL7uNgwWPosXjTfPKExsla3ItBs
DDjGNpBOTQ17d1lkxX44bYM0KSIfDQQPHAWRGgdvnRWg9gmsE9/betDyczyxgZPEnYRLT9Nc72ON
oGmRz4c1SHmzsWVFLrNX7vvdOJjWKdchuRqOBfJUuArqYaeNJOdLfz60LXXp1mC29wyVz0W02N6R
yYedfQ82JYSqSmVYDHvUr18kphYHXyU3izxI4gm9h6wudsxiCGSIZ21LFMO1RMixkMeju/JDQDdh
k6x+khEEu8hqEdXia6TkhYuKAUOHiKWvfSDMcZ/7MaPj3COmRO5O+GjytdMd+2Z5kgR5Lz+jTEHh
Oo8TGpF+g3qLMdLOf5qsHrc8zRHxQcQNoMSA8lP1hpAo8gkbJqCgCjC75giRHBw5XNqoo6t7vCfG
A3JS4bMHcGcSR75Af/cEjse7vsyO2lxj7HDxPVgLgmcERNBypCAnw7MUhY44C7OIrU1FqDfxNQC4
Q/yqIjSXCVGSzOKivDLJ+aegIGAkB7lbjAPL6S3OGwArhzuFY2Q6uMR8rf9j7zyaI8euNv1XJrQe
KODNQptMmMykZ7GKVbVBsEzDe49fPw+o+dRMMIdQS9tZqBXR7KrDe3HNuee8BpaA2P+RqkW0z0Xx
QbdAicDe+wYK0jb6IP6kZNYRHevHqK7BgBnVczPrKRUr86jWJXc/CAV1wEyzj9Qn0lwbTLonGYhb
gH+LHXzfb9BrVFzm50YK0AVpl6RGNXmD+JThdqFJqQ2r999RP71YVnEEGQRb06j+wGYLDavQixrB
YDpE346V5KtBOZ82UY1sdsh5/hukw6d68F+Aid8gadZ4kCOh6kzzl2j0J6zdom+hKAEgyaA+ZBBc
DEF2QkPzXdmn4BAhIWaU1cuolGjSzfUPJFG/8P5LEawPUfRRhLtZ9qp8+Cbr85VaZs/dVF2PS6tu
DPPDpCBDS9aqWqVXGxIAT3HAH13n1eM3XLSmrn0xD02DHsyQ1rdiDidDzr6kkxS4BTAtlpV0kmRZ
2gFmcuukbT0jozfOa3dUMzqnfSMdTCgr9hi13jAB8y807edEMYde/HjI8pkenBZ1jsqdiyL9jwrU
hDfX1tcy1yhnW1n6BRMWvxljt4sohiMx9mz1JAORovdOitrFAFgF2UkLDGUMy0fgZ53yYjURXJOi
+i5FP0aV8zZEzjabq5OSZrjAhPzBPkJ50hqFWx0BNqNvPrdwvdFiz3IXwwwPIjd71UwiO+Oh3AZ0
XcRkflRB83GWgoFCvapupC9tja1U42XhgrSQeTfr9fOAZZ3TURNMID27bONYD1GhaJcjgmdQLuOh
B+07KAFDRZrOHAxx5lStFyti4nZVVxxCufV0RPa7Sq73FZZa+0RCZjk2UCsOXa1M5KP2IqObD1GB
s3QYo5fJAJtQoQCZBXIEVB+kva/xZC0R4YxTK3eSfuFQhh5NNw0O/EhjM3dgFMh0WQCDo6dSpUJ8
6pXyrgNKaFpheJ1RVKjSMLqKpRqwkpAeBpqapTiE+yLDdqIs/d/RHE2OCCEM5acYnT0e5+IQY5kO
Kguhj9zkaEKy1fLTu7nk0tctUHxBwUvE6PexjHqH2eig3XLgyXkIP0G4KYSwv5JS+uC+CRA3Ai4J
02PmfiLtg3VIwTI/yUH6U0YoahcDU9jz3D/6Oa04YxZfxizc6z36m0EQfBOVVkKHvsrRZ8MeIdVG
3hhI08iDaJH18NBQcV3Gd0nJQStYBue9T6tQraLHWgwPPRkDb3b6VUWnv0xK9wWqz5UyPCm1HF+b
Gq3HWoX/qscZNHlkQztKBWmNXpMqnRpLDW2jizOOCrPfF2q4gLizZ3FpboH+Qx/YR2bbBzijKUJ9
zddklHWaO9AsYI603dGfo94pBDVx4WJxOKnBpyKSir3PJRelvXVX092dKrF01bQhBxsKw4b24V+B
n/1jppf0yiW3qvFuRFXgLlXLdi/ARHFA8A4ox+KulBdtfFXj4iCHniBq8kN7E2SddGtEf6SzVtwO
RmtrvfwkFIp2FY/dcgR2YIQjOYJfhAiOpe2wxspuaqV8qiKj3+WDXHltgMxKlLTaU1fLjpWc+MzP
2szFFCDd38pKvTPDBVkWFjev/+3rb+qDccTaAGoDeA8tjNgZcBh2ATq2R2m0qJhyB9iwaFDNHoFX
h4CI2+FGbiCJVuM4HBElfAxZe9fm2HlZYwhHoZ1BByJboI7gTKRuEq+s8JTmXUubgpW8KDQYoJ33
1YwkfRmYHEhhc6yl6Rfy+tZJGHg5qUbu1DlcCSFHNepVwmEMuUwsOXjWl0Z5RHHYsTrqW1lC/Raa
Ikn5ZDTXGT4eHeWbkZsYLmp+UwRP/CnVC+FAkePE86c6y2++JvDWb/swzoGr0ClCYh5VoRI1Uyno
v/c0e+GKxg94jT1mXTR6gDDBKBjoUmszqUyT+eo1dJd8j0cABfXRtAtYYHZMG8xOwu5eaqXPlq5+
NuIs9YTxShlH/Wbyw9IZh7h2Gqme97La5O7YZ5UNpFfel/1XiY2Dzlmtuc0Q/xxN87pDbvlTmszf
Bd5fV5Clj2JG46+A7J3FifYQZWjlVS14tLqNvNJoy1Pi02BC++4WTQXrVKj00wMxOFpUNY9VTvE1
QCNZq0r11h9xJxM6mfQObzfeJE4uQqN+lcLIVUDb/Oc3eWqi5N3gk17PwVeRvpCkxHbccgaVsnRd
5Axbr7X8mJmDi51O5uadVNmBijKQDN/mapFME/rC8nJxsfUDt12A2usg/EIpyAU3nMCEpfQ7Jh/Q
BZNn3U9Z/TKCABis7EmrRb4HCU+rNiiSzxo7FfVg7iPlVmrbgxaJ+knQooXClLbgiGhPS5ZBApSK
3PwU/DLw5gAg0coBDdTYtZlmNQ/KAI8HnnxFq/yeK6SDs3wo0GJDBmTS8se+RdCoGjvw6UicOZM1
lt9qDWpflIIsrDg+m74r4LDCC2T78vTTnNxCzatdJhRZSsQotFJx86j//irzgBZjcRTi4NTM3DCx
6gePXY3XoDZEx0qJYT4j12IbVVceY5GSqAhOXuP0LaSGUqak/Xz9i8ea4kmhF6NXSEjDtahaAEG1
Ji/KuSTbIf2Z6KSSU8wVmZVwQrJ5QEZxYkdEqp/ZijIiKGWMO/ReC0CE6B7yHu+EWb8uIt/uo0Sx
JapGR0hYxq5E+drRSulUaEV8oy6KKaBPoc1MCUeJlpnHYPQdah2PfUzeXEUvqJkkjxqq/MLIczPw
29Rp0Ey6z9GP5CqHBohUolUAAH5VNfF9mkmg1w91zXlstrhWLHItftOyvu+KEcHwaSyqvSTHxQHF
u2uRe3ivKVV/lVmArkCWIDgSaAcJymKcAcURuph/HY3Tta8P7qxHYMnS5FGnybn0QsWFPzAhLdlL
tyr10SKQ6Qx0YHCjRL2lrOxIqW48sI5PwVLFm3pYF2OM2rJfxb/mBL3xbFlds4UdS0jhGWRE1h2N
1MKvcLjPYjG6DaSAIhkGGsgJ0F1Y/vNqVOFKhrLzS2DRXXVd4U3FzMt5tB61gYKOgSRcrLNABOzc
haLijk27e6PRcIMCURbkoOWFAVbSEAzaKR2qqyiGIQZPpdmrFivEbwTgEHEo8iwa7/DlC3hlZirY
zOlJmZofRZLzAvS/JcAr/6mR8f81nOj//f7H334WXd7W0+PvICrObGZVdGj+3xpOn+rof12/5Mm5
iBN/5Ddk4X/8zZT+bhqagviLxT8sxUAm6Z8iTob1d02WZVGivCGa/AhTsv/rTGv93VQ0A40m/qAs
IvzEH+JUaMN//E37uyUh6iKKlOMl8fXv+yvmdoukzp/qKzoWmcvvRY9QN3mMmGv7YtOALVaOUNBg
2X2hzupFe8B6t/+esfm5wsr/BJMR18RQzxK1lQtbJfdWhEcctUOWbzhVNtY0MNwnu83qDRkm6fLA
/oy1kpUhs8iCeTAnB864bdS26sxXhtP+AVMK5RYn3hJLP5exWcZm8E1kDAwVw1B1ZaWGBd2xFxS1
6B3VG687jwakK7rKPt5FtnZ8s74uSEwtQjTn32wJpUqLxBRSX8pqaHWgVQIl1skhsd2H9ClK9fm/
iqAuuvA/Xx6pqDeIj/3vVq+zpBRBpZQ6iju14ozaljzRudbT/8zXvwahLvP5JkQBpk+YAbQxX1Ro
hHQ/OZkTPNTf4Nvsoz0OMdiLzjvrd+QaG7JM0vItziZQU2WJOUQ3ja0nrddhpGVtkBlq7SDOYoMB
vUFFEldy9V56mPez09/yLNiK+W49rmKuPhqUp0KOKe05xt3gqE7hYarhkdDuS1zJu93H3+/96j+P
pq8+IOSUoEXqoHbCo+klh+Bk7dH5PAEot8lgNrSTpOVvez+fEiaUnCDs7GXsb74lj3wkU8ZhQs9a
BNGeeNnUPvmKdRwN8do3eGjKvCFViewzRNBhY6zvdt7rWP+MrpxHn33qYRwsszPxYLRw90mkox8q
0JLdWnqpIx5ENJqHUnZNui4fB3+3FVexl5+/GXlTBZaO+e4EOUl1QiDHnfH74wgrfSw2yirE6mCZ
4qioYoGNIiOWHucvNfVazuydUXqJ+lSXp0ikkDPFjm79/Dj01uBW8mXxaEi+FUmcM/F3Nf80Yhe+
EeDSTuS4lC3NRNJNAqd+Pn8lLx45wmTDmbsANqw2BAKVa5HHjQWJRWuALTlmGkzoTGPsAu4N3EKE
FsFPQI8d6NUYcSiwT2Z/tKZWkK/nfBYpYEt9cJSsydzJOf0iTSeXFuHj7SJYY/dTrcp7Y867q7hP
24cyxpVjjHVSwlrvaeK1lWx81kBth57ay/5PmFmkpyH2wVwbsQEYUh1aECuNQfHQGetOc5Q8pMUm
IoPw07cwPcL2IIMLp6VLZ3JsreaK8l497NLEKhfQNHbbfevTuyisVLiqa6mAr5IIFVoNfevoM0lu
EynTfVV0g9fWpvUr9bv+excgw3fEu5GXjJqbnROgZAHyFfQbddWsydGpMeq842Uq5BbgCSmvnrF1
MelSwJYpfxQRz9UKkQYfICvnEVURAJN1nStf9ayXfiMBhdKHHE01uPwALo9YGED9AfNjXzDsKt6k
4JlQOgtlfXKqRotuIYJEL0hi4eITqb1W7XU91N1QHisyCRC+QDAN+YsVBHn4WLep9RAVXQC4foqW
EqGvACuY+wRNE6GUjUfUNgb8NGPenMA+npTRBxAc+7iEg9OMyIr7HKPnyR9up0IVPpmdXr2UCjBo
MeVu3vWpClNDtuLSbYq+ts20CbDe6CZvjNLuwHQ1t2E5Qr2N8J0RUzBSQk8/O8rgLDQBVJBgqCjm
dn7Hp/HT0yxFP3u50V3N9KmPQHf/rGdT8GkeFquKWteuYSMNT3NR4c5Z0wvQEjG77UA8XBVGbpyo
auEY0TY4q9MT0uFrjpVbdiUYfuTEx6vOh9F19DkFciS04uaavj9iRmGNQsI+qn0FzGhbgPlD5xMB
bqPSC9IYBdPvP5A1bBPsa9sxn7/EVaOgrmFKw2d91lR115cdWvT1gBck+K+qg+UaTQndvXYYSRhy
FZXruuTmbWoh0sBSImSTC+P4sJiU45w4DDSuygBh+RF/MrnTqa1TE6tuGqMAklmMNJzQ7zfdPgSm
ahta317zQtLCmxad98lWIQh6NA6ZUk5dcDl6qz7FsjFTRlM1xxhp5TTtDGJeR8YbBsEChU4ttpxc
YOIE5Mg8SWUZVWid0UL01DpWP0k9EkpIzymiN3RJc29Gg3Ij16KMRxTNK+wwK8FOqBygHmpV1Mkw
YqXKJWayKLpTY0Two7LmVzgjN2HFzXiMjR7hvbHEpxQBydFDSocqamZQN7DU6TEU7kEH8VB8bFoh
ciHARIdo6HrpU53OCI3KQ4CecJpjKwCXYgfQX8NwRCiROa0FGoJ8FTgPMEqux3pOb0tFwq9kjBLM
CpLqShsEuCVJhvJSWYjLTM4YqbRTY9GLowUL59pHeF6lx9hDrKP15fs4ws352DznUpofC6qADnVi
8Zj32ivpBlfckVb6fVrH0fcY7YqbIgJF1XQ1poGmX9lRjwrooOnZb9GXJ7sXW6ay0v2jBaUZVfJe
bO6KFmxRXgYg3YSmx1RAqj2lVWLNFjBYyCHHxP1do0rlEyrP2p2MfdoXWZWFcbHao5mJ7XBHTXyQ
AsUtgcE8FV0c/IErsMroTHX+barY2ecWaFuuTQGM1RxlT6IMQi8wFz/fcajzG18ExhW1YQr10LBu
fDQkj746ozzdz0DCtRLEpx+ZqjdkObVxE9aERmlMts3JyOFrUqTSx948BbU2/4j8nkJxPtfGSSwm
8z6EDXSKY87lAVMbcBiWId7nlhaeDEPLaSv1UwUrO2kioG0IMvfaTJXCwG0I0bjRhildWkhp+8KJ
Bx1tKwrhoIqa+kk1qomzYurA3MaLnp9Qwgolu806sS/dwcS5VNV6yZZlrbpDulUvH0Jg2/djzZpL
omR4LMcQPT9xjK/mDh+UIpMziEn9IOhOr5eqTu8c4iKWgkEGtI7tIlGfFlQRMx+0Xym1Qc24z6Za
Dx66jvcnna8g9gpZR/0pYnlHWAwqs3BL8WZ2SixxaQvPgENmswS3b5VIzfetFhyEuTI/GW0VneZZ
ElM3HsTwCjJla2dUP10ptkL9ZWgrSg5+gdo0kKCvUUiGVSeQl4tZNu5L2EqOybTTQ0d4KqWktkBP
9K+hlOdu3VO6visGWm/47JXIlpl1HRvHSFXi5xywNGbBRWi6oY8IN0yOXrillWXJqKpjiTFA2BJt
bMnIpP06nA5FnJjqwaeu6GY4lN+GrUU5t9BpdWlYNWSjOlyNIic4+nQ0+66QxJhuRpAGN50CE7G0
9D86PUS7I0Wejx5YXnHETeVYOh8nPfKFtMq0TISIdVRG4XSt8lVex+SjZVQ4yl33pT8Gh/Br6sJF
9qTbzhsPP+ETXc97zFo+0+3HQMuWn417K7I//jUupF6aKKlkp6hIq6oqrVIvXL3KlEctXaZTdDAQ
JPoeOeWPpW/roD9ykvAhAbD6Y+sh9P7tRViKIRYKtZqlyat3XwhXWBMGwpY4zKRYhcUy1nWqvDW8
97N8Hmf1JkEcMY4BLizvf4Csv/B/sCEa2ugL2sinn/6NV+XyN56/gjRJ5hamOmPKFmjyVS6bsNEg
T08O0En1pLmdB+7kEStzumb/TsXhYjxT1HSJAg6rZvUBKx3wZmJpk9M4HEn77MQa2rcnywO28MPc
SNWlZVWuRmfp+BaYkmJKMEOW+X7z0okMFPDbxW8a9yvyBWpFgYOrR7IbT5Sn9wgcbeyTd8UiTTsL
uHr3oAxILTnzwedhJBVgGoEykpoaNFLEv/yIQyrdkCVVQQNY1tZD62pFiRWpmpxW+xmbN34eb03e
hU9lIW+sm3wo2SDtOZ88fY4KQDO84fCYq3fYEhysveK1L8iR7gJ76z1+YemfRVsdMOMcpaYqE23u
oAeLf2SN9/HZ8bqU14vh7XhWi2FoxqTuWiIM++ARQ3PXvAHSggpFuDMONO0wat2lqAm7/ldY0m53
VTlby+PCgjRESaZsaSC0rr6rgll05ibkUnIKSD4lNxiOSDTvSgcAmideBXfhzceDfj+rxNMlmQqu
vlSNVtstifQhW5R6kQ7KdgKqn/XVxwEuFG3OI6zKo5mP79W4HI3TA9x7Wzn437AG2g12cS8ftgqW
78/h82CrepQ/QOQEXj449Gh2MrpCutruUeP8eEzvN7FB+ZrDiSnTVW39vpdTI8ktEhgnWsBkY6Rd
JQsvOUdWZcBu5uNgF0olIOItSqKmqmjUmFdjasIuUKUOAAaaF6685wV10m4NT+C0N7fql+9rXmex
lFWFbYxm3cc7cVl+qOzcoKq2E27Cg3jQNyJd+FBvB6WsrpVxrOXCLwk04gljZo969DgM+sYRuDV1
yuqE6rA+70mnsZU+mZ7ljleNGz6i97BDsHPrNHxfsDufutX51M3gXgGo5/T1d77XPYSfrH1yjKM9
IghO9fzxoriwbc+mb3VUlZkcoKnJ9CU+NYOXdPr28d+/bMrzo/B8MKtriiWvhn65TFz+CTfaiPpJ
iQfPMN2P0IVjuP0fx7uQt6mmaoq8qOgOLQ2l87tkThJyXEHIuUugAN0hDOEA/T/2p3nv7/hiV9q3
bGMO5ffb+Dzm6mQyU21CcpbmKLewh4nQTesWEAFfkgOAmxv9Hs2D9kqFebtTTnCVXH+X7kSXMpCD
jIF2/1/OwGqbJ40IaGtQAUr9NO6Mr81tdoBmil8P4LMHHWzWfobOhGz7xtQvXbfVtz6bhnVbRMXa
A74m06DeCHehh5CrtYPhbMeutR9ckKLhz9gWOLKBPat7+auyB7x39J+DzT0kvz9+zn+V1algVUaK
DHJQ8EVKGLy2ZKNFMh/An0UPnEX7ig7eLXcvVqV30Z1hK5+aretq2abnK181NZHOJbVbHcOD1cof
qMK1RobP73SSXNUZD0qwE4/zA1ZuTu6138Rs45BaVvY6IK8V5OdVnV7lusWWdRYEh87kxaIsfuIV
QpDHTNM85Afomf7lm0tdzG3+FWzZEm/y3VqqYz03CdYgi1aFpxlNsgqhmQyGzMfr+f0JdR5ptaGp
hgpZPBEpDWaEVe90QI4fR1h5gbz2EHiVgDqkxo5orLkKQXUNtc2CEMNJPUHWOEnXlWfa/T41dtif
7RBAo1OJKi/WKcPG8C4ki+cn5GomM4j2hd8KWM11ffuctxMu0laMeLlqoBMcjwEafQOs8ZziD+gk
pFmniWojZj14SaYQdzrf9F8MnfaHIWMstDOqUD+E+ELCfQpTLP4GIeTqmA3lShKCuN9YCdJynpyv
O4MuvEl3i6a8SKp5vhTkupRnKwKPuTy0MnQJ7fITBd3QTmiqLa57TmJbx95T3dQJXOHp44/3fnmc
R19+/mYhZgjPxYIYUm73NRjBgPnVfPzxcYxXb5OPhrjayzMtBiOm7r88UDxQ3bBTE4DRjoGsn61+
xb2OTzOe/nox4Hxsq6UhpgjJT2PAk7m/l6ryZ7MIw0oE/Xh47w+O8zCr5Z9Ek4VYNqPL69k1kBwt
pxujQEfX/xwgI/hxsAvd0PNoq8uy4tIeqpRoqteDBICG6A7XmRtsdnnf38qGih8yi3JBcCjWal1K
ZYbjdogBJfehLSRNjpBo8YXPXiGIG28M68IyPAu2WoZJ0idlLeWNQ78LVLYv3w7IG3w8dZdiqDzq
6CAbJgZWq4vd7NjCtD4gF5meAZc4bl7+qwDrpD2LR6WZJ7NYipLU1gOnrbRw67x7nyUYVPX+NYp1
wk7jzjdBoDe8Qngs6jvoSp+Seqd74bf52vi6JGy4WuNusUeT6zq9lZzBbV+EU3rqDh8P90KpkV9F
QURPEVXZosh3fnaEAc3NTmGFIDCJUKn1k9MrdwFWHBUXjeqTQKYgfw0PEGYcBFwR4jxKjvQ5v5E3
HjHvl6qpAPiReJPBthBfj9g3h5jiC10aRTgOGdbnEdkyOYlxAAe9O2yk4xceMmeRXhOnN5HwGlDK
2WLI8TE6FA/LIa15ulvc/Sf77zzUanYjegqZZCqlE1iaqyMkG5vw8jRoicXGmnq/Mc4jyeffUUqj
JpY7IjUSYA6z3ceIkX+8Vi7kCOcxVqdJUfiZj10RG9yWT77XPpUuC/VbQjrLqvDCWzCmdvid3trW
LbA1utXRokExpznF6PIQiQWxukGkfCtZfb8pz0e3uuBwu2kjHY05BxYvSqjiFw3pvfzZujF32X11
F7/MzpKrfzynWwNbXW+liHpctQwslDCFIA2CXaNs5VdbQVaXW5iDD5VBfzuTbh2UqEYMpH/6eBwX
am3ns7e60kKhCWTaVIXT7WHnumSQTniXeLS2d819crdV29v6WKt7oGjLbpQwJXCC+neLqW8EJOLX
xpA2Yry/CiotGweugsaBTkTxMFYOmnJExd3Y//MFM/aHBtEieeNQvpBOAgjFAEynli4ZsroaHbAC
KQ6qpH2NbNyR2J1EpDROoYuzdenMFIhPmCbhz4M60G44bNVfLpzFlKB1LlkgpjLtg/PDpKoFqVHK
ZVWiuoFb+YQkjxDlJ9P6D5bNWaTVsTX1oY5sGEdK45gP5okue+FZDv2tp+ZXYkd3wvXGR11+9fM0
lrbam6GtzrB2itVGgIP62vRR981ufDYcYJiOcL+1Ri/tCQrPmmhoNEWWy+18GqUxSRHhKOmWeYqL
bPl4kL/1+6X7EoQ7dCfz/daHe5/GmmcRV8dJ72v+hCchACG1fPKD+Ss99NYNhOq2BVZvT6a4MZ8X
jhY6WTLIYN75y5I9H2KWFkmBJtLomMYUfRYNYX6KqeNuZJbL4bH6aPRFqCBoiqVZ6mvV5c2NrRuF
XiWB2GKUh/NVXF1PqOtMQXFsQvUq6Zzk7uNVcmkal1I06FlVNehprUYli76vpHy4oaZgJGQ2FoRQ
LW5HGJI8gD8OdmGzmSrzB+CUnJBH5HkwGJvAvDS1cZI4PaQi+rhaKXrKgFsiqjjex8Eu3eFvo1mr
onSsaXla6RVT6aIiESCHtbNQifKSPdb0J+U7WmP72MllV1P/ncLusp/XX/LNYK3VyRIiq6+C3msd
2SteDHfpctG+iHboEAFy3ZraC/0Sk9ECHOQc5R20boAKAKDGPJPYDxj3eUiR3SBRAz3IYJQLznUr
4PKt1sPTqLqCU+RrWutmhhDI7ewLE8Kpxd1YPidMcFG8yDl5fn/oEUDHZWljb1wcI/St5brgf1hk
rNaPKiuYdjOlyPuWx8yJ3fwH/h6ecqLq4PrOxwvo8gj/jLY6YdQxNENEhJDBGVT5ocvM7DcY7fKq
quPpnu4pEsXDgJBk3pTV50pttE8fx790qFoq9i4As+nGYlx7PlyrU2Evle2CokftG5aiR0t7x+LF
73CH9cl/8IamrvMm4GrEVhkm4jzMWKECKqpMWNfZbSEheVdv7c0Lx46liZb8Cjo3wfecD01WI9FK
Uh63rYvwLIVjym7oq7uNh8jf4nHkSU568vcCOLPNFPvCh7VAJyxWhfyTrsF5cKMOhUrSZd6jg+Tf
F6rVQaqGX3+fRXnVodeFSErXG0hZmW1taHbZhK278W0v/A7m26W8Onf7nD5Nq/uNI3paujd+Km7/
tCzo4AZlf6/dhV8WfemT4hR3+Q2Zz0b4ZX7f794/1/Yqh20adc6qmfDQxnfFboH+g9GgebH0WGde
VDtEyDc++lbMZUreXG3tLAV6r4J9F4Vnk1aIPl4hxrMxsku39NIC5ygEvoAf+3kQJW5izNlnoMjg
oHdVhgIG0gEbQS6N5G2Q5Zd4MxLK07GRSKxepc6emyL3wnJyG7QaP/5KlzaJqtBc52QXSU9XN8go
p8hUlNWIT1TrCiVUnciE8Cd/NnEl2WtT9NczHApof8aTz4fVyvkYdFVMLq43J6HBs0I2yp8fj+nC
91kuJxSwdJhcxjpRtMKWqtbEETNk2q8izw5ho260xLZCrE6xsOgLBd9hOoJzhP5UuUex4eNBvGZF
q+1zNorV7kXhP/TDqu4do92XR8XGr1P8VuV7+Zf4Sd2NDkzQIwYTOGCEm9Wji6vCwIQd9Ax54vri
RXJDmgNfaJwiT/d6RQFXN9XMycz4e5ErVxF6IH99uVvsJ1PF3VJUtfW1W3QYCbUTEce4/hwWqoM7
XbXL+26rWrx8mXfT+ibQ6ssNSoiMmIbRPYI+4KiQFj5lc4SildFR161neQPFcqk+djay1Xc0pGGa
DElaqpPiHtHUfXDyXYNXy3TYKude/mx/TuLqxA2aahCgYfH8E2U09HteKF9UOpKR/jLG+daz+uIe
eDOTq7NW1SEh4X291K9yvMt2pVt4+dXSFrdO5qH0gk0e3qV0++1caqt0G1AZRkzwth1o6v1u+pJc
4RN0RPF7hw3I6Z/kLnwWdqW3VTKTLq8b+H9ANCntviZSb85jvYhJJ5TXz6h8TdDb2mEM4dvyPcir
+DGHhuFW4W54lm/zjePsco5mSoZkquoCBVyd0WIdAgdA851HBjlacmUhLu7it7pvih3Y9cLOPdSZ
Pz5+Llw/Fl1SzRJ5I74HX2FTF6s1ehDo8KLK3hjSDR2737mVf/44zsVF9CbOaskOquVjiKWQJETh
QcdIbpc14No+DnJxMCSCsk5SD1hp+fmbbycGTSzoBWppyAkCPW+QFyEjpBX7cZiLY3kTZnW0QJaQ
ZRUDMkdNW6Qj1Hsc7L99HOLiKnyTPa9SjzzSO3Dl7DmS+Z1mzXdtU38yQ08at46ty4P582Gw/PzN
nMU1elhFqxHJE4fP5ik5LSzRJHURl8BhapfZMD9+fDw6efn114czGnoWzRwLTyVjPTxBjuIk6P7Z
ybFCp2zswLTRNnnI7foY7pHjoZGjoyYITH+PYQrnNqqgiKW5W5nkxfv37e+ymoAiVqKgmEnAZK8+
ttec3Lvyk3+EQHLsHWUPGMZDcWfzfXRprbJMFcADhrg05c7n3ZiEGJpOypM+fS6Gh3LRGeu+fDzP
lx657IM/g8jnQbDxq0UrJAgCgKQQuf+rK8ajugjA5vgXKeIjXgRPIdKgluRH6I1C5RMkYdrYMBfP
87e/x+p7I2pda2HC986v46fkUYaRnDwkv5XJnh+za6h8+3ofIkdqI4wSeh9PwoXX0dkcrL4vGkyi
NdGeZIFHB+kQebCDHfGwFeby96R2oVD80mVxdUvqpVnqJTZNTiXqjwoCeXQP0MvdOBc2ory2yN/s
1jAPkUpL2a31NLxwuj1ZBfdSqf2nn+xf43lNd95EQpk2qmCQNk58bX3qMZL1ZCc4ifeJN7gxPmGn
Dhyj5MSOYFcbGcfWIFerNrDEBqlcq0HDGDtwKUEmGe9rlK4/XhgX7lvLQPABnDPGmaa0ft9lcYBg
bdNUrxnbbDc79IqXqkhnT3b9MB22xvWKRj8/9gioQyiAx6ABNFzteSXMswiD2tJB+t2TbLAgCsBq
RGNIbBZiCuYpN41dHVH/PYWdjb33dXyz9aq9cPie/xar6S3CNEUtMaQvRz4n/YxuUWTbZ7eS3YBP
VQ7VTf7cfBX2+lP/R3VES3eRs7Kjrbbo+23Jb4FCp8j/mdDXV/vFjBBWa4ypop0cHJLTsqxUdxuN
ffkj/xlnvWPQeEXBt+orJAnQkN1jEblXcb/bp7vqqB5wM9oqZl447NB15TmFhAQAAUlfjSyI+q4v
wwZoNljN79odujzugghoF9u9uN31+8FG8fhHys2ytcQuBUcvWls6YK8vrFXw3KhSEbFpGqK42PW4
3O5yO3WFfX6FBxAX+4x+8A4raq962q7KXLhLcWRQFd1Y2AOcgavoPpx6QyvVgqW16D8oduRkHurX
r8oT856D/iG62268XXh7UZ1ZQGRLVmbo685fjW93MUbERb/elr8gpOapbGP0sr1m43B6n5mdhVo/
TdTUL3KpkuDXdo++1e/xHzoaeBHnCGl/fD4tk3V2WugAOjR5YT2JlkhZ/Pzyhmo/N10HayE+tsfG
6w+DGx4ydwvL8v6jreKsUvM81FWYQNDOze8zYi6IkNc22uBXyoEuBx4c9BV9C8NkUOTCJqXmdf99
NMrVkhn8EdnAhfQeH4vb3O0PnZvftjwqt8699yfB2TgpP5zPp6DqBlwkIi28mgbfR3hrZLpwl78s
RCvxIG4eBe8Wyyrk6sDHCDfRw4BPOOyLL1xgzb76nZ1CcttxPwKA3fnPtbedW14MaygUxTGeFd8V
xsZCxw8gR2WmHrlOivA5EPvoWsihWiOWe/p4mS7507sP+CbY8su8SRT8rkELdpEEg+mF212pv0SR
Kf3674Ks9kLqxyg54KuB4ZxvT5ns9o25kSdeXolvBrLeB0lQgzxCcgT38SnhOdLOnt+GrtohUNB+
L/GWUCbe/2WxsdEvr8w3kVd7QELSQZAyVqZY7vGid82XBp2jxjbmA0h3OnxbRLZXEMYHH219K3at
GJVYFQGNvh4ekAmwswNupMmhuM2cBlaPv8e/bT8uTzJyohs8039i2LDHE82Opk/I99qhs8WEvHje
/TkL64xThp8/6AGqKH3zMMNZn4HGIIUwukN1T4/hyUI8ROz3Hy+sd7nmskPfBF0lQ2mK+CgiASBY
/ZewvZKtl1TfqCFvhVg9fqpSh5c7sK7ayrJnNbIDRcfI9OvHA9laRK9I5Df7MESyldt3CWOLe+zs
zF3oLucM9stfxGvxsMVduTQsHq9gVyHuLSzP830flJmCPB5b0v8/nF3Hlty4kv2VOb3nGwAkaObM
ewuSactkGalkNjwlR9B7+/VzWd0jZaJYSSk3fVoqFYIwEQiEuRdo/6gsQv79SlMXSgrmjMuxEGl7
9Bax8XjS+1E85OzBA1jz+WVbEiBtTtMKfyjSYVhRDUhZ9acJ3uC8hNcRRRyx4zlMn3C0McACGVs1
wxwAUAzmho/BdngP8PXoZlDREl4wu7vO1hNe7gXBTEn0tIdHornf6xQ4FtOZyJ5Jtqk+T63MBbg5
EoIWUpttf+Oenbt9jucrXwjAbmoKo5tK3pNbJXEAmqs+5CvAk16jzcNcI6rkADo9cBdjt9MtIFs1
FU86VC0ALw69LKfTBX7DAOqzSTLoPMHB9FHfT5xa9+OH8iq4Dqt1sUsrmz+xbeqoCwdpVv+OhUtH
FVA7wKUtp+sDJSL9O/SzArHDSXbqin2gYCdZnO780f01W+noRiM6dRhI/Vam2GUxqGERPDl/dJck
SCe3LcywLnWs50jEddsMQPn1wSR5XsjiwkmH1CoRqU07zGNqLgXq1N9+WeOOAPh9KU1Yuv3mLprj
nZIOaMiitqADtIK1xi2Ic640hd4O2nUNasiqUkFpXsVPWhV9W5jodPzOHU/JiUnUIvIIx3IydLby
K6CkI0Fu2khk7JeimpOvck6U5MsoqEMoogkQsiPDxgIjUFdfw7qpaELtwd6R3C9MbTpr5+RJHkw+
FGaR6S972OFCAEWBPTWugeF5XyWO8bx8+l9Xe77Ytp/H35DceVD+DGFWQ9/QDdLa4S7f9ebOArmn
E6+DTf4jfc7uKN3QH4C93yzXLM0+mxDHMTSgrL0EdE6NjW6WaqIHkE/2PcguUfjwzNd0Gzlf42dr
I0y88X8HE3D22j0SKx/eRKDgf7JxKYishH8DxG27NBay9/OLawHsANilOgegyunkfK2xtKYBBsCw
r6+Trb9NXUDnAoLX9u+tVbQrdvx7+1A8kqvllX3dXDHt7JFw6fDmCdKoow/hjNvY3hXdTpGL4kY4
iBSt4JC7IIDeeQhjgL4ZsJKZi0fULvuwcKZnrd/RZ0hnmoAkQesV4OSFu6kyu9jw26kJlR0A141L
zHwIFiS+jsydTlw+0qEXZZU3XdcdQDuzhymFDFTpDfvefwHN2mewAOQVKv4CF6yUwJZ2EUu3rU/j
Bf7q0fIb0i2qAJon61PoMkCSd7E+7uNxuIoMdSHzNOcmAKMHYRsUcOJ/JLNvdGqfR00zgFR3XJdd
sda98D4qg+ewzR7Ob+XrTkks7LEsSWmAERiE2fACaaGupz6h9grs3GuQ+h2CjQ4bnN9mbogeQ+7A
JVovvWzmp6obCI5RjeFDTrUpi0xUIoBpC7WGCGYzBiTGYAPYJEB48835qc6ZB+BQ/RQlXdksz0RU
E2we1QuQ9z4bHnO0wFs4Iq8TS1hQhDYNRLENwF3IhSMgoup0S2BB4x1ft49iPQVUQfm+BknqYSnk
NqeIlkl0TEvTrFd4PGnGWlzn02XGY5cO4C1Plwp8Z0VYBMFLFBOh61o6810Lmt1uwgLtwE1Tldse
K3h+Y5YkSO6hRXK9qziGJTpohxLjM1HFUlHrkgzpnEVGD/yOqh5W3Mg+RmN/5RnV4/lpzO68dbRS
0zccPSlaXScsiP7Z+coBBO2UMvEelQ3b6mhq3Z6XN3cZoLobPR0ALUJPvBxS1mNKATeFnalKe8Ie
sdbKoXe7DXuK3fYD6M3RhzbeioO1alzqtPcWd6OvvwFCNaNYEyo4gr+IreNLpBMCY2VWwgQoFHhH
t+2jeuXfozTj2nQbV9kkh4nJdRHSa8ZuUEpN1EnpljlV1p+udV+Cj9P3EZwAsdrKos95+kNNQ1CX
L7yyp3Ek7+1EjnThGmlVjNSCK2MhSWuPvX+VexMdL+iNLaQXe1CDnt/VGQ/8RKB0tSYJWFESMBGg
bcvYgPvL1WpW2ihCe8zAVZAh7tWS4DoNjQUlnHtrHAs2JacxAXNDXE+72CG4hSvANsCKgEgbWw/g
ibMr6izZ/nmRmjnVOaA1CNAHp5vYtmkHvAOIrHHjjDtqj1fRTXlVQGaGHhNnyfWfPTQc2BFTWR+y
UNNBPlJQhQNJg/VYW1ainh3V7SZoNWvx2DXfzm/ikqDp50eCdB4BEyCBoKaynGFibfiWIE+MMPd5
OXOahywasI7QzDLlC0/lcMVXSt+CnE4FpSvMAGB+QQgaLZzJ2ekciZGUACEun+uhCocTtGxt/Ziz
2Amy1gZD3IKkORuK9NyvGUlHYkhLGrEcovq1j6QAyCvWxcZaoRrSfzd1HwxLEeaZi+FIICKep0uo
09CMMwOh1SCP71q/eO/XzYJLMCsCqTdusKkDT8Zy6HjPQAxQToHUYLQHE6Qovqm26/Nn4TWegg79
PRIjXT8kCHkY/Y0BAM880NfBVYwaOZRnu95jVa9A//sbec3JuL8ykEdSJZ0yu3hUCg9AdmTP8MBE
PnMDCAdU5In9krMzby+OZElqpSagje0yHA7vPVcdDbVQAnCAT6gP3pcP+lWwXpK4tHOSftEg8mMa
Y+eM5JPWg7VQdJdo8NGUJNVK9B70WQM0WIsjdxy+iubZMviCkNk7BbUEFigwQMxEJAcrD81QFCEc
k6mgINnXSJcCN2QxsvKShnh9Fn7JUU91yauTRNem1+l0hbTvwK3ngtEMrZDh58VWyFmbdDQn6bRb
1dgRgExPKUttX+/wCAVDmW3eTZ20mYu2nYP3YTl9+NrgMh00GIyplm7AwZdmGI/9yFsDjc9+/RVk
O2uRfEvyxD2vybNC8IpAZyKdGD4kG5jHpNVAY1ujLTdfGe97AYKIfCmM8fpoYya/hMhpLtKaPWkZ
mrz4wduka7BgZMi9TqU2UwIrELbn+B/Oz+s1gBT6ZFHRhxoM4L8CkEFavUTtukwE4RSXMve5WI2A
KpnYkRMAaWX74ntw46M44QVMNFiT8fo3QmOTiNMjevoJ0rHJADYdom0BKVm7WY1I4lECL12zjc2w
K2/wyl3Yy7llhoODLAefw/GZEABGtYrAROGPW8Uz9563+LZ5XTyFdT0WIk2qYn3F+3CEHVQ7NHNn
vN8By9l/13lJtOaVCfLZIO+tegV61B64VaITwHXWuuTGxKdFq8AAvSFKqfPmu2+1Cqpdw9T22kF3
A28E0V4uhHVvVqZ1B7RtzQfxcZpnh8D0VX9huWaOPhqbUdFBEMcD8qVkcBXAWwS08NuVzzR7SEGh
AMD0ZOE+nmyqdAZOhEg2N87hViccQlKD2ZoIJrx7uwSGU1yCUGNMgMP+xy0XKHkyVQD1IiagAUVM
OvnE6qKJFr1ZlbwG9PXERdDZgEqv+iXcodd28VSSdBZMze+SErx5q45uAEVvx+mWGA8xKMHPK/OS
HOnez4kRtqLCIkbk0FvCzmmJNOdt6i/UUMzK0UAWZWLh9Ne51NovCOAHMR8ttZupjfnWqktX9J8u
mM+RHOmOBCJ7YIEXD3JYssp7H7TWwCnrgPStWc55UbOHHOB1gK+z4OvKkENVNyLIJaxmRfhHAuzG
NvRWLFh4uM44SzgIv6TIYBMV9YaGZpCS/bA+Kl9AMtKGCEc0jZM+cyfep4UNePfzM5uxdicypUhA
DJB0RgaQhCjigVcMqGlLpUozElDEh6sDtWxoZpCfjFqhoDklJYCEttJknzMUJgEXKlkIwM4tngVU
V4Rfp6K5V/2NUVqVOXgOe1Rl19dkBUrr0J0ay4F3+NyCz3Kx7GRmXgbAmiFzIu8BIfOp6wQKFArc
CpSjK9a2i5/93lvQ11kB6OaegCP014VPmREDFwCFpStl/ECGyPFB6H1+8+c0lSOWDGSwqcZTbo1v
8yiuozRu8dAAl3Za7D1SPHapPtq+5j+dlzXdA7IJ5/CQ0HyKu/UVDFmeqVE5jBF6tjXu1PRdmqiu
MG/jAQ+Dyj0va05dj2VNK3v0mAfaP3hoCsgKQpCUhI1b+6ZNlmoh5i4ljgJR1MeqAMaXw6yqiLyS
oxp3xb37KAatgZk7kep/isHQCDgtN+zfXTAtVQMoPsq8KWIwp9PyLNVjbSvaVcvAJgnSaPBeIJKY
b8+LmTl3iE78FCMnbrRYlC0HsdJqCFDt2tf2Yrn07Lk7kiAZHZEquak14Fb2VTgp3crPWwQOgMOC
guLzc5k9CUeSpDsCpRVALokwF7BRbwFFOkKLBFjNyz9uPYO7cLxokrtQeq1awDHB8Y4ewWnR9RRY
e0u+1kysBZ9L0FEHEjX8jxw9AqMUmkt1sCFzG6XBaMvsQNPtarZ3aO6GxaKoWZuqAureQH4ERk5+
1nSakueWlqIo48b4qF4XKLfRwUfnf0PN9W9Adbx+9AJ9DpgZhom7AukLaQ1DHjCB1p1uNRqA7S30
sdsLNfnITNI9sipFmya6wXed54Mq2+PDgtsyY6CA9aJqqP7SOV47knY1vM0p9yka5GNlxRA/Hf3B
iXR91QAkpftzawiMAaCSoHECqOdyvZnuWUYn0gqluurXROPFKkpT3UHvkws/e3Abgy3VBs7o3IlE
SROMkeuDbuaIpCrgtWA12askvi8aBgaZCpnY83o3U386wZH8mqC0l+AqTSjQJHowGVRXLWCswOMI
9OVC7Ehgfak78dGP4sYesAx2ZOpLaEEzNuxEvHQDqGFXmgFDrIFbpWeb5i4KTWthjrMrqqNBgMG5
AWWD9PKhpeGBFRwP02LQ3AT9mk5rCd9u9XAD4Fp/fX5FZ2ekT3hEyFQi8Sq5G1WjDz5vI0TtouJd
NzmhoukvqPEGZ6xB0PCAahCwvkpSaBmr5dhiThPCq17YRrvWP+GB6uS3auJyEFFYO7ZBVVGxKPr1
BCfRQFKeWHCRJJNODKgiumJi00EcGbgn4TcE7oKVcA2HrDVzO1mc3wguvL4fIBTtJVM4fqJskJTe
78LMyCks3GRQaQXEggmOCMTbplMAdHPCQbLulqY6O9NfQuULtkgqxe9SbGVjhU+B2VpuTLSlNsWF
mcmFDy2IkLgVQwhYlyJQwId15ugAHz9/KpekSFalb7JIJD6kjKl6nzf+Hk8yxxLZ6ryY16o2bRNS
TkDGACqezGXLIl9YfoFjCajEfR9Guw7ZUh+Ynd39eUGvfboTQTJ2+xgSz0wNxLsSkM61IAatff0x
HNQVAHS/qH4HZEN9qT16pvhqEgqOHmQb4E/K0B9Vl2sK67GIE8jgVPFV8g3r0NbVuJ6dufQJofmV
CubIh3QpmP26xUo/lT2t/JGr3PRgqGtiaB23J6AH4fTWvTZsuOeCBdCtn6ZC+SB3wUpGgfTJlhmR
57f21+QlKzoW4MsjDJOfNDBANy2JVhNLSwAwMm9Y5/bfJNOJuWBPZ3yp05lLMSWhDExRJl/qb4gL
4TTf0dZmD2tzHX5e7EuaFOH0+XMqTTI0glQVaudfPDf4u1dTB1R03bklqpa7q6U07cKaypHiGtAd
vK9wimN2m3nbzP/QZ6g5W8KonFf+n1v3klw4OjtBFJZ1hrf9SjW2I+ggc7Lyo4V3/byt/CVDMjBC
hBStPpARjj+iRH+fdEvUua+9TuwMwvZTqgVvUzlBAPpahqZKAM/XlBeANDcitxpF80SEOl6neg9S
wqFAlxPvyCoXfe+etzhzi4gwI1oPpogZSBJOFdBoqNlrWYAIe/a1N1XbJOsQr/HzQuYOBIJXAAEx
4NvCvz0V0vSdJdSG4KFfBOs+S1zfKiZqwLW5dCZm1QqIHyZA6F7QpCVRpV4PZZTyCfCye0pQNvt1
6g4bVwwsMUvIubOWEz70BAsJzA8EY07nRQLNChJuIla/wfPuxnzmH9bKqvXRBYc+v8w2r4C577LE
punCis5t27Fk6Vyiar8Muh5wWjwHDn7u7bLUsjM+2uc3bkmM5BQpjZGDExLYmoxt8gBsLnHraKP/
56kl3DoEHpA2FZS8cvs6kSFLNgGnaKQASo1fWreZInw3ijTtswmoYJeVnrIVgKjaCg34hbUCDm/S
Wsn7yqwQJUi74ZBbub8UA5t5R+DLUPphMuwvHENJPUjvk2hgAPlFUY2TVOquQgl4uIvNcFNP5KWg
5g3XRvHj/LLP2QSuoTIKTbgIv8ngNbqIBAANKSIta33/dx8nW2uL7Fqz5/dYjnSKvCxEcVrxIqd3
U2ztamrp9twSDSbdGo374H1HQ9JvIANNB0e+j44lSwdLdI2HbnJYvcnRn4CN8+4b2SW7yeOtgnWt
ueESy9dM9Rv2ErR2jOoamoDlSHCmpoDVZ0P7wiUZ3Rsfspvgvf4tuGkrh92Nm3YltuYVXZUO2OdR
vmXrDwRwy3f5gsmdaWI6+RAZANUoQVOYazCHPbWD7C5INwwNNm7lAHjYyZ8q9RsnGxTCrcGisQBx
P6fQR2sgg58qWqN0vQqqM/BjrxKNfahKQJKCvmPBcMwfLR3HR0X/PAdEw6lpLBkHTkCFDOPEL9C/
C+9Sl161W+QUVul2ShrXG53Y6WKb1qzqACzAwAVgAM5OkhtUhQjqAgerH710y6dSPNsERrAbED36
AeLy6Bokedm9At27rpQ6/XZedeccBn1CnCKgeAPylWQwTF2PlGZKNxik/FYng7VXvNFc8ErmdhH1
wnimgowelOGS9mR43BUBGfqVT+9JrNqFFduluVRYOFPpjSIxA+3ywDilyAFI11tq0DxlNKtXUeJ/
MNvhuSNtYmdlum985Uoz/V1WcGBSfk31beuFK60FSFsPeMKcBPaA0nCACOj1jdprCWoDdTsxSbXh
JFpkiZ3ZdNS1IkoIqCrkeORQSF92KAAbAfvHbe8eHNcDzlz1wAq0zqDkJ3OMVfhcPvng1LYVYLRu
l6p+5rwOoCcjdKjh+kKlh7TryRhXYG3ncHCwBPEAkHRirvzEuwWjOHqvoNVFsAJCLlji26uupo9F
rCw8KGYOHuimLFg3BEunjqxTheuA8hLXHaB5eP3YqXCvUrpgt15HKNUTCdMXHPnbXqcGhSUQUxv9
1rPzRAGEVD3chm2y6RXtUVXB2X5emWbO+YlESZljXqjgExIAwW6uqzZxSgtZjiVTNSsEBRdAr5my
XHJyVeSNxdsGzgdT2vgBDbLFVY1+QDDkVdkS4e+cLISWkVCbIq+vCp/1MkeMqQKoWq99z4bsTq3F
pg+XwC7mjoKB3IIBUHRgFMunkfDKG6AuaBnlmu0bX/i4Ob8vs+fdfDnwJppNYGlPj0IdV2LUA31C
1wvfaRM8Lqg3THt6rf9kiv3vr/3/+N+zu7/dguo//4s/f83yoQx8UUt//M9N8LXMquxH/b/Tr/38
Z6e/9J9D/j19rMvv3+ub51z+lye/iPH/ke8+188nf1ilNVAz75vv5fDwvWri+kUIvnT6l7/7w//6
/jLKuyH//u+/vmZNWk+j+UGW/vXPj3bf/v3XhNj538fD//Oz2+cEv+aIIH2W//n356r+919U1f6F
LPOE7w2SRdx1OALd9+knhvovTqYY5kTaDczFafNB716Lf//F8SNA16NidWK0BuIlfqnKmulH1PwX
RWnBBKhk8L/+/4tOtubXVv1X2iR3WZDWFWaAjf/l1ylT9gRdH6gZlA7E2Ca4Di3/jqRdt1bTyNhm
HWjKj+b/j7TfGX2SemR5KJjQy75W/Dtgp2ROhxfAugzL+I8s6K9vlyxn1PI+8VpqHlq06tnVlOsG
nUD0R2nNX6NLPrZvsEjnSGMdco9aeLgEN0VTGs5lCyPd0CJpqtwgPT/wynoPT+y9DrzyCxddqnM2
w1IPCnRgHRIBI6VmV120dKO8cVpkAzWWahdxVNUdFELecc8DhlQCdJXzayK93X6uuC5F1rpMt0Kj
VbTDkGfRBxFZzb4kdfrZIr0BRlCVA88pU9dJWrFtUAyhC98kXPDQ3pqZZBjLyNdpgbzUAdYscLyQ
b8eWfT0/sbfGnqIsR1qQeFZeeT02BADqD6KmzM4Iev8vG1xSYBIpCrA1OvVQkxSsJ6N/SONo6ap9
68unvz/6ckNhg9nTmB0MS/nCYuK2pfHusu+WlLdGGsxAIowdkC4N3ZF3N3nH2GWWQZd0N2swaOAJ
dqjDXFtnVCFbhsroy5T3VfQIgW9fq0N2sDq2pZ1/L8qlmru3FlzS3XzIyjjNzeQuSZTS7T0fcHB9
Yy24AW+MziVvl6uxTmpVie+GLsbLg/GsumsGjrjXRXvKJQXmatG2RluKu5E1o8OjEDGJZng8P7hE
UfzTPMi+i9J4KTfK2L9LlPgdCHIsNwDm+abNQrzCEe1t14KS7KMRq9+DzvysW02HQjheOpZZ66sh
TPrHIPQ6Fyjw1VLd/VsrKqk2nDkt7pW6OHg03KBTzdyyNE9252f81uCSajftQILREMWhHPsfms+B
8D96F16efBJ6pNo+88csrHPzwAsLLMpF/gWU7Qt4+299uKTb8KnqIgMW6CFAvcZ7LQqcoI+895et
iqTbzRhQriR9fgA+MHDLtNGz3FBXEUa9bHzpai7UDoweSZIfjKgJ9mHSCAcIPOq7y0aXFNwqAh30
Y1520BpdrKzYDHa8V4eP50efTsaMNycnBdSub0fTqowDvCwAiQgPTd1eCiQrf7jwStAkHVe9AnBE
Qw8i4Y6vPE0IG+Vll22tJl3Caic8PLQ0/dCgr3qjWlHuVCxVLjPbmqSr2aCyQqU9OxQGu9G9+Lrw
o8/n1/2NAy8D+qcIxrCRhNmBhQWiY6UKmJGW8eqy62zy/491FZ1XcVEW1IArmmwaZcuot2Bi3jow
kqZ6AMwvSDwYB9w0dFUEpvLE2lg4VtDQhU2VaN5/2m1NUlhdMYF5XlbmITHM0Y4tWu0LH62FNbge
VDMIdLdX/PQpyIBbORY/xtBXN0XPx/eDisJiMuR0U/u5pdhhm+p7GogKF2OR2EL00b1fVV+Qomht
AJg9NFmwM4Pecmiu1buySJgFWBL2dNkmS4aBGK1fFoqXHoLUB+5vDpDIlKTeQk7lrSMkGYYuC9q8
YCM7BE34te2666hl9xd9uFwF0XZqLMDjZh0Mpfug6v3dOP5Z9PTn3qqSNYjTNEmHMbMOSDYlNiP5
wTMAk3nZd0vmIBlSTYQ9Bgdr95V+1dEl3s7p62bMpCpZArC8M7PGoAfDiMktz2NQmxCK6uWyYKu6
y4pnU+TcMRWqLdTqv6FnMs6HWlsNyl1y44A6puG68OJob401d/y6/7M+pJ9b8aJ+Rxe6FuWRGtSE
HjoDL3kOCvR1kJXh6rK9kE2QRlteAFT3kEGt7NyKb4w2Xnh7vbU4khEC7TNH3qy0DsjWhu8QEkbt
VpAUD4oRFAt27g3tUiUblDAP/rqKi9GMin3Bss85EwvOzltfL5kFdSgTDbzA5qEy6/qWxAyU8nnI
rtQ0XiJjfcv1lTs8IsQ6wSmtItIBjq9P0cCpnetMsQXIad7VKc/uDbNskQ8CmT3oYPNxEwWesuqA
0rsdw5zeJUNduElm6Ks+D5c4O95YVDkAy4mqJH5O+KFXBbELLdqERv7hovPGJMOCVI9ecjWEm2FF
W5OkvpOHQXmZYWGSYUlRzKsCFQR+RlQiP5uRcC1a6+NlXz6dkyM9HGknBuRbKN6egLrOS2J9aE3f
u8yWv+RKj0ZXW5orzAuAv4RIzCoa/NZWMrJUPvDWjkqamAr0r7fU0w8osq13iSjfx1bRXHbDvfQ2
Hn06gOa1qOQYXPXaBz1hvh2U/MLjIikhGnnDLg4RqOjz/iq0cjcNl0BYpK77X4ZVupnblmsWiEr1
Q6h18VVpdv4XrTHEo+5pJWiXQ0O10ftVPwAV27fNLDAewaTxFW0+0TtSK+G9RmtAsVCVLvUOvLFL
Mt25iYILpIJ5fED/dy7sVmXmfdBq+mX79FL6d7RPxB8sK8ni5FBHxYZqzZdRb5YI3976dEnzaBGB
ggBI2wcf1ZLrriqFrRFw7lykei/5+6Mv9yxPKIppAM9KMcAuYAJNxdeqhVvqrU+X9JqGtNJ9PPcP
Sao9Woa+Ef5SO/hbQ09/f/Tdip5zw6sxNLzha1rZILNdaFJ4a2RJoSOt0P1Rp/HBIvGXMRjXoHi/
8JjIV+qYJFVtDONBUciXtGRgOKyHpc6Vt75b0ud45BUa4wgWW6G9rbd4VHUhqzaXnRNJo6vYjGJV
Nb2D14N4QgkBtxMPdHAvGl3ufjEanQ40CMYDzQ1r28cRcnmhudRtNWnKjO9KpIuRCDRLFh4xD55G
vo8piLK6OEsfCkPLtmrTqU4VjONlXhORtLVDJZPWgznkMDSpf5UxH3V5alxdOLrkhVtmpgB5OokO
KcOTQfHqdyRcSvC/cX7k0ujGR5UI2mTMQxPmxg7tQ2Ld9EZ7mSkgk9QjfRVtE0Vj50UHxYurTcLa
NfEpWViWtzZYUtmx6qge5o13EEUTA7du7Osbs21G0Ii2gZ/aaLjSNqOu8OAyqyljhhA+do3qDZiN
jnen3TBau2LIWe1cpg+SLltD4eVgbg4PdaMEbq4V4IRX6OqywSVVVqgZdZraRIfBzwub12Jw2pr3
2/Ojv5GSojLwGhEaQCQyxTgEYQXUzQqO9zjSaJNUxFsnoqr3RWsB1JqqqS1qMa7h5aTsooVDw/Dp
MSs9j0WeRsNDUge22URb1SoXysrm9YPKDYFRUZCC9HV08M3YbYT2vfeqD+fX7K2hJbVOFFH4Ha3G
gxYXit0EzGmaRLvorFJLuoTFqPQaTarwgG4nYJ+mfup0bEHx3vpwSatZnVHWqZ53y4j2TYmb1kGV
1GVPjleAKL3Rt3mvpf3B6EA7Cx/yVu+Tpfr9t75cuoph8NOeZGF4iEqRlDaqufmneuBLz8/Z4VHq
LumYMeZWk6Ko5opVGrn3hpLZemfxBR17Y3Q5uKmm6BnXG5XuuQlg+yJOnw1eXWIdOGrlTzUoVTs9
Q3rUv0piVBZmDPFwNsaPFxx0DC6t+ojkydjno7KvQWe9i7QQBBIl+7Omr39eHRhdsppDhqhvI6i5
N9tKXNdp3e1IYi1V4L216NKWJmLQijAazX2p9TjnIQdIjmj/rLTt57fLAUeUtdCoGzB6Ra3Iqejo
ooHzoicEaiglqzj4RoWm+sHcK1lm2qFmfOZ5fdFdhcElj6cqB8Go35v7QFHFraeonxW9Li5xGzC4
ZBnNmsaFSQZjr4vw0cvUDoyEKLQ9fxonC/jKL8TgkmU0EUArR9XT94qRaWv0S4p9HvDCzfJF/Lk3
Do06/f2R21PkVIl6QfR93TfUpQUD815fWk/nJ/ASfZmbgaSs6jgWKgHRxb40KmZ8BnSC8Yg8NbEF
Un77WiCbrKtdareFF91paam2OFrgYRFae1933P8GIkkR2mQswRYaV9YNSiv7G403qGyLYxUh0ap7
MJhHDlphGutA88h7mljRptVR6NkoSB5YggAOaay0T+fn9NaKSSZCIQrSV57O91rnfSyU7JHCil42
tGQfqIItBmcW3ysxHfajWfSOr1t/1q7yS4Ml+5CaFvx+JGH2ha4nKABGU73D9JI+0KBNL3mbcgAq
nB6nmvGgD/qG75vaHz6ZjQnwvVhUC8/TWTcao0tmIiOk9tLEGveBmlgPUeEDXgrGzneKxqpUh+Rl
HdsoyMkvcdYgT7IcXLRUa4uI77ma5LcApFdvqkw3l5z0N9Rbju5XUdW02VjwfQdcGbes2uIwmhQo
ZkFnfD1/ovi0uTMKKJf+IwMS1SFgXPYjuGAndrCMcrf1G+uHQpoU5KTMN6g7IovU2JkX4JZuVMs/
CENoAdRuAJkqEDLWcdl+Z3qm36JxMbuOYZPWOirMHxOj196RMpq6yGjgoOHMcAMAgNu+5UfAVwfC
44Bq8PVgeJWtokp/nUZBvPE8hCwEWtidqjDQ1MHR12ebo5E2tukrfOcrg3eNFq9vdZ6Hds36YJsm
UWy3cc+75wYqHTg54K6vgAWW38bw5q/NVjnwUtMcXSiN3ZVD/RmI0eqmi4OlrOcbmi/HadMJHyco
vHEfGfA8fN1AS6rnjQvKP90Yczslm8qyLYNKj/R9CAOz8b1GvfNRxImeHyoeqmAIF3wzqW74px2Q
Y7ZiqMIitXLcKkqck12edIVrCc+nNq2GzsV1kPRuT3LrPk+iLzFKruwwY5mdpJy5Wc/6x/Nn863l
lKydXvlFN0YG3bf+YPzIDdNbl1VEvpwffbIJc8spWTvg7wMbv6HanseW9WSQut+roZ5ca6GRrSrf
z9Zdbg57wJb9GeT6z3WVQ7glwOn1Niq0fRhpZK8FZeCavb6EUP/GaskRXCqKQYx1ou0LSwNoR5pS
uwyoddlevHQQHbkBQ4bW8AH4U/t07NPULjPcnn5nsvfnNwN17y8e0cyGyIHcMa/yOGAB2acleSIh
egy3bdx1rtAMIB+jIuA5Nxo0uyM97PSV/iNrGn7NFJE5YQZQciNhK0207IsKdk47VrpdVQxgtvZR
sY+2cdVO49gJff8BLE1gsle7YjMaVnalBGEZuUaY7UerGw/hqJLnPr2PqXrT1OxK4Y/TQ38dGcAd
SYK4dMvI83dJ2PUPbWVcjUZSPyAsum+MYmt5bNR23AzpI9WVIHuMo0CkB1bmgDKPdSu3rbIrH1vN
c/qRfEnGLnBK/pFyL7jr6wAQZGRQ8B+84rpA3AYpW/Wt+dRWY+bCbx1dJY3Hdx1c7SerGBwfCH3r
QTGeEh5wOx6G6DFO2tKpDXVjAKjCrZvMsq1eBbJVHSOvwy1z5w+1aVMWDlelbiVPDJ0wo2OGPbhF
htjYtFXqdlVPnQA52V1Qd5Gd+jx4QIe4ugKSf2p3fr/uY+16MMrasJNQ33Z1EN8Hjad/A0G8k6fG
A0eT5lpwDZBdj0Ah4msLoJPrPrU+0V79kfgqmm3yQl1ZgZWtysgogGohrsLE3GklLgWHhLrb6CBY
KNDqiH54W6t13EVGEjl5NiQb4Rk3milStCLGNBQropjRNTiGp9brm7TV7CJn60JP9xj7Ro/MeAMq
uvI+5NXeE+otmBaugHKNLY/z4oMXB+/b3hicMeDkvdCtOyRbc0D7j5nxAHLVwakI2VZWsee+EtjU
rBvXpLz5qJY8+VyMpnc3tElm+3oZg0lZiWonKE0RbPW8/6H69YgrLnf7JjU3agw01LqkXwXwB9dp
P9hx16B2iPSRQ4recruI/B9HV7YcKa5Ev0gRgEDAK1C7XeV9e1G43dNsAiQhJMTX3+P7MtHTMeOF
QqnMk2e5N3kzHDcZ0oJskS6HhL/mjRPFyMa/rhZBXS5BMwyFl/k0VuM2fsD+7VsR1R5oMJbbtB5y
Gz5HC33NuDgoJs9UIJJ3tOMjWu3l1rSrP25bHJbdGnH4t+npc+Mw79qm2d5rPqsD1+Y3gpr0RRw2
n4LF5hzrpX6S1qz2JxaiD/85HKRLFHd30C28+MQcVa/RKpAuicopQ6cQKfVfRKO+zCx9JX3YvULS
4B89WPuFazK5z8S4FmpoagjwAuSgwOS6hOYzGk9yDZZ9l20gfG5RwL5xD7TVnG0j7uvR0rpAUssh
WD1M+jUC+Xba0WL1iAjAR9dW8RLCJ2XJ4GMO0e7DhqmLKXD56bwieW62oO66rjml2XyH9SeO+1jZ
bWmR84OvUYbiNDB2R1ofpWdO2kPf0UcMbZV1EaSupoPjDKjc+PovqnfnxMunFhRYfK8YbYjckD6I
QlatsDr/JTHFVWqQiWam9mVM8m8J5Vm1BSN7RO6lL7Opl4WI2vzM6/wOebrPcrZwWKQcjFqKWZfR
bLdCOL7rUwlOZRCfRIeAMJos6ReJgvbTMbIW0SxlsJ+3RO0nrNayXL3Uo/mcmoQXI24wCkbdoMlY
NlvqX5D7+D43Li17Ob82zXKkSCWofAt1Yq83hFgJbyqysPMaN9tPa8L0PYo29dqt0hczjf5LMYKv
VdClKdKA4UgV+hY5UGmTOxoWbh3jGuaQ3fTgw0Dbig0xfIdX8RjYFEDpBkJ/RXMssMM2OUaDeDf1
/DnP7ZvsYJ6Q65FTiCWpOKk6WMpWqLO29SXM2+7YBQRhEKYYZ8CjUzQ+t3P/TeDLULqheWBGfq5T
9w6SGFJMwXE+dQLf6BI2piOHJhRZkRH6n43lxU8yquLJPIg2uPok+e0iw7EKBrx7aGMhbQcqPjaI
+FBEIuWRpp/zMCBPwNV5oUmef5FtbM4TXf+CSoQb0QX8TBeQoqg6TiqqSDqw94R6d7CRkndBpnGB
pLYTMGylTalsh+YQPXSnMrlD1kdyoTF2Ciq7dJM9pnHyimxnUQhcX1OdJqctj4d9xLfu1KuhfxFc
g6ia+eTE1r6rJK9tyYJ1vLi0b6oOrmh/cEFiMRR3Ze+4KnKv86O37shE8kpRLR5glFNZGF3z9th3
3RAUZKUo34wiDbWlM6xOdEYKI4NyQR5y36iC9pbdjFlzW+kl6MVhC8klN03wKIPVtXfplKT2mqq+
Dg5xHS6/nlC6XopFhbQ58GheSNW59LS0G600ihLYV0IddKc+e51vc8Gzv1FPQldhpRuE5SZ+latx
6wqsK0quTAYpMMNbrX6L2U6DOlpNAh9SMskNtn35fGU+F1e6tZ0stqWub24x7AEIgkUBh5y0G9Mq
TPtYX6Elcc0PHNf8tfFBfJfK/im2gBF817Mi4H1TTClaDbyxw13YM7ET0n8ESBlC8WAm6grVdOJ+
ZdmRwvEXxID2nG1kn8fZDSTiK/HhLgCtAvbKUQgF94bEqqx9riOHGpfka1D5Lk+focNc2uPgWJrt
bJa0qvIWIamJrHdLQ+qCWojwji0LHQJ4a+jCWvwVHKFL26ncPIQG4lIBOm7o3CkEoXMCq4204Wkd
3TjdOh2cscX47pt2OYZieiUEpOAsYt9L1k6vfa9H/DSxRveAn9kVzZTh2jJhX9WjfRRrjpsujl/7
OHJVmoihKwXti40kl7g18WMQgSSQL02Eq528e5+/5IERlyxTxYZLINe+yHRe77xkRxyvLan4aJKK
zA5fVrTnqAGJ3yxHGYdQimXRdIR/N4yAByW6XcRhw7Xv0f5h1zLXS0ls47tCz2qw5SgyhXqiJgdA
yJNIFi0yIe80BDEPrZyjR+yRx9fOCvYvVedM/fZ/StsvBQ1BIWSukgoSNQSt2R5Z7bOju3BIHpde
tlWyUV808xiX4xaJdxEuDwvvbm0/vloy/Ztjfkia5JIt8iB85s5uCCQU029pHWRXP3H23Bt8tynB
TROfWzPpfTfOO7vuVBAV9dyf2a8uFgcb1++ARzrX824e0ieQE91xbl/WiBYxChIJx5trlUV8SgTP
l1EjTaBYB12vFdXTh1waQFu9714F6OvqPPDsQaxurJJGv6R9UCMMlPP7Fhvclw3y5j0isp6aRtSX
WA15cCdnEWUlbovmcwxIZ8qxn8VDzWDVc1FNgHwaHAJ2ooEl/6Qd+yvanbS+zwlo/YfGOuWOiuOf
+wgH6wEBIuN8ggJApTtEx6GmQGSyrjjCJu+KsDfNTw7mKHLt5vwv7P33HluiC5jx4YkO0yILifQ7
+jWJEXujXwsXVTmamLqi26/vdKwaEATrpYPVogw2WTiIQZ+aAHVvj6i6bS51TBpXSVejZkkXpkjt
45516tKbQeUFrzMXXZCltQR3qydB+px2kc4xUcImvxRiWb90vB2xfKtb5PCI7V/c9T9rnHWXnoOS
NnZR/IjkQ3LKtDuOcPvex6iPKFmU74Zx8mXM/JfyWTk3gC9F2/7rWv+UMdhwjR6fYb/mMaQx+Rje
BX4yyG7Kpz81XdvCEaSzLmjwSMa7A9FBNaJE3aYh+mk5rytP+AMQmp9ZcLw/o1sO2xCSIwbV/lB3
ORDMCJECeICTOW66Dh7aoQ4Qn8HGCCKAaUDzv2b8kvtsojsfrhOKFTvqHgOOEHvvIxVChy6Gqk/1
Ie77Vx7i0twtQr2C5ov3bonRHqKHosinbtP1lekGMo8N6vmNDb89V2jpWoRMX6XU92bk51V4sWuE
7GDDgooF6REsd/Ja2GLUa3dgQ3gHEPlJroyVmGn8j5rg/T2a/C7qiCtiu5kz5LH/NRGTtnA0dj+D
GpKSaZudlQkmMDha4D1h5ONftwg3PfcbqU8bBYV3XRQc3kWA0Ok1UaWz2U8mBtgig0A5N2M5y3rC
wjjTTalJsEF2lQ8PMMr/nPgSXeMx3Q9I60DZVf5oYlRwzn/Rpy64IYjdBUWc63O01tMzrQMMS42M
/1nQ2uE6hAuerKbSQVS6ZC6hpJPPNqkLoGCHwTo8iDR4yjFRVESAr1aLBNaBebOUgcCMG6QtanPY
1SUZ4EMJp/7UTt/Z2qCNlMuVTgqsmIA+4nZ7gDnKlzFTveva5T1rs+el0xxQdu3DPy6LqzFwaJKy
eaqCMHvC24iYum2FHevm4r60GKLPIaGomhMuYdL5P3LRwWnK+vnk8/GYiTg/LjnfKxe8w+/qu+l+
3fp5eFiDrX6c4IemL1zNgFODddm6cjFIWA7GpS8ib9Z9DKf/XwneXIGzgLwOF0b/xnm+J6ObiyHS
7S3wM2QkXS/F0ybBKm7qqULLkDzLpGG0qH2WFLFcgvtu1bO8JX66i8EiKzzk1ThiaGR/1+9k2Ogt
ygZ3Mq1mO9TrOzekQzmzLijrVuHlMuzaJqys/Qxr/ik8BypOiy5wNxV2/0wGJ2GmV3JaICs92g5o
Io/Y05oTVnazOYBween6Kf1v6GjZstGUSbze103MZiSZuwacW1qfmw4DTTKU0FPjcunwijVJhCig
Vp+NtB9QLvGbGhvEHoUtUsyQfzjjE592ac8ekNSARb+M1FLGq3zAaTt3Myu5gzkilCXzGUOr2CNT
4T2j/XxnYYNcL/jETib3pEhZZs7M66n08C4u4J2Om6XPolOYe+Qq+XwoBaa4MoTNW4/OnKePpllm
/JetPLPE49Q123ilhG3Po0+jQxzKqZxBpbMH3pkQqor/JuQ0bVug78dJ4IGk4aWLFiAX41oD6p71
lJPKN/gjYciC1YafSQavlirscGekK36XJr4LZPYq3bCCylIjBZJulVeIc9xTBrJkWt/RaUSWFklJ
Mc2dfAii7h4QSFxGNsbdvLhDmoz3YydIlXOSHLjjb8Gc39p2cLt+am89NM8CNuEWoeOHlenDMudV
goGxiiQJX7RkFhd6AkaNHUT3bOocDggu8ScLCOJWx/7W8mwv2il6AACoPqlMkVmOo5YLNGou3vfe
D/Uh3wB/4Apyf4KW2y/JAmRdWw7hGOberCTrjPcu2d6aXIEXynDCpAAmQnX7R9r+w9V6qNQwDacW
hMgyn+1lZT0v1hWjiUzxemUOTQRvbgFlu4lJ6AZgEoBbcyKvnhjYHTK6zJfRoaFZ9Qb7MnNDH53Z
EsnHGK2QQ1HWk0c2YR69wIn8bVUkGasc4bmQtLm+uY4a09eo/XsPUOqDuBa3dmgcbM/moCvgtP00
9V1QIWcNVuiDvzRtdvKDA9egmBZGtr0k6Yqh2/zi9UoVuofXnRPU7KM2mssxXJ8jjq/p2uywkeiH
r7EuRMIbcJbpcWKvdZopV6SJfZB8wayq6fzEXTBUBKBDmcbgCFuDyJ+4w+b+l7JdFw1bIpR9VHU5
tIfNsK4tBrxYsUCCbyEXULLQbEU3kcX9Xo0zjkXyFz+S5+VgnLWnMJz1v2FFjndGOn5v4R0yDJM9
L3qrkWoVEyfOc1Lf2QzJPGUnLICVRk0wIhbPS0vXMkzGa1CvS5l3Ww/zETYe0HqvVTonT3i9f92J
ZVSatlvOyNfWpqIAJA8w0MjASg53raL0oCcg5Tn/vRwaByeR4btXWQu1GzSrUSTRbhv63Qa2B3Mh
DxEo18loLaAh+Q4HdpB58KRNj+Zga5Ii2ZL2n+pD/aRnMd66EDSWcgjrQe7WTsLNTvIkBMudH7ip
7wbDQSdI17c06/MiHCa561Ky7dCSYCLWWnTVsgWIWHJ0LH0fga4dSVWmgDVu6VIjbRm++J5HzXlb
Cb8aRJXtQo2RzoF2VfAO5j2gQKd/NKLxdtRAuS86Mu2TxeS7GYEIxTaoKk3Bx4MPcdm4MX+YJExb
MtiqyKKmNLhX+docRTBAJxbo5N88YLzAsFOteMPRGCFLKDe+pL9RhZi2QQtF2MqUvmM4PKIh7R4U
7MCxB+4HwHbjNZ7SN7mlFbgaZsJUKSaPAL0wbgqN717BQrULC7KQuSB9Au8jpqtlGR/BtdMFGt7p
y8FrEZDsZtFxN7SfqiEm7W1rDIq1V/k/hUDbskUgT0F1s7yu84CWPtjGC0b/9pno5Wo50VsFv6bw
s19M5ys8q/mJeYkmVcr48vs2HdsGHUAX87HbMx+bD7NBO1AJy7NmF2v7PqwTIiMwWBUBrGZFRdcZ
XY/LFQ+LNcxomediL8Cp/J4JsMswYdd8ZktBUdmABpmuaGP1XIMQU2pU2kptXW6Bl2/rNff2yGP/
rgbKCkrUoRamK8O15m+EdLd5tXdIp2/eVmItLWRN34VYf2qlH5WF18CiE9wiM8UyIKhFhGsAVs/1
W2ojX6H+fCDkuK6QuKIqRrv/aN+cNGyrAGMj/mqstoXAX2mKExNWik/zbRk8q3cRItOJ1Eg4BA7u
Stid0c8OGqE23bLLJmkc7fDqAZlBJshk0CaHsLha++FQsya4Z3OeH1r2azk95XfhwH/tK80+SJFt
DKQt1/ZVwVQTBPFhfta8gUWt78qNw998zwxP/lujpQPGv6J/D4MG0easG15yxqO7Mej1fpAE/0++
JvYcoC2AZxBq2up1Acth1p5ECzXCEbb+yz1BjkRBmm3nGYSJk4FD3khQvbKkEVdQY7a3wFuLysJd
vYMzWrBLQFk6DFOznrxeRXfmW/sFv3D25rOGfFtl9sbaeSmSJl53VNK/ZlOY2sM16yrI43eh9fcO
0H0+2o2geIs/iWlBhFW3cSJ214Wwb8Mbcpc5DUUNqNb1ja7hAENZ1r8jsag7S+mHHW5xYCRGp8c1
13cy0Lqop/GiAnbfgWyCbXAUFFRhsQkns1UUC2/4UtXpVh+nmL1i/RpeOUJisCXBMSx7HNOKiQGm
Q4AxSra6qMR5Dl4p2psSUc7dCba64RG9EWKTKFYfMnjckgmzlQyRxjHypEzIqgug7duxseu11hzf
hfQvSR3wB67yGUhy95InawJrA5mV3qI+ljVpANo5Mp1NjmaLy/ZJyZYfYKoK5AF0uRXo7HRsc0yG
cxesHzp1w5NKPpkePEi3kPZ2xQwX17/oWjccPnhg3NDdhigR3D8tyEE5MOR4HLXjAfxs4TZe4ypb
5UeU0BfgUDcI1uV/QPpPMER4y1L5YQOX7qCLFdhl5CCc0HyMC9CThw90UX0h+9rdhzMayA5JK1AD
8JPSHdnDzGBEzJPP7C4ft3esm5bdnA5jU7QZElgKnmzo/aCZA79lvcBAaDfp4EONiS16JYw9w5W2
70o52HqHcrstpRZEY8Kul3crkqRoR/uSNK143pwOn9JQlVSSOxciDcfs+06e4oBMrgpmIMiqnehn
Egixw2Sii36K/utlVkBV9UqgtdsHcLxNXHRwfthM0WOlT8SArtq841pdkUmESlWImL+w+GcEGbWA
2nstA/hc74IlmTAxTGmZiUeYK5yCuI9lqWH41RWss+E/2/+dAlqwJGiCcvAbnhRHEzI6bLfSJD6H
43qYuIe/XYzYoI7jEBbcANPvk/kz5OEPss5QvLV+CqfspxtEmYUS20PRkB33dosK58h70qbvSY+s
dBjRNG2Nj+jXY3ql47tTIDDUsIvDStF+JjU7+i7AgN1jb7c4vQ8gjAO+qF9a+TdqyPrkUcdMvFax
lU7snNIOLVjX6Q+crz2PYTLkvHlCstaBzGllovZKLdqMTM3pfV9j21Ig1MMfG7KRg5ftrgOSJObk
3Nrkpozhv9SofY73MiflMj0pU5dJMpXa9/SAJNyDDpEOFTP9gDOO7YQLkTOSbtDuIzRic+kLto9v
oZ8mLMrawwi/Iw7ZxUBoieUpEjXak+kmct8IVS54lKG/z5sIwyx+c6SfAxo6wPA1Odt4KWETdkfQ
fMPm6l24efvTz29a4VIgCyYRG4VfGvX8IvOxXSvR6egZMBRC664t2thGQaGo6EJOhvvh6jPfvP6a
uTGOMDvnhit8bbcbOFV3tYpdyYR/jIjCWw9A7zI3yOFG/tredLoxhQj5cnQdK/XEY+zWootXeyq7
/6KaftRJ+BHpdd5v6joa3DQrsPRNuy+yclJXCyJvVw4tf4F2Zz6t5gfYQuEGExTSPpsQ+wYG3JL3
S9kvcbloW8SYMlWa0J22/Q23f48KcHRAWLt1ryaEZLZDqUj2kYm0nKx7H2txo3PeAzoeqg0rDFf2
k33ivH3NWrUP0Tfs3JbKHdYNQQEpVvskCRb5YsjpsW09fs0IUZhcP8VsektYFrw1EBMX2DJnuE1T
sV+2PCwmrI6wMP3LGAqxaeCjZIMV4tHwOcsNLxQdgypKED8ReMyqoHP05RQFwMLS8Ai9frksHP01
FK43EGn8cczQQkkciVYNuPjh37unwv1RvX9YGPKfkImL9iKN3WOX8/iwAv9Z8nW5X5HiVK1z/Typ
GqM+l3/gOxZjoxjpcJdDBdZl5r5H6O/8hJWL3iUe93xRGxaAYN9DaS+ifOEVmhqAbb6hJ4CLiKGL
ugRzGBZWAMPEhFMCWQ/kf9BmyeBPjGOE3YD7cnVLX6M+GocyxQMrWTzDwi3oryyO/wyW6aLN6bcm
URVx95ZKKCugsilqSAmxyjmxFAPLMGKDwSXSRr0Wp3qYECyBD2ZEuDSWdsoPSykGgDJ2HD5mjrkl
wnW8U25Nb41cEU0Dc1EM+fM8f0fO9OcAG44MqWMmGyMsLyM8i9BmB+sxpkm4JOBNS929gL3yDDNM
QnYBDJ3RnWLuw6jD36RPmkMzg6yKwHndwUJa1GhC5adbRfLUcLfmBfIIzBHNPGtAodTrHTX0CDvO
0uAIu2W4pOE9EfhRSZ3/xY6XfpJVziiScSuuqeD+Xy/U3kbywGYXvebJKO8FDyg4K7j4599xhctd
1ss7umRZMcc1PIX6ASL0HWKaylyZA2BixLTAa+jc1GtyTjuKDbGOn9nWvs9Uy6cA+TWQ+MaVDQZM
k7JUPb2r+3n8XVfVl6inZ9ZBzczGG5re+8aRFLvJAHEDbvtBvB4GT5QQeP7DZ7pYqU7PYUSWPQXy
FfdfgPDDA3qv54nq/NS1QHc3Iuas7H+fSTaCbx4D9xbrXpvlk8n4nPTDN7a2K1bdypxDJnRBbI4S
otCBKJwEuuBVmKsW5FMFHLzhQDkZ3Fbv8lwdRWOflnl6MrGUjzgbYodL510hg7MTnal89pBLC2ZE
5m0RkHg3dbUyBTSRMbZWMM0swBDunzENzEU/8/C4GIlNssSZZpUAOAd4ppzIU4w+E7js3sLqD+QQ
DUwRkUdjfmzWW1Ir+oFVE36/TgWyMnq49k3wDKstXJfZgWVpuSoWFmpV3+iSpivtmfpHhTAVz/IT
VIj8Rwu/VIjNwLffRubP4zr04N7gSf1aC3g7w7o8Xi4CHMuhouMEoGPJKCKsiAPYqoZ4j4pP4/1s
R3hkMJsccqLt3sx4Qgv5ABLfHqWvvxPt75BRivFNY0lP6nQ5YoB8bFrsjI0WaZHNh5r2AInwJQlO
wdFo3lYs1Gdvkqn/VZf4vzieaNCyPjiMK8OfhIq3Xdo1zcUP8fCOi+ofW2qBORnzfeMQQpPFXf22
Ldgqphle60Ia4gtczxNWSgFyl6C0IgixWRsL6mLupv1gwEvgSWIuZLP+LRkUHDS5+DYMtq0L8NMU
RT2D0xiNETxhXVgSbv+h+onCJ4jGo9iUETzDqB+rJa/NfcCmQxdHJ84xT/6ythclSuL6syY9vapM
Z6XlABi3SR5rtDZfmIGDx1hiJZ4zNAzwx7VdmNxT2rAyU6l6GqI4qpb2PQQr4wSmLtB1iT54SnGX
cAXGR0C/DNr8YtKxxnoxO4ywzUohvygS9H0nTK1uqZYOT1UGYvuO5vjCfxHsGWENYYFJvmzi5hkw
zqkZUOnzNITnpsXdaPfx2u8n/61bDKessf/lGj7YU27GO6xdrhleyYLI/tS4pALX8g81HYbR7KEJ
txQIBP3nUBsBeWlkFfb0d4lAlmpwet2njMPFcHombP0/dcGF6Flwdhe0YRLmsmYpArw6ABlbVgYM
u1eNzng/c7wHKQCYvVmlK3UjbDWAKvkkW03OtYw+EijRAI7YFqgwQyZw9iEk8AJEiWEKzHHlpYx+
baxfAVdhQWBTelwiDyx6/AV0AVhC+72Bfq72qhNoExYBg19wZkB7LJLpg/ZpUo2DTe54s8kTA1YB
hqwfh/0Si0us0apanmLUZn3ZUAOrJo8G13n1lGfJUCxJDIJt/TQkOQmBgPmdNDGgjxbZMrNHt6Iy
C0OwDdSCpN3KQQRQb4zAt/onUBlaBGMdnELMG1GXmfkKE/JbOKRYINN/1pCmikKEFKXxPokWC1sd
0N7AVbZYM7aYFh9B7WOm5DbpGS7c3xdkwX7+bQijrxTH3J+R75buZAvMbErqz1nmF1GbEtdWWzAZ
AtU3Yc2KeEjePDh7WT7R93DN77dfVJyt5cS/0FWXoLBeluQSZn8ttC7FwBO5h5UUPn4TMAmRoLoC
fqqSeGigquvus5q984zUxxa9MgaFz6XDx8/rJLkj3NMXu9DoS25LeiNDs15To8SVQY73NhiETi0S
iFqRLGT7rweCsOc07LAh4/0/5kE7OW5U/TDW9eXY7gaa41n3ALyJzxC2NKsCm8Swch3F/hXBdxXu
IlDulOfPeK5tAXiH7l0yrWVnNw6vOeBbhRppWDWhj3YWYemP24DzXLv6WQ8YL+BImJ/QeRyw9oHo
yWoA9qx+GVYwuBA1khQwWFlEkOwWhhx3RK+B5UDdPp0HX2iZR895gkER5oZp4ab0eVyafbxEeK2a
OSj65C9iuqZDu9S/b2GwXiPWPIDbd8AJvp+S0JQqOKNeevUdtAl+cvPcbRiyVa6Dg+oWc5XcnpY4
O80Ok0WDhkIlCJrGtpBg3s9z+I2A5QjIDMtcXhoaBq6UywMcwtMywsIe4yAQPIvHKSK+bxbPwZMZ
x2PU0BaVo84H/Hv/AGr5Ti5bkYQ/61b/WQkMGxusdVE3QfMLw1yDypN+otNb76KoD880Glg1JX8m
Qq8u41kpLZK+4rxYtwXcSmP9FazKlzlq3kxQfytD3FlYAIV1mLa3hO4NXXYcguxoiDAh9HICiA4L
hwK0AcSRYyIqwWnDDYk7pQJnCL/VhJI5Gvqc60E/Qv4/7We1HGw3PPt+QuzPvH1OYInx0BU5Bj4l
avyKaTrmp6Rz9hMxx/LT5kbWZR+2/Z0OvMPSP9/ptfnZSLAe11AfY6tvMH2U+V0/KHAErQIAO4Z/
bYKlDW/TK9rdtwa538dG3hmp0cHH0pYGdbaY6x5nDMJURvMyQ4sD/qZDlWePXSTId4e3svUj4org
EFOssdjjZws/w8H9THj1vFhLNdUfimF50cAsMXHj26asLzgAmCOIPFi6/+gw2YNO/wlicSnFzW/j
o/QbABww9ws3BrvUbNiB928RzGjQqsQpyn9XoS8EKDrlVxH+Qm1wNlhyK4o1Ge+cRfT8iMbazLAH
ZLDNOcMNAja7KxJ7uAOnD6BNROpyw+K/AL0T/M8Y3Fw5LucxfTE222GPAxZSWCUGXdH2C19F79Gk
l8PYLfGbgRKhT/wl7dJ5BweLMp6VOEDYUpchpP44aOcO0loSzFOxzKmukkVjeZcenPtDh/gUzCHo
Ano+ZhK+wi6fq34Ow0swB59+ioMb8fUeEpn3eMUOpq7Tft+Gjdwp8HZgazZGGhwfMOaKPBibXRKC
2GUjap7G0Kg/62r71xj941JIVAngkagNMUNDHwGYAvvplvdk37fZehUam8uA8DPw58quwNBqnrKq
X8Yvn/76pj7FKLtt/UlkWywYN8PAn/9H0XktR6osUfSLiKDwvDa075b3L4SkOYLCF1C4rz+rXyau
iXuPBkFV5s61dzqLcXJrGsqRr6V/JKL0xMrBdOMBAOw5Uf7rs3fuvo0xdBd8qf8mtaPSaoV8SSpP
QFRPl7UMrhwm2ca/ERPk5VwG4R5gI15M85mwzY1Ry1Nm8Nq1FmvwhomRsE4+pOEgl9TbaghJ0tLF
j4DlQ5ytupPnK48ryt5wXe08hsvButhnfy2K2NRh/Q559RPU/U+e6OQ/JUoK/f6mivUWDJQ97+xG
v7IacoP1nhxgKg5ZMp1vP5xlvcNZAQMItVVZGSPwFBQ0FFb5r+2RgOUaEnuUpv/M1jF3ad62h8JP
36rwwBFI7VjwDtby1WdB6keFAI9dzJArrT/JLzvZZW7JEJHNLqT2anGEqJr23QjJShnUn4dFkevi
DuNj35TTVXvlt+WXG5jcfaKDY5cP996kFV5lLMBcj+tTm5X1fpxbo9xZuor5YiKrBH1OcE3vSFEL
vz01lS+GLdM4dStKVmM9uv48fNasxGC/jHzrRrE81mFwTYT/xbyQpW8+NyM13tBuDdePu3RE15uc
ozPfZ5X6mOcmzrPuznGE+wowwpumrXTHx/KazLOzy5123aW1to+doLbPpi5C5wyYbur8RXTqiTDd
n3KcjjicPpu2kY/GNGh3a/aL+2CEOspoaRdk7aPBImfKLM0sb0heRr6yJNWPQzs/oSbddf4asbfq
fR7epD+wGs7Ske68eCmAQMizWrvswghoOdp9ykh/gZp+4Te0JX0bvXnm4J5aEZGBpeptEFbhb5G8
cMhtV6YBubJ4pUs79yOisb49WnQ2OPzL8qBkDmeI0zR795VpbZPej6Df+1gMN055bN906v9nkE3e
k3kQZCoWgSEPfkAqvt8ZVLQ9IOtSvvZu615bqj/hAV6Uu0qCTSNxfa7htS3PFP/F3s/7Dac9J1qy
h1DKaWiz/cCgYLM6eR5Njb7rBv6fk4xGXLRzAP261ZPJigSqcSt7nMb0SYw1J417RLDbTESs7BQF
0z7na064bmVWiofc6D95UHcUQZ++aT11jfvEzDvqkiWSzVBt+qJqIkgFvUHi1OeBIxQ00DrKYmwO
5WofgmpVMcVbv/Vg+nZuOX4UkwX8wgqWQeyLHjqvSpsPCRiU9pQVtkv3UqQP9mzhXC1J/dsFucGs
9yY9T3aLMBkgsAXbphmd5yar2nfJRoXkTjg9p6e30GjoMmLPCnrfihYQOQzep6A46FRdljRVrzJD
YfVo7WBF3pJ1Ppb9Z+hCkrRTd2FYTVf40TMy35mVkeyHPliADNZ3buWzXLM4IQVtV63d9ZZp+5Fp
5iSwqrl56LTFqKAzozm1nKgbe+/fMs7m1rQzZ+t37Rg7E5uDmfLjxzgCTZz8hQqmNXMRRnBglNR5
11xr13gCjvc2xOWujx46ccx4FrzNsN/dlKINUdApl9jGEX6flrgD6Jsc/Qv5wLVnVk7y4BgcjOwu
eHem5avrilPaZFGrUAAD9Vgz+DqWY2W9qoofVnjIH0sz5g8ynSP0gbuw9N1/CWz2nzlWj4OXHUVP
JGjQpfLaFS60WtCcyX9TBzigS9llfOMLC2xxaRUPXdeddB48iAFxWgTaPmS1OrShd3KCMeZ4qg7d
Ski226j7hiOF/+XnQJFLbR5QHVX2o2kQwZ68cmUzrx1Z2tV3XaRzasRSGu6jULX8QR4zz4546tf2
YoyymONQj+5zaVGFIe78RxJwJCm6EPfcMmYLYBJlyNepjQpc6zCI/OVxWvzL4kH6AmFygWJLSGr7
kE99yy3gxEPtnFGEH2VbHTgTuqiv9H/J5Lw5jAZBOM6Nj8+/ZdZZHmcuUv4+w9Jcq1FhTyESv0Lt
kh+LzNltKNP25pS4ZMo4Gaaq4z5k+K0FOSIgKdXZnbqWEuB2FkyKd8VrP+pmjH25jK9w6X8yEdk/
MndjY3TQyHIFtlCE1XmYdHpgvxu1pBnqrWk2YZy1dvc3LPbTpKRDl0THW2+cbr4zSFfYjP7RthP+
OYprLKeb1CtGHFGM4TnP1k/h+NOdEwzIEsZKMbkKvVlr+nyEFhvdKvlDKqTAy+wf29EfXGPEP5Y7
kb6zI7aOKJ7o97wq3A2u9+nm2LXUOnzXC1vC5hp+BJWFu4/KfQaSdtruAKx7KHMfBcRY1NbwrDvN
d8HACkBAYeMpqNLYliKeyylNgriyvhKPX19hc/YvqxLxMFLQwb2pHWY0oIxEhGePXZZ72ZVfJZOD
K+sSN3mnu2+wHMyeZbsfLHS54kVVvPA4czpemeYiTewQiNixYY9HY0gOQdcjPlDpbOTk1mfXYkdR
4PlvbhqGx2rpfwLDPyeBf5Sl1+7m2xNVU8AsvXox2dKdRtVa7BjUVqfRQ8AOsv/Yqvvg+ex3abMg
jcd2vo72sNVrtfJ8+cO0q4pZ+SiPTvak7OTaOMrcLt12XsAtodu6DR30ZiqC/qf3IQDXMv/um/po
dMRuOcd0VH95xbJet5esFmw7MI8k9K58l+njWnJxeRMiTdUzACqybzngUqEmNTpmbnrcr1kVehsr
/M3aeu8yBvM3lKxgutb8mi/yL2n0qbCandGaQSwD34/hxd/q4SVgoJ+K9F9VxqIvvVjV63rn6Gpy
TnNI+b/qDFVj4kUD0z3lt85TCP4dXO+RwZUda7BMO558x7l2TA68LUBZ8AlDdEhmgxbELYflZUAL
bvG7PQrdBzGJ3N2uJanIyv7Kxva34zqV/iUxxoegd+zrmnI9NYkdW0s977ypHN+HdQa8HdJzQllx
ShZRflTruE+rNO6X/uKNw7dyE7u4MePdsCHx3dljn6ruJslCtquX19zcqnXD5sG1SirfaZ6Ib8X7
N3isH0rAZH47Wt03O3HPpUVMD1zDn98G7sMEgcuNAPkja13GK7ecsxmkl785/UDK4rp6MPrjIaeC
/MMTcGnlUp0DZegn3RpRYHNQs8qguDiFyVWHpf1kBYLHoQkoJ4iIDSLlfcGcbjNb/bolpri55p5j
YlFy8jhlu/lLh0p1kV6Sp7GT6JnZT9hHPWHG+3maGBSumVeeraBvgRV1AEgbpJW760ON2paIyG7Q
k8KUgA2nKq0Xa/E+xt7/VwxGGy/1+ggX8tzPpr/3BHnIqppPuLoQtoayQMYXpLqE5k43+XNnu+pK
Lb5JuunaW0EOEJT2xpFYPevMgC/qb62xCK24FUz9u/bXmJiQEoNHjX6RoXYjLqhm67hWt5sK9bHM
DHFM7evjjbL/VnBLEYn57L8wcnwqQ/nYafeur9g34xHMX3Et6tp5aDPNtHm9E1AxzYj/MINLpnTr
MFXWHlaPAZDPwY82MG89ZtYYYACc2VE9191JNAmJi7kFmJWrqz3OyAmoGNcFCfgkconoARKXWjY0
1PzsMBcFCR32jkxeIeEO4TpPm2AGb9xSTCNT2OYSszeuO4t8Dfcr+E5Uh8Nd6i2P5oRnKTR0c761
tYdmMVIKgiJ7YTvEtU4s46GpiQCtWK66EfbKimJcBCDcvBDIBU6ED/KeEWkkx/WxapcXfzH+wLBj
rpxPmdQZzniKKBsgpb6y+Ls9hNpoLp3M/Kfem7KdaNr+aNniQ9bTMc2731XlHwwsMRdlZsp3X/wF
M6qe3U6vdQkvE2bPwSjnT8k20NIe7mqjzPAqOsWhDRCc0FV3lvXbEoKMdTTbl2a3las4eXW4o16d
nwbVVTtRUst0rpb0k1nR/+vG1dacAyzDjYVhwR2A4KJ4+z7j/aUjzSN/dvr0Qyb9n8F+4W3gyxc1
+LSQ1GabJQVKiXKDAIVj6nq+jssM50WXBv1RuGiQkTOx4uTFXit5bhonx84qHqvRtCN3LmNZDXG1
zM1VcYcEG8NN+GDGtXBY+JAzG+xq9YQbAwykLFCjEr+JJ341CAnpDJflIzClr/1tBkgC4wEk/44o
nsvQJO1juy5Q5vZv5bXDNzVP/xLUHC1e2T6ladIiu89Hs4TV77v5iYnBIXfHdpsEBZl8jmMYLznB
6pGV6o7imhOyzJyF6UAD4+nWpQklk5JAIHIXdmbOBmvjr+DvkVAcxh4M12ZNVlRxKv7Ebq6hLwGK
+lhZJUYIqsdILUPGBL47BKhZB5SPY7DYAza0vNz4w2DDMTfG1rWLn77vYjHm9xmMqzdCb6vxZqbA
K9iXbfNQS6ti621qxGzj28w5//lN8d7mZufvZ0c9BrVNtoDhQuDgvY4tR1Z08cvRVfK9MdlFucjl
lOb5G3JQc9/k3vDei/xLdAz1wroyIq4e72L6xjMAphOBZCG4zqKhOnOSCx5adpSbY/AajOhLg7vC
jhZr+80voXgLM2B20XOz4E8Z9K8WufmwNnyZujr4mb2xluR2pcDYjlP1Upb9YJ9X4V3yYgT41x2u
5wGiJ3JHY37XfhLgjimMK99ieip6Q96Vej0h0MdoNtuAuJYNo9aOBofLXjeIcxbV36u5MiVW+jJp
FKolxVGzJpkfs9/CGiO2Kt4ESj8iZRpuFivMETfQPHO8tn8LcJ1XY5jaJLivn4m3/wDNtraTe5uC
zPkaGdJeKUcaSj7D50xvguyqcStTbKdzcxbUcfEsCQqIu5Hkkd2CPuXuhsLzD472bhMLo/to6bEo
Bc6cbA8Cc8rBGqt2p+vbd2itCQ4gF7A5HzVj+4yzMqQ4LvoWh5XhA7WSdzDQLpaP4Hk7zMRdPGlr
17TOJ0TFcvRJ0MFvFCzwPAwQeIA6snxF6S4jv2zXKzO5aBpWcTvtgm+8xPmpYq0v32KQ2V8eqGXM
EDbdoZFlDKvqtvi1FzxBoN4+A9j5akOt7uqWH+U20ihM7Liyuy9V5u7ypWpeijahDbRWd2eu9js0
2ZG+4sW+cS2YiWfbPGaFrbaT1b4njf+v1fKrdJ0oa4nFFPZ47+ZOetAqPFRJ7jwSQSwfmtC96lYf
xjGwkStC841Htq8WWnjtFpwItVg26bzs5lpFgdf8Ny7FtBVhvxMy9N9Lsvn+Qg8jrqewfDlt/Z+C
UJyYn603hcH+soPwmodI9sZip0+rbb27phEhghcPeoapTs3qqCvJnWz/MwrT/JsaJG+99JxhxliD
PJO6MjGeR7Ic8+3NV10qTnbJx3rpZfgcCOe6klwRY35mMGV8rl34WaSOy7fCyAzYYY6qdHyoxvbc
2+UuLOdk5xGDPi1BuZNJ+9GKZD12k7xj6IUGEXCVU4lZs4IsdYtoZlpAQ45/d4P8c5Uj90UR5rBW
yzLAggasWTJ2a1iOP8Yo9H1fWO4VchiDZHksO142VRSMDaYZhmfFnN93uYgxQm9HlVYnfFrDxpLr
8wgTFgnTDzzmGRmiskyX8reoSgxOjvevq53c+lvHNHcjM8OIWfFOMI3218s8gGtM1mRMMQjzZWIe
99j5w+M6LAEbY8k4jAK9ojHZCYeRS8TopoBjBrvpnZ0YiyUOmL8tqc0IuEmxZEhUG3Xo8BOCp7hz
f+TMC7d2rTHbV4YqHg3H/AuRAzOy3mYjZegCMYCGyLJ5vGlpcFVDf5m88TwGQ3VUopdH4VU7KVt3
GzDLC/P6eUz9H7PN79Iyw04b3vbE586D60vrCaQRPbZVsxnstWlK70DOZKYQd8O97Y+ev/PTpfqt
K79ffysozJPZw6a5YbLJez9Bbx+Ts0Xv/+VK2/9xlNqGSakOxqo0JH3xbEitiZBAD+JQ4oLiFP/2
eikObeqewxI5OQhD9LsxZf5H8ChVtAOoFBlG1x1HX0H7ia6bDyhfxrPAiAeHnbgKx4M0f3Mxvgy3
ky1M6UadhP7Tc61gM6uxjwM9ozsp/dSspbz3zO6lyINtUXAN82HgtOWlOCq/OGu8r4EY4c+kQ1uT
ZlCDZl3lp1lYfRqrybXPSmSl86ASDjjMNo7lcc0VxhBjV8EcjTWpvccKic2ICAauNXfKrjkydkVX
UCiPvWNBs5rVxmSHKBZR3y5ZNkMGWM4s1yz3IegAn15vn1tRYMG33qYONckZ6q0nTeN2QTr7ng25
Fzl6Wu90b0z2qSepn8Ffbxg/pVxa52itXWtu89rNKSFWYqk3rr/ky2vgD9bOxrwqUW343c39na0r
juU1N499xwOP/dnM+o1ZuuLA4lxTPhYsS7kPFjrYXeoAdo91goehNUBYbRzM+S606jG4y+rSexDW
gjjsHcY+sN9rN6UwdZDl3HMGs5PtGfx23oMlAsmm6mC2j2A4dv09QWlVH94ytbBiQyv4gLKSsVeL
0iLe06n/MWqFsKU1p66socoJzpe+mAlpshlKDDo7FIb5MKvhNcXKWdDLL/uR+PMioQ7V3ABc77o8
9LheMEQ/3zpB3m3nbkQrOw7L+qmF7vZtosSBOhIfHLb7Izjf+FI4OjtaBb46N6j6H11UxsMwf8kB
0E7jnxs1OR5lJ/aBGNL9YJBCsuIs9zP3VTv1E1ZtYhoqupiNyCoTCReT1VrgI+wUN6iYO4NdieGz
VZf7ytP0g3rqWWnShCuymR3aBbkyaeEVH40ns2MustqLrTpbp1/Hz50zu2rQwwbK6ADOvicgyer9
8eACeKcnm+nzySP1QXNWiJzjpiamJhMV6WQkaXofdPd9cqQpFc9VGCRfykpV/eMkRCwFSBgYK6x8
zsqdYguEB00OOhwXGQNQcpiwrhv3wG+DvhvwN40XC4tzsmkGdqXtmSUPDu/8QuXCNP2bMe+rVbbn
1KF48lZyvJYMWJdvXdW04sr8NnyftwodhjUW1ai/Fk/hgs1qzfKJ0W2zUxoocQ5V/tQ32RlREody
AwXMauGtROJwYteDIdox117Sgz0VTtz5drg8u9W47RLnoUnXPZAYMQZh45rPfDcYULPU6z+TJPgo
vBRJymbZGSOc3EFKMhyYWPM9g8tJ9qK3cUDVizq1OcFMQCHw341eynsaSDgravX6zUlbGB5kj/Kj
HFY+tAamE8wtNJT6nIif+ZoJ/h6/cgdX3iYdS1jZ+bMZw4ZAssrMvrp1RX/znTLjrLALFoyBRokN
jMZILVDPH6uayHcxJdDHnl9lhXYcZF6xHSfXdHZ2ahhVZPVWd13maud4HD9+19bABQqDJ2Im3hPM
/t6WNePD09gw1Y6yhkSbHW+egvs0c7BMB0Hs3zSrRu1kYY1v5eiXjxn4wcXqAzCWxhGY8UI2ZEWO
2xXWrhVrKa6yM1MCfBRmsg2Jyx4gzGqNXAt1/88IsBTgmBjLdqP18N3fOlzxTRJFDaCbYunPjHis
5zvTKr4s3Hm5wvgrjgFWk3hpO9nGyTL077BMDAuH0mRXV+4xI2E5zH+cHuNw4G9dJzyOwoR9KfxL
ORJrAhkr0+TXa9R1QIgta4rmEW9dv88bcexFPVaIbv6L6Xu/42DIrbMy3J0LbW1aG38gJ2okMvsz
9fgZ06yzyD8w9wZfely4o7udK48AU0rxd5x7GO/nTJ9ptdeyiBKXIDnkLGNbGQFeWlKR2BM13QAk
Q376Cy8ao6UuBtPtij/+rHRTHBgRgAaxmcpc1iMTVlaTJ7gpyFa7OCPn36bSNwUEw5lzu2wzzjYz
1svNoCRXuRfeJ+jSFnw/FsnUxi2NG1O1P5jbV69N9tbi70ezue8Tufd0+9y11BpjwWN0b9ExPxBb
WD7cZWt7Euat/nL9FlCnbyQr19LzuCrwc/IN9239b16ard0zP7QTfSmwf0dsKrAPvTbKe8Lnj8pa
nqf53VfIpUO5+gdAd9uJeK5OyINz7AeLNfBDenNqDzg50Y54rcT4vag0x/0yjcq8Z9of5tFoiDu7
KldxYJn6/J6sy2bhkbphb26p5fmB0fUAWe31YfZLj2yiptksBEBP/5zmH+vUzzJxxi3aPU6huqFo
Wl1qCk8llBromTeeQuqLp4MTkTDzgSLSfO0mXnY2IsznjIrjZel/F4ovN0j9l6wuXlrLJg2oQD+2
6GL70YnXvHMfGg9sAF/TRiKOuTY8E5PKLrjOEgqlBS8kxDsbyivH572p33X1XjvA01gVCA7DiDBK
Ze1DuEt/SBHF83I6NtZ4Jq+I2mbKg2JAYDgoY2w3lTl+01i7OQDmuMaUwUw1JdlbAe/ImpnhEOem
gDFu9zSvoHfFKQv7s0iSx/yWv8X4NJjnn1l68KXFo0lQBOx36RgX2/UY6NfNbkyFAvyp0+yOmTsy
y48O1Rg5jPCOLbHAV79CLsN0hMsBtwfYMMRTMOK6aZa4T82nQjcRooY40ak2Youbz0ItuB9V8MhK
8JQ5MSxC5oXMv9BtR/o2Odc7fowgZ3Lcrv+1gXGLV9+RmVM+TgGRmgtIh0RC10H/WtWjfyX1JXsg
PWf4ayAIY8YeeLqn1xb3GAE4711DWDeO+uRpzcfummXo2roffEpdf7u2BiEHRkT6Tmy6CCxlrYg/
OHeLAKdxW4KvNoVFJYzFkrmjZcnjWqo/Bg/6i5jkigKzgm6IwGwJwwq7IwYh/1Dk75XpH1JVniy3
/Kqbp8rfFdVxMHfM+c6tqhR/x+LYVO6z8u5EnpjR1BZbYg45TaDgsb5jyqqfOLSE4+LBzyWg4mS7
W8Gg18JL5kA+10bDdqXJwQfmvSsviSaOVN8wkCgKewt5nzB5RSPLjQXvwLodhmqOtKUCZiLwv4EK
yGjLXPGVl+BA7h3lv936475T02n0W/ecNsOzp00M0Lqlq6rIYSNsHrMZoFnEoXDoFGeVKoN3IRcR
9SsZGj7MxiaY+pFqkTY3T92vrgDxXzznfcg/g7b4CXoGrUyjqaAGta8nLBSDOPuUKR+3sIL+3XfX
F7adpM9CJy4GL/VpinBDZC5rMZ1occr/0q55BrkQrn9nK1JOvP7qTWt1yDj9DN+9l6nmQEjAht8I
I3JgK3Fd+W0bZhsWkNZHpQKj4V2Td8m8lrwehojConqwLKYbvZQ3v+m2DlNsFf34apFyc7NPhmrq
d42VHRZ8p3rC5O8ZffYyIu6T3XYipEAdq56bnGisoHiy02/bFnuhy4neE73yPZGPtjUqwEw5PhSF
7Z9dmR1SmranCSX5peO3jQ29/+1gvbHEijry83HD7dDSm5oVQ6NimQ/d4u+01/82js0l0jHogn5K
e9k/Wey52RD8lh27KnS3ytc3igcFIfnJ3GxnQ8KWPrk27npq+dGJMHmrQ+eFbCF16Tpya8Lw26uB
ifuk4b+pCA6zAUV6CHmnKl5F9bs0NqAOJuvWpZyq1W6a8+QfLQFfpZtT7fM0yY5y61viTlQp58dZ
S3Dw8VL08swEVt/NKnwIR/cw6GrXeAWnVPmvUu3WLJ1zUV3mdmmjRZdPtludUhfFZxnC4gku5Lkq
H30t229vSd7WwvXAUusknmZjITwCT7QJiXCDMi9Bmh1s6I+3td31XhtpduhEIX7urbE8+lP+H0kZ
Nw8WI3QwIdMhqQ79jfwAt6d7EPnCmjxgCrLHNjyFfw7TEWx/IG67IPjvpou1ngtJOh1kwrjMbMHe
B/GfWq6SFKHO6npufYwCOZ4rXb84k/1slomBwbGaH1NL/jZV9ScS4yMfUgYMattk2UNhEioG6XpQ
s8YceGjpdOzOAZOgukl8ZjghCadF5qMk0HV17k8AeOx34VbYsAGpys9e0/M4KBExjMcSk48dlD+F
n18kdxeiGfb8geZ0Y96OXHzhsK/cVJwcvomKMSIhOSMbz5pnBl3Pchj5eOY6Ctpf39rDtO5Svvlm
HZs9l8dXv3bOI0HWNOS4K+q5ZGCSuUdiqqa9l/o+jwpjXQWcRtbLLcRv2DOcv5ODoCVbho0L5Ywt
qpDFryzJkVCjH5ONJI9Vtb6qfFfAXFiJ2uZhp0ChS0GeWXDXK84Mt67ukdiR4dUE2QXKn0Rpl3U0
OAbz+1uSHyhpMaCxUCKJT8r8OU4x9nna/+dVrUWmorHurSRf/5RcAKlNlXasI07diDCKrW4A1ALr
pUN52ytH42gP1jUm/cR50mRhbM05H65eiZ5Pil5sm9Zw6twmPEH4/6x9jobuJ2RJcuoTgrlp6sa/
ywJqTdig3NMPioKqo3lBCzf/k51z1sG1nangNs3aTJ9I3vnbTHtYz2LjdlOtt1qED6xWkOFmMGoY
fsJUUn5s5uSbWwFR2quPOInEs1GpYnGOFbQcZh4ETQmZuaTvNl8A9PdIUdKDfVdv2KnueiN8bKiy
GDVjGekdBr97J8x2szJJPcYPBJy/NBsiHax34pi8k4UyfX8LjowG2A03YSMyU2gze/JMvBPFkswq
NsebC0Ty/RhCbYupdk5BValzxQnP1Si9B6zviDfIVEz0MMESe+dYjGFl/VCTy/02OIMRmYy2ELKn
wN0bpVbnSdMXMSxRNtxkTsIXm13OrsdMyMWdxqYdVETkz7Z0c5aeXTIxbfOp/UpcZ/KJy5HDC0kN
ziFc2GNrDwy8N8rvxMEygltyJpTy2erMr3oe8YQLhUkKyBpwRn9PPtkjpmLUuhk7u/3lZv/sm6ub
Nqeu776dJvWA5pYWYOm/dCG50HDLHbcKR2iNu9dBMJ+inHCLxgvTMzcS4lOXokpr/a+twOtLt4+5
NV5nQ7ZnQni+KaMZw5fDQfat94YphZg+k2uX8WzyLEEWJv6A/lZqfU3AW/Cc/NglqQBOmRNQ2lyM
1kYdV4TpMGnbVZb7X1qtjx1b+/ZtSShVQMGrXF9tGWBx1Bf5lCA5NgxXfdcYv50MnEG3WHbp1YjP
CrnWIWRw4E3TV0Pk5q0rcZGb6z9/EdNu9ZUbaW9+HeYpeZzLuucMcSz1ABB/pr3dkSy4bAkuWq4K
GwtsVGn8V+Nrb+183BXDdFHLT9XdPM4vuiVnwAye89FmpKnebK/8BME4Tu0BC9E2DwJmY4tct3km
XlN67r55Igd8eLG8zipjlczWnlqyOWnSA+4cDA0z8Dvr4MV2Mct0hxMmO6BZcjzO+GK6NHkmckpu
lwQ7RosQEQVdwvk2D1dAPozoySnHaUhM1G2EXD0GVX7foZEob/m1y6TGG56HbwFy10sYPjMR3IRK
uPs+yWfQy27njGFshSKIaWeYqyrKXaHjfvYfZbNcic+y75IOxIvbITnY7byT5izvcUVfxOTvyYoJ
YDBx1Va+wb+qiSCanHvQlhaXRq66aFXuoU6f/dVF4vP4QCbznms5RugYgTWGEYsvn8QBQxzYDCwG
J9NvXix6U2b/4Pzr6WIay58MK+/ZMJrYn9DKgmxh94/YLSTp3ZwOmIjcQxKog2tbDyREgUi3wWPN
0CHbirQSW2xgrMeJVhtI0vO8XyzCSIoDJ05K5PGmrhbzQFInOUbMd2FdZjsiAqi7WnVX8FlZuBQp
KkFABylfhZF+doFgjunbHu13G432uBX0gH6ZPgz2xcl+DUwFHWP6zh0Y4I/hrH4Yfvvf4fSQJSuY
8Do6DWr5SMsMDj8MG90iMiU1Kj/AeuN+eVlLlxE8T02Pt9g49uEyEUNoLld8y8mVAH/EwnuGfpB1
NnMQeUOJaN2PqS+/eG9jBdEhV8JRemqqmwc0D7V/afmgbB/KrLiVBOHykBoYvzMsMD89fuyGeJYr
MUnbjKkayROQRl56e80Ys7CoUcZmMVH+5u65y1ssDfc9ICBbanbLkNJKVUvKnVYFIFg+sSA1F5MK
/ufoPLrjVNYo+otYq8gw7ZzUrVaWJixLloEiFFDkX383d/Amz/a13A1VXzhnH7Urc0mH0XxEKYVk
0EXRp82ltjbRgyKETO+DM0MHbeiNrArhdMWGx+BdaFF/pdg3EQBv8rD9DuPum4hgxVC89TE4zZ/M
LwDXDJqSzRHoD0a99xoMG2XWy78ZciMEons9xY+N38l3zeGfoFRSeH90H116P5kZSRyachenR62B
3nT2cKnw6b8ViUT4VDxbQccszPPTltWHWc+I71sf0d/IszMWxq1J/hBivOfPYzMzB7d7I4ZD/g59
N1GDpZ/SOoQiQHeQP0Vmui9m1lWGeUbEo2tWXmzc0kckab5YlFrxNi7r145vbtBj+h7QFHALnHzP
3c51cnHGv0l9n+tdjG4j+K24V1X0KCVW1aKbt4HH9llOGKM6yUrBfxoG+B+9vknFKY2MLnC7e5Xo
V7/llNYnP7IYmSoISxvdRTvpx82ORf/GmHIFvChk0MmZrSn48LaTNMDcYE7vShbZnuE8+SLtSgwe
Gv4f6HflNkkRYVR5/FmaScMyINykMnsj8V1Qo/J7s8x6iFucJModHiehrhX/R1RJPGMeJgAzR0w8
28dp7o+VGz3P2SvWlV5wmIRbJIEFW9gFLON2t6goP/La/8GL+yIs92ouvtSFxTjHT2679UbfWvWm
+K5s+t1ATRejuTZene0SCt2tKpnOtIk+d9bw2LvDE/AUm0kPTGjKrCy7sFXdewbvYZygBFNNjxxY
NI9p32/Yxq/NaFep/rGKNfQ3NFfjwTZy1NBITDeB7I9zVfTcxDE8WXqmiLUJyE6nXyAqd2lkp6DL
f0knKBaPefUZJpeuuyTa0B9+hqJ2HbZpcS3wUL93uvsNjRIX9IQOqKKeieb4uZpsiMvmePAhyjju
zCrlnavxiKaKwasGWuQCqQ6ck+7nauOD2maklJ+XETS3ohW/AdVbfn9u0hnj1op6VqWKT4J53Cr1
y4c8qYEwu7hB519j6J/N0a9eY8fKnt2huFsBqpTOF8DXwB5hXENN3WXWOcYOCrfCYjsUFZV39Kzu
rY1hKmgrfaf5RpbVfJgz47lU/mChsdBp5DVvfDzdgQ0eg+GSl3ITTtUuQ3KJFIGF2BU0/lrO5SN8
lHsoI+ott0XrbldLqlzFGclcysRay4R74V4IJ+12Xplu7Cw946/t966S+1S7vxnGKVAxl7Qx/yFw
7R9tp700/j9zfFMBFmEPlyCm5j0DxlcTqcTOV8ZKgSar7VOv85uh5bTCJfk2VPGbiq2erAyMU5EJ
JcpBmwhVx4Mm0YsTfsnpOhiAy6SGDxXQVfXZZab9HvJLFcbIuZLq2aRMxFtkfQyc2dsCfxuktU0y
4gIDvmqbijml+kkNVBppTTe+SgWmRp4KLCTZ9IqUNvunwXKLUI75Ui5be+UkDymWwtmHtFWiYr/Y
aYFGyUJTP0w3UlqRaw98VKuEDRFE9bj/ipzp0KlaUwtEYJH6KiO49x7g9w2xKayKBm5wCDYbHznU
zrDvPCbhH9JBCQ9HJnai/gOFLP0azPuE9mhA2W3CaN8WUvyTNjfnS8DeYgf68GgodGZuuh3M5l1H
UEGdxiD/qnk0GiY50J23xAKBZYIc2WXlYRrNN8AHyyQeFNMqsZkvSshwASSItVs6/Qrycb7P6iRD
hMW9y65ZD95zjn79wRtTZ53RLmdZ1X5Io1efU25BhcKo6DE7tCZ0zJnv4OorI7nJTIu1LdqCruEc
C8abL3K4Urrah9R1cfk81NGmXKw87dorBM+z+4TexXnCjbPXIYewYslZmYtsAdIWuoYuKC5BgjrS
Y6zf4mEOq/GCdwNbxGTsxkm4G4dCfe2k2KxTPTJ6dPr+UDGushitSIyBoEXnvsPXTnQpu7ARs5ft
HKf+avOkVNUAYRV+pvZH9wW+4C1s+02FCoxpZrwZG/dHpdbvVN98TSpmkekVRHSDE7Z+ZYZ/jcXE
P4WXae0o/WvN5UuqupkXG1OA5XRwbKySsUjFSBbP3y0eq5fKveZFxV0A6Cs45xJHjaRadKfsC64t
riXVIDDr7obJPmcghGCAdKifwAyx9Eq/44ltIpl2b3ZYzDsiUH7bungxJCONPPpQsBAB70juVHtX
GE9jhdVr/KqDytvJomUElfxpvNgDajwU56HF5jTET3XXbNBYHPD1anyQJy+awj/21MiTkmX7Sk66
ZKREk5+N6yx+r021Udn4YcT/At3v/ODbnc2LyUfhrVpkYBiD0msThEw0PLkdgE+s6rb8DpuJ0moY
HiyddZvlqdJkvHziwtOsyWW+jggl8DuBWDnqJAMtB8Qh2u7RnfYiLZm7SRTrq3Yq609qwvwop6F/
ApI+vEq3QiAtdH40RhDm0dlnivTJL787ep97T2hgfPsZH8oWlcIVW/hfhmXWJfUXDXqpxSEGWRF7
za/QmHEnq4OMgeNWDE8BEh3ZRwCIrIpvM2jaryAG8nBMS0RzrroXovz0iyu8cIIX4Ny6dXa2hmlr
lgU0V8FIQzWShtrRB2mIjEU+u18L2+o25u5P2eZi/9gFkyFfqiF6RPBnP0wWF3g8VwzkZsD/pnqz
lvC/bjEe4PEpW5zxLc6F8ZzPgALC196fP/topHJDHA8/AvGN5zcLfFe+OHgQrm4xviazGLdzaNOS
t0KDjmL2thIITL7yZHYpEcZhx6D5OHWyYDPXu2y35kGVv03moQTok+gqlXs0l0NIV9g/8M+X57as
xGNks0Ra6TTZ0u7RAXzoICwfZDofSGJ6Dug5ICAgtAzVd8Vq3qHIp5jw5u2gKJcYqLd+tg1MVF1r
YeX+nYLpx4kMTlJjVwiprtH84pf9GeHSpehlCZMkWFYrzHJl+9uU5Y5N5CtbROpI6wtnHu660IMn
vdFczUUWb3zTW1zKO/rbo5gAwtS28WKZeNVDHyNIGbIJzK27W7c30ONgMWCN1CNBTxsrbvgJzekD
XKq5tXxMIhWKNTjSC4DV/bDm7qZs/MK6PBfmwHQ/Bm7Orpu54hylb3ys/ZaO/aVwnnq5sEG6FMV4
1l9nrATjJsu5dJycyW6R9nG8VgO5GtGux2Hzgnr7WAZomdmXo6jsCO9m0r5xSx+uHROpYx6pgJKg
vKTjTvnIbVdWQ7G0GVX22iTGV5nEd0+I9zrNDi2KwJVf+TdbBj92jKB0TNMfo4wfI/TvVocdb3Lq
L98HLyEpNvPGMnfhWOrTUFWf0pwRkAoWnnm4c0r5XKI4HKhxOpJQUHusgSDDEvecv27u3NGjIvsn
3TRuODe6EvWek0QZZp4xeUoZJZ9MCPPhU90EefLSatR+dP+0MQ3EBt33f4IC3wZevjjZ6Ta0d03k
1xTkAuNJwtaSTSCSN9ASZJMEUAyAJkSU/ohXIzicPoM5J9D1y8gY5Fb47LK2je8sE3NARHiDSrcJ
tlZSftCTr7CYiLpTB94H09xJUR5EwnrcZeG3m+vKZFRYZz+VP0ANBm8VYCJxgFYNDvKH8rXEMKFV
tJ0B6G4dtaiOzT0DQbfxcbsoNwxPqP1tVDu7hquOHkiT2p0UFk7Z2C1PHjSEVe3k2KNNmAqSxS8s
2EbhjTbzCFkpjP151Y7tN05Q5I9ej5dd/lhmQ15EMgVPTpmyBQ16ONvkADX7yC5RN6WCFeKqNrP4
7FW6+kG6W+N6G+Ns2C0CrWJtD8w11rkSbnpwsI307KyqAcd2oPxd3NvmufXshA20O+CEY//Atjbd
hHM9/hvSDM9GS3s5TepU06wAI1uDqvG3Toj4AC1FfIMcd+infDgoweBwxz3I5jBjxfpR5YF1c0BE
ZsxLl56Lwg/wxtoFelYMatuRNnvEInsAqsUCIlSfvoqZbhZHd4bCha/W9JlxdJTtkHlL/zjXxAf2
9kwexMhepHJdeDZAejOVX7NRZ5suUO8YgfagJWmgrJppke4+07p9m+wxPPBbjsUg9qaTbzw423QK
UHTiukeBnGlKR2fWMJYRCa8iDjR8oz1zDLwgRix+u6qtP+I5FsBWUv8YLXpryY6qQAaWgOMNymQX
h870ou35oOPE/a3acvrKwr59A7ha/JpDN15pqapbMcN16Kxqg/rIX7Uyo/+Kr2V3nMbplfW2orJt
WAsY3WmyjnmMbV8SmMZyKjo5vIPbiJgitU3N3DnEHVEpaRH8seMmT7barv2niI/6jqgqSXcWxSAC
BEoZK44fwAehgjVqclWck8Fn1LePBQktcQ3GvliPS+xANhgGupIOa/R2ylz7WGZhdapdj+Z0HM5Q
mNZpN+xCU28tTiASI3iU+FfPzGFViYaMdt0CaNvTQuTCZh9EJ+cWZM3ohvVX34jiQJxuYZCzVOAz
xgIt3KML5y1YO9osjtM0hqR8YC5OfRR/0OMPoU8t6V6V5Z3wwt28sXyRLr3pCOLwz2T16hX9o3ou
vBKP7+xaD4mHjJ2XgLiSmNEIP9XcthhwdNVVp6mYoA9ioPcuHXQ3pu5TYdztHDXjSD2jWPJzO++h
umKray00SfU/BH0UBWI4CeQv9uIZYf4WEQlYq88YA5wr52OcfiDhZGCseDMBSgVMK+PpNfQhBJhA
GlMEFax64r9TOF0g6n4wQqVrMv/QLH27dmJcc930K12bzEltvXENn4uZKHWhoVm7YxieMU1F/d5I
vWeor/I8FBbblXcrq0HqVztPEOw9lzDaCfWJAKNO00/DfoWNmyFEx65pASawKFUT9lU/Y77upwW5
XwgwLLjlD0j2YMCgLAw+kY1eG5U+ee0uiTt7b0NsUj3rCd0dyCt2d50/jXfAGNX74OPBBov9PhXC
2c7SStZELpjExkSIOhjN5mP/0WUPk/b/2ANTUiyOF+JW8XTrexBWkpAXq7zZxbdpOoLck0DWb1La
4mRXk3Orp2q+8s8mKUd7+QVOr1gJNcOTCR2bPK9urh5BWkxHDP84NCmP5rTW9mr2iOZydJH+TZtQ
/WPAnB9S1/DwIXntvZXRfBhE67IjGNVljvzoEC1YnjgU3oFLgBagEiljqMwtv5q4LBDozortZZh2
FSB+mKv0/HUUAQYCfwS2wzlly8FJL7NGPWzZO8eD7HAEEQ0Gg535IlLsG3mzwUoypIysknqQu45r
Nur+GhRy/2vqM0YiHQVj0GXJm4tf+LNtJ+MpcADdlDqCLjHDDBKkZAQinJ5QQSWP8LqnDyTg4tlw
MnxNEwuM6ZCbqfVj5q548ufcfsNHxmS4SOp/RhKYr3zCxr0O6gTBb5Ur1FHjGBdrxRVxIKiJS93z
Deat7BvxbPVxXtH9mKaY1y6KnR9SKKJw30AzR7VZFXgHff0si9J75dHOXzTghFdYeGSsGVWO+Tfu
LD5CZh/RhxBuKdZuQYIDHvz2KjlLXwqzWVrT2lm+P/A6HKq0/g2qfiu5AvlEr2iUDcEUCK+GKPLv
rdvar5CcYKGPcWIDZ6atXqe0SUyiku3kDBgpa7+omOTiTViltkDHatUY2bOfNvJ+ytL5Ics3p+5J
jVPpMoa3ijj+6lMz/aKrk8d5lsYhMEV64DJvmT2O+t6bFc4a5DvFNYqLJlrCjkruiNEH7RiX88Zz
XnIYgLSy1KXUqvG3UeG6PeRUUAXdm5eiuVt24knD5Eu7NIhd13MrYBR6oENGXjV3+ZuThk2H9MJq
v6uauybAzDOuK7+bna2GmdrYxXCnjSO9JHYXPDO+naD40piNs7iO7u0ows8y1z3ZJWEovsMsqDjp
cT6enaKP9lPCNNoYCuMl0UO8GOvDruVYi9TDUBrZHVEAQWmRg3CiSjK59ZM6O6REJTDgZ33Ng8SE
oSo9kCJGcB7VjIPfo6FoCBYbz20787QLG0BbHoiYxE8TqwtlG726ZX/V2GfvU9a/EPpg8ZszwZlU
LMdqF5UASArTZ4Iq5huC6oYCpxV9fyRoOWWyB6bZYppt1Hw1ZFXvVGfqvVJxjujc5uA1G2V+1lHC
vE/anveEpFju3TgL/ga25NeZcGbJaeJrZavC7qucw83oaLGJ+irdwz93PnGjPg4D1SULJb2KpYFh
ueLIHGYv3JdYbS18kvvYML8iNvpYy5t3XhVS3lpqWayHW3vEVkcPWTIkCARDbJ+vJ3HQWpidb36i
XEB95eZILipyGo6lKuS9QXxtHvHQ01RPRnGqgSsY2vde5xblj+qZx2g7+nVTMuiisPlyFy5g1aCN
kRQ7mglk7aHr8C2shSKBPLmTozQJkCIhJY0f2kzjb0rKXypa2bPaj83PHjPBqwsR49QGA58Ea3CG
aT5sotl4ia1RUzHW6jgNLVr9PgXL6PQkms2IgbnZUo8vg6eUojD2XwtMMdROoalIOhrDxynIHl38
XvZA+xmV0aUmhCpBbBMF6Y9fOTcyIM2jl6KvQ6RFvxFHf0wn3hjBv8gbzaOM+3s8ww6z/f7St4gJ
I9ZsHDjFOca60dufBVOoLrfLh1BUzJGHBtQWO4pu2HSJ8Feda4q146il+E1fFSqHSYA8lWa0odG/
D+Z0SAnXpR/k1k/yf9VEEuNgW5x4prP3enGxWTaUqGxpGWgtc0RYptPY7OjkoUzFOWUK7iyiTYAV
C4hQoYf4TWyiXuuufNJOQ+83DVxCumgsEt68dL74dTt+4LuWTw1o8LvA9iC4bUr/tTatAo9DDE5C
VlZV7YrADS5TWIy3xrnK5hS0RkdNyDz7YHhRTOpI+mkH8IF6lNayy862Jiaw66o3BwoW8WaoYwot
IDDScCCcKZgjOtW/0XLxGmknKCisC2QZcXqo2b2ObOC6/ORzpXO+VMGh0uo9tPXNa/9N/lmNs7OO
LfbEPpvN2Hauw9hekX3vswDWMRHu1Zlh7zqlLmzQKKQh4NcmeYqMkHgKUEA35UbFloyveAUkY0mC
4+MOA3RmsBzrvaOjfhXiCQtyhJ4NrF5oQzz5uwTigctOzkNrLCfRECFVdRSlvsQNb6yI7WSwBmsp
b79Mg5lnkfxhKEbjL358SBcFS6/yoepF945HLNzIhhqi4QsSa3hqoB/R1zlM1RrEOHumGU9BrCSg
FI9B48BZf6lzmOuuIbZ5h9taBt2l9nOAq8ZgbfA2bfvuajLYMtJ3pNKrIB1/07T7djzM49UkdgOn
6ns1N8HdcyrjWXRhjiSleSUbexcJn/VOQaQgkXorV1LIb2KLb8eaUOkZZrLW3RuUGcMTeF1Im1Aj
cuOAu7RXcjubwTpFt71rpCT3OpakXfpo6uwYc23GAnHYeZIStJK+cxOJsTNcPBfsMsllomNNkj1G
sF1AXtu3yPTJdBBbDZjtSqbA7AlC3R6Rty99c7/OoieXJYWoHqb5lHflI/DoGjFuPhDleq7RUF4h
F6YnHud9lX1WSVLcmA4X7xGCnXJ6Bg8TItjhKzOr7MGvdAMFoXHnRb8+vHMjvKn2u7ED/4E9kX7I
qADxDot0lwboqnNzCbVQfnKdOsv8hRIfP6IMh5gHOledzAKx+2YuqvY85z4SaGlJ8c1kD3Mr2bCK
QtFu7oW2yHkpAzY4pIy1QPMr9ikqCz9jWOFzH6aXZirZzsutaN66QJBq8zawK506qsIwSIYD1k9Q
muEPg2n7mpAYBfmcgzvAh6fmjzAfLo6PZT9pT3WK4ElakNQa+dP1F9I5kueBWjRfxWh+ZvM6LuDw
MtgWCX9QbLz6NTSbLXSCjRn875c6NU0Yn7ALymNvyPli0ISuCTepecTLBapHq+qNFkFUhjDPtZ4F
/zFsJWSQ2k3xgYkmuAmknD7d393Kne/czfW2LFgaUhA43Bmm6yvwJeiGwoyTxaPeMqZwXTjNxi+9
eO8IS1+dvL2YDPYstNVwncWb4j1MveQqQ2tEYDbZ85UQdyxNzRl2OAFQF4aO2cFN1LnnN8jYuPQz
nFgzRXXCypY52CZg6mD6DKZmqHQzBjwM82b/KBrQivYOPDpvaH9sBaGsNMdsksBVbUzpA6RAbNtj
ZwbWzkQItOyDsrMdk59H4p2HlSn0n1qQ3tuHDjRYDdi6Zs/WR2l2UkUQMGa3VXB37aF/9DlZ2HIV
LDL4n3sfbZtiShQec91+3I9hUV4wiKhlG1ESctPuzT65hfH47E6J9xIz+1wWI8t4gtmEmdlolyyt
1TMnP4lUXX3B7tNt7UZidkQ4Gv3xu8p7x8DhFFu0FLa7YdfZ34cQnDbrAPnZRaSTGAx79KqxiCk2
W/8fLgpK14qXAMVKW/odB5tQu8QS7r8888ZvgsVANDZDeHaXzZPlLMY6t2zHH3ZAe08piKOLYz1o
X+x0AM8XhUXxPJodP5QLnR0Hy2eUuoK/U5bIjKVzTkoiEMfRsB8gcA0fzTyNv0So+NtuMjbpQI6B
zMJbm9bxOrDJxkUSObXFue/qFJ9CH17AkqHy7oO/FcuKnyZFxGL0coKQ0wzHwodZvrKrgMHF3J/Y
LIGWvFV+z8GT+D2a+mkJllKBNg5RtBAtsyYfPrDyHmezZiAjw7sfOQbl5XhzZoxjWz4xzttIKIIB
YiQKUXUo9dTtzHAIDzrw9sqPUE8iQA9f0OrRi/uxCkh3Dv+qjBt0ttECBBY206LuchSrtZzWltmi
bXJzMZ59/vGnCY7Smf8CntWMjUkrdx1ZstdCCdapPSIpApnDMv8K7FZwQy9qK72srXtWDakukWPz
4qBrU8KH4eMITZ0ASah0H6vlt2i28Gbjv4waT7bTmhSF3KaVxssjZL1ydK6fhWmQSkd9exXaYZmk
kZHHGqmQJXdMBh7nGYOLGIwIZaeDq9o0m03PIHJHitsym7HqQVx7qGoN3EzFcdNx7xjxLjCfusk9
GCb/yjkSq36M95ITkaQCJCJoQrsNhGGjPurItrxNOcFtZ6uDjqUE5XiM2hQ1WeM4zwnNF/bKhncu
LC6+UXCxJjl6GVkWyZGvcHqY6/hOk4f+tD7XdvpScaOtvDI7E5vZrBx/Wa4CJ1nV7E7egx50psPe
b8D1BOhgPrgTSPzSaVFK8/geQz8/RNDtMzb7uW9LxMPpEdpDBHQVkhFSyDUzBIJca74KLYdrW1i8
HhQKs8V5AZrwr2dXDyP0Am3bm6qoH9yQn070YfbXqOVf/PLlQ6PtC9avbk3ddXayCvbsGJxGycuP
6v6cCvI+uYzZ2qDcnE4Nt1WZI0JutLgDYva/PZT6bpX+1Pa9q+2rZcnycZiKTRy6XbyZY39AB/Ye
lh4ej4bo6SkiaR3JDXi0tVJHYjTGbT8SGEv4RcRoL7jEftXE5JAXMY5PKmteMh6GSSRqO4QIIVtd
vDE2QAHmsSDKZm2eRpZUVuK+RTC3XvtOfVrYghab6kTksaJb8OqrFVs7QVBdbvtrzNIsEupsO7QG
Y7qjzc6WSi1inKyaEi1Vt65NN9s4iFa4vXpbA6jowlvnAzNZzUXP0sg2L11Ck1UQZougBjeeYze/
ZTDxHsQ8fHMbOHgkGZZt7WwJHa519hWLXh5zY+w1eonmr+f8AkhmEEZUpGTJiIh4XQceYp6c8srY
DJi5ohqzjFOk5NkvaxQ3v7VuJT6GQJvvKiquY8d2ulYi6BASQUXjCuwXLQh/YKj4pjz01CGw07Vl
uy+2doaLro8UOhuPWPZtydcLacJv97njElQykyNdBDOCLeViRh8FEJOpMpxNBbXjOOsw30KEMj8L
bzA+nTl7Dgm0a7dAaeNj2ZPqrBNxbLriMnuG9+RhfYfzfbWYNLGEtDExkTPurlgM6I/cTFZmUSMU
JRvJcCbSMgcHNQc+kN6YAcGjDxmEokf2NGinhUssBJDCkBFEW6F4MOVZkMa+m5v85MTdZ1eEWySf
m0Ql3t4lGpKUzWFkawwgJ8txbzN6IuZZfcRDM+3DhVsLNHy9bDlcbivm4hfkhgRqYr9ifNPHp3yI
dobEqjMYlr+PG+PIx/wYydd+kjjL9T5N24+5Vf0HY3HnT2u0/KSJ7wa/IgvTJ7YMSBxJrIHoor33
rnMnvIMpUAq/gPXTnHFO/XRxj2BWpQS51kI9BdG8E56AFjL43R9I2/3PXMUW0x8cS0NyA/QfIhie
gC1Hz2JiMB6R1w3ox4z2qWEzu80JGNqrYl446wasJEVsfAb8wBrcm6fNXdpNx3LZpdS5huQTqPgg
G4q6Mbfj50Dljx61LmOIBJkm6XBhql9Tdznu0Jwoqh5TvkmyhA6sVAlyLNRR5fpNuzCNQQ4VauVa
2SXw82ubqvgmdPYa9/IbY9BnhYyOqKMEWV5oB3zXMogAImULnxGyeTossQEUtNRrjGasFj2mdvK3
OHdqEmujKn9tLRG9FZYpvkQ/kP0CRUGP1sruREFUX7WxTT6KApA7yXGmsfbIzViPDlLXNBTHODAX
32ixJROtgzTU9y/aLT89doKgpnIC1nXboklTjxbPOSZKl0vSSMP2wY/ii9mR10jAJYXBIILHdGgZ
IrNOhW4lT3Phcc3LY4dl9bhYgx8oOxB+a5s0LpNUdJPkbbc7GAhsdz3EBfRVIuSzhAkwWOjWnbKs
qBz8niGC7a6DtPgZ8/BC+ktORB03UDA+GyNrV6uy4XMq8RqxFmbL9NHXFu6YrPTRDtnflIur1MqJ
Z5wJyASg6Te8/rLDrxFBAW0TBsp0ZSWtXUtct7CZyvsVBRNtrEUi6tBhAWRrzpO0QRX7MPq1RgFq
ZAfLHm723H0bI1V+mRnNIcRzsLZ4/3cQ71zQ2Eb4HHeIM0cfFS7Q2HmhaGM3THKDFAo7e4P9cOsY
dnesr8qJLYGR3QhR2JQxav+WlcET+6NTkxJt5bN9UmWMfEGn//wx/ImaDCZZQXBF8I9UlWU3hUHR
0fERIH55m9rcfmrTcNinQwf9ajLgtsIi79jPtHWPNGwQWIp4sz9coOijaD5HJ3uPbcvf6oldjdu7
f8NGftqx1NthcIZ9AuKl7dyKtxTzaOvHzi4k7wqksG1xkKEHBf5RvKihPraWfmS5uLQGn0z8Tg74
LrZ9ydXgSWa0if2JWyGZJWd46O9UPNwq+hzO9sjdTaoLViL8biYbFoZfP2RafXneCIEqorKhZe33
jjvNK3tyq9tMDM7IpJXMRA8btv3gVSitve+Sh+zQyB35M+7Ob/rntBTTgsQEA93+ZPlEb9q+JdUC
73QOttk8i+UAitr3ycu/09IJVlWTvOSBeWvUNOCgZewBiJcp1Qglrd6hya+Yo5Wn2Y0A/KQMIooZ
YghWk+7oVLdxKjvK+U9+1eIjVR++5xzciEgBkjdLunUvIsXMw3u9agbtfrS4jmGrVIcRlTWTE176
hzyLPno9Bqs8tK992GQwSVjelxhMc2ZOLZqIGe6OxgTCpO7ottd0QOqgcl7xIeh/Sk0UkiJXS5aw
AsfI7q7zBFSEJ8C2SVd2Soux9BRQjlMiaRJo043lss9JLHaFXeIjOOx6232VQplPQ0InpixUAmWW
vpKmegPu8h47l7jJtrWJsXNq4NOFf9jjuHiPmY7iezFYeWr5YQ28J3UXJqxrrL46YuqHLiPmS2sQ
jaGlT56XUo+wh2Ehw0zaEy+EgXkmos7oMdUH7j2C4egN0a3X4s3q8UE1UHq83rprmF4srvsMuS4K
lo9lL2UunMqK6CCu+gRzbvQ3SMynfDDWBqtYzlqOBDoEfHkafDkSwHM3RMcei32NnmWaEs41iVqV
RQZ/vWP1D26q9yWCWtOikkiiSztZ72FsQedlRuEaDFIILthivN8Xbv1RERNjQwQmNMO8SDwdKz3C
vraZiR5tDdMFzIE1B2AJuAQw58Dx6PlLK9ea2w0d0RPGNZBYW/bMzHKKc8ghvjQOGpM9FTc7awvS
3ArZ0LbuuxeszK9jI2ng81eRZsQd+NkxVvz7LbomfOzPY2hdHMO+IxZDvDcSFVWuUW+PapV2nv0R
MEgEcURqQAm2JiT3F9f/KzbPH9mYr0yGNlZaY4ytnnpaLptDFD+AaesLE2Ce4Db9A7fcXV4MF6TM
MKClEm03/lZDx6AhNvTfAt2IU4cUeszbIFGJOLgCfgGiN/5AasEHJuAFIRBTySfg0FXC4iRgoD4K
zMWNE1PVm/KZ0epqmB7ZWe+dIX+SbbJJ45owFVho5zaZ77NqzRMW7/6zMn3vAr3ktW4LZEwN9pqW
FQQBeZQ3TLNKsIejXCuzbJ8932ouTLyHTT78ERVV7dgH090kR4R9xTlCnsKQh+bmLZ6qc9EALfeC
gpuWtZmeTI4cEb+D/ULKR4MEfhJ9M8HiNT8ouj0rGz5G2/yHXn9aq5pJGWb/DT5PvgqP2DaSbMTw
H0fnsRw5rgXRL2IESQA02/JV8ral2TDUaokELUBPfv079ZYTM90jVdFc3Mw8+eHJgQabIqw0TsPs
uh64LydDpwvAiGPkUxotW2gU4xbZpdz3mt0vLnZdEpFIBpb6Stj71uXOg62yi8P8fm59TZ2t7ORJ
O/eawqcbiEevjgeicVyl/Zd1Iny5AoNINyjclIUEC8+ZNQQ25zuMYI5PXA03KH76NhFbgU9m0xrk
TdujqFkClx4efmQTVPYFd+288J7DtILjNAJ50L0jFWDRFUFGz8g1n8lxf0Tz2ML2vJtt/bM4LOoD
BX6iBX0/pBxJmXOpEO/lu9bhYWpXl85CPZI2iWc4tAI+MRyiaT6ya5ePRRWV70QWHpA3PxbqLbar
BKyyUa6+kKpn4lXqAlUQM3053zIwo27MFFREB5kGjyrInyM2LvGsbwc3eEgEovhi0vAgy6gGrhAE
PraClfbv0I0W6DSqAe9qqeEGbNbLRxhDGXSRqflqZP+ci65/DwuF+aNU535U7ZOP4gWayiUVPUQ0
SOKnm8p/IY2h7Bt6s+PRj2tmCQMgZjR7t8OgH9E4nWehGcFXzBmvjfDrZuuzb9t1srpn00SdrtMk
n94EJL/MMoewbvlaKuGI41jp5KaLwvHRI7J4Fqt8UeOCHzzexpCJFC3muGFJnsI/je85h2usSgvS
ESJTi66FqHwXgGmhvfDeDwkJx1PE2qaIm+3qUZQbr4xcGtA0CjoWJfmyOHF2Ik0T3XZrOVdsrdn+
td1wv6yzBpu7dtu+hfGKEpKeZlwgZbBGwCfHryn6cDiTuCBy2Ffo4OAvjBRcO+3eaZ1bZXy3Y6jn
4zWSh1MUdAJufhmRe2F9x9DMXslcwO8MFzZ9PzQ+r9s1LwBedDRTNorshOgUoSHL5WhDlqGFlq9u
nTwUBvpwBfmppY/9lqMCjamccAKE/CLBhIgZHE0NUekrH5EQYVXT/+gv/odsdHGcl4GzdJbaQ9M2
1DV0CjqEU0bJZ5AvD6w1ym2bLs4xcNUlHcnUsrwZJz5nVkagZFsP9XR26bOsyUm027KANr/ekOF4
92L7DP5pbrZwwPxT5o1QB01Z34fKm94cEnS8tvzX9coiLbSRf6bFDy8mYC5v5wbasYE7M6MizLJ+
V5V8wq7xSCXGYfUpFb0euPnvHDozKNUdawZxmjSiHYmsvzY6tPYzcQUGubIlDx9qXLfRDQUG/nPT
RFjw6JXlgDTfAsntLgYe8gf8kT9YKDXPkuAGXMEluh72F5O5Py6u/nCVs9kEypIFwnKUXbEjBdvR
DzSZw9i4h6JGBOJE/alh0ONnzzD4k1ff2KX4cXrJlVZM9zPPHN5MbF+3KR26PHHhc/f8fA9Z819s
5YfDU0ANS/ht4oGSEdDId6lPEjbkejyOhihyEkTn2i+yW5Bs6U0bz/8FwtYnWDA80FvYJDobQqJu
+msOWTk1gUfhCuz/R6/Wyeu69uQblS93CRrcWUdVr4A1FxgQifaeKS/Dc+TL6BmMZvEek5EJNmUT
gEBKlY+vtc9m2Mrw2ljLzWJfpfTf7eYhfFrSqvy3qtl77rOa/i/lJpR/BTzfdSrTQ+sGOFbVukK+
bDlobTD61l+8RCH8ufUyPTrjtNwObYnoarvQoWIqTMERYRN8ixpDX+LYpAqLqVp/J19H9pGfSj+A
s2t/g5Cl6bELmgIGpizI2QaqQq6zc0JsemLLb7cEI5cfHRXwJpq6FP+Zxm+4K1WP47kE2GCo2vzb
VR2exL4lKh0u4Oc0rm/K4GHSMipVpBjyIvwekfF3qx8Vf9H/2Gjn+RQyVzZD3R6zefRf6hAiConl
en5HCsvuqIQOPpc1VG/TCAOFJ0RNaJWAFk+LIV1vJDa9EmiM+8ripLlkGW7ELh71tKH0e3pIGG/h
nQvDkI1uQId3FhDXP2ZFOrCtcSTklcl5YaDv34skGPByhPOFYTginiQFyniQFAX6kKy/VDflRxjQ
GedA9PAeH+cxap2EUmcQMcxR9RlTZ7lfKtHu4uL66iEkaB6pPMB85erqD3uVbI9bX9KVNmMGsBXE
JI4hd+yfg50suu4cr7X/WnNoCa7tvbHfy3+FJ9ph0xZd+B8I33SLGx0aXTjJXTRny3veN8N7PLMz
lOgflypwwaU4xYuX9d5Rz4F6xVQS3MSiaSmYAABFhkvQG02qpRZzapn9x/bWC8ACIn3i1gk5KtIo
wy7kEuNAPEeFE18qcBrDk6LFCuN/SRkr6PIbQwoOExrtWDzXcNotwAKuXWyG1//o1uJWlYsmDCYd
+QO9SNgdtxgZ5oUHZhfhj9l4pqO6GSlz2iy2J23f618n8csDVWXQMADUbqeiI2lIH9SNVRo3eiLz
p5IGINYGV/ZjyrCCxf2aNZ/dTUW1qeeVwZN1Z1LZyRpOcLFHgyueXqF9udDVktsu4O82PmtSdNCP
jND/JZkrsCIdBtFrA0X71oIApFGWOBtcvOo3x01gMHZDoNnACF+PM39q5zcB6UA5s4BQvsd0RWrG
hKDgeUhV0RbC8nCsxql4Wmiz2XW2bZ4HYUkCFV5OIrQRmjSEY8ncjn35GMe4ooo0Bjnmr5Ro+i6g
Vaq82dAgl8xtwhWb49J0w5l6ttjYm0R22SnMSWGlfAn7OI0ML9wG6zT95P7MjFAnB6C0BURkUr5T
JD58vEEHcmpsWCjWoZ29QVAkyLfjMBixnzL2XeZ4kgeYPoem6aM9WAw8E6PkEu/hSLgea8+K99Et
6w6Bh4LLdDClfZ2gL7w0ReD+QiflGbbCCtw3zjrs4EicDUuCZbM68GCGwL52wgfR47YQraohYOu9
RIdMUQpVx7i4SJNCAhYgddPZjoeskgVWtDWI3tAiIZU389NQ2vyRXRvUGqwv94W0xXvgT/NLggp2
wOeDyF2bZD+NotzVgFVJAGsPpKArKIMbeJEz+fxNGsy0OLvQKrxW4zd1Fjd8qvq+e3ACWPE+U8oW
lvl9TlsvDlHJ9n4gUP3BM928ZWA0d0SmX5Mc/S9Mirsk8rlKZExCJO7+esQdtmHltOcQmsTeqIKX
vtFclhqLJkdAFAXF88Fd7xwJQiYmm761juw/XCO6PahZe27TOYN5VrD3AZByzlW0vjbK5EfKGe+n
Wvg/LYv/P/28dseJ/CPuCn+kj2r0nEcELsICRdc+pB2VsLC3/hBVDzFKU0zfavevGgibg+wnFb3G
7U/k13/xTZ293s57P69cHPsJBuwInVhHhuRmXKiT32NuUYYzNzlBEDAdtvKYRA5WF8x7rRA3QDWB
hjDO3kMIR4spnKiIDhTmvHlNILCP6uXc4aRnYxvngEndDHsL4WVATx+Z9qz7gHaIIVf7vtpnk/X+
zD2rxmalJm2kV+0poSnq4oBtRrMK622vfbtXkzkaQXi5q9zkzrHe/+2/SckZs4gPGTHXmXWeeKzH
Bn1akvzR/N+p7ibX5K6SAiw7rRdF+BojEcD90m+ecRSIuxAgws/V9EB1rZe+DmnPuWe03zCsvfeq
AsPtan0fkOG/jeFQsze/dgUWxUeg/D8+B4+vlSPK2a7DA+V55psbGSZY6C+7YmTuXANPHHUSO8yG
Pg320kl2bcRWIPOjZxcmJfM+EcqzG2PqkQNtHENBTKH1cbL2ST7EN3OKdX/NQGqnOBxOi02Co4H8
uAnVtLKXy96F34+btJkn1kFV8+Th/HzKXYAEQ5ql90ldNSfbGA0bVppdQMPGgSYkgOjpPIg9fJAQ
Xlztv1WwhxsiLrk5uGDavE0XC/enwEq3DVi54WCss21Nb/vFceRtTfvBg1DE0j2ErEtvKc1LwjJ/
99rBPercjL85xo4dh2j4TyE6elN452mmolRFKP/Y0himSwCbRyCS874iYnCsQehzoY28P0bp3CBx
/GN40D9VM8idHiAWZ7mE+m4zHj70gGFjjCP4edm1Fk64WIdoef3/Nt5eJeUaHA9mwjWh4LbJQCLA
Fbx61UbvKTTkCpn0qSdirQ8cgXt8QE44KiqlIm+o3z2rRo5bARChCfPkf9BzDNlB2d+JnIhiVroP
Ak37Vqf9dylcn3IqUoem6+Ybo7UkgqHymbbwjqze6PmPk5yHL72U0c4quHdT0wuMybJrT2nv2ov0
J+ejc1kiHNOAsDNJdgPvmUJ63GwqDH9bSUKBTsUcoBtWBV0t7dXhHOLIKgHmUxhfHMcusO9ZpsW+
jJW7l7U73QdugyVKBT53ub+qHfVKC33wlHH1p5Ba2QOxOmDOZJRJl5MmxUtiEspvzAt0S/9vIXDS
+Oxt3wBbmN3KBfyvXGJ9ly5KUpxUVXTXdO0Nnda8+kpIFMAZNN7C8PoFPPV+mle3WrMWpmnI0EsI
veI7bBoD3lHVB8BBGKlztk48f9US32ZTSQzL7wl78gYabkJc/sdBVO4jU/60j0M2Y202y/tsWX+8
0XSkXoGFiW7i4DWEZc2hmm0JJ8j6VSHmQm4M1dMKYORSu6QMt0mrxteZRrUN1ZvIvw2z/l/hlxE7
EDidx26qvLsEo9OJnj5Q7HUlPoxFZh1EEeAunKcv3JbZHVRg0uZl/ZlOFqIPq9PRanG7dK1+c4uq
Obgue17JIooP19TsbrtwN67Z8kRVs0uyG49C4KFSCU6aWeJUrwQK6ocEMegBjegxm4jBb7DfHRPS
2ne4DEAuGJ/wD/5qwkTwVplDaKuSEFKfZLLmR5lVqHA0daeXsF4dlOgw97boyaA5/Sn9HKZpuEiV
rWfH5OQJPYx6SHbnRctyb/VQvWEdzp7rmeOSCHpsrqlLdEsWYxYhogZfOMQK8uR9/jQY015CD4JP
gSsVN2aq97SSBOC3kKWoAq0f/A6DGffDSWKoOvbJwCI8dtURP3XJb95F9wNkMTYhFOzsVN+rJ8I0
JCNpGuJ5R6vbSA3sswr9nxzD2D71nI81p8ZWYHw/Eoh4MB3hX2xUn0Ek5POytMUNGn5xM8mFNdgU
6/28iuQtxYXyHhiS1qxR3sRceRRi5P1jGikqgwiJ74wfui+K0NeNGa16TChe8JnNnOIfl1zw6yNi
b1tnLHejr+m59TkxD936lxgzrnA7/WnwgEGmQIBtEl6ceNAwa1RqAtROdi/Ws4Dwhjso3qT+Nf8c
pTQgyfiRxtyWz5Q5lD1l1b2yWQcSMZZE0bYjRSmbDDVxz9fHPrCyr5HPsn9EvPmvHCEsZQ4CCfqZ
95wX6R01h+4Dx4b+0aPu7HutPJXu9ZC0t+WkohP5OMqetTMcMQ1NRwjiySN6ZHvH5PYlh+y1VUG1
j93orvHMNc4FSdoO1bJtgSxt55yi9ZmIwiYioXzvBs0toAk2tyo1/bO2xPPQMyZxQXIVPwkvvX3r
h9WBbuxjPw/mpo4Gtm6XtnI8GjQ6DIt086x3Y2W5bEQ4EJdoJc/TQO46rx8ee99bbnlruvRhklaJ
uCmpaCpSdTUMZy+RX4E/QPtklcx2etegJB3ThRNqhFOHpL7tWXQqnH3Kiy8ckePtMmEJrz02b1Hf
sftk0vpr60YCzBUeQeJ03mfNwr4vSQEODHC5/pFnJkK3xtM2na+SlfJ+rWAuFwRJtqOtcAMlPdSb
imvGi5PV2Wj0uk0oHHSIqA0zDHaYQPDz52dVajqC8/BApmnc5d3cI3EO4XZc7JOKseEz2HlUYQsW
pNRLweNZ1ieCf/JIScjw2bGwASPHn2WlU8pLUCJVttI13j6aBpp8BXreri1cClxgoh5D38eMPSyO
s3Nm/rlxXfFjq9A3B1QH8Y+CroD7ATPJth+NOFdiGV8TE3g4uMcJU98KiK3shel3o1Oq5ygPzGNU
EPyk7gozefwaSDlfbFCbH5F3ggaHcio2tgXiMKdx8MTEqI+JB7Sq6uH6HzVJDvbg65WmMhWPjijo
zvY9FnKODUdwz9RW09TKXgjhYD0XkQu4EUDzxgzTeFIuw6CeW8UETxIHZHN7ZMJId55au1MnVHIM
04QRTo8eM9/YbE3VqDvPY3wDTpQDEM6mb4A1nHlbPgNia7gXSzqII9Rdcppdc0y7On2PxuCtj+lX
oeSHuEdCkXmQMEI6VR0C6pv+tGAOD5mlL8L0sEkDXbn7boLCNvj0VxY9ZLuokfCxWirfw8F7Fxni
XZ8IvEJxCvjSTYDktBj+dxS90cC4OPN3Lw0tQFSlbfiK+Hk0Cf2tcbBC4vj2sUZ2cd9/VEVvb+io
pUVc8ULeJMWqXw3NWAepnfGzbLppa2UbPAatyd9ykSfnCiDiJcct8NTG8NKEc61ZzUltOCWGSjxK
V593CKQKeZHoxegJoJ/WnW6DvIv/2tIh1TG0mloAL3wNqfjC8yPSwxJPCEQqZwjXEBDZBDqiusXW
AdavbkDfjj2GyzCGs6S8zB6zNeNV5g1zcwqF6FmSzEXknOKcxt4NGaQaUhvS65btD9T+otHugT2N
+SmUdXFoeN1XEM5ztZu0N39UqeZ4n1OxVgprvutxim6GIOhe0tn43AjoGJsymBSJBZJkFvP9jUEt
OKk8ra4R+oCxsqpPpW4X2pTjfoK1QBEn+Lgk+0F/0w95LNKPZiqw3oxOVe1FRoq/rBPaPsikeQ99
xSTMAqyhZ7bqg2FH9rR+AaRvnuKAmvdrof3yQXCnemgncippHEVvDrfkd0R7SnQUQZQ9jKCwz40u
J0g1tct2X2YsrxdgvEeNj+SLe6+zpwBcl6WeNU2OOfLytJVgj2n90slCIZGXXpkvDmeL0C3ozqA/
jIZ4uA6Uz0VU3FPJifN9r2GpjOz9Vh3+JdOjkrdoFeoDb1ac4SUq5vipJLvZ7VMQ7XLTrXF2D6sw
vWOxHIT7RhaEAzxn/XLdpfoMZpvd8YLHQj8nhkUzhBswZnBocVmEEep6ZqP72ACTaAfRlb8JDCSz
ddul/ZP6dV/uUt3D7CSqiHXAG+1XRy3Z3yUHrL8HBbg8VEHUrZuS9Xx/t5Z8rvuil+mD9OOa9FLK
LAYSi6b3bTQEy1etyNKvaxLdyuvCIemBYvHUnpKLiUTGtndwY8VrwuYpOfdmyLdO3YUv06LCeDON
lQshiNhOjc7uTOrgzwrgVxvG9BXS/WwIOohc4BsL2ddenSb2JgsQRjZMDuop89k23TltH/1zga5l
DFu0SgEnnatPF5PjlbASJe6ejQ/jWsi32+zLaOn/KzPVAcmOk5/GttdmvYiCsO2VvgFreahH/zLg
Jk+o+4Y4w13UuR+6ma7O1N77am02/bSicR4nONJXGF/BZepMa383gUm5TFmafQMnVH/ZeYZ/are6
7rXqxELMIKv/sUxZ85slRIs2vrkqZmkPHmpcu+zqnRHxjZdSd7vx+s5/psRdEdTlviCUNqIr+sEQ
ZYQha78DoditgMM6OTbnwGuqS6O9Fe23WOf3sYyYovh7cOBwLiULRWFPCV8mG4kIjobdk45SUttl
MacsyqZ4BuTupHV01yu3QARGWA/NjUPD5V0kZQBFE2H+IUIfbh7d2vpYeCkIeJnLxruodu73xZB1
AXAFmkC2LCSLeN+Iqce7baN8383WPHTxmhxF7/jz0zJ05W3Jj/OzdLQewaDzXMKP1aBY6NTQnWzv
UvcZ1otzqhBNa5IctmbDb0wZnLPUxA+rPyPaUd1e7GioxGI/xNfV22DbFlhAHq0c4Co/C57LQK7f
fZ8PJ5xJHSSTpaqfCVw5/zlNRR96G/X6BhMpXkFFG2d3Wiat3wPY8vC2htE+TTZNf/K1KIuThOZA
+HeucwRS03JVc527J+is4UM14rvqfSUuUJDTp2ZdgSX5bo0LCctBMG5roprpxVvQMU8g8cfXGsUX
pDSIDbjAuEr5kt2rB3yO3BYobMC5iP6nIToFWrMsjtnSIKaFsXpix8eT1vQ00G3CrF4fXAJ+3abh
XZQcZjGjpTSyieqbUZjqP5j5Oay0Mpmo9JYturhYrgQV2U3Se2dMnsJDrtKMfxkt9X4NK3LhGoXK
XvNp1j/zCaaA1kSfn3Wc+5c6HwN74XRY/Y4RJqFNyfBzx8YC3o3vm+iePjkcUGj3bG7pGcKpug7S
PpfsP7mzixUn2IYXZ4CHiYfSsG+XgrpdSd83pPqx6z+QkAaeN+Awxq1vwwjDBDgt7wG31kI4Lx97
pjxIS/rYcux+xu4WfGtJAZe39QGRx5zr0+KP1G5m+LAMKHq0PX85jDym5y2mGrseHbhfPQaj0Hu0
gPsp97zyj9s14AG4+AkL51bUFUBaL89wA/iLfhWR6tI9qybLtrZtxXAnXUnohx2LO++01eGDgfb0
t+0BDJ9IosZ7z7uatt1pxGlHPKn8UmMudi0I5enoMbf9oWDq6gsmuUzVWYDVHLwMICJO3QhVmtLM
W1qWYhwLZK2/1zEM77RjsOADpljOK2mw/FuY1n0G+VbpXd8m1a1xh8o+zglwRlZd7j4jfs+TXXXY
wVCmzYbCNgqtEtehEk/jJBfHmiZKfOB6SD9xrM1f8P76pyqg/Wjra9zrqz9l4oMQqtq7tmtfM9OA
JW0pa9i2s24hE8slgmgbeuaPNZ1P8W6xtM0e2s9gcOfMyz27NXQBqHs0UUddzVmNeNh4bU4Pssso
M3PnexEXaudJjHZSVP0znTkMW50/VcfGKykNFwPSeMagkRJRTxjp43is1QWh55pQC6IARrEmOsBE
51y3j76VHKKposLpMQdrM+59Gcf5yS9GDn7Nou1yKji6T0CuQQZupxQyVp172ctcrSVbiSXAJxno
kGTxwhssI1aZBXcqcmYew3HwPXfuekMt0BDe5G7bhHsehtHR0rFyiG1DhnVIuTQ5BaUAz7Km6s9r
bRa7q5slw3BWjk21y+lIDGgmXcvnsjDFORxE8CA5Ye9yzLH3nJrjE1/C+Bj0hAWQf4eAiKxOqnfk
IIzKhrqDYsePAy1mpomx2EFPyK+/kkuYksBcig/RE/0RyyKu04rGsf3MDfqZsHU7+BMBewa2KjiU
auEp2NGudRs4gl5id4D7H1YDL+6p5UiAfEDxE7YMWmQe8RgGr+W6EuzH/lM8OzLvypNHlWBzjG19
dbVnclz2NMcQWufpV5pTM+cBW2vLIquJ5spCIw+X54Y2a7QMLCHUnuBEbZ5dgnVf09qV3u0YRYjN
MKavB3lDSUJJ0XN6k+ZEAy3feZoUx7ZxRnYlaR/fUvLcc+y3GXWqNWYC1igxHzebLQ83r02fafaD
huhxqtly/dLFgIFpoe2K2/ykGHyOzBXrY5fa6jJxrsRKs4KLiLksk/k7WT0Htpadsu6y6DDAm5i3
vkNTOrnSfZkv5ZfFG7JPEXc/ukGav/REul/Ztc0HA6WHuQkgN9hWmC3phcyS+2fgJ7nS6NO/1F75
MMtZMm8k7oeDI71WHJEUk88hrDgFmz4Bwj0mRrbPPuKXewljIZvLnBTxDPha6Je0C3hvl3gDl8+8
KdDL3EZTxCUFx8FCt9UPy6PlOxu9tj3YuC2furICDFi01e8wecm/URrVsW9INOCKvF9++qDl608j
eiH3laDrdjTBtRI5AWypgi46j0mnX6NpeiDMKneVYmV1Yiy5mravSYUZMZl45JVmc0x5qvp7snAr
vbUBVRdWtLf9VKlj5kYrCX4PkNKYAUKMlpCzmk2q+YxoCNy/bzyOymHH+5FxEsNVBRQIhLXPnVhq
SQA/rGYfQGmJZjc6wtuAkh1/x6InBFr0NNK3NqQfb5TcSZvedNfG0WTgUCYn4IZU1fVU0oqG8Z7b
xw3VJnXJOu8DJJt70eBabAenHPdmKeZHEeCs2Cj+xEnI6I0nq/PBgW15DicT1buBPqhLUsXeM4ez
5l+dkXYdEUX3Htiwczw28x44u6mQb8vsSqeoD5Ow/R0XZXbIjaHNuaDMrhJJ+RWoiWYU6bOwNz0x
ux3Eq6sBdNWKInn0mGRN4nnPqjoAXBCN96og08KzlTblRHfdjVKA3bZgpv1T7efmvSNCXeIW4iHi
LUl4N1Uh92XQdjeEtsxL2+rgocVJi50Q4H3r9jrdjxAZ/kBkGEiNtOkTHUnRrg/CaZd4g75ElMKm
vLdRB4rBNJdKFbRPUmdzysLEeVfEVNJd7g8YPNLQPS5RT/B7wNOpOXaFyGXXLFkG1G5LTIFHwlTK
o6J65SGgTffLo77+hpVRw1FSD/dthRAXJQzd2wJpE0iswF6LrMh8XczjvpMUH228js9IwjPZjUPu
HGSnhx0/vzpVbClP0msUUWCYAvAwEFqp4XujfCd4IRhanUeiPLyax+SyJHlwG4NfhsvAZ9qXCkeX
zb8xZhKO8a5gmzSCaol91gFI5xFGaGKi+kWu3HfiQ+Dbi8F98IjS3zuF331zpeNwl0BvhRiTK24M
ikzEYnLTiMwl1b8m+wR2MPAhU54YAdITBYDZLkxXEm2AhL5ygJHb3OgvbwmqIz7d6DDyIN1wPch/
Ym241p3wv9yr8uF2CGvqLDfeHNXtPrP2xs3btyzUPQ96JY5Wg2wUkImPIQlBFmjJ+HcgA0PT7LCe
bSP/Md3/WNo3nq0CWTwEtXvPNhK7GErUq8t++ojW6O+0M8fnKG6d+26yX4jmNfmEleNMmsSHpazY
HbeCFw+Wbfna0p539BYhTiQmronjNV8fSjmO961e/riOcN5Kl6ay7cBIcKQNMqFvtyhuet0j2nGh
0fiRtp8hoHI2ZRNJLSbFZbvoNEMQnrCwNZAvIOxS2ZDU3ne4mo7PeVSQGltKkcZs4VxdM8K211gD
TWt+TtYxKzMuh0I6Bixt0Woi9hiOmQU/Ndsl96vygO/9LNhbu0+jWpfEH7oXxwbyt+0bsY4hPmNC
S64FZ6Z38VcV4KUc9QiEwk1h/qnukDqJWC1q+TTW//mj9NSuKJThwu77dFVbKR0dfVubS3GIqmZB
cZ8Hirh2emll/Jahy317NAIxHRF2rea/mrAwxscZ35LZXcso/bs1XqP+K9KEeli3OXn5zWGv5726
dinJI98WgbhdqarZyXSs/D+L8FYLusolfk10bTT2RYWR+teNcfzBA9RjQnNLizEu1mUV/RQ2ZykI
pRFDFOnpStFUqXEewhHxigbasCRecoyAt5OVkDiz7ykiLVhJ04rYb72xpFyFEuTXjJPVf1C94+aJ
DEjoX8lQgPZQ+XgxHHTAIhJaTdHDx0oHsVswR0E6ldlytXXIoLyfuK+f5OSuzo/Uhf3O2LljvDMJ
BpwZ+8PTyDZgBSmVBz+CNy+Ke2nNHSUHfg67IynM7+gkff1qcrXUzx5Ffi0oIiaJmTPW1FJEBps9
vy3pMqJ+ZL5Wo9Jh7lIEJGz5MNLH+yxYA8Kb04OYd3TYzTetDRQQRj9JvovFNHZLs017tdNJGFaX
QVMNditb9LKP3mkW8uQ6cfU7aW/W+W2YJ/JV15aIJhQavyfls0z+ZzNOkfdYeHGR/mZRX/8OIdi2
vYAu/0/6fj1M6BVuxDG84Wx4bqKIyhfL+DjcM1H16b6LMuc15vNq6LEagtFsS0wBkryfp0NKr7W3
4M9JjC6DQ02Vq49JbCoM1AiwGD3Gjox+0Bd49BRR94Woluc5Mkv0HwW3lSt2Kd6h9qw6psotsVNI
FNRJaveBa5pK0GJGd7jBeObdlZ0flQ+YbaG1JqNlZbFp5utunblhxqwlg57Ck1L2bJMEaKjDCo7f
2+oS7Xy/ZHBbH1iYNeOJ7wqnzVzC0cJWBPZpq63Xt9Spes7wUSinnn5iFnQRYlibKbzdRCbYhRLW
oP1hE6TIp8tGDMiGwNrqZTc7XNb5zjqdZAWdisg5C4Reua26xXX467uebkQC9hz1/aamOck4cQ8E
f1GVd1pagn3ncBr6kuyk66XOV5jlkaEC7Hp0eh7WcqG5RI5Q67YOZ4Rfjz4yXMlVFYcTL55Giad5
cBdjd3MXDgF9lZiaO8Uttap7BzVt+GnorV54QYzhacn9krplT+UaZheHQb9m9Fx6UWHHsqwANk4X
kFbEv4Hb6SxGzPzro5+6JZ47utpmTx58Tgup2XdlwsE9NfnqPfGS5tRCgwhdln/AZVr1m3u9S04l
YFOq3VOV9+CAdgEK+Tp/9n6libZRgGJb/z+KB5euuE+CvEhKSG9Ng7O2sFinhzNE8HplAd71kS6e
GTeXqblXQ6hhgaCl0Xk/hHhsHqhz6rsv5XThWVZT8FkEusgPWgCuvbd5RkfOzvXwB56qKE9AcqHg
8ZpYREsFwNS4HJfm6lpqHEZe8avXHDk+Cjl400GaYh4xq2BOH/uRwT9Gb7h6U/i1Nn2UCxFtpiz2
f5FjipBRre3XnT8uCS4AmoHbu75WnKQkTW7F0VMcVZsDs0VI7r0wLlmzAZTSbxrPmFua0cOMXYEe
iM9qhmi9mZJMAEClwwHMUk++AzuMmCg5XlbAiOES1AysSLJkhNz0b29l9GPqzgfMwr0GVCmn5QcH
s0tZA6tvwV54fmk0GKddVf+PozNbjhTJgugXYcYWBLzmvkmZ2pcXTFXqYl+CAAL4+jk5b23WNT2l
VBLEve5+3DjPFEwI68DYQ1laa0Tc7R1gz7gOVORQsdPM9DDYd0fiHTu2LyaBjS/WkKznehaUB82C
u9yowt80gkKwmrxc8TrMZcjmcXZS530xFuVTKlxg/dZjarIjtEhvW4eKby+UNT87Vm0l563s+qn8
4EEVD8qbFvCDA/ZavrRoyK8wq2lyrtGrvH0cdGOAXhmVzxqPCh532OhzsBlL26X0AkX8k6Ig6bwS
Bx0Ri7KWfFoKZyCjY32C9tBGdJTzBE8LxxRgMyneTdMDMIwceyI8Cs/8OjeNWcgwdlH0mFQDQDki
VpFFEhFRta351oK7sqyWcQR3+3rhXaqOfLHksQEnCaYlneFn8YRaJ8/lr4pIGBTeq20CmxRwHeKv
mQe2GwiRNCi5ddiRwYgLjcZqOhZ3SSCPkdezqBXtUiCozQvMfGE7l7Zz2uythaJsUfcuHbygTi0P
Ykllf4jzkBrcBtyFXuc4+87CZzjGL867SMiR1UYfLBPABex/arO0zixXLb4CGCdpXp2KIpPLcYo6
/Qjko3ynwthO72RL+xNLpPO2eG7erHF+zZemTKyOnFg+Z38Rdqz+wNXC1ETT/EmQxJjL/uhThitO
C9LirZMNTfDTknUfk4uatwIiMVWnhbQzfkyp7D/1JFJnz/81fk57iloaANvpt0LkKtZRG6c+OWi+
gnOYFBy5sGLXhgvjfXxrSUqC9iVlHzh4ZQZp0bLRFZ3/hmF12WWAox/gngVEw+9yre+yduNrgRWE
FW0KycCNFBp0230rN+oMlYrukG0qQ5klo0AZ7EN8me8B2et7etIxfw3vtPHBM/wnUAHTWT/lZaHi
c9eRMT3bM2G4Xdz4WbfVZBraTVTrytrNhnbuRzGD7FjXGaupXRnZufUcQMwhx7IU3R+kV36A+0tO
6xUgxAGRZkpbpNkisbsYhS3JcSGAAUnWYvYiCLQOvBuC5hjTr6ze8SFjlwef+s/p08TZot6BzYxo
bYzYdIu5cvYWfgr3E1xOo9550CSYlmp2sTUpuyivEYJEt7rfEuV/OqJOkMo1RU3WsgzY9RfTBmfa
owFKkP6df6nf7JJ1b2fpT04S+snqCkrqp0m8EFYaOjyv8F6yW+ICiyCa6AXP7MSL5DfQs3y0h3z8
bOreotW9xcDqBC43zUoNGgOtNZTWc8JJhz9mSiBjylGEnBElNxDaKuwe3GbZeuVH4d8LVwxxHHEw
Y0E/ZBSyh9vJgC3TLnPhQ24IbqnuUM2hwFaeKN+lvym35xd+3UjTRNUaWAW4hAEh6C0dn6IjqZoo
97WaZr+e9qVbUTpdLIu6JX1jR1sy4x5K9VIZMhPwQ+m7MtQYcu0TYyObawrTLv4G8ZPjPeTCHodr
CmJDrO5esqitpwIpcLsyUVyrAhZdxYkMuK7rFCfVkBPeUMAAX4M0p4AKCzNp6UhVyEcNKva+mofk
SNiYjdiIFgKAqk+CjHcEmti5nfXinv0KIeYFw3Gds2TCHZsxWLAD/hTL0PgwKVqfv8ZocKQa0rko
9lnFCALu7yWajHy1oyD6cNkMRuveMbb1bybxyj+LOv7PxWD/HdojYLqpnAkFpHE7JdtyYYNPQoKO
378uVAoM0SRJB1CZBgFzO4IeUO/+gud8V051T6thEgbyY2nF+NQlbnm2rG561gSG7Ee0OH5fJbYy
1KCB4Id9Xw+ytJczhQVMGlQu33y2hPZVcy3Izm1k2786SsAGiNGdSPhkAHpcfAIFkPgUXQwaLb3r
FafaVkCzLVaSFmkucty4vNe6tcZjg+M0udVg0taG0QkRK+9gVoogomMHVMZYW+rTs0vQxGXiptfW
KWlFFxyO6PGY/b+WtGJjJXEtE1BBU6gfiqokDF83ZobBnxd5urZDRjAIRm4UrxwCCNUKTQ4fFPFE
NtNCD1vZe+6t1NpOnoYBa9RDAIVxICqh8GqAbyHroWKutitJD0XyOLlt/jqSbBYPEN28Zp+SzCVq
O3I/sEmjypo2KAokaWl1a8FtLVZHKwjnZ9U3bGQRJKkrkzA2gfkWqvrtHJuIfDgo/EhDo1xzoRCn
Y/YzsU4ebS+yr4VDihRtutAFZT5xFR7qdhTZhftKztZ9JC/wr+0V4ZM1IyuBKG5t7M7spdIPMctt
H88QO7UVlI2Bf6n7Ru27VkFhTlDz0gOox7w9tOwSebDZ91BM5oJdWHc5iuvV5eo94IPlurazi5iQ
Hg8MrpKCvO2dztFW7vSMLAr6QIH/u7c0EUAVuP4AcaFRuFi4cgSKc0U1HMpkvPTqwRuntDqgfhJw
DFTf//ToD8t+iSTElHvhszIcFqscPtWINUn3lPvpAbSMZuqBdvkUSd2c+tENiAZYpHc7ayaG2CF6
ia1IO+8hQaJcN4Plm7vhsuWHlRYESmqoyf741RQv7EcnrBSlHdOS54IswvzNiuE9bwxRGVvEwHr7
PgpwKfD2IAgC9rLfQ7WDKTJo3ZltxQwCnSYDtdmrRt4gw7JKsPi8Hmf87X+6KGj3curJ97BHngCw
QiXYI+zkHdVEE1kts8h8jXkHs2J935+diExSBUS6d9n7jk5G4iIC27E/GtpTGUmJ1iCQ79yhjP7O
2PVA1hLcvRN38O2kt8aiIg8au+iYVqX9D7sMVUi8YIstfwuQCik7VIzpiljcUVeKFq0CiE6wjgs7
nf7Oozd8J8vcb2O3g21PvcBCyErATWidymM1B8Z/3LmJbn9p2/C34DxJTXv9vdXFKgC/9BgduRAp
u9+rRTe/XMCAYYvCXAQBgV3G8MLadjRXp+qCp8a11Dd9CZg2B5bnfm1wL/u6r260CLfVHq5vcU2H
hipcZ6quru0V+0FkGbLwNI+7zg3kKo+W6EAQYL7xmffD1gIV2mIhCmwmySRy/pNeS6dMghyDF/Mu
EylJMIQfz3bfQ0NkmAQITyUxlEJ2rFpBR644D/x14DfdgzX71XfAgky+4a/pHX9vktl3P7suz8yZ
XFCJL84WL042MDahcnH3JIsFznEmm391sjL+VkQLOFgr7+BBDmDov1dqT9rBd9zT28eITZNdSEpv
u+B7wHYvvR3F087nHMb+gfgSFfV+0Hl/ka6Di4095YxTAU6daMNvtdhcySWZJ6g0uLWA0MHNuCSk
kMeDHYsIgBregvUg0mE6u5Qw2hgia9CGQ+wnvIPw5fNbOsGGbq7kqHBGkFgib5H6514pHFB0iL5E
qm/x3qYofmqMaWdoJssnuigw46YD2Xq3ZcJdpQULuGORBPY3thaz9zV7nQOShGiQ4JXESe4PoYVV
Tjr+mpjg3fzaFhEpFP5+mxDF+C0gqQI3tRvvV4OF5a4rQuhzYT5PgONc86+ph9zZNSEghM0o4xm7
9BSw2gchby9osCtkfwUCLRPPWrrTbpwt93FgsZauWs/LL17f0tehA8d6Kkn+m70rc+yxsm9PC20F
+CZcMh4VIZoVA3PymzPgYnVn3qEvKg9ZgXDrx4FYyewQCw5epKqAfvqhkgoNoQErN8chv7M40kuz
yWpeDJlacAZ0rNrHOpqhwqOSwEjsuGzCi0fh3uRs2zUdRK1tQ4PhXOh2hHCWYN8t9HGv/RRM5gmB
lnd7Nekcy26Mn/kg+3v7LF7T5pDTmLqly9tHQyXyU6zZipbXnIDqX7fK67MK8gHgjz8CbCgJIL0H
nnBOtrTUzQX5XW6HyckOJiosdeEKPQBjbMI5+4CdYP3wqwYqyHRpJSuvZtbdSjn4X/QoqP+qpSqz
tfEc/M0U1+Ysq+QIqLOSQdPdlhoyBNvdyVHJCrNFvOCcAOk4wDOP+T5A8MVh2NSv9LlL65Qnydij
AUEHsrFwHRNNOsFUnAkcBDaSQc1Gd6d1kH5OE2kYyIB0BUbJ/BnDMjMwCrhygiIENuWIbvntkZ6J
gLQ2QFEHz8x2SokhRgV4q5U/3Vt2eTFzAQ2gLAz2WP9KKoQI1BRMebusUfduTeXcqKBc3FXDPPCN
hr1QhTwjOj9wQY7be1jSsx/YINfAR3E3zTeHiZBZ2MiweBxbacprOFpud5H+pMkPseJkzsOwUPRr
XJCkmmIPQxPW8mwZjkaNPtUfNufKgzV6/69q5vHnneEv/oG3WTLfLBpXOIswGhX/sbLKo5ODpbHd
tmhi5mOhzp3JJPN54bdx1MPvjXJbr71YDYLYcbNU6w6BctYg6imj3zb8M1s9VhGMcuhzl6oZl/nI
fsr9So0X/dYUJW97ofqnJOWVx/eU2+rB9nxW2npUHr0ScYdIVpFuLT84qak6wgvc/jeFPLdWNJhu
0939Ng1L7AdkPYe+s1jAiWRXgYfTi2s25Y4NYnYzzgEuUH6d3RO5y+g5I40AesXCPQsBCl+SmnlP
+f1oOxuGXa7iw8DQnuia33HLq4LqKhUjijWIjLfOCuRF1B6QGyfwcK8FEtKliER58FNh5KbhBkUn
YLFAl4x8q6bYGKMyecFZnwu59M5HFbXMpoh+AWWMvj//9qkF3LnlWjM/qKogbFYv5Iypf2xWkDG5
lZBtHbnNxoN7KqwJ8kGmk+soZnPnLxC2KCttWNbkGXKR9P4ksiEgFDmQDBiSITUXCc1APMVNsBvU
AGW3KmHnwlCFF1i5d3YKZkHKj+Fw0X1QL0TA12AzCkLKte9sVb64e8LRPdUdqJPwYyauLNsxqou/
FOhI/VinfHo1tUPpAzlaANXOVH/yJ60nZqMK62qcZbtioUxlFVc6oaaLRPezYvN8SaluIHeTumgU
ilHoRzB1d1uweAAYVSkAypSViRIGgjH+x3lGlDuVM+UuUNpgK2K64crk6nm5BH04vHudTj79iPgW
7BJM2iSbauXvBtdy/ZtohYXhfEww8RhLfrR1Gx4BY+DF4sHBl2LIoG8gc0CKwWWTHJo5z1jzuNWZ
rkjPxmqZU5cufKEeJq3i52yaiWbn8IpxeSXxOIO98MYrbwrc4BPXo2s/6/jWdWIYz5DHxh2ThDdy
ZLbFxXUNaV0djhS5lnSM0OLN/2xgFVlutMXNsCZ7fMiL2ik2jet1ZyI3BoplhPXGDiYGI4vRY2Xh
A7tE7v3tqui+NMvAy35oo0+M4FG543wMYBuJpjgM98KjHbiw4RwWWM1VKWmYAfWCx6HP4p4A3AI+
a8CoeHDNklLcEyf3wSdI1ARkN5uHa0hgkNbKcCAw2BP/K1IkDmTW0vxy7+2HZx1kDeaqAqLqWQb3
5Xus29I5Lk07Zsd6EM0XVrTgZuuamlTLRN5XH4TEXkBr5Mzoefvjqsgcx7yg14zC4iXb121d/Ukz
7WTNmsUdmbKer0CyNpOunA+RBPUF9yYQ5MZxdPCv0OMwf6PfQBQB8UvdkiCVvtzDe05yLjhOlnWt
HTF9JvlkWAdzBFB9Fxnt/YJETG9uxZkPaon6i92Ck91i+B9a5zVDW69vLB4M067iVU/DcyT+DTPV
U2vlj/nCJ6FmDBcs6MO/I6u7TdXbTvjY0LBDIdcyEM8YsLQ6TTKipg8m+PYjYmMEwPHCnKZQ5+OF
QTMej4HV5WZXFm6Dj6/rHhtMAUeIULH9xx6VxbZuIFKKB2CgyVouCHH8CtE0goRKhg08DixxoL61
2QG07GaC38Dav71BqZlmNE3Uqx2xCM9xWuGwXvSnqUYm21F1Y/yE0YN3S8qj8NggY/4DE8EoX/WO
OLEYwLPjgqgIcGhgzDhOzO3EWMbEVbu739RnbBMQBEIL2vS5QH7CWVUFrwFvvyvyltO/JK7fCSJa
cAuRyqmx2BQGGOyzNRCkXEdsPh9o5mPsCjuScysvQVBhV0bJdLcv51GyGoTZu2VdHv9JPTgzAKmY
af91+OOHtbYgcO5ZNecxgEMPc7hELTnS/4vhyfPwvcC0J9ixplO0uhqaLkY02EY3a1rX5tcsX0Rz
z4r2rxUq7KtcGO7XXaY6/ZtAAv8vHCNaFayKLHSuMI7vMOPN02mgm2ETcy/8rZnd853jWoSiCzZ4
W8Nn7dBSBiVqG6ajdUec0foOiLgXlGxOkeV429aMWPbmWb9PSBlccMjL7wrLay/dMmQXmUnvjS0M
iC8cUP6OcLj1MbD+/temGdz3CfLlFJVUwkmX1fu9im6wQAAIDlhriYaXYMqzI6xP5uC2d9z3mbBj
ffStwX4uFsYDPl/q4Xb4Yo1/kUkGqDtJW5uIP/+a1d2iuxthgRYklm2ScxOkxckWHnFO40RJfq0q
pLAVPd24SouJfU5eVeQju3FCEBVt1Z+0HYzmpOogf0/ykd5iUKBA1yzQKacxCALIGaMa/hYImvna
c2xqYNxmnOa9xIxevUx1HTlbPafNA2ZW681t+Vl2oEeT8m3oSbRgXOG4YjxOLzQyDMy9Jty79kLj
+4it3HlI2eIVu26sYnc9l9bCqzgdx4UmqLLm6wbd1IIpOo8UJ/EZWUin61k4MVSpZjDqgrkLOlIf
dVBOmayp/CPzwvNw772UHP6D5TGUBtg5pl3Hr5boKBIDxkmf/HKGB6+nd00EWyJR/b4vY2d8LrpB
9q+GeBqGIBbt/pNU08LBqoiLbGs79M5yXnC25Dqe8edQyhAwcOJozxle06IqYOm7jOYY+hnf1hoC
/lWLONePQqscjESH0r+jXQGH39RlfggivY7bE+JHnG2AvVVWtYrKpbjlevF41kSgNhIMLAEV0idz
ZXaYfotXxYJlOM8pytoX/nUeS0AqubWuIU+F8CvDvL2UGmHvnRRkGXFYwtPmyYsriWYdIv6v5Swx
uNoUmxVUfAIcWnCeKuNsx9HNZ1Jnmi7VpFNjfeHOUbwFNWLHt4zLunjBcZo9V4FLXUQDS7N9Y4m6
pNvIhfz9HGOVo+chtv0Wk6/wdffgxV7wgJkiZwUlKnbdOKMkXjLSc3UH46QwcIRCbpurBB6xtYKC
iC8vLerkrY6TiB+sAf0cPVJHZihjU8Y4L47nghuaRn+YLqw95p+Oad4iZB3BsnggmgLeIUWVAp0X
s4B7xGGVhdemrvWj7415eKAt3W9pM3KIbs263GZ9Xl4aA2t4NTUi+eLF4vOgQcfxiCU08i2s4vix
wQ+2nSZ8Xmg8irLRWr+MxKVPwGr1vlNU1K0UNRvfCWPTiVqXcEv/B9bipq7wZ9FZ4n5NUDW3dQev
NQuC4uZUXG/5f0QtRL7K8SYSRBQV5CYmUqAY5M/Lhzltw9cx8aM9z7xAraEgyHFDvbecEtiYakS/
8VXnf7lT1e4rW363qgC5jluLysDc7Z5z8EWsSRVfzymH8wFWoGBu1xH7q6Kpd0GJH1zrHEZv3sel
v8F7495wfogzk7K8x9qaP04bwTAyuf6KLU5VCH1UmSc8wHggy49S1DyLy9TzhquC9n1SYEixn04f
+Du6N5rUGpC1XcmuERGKXbxnDoXroC7asamfRJHqpwbgGyDjPm6/3LhNXisSjK9cemK5NogWRxE3
1i4fZXcqGlvdUkz8mkA5S270GUpMVtXYDjA0qkBvpdvrgzd6/rdovPLMNBEeci9xYAv3w5Hf7HIN
WfBcchEZ4CiULQDp0PEOC9FwInFJOYQbBkdYdyjIkK2IaRVt/TIpqg6UmaHWkBLkT3Yi+hS8Vtfc
iv7KNJueaWhNvls7nt+w4Fbrkiv0zsaKumEzVG3zJY02zGkQ3KSZWe/MOP4LOnJ2BVd9jj9PXYus
SAm2+Cy5Cgawg7IMglcYN81Tkpjloh0r26dh1+G7zksQgni46BLUJB98Fm8kM6ynuMc5gj4/3exl
cC+WF1g/TdUQms2ywDzVQC/2hjjKg+Xq6joEHRwAFvHXvuwVFYiL5jplef/JoRo/Qq/lhd0by7+C
4WCjQbXb9MniK3sAqymPI9fgtcJx+t6bIgf8S7X4AFJsh9MD6A4ZXClXDHhCbRy8AHTokjF45CAb
30NWX/tEcbks/i97ZxIqGFCYjO7Kvjv7zDg8Py6eZ4oeMIzaUxPvhhotjlwhSLYYMZEdeVe0b5Yf
wx3CvsRzx6Y3uTWgknYK2I7P2csVcKqEOk/9EOLTS3FJAs7/cUK/sxnHAigbtmfdpmiAZRxpR8Og
t9PsxLdn/tbUy8EbbaJl5cJ9vMXirkrNo0JOmJb6Athr2Fhdl5AYBZq+h3EXfy3xaEGVdJevUvr9
lTOQZ11BeVpXmLo2/URCkE5DluxoLoaPN+b9Su6d4KKV4oqKhvPd4LqxRz1eBrZptLOhnT6HVWp+
DN+qn0TwZMjcomEYF/jDlLI+W1nspnCG1Tp/FIzMnCYz7Ejj/TfjptwHoUvf4ZQEzZNXsZDb5MVs
bRPfYT1exNE/LtL1FpmL5bITyeOUTqie+Lhyfd9/9JeYkNaxE6J/mW3XP/UJhZwyWnI+uJY0H/ke
56XtM/PGqpISmdj3+u3oGUimXLl2dHaSQs16C5eghcOgoNetxfvrhVNMq1fHRmqdjQgdrd2LTaTZ
55Sj0Mc5Bj98dGvtXzi/m4MAjVRDYbkbL5dYyRc4yu3vEFEhsCbOkpGmgbHQ8mo+WXFnbbN5BIQO
5oZMqfLhdyLwJms/gj9Dkzp9HCQg6BG1yaKCxotQ9AlIVM+WECIEqJLTPBCib3xntkTPmhfsCkMF
dcMau7i4IYCG58AbZ/bcU/EgHD5wOc4TG0974M3KXgQWvMrBuiyYk0n3e9ZL4YzJK+hd8adLvOV7
xjdyqihfsjbKVsEJeEO7na0hPPt2p/DFSvHX8gVAlsTpSQjVap058fJsKQi3LPaqbVCp6BK72R3t
iLEAQrsEzxzNyBOuA5Bn5UqqnvIqqul0hUpFAJkfsaaPBQVPTmm6ChE4jrnH9yOtsMTYbHvPdUpn
J7CHEvtK+pHAfaFANierCZ8IadzzTykYF9ra8NkeMuAm2DHaOtvEif70l5D0YuvnDznXhbVuTbTv
Kjc6StoDaNFBpDl0djU+DbQY7+Vc9e5fBDmIPFoiImW9bp67IOjLi+dyx97yTWfFLenuXcVcoDZt
10kBkjhJ5YGjvNryMoIh1iUdjLLZBJLpyA/+C4tg2IUExxraQdsYh4eb5QfMdv22y8McuKzIoHdg
AFp4TqDYxK2ITwLbx45JjWauum/kdSnpYZwBn3xizKoutQqGgwwo3N1MZpnf7LlAH0hEoc+Gc+Ny
d7l/SeTKHUmp4hhMBExAcKYbJVV3JxfXT4Q/7E0S6PynGVPvlRtMtErtVt+ot1XPYe03uyqKuptJ
Ru4QVav5ChPKM4cwBuvHrpA6bZyTLv3ynfPACXd3TCBhXBJD5hGhd/HpTYtV9zsmMw61MWmih4bC
2kvKX75dOSJMQNwX+DOJkTovfE2rXwsMzE6G1bgnJpUeQ8drfw0C6UGo2ru5Kc0QmkMJcgiXvJwq
C5398DUg35mNCCF7VbTDkxYNJaN4E4giNpEz03SDsZRf03zoFAmaaOrDB/yrw7HgPkQdnKGkNtbg
MhurdF+JUbEZDT0zv+SqjTB83Umluo8waTMZi4QSEGViGKc6tq7UWULEI29p0StMovAORcU+3eBA
H08li+fH8l4MDrC6k/vJeGwzatVXpxa4/QlYJQXa7HKbE2QNXL986fKV37beGZprNLKKcokNuE6P
pUOn7UCJHHA6nroxX5fD6BxdxqJ/cVVMwatNNDZZuUHQHdIlYkCp2A/jsRSd4r0OwZVABh8YuAth
Hrx+SQ7pnPa/C4LVqjEq/OtTgP5KOl59cfoUr9Mc26dk6qYnKPFUeZTwxLcl+bgtW9fGHGTLcLIl
syn/eha+NpgmiX1YZC+egsi1/ih+7RvE/eEPucAQvr5Xsr4cCAWuNbPNS0HWeFsX5DyZN+Y9vADB
VleKtdMuy89i5fJz9sL0Q3LeX2oh67e4yNvnPA+cozW283vf2e1TV832TZfUGfZLadP3mM8vLOHL
3QCj4x+WRhKEGTXwXx67B/xRne2/po5cyBmHIi9veBkjaGTYfA59WsUwXztceSqAcNoBSjlpsTAc
d7a77eFUYgVt02frDoPrY/jWom+C29xZE272WBxJx+J0aTs/PxU1e46Vmyq5LyesN8gShPYQw2bQ
2FZ0sPqu3lBUx1cXDb2hFXFymFoZnLp4J0swxCyH7E/pC8oa3MG6yrJS19ooAAncFltqAboGj24q
o4sjRg2SYkjZRePvn4B5q8lJD30XWNe6941ZBxVWMhwFubUP8zQ4WVMy/cwEPfHkNa5LeLMd/1Qm
AXbOG3nTykE8FYb93aqznJD0nUfBcM+MtMcM5zKR1rODuxcCAJvhyAQfRvYju3oySCDzyNpX91wN
izrPBkK0SWfHr2kFz/NToNoGlvWEiexA7ABOMFa69haFzHHH2BJqOUsA7lcy9MND59BxXAaqefF7
AktpOdhAUipHbTPGzY2J7DLb4R2sD03rtzQIFuQAnTq568+t6NE9kuE/z2W/sKqsOKD/zDjhSQwR
wrV0HRfL/6gaYE0QX96UY4OBgIo7Pwx1bPZTMs8/01hJVtBZ73yGWeDGfI3NYLiy4Ec8Vr41E+Up
uCnzo+mHpHCyn2m2lhcPlfcjhX/3nuti8W8+mOW9M9xffHgHsdF2pec+s2QtwiOr37A9doY/DPVV
HxNcjeI5jwGCYeDfDVBg71lJQsqxRTM8MTeoXiTsPhh53LeanlMWuawmt5rv5LWZbNi3/WI/zn4W
PoSmzeyjZ7CxrTCMMQBT9d7Tis2hBPIgiXc42c0/3jnLPmgcAYlqEJh2Y0cMK+794bogDtLiVTHB
sczr8bwgxP0MfC9fUsc11yjl4sQYZJx9F8VQzma3EYfY8QhoKPoz3oEtO3t6JINzMgAL6TxiDPh0
Z5LdVtFsE8cwg7M0Ncc+iIqjA9ja2ZdLrx+DNuB7PgeCNYqRxWVped9Rjhlbm5R18t0QkwN/iBLv
q0YL34Vp5YnT2LLPxUKQNLzf4kUg3ZM1I2HLkYITUhfl3uu5hA1KUnBiYXmgezN04HtnLEo2i86I
9TPtp7/pAqdh5UGScVeKDQ8VDUUcvqjW5jpfs33t92g8kCZyzhvR5fU1nTIAJDBqxocmn2oSsqV5
LKviPq7HdJ41ebwK2QK9SWg8xQmMa7Mfh9a2Hqkgr3lgZ59oKEA431gUMSmCfRxZofjBtWoOflVx
5yJjEoZ0KCgmnUZtc0mqNpxq8dpLOd0rHyVYO264o2rjm23k8gCpqjwxeNBDqp3q4mRYvkJBwDHs
Ccn6kF2PvawoG6uBZxRIepbXQ4UKnG89lfKxqvLqvwFe94eNNedGj9vQrqk6kF9tAgQHnWjhFRvp
a8JEzBJMe823Y/XUlCQeLDxWrWlxMbi+942ri60so/ZfWRMUjuQsWFv5DQZRpA1ntXjZPxfjzmoi
qAAguli+mqxi9kkG2V0bWVjPmFWCLTVxH0NaUr0CT6dyW+cRU1ZzjZu+P9TRIl4HBD6YM2F3o6hs
5Of03RsermbN5KEuoa8xk09Z7M5r/nQDsqfAQDOV2Jy2fW7wkwe0jqypE5nPnp7MViCF0h5i2Nht
mCRdeDl97v2pAvaF0B/94iVMebZXMljSB83q5USH4t2l2yBJrQEW1GwkuIfT7Lxcior/NvO6fWsL
o/803GouEInllo3r/EIe3YlXqS95uaNarrBbVs8klC267gdyhN0oXjDDW5f7FH921B1U7uMLqHH6
EEJXXlsXe+BD0l6VE1jMmoSXs57YRWcXvyzbHwgJzsHHV8hlYfKrXeL3+aFKaeIqANzfASe9OYxJ
xmuP1PCGjQxYUltH842a0ehc98t4yNxR8aWjGm8TJlnPjZ0+KwMoewUDkLRyjpGwZGnIFhQsypcW
qA1+XkE3Io1cH0QX8kDGtmznrappkTyZPIHVGbZZd2/GpZN98Qih17Z+LpFoLqHzf3OZcUHBGRSR
VVkNbosSYdeP+Ceogoo786FFZfAR07iS5iNVhJ5nXtkYpcfej/sza28+TVIyRydfLDbqqtp1dUa7
38BB9oFARidmesfijBSjwehI2xfJ7ZkYYqo2FnSzU+u73nPo6gDrcKd3YwUsHwxkpiFexfX96+7p
Vchw92EyK34o8BCdeXHG2TbquenHmngY2uu9iagYv2xnFh9GD7RVTUwpbGAhNqXaRoVoBhotOXKP
Pk2LhLGJrNF2jYvSHQJ8Z7bFqlAuWf2YWt38M/A2Pw9Ln7NBJaSwbidjbne9PF9FrRO9eBxLB5gv
/VVDqfsP4Qbx1ebWuS88HjPSAMO91efQuwBzQzi5Rz+h8U2ZklE1BXTrY2c+Ti3HoMnDx5IlEK+G
kUtQZLncDN0ap+iYVx+5k+FVRIDaZX0/UuzRpyw2oym5RH7W7ClDpSkkYz1d4yaehu4M8+mWJctb
ic67nQC/rGYMLHjZcv6xnnL3AHPmhVVxv/VzPyQw0nBg9dO+hfoLFPLdUsMH1/2JtruUb18xDfFl
4f1+0Z5/GGrcCHbpXpWKzhlaJs+nS+vuQOO9VbkXhDiPIpj4A9cb8LAwcvMt9BG1AZgGWKl0ytfJ
Cz897b4wx2LTsYiKPIvsDkDVNuV0oegqeBZ01dVZX+H4yOdVlM7jRuBK/x9nZ7LcuJJt2V95luOC
FRyNA15WrwbsSUmk+pBiAlM0Qt/3+PparJrkRUZjhlFaRsSFKBDH4X7O3mvT1nMIFy04e5RxsvZV
aG1VMjw6oVFssFY5B5qSj64jnJUt5Y4zMCGRI5byEV0THo2KM3FVYvSHHuEMzS5Lp7daDQPZBpa1
Le3oVhWazp7DKfdKMbbRXc7e6ZDRF5CflXQr/mXsnpSoX9jYEPdUpUfFdJWIWHRVg/Yek14FR8nV
H8ieX0OsxooTi3o9Cq0++Fp4Cyd3Lz24DmnWkTJTbnsAIRu7Hw7QNBiAJA09Tnr5Xls/Oa5Czem0
37ORbTSyk306afUaOd/Gh5CI0Cf6pnnivWgHJo+oGMCNoPeS7TvKu3PtIGTCSca3qzDJY472dygN
30wx3onqKmTNb00nF2vb9fZ1roBX0OR1ASfFefGCqjNEDteh9veqZy2zXl2zPkDoHk4MD6yttNpa
2ySchLDtmgoHKwch0peneA9F0lqHDTF/9qgeu1y7qieI87GJTeclcqzGQPvZ+9jB9oUjgr1CTU1O
aaDTpsBwsUltUsNqZ9SSzZRzkqAoN0ZAymJcRViOFSG5vQYX2qneeib4WWfdtWi2JQzJG5h0SGqU
M/Eeax+bAZjUNTWe7nrdIg4Axj1ijHRxFq4Gl1wTwIeMFK4MiMHYozTBZYLaYhOq8dCbGtAF84mg
w5esR+wBTmaDsH6r3NZbs9+N6AGFERpyzrJxEn5De8QRA8OsBwE0AK7tgsUzO3CypTlE13tvv0Bb
jNe1io6B6M07NcQ/M5/+APO4x0xzv8Wdo9/FWHAJAC80hoCGd0/MUXPxBlnvKH0gjC5nOTbkXnKo
4c7h8paI0AJ+O8vTHurIeuXD8jk1/ynQaowUDuZU9M7ou9iPXU0+yuPMAVXE3I8jux0EzszH23iL
NBM900/9Cr0QhQt50Tng53oMhH5PfB002jol2gZvImuKXWOtKC62h9CmyDS6ZXeOQW95UzNzQSde
Egw0vYe8qvhVErYJrepfmqiqkds4G8GlVszs7bekpfmViui5kTSwsD2OUKNXAv7AXXtNb8nj+0ED
rFrFB9cJzDvUW2pXTeZHFrMKo45pqtBGtW+v0PWsZMv729Qe7EB71bBWw0NiC1y/NGV7itnarnA6
I32gfzFhIaWtkhwQMbMoBAI7Xec3aMp9awJgSfjVOsuyatf21smF/g/1aboJU/lg0iJzLVKQaEMh
RW3hkgxG8BSFtAA9qJoRkSLpEJIf7Ycc7IcJan95NOPoNavGM+LLDYnT/meSAoZAjYp0NdkJvLmE
VqH5nCC669+mFnYXjXleNgWDX+OxdZL8IP3uMeQC60nj4OZCl+EMuYaVP+xoGyESPuJ7/doEDWi5
u9iGa5+Axb8GCBGdkT81IAWdzINGUuDBr9WuGHGFSf/Tjk3/Z2tW31Ltq5PxKKlRweqJ9an6pvsQ
fXAAXcU4VXvtfUBLZzgymUkxMC4PTroofwiOmOYU3o0QYCviwIOAf+rHHLlLN9nnLsZwmpRwbqfj
aEcX08c7jM8rqa2GQSMO/mgAmI7YNXpnYUGwRGjgviqChxE9RgXALUhAZfkx32aVngvXxf7NWzkM
EGL1xofdk1YuIo3dS8+xvw2mDZxpIkF4F6OEBKlcwyiahvoUDd5dxXqeadWahjthVBh/E3LIS0Fr
FtWz7X0TjDbJcwYuLTP+grmuLryXrAKQ63iEvIad+Y2R1z2Dyxs3BX1Brx5yQtPSqX+sBmx7mqaC
De+44CKscQ9ZTachXt6lcXbmQAVcPMfS02w8ZaHgEj+MQNF5IZvHzl5gemxkd1ei/9znGdJpv2EI
qXzVnqwrtrocYLkywCIe7oRpMNkrkR99bIxogzGwrNBMYo/LaeiWJbKdsrFWMdSTM6l+7/gW28j7
jqUEgrp8tCun3Oh6QN8GRuxGQ9ezRa8YHgcT4xA4Er+IdlZUDK+BW7LRG67NvynMd1glYNoIdGbE
n5q9Y+xlVz9NvfmkRv8GPSPUfAYrpH8Em7SOHZJ50+cS20zkGW9TXW+yBkkdasD4MPFmQVcYGl+N
sspPxoRyNWJt+7T8nBYuhL4tbJ9rFs61iTmdgt66nrGzfeBrpGwxttkYk3sjphi/SnwAc3hSeYaf
tbgGluyiqyXaSEm3UqVzrtFMeKHFgV0iGGvS+qGTwY0iVeBm4hhyCNIW6IL7FWgH/rS6vi+m4cii
M94DEDm3BscOI9xlHsn3bmn9DOLI2g5WsEuwP+ZK3rpQ9/NEffWvgZrEGYf7SEPfKL5VbhWtjSo4
4fj7wr5h2yLHpmUXvPSC8UAW3TA2+orYcOvbaEAEaTp6eOu67aMJ4qNo8mzfAKkPYu2tFKeq1TcN
8n/QQuA5y2+iqobbNK7OQ2qdiina4cdqeMB+9OyDHSnvWOEvwAiuIwyMl41hEWMaMcjMMLC+cGja
so8SzHL6tCS9vENFqDiEtIABpsh98qR9ah37aPQQ6HBfs1kQ+X6K/ewJNRcbaK/4LrTxosixuVMe
PXfdiPZ9qiA7NYCYOcuia2dcged147Ugkn2fq+njj8zDIYm4ojqXJRNkANVs8BoestwAtJI7K4vx
8Lm0OVxhJ9uBhr1BBrsmPJ7nwbVg7QbdpWxChgNAM1g84+mhsaOeVDlHDRs3YlpzFdiGmIrRvQCA
Sp9HQ4qDDiKqhHy0tvHLvSSsJ/c0nOpkgyg0Yn5t5W85U9Kul3zl0c8swa9TpKaJXae4DWvzcyLS
aKuhnh7xmNG0uL6fb2y82asIttIaO8gzLrQOjrah7ccOSWKHvqHNSaPBgcABTzKARx2KILNm9IxP
TDWbkCLKS3aCSDrwxmTshGK012X4xBlkJ9ktawfN7vg2jKhdq6691T0c9ER3xtnJlck9/Xe2/J39
2ISw/5GNfSmUdyiTuP6o0uCmYiKXkaaau8UBgv+jrm7digVGB+lEpyLVy/KMAucDRs+66qIvtrSr
7EGG8gb5kdrg1eIkP60TY7zRev9FWnq5NSKEDxiQ0a1xQL4IdIl7WIo36ZAM/G03xIeymr7+f6FC
DYeYrldJsKIGBGMMhon9mSrs7M5KUU3o8d4xeZdBiCtrAGkIoQmlUYLIO4wIhcuQIoV18jQRrbKh
UfhpJr56COzwB0NfZqA6AkVU+IS9WLDEW58hKqcS3TJh6Nut428tH2XAxPDhJ7JhUjXGkiUnn54j
Bw1cINXJ843bYGpszvF2K5nVB+wZfFu/VYARxhRoYzh+9FFGEAW/wjYxkqMo4SQlTDF46u9Kz0o3
uU7TmBZwvLPsKtz5k4qedGw2NEoeE4dXmO8/DxF0M2F9hm34gvMOgChpTcXRCKqPugoeRz/41re2
dbEaKk9DAN+AgAqDKCHSsbb9t8gMrzicW7JJv7IoERQpp9bexfAz1oIY962lwjMuEg6fRXasW3mX
AVShZ2H6t1OAUCtkqgHettzWV0an4JFjYJ1BGgekeeeMFsosXiectwfncXLxMEB17jgQGI+k4pz8
dpQsw2y6uvBsAjngUIjRdpPoAMhUaugkGulsE9EXvYCSxPrCVPNU0oW0FaGdfvktsiYY5wrru2Wg
yDMZRu48JjeZyqLPbEhf+6rZchSvPgvF5hWxf4QD6AezFLYUzoF0V540M/vmFkgu6MYEI20jpzB3
uB/2fTd8d8DrA1ovX1IZpBfbN06EnrhnYKGV8WAKozgSM3WIjEetzvTwMJQgcKA/dbTT8zFh81eE
tvrQbeighk68oW8Xh9GPjrWhneLAH/eF0vaVBHfZ5Diem7rYakW3b0RGvyxm5C4I7Z4qcaM6/Q1/
OcKz5kKHTa3thpl0bKhLhRmg3zZV8CIy66EHTbCip2+c3ZwU4LjT9SuHOfpaJXlwHInthU9WgNGp
QGqScUm6WBiwllQWAKvXQOaHwc/MjaxjGyEbiuR1C/trPOHhvlJwxyN1dsRfduvXkDlSOVbrmNfO
ZuqNfo1gjodJK1FuOWOy0eG7PDtk1tHKTNRbWvbTmuSNDa6LDBh0doQkBORJMFSmTvL30LLfUvkq
goRPpQxsT0PJ2wsNHdQqlOL4lR+YrwNKQe+04yzG89GQQMqYpGGqByqCzl9G2XH0e+2n+CsMHxL3
QrCOTb63nW44tHLYAHve2bn7EpuTf4YuC0s6CJJ3dtAhrEhkDy2LBX1Sh0WFQCXUs6z8Qdns0G8z
x8md5qlRoTi0hYREwthkBXbum5IcCkbB/9OqHmXRv/7rf/6f//19+F/+z/yeua6fZ/+Vtel9HmZN
/d//sv71X8X//9Pjj//+l2YIy7EYogubP//+8Yg+mX8k/kfD4WJiQkSkp2ecFTeiBHW77NLXH/lv
l44sEpMRkYpTnU8/asEajpVVbJdd3PznxbUyH8fUqoxTp2sPGj2OPE9u/3xp+ZtbYvzz0qbmM5pO
IuMEAQb0fxaC4NBBWzPXdteVDofyzz/nd7de/PPnYJaUSClKg2SX2FyLlljjiW932cX1f158UmaK
zKswTshB32m63kExPC66tK7+eekQqY2T0MY/qT5CI5YKZ1cnjbfsi9Xdf15dE1hM47iCPeHVpNGi
z6z1vlh4ceefF4fDhWi3io2TX7cXFqgvjGQOy+7K9Wn6t6cdjVNrYLQ3TgzTIVQIyjSG+LLs4rMq
lQgrIsMA9ZSn3jerGb86cZEuvPasTHEUWZUykRQOEjaEmQucWuXdss89q1LTLBKGVBwGPBTyzLfo
mMk8WrgG6LNCjUvThbcHh3oynR9e7d4Cez0t++Cz2kzLAkh2aBcnwoFW+ZtJe/fPF74+ab9Yb/VZ
XaJZArgWOcWpC2yVrZmGOnjetA7Wr6ftQiLuOBI5COn+/ON+vcYId/ZUuqoOYoTQ0FpcB7SFf1tZ
+aLlXbizZ1LzazfuEGuzX2IPbSYxUksxhZtFH1zNFhnLsTXbyqviZGb9tw4OnBt8LrvybIEZ4taN
apEVp4QzdG94p0Zznpdder68lLjXUyceT0ytLtMEmpUZ2f2ya8++yaFsq6Ezw/GkF/oRTNVqzKbH
ZZeefZMtcyzYuP548hUnTvrk/TZRfr9ozRVqtr44hdBLA0cOa5drkk5glEcCINqFz8lshQmYi/S1
214TZbubWvh7PY8elt2W2fLClzmVvO67E1nOWyMY3muyJJddera8uJx/6kbU3cmrYzRaVmlvnXI0
Ft7x2RpDHEtiuFbZgZyPvHM14MdDiRcuev0Ld1aZMaTu0jYhaNRXGnDRyp+eZy/75O6sNiM1pFWP
DOtkB5y0lcaRJSOo8i9r7/WJ+8+1V7iz8qyuhq3UmJoTf9UAigElTxrTsq/UnT3mlj/YXoeL7zTB
H99Fmv8SDVG/6HUEF+qfm4sQFothg9g9eUJc8XVOykGWyItFT6M7e9Bd4dhcMs9PhIRx7B26M66N
fOEbaPaoI53uGA7z0WE9gcRzvJ3g1LTw4rMnvU3qMGWoVpxCPXm+Onbh9TKV/PNtUcb1sfvFA+PM
HnUX2avJoCdnh/4cDU7+lLpfDQ9RnNW+1v4zhqg3jTNBAmdhPTT1i6SG94H9s/Ut0lmd6TTkaG5L
AseZWBN3H1v0fotWPZYREVF4Fo7gciqy5QqD6EFkt1BIkUdjQmhU/UP6+l0PLCiATIgEnVYsDpT1
5IoHBK5A7fCH2yTXk6h2K4rom2BiqCtpIIh1drLVoXKZvr1jXP3gcwJ1/PYAbu2SkHE6+hM+yHpw
EXao+BKPLdggeiz598iehjPG6nznmbsgrs+5s/H7+AfiktuktZ4Yql0iC+V0330Z6IwR9kY3rEHd
YHXXaN0WnpOTwb9ysyzeNVL3tybySIh/OhyG6NaHNu2gf/P6Iz+J1mGxzeVL6+6AvYq7SQu6o8Aj
ayN/KdJwvDG6AmFWqCHnJlUNCcpdPTRgmfvAXo3cDTR8EyPMsnd/gvHH52hB+Yi9AXpsyNj2mrWC
+e5Qpb11LHAs73S33jbuixuYxEfRQN9jQq/eCOa74Sguyfj2zK2HMNCBCybc6g0fSXxwSIWz2uRC
O7DeIQPXnp0qHz4GKBaQ04F/qT2U89000I1yDS4J/O1Aw6pLdgZjLsIsbAKJHOQtENa6IzF69GTx
v4CWBkha7wEXr+hEExrSPDLRYR/bnBurAiFS1R/ThMAvode9Na2qPY/EvKkCu7vRZQ8V6qbONu87
F7gjwVJpunfIRbRp7wXwhpCQ07vGfdczxHK8p8Hy+ntIDuEGKwTyZn24RwX5YEjtjMcq2+CWe5mA
/ZJPqGXjbiq0Q4JCvNBGBrrYIUwEw8y9aIRU20KerGg4ePqtPR5U4hInmHEmwSG08hHjTO4dEwxj
XY02DqJqIO44JN15msJzDFtnrSMEb/pXdNcdtlOiMNtwbSHl2UZk0GmgIqFM5uuk+ZaZk7OWwZ2L
k63UTNvZ9FdJsZ0NOy/w+4M0xd5B5LSjiVa/4g8NQXwVz5MybnEbftG1NpcHJ5VKPlc04fO7zjn6
w6tLLhP0tbbcQsxH2pnDG2E8+4kQCceRWdvHohyxnajmnFMnUscUZ3jqFMbenQuOOCSmnN0YmQq9
vU678cAQajDvYlKbej976Rt0zbHbknyNOFZaSiaPudZ4yG/LVSUedVu/q5O62BS0jDvIf2Bu7lJh
fPdypnDSRO5pqhD/LU1Seq4gq4NSf0EYDpIMWA4IqG+FKXc6bW0fayxTGowjhK00auPTFzw4tr+W
brkLLRrUdbbzsgK3Jiy7ISvaTzOom3VU6ms7PUVjReiQZgDoc1rg3+Cbc1KRVqm6CmakmwYrY+Lm
tPrPyWJw0bhJda98p9YgRXT2lh9J/gxQW1cMOADGg1H0JdPSbJ2G8uwairVHjMPdSGY2IiLcqr3J
5IzgXyjgsBObzkRrnthvsUNPcOMFuEXrif+y2dkYmAFpjXH6pRdlww21iI1DxdY+ud6RVNmVTM/k
D24AV/vGi8Pwrw7AjjbZybHyIxIn/TZkYvI2QY5AthI1PD2toe5LLSrQDES3xAXi+xdHx8yfEVg9
qKHb1VFvXOyOvAlGOuSER1v7SlpOYccBWxr3dfHEYObMETE71TV83yq7ohOT6QoX/YIsCcA8BAej
svHVi0HtNIhMhD7vQCjfOKH35udNdSHskjridCZO1sRxb2prG1IgOOgUrODaJcSRbCQavLhDPVpP
qEHC7KAVufgcy4HZM71d82LlYUSYqQ2gtcp2yZRg36t5kPNmi2Bsl9Vkuk0sDTasAn9jtIO+E0m1
64moDnA88jDmwFdb86o2wEoqIDfbm6qMUAHfsHn8OrTGCylVhFEnBEo1aYEfjKUKcvoXCd4kWrUy
e/UxKR6Sic4y63d4Cy3ltSe/BQhfcJnqLnvCKNXRpi9s4IsOfdU0PzE8WePB8HgxekwRnWeYq/xv
c4ob2FM1k9x16jSHCaK13TPcKPJXNQar2NTWJLJ8EYBT7viNceKZBxJbI/Q/tiJNqu4Qpbfxc6xf
eSaDA7vPsMgTAEi3bTMbN37DuAqD6vVdqmlbF3jZS9HJTa6V3tqtybOBKJkwZnGeuT7swLVd3U3W
XURAgVj1SRDfj6Ge3dZjgupUsRg4/UVDPOkIUCEGQHnTxBGMBKbdNkl+72tHFiCSYgxqHDsNjGDj
XcjiwEIRte7WaNIXEO9IsFD4IEu/aFbTPneGxmJdwRkE011mxnrCshkj3jVl8S1W9ir2prSE9EvE
WG/jDYX1H+xB0qzgb+lUutvch/FA8m3DwNFFRFJa4kVoqn+KdEu+ySjd9kmfsIGgG6PnirvF4Deo
vxgCP1o+ANoqcu2b1WfuO/IVsUa6b9/ISmw60/vwqvYn2TwFLwSMJ6VDRF4g4U7FdQZTTysOLoKP
unURB+qsH16BVgluJaPcKrhjFQTvIob7BOn5MZ6Ek5FXfTWX4IfH3HggrIJpc+2otUhojPqtxoor
P1onV/vMSuGFVK/KeWI1gElpbZnCJOtAJNu6UGAbQwQ4Lyw6z7QpoxNQNnQhVqbthtxi72BCjq8Y
+iQfI0NTa0CDLa2tnjIPiPsKuy+Zanpk7dKREQU0JpC7+o1upuTP9aV9p4hF9dUN5ugHfsVXT8s/
R8i8Bwwbe28qduM4MgcXHzFioKPZ9reG1W5w4CjoHTTf124G32cItXWfsN2qAYOu9CYZjtBIUkSF
XvlOv5yoJJifmg83p//iA32BjU4FWDp3BptZ4ctHonFWybie0nhLxpaeOfdFeu+EZ2GRLVygRI2r
QwfezciMD08L03WvS7C6ImF6q9+grDy3JO2V8UAORn4jB7TJ3Cjttq68h2iS6wEZonYEKjIFa2pK
MisKrlNHcWqS4OzAn9wYSUWwZme0637Szm3Qw9QR4otuTBsoWKSFPiREq+G25KHPYAZeXZkY9EPk
PL2BqiFBApruXIq6qb1jibhPIWHSnOkeZ8mZTXC6jqri4KACGdHjFGg4QBvsqtY71IOzjxieTip7
KHXr6IjxaNn+tDexDq8Ns6bpLU/QBG6ur4kk/iKE022CFDx3kXu3ZIOlsOB5ek0YjN6nd31qhxFK
B57s9s7MrE9H6YgpCwFStnUe8IKxiYuC8sOFogMk1Tz3nTp1Yw3dhQRbDatEzoofdk+YPbbF0JQ7
380xE3R2ApRYJ0lwL53hs0N+4dwMKaYNAvgA/N1kE6Qm7kEI5pPsFxTuSU5WvVXcEajKnMgXL6Ti
cFtdDhCxjQPRtVXsPQ8dPSzQ1XB0AWdBAQ8UEhorJJy9RvBEWxTHgxOqVVhZAAaKOx1PwiTxaCY1
3luz+8HTdxelP7KIAJs83k+Mf4zBOdkxTL9MZA+jbB9z3rorwkSilSYw1vWxYfONWvFHK0VKCgen
3API0be0r99CCN8rORhfqgjPhB7djFYBPkTED1FLXgzPAa8l98nKAZDwTDFd78nmuGVnzrAyl8zw
CO0bNgVYwE2bDZdEq1nnKo4YdluxqYyckZmkbfTIrtAcrkRRwB1J4Phuo0io80iyOxZzA9M8u9xr
Ki1mPQ9EdNLByJ3qEesR6QJy55ZBgC1p3QhzrSWhum8MVCWd3j87bfU1suqN0X8ZJ8yfSQUOL62T
V61KkNTv0J0FTqaTTwGbCowswW7sAt4zJyHAMMPh7oaYLvZJLgniTpzRXCP5nkYwscwqgc+sUyg2
G7ccrnsOCONTvEXv8YDTYh3lxE7Y7/X02Ic/GKnem8L9tPXs/5Wicx1za2P0aahiY3eF/u6FRfq9
hMHAlCpA/M9hEBpdV8XPXfnqkuQSs7lcT9l4k4N7WsniSlLOIV4ZdJiNTUz1f8+H8jaGokuSzcs4
vuoT4sc0ML609XABXgt3O+2DW6a6HkKkmMhxvCRrIrg4F2macVQWkFMvxj0jx/o4sVMZQ6y8PhIQ
k8zB659No/vWlk+yZGSb90TeGx3uFXafPukB7cbhgHcyG2MjXesg+3LP+58vFmlZ+tEAcOtVph1M
jNrBqeEOKTJjev2bSn2OWVKRp5WPvOrwfXRhcVUKsBxaGw4IHf9pQb/RgfJ4ctEbo5jVEB4jC/JK
bWdK1vaet0FPpu2KnC/ySvrkxao9+Pi594DLQ2NQD/13HxJnjXPjs2vG4clsAwDZBuooXj7ENb54
nKChBXQfBmESe9L0Phi8j4dJsi9SMCJWho8Qe7SWTGqlULNGCjvcuhgrGV5SwgAQMa1p2ez/3Om4
9pD/o8/BpWdtFEimcemjVLroDu76FZtABtTozz+71ORIF2p/+Tm/bMDJ/2gdOhAGkzH1sfgN2Ls4
OTyRTuz/pV3zu4vPeoeiitA7EEN6KWL7tZFEdWcC8tGf79DvLj5rHRYoXomz8Qc2tDQQjBEleHa1
vC27+qy3HxRI5CYhaM4Q1fBjcOIKimXnvi67+qy9T7D2aJWkFV6SoPopjPKixuovTc/rJX7x4Myb
nmysRKcXXcNoqQ7vOb4jqbbD5KVy+vp52aeftT5VIluXKMfm4sg4etBgBOI5Sq0vy64+a33SGzfS
0XbqS+DmIW2igrZFn7h/aZX/pq7cWckGflfjxirrC4g+60OaCtl1HxV76DXtHjdQ/LcO7vUx/NX3
MCtg2Ye216CfRmZI7kZcVM6Hk+ZXn8ToPzYW08xrAoN/WHTT5m1RhWXYL8faPRugLUOlrbXQX1YJ
zqyIzUjio9PBxOVV/NPpUPqUyGOWFbEzK+Io7l3iyKHxxciLcnBOoDGW3ZFZAcsc0JiPBPs84V1e
1/2wnzg6LfzYs/rlzc5xJsj42Kblr8eY5j9S3mq/7KNfV7x/0y1Y9GJskHXaWbPRNtb1Os/Ewi9z
VrqZSbh0rxva2aGDMCQ05ipnyaAIc8isbsPW8wcEjNoZoscK6iPS82jhDZkVrXbVGLZAMc6yzej0
dPhp03bhx57VKU5DAI4Bpl+U6yb2A0ejqZL/bRW4fmW/WAXkbFyRGGYIFtrWzmGu0lUUa2IVQipb
9JzIWWXirJOWg2XxLAoDiBjcf4/AxSVzHCnkrDK7ToW0LS3tnGv9i6aHaz/2l22b5Kw0DT8Cyxrw
dZZuviWz+QgR9H3ZLZkVpmxrgiJcPnXNrEM0r/Uy2Qb3Y1aUnWiV3bmjdtb19BY84a4gRmTZh54V
JZOCapw8KsdorIeuwlLmNAu3YHJWlQLqUNvVfGxU43dDSzhZIT+XfexZVfoGaWC47LSzDRltndrt
u12LZau3nFWlrcqRGB+unVuYuqZ+uLeM9mXR57bnNQkTIulrHr+qo70ih3bld06z7Lu0ZzUpbWCW
Uh/4Lkk4T7H/kwu5rCLtWUVKj0AkAy/ueehGIDkjZ44WIetu2V2ZFWWcmlgpQpztQz4cpK1tJNro
ZZeeFSUhAYBILN07N04GoQM+pTL+stv9zfpqz6oS14/Byejqx++yM/sHbSj+slH83ZVnRdnHvd9W
eBfPpDJtcwGww3CXrdv2rCbTrmbRppl6nsrps8cKtbImKA7LbvasKkvfInEjjRA7AapZidakxyyD
zZ8vfv3GfvE6s2dlCWk+C3wxVZd4yl/DyE52ozM9KguG959/wG/uujWrzbpqagLzUn5AAbEnNOwS
dwW7q2VXnxWnXQj2JZYsLmEQ+DBIapqwdKeWXXxWnpCnxATxr7jAuIfD5tOgGpN+2SvTmlenaw+0
XSY+ud0m20BV7tFy9fQvX+v1Kr/4Wq1ZgZL0Z/ZTGpSMwIb2qw2wGLte0R4MInFXqBPQUvz5Hl1v
9K9+0PVr/7edbQFZvrA4+1xMDTopZJ0NAb3iLZJRsW00Uz0TWGWFa+VUf7lvv3lgrVkV46qdRtqh
xYVicC6yLfUbcFcfhQzkX/amv7t382IuYlB+0i4ujFUIMGYW32wZzHTvmDvMvQI3pS18wGaVHbpA
tgEiXd+J5rOnPFKBtOr7n7+Y39XdrLBDJ0KvAUvuYhimccB0hVIktsxlb3NzVtXABzVzmkg8iEA7
3AjDlDj9cLIt+uzmrKoLmksctX3/kiVBcFcQ//mIpXdaopeWwpyVtSEhHHlqIkFARs9W17/jrkr/
Ug6/uevmrKp9xpKpaUT1BYXqfRn59x1M1YV3ZVbTEAEjPUur+mLrNPaLuNiRyvJ12R2flXFTAb4r
oxQjv99+93TjXiTJwkvPCrYFbVRivqkvdZv7t5ZRgrbRRHv48wf/TbGas2LNa1IXmA11F7O6Au8V
mivQyxxCYmgRbtfoC9805qxWc9LsyAlnZlIwzl5BaL8Rdfv451/id0/NrFYFypDGGMuRBGYHpqnz
3sr2x6JLG7NC1Xix2H2Tuueh1uSqbsUtRHB9s+ziszq1yzKQogsDUjFHwIpZ/Fh7w7LHxphVaQNK
tOt6r7/E+JuQRmD6C3nFL/vgszJF5+1AMdPUGbWSWgEEebDdpR0ZY1anDYlASDFTdQ7IQ8ANmFUw
RMjDWfbRZ5XKpiGqgRs2FyAJhFiMUGSq52WXnlVq5ncGplAtvzg5C4w1miuTdueyldGYFSohZJoE
FFRdEiR12oDmoAvRTC375LPiNC2brZqcsgs24fuQhimE3b/U5m8WGGNWmznfZiwi3qN6L38WGSjl
1pPvbVPLA6FZC7umYlam5AjbkkAnforD+CNC3Oy01iJhsxRiVqYZGcJN1XjRpSLug4hrWIlZ8Lro
zotZmUYJyoxRFREbzb5ZDUX15If+XzZi10f6F3tLMavStDaDqO+C6GIEjrPLR5/g42urcNknn5Vp
mudukBHDe2la9Vw0zt4aGLcvu/asSAvI0tio9fDSsmihqMzBtJT9wovPyjRNCzCxREheAIM9IHr9
tFFTLby28c/tvBEL5mJOF15qr3XuFPmV71aA9GHZbZmVKRaYFAs+t0VG2qOe9j8aQib+8sl/cy4Q
szp1akLvzDAPLznKBV50kBHxg+NAGBCrLvr4c09mbRagE0w9uCSu/sW1rVek8YtE9lLMHZmtbBzp
qtJHJ45eian5wSo9f9naq8+KVK8xJnf1xH5aA7LrDnDiZK6WrQD6rEo94I9RZvPJ9RANvmujuIwG
AE7L7vmsSgGVBnXndt5ZEUiwrpSrtkMMeWrZ1Wd1CiY0HzVEp+fSm25NF5XOMNwvu/SsSnHuTUke
5bSESKZvvObZSRBBLLv2rEq7To5dUYfuWUODtCV+hnjPijCiZVefVallhWksxquDIVJfOrQflpc+
Lrv0rEiR7AelZ/jOuYzJGnZc96nWrUU9OH1uZkQ6oCxCTklyyeDrgQrZa6DyF61cupq9QgsrIxC8
juXZArT0dYhG+TlIh+CLJfdFV7MCzQtdFH0QWeexKF3kdwQCtrH6XHbxeYEGdaT1zWCemc2+OGNx
MxXdok26rmbVaUwT07ZeGme/UsUKW00EYHHZp56VJhDJSPOMuD9rMEO2kPMAusHLWnbxWXGSp+Hp
uev3Z6t3bzTr+jIy/9Kfuj4R/7lp0dWsNksVZVYHdfmseybZWDXwuyKKmN3roVchpsNK8SWXcfeD
qN160UYJKN8/39pj6aKZ9PCzhHC0mNuEPaaO+nXZvZrVbJv6ejLh0zyb0FGgDU8/1agvezTnNseS
eHJkmkZz1nKDnFdfXzmxu2yV1Oc+xzLqzE43RUNCFCL3VnskJn7ROqbPTY42CpliyIYG/NyViD6h
7Ue99Lzohs/t5MH/5exKliRHleAXyQytwFXKrC0r1fvy5iLrbbSD0IKQvv559qmbqaw04zKHtjGK
DAVBEOHhHoJteQT5Z14KiDf1/CuvPLfGJLHnyetJz6agHOTfkH4Ckr67gzrFrRTscjRfcH0bqMR9
MJS1GFrJoRzyqV3at0AJugUaezYTsPFx6GUBubUGuqMYGlv8x22OY7fwbg9nXrS0DALCZfnqZ09Q
iE1W7nafEhugtK/+tOo6hiYSmILBsAokKqTWP7g5i3U6fabbBrVGmZuAYwbsAp8MxtLxCNkgpCie
QMxZNjIHzXe6Ld3Bj4hbzLJBSA2r5jGG1ihwFMFhWL4FePM6mcRGIGHSvo9nDKFhxNKUd0CyDgco
9jounvwdankcRGoG9zxEIIseTHuYmwGrb1f1R7fNWzfqwkEHqPdA5EGyFRAZD6Jpu98GH7SSTn8g
sa4+BdEUDjapORd79xSDovlQ8dXROjY2YSOYt+2gN5GTvYizvWnfeSX/6bRxaiUEO5sgIatCkc9T
ddILBJEZeeO2tGUT9GAmDYY7AVZIlBugV1D74J2NPel2SG0gVWDKsIP0Rg9lcbRZsxCso//6hIZu
txG1rn9/X6CoXKwyjzstP3tDkaQaBNw3EporUZ1aEQZjOROv/LIHcdX0sY3VzyVSX5zsbmOpdogc
DNvQLLna/sEY3Y8oom73hQ2k2qHN6XWQ1sjnFaTWIEkWG3FLTG0YlRFkAVVbveQa2l2piEjWlKDd
crOIFV6ahJYrJEPnvFhi8QNFnv0TXjUf3Ra3Ygsr5zIOCNwcEsug5A23D8keP7qtbZ1OyIKXNdRt
RQ6KVn7EPId5QJ+B3Fj9ssMXMovE8nBvxQAt6mmIK3HInoagND9Z0kKiOlwxQvr6L7j2Nyw/H8Kd
tTUG1/K6k+qt186qzX2guE9mVwH9+vofuXKYbKRS0eswmEawnLLSA3N92fLwCJh+9dNteeuZChFG
qBqU65DvSYlC+wD9sr5xojlKiI1Wkku1gSt2n/KmVmeoUL6pi8bt7R5bbg9W5H5p9h75l25AVjre
x/EtvMA1i1tOH3dyR/MRJAsYwoJ0S7t+7BPvu5u5LafHFJXG3Gitch1duIr38BGC9W6NHjj235nG
vpR75YWYIgQFl3nHClAOb81wq7Z+qSy8cKJsxBKNMbTKZm/IQ9DAk8PQVN4XUFVCFAGjnriikCY8
yZgOjlEztk7wPhlV1GCXz6FQNqTG7FN/gHiZGQ+vf4rg4iov/SDr+I6NZiQqpjEfoJJAv+2+IvrM
oBvyNRoa1X1oB29qIevVlFTclxh6hUDTEqzTc6+JeO6rkdb3mH6dwIK1EEhLLl1UQykjwNBlKjHn
3WYg2gD5Jvi4vI+FassuX0by0UwjXx+h7kn7U+3NePJrUW0pmiAg5waVAiQIXv+BV/zYxlEtAZXb
AK2+vKIDQCje19HceuH/rpG/YLvIChusYBo034PKBUbpMNTJJWH/iz2M5WcMc/T80GD87FPAN8be
x6WHGWyWkPrDkEAw8vVfdyX4Rhc3/QNG1ED/uRjZrvJgr0N2BGUzgUpEM0I4owpQfnA0ohVniJT+
MLWhytkeHbgv6KFNFL/hgte+kBVpFOQAF9YGKt/IsLz3OwoNzaWcbljo2uqXf//DQqCqFhBMmnGA
MCP7UfQQ5KqhfO+WidmoqoSuexdyRMlwA80nwa4xYOfW2yBR8PfWVwYEGPSqFOi7wdYWFuypo55b
ohfZcUV72x7MG1wXyq4ZpCjBrgihqbvX3fKa0a2gQhIozShhFMol8YRRw/iRevKGya+4vA2hWoq5
hxJTofJi7+KMoMbzSGsKIuPeFIfXt/+7w/vCwbaBVEHXRZgVJyr3et5/a8WEYcNCPCBW1gBLluZ/
IL8oTh6oXQ+4BbZ0avvlYeFkukuKqn/nK1Yf5m5AexE0u/MjhmD5U4U4gPHUUFc3DHHFyL+Jof7w
bMGH0J8GnBtw74L1F3LKWV0Yc/+6Da6sbqO9Ejr34KmgbQ5ev3d7qCoM9yrHdN2Ge/WUe81KcSip
6X6BLAR8NtwtUwytaBKGut+rrRvzKObHJWlPnRQ/3UxyMdUfBqdeDDK5SSLYSqaeCV8w2h6yWzfx
NYNbeUuyQ2dBFgjl4Hg5Ewo5bc/tmW5jvUpegQAFYjvgUbrMkVfJG47xY7c3uo3vwlSlAWa2RD0q
NDUo45nITNd+dLO4FUcKiAHLpkVJigvZZqyCWizm1ccbtxrFd3vhlNsYryo28wgmizEnC8qiXh/r
c7MREOfEcQfZ6VB+Ro6yOOHziY3LmsrWhBMGrPK2/7VrTLUU3eQWy3+ndn/4ZSkrpqcE90RBv1LP
HPxqfXjd/ldirQ3JKssIik3xiHdR54EebOnbdPOgCgvSC5q9/ieuuH1gHSpFwfA3mmHII997wvP3
fhx3t9dRYJ2oEILdA4eUUl5THX9uVkHfRcG8uAVIG5gVxbKqQOSGGi9UczJZo/itpWM5M7Cu525s
a7N6CDU1+LfuuhVEvLRk391Mbp0qVEqjuip6mYP2/Cf0HBrgj/raLd+yEVmrLIsNOgYqN8WmMkJX
CP9RkAQ5bd2GZGHox1OQrJc58erTjrl3TIXite62+CVO/HGOdtJ3y4rHTi736usgmu9Tp91CsA3J
KpDJcXBXdnkCpRNwzkMpjkejm5/bNPnlUIBmlnSIkrs6REn0uRXdZzeTWKdzryQaRwxLJ4CSHda+
/AmuuvJG/L1y9H3rfKp1VtCyGRASSTAfto39E3J+K4d7cfE4sVvsEYZEVKMUxBEG8VFThZb17IQL
wtqWVTYyAk4HMPl5KmWcRpKcgJr+4GBxrG0ZpQLFH5392T/rsoX8WVt6KRTMndCkWN16UpR70Tfz
IINz18p/Tbn+GhY3DBzWtmKWnnmf7E1AznXTx/fU6+csZIPv4ixY3Qpa5YTSQOUPICLcBXLr4NmL
Gpd4CJliC0RaofgHsVDItLfdfoZ+4Wfdry4zExcF5L9DyjoCtg/u3f3cmmYxGcWN+mleTPHxdWd5
8X7G8lbE6qEgy6KVEPBCCZDjbeEMUhGFAdp/Sry/bhSR/Ytz/CdPwl+xXv+dBLOj2EH4CghsXGQR
iPPfQ6UG6na77DKGib3UQBBwBQhh2MHQkoTmYLyZgHKv3H7EQ1XduFuu/dzLv/8RoOUOTOXCi+2M
ypRRGQRioffnC3C5ZHPBQLr5ulWvhA67Hz+YMKETpDTOYhPmflNrkvVQNDy4rW4dcDEU8zBNcImA
QjR3Hnpo0re33oQvprT4VNb5FprzjRp/P1MuyhxTUv3/khqS1xvp46egglRUNIDa3+1M2n0o0rcD
JOt7KCTTGBp9XvI/tTDtkl9BatY+OrqXIKFtzRl5M0TkeQ+uUagkuW3dBhcQfNCyDqBCPiXx9j9a
x9Dr5IF/40b2LzHvpSNjRath16pmTb2fecj1cR1U8yuC7NbPxXThQ2HGogVxaVmBgBUca22czBkG
9Mo51Xvj1FOOExuDUIIycdJgfwZB5E+KcJ+OBOyxTj5sgxBK38xyaBERfCPBMKtQDq/b8cbx+z0i
8ILxbCDC6vl0oDq8KMST8mHvQIpo4jp+nqtNHoqG1ffxkBRPK3DnWRHtftoBPJa1vkSHzpvbtAOu
4zDGwQTKr9ELj+ALo2Cq1hdSxQokqc0A0sRDIcZbU6NXAobd2hxqaCFBbgauKgAR9rjSdzRiq1vA
oFb49SoPBcYNAcPz22eMIzxA1fsWjfiVnVMrovINOOGay/2so+0f1UHlb2LxWzcnufzNP6K1iBK2
lr7Yz+VcfNNv97b54bawFUFnyVfUvKf93IseAzccGCTUBTzcOm7rW0G0IzvYP4NqP0dBz05sHYYM
5Na3OkjXTG6lSUuhxTAUw35OIvCfbqDjO24oKDmeTCvwoNANSRuF1UkQFykk4kkKane3bMamKyHe
CJJMqBKewyXqsgRaY61hhdvOE8sVu6D0+LSz9bxijvggoPXom7p1+6Q2Z4knSLFVXbKdFXr5H0FP
ub1Npslz3LrlkDJmUR94bDuLSnbHbqt1yiGElDm5ow0O8pouAu2R0ucx8r8HoJI7yNp36jHglrW8
EWpiEN1RxoBQUTcgh+qK+2icyhuh/HJXvxDJbfISJE0hhm1mc/aTlt6ZogP3NK8Jfe7auPkW02B8
MrTkB0h3gpbVyVz/gQqwcB00+O3PYHDGcGXUnkC77oLpAbLJyknaKK5VNJXLWStNn3Zd0vu4naKj
286tbD4EuVuCZu98DkYIaaia0nu/N8RxdesaWQcfHJg6mc6tiB66+YPhw5Pbvq2TO4U8mHcZTeep
LX62LArBD8x/uK1tXSJRb6gu8EA7i3iH5gN4wefVCUWNr2kdW0/vmGIN5ul82oH9TlsFvvTXd30l
DbdRApsYmzhY/OnMh3G8izFPdYwCZH5r4DUnNU7zN1renOC6cqHYEIFO+3gZV/gZQOJAIVgO8TsN
gWWX4jKMZF0oHZ8Hs8/heIZwxP44AomTzrp3GmyJITXwd46wJbKs5d6P57bSv9aCnOMxuZGDXzGL
3ZwPRetPkkbqrOv1c+yZf0AG6HjL2m13CMlyDb1ReOU0yXMTJMPhEnXcTqpNcSLBEVF4nobJ2ygD
xBopjoGaw+uuec0s1mEVmPBFuR1bRyhrTnRfh0MHnnm3R1tkHddwgmJfOa/j2Wsgi7oR6Dejy/LO
bevWeaUhMEl8K4bz0M53Hqq1KaeD08AcPDH42xMhqbIkIBMHNVhDvYep4f39BjpqR6tb1yxIe8si
AeIJEsLBBw7d5N6Yb69b5fLhXrhjI+uAGogB4ksqdR7mogZLAfWegRfwngie+zcMf+Uat1vukNKh
MVuNAu93B0ESAona+0mx4AdwT+ZZrEF5UR8I12+1qpobf/NyLb3ws+wW/Mb3aNsZH87Cn6ZnCbU9
SMxEyQFU3t7BtJwdXjfflfNgN4lArboVIgA5f8SLbxjzhF7w7DRkAFkg60IHvFi2DLn+GQ2R7qC9
+QvI8t0uRruFTtal8aduHs6T+GxQyUjlJFY3b7V76FTGgeIikmeIPR5Gf35b9LcKVFfMHVoBAqC5
zWv9FiZZ2Yc7H/9x+oyhFRvGgbKt6S5c8jLK/B3s45EX3WoUX9u0FRuGcPJ4DCGCM8KluqMhEcfQ
j4rMbetWbGhjWfzO8c8LLfx0wBDKWHlOxDpwQSs6tI3pls7z5XnNLpo26bQJx0vQbp/vRQWKjiaU
57Ei4jlRo36GEPwnJ6PY4JY+UNBZqeP+zNDMTszHad9vlLOvfEy7ER904IQroFlzbhL2D/T7oBGy
1u/ddm3l2G0CfW5/2uQ5YsFH7ZnnJkYm//raV+K83YsHNATECJPpzl6UgN1+VYCfLIuqPk596Xjw
7WY8N0tEOky3nZlZFCj6K/AlVaPTJZiQ3/2FPwpCoSTUW2ugCeQMCbIg8t6yAtT7r5vnxc+Kxa1T
NAHyyHuczBwqtl429iP4ZespvmH8a6tbx6hsoOgQt5cRAG/+TqvyJBR9cNq4zY7Qx43G9Pw25Lyq
wvt1KUNojg3U5W2WEJsfofbWhM8Gc1F+C9xGDcUfgWqt286t621T7Ro25SpyyMSlVC5zGkI81M3i
Nj1CJBmbWALwBtHix7yveREol5cBbGKlwFOFQkrDgfZvwi0dIX0xltRx1xf/+cPFq1pDYSEGtGKZ
6OdofSBF8cXN2NYF14KwBE8ODTdJAp6qjEYJd9x08PemiwGicENddzljWLM0oF0RgRtXKyHWuWRz
0AalSESOmsAFPmRGTP7KSjnOQtma1dxQTFyMtMuBle2OUHJ5Y2JovDkYPeY2NwJmW/jKedTlopvu
vah4XIrV5XtiaauUNFYQQAkIwCaUtU/hFt0VVP18fdcv3xTcZkUY5xL0pMMGHIvq5aOqJwWdGZBL
B37nuHnrnmskWYxaC5kP+5JAB7AznyLROXGvwTTW+ZTbSHrMbWAQdV7vTehD5K9unZh6sLh1Qv3N
8wGXK4dclPF9mxxE5cSTi5WtEwohIIA12rrKMZoPKSMxfZjb2iXUYm3riC4iiSEGtgy5p7YlZYq+
mXzPJRxibeuE1rNuIn9EONy64it0RM71OH5+3RNfvDaxtHVtTm1A0Rnuhpx1y+dlwxTEWH93WtoG
bYSahbMc5WVka9Yols4i9fUNi7z83uU2aiMc2rXth37IlU+GLAmr8D31SXPPEkhYsrhYD6YgXqZK
dasp9Pv989/nLreRHLHe+3qiTAJpGSVZoob6a0yL+T0YQ9WSxgmUZsdqKFAOKpL7EXyHd+Es6L9g
DSL/cmg05omkw5dmZOZ9IuYlQ9NwedP6RX/fds32ESJy86Gs6fuwGbtMAqeRTZyjnQgi6rSFfu0B
+r/d077VzYGThdwZunlpF+nlUCBMHf0uZBBaaoLDpFXi1E6C+Ozf946UmnKITnW532N62IvZWx7W
v9zcw3Jq2vgraDPjPi999TWJ+cMWDLcy8StebeNhWAwJZY8IjBTV0L8LONnTyUMzzG3nVvTjQ12O
dQLHhvRcnUH7ek+b0UlQI+Y2tEVzUCuRssVZX0tIckJ8bItbtyYbt8kmukaUQUFbkW+bf6QblDEL
Tt0wd5xZoUSTIva3eetzNLHedZz/8AvfzQ9tpARTY98yhjMEHdIfpdd/D1Z2dPqYNlBiA20rLwD6
yKcomu6my0icli4vnpjbMIkaMEEwptMSijGBfAyI7J59Db3b13d+JQbaqIOEenrt8FYGNbtR93Wf
qIdWm/ekqqDCTiNIhEciTlcd39LfuuQOL0RAG4rgSYEeAMap8gRK5Mmhmwh4kdhEM0hMd1nNfLfH
HAxnpQBLRfuBDELkDJtftJmhpiidHrlY3MoCto0mc9Hjpajr+pMXrdNBVbtbeZ3bhAiofYtgxMHK
IzKGqW4IxBnj6P71L34lrNl0CDtk8sBgXLW5wlAV1POCLo0Ifee2uHV8kwg8w10PIDG0bL/WJkJP
YxbVDV+9snMbhzbVO8AfFWZQqkYXh7p+3iPcl69vnL7sljYMbcJ4dRBUpQBtRrFFBzJBCxy8YNB+
GpPgMeqX6SRL4Zgw2UiimrbLFoHwDmjl+kNZzIdhaztHK1lJe4sRVdCuzH2udvlTGx/ziptbH4/b
4A1/gCR7T4M+Lwrzpo5aiIA3t5qp/rXPe/n3Px7Voo7rcN4jyGnPjJjjmtQ/RSzqt14H/tSN0uJT
iPDw3PARtZNWk/Y5BGP7kq6RltvRLwUICYrK/NCTD1H7193iyp5suY1OQLgnAh9Z3s+MHca5h+Jq
Xd+oCF+u+hdC4X8a08FUJ5gW6DErxNZHBtmxrFV+eF9RRd3uPLtDXdch7mbZwBmSePrUrfXb0JvF
jbT/CoKP22Q5IIf3F4iaC1RYQrlAhJmUx64shudaQFghY8Huf+zaEXLefgkpc613nsba0/cURB53
EeVQDlB6P3LcO592dLgPqo78Z3+r5F1vIogHQ5s2Y0Q1N075tc9ppYstRCp6Al3GHN1KP+1n/hmg
NacR9JjbLfQV84hGiBW2vrBBUfncMe/t6254xVPs/nllIj2yovfOyPeNBqNaO7yHvoBKy5USJ9AL
t5mcwQoQzFAZbvOwEZ8A9haZ7ojT1COUOy0AQBxjDpmXM86RaoYUI6EmLYp5cfusNnSKB2Xda+Uh
iaFbfOgAE6whA+64uOUzM9mTqInwxFgwtnJXUkwojgOwgq9/2SseaUOnoFuZeLOcJKTBNNTTwVB0
kG3o1u3mNkhKjUESLmK40HG160G3ANqZyfFpbqOkIlSBZxDCYb6MrBRi1gpgpi50s7rNpiKKagFm
kvQIvCYbRvNvEUBS2MnmNp2KzxvUzXoUzrqJwlVE1KQQIrtRVLhyVOPLv/9xixE9jF4iBeYFy6bK
9iowmdhCdjJdf2sQ9EquYkNeuh7lFjHi3th2eSy68cQm8SDBC1GDKjJIKrdczka/bMOIGFcgWLZl
8ZWX/JmL2YksJ+Y29gVCyMG6h+yytr5A5h9KHn98/eteeWDY2j5aAz4WC9WhhqZQQq/CQTwSDO3f
C0hOfykj1n54/Q9dYtcL17cNghFQVaWY+O9yXsZsTLtEKoz7beJ+3sn6KDbEOBEZaFWzgrQ6A7nk
LS6mK0HDHo8s+olWgQ5aSHUtfabI+HHq6I2r5traF6f7w383WTWsAQNsPnlNmykB4P8cz45Hzx6Q
xOy7SLZmxT0QkfDDCmDPFz9YO7dsx6bp8EhDmjWBVwk/+Dr4/T9D4zSRCocN/jaLEQt07VA7A8Nx
f9f24NsVY/TtdUe6YnKbpINvgZIYeury3dveNeEcpsMKLXa3xa0XmfJ3U1d13eZg7zkVZdyAVyiZ
75wWtxFDKFdLvc11n5NSq2z1BWTqV8cSvg0NYtCxQn+XNXldBXjEJBqNx3q4Eaav2Pw/mB2/qVpZ
li06vduP1R/nbF9bx8qhDdpRmgWeD/hk3szBnZ6973Ot3YaxuA3aiasKg2pAzOecsAhCO/LrVMZu
7QcbtaO1XIdObW1eGhLeFUUSZ1BerN0KDzZ2x8PcVUgblJq2afQ+zGohX7fRcztDNvnFYPxt66NL
YFmmDfwUos1Q3r/Vpb5y49rsF8EO8Nvk44HZzUZEWTm05A7SWc1nqSAZtNBkezZL2B1fP1VXbjAb
zNPxS9+0C1H+GUR8bAK1Pnmgnsp8jGIct1Y6VoltZE9IablruiDjVxDBM9170Mu5fQ4b1zPEYpmY
0TVaK8NHM7bft0W6AClibgN7uqZfYZERF5Sh1VFPcslA4lfesP2VuGCTbKyill4Cgod8NUuS1hF/
6sjiGIttbM8mIt5tIPPLg0ieOCUVjlfsGC5tUA9BkTgYVmTMmKFD2Y00KVmQ/7zuktfMYpU7SblJ
rQxqM4BRes+8G78u0HC5EYuv+LtNsaH8VqHiEbfQeQWwXcdf5mI6kLH/1PDGDfKEUPP3/b1VUYfW
UNTme/hjGGsIarf1/163zZXBae5bKT+PhajwiOsBHxj02awbeU/nSB5rXYq7efZQoloMz2pRQ7Aa
BHFZIJr6YyJo/dzvnhMyCk/sy6f7I3Hzu8gzEyal8wQEWV0cftqC6MYvvPL1bQYHHckgmBiCa7Lr
r1DSOAJq5MQ5h21bidXqoxTdQ24sb4x67NbmY9utt1gVr2ToNlhsNGyadTA2YJ6Ylv60oiXwqQxF
dZCYo39DFgVQULFWQZRSYOC+m2Up3DJRYv0qLdmejPXS52PpDccgCe58GjnGKBtrs+p9COoeEXBk
3ph6QflWif1GdL347AuPGhtnQxfdrWsZIr2Yi+rnLBd9FHTw3si6cWuWMRttI6OtHiNwTuYBqCiz
KVm4TJuAlsYtVtlSRyz0TDA1ps8nFWFgdIpVuifLv68f9itHwYbxqSiE9BOHfWZDzP20tep+lnpx
27oN4+sV7/otNm3uecGDHguRau6aldoyR8kMLE+0EKS8rQ4/toGMDsGkb83xX3OcS3D/I/wk5RjH
cVIBXdZW3sMGnOYbEMA2/0o/EMqtWGYj+lg0GbJIjV8wdlMqlg5lJ+HoNsSKnyDWiMZoxFtmiKtf
fcHyFdJ2jhu3rk+9otdfj1OLljnaz2a4b9rESYY5ZjbCLE42f+qjoc/rJPpA6rVDJYK74cqZjTGj
uDdrVSPxLQe/zaLAE2lcqlvN55d9hnHLZ5qOLWq5pHIBuPAf53nZHiRIgjISRG70CMwGmYVzEDdb
N3e5qrBtw8qjkvUtmp1r+7dcpgwAEUajEH0nMnYineJ2PKrWiHd1NegbyN6Xnx7MhptVpOiUjsc+
D8k+HNnertki/CUlEgFzpfTrUir/xt96ObgxG34Wb2uzNCHoq9DFLd+OalDPWrPi0SV0MhuANkKA
sut6vOdBV3Evm2/JaI5uK1s1Dr23XpWscQNllXg56siP7z1VfHJa/D8ItHGNvQ4I6LyYqcySoGQH
4xunpguzIWggB1tVb3AXFkHQg0ZtFgcvXL667dwq5Yl+6zgr9iZHK+1HP4C5x9+5kyRnDMjw3/Ge
qHlu+2RGdUaG/UMXFfNT1IkbL4Irjmjr8IwAV0eiWbt8mIo1jVWyYuB1/uhmFuvUArXE1oASZJwh
6rSrMBoTjJUbqxCz0VFNN1I6xgAqQ0Lw3eB7ftavnZNWDoxupZV0JPvICG9zSKqUT1Uy9m+nik93
boax30h6q4aJoNm9TvInC8xJsluC6Bev+G9aCZTV396yrDIhTdjAz1Wwz+m8c3I37j7ZM0rZ9CCk
fwtt+LtD9MKfsmFe9W524iWmA86169KkLgsAmQh70NO8PMYjBI3n0vwKBz6BkanzorQndEpBGz09
9Gqpn0caJHemVMF9MTYs82NSvQ2TJboQny/vOORVQDRf+A/Q7U7u5Eyau2LB+yiLJ8gOH4JtX49l
UYR3GxXeYQY/FiZU1Bw9kApUNwExXvTUSl2n3YC8iM/xp2qm7UM8QezzDqpTWA8p8bTc7W00fpHR
KOIHNY3tp6jHDDKl8xxmskdrHYc5Xr0jA8Tj6xRsPYSaoRBWnGexsfKgO09+npG095mP+ulnFkzb
W/DxBo+UQY6LEDq8NQ0XN26O30/BF6xuI1rI3MdotKAlUUclPYW4D38BnBEeDCA66b4V5HPbT1s2
D0Teh1ANvhMrCausGAh9xCyxX+P/xP/llG8xG49X7Ync+ha3Pnjh8ynYMZRJnB5IzIbjrSApSDx/
RHsJAs13CQhB06bt6DH2dOl2UdqYvCCcRtPWOCwB2zG5osgXOcy3gE5XQut/8Hc0aujcDEhFKeXZ
bkJ5bNd+cCHAjJmNuesVuPIVXl85n1SctsW3Hr7q9DhiNuROsx2CDBvKlVO7hQ+93Pa0LDu3Rjyz
MXfVNjDJJHK5XU8iY1CYO65skm4Zig26K0fdDOEwNCCQT8IMnYY+rcPeqWXHbAmi2KO0QQkXiD5V
PzTxXma9H7k9izAZ9Hfk9jFIqTFfAoLwbboLG/0MqIUbBprZoDuiAcCPAUwGtXldZYtHyk9cl9GN
e/7KnWPTGCV+EYIgpqjz3vNKAZDpFuR7o9WYRXG0TFmgvMlpICxmNjCOhf2aIP1vclYVzzKu3jKD
uO90LdukRjzs1uCiT56v5d6meu5RLpFoDLitbj1NBQoCBC+kBoMyk0kxjRcBEWGcGkrMBuZUg1ni
ktIayhkhgWxzKVJ0adzSFZvTqK7Wde4oTqzk0s8KQbvMN+utt9DVG81KWWi476hzQ+Woqsb5g8fW
5QHwnOJI93hm6Sj95XlLyuLcmx564H3XvQWz8Aw1U1lN2RB3yxszruGNKyF+MX8K7RYxYVgaamDm
xAAo+SUJb47rMtdzOgo+3vCEl1+aoc0wwfiMPGauzYmrZvlRoJ5znIakB2KI1I9K8+Ex3kjn9DYJ
7c4xJ5p5bBz0qQ/Zl3JY63REjcTpxIR257gqOPeIiaeTCuNf4do++aL71+W4hHbfmOxqKeqk1ica
tS1aLGL2v4HQf7xVsn75eg7t1nGb1GC/5XQ9BV3QvSmLCgwuWjq9NkO7dyyaoY6XYppODKWDXdQ/
x64gP9wMY72qaMUr3S98PEE0/Esf1O9G1MAdv6cVo0Jos/cI3/IEEMaUot/9qNrgRohiL58su3Fc
zbJZGxXLU1n4YDKuTgERdQolQj8NJ4n2616dcJgdf4n1xCoEhMPaqJpOfQRSc8w8xinwKvWN3PSa
81ghixPeg3FtW05LWMp/aD+SB+2H5Y2expUY9J928ca19AW+wgRCtzfF1hb3XR16h1W1t5pBL1/Z
od02NiRatMf95TRHWyhTubIwo6FcIWkLmHEG6Lkbl19od5Eh3crWvifTSc8rRt50/zmIl1u55DVL
XX7en7XwpPd0K/fxRKBS+gEAQ3bCa8+/m9nGzI0nziX/+u+DK7R7yZ70xLJDo/vETedngBuX2RYI
77wGS3NoeVXeyZWGKUODbU2LsrxVs73iY3abGTx+ZG6TyX+KTTEcd3CgHT3jVt8IbZaeUetAmV37
T15ZhWmxxyKdfTcsf2i3gJMxTCClg8V5IgkGX2KZ7m6T0qENnhbbDvAMDfSJ7ytu5ZDW3km11Nyo
h11xKBs+jZGDpAQTgDp1ulqKVE2yei4FDU+9YeE7pwBugwpbLxiI6UN9Mkn9b0RVhkH76kbYe1lC
LQ59qxRZgadDROU0njaCpxV4xKMavCNN992Qkh2Xet3vwaSrn0bkVjkPqX8symn75fbLrONI265f
VnygExgbUojBf0sK9c1t6csH++Okt4ExqLdM+uT55sz4+4aWNyoqV86Z3c5v1A4cZjTrk+rbt4bm
oV7csgC7m7/Go6gFyItPQOW/2zj9FpVuqO3Qbub3oio6icfuiZP634TKGjzD7Xc3U1tXp9AFqK+2
XV3I7L5N5l3gzY75ot0x7rpVLDOr/CfIgCHnMsew5zcS9yuf0e4XF35oOrGVCDo9sOYkCP9J+K32
07W1LynNn84HHt0qKrB2udTmQgw2ZVXSufmf3S32lmGEsmDZngAy/1mtw892025f0uZ82UuUK3yU
Wk6g3/+yBOP/5ObxG9fiNZtYBzJcCASeKSdPmB/4wCPv0wXf9roDXgtidoe4lv/n7EqW5MTZ7Qtd
IkASktiSmVXlwpTntt0bwt1ug4SYBwFPf0/9K5fsdEZoWwuKFNKnbzgDt207B+GjCHsCnfUuuVva
ejstE/vMK12d96FRZ2vgUNAsYXweKD0+/vl/X/tZbgY8h213iCJ8ZGOFq6t4CojffIu6UBV4v3Id
zdhF+zB/jgf9aqGgdPu9tnNmdbDtMbcyfNzq/b9QCAA+gWnwe7aT7AZFz8u2xJJA1eZpaEh8FpTw
i8/DiYtRQTRYIOGIFx+a/q2Sg7nMycTPfg93zi2kiDo9FHH4CIHzNyWFpeDuxxwm7rw+KUzSyBqP
lhtcSGn8reShnzwecaf13chWCIoyvDadQPnv/oXv9K3E//f7m7hj+pr2zwbZNHzsZHyqafw+ll7m
cjFxlWCUJWsbj3htekSvVpXcj1N8oyK69tbOqRxXGggoRWNFqm/duD/KlntFX+JO4sOmJauJsB6k
qy9yPqHHdOe3+ZwjSQsdDBUnz5Gk/iusj3Tv9xsB8tpyOCeSPONbR4XlGHX5pjU1WtzGq7Il7hC+
3JcqZv3YZBMIVqlstuN8VJMfLZS4U/iDCW4XqJ48QsPqYxXsFtKS0EXxWnBX8qWqiMU4TJHHZCm+
6jX5Kuvts9+jncR2kYPd6IpdwofiqYUFG29Dv63tTuCbDmPl1WKbQNZCn+ZSAYpWCL8A6MqTmKSs
9xJIrmxUvXooZUvPwJ3cqoyvbEN3Am/KjYVBE+HAJ8vX1YxwkF/8piHEHcBLeSjd1UedbQNA1rqL
v/R280oVietVoxXhkGVqcBGvAcS3l3votng+2jmZrd4KJVeIkpMpBZs13aavXjvQHbYL0jVJseHB
lps3QfQJFs+f/J7sXJKYsQCDB7/txzVeaaoBFsoqGC/fKKiv7BF3irsFpIbQTKKzddF5pM2/Ax/8
UIqwd3qZls/sqIUqdJvh/BgQl5gmNN11Mvt9THeCa0K7WgCaTbbW1fHAS5jc8NWzv0PcCe5W1lMS
wx0xE2G0p1THbwUJ/SjyxB3hwl20Mc3WHo9miDnc49cQmm9+vgrEneAeQ7cSLZrjsWuCvxgR95RW
txoY1/aLc2sOsgnHnQdtFtD6a3GMdToB8OAXDt35bThJ2XXdQh6XedvMCQa7hYSAwOalahoTd4Rb
rGqkEpCFrAjivxeyX0K5//A6pe4EdzNBCG0H0WaaFv2ro5+2O6qS/cbCPBdtv/Y4iQsqgdvlVEPk
vMv2vu++2ZqF78dugWLKmtB7vx/gHFbZS8rkQdvssPvf4BblRIVeWAjizoThCRgW0ba0WdI1Kme9
CF/VUHm7UaH8jx3zu8V53qo/Vf8C3PttQ7GZGfAMzmJrhjsKbP1dafboRGK2nsqhC4s0UvP86eDy
uLfYwt9sYOcvmBOUXwiu9+LcLPCCqdeKf9tGNFS2LVqa+0JEx0nuo0kuJIxHSMpN/O6YYj9NBYgQ
vHx3Wi3BnGDdH6t4faWT+G8AXvyAiaBWvHz2ThU4VTauMrlAUq3p7+s5utFc+N9Q6Hdr7oQBDbH6
OYm6LlMBIjB82Kk4B2W3iAcdwV3yNAcC9Uuoh/GNhdDCg4BHY3+Cgfx2WpOSXaaaoQUZz9C2J0ZG
OoVH5PSRmigENXdV91W5hudaU34voop/WQYpnkAzpCpVSTKei2hv51P0nNO0mBH/ZZeiuotJPOYj
wUQY0oLbq2cPuKwYhvbGb74S+VwJiWJStR4mLCdvvo82yWCi7Xf0XP0ICFLCS7TEkw8dPXH7pZbU
L3dwxSMSqN4gf7c6KziQcNHyVQaxn7wSccUjuhr6dPBsr7NhGz8kVfGdARPgFYtc6YhaBMQUklRZ
D4Z8OstR3w9V4acjhwDw8lw0ZBNtb3oDP+WB5pvotksTFf2NUH1tm7gnWoZxUlSJyrgWTxBjPi3c
+OWYroYRrMhoYw6hsiaZ/ymC8dMRMa9WOHE9dXqgso5AKZVh6d/ONXnY7fjW72M6KXejVcfgpaOy
EhUDUC8YZfWl9msP/KIHxBBugsYGj0wHf9cz+jGsGj0DqCsvUs5NsJfA2kGuWH0mZZcxs/iV8a6k
iDIVhPg7FNqAIHaXY+BQfGoo91tyV1RkCnbDIfpbZTaYnsIWFkZ66v3mnsSVFVmKLWaC9ZCEJ9V2
hjxSmLblLQv73yc60g2yljWyPJZnakQi/56qjpzLHujhrt2mG8nIcz7z680l3WC7gjUdJFWsnibd
7KcQCvpQRilbONjJeK1PVdf7ZbPSDb7lFhXbESf6qYnqd9sBhqIy9Mav+H2UkU7w9TmY0o2you/4
uLcVoHrcgj1ptUxl7XenSTfIxguEHpIFyo2rLfglGeL9IurgxrV2ZQAhXcE4fXC7QS9KP0VTZE96
he/Mqev5cNFRF0PP0UwPYzIYnR6CwSC6ZDBoqqn0CjrSjcNkWVWz9ApIwZh802V9D1yiV7dJunG4
pbucOQfHxrDlndgXeqL16tdblrETic0wAKA94Ju006ZTimx4626SKv83gv/NwfolFNt1ByUeyN4O
4Dh6aoeCf5i2RKhUy6M9UtvG3b+wqp2eqcZoaZwV1UV/qo9wftD9wu97CMd91nWv0n5uxHlt6fGI
4QMU+kPgDLnZzD+lGajXjSddkF9sAh1y2SjQUzr9WoThd43Wh98OcUF9YRxZEReBepJquZNzZ1I4
oXsFd+li+sRR7EB/H+XTNoHqUC3xX/BdEl6Zl3RRfRRKJ0dFeYWPuJzM3n1iS/DFK9y4gL4eul+z
UVH1NDf1cZ7nQb8GnczLVQT+o06XzJKejMGy6ye+Lh+lbjt0DwzzSv2le1s3JY0rgL0h4qFOaovG
NIbZsldXXLp3tdiTZytl0McWi4bERsh6isfyRqC8ck24dzV6HX09MKjy4398Txr7H8ZifkoY0lX9
Aqh8WyAojGcHfQTwXvlmDsN3XnvF1a9aLINYUwfE+q6bV9CwqcCL9zw/roAVBmPjAZco9VSIvgTv
KDqJwVrPneLUxXDxXrdySdQT+pDfJqLXlJb0lk/ileTIRa3KyQ6BMAXEL5OWvgWPTJ1ZXBX3C0wH
vKoXtHxe1kaQ90HLc2BBbmL+oZTN2y4Z3nt9U1f1qK5b0nK2BTltdpiG7/N5otIztjitDjkucIkp
eZArsn5AVjmd+22a/b6pq3lE4Y2tBzoGeSOG+5IE/xVVU3k+27mSKxHWG5IwrDfUKd9wACXSbohW
v2zCBarG40KLeN0q8BjrS9Wfk0n53RMuPrU+KK+HaqyemBzuh84+7Mz+47VPfgGkNgMtV2Krp/bY
xZnxeYcFhdz8EmdX1qhrhqMJI7x4R4IJ7jw0SDGpFX6f08WismM0PTH4nEtlw9eW6RDav7zwyypc
xKkeYc+hVx3kY6OK+77u9/MCiR2/ZacvT34ppJjLWRR5XfZvAanN4Huxp37Pdo5ndUCsHG5fQb7W
LS5PA+HooB89N7kTcrflIHxbu+op4OQhjrryod+SyqtOly6cVaJT0XaYzT6J/TAXHSp5itu98Iu2
Lpo1oQ0KJ4unT/bNnnybC69hhHQRrEG0qArTCPVEy+2B8yUf1C25/2ullwtg7VfRRDwKcIBgBP4u
bgmMpElSngdYf2Z25T/Kum3zoajWp2BZ1tMCnplXn1S6mpkzrtKq2svqaev4AWm7Y72UW+uHfZCu
eNXO22jbJ14+xVg0KH/ifuqjWwrnVxIxF8QaRPjMA5PwSgpVf6LB8bjRsPTcRs7R5W1pbBmw8kmO
6tyz5QRKhd/JdXGsyWIFmGQRHl1wner2+EorL1s6iKQ5BzccuiWBNyr8POCBnajhR9dOvuvt3KuL
5VXN5FI+kaFUaRtu+sEi7/PbiC6WVdsm2EBKx9NnCxHyhF/gP7773SGu9FFdc1OSpX22ORkeoiAR
MOglfuNb6YJZI2Dbx2bDuhxj81fB5k/JXB2eL+5MEMsuaaAzZZDLdNH6wIr2U8WEH+4JTfSX15OM
2tE24YpVIfRBLMGjhUCR1+3kolk7JEhA/EtcqxsIvUV4kNTKmxSYKyc/dA5nXLYDL+eyfBLBHp96
S/dTVMEJ4M/vfqUkcDGrEkryMPJJsObzGIM5CI75IM12PuBv5ncFuiJr8DBJbB2RIJ8j/u4ogqex
sJ41pCuyJoMu4bMx5VO3xi2Mb9SHKRr++fPS/H7hhYtcJUsEdQpDkrxCHrPr9UFGt7DVv1914SpN
1bQEuRXiGrmAH+hTE4bNKeCmP8/C+g1khItfbYBSsnW1J3mw9eYE1og4D8X+yW9pnJMqZsUGCAgE
OfyGLgWIrqO4NSW9tjTPf/9pGN+QGm6GvQ1yCIe0dx0LbR4ADfkEjcfQjy0vXCDrrqyQRxQgVVXP
4i9DXT5AJvritzbOeZVlIpugRx4cK1E8FHMDzYw2uOUOemVwDr+3l+uzHKJUZsFpQpNXn8Mw7B7r
XXMoIazfNjvGJ0WK7YmbtUltsbwVbHxjWqAT9oSWEFUfPmDILu91eLAU6CQ4jgXDAmMk+p6q4Tv0
PNUpYtF2V2s0UKvnibK6G8tweB8rXCbz+GbScH7CiBLDd7FWr6Oo0VBbkn/5LZ5zpdttLzFcObB4
XL9PuiPvhfECqoG48HLhOCGAq0aBzHdFhnNVVG8hbeOH6BYuqvbQplXbsmNHsea13GBB167cT/NO
uKDarh3mRIc0yYtevJ6ZfBapvHGQnw/srz13lGgvF2VuAzinc53ktajRltx4VbwP+26BLimN71dd
Q8nA68u6KldJYvVYkSjJYd48n+yS/A35C79I7UJsabSM0SJWmVvT4YW7mMw/OrXcctK7EpJckG00
MgwSLUJpXZfjqYC50oONF30B1+PwCxou0haDUKLGmSf5yMPcDC0k8GTjl94LF2q7x+rYVwNF1jIC
FjSFMQFRD1vSl8yrryB+wdsmPYw6ii3Jj5nDSSeq6zuEQOaF0mRu11JRudKiDvYMYtIPJlqCH5Xt
qu8+25K5/coEKoDrEukjC9T6vZmSsyVJ77XlodH08nAtrBik2usDcFtaNmk0MdiRQhrzo9+rOzdB
2G2sgFT7kU1TMZw2Y839BE2id35PdyIxt0Ugk2LeM7FsJCtYo9O9IovXjmGuMDs0OKTsmzjOgOo7
XgGYpU4Gu/RGUvv7zI25bUudFMB8lbXIgnj9KAxAX1VSBF5VCnM7lwI3Z1/FJc+UpvBz5DtPdRlb
vz3jNi/nRoXjwJc9G6kd7uxU1Xe26L1GlsztXY5xoGHUE9EM2ltfy1bdsamfPV/8OXj+lLfpcOmr
Nq5p1o3j3Z58aj3hVsztWkZHCUO3VpKMJjifohrpCbxbr3Yuc3nyK50MpBx3kiEEo3ar9LuRbv94
HSFXjV23vGhpx0mm+mI/T/DVPGvqxz1mLgdfSvFsbjARQHTseGqX9eOsiZ+pEPula9lG1RGtBXQL
WWW+QDHETg/VEVahV/+DuX3LDe35rQHOKkP3Bu2/0jwaGb/3WnW3d1nasdOHCRCz0HdNq2J4SMb5
Rrp0JbC4vcsEFoaUS0ogh1OxuzYILWSl1S1Q7LWnO1WVtLSGKcC8ZXreyakm86simPwEISDc+vJ8
turgx1IKkolyHCBw2CHFEH5n321ONgsV8QEjqgyEoYdwjXNaN36izMzl2Cf7IGQ9cJ6ZJflo5+IO
1gZ+GjLMbU6uTS/qsrUia23wJuSnXkVeGAvmtiZ72ppRt8mW1SVVf69qBXpuHVBo+l1C/2uu/xRt
ebRH0SgYDhDt8rmPP+vFT4CDub3JbqvlJlXBs7FdoNgVWZCztFd5x9zWZMALFVFmaCaq11JJBcXQ
m4o3V06P25msRIeUszsQbXk/QuWmq9PK+Fn9Mpdoz+Rq+N5CNQyUIRQY1STO47OAtFfIcnuToWlL
DqYKzmaRYLI9dzw1AfcbtTK3PakBUjLb3m0ZCC3qrgwn+1Ztmx8QFV5jL+OK7gmlbYcUsQvGKRW9
vNu08AvlbnOyNPSQwbSQbNnWLJoxJD5udeCfYT2/Fr7MbUoOB9Tek33FbrGdelMXQwld5PXO1jO6
oGsyPuyS/BiB7fa78dxGZTJv0xZE+Aj9vsWnrqD6I3Q5A68WK9wzX36E4UjoVEPAPzOzoMCLSXmp
m81TwMLtVkaTaqaoGfZsriKWtqq0GIh4uixTt1E561aTrkIPseHgGYBQPT60bVN+8zla1KXaz0zM
xlYdzcKwAkJqBSUU6iF+z3au1GQMOwIqm83iNUzAXN/XBx5tflYx1G1SNqvqOUgtNoOhdvw415X5
hGberb7/76MldcXwo4T1LOGa4sqWZ16EF3ArvRpt1O1QTlYopqZmzzQAtWkAedlThTnDxW/RnboU
9REfph0vnowDeZXIvbkUfeFniUXdJiEFR06XDIsOcTn1KlLLmBVwFrqxMs8b49egQ90uoVhtRQ1q
RQSBcr6LQkG/m4Q3H+i+jDciwe8betTtFYbzaALRxdFzR16+KaUaz4aP/LI1MsClQluvuom6jcME
4uNmsCLKRFd9hcbVWwh1f/L6wm6n0ARrMA0ti7Jqq8M38MZt0xKYZq9hHXV7hSsBv4PCGzurrHgX
JkGTLmP4j9+bPx+2n7KyUcU9ag27ZXQa6k+NqewbKMcV0Y148/s7Cz/85eOB5oa+emMthCH7/UMf
TeUCaPPQX0xNgvNBm/GtGsuNp01VNV4ZG/2ldzjTbq9HhhgXr+8DHXwTifLqAYE3+/LnDLyycY+2
ObJveVq66Z+yPzxDs6uSrxPLBnZAgk0lyl5Y83UgGIB5fWWXqQ9HgnDbdqh+kZovr4q1lLAho36E
TuoKrkeM9UuxyDWbxwjiMOhooxXsebRcsj41oFHOYWMzE3c0xdRxVr2ntKhL1o9J0W8BoIfZHNng
vJk5OI8QzvRKkVFPvtwsOsQQtQ3LJWvKTryxwZouod3e+X1R99xuFsYhulsy0vXRAzvW5XKUB//w
56dfifouJaOJlzqw4LJkGONsp6Yfzf02T/VZwSPmRtS/cpu7agDbZPpZ9ga5QrstH+chOQSy2K31
3fLk5eoHcwCmJn/eN5VqUlY3Kba9p5qkq+g+7aEF4ouvGWwA4nSegjo19fDlz4t/bWWcqV/fxUYE
yq4I95DM3liSb4sfFJS6agArTmlT22GBAeVmLmMQSwjd+6FY0VV6ueTN0hnAVRabjSWb7qd+g1L2
HPlplVNXD4CFxnJBB5sNZclP4YFpcSjjW/rXVxbd1YvvilXP8KBas0NhuAxZtCVtko7f/fmTXjlP
rhoAHD2SzhANBW/O2V2IUP+6ZJ182HlR+11NbufWGoY6JIbAqangRnU8C9HLH39++2tr8/z3n3KE
5Tgqu0JEFn1bCrG18Kyt73508oM2KjUfahwk0uv5Ei/hDp4J92s5UVcNYAZnuJiLYs4CtndPSL7r
rOv9GsLUVaBPkirEvXrYbB/7Lt1I8kGr2C/+cicEVBuqbTHi6gCZfX9ltAy+BBEd387RMPnBHKlL
O31OY3gx6zWzLHylm7/XcvdLtF26qWQ19DBCYjNMoLvTPgNcdtDFT0aGuhTTsItoE1ms+yqj+SKZ
acAIgWiC1153SKb/F9UrCQawhrKQ7DpLdpQlpQap0u/pTkpgF4jjTjC+yMRG9tQ0ek6nSAc3osyV
c+ryT5M6qbcghDz9IKNPtgH87rhlfHPt0c45xTGC2KXGonekaS+6Ld62YbB7vrdzVbNWNRZgkTlT
AKScFvjzNiVwg35L7hylmLFKlTBLgEiNDGHIO7xRIIT5Pdzlf7YlULbDIecMhqDH6+LYPkdr290A
EVy5NFx637FSVMYi3DJ0Wuv6oYtL864OodE5lYTf+idXPqxL8xNL1/acRXNG9PzQRuzzLiq/FNVl
+S0w+zBdeMxZF400bXWYU1t8//NXvVJXuiQ/pVYVxqRC8FKxeL2h/XmBZ7e4g0u1/BDNkIsnfRme
hmK7VcleW6jnv/90Cc6MkB6YlDUboY0LgYvQXMLyUOc//55rT3fOF7HxHmkSjplW0+stlm+pbm8o
aFzbRs7pUgz0nHBGN5q3hL0KwKc7Lwvpz+BHjF65h3BLV0GKBelHkOTlsr0fg/DLzmK/R7uVK5S7
ARU8egDJyH5G6An7yivqCLdqDXTXQHZnTPJOlGdo1e4pmBx+I0DhVq3HUZCO9l2SG8bu4OWXwFg2
uiWEcMWdRrh1KzyB2nrVGugoKNidN7XIO/icTaem2HqIhlb1GT/MfANrOiSpGXnxysLG+TKIxNxr
gx+5NvGtUc0VDjxoly8PRsEjsUBbv8hFH06Pvazbx6m2x5A2RRKcdXB0A1w7gnVK5TQeUEOp9lA/
koirR1Di1bnUg31YF7M+DkmvTqRsji9MRSW+9rDAZKVS9X1U21tX8O+Pg3ATfdBFoqUaB5m3M20v
qow2XAh7/FmaUHn164Sb7TesNopbKnNVsn9L0n8bBj57BQrxi0JfYHpaLjLJQxZkybTcR7F57xOD
hFuRAwQcCCZwIIaDfGrHeU+ndfQTbBauPl8FSc7xMFOS04W9r3v7qsHW9Htvpym3ckpG1s2IPoV8
WzTk25qQG1fw78OycMX5uCYTnSI8Gh6Lj7qQPwIt/B7tVuLbXMVR+LxJaNzWpxjWjmkwdZ470KnE
KwWTiNVImSfc1udigfflNtQXr/X+pRCnRbN14E7mMFRu07BujlPZ+81Phet3VujmCM3YAPJcdewU
dmB4rBt/8Htz55adtgPaNFMt87Ijn+KJ9Kcl7G9cs1e2iltr8gTmoD0gTjnZ6jlVxXR3wObeb4v/
UmvaEjLCMCnMo6NY7ouD1+cxZh/+vCocgfrXEY9wi022wscCcg8StAu+3ttGhykTxXE29sAX0FFy
A8r3DND+zf9xC86mDwmZ2CKxQsvYpxYYqipFj70/cx7WD2GytrBg6vxyc+FWoVuQDMde9yIf+vDv
pNVveBR5FYnCLUGlaEdSBaPIW0gMpjFf3hxx7QXDEW4ByhMJO1UZiXyMtw/9VH5Lmskvl3LFj7io
Zl5qgntp6oqvC6/UJ8g6Ur896lafnLDk2Gq8uNyL9TyM5PMQC7/sW7jiR3BuJH1R4OE1yq30dcIg
3PTn3f/7SkK4wkaWsopUmmObaMoyqpl+VFqv93SbhtTQQd3VwG/foZHf3zhvVyKF21w3KpGgXSwi
3/s6fuqDKTphAOon1CRcwSNMD5ey4qvID9zw522oghQazX6XllvvHvWwQMVIc5DAjDnHrH5H5OCZ
M7v1LqwTx5GLnufQEnlttvq+HW+Vi1eW3K1yY1VBLlk0PKdSJedDJ2+7+PCbIsGJ6WUCXC/TcLCF
x3kNWP6ruZv/Coe2u8H0v8I9F26la9vgqMOuE3kX9tBt64e1v6yH1g9JosmHLhr2CzTJ5wv28JIO
2zpnbdSvpz8fjivr5kojISUuB1TTcR5O+3KJyU5fTbH1k40U1F04vPYC+9E4BwRlOXWsYec4sZ5b
9fkn/VSvLzKcNnvQOIfNd3meW1rfMWJuyU1fuctcsZ66mKtN2kHkqo1Byx2g0dqUP8RGcwEhAui7
rh+9vgAjzs9YO1Luh4hzCI9SZHEhe3OEHb1VDV25+11rUUOqMWSF4HkyVvFruXN9FhiGgmM3htu7
A3xvzwLA1R6rwuIgMTjO+Nhseh/zaTttsfGjCQhXfAxlXNhozXgeV4m8jFHabKFno+AX8THY4+zr
MccYw01vKktBeEree31dlye0BhTTj4bF+Woh+grGXPCKNuLwOwIuUagc235cIyy5iDpzN9ZbdA+i
579+r05fbkw04BgJoN6c10HwsehIDgK8J9nVteVcksOUdYWIOvEazsG6uAv7br9x4V+LaU65OA5z
1a/dEeflFITnwhTQ21xlffZbFrfdPGzdrviGNbfqh1i5PfXlHt54+JVcxSUJdQXcmg1v4nwHf/zT
3s39ZRTiPyA56lPQ9DytVsjlnPpw/dvr17jEIQPyI0KOifNmp5dyPpZ0ZswzYXR5Q3u7wke5buN8
gU/lPTqIX1RpbumGXfnKLm+oPGIwsqFVmSfzPgHxIrs7NU6tXyHpah4JUquZFITkoqHfjmHKt8HP
VEO41CE9zbyP5EHyoynNtyiK948HAo5fCeByhwC5XRv05Ri0E1hyMnb9Xo6NZ2/KHUEzmIlHcROw
nEYxOJVxdxdr6ge5EC55iI4HbBjsgIcrO6egPz3y9vCruVzuUABg4BTEFeLNGk7nAUZvqTGrZxPJ
ZQ5BlqiIYo2nV1Lcd405QabN78Vd4tASx9gtvIvzIgz+G7X+WpNbI+grB8jlDRVViYGzwVvTWr45
Nn2/RtNfXlHlF02jo6javlIkp6aLz5sd+nToAj99DeGyhkwBlKRmPcn7ufgaqeA8heyH34s/r9VP
OSXZ2jgeVBGhQlmrS5KINu1KdtyI7tdW3LlRYX97QBivYxAdaT8nscEu9/UwES5vqF9qoCFR6uYY
D2xprcsyVRDm9KsTXO5QLOfexsHKclgR98DsFv8cW/PFb9GdG/UYwP6agJjJu0b82OrWpH1R+eVf
LnFoVJ1M1MqjvB9DoBarkJm/YNi8+rVhXe7QSCQfkciQXIXhmbd1eDJVpfzW3CUPdbNVYVG2NI8L
851hRmL8bO6Fyxwq16mLGNySc/CG30bjnCVR4pnaubwhsiKbKwcb5XBKshexGrSnS1n43csub6gd
EvjPsDHKa2NObG8+ad17gVqESxrqoLxR02jAo1n8X1JW75uO3XntcJcz1BJM5yAsSXK+7tAyUcF/
/eLZqnRJQ3IcV0XtTnJg8pZLtMPoStahn4wUBKNfBsSgSTC9A18wr9r2E0XGAlmW+bPPqqB//vLZ
PR15AH92FBbTZtJt5G97NI69Dg+aqi8fDmoZnKilQQLX8fYfWofVhzKq/vN78+emwU/XxDEYsQOa
izUP9u2B2vpdN29+0xfusoOKImRhuUZRvg8A4AC1H5ylnW90m35/BUFf5uWbE00qVUlq8klN0aUp
4CM0JrXnw53CqytmRqtgM3kwhg/g4Pw1VreMnH7fjoGB5cv3VpQpjUzZ5OjK8C8UjYY7gDUwa9ZK
Y+wcHRduJz+1JO7mc9DY2ylcXLt8bOcvJOg+3JYe/P1wmrv5XAATW73xw+QyWnXKk5Kf4w0qYeUK
6x+vzenmdWHDl6iMyjaX7bqfRDM8HlF7q4V77f2f20w/7fx4rvjWBl2fW86nd8DM2LOAkV9mCjQn
//z+1/7F899/+hfwRT8w51VdTo5lOB3TrE986KqLAgLrxqDqyilwueF9uR5WguSXM97l6z4/LMct
IPC1R9OXb18946EsRqb5RmALtnewD9Ib9RMs4m6Sp+t564tt6vMGtgN1XyRpENsbSfu1dXdOr1QU
Yn5B1+QNlLdeFa0IXlvJ6HluPEEz3L0H7SQJuOG2zUHF/xb3+5c+gF7Yn7fNlQjhss9tl5Rg+RdN
HgV9+CGw1qiU1naCJIqcTmGg+QVaMX4oUu7mleFYEiStsssnMcE9enx9DMTPYoW7SWVgErOTBs/e
NdQQGr0+2lr5ablwN6mcVbgOiaVNPncVZJeCtU7L4RaX8Mrmd/NKKUJIWkKGLY+jH7tEGbIq7me0
y928sh4hV0Cs6vN6L8Z0Tkj9alrW+AYL8jl+/Tq65m5eOcPMclLBYPIZt658ZCSu9AnllAXSfi6X
78SEh1eHhrt55ojkeN371uTGhPdiXj/06y2z9ytH2M0FO4vuRt/hdrdR3TcntjT1Uz2VmHNqKD37
3S9uSghHwbqIIm7ybbJwIWzs22jb/EwpYjcnxBWPfvZOTA5JhuQU8aW59HK8Zc3++68cu0khU0Gc
NPOEqzEZhszaoo3TPYKu9mx4N5zJEKsb++n3XyJ2CeTx1IVAyK1tXs5Rd1F6jVIFrVfUcOq/P8e7
35+12E0TWRlHBjOqJk/Kf2yJ25fEpR/gKnb92rupmBZYYjW57Rh73UTL/cC1vDG0uLY0zz/op/u9
tVOyzWGPSwCIz0tSDd8bNiuYcxNz4yq4tjTOHdwkgjYW6gC5IfY0FTDrYVvz0W/ZnQR6TuyugmYy
+crL/8Im/n/OvrRHbl3J8q803ne91kJtg34PGC25Kmsvl+0vQtlVpjZqJbX9+jlZfXvG5s0sDQRf
XMAum6S4BIMRJ855UHi9MDHXhi1dwF1Wd20DJvLTVE63Vvqjm9cFKE25ghycgBalY81O7Wx+cZXq
3siNhUFfvnZNuXxcNEo302lgp8Yc+IOFx+JLo+uceok5/hAaYBdGgijaqsmXC8l71sdtocO1zc1U
21pjkwZuTNbJVphy+XjvlLM1zhyGLeveU73badBpWDlyyW/urRFahFNdQIhA04LWYEeIY65zGEy5
fHwsCyTrcgy8sHUncK3aDnOA4BZM2ZVtKTNNihSaY7oripM5ZjfnoiUP9eSv6xZUOqkiISD1Akng
SWj8LWs5hEKqdt1JlavE03JW7Squ89NAnOOoDgfGxf26YUsnVUwig6+jZaeySTqvaKoRRIp8s65x
6amr6C4RuT1kJ4j2MR/iO4pPtXXOhymj7e15GLmYtRRP2/iLlaq+li3Jg50jK393ocy/we15nNYd
kqInC7UytQdJgHhP6pYfBlR03c2jrgUJrdt7Fhf5t1VTJYPwXdu1yngS6anvrBLuzkarlKXSwivX
lAzBTzpaWGY+pyfB4+r7MPF2Q3VtOvAEOuHrhn/u+reb0IyziaYjT09lGnPPgWacT/N0HeGkKQPJ
eVw48DgoWjenfV+NSTg2VrddN3Tp4E7dMNYdsyhi0/1tbYpd3KEgYF3b0hWrWSOPwcdFT1nZI4VJ
LcNTQFG6yn0FQPHPSc+Rsi97e6KnwRVf84RtWjt5XDdw6eTaohC2Xuf0VOTmc9y1N8woV+VITBlM
HhOKYvq0QNODsxNF9aIXys9Vo5aLultrjvuONvSUig7AYDLjWWitywaYMpS8NsYGRDiKEtlFFwys
2/da/bJu3NKVqiuDOvYOmh5UAPJQ5eZlCvBz6xqXjmaD27q3spSeFITswjFrRgCm0mndHpQx8IrS
iyrVXSUy1fIuJeMJ5BrhuoEbf25vWna0oqOuRAp19tDheVPjia0ctnQwdTFQxuuEnkRl9LdOQoaw
cR2yKv9iyhD4SbEHbUIN5KlmIBkBK5/qpaq24GhccVNlCHyS4vgwA0NXrIwDlM649QiKQtGjD4ip
IlCt+EWMaNHnq3DlLpSR8Hk3oXZZDEqUN0pq+qNSpQEzyfRLZDXZIMxWbqa6UfwZUnfrLLKMhtcU
SNOmdqpE0yyqX4qj8ACvoHhVotOUAfEaCC7p2Al8kFa/dgm9s1Fy8vlcXfEvZTw8JNBNVtdYd9P6
BYGbKkh1Uw8+b/vKssuAeGJ0cEZKhaIEEM9wB9q9oUJ7KxjzsfvCABw6xCxZF1U2/4aPj4VbclCF
ROWIDexkYH3P63XYAVPGxyfE7VMlQaROG+sQlYF3dUtXBaSg8vmnyYhdbmSI+bqR6KdnFGrfzNm0
cA6ura102Sb9kCqlW9ITWMFtrx6mFx6bK/eNdNuqw4RqlhK3LWuKr02jnGJ7KQVxZdgyCl7Xxy61
AKyPRNntiylmnq5p6rqrRUbBCwIWbZMOcZTnbF905NuEBPzn2/3auM/H4DeHsktsg/fUUCJipm9a
PdRbXeNL2MRrjUv3LcRiWdPOoxuBrOlXopkxuF+MeN3VIoPgSYGtrcctjH8N8JdT9N9tVVgrZ/z8
Rb9Ni+HWDYJvpRtN2fQNKm/3fT2s88tkmDjhPI1H1YyjdEa55tCZ2tYAti/4fD0/TveFN5UMDi8a
k4Az/nzqq6I8TZrNNz13xA3NhCoOKZ4P2wbIHE9U4+xRq559m5rKncbzcp9qEziRkDngiH9NYI5B
TTtkqg1zFJ5C4x7KGrFO3yZ9cJ8y7rS/0t4g36lRO/ciK23qlcxCHIe6hvg1o3bmK8Az/XYiQAF6
Su/oYUGdwueOKl4Tp543yFkA2zAwdguCXkV4Y8YHiK/DD/ZqxeXCS7BxTpVFZn9SdN23qFPuIXMA
mvp0NCqviUFSNwzqD8XR5xdowoI7o+bDtJsVYbwrcznurWGoMaLBddddmjI6viYJpJkMA1w6OWhX
5qw7OShL+Xzxrp0XyT5NZmehjMyNIxMqatVgVZ7QYUk+b/x86C5sDBkOX9tlkovzwGsgd361eOrt
oTz+npwVvwo+8N3n3Vz5BhkZ3411azbEiiOtUbexUzwOcOgXPuFa25KxSq0CINu+daJYRaZIKabQ
JM062Taww/x55AvmWHMagyTJEkaUxuYz6q/W+akypD/uEaAp3M6JCs2JPRXR5XjOycKkXIk6yIh+
p7IrFYfHjeK8cjbcmOiWdULzy24W6/alDKWoKbQPlVlzIwiV4e7EgerN9n7dfpFeHxbrO8GaJI64
1ZWeRaZTNk3xwtxc2zD6n2s6zG6v5YrlRJUj9tqcaX7Va+uo6E1ZD1nv41rY+exE3Oyn4Cxs6TfQ
Klz3KpOlRWiVciUByUXUdPFbWmk/+bgkLXA+LhcsgVwyYM4cGHuVx1HSExakVO9DVM9kN5kDhh0X
xWX7GQI7D6vW92/lAoj4jGCBiKOxznSE+Mo7k9nr4sxytQDIUUibgA4rmrjb+Y07hnSw12lhgVT8
z73Tm6RzSrPDwGO12NRqfUO7eF2ZmykXCzjGoDdWjtXtS4cEwJsNQR9nzTobLNcLmGy0mM3hd3Wd
FfuK1mSeO+vr9IBMuV6gq22oOtumG5E6633QM/XeTLLnddtFOrE001Icf8WNrFK8FEJ9S0m8zgrL
1QIiGdt8YpgVVGjvnGZX2Utx7CtmRkZ/2Qo0BshwbtkqvrlGyfz+XDG/akZk/JeTa3PZZLMbVQ33
kloZPQI+lZWNSzcqtgY1YugSRmMFbUIm2iBRs3UERqaM6U8nA2TxnIKLKS23ZWb0fuYkK4+nDOnv
nCwp8pRaUTqmR4PFeweMwetm/LzMvzn/Y5JalWUmVmQMtPVKbdjqrbuqegr8Pn+2XWuJBsaJzIry
7gsn5W1e9Q/rRq3/2TJD/b5qZ6kVFSlOZGXzcGzJy7q2pUc5g/XQnKmGPDFHmLD/buTz47qWJZd3
jDVWqpC5igzFUiMN1My7sVXWyfyaMuaqYJAObSdmRYjlmYFlDqOfO9qClf1wfy7cozLqSkCPAsQ7
phMJXVegrVoK1R8zi+7BTwX/3XTfXMVOvMkZTRCxM+sVZ5ntpg7+E/R8IOdFc3UILYObhxiM18Kr
tGTwVEWxHsdaTzRkqovYn7JGW2UBiZyXNYtxTkStz1FlNcxz4/hbnblO8PlKXn5fEJnWu22hZkWd
ZkYsq+6fSkKz+2Jokm/mmNIdabJ25fGU8WixDvLwVjdsHM/8GKeN4em2vU7DxJTxaENdumaiTVaE
WMhPS2XfBA7p5xN05ZaQ4Whl5TaAZ7pmNJXqEEAgbdgY5uLD/1rrktHKk6zqNErNqOnJo5nXmQfo
0rogkYw/G10N/GFgko1S5vpwDX+647wuGiLjOxUxT7apEDNy8aj28rlHKCd31tX1mjK6zQVYmjld
ioH31jtxywdY9XVvIhnTNhc5aBZ6oAlTUiuebTaVp0DEeeEK+qiS+rttITKqrdCNtip6bJYznsrr
z7Q4MxsQJGZ1rn8XdlI+IQwDHc+mc8A0AMOfb9sEmvcab9ZxthIZ+wZSd8Ma3MKMQJh4vgi7zZqD
QGSkm0VFZWYF2lUtC/au54grTeuQXBD/+PMajLumVxU31s/ytTfKXEciNlYVKxAZ45amesXbSZCo
SxAhIPpOqciqVzCRVVKgrymssnaMqHXc1iccpoFnSxjGy6aByCIpmOVUFaWhR3UqAsMqttq8jgyE
yCIpyIfVHVDZeoRscJiaCcQulkhaL8c1iCv5HB1JkRtxMdNWVZcertRfRmc2wZzrxaonNpExbo2e
lih5VvQIIY39rHUHYrSrrAORMW5VBvJahlqHiDPMiaXe14W7bhfKiDYN7ow79pMWdeI1FcYPCEuu
ssVERrOpZlrXtaZNsMVNFriJsMFgP5Yrp0Q6mIpR6wqxEjWqR/1tahskeNKFgV/ZKjKaTRc2mWxQ
kkdp4k7Hmp23OEexTO+SdZ4kkaFhM2KPMAjTGJW2uNF19VCBpnKVOZQFRGIdzMbDYA4R1NmmnUKr
yreFva7+g8g8rKqLRIZWoXV9ak/U7N2gQP563ZrK2DBuT3OO0tAxmgQbPFIltleW2sKD5sqqyuiw
uRB5O+MJGaU4pD7TymLXpQ7d9kmur8ohERkNphhIwDplMka0ApDFLnK/rfSlt/W18csbXlUKvYYq
RGRPNni3tZpFMUR8b/uY1Otu0r/xrCZ5A/6cboiMpGl2nYKC+QyB7HUbU4aDkbarUIyP2TEARvAK
Xf9m2Ct1X2Vi0aaoMhAMFiOqYLKgUFwIfYAsbsF7unLhycSimS6aFqxkY6SaEMMzQPC1hVpMvc4A
y3AwprqaU+dOH1lOGbRpezuU3YIhuzZw6TXcN4Yb10z0uDao43GnuDMHuiryQGQ8GOJpHSe12kZn
SRtR/gSj06q0OpHhYDoxrb6Yxy7CJQ6a4bIKhz5fl0MmMhysbwgHL77SRkSpqE+oc69kyTq9eiIT
/zY2qMEzteqixH1GBbTA4ybv1tkWmfFXcXsVFRdoW5DqW0q7B5S4rjuYMhisyOu8KZKsA7JDST0B
qgyDr6MVJZYUoEoYpJ5Nk3Z4R1q/WKKrvmI1zrr7QiZEnUYoIrb9eeBJP/t1FR8sbujr3DkZDTbm
VSsA72gjUCiectV+ndxsVZSKyFiwuSHlNKJ8L4rdMfUyg9+lLl+FkyIy8Es0Areow9pIMPU97q0n
iNqsAjsTGeCFsHGbDxxNx11xE09blXerYhlEBncJM05qV0/byOlcGuS9qvogh1lKVV8xgzK+qwBV
fFOD1ToqhWhP6lCYm3MOct3BlBFeiNBVhUmVOprc8UkvtVNS50+rXDkZz0VUEMgXFa0ja7LmDZSP
3pTZXkfuAf2SP1+281w3eVaYdcTp+AOk3PcUNLDrbkwZ0AXBXrecp7SKgPb/Lmb7wXa+rJsS6RmX
mUkO6pCxjARoVY+u5fZ7VWPm3brWpQuzHuZcEKCWsA+b1EexcEBGsJCualzGdBlFmmo6gvRROSs0
hCqzCG2n0dYNXQZ1nSXxesBum2ia3L1pRkZvLTgoNjbEhdgROf/5b/mLsid6hvxFGblxrvCw1GlS
eLNNnJ82KMbvtT5xdvZQzPW6A0UkR9fOXdAIaxzzBMsZAlPn+nnXvq5bhLN3/dvH6CabMwh/FZHd
Kj+b0mae08Rs3ZVBzgbot8ZjlLhqs+KyiLbVswaq+NTV1rlyMszLourcpLxikWILY5fS0fATiDSv
O68yysucUlePOWdRZ2alxyHM5zlqvmRprrxcZIwT7KNTVyJjkcnUOqj6NvdGrvxK5nFdSQUAYH9O
fD/WCbPsroxmar9CWjeCWshSZvAjEX1h/8tIJyCQHDcDK1SEGRI7K66T0mvKdgoEYeyGxpAPNxtt
vmsHW5x41k0h0yptb5ZKFo22zfe8TaEgdTaIrjeQIu78pLeaY5yJXgvNFrgvvWETZtw1UG1C4BJU
Ge1PoLpeB/cnMopKFWCHa1IcYWOy33qibRsxrfM3ZP7eRLezSQNtZNQ1sQfps8ozBfDsq06rDKJi
ZB4bLUMQptBj0P01t3H+P3IR//lz/F/0vbr77xXs/v1f+P3Pqp7alCZc+u2/t+/VzSt77/7r/K/+
79/689/8+6li+E/+K3/8C7T7V7/BK3/94zdhCQWo6V68t9PDeycK/tE6Rnj+m/+/P/yP949Wnqb6
/V//+FmJEgHih3eaVuU//vrR/u1f/9DO5AH/+Xv7f/3w/I3/+seuKul/HM//e/zfD3/7d++vHUcT
GvknIRZq6FDChjjsGYMwvP/3T4x/OkTVdPAGAJXxoW5SVi1P/vUPXf+nidJeBMlVCGIY+tmMdJX4
60caMva267q6BTZ7RKX+Z3x/rND/W7H/KAW7q9KSd//6x9mO/u0k2trftjFN2JC0vXpknY2yLNNz
85ffZuKvnn5v+aKJQsvSHddPHaRg9EE9apnwZkt5sHISTsMSadgHjODSyKU7rbf5ZOd5px7pK0DF
/dvQB+K7eG5/gPc6BVeeV+ODbF99SRYubazTxamS7jlHBTxKJEKFlOUcAjXtW+4bccfAZPcQ7la0
0kv798/n7tqqSLdeCcoyPZ7RlUJveHdnkyV85nlyLk2a5KGC3mrWU52oRy5QuqW0nmvex+AxUNi4
EGr44Nu51AV27O83dmo4PeSqMHb2ZYz4bZl4HfHaFxDQ5nfFrv6ODFxZ+drb5zN1OcWPbSZ5r0oG
HSAVQfEjaCWifLa2feoeBrvamXl/K/LRM8fRN0a6w5d/o52LL64jPeseylT4ukP2WcceM9w/NVe9
hjY/xqHefT62i14ehiZdoVVtOj2gn+pxNLOvU6x6HBtVMWaPWPV2os5CN1c2iwwW1IpeQzUrJjxJ
vpP5RS0XVvJau86fC0lLpe0KcKse8TYFR/EvVNesmhcZFEjHauSWigELYWwQ3PEN/lIBUVK46jbJ
FjLiHzW9F/ahjA6kvNLtqpjVo2m8O8Z84hzgRj75Y35yEJnxhG0f8kkJbTH4IM/xgcY/VKq5oZp4
ZnkZTrnrU6cLBxBBJ1rp53O3F2W9Uez51m4sLxuqUIh+y6gSpqQ8ZfEQOE5OIaXd7kbV9XukwVz1
wTIg2+2AC6/OkDs0PaMvgqT9Mk4vjpKGvBgOVf7cdd9rngVmn9xMankrlMrLxiHgsR3kYrwZxtzP
S903BOoW436rUR7aebuteONP8XEwlG2HeRRadSq0I7FvZ+QRleZbpave2KbbLP3JMoZwpR1AUs3j
+o/Zfclmw+PGEkr4irmX8ZLlgHekM2fqMZ+frfIZKO02XdgvH0t2aSklcwhhjxYMNThI4F33GGpZ
QeT6S+v0MLPfzZ77DWRKxwZHW3ReCuoIoSebujRDqvJ9mptbnb2axuRlNo143UCrluzKXD8KOzui
gPAhHvXvVGuDSSzxWF+5KmQAJuo1G1G32OE9dB/c/sAq5lnAG5aU+lX7dZ4dLyf2kkd3rTfJ4uKY
jrOmcPVoOPHLlGmbJO48Jfseq4Y3u8p+Kt61zD4yYd5O7XADLml/ZOaeWvbRSDmYPIEW59QHlvNF
qcrvjfsm6HNGkeSCQCsKiTeGmL4BIO/36exXuuNn2cE1Gs8m30hl+hYX+xwbPGadrxUUeuADSH4c
r0yfaE6CklVbfZx9bjk+VR8H7UvszEHWOQBTASzBVwWNQJUrXQSx4ohBMMw5ko2eNY8eXyr6+NjD
l/afbMg1xM6ZoqlHEFz7kyN8Ay6NS96U7FvlBlld+/3wSJoHPqGI5yvS1IOgoavEno4qkTZxQdr7
c86TgIH2TjTDPkvvMwjWV7MWlDoqVz83q1fstYxxtarMaGwLnj2c5h0l/JQtVZNfuchkgKubZiKu
Sx3njx0cxFhKKPoQPKmcgwE9wM9Hf8V+yAyH9UCz1AXX1ZErt2n6Bkyx5S7l+a75ijLOFbxZPcp3
sTfaTbnv98YuuyV3xgOwCmEWltt0M70sVQlfmyvJS6yLusxqDV3liupnSodCjMK31CTUutmbh/t1
syVZRKsoOzB7oxc+vhDlXREPsGWfN/0x4xd2uwyArazBmis6wfk8Dod5Mwf1Zj7mp3Sb+nU4bMaQ
+2wzHJ2l1+7ZTF3qTzJfjduAd6Uf8S26DvOtbMuYhxbgRq31BSxkpzaeQfr3va2+GuOmp1mQAqkR
51/AjuOPaeynShdopPBF3/gi7rZ6gzK23jyaQNYXjh0aWb6JS31XzYgVxLafVsaB8juHiVvCnlRE
Zzr22qlN4LDImjvPUGwoTOLq3pDB8upxCj+f2MtRD1v7QJL9FstSentkU2yrxyyKT+4mPWSP6JwR
j8M9Vn6ZzFPvyOMQWbsi9wonspVdU+26OHDAlomqvx8L4zg7cJcmXDJnVj11bZoyTHjgbIs79uBu
5n1+ZDtjNx4hXBzSsNtmmyTo/WGjb/RouE1sX2u88l7dFdsl4esrbxEZ+lsnccGIZs14enIPSiqb
Hjq9Wv1DLVYRnNuaDP9t+DyjADXHNZxsbbbv6ePnM3jljMv4VsHSDOcc/kie6tguQWJ+BbeJpzuZ
N1erBKow+PO0/bZbCKm4mWbxfCzoz747tvMS48M1ayjDXOusrQedwV+ogy7Mb+jO8rNA8ZuAh+5W
86mPFPHm85m6YtVlCsZhTDTbjvX5aHX1piztQM/to06eP2/9Iwp8YSfLsFfDRKjPQEkgviSrPKv2
bW8KgfXcWD6Ax4cx0jbpq/2Y6B6P6k0epgfmt7s74rG9edA3fUj3xRfrp30oQxA6hMahidx7+9A8
WRvuF/5SHdq1WZAsHEDkcaXm7oyXVO6JBg/AOPbMxVDzte0oeT4qstiknVq8dNzCs/OnUb0zwS1q
oPBSH94WpvqyzZDBtKgUYUA8oY+6/zooDHXJS6HsD57bvy+iKgNp06poQb4FO9AG+Q3fi1ODm6Y/
FA8Obpmla/lKWEKVobLJ3DOwhaAXHjSe7muee/NwvtBEUGG3K5G1YOWvdnRepd/OLeoYlLRxzRmX
p3Vf3DUHdzPu6DbFzprD7pY/Z9s1S6LKONrRbenYFvgiC9VjrXvXWQup48vbVZVRtIoO5g5xbpjS
WzYcaAf2lofPx3zlDlRlGG0hpnToB8yOtbX8Zlttk9tiQ0J3E+/bo7bNbvDYDosTnr0bvs03yWk4
rl4ZKfilu12mZOctoN9bW/XUbc1jfyTBeMifFFiA8nn89vlXXt0D8oFns0uBvEVPWx71T+6GhWzr
+uqG3yRHvJY2zkJi78O5v3R4pLOvuxb4JRv0NG7szXCy/CnsN4ATbMU23dZhvje2+V3/MD8nh6V5
vPzOUGVQbt7AT287dMno/Wh8b4b3z2ftyraTEbk8r9MYggI4OMWBgGVArW8LupT2uKy+Ds5iKZql
QrCGFBWuimk7hHNUP3bPYDAJWEQ25T2CAkt0yVfcZ1XG6BY0meOiJ/MRUbO48IaH+It7bJ6dfbkb
f5U3SuGxn9qpPWUnvrDdLr//VUfyFJC0nEqbY+KqpvCTKQvVefZEx7zW7PwRubGim/2xtBf23JX1
l7G8lCdxmlXozlJv+/FLniymTM8O6IXNLFc/1T1KA+auxjvb4wHz3gavwi/Xa7wfmpcEnfeOuAl8
FXDw+KX30nscv5zAguNSe/jlF9sk7Hbd7q3wc8/wlvi1r24eyXIwqNnjP2M+Go8TEvX76oD3QWiH
3Vfra/9QP+sLb6FrhkMGMQulzkRD0NFwGDcotH9sudce80g7WLvy2XkofPby+WnTz7bo0mRLlsOY
tUYxcljDJmz35Z0R3TYHe5dtrDvzocOM2gd3m4XtNn3M7ievfhYL4eqPuvJLHUvPD8CdNDGjFPz4
5Tj5iK/6X74wLPN3FgLCukk2zHfD1Ode4Yng2zPyOH6BASwagiubTEZEO0lZOU2FKZ7dVwWMKFAV
3PB28MciDTr6VUm3RO2DdEns64pVkzHSudZqoGWxcVrMI5v28XinlT8+X8JrTUueBmuG2uY1LE1G
EVqIjVCfjmVtLrjulwucbFUmy8yhOFeoFL677qj+jx8zDt3oN1CpzbwktIPPv+GKMZHx0ZmhGnVp
YzUquhmtQCf7de2e+/vNC+Ol1ZTx6MxH4jheq6DuYA1IF7MimYLJ0C0NniQaru9Kto+XaJ6uLabk
MrSGYJmdYDHL5FiIxFPKsANB4eezca1x6ay3hHaGe7Zfzsg9VDMgkntf5eXChXDNCbGlE63aqHNz
zi4vi/tDZlp+4ha+wnYCBEFaroWu+exS1zOhNEQ0HGXQq1DtodC2kLiGZqg/u+lWaIc0pQsjunIj
ykjqVKSVYrQYkHDvQJwXs9yrE303UeZBJtCv1BduLF4O1zqTPIu+Qn0hKo2no+kx7aCk3w3uerPz
yoPzM4P589Zi3wp4AxOeZ6V2MLaOh0DXwgG6srQy+nrsWzOpC3xqyg5x8YOKr63ytmrXyNhrsN5l
Kdic8WQyND/mbMOKh1RZquy4dgHJ8OvCtoy2a/XxqLfYLf3ozZDnq6ba41XjNZoZdvD+4F+Fhvqi
T+KIclxPpYD5GWkwEOrx2vZMXd9UWnpTlUpQZEjKKdaeJKs4uKGoJhmR2dI6iw0464mKrFG2HyFO
9PnUXjsyMoh7nO2mUFs0XYV1wIPqhoTto73rTvm28LbJDpX2uIFZUJ/SBXt+9gYvXLsyspvMFQQA
8nOPIKKfnjLFRMBkZ/KlT/pI317qQDIygDJPpXW2jAP2ekruoZcQjO0OYF5fAamSknRb18h/KCXK
vqDtxMxfpf2kDRsNSXqULQd8eHV6ss/pTZqfwFgb6pwHOUm2jcX3jWqfkv7HIl/CtdmQTFarZp3b
DWw6TmbtVfNTyd6Yxn2irdLJtVUZNI6cpWg6Q52OmoriWf6qDAswlGsPDBkzXpgmZDjVcjoKH6m5
zRgRPw+TYPQ1fwja8CUy/Ha7VAV0xbzIMPJZq3I61YgV233v9/1bwr/EYlywXddMgAwjT4t61MYM
q9CEIiSHet/u461zqO/yXRo6QRNZX52v7kHs5zD2XtNgKSB3PsAXtqoMMIfS7dy2QpuPKjjrMsf0
HX1dXTgWXjIaDaq7NNJUWJ4w3qZe59uhuY29m3q7RAd8zTOTceZuT5TOKszztI2B+qw/I90dqkH3
qD27C0tztQ/JH1EAh5g0h5z7mAPlpbuH4Q3ncH6el/u4nIhQTcliuJC+6vMmHo89rkokbrJQUZEK
YIon4tzX+3sSEG8K2EYcrawFTLra6PzOXPjEa1tbMgEojKa85UAs9DBSyjeItYVOOy+8cq695GRo
OjiBUWw9jDAw23EzBkYQBzFWqQ8Pr3kgvCVW02tPUxmkDtUhm1cl+jlbg1vFywL4U1uAjb0W8evF
bq68mmTE+hhzii1x/hy/DBqfbW2/RQ/l4qa+shoyRH1QlbRuCfZbmdyNpv69sV5BYf718+v2Y9Yv
HHiZirS1jL8OfNxVfuN8U5o8Sum9NnQe7eh91QBj2vi0vcEN5Qk3CxPnfcgLL1PHMHZUz03LkGrA
+DxlRe835SnVn+rxfnaf7WLwuPY0ZQA+AH5iq+lxzMZQUajHwIWJiNMtTfcWCN71Q5FMu44qkFKM
N5NtAxaQ+Cg19fh8mHriK90zw2UR29zv1PtWXfj4jzT9pY+XLBI3bdY6/XDeItO23fBA9QG8CKst
MotBE+R7xzN802+R8fh8uj/02S71KD2SbDdNm4mqyCUSdrDsR5pQPzHFphA/q7jZsKQA1Ok7XUzw
n7/kUn+SsUpGcOWVDWIZjhKW5Y5MC/R1HwCBSw1LFgpEqyq4txQEfrzJNzadbxzByXoAhCwoPLgL
R4aX2v5+Ydqu2EMZc2+7Y05jE71VYRNOvu7j0V1t7Qf1W7yJIsBJvGGXnJofn3d35cTJIHyFZdpU
nLdFqbWeNeHbKiS/8yVY0rXLXYYWG2ymlmPga9pgCI0gC5pTcuvsyR3bspMSur69pb4Rsg2EMx+S
d3j01YLxPQdALqyaDD22SF1aOmiNjxpwnQRESkiO+UP7VGi/TMgrfj59146VjKR3C27g1YKI8nmt
+oD47sYI8l3n05B7xrbZA6u3zY61vxTsv7Zg5z//LabR2GrXtwQTisoIG0AFtTF8t++XvueKSyzT
lOYANkEVEt9j3Y/BGCEa+KO+7Xc/RSD23d30OJ5Kfyn3/9HopSWSLERc1MCXcjEd7ey1QFWbRQ4G
64J4enKs5xkizS5rA70VXuZyf+LWqXFyvzGtfZokXmUir8HEliX5sZk0bNppw8c0sFx2rwMHztqf
SVF4Vfk+jjuzvLH1UItrby6toOeq73RzQLJmydhds3aGZH1Ir4E52UB0hXVWMFMIZJt5kNbq/+Hs
u3pbx7lof5EAUV2vpIq7HSdxyouQKomqVKX06+9yLi5wrr84BgaDmcFkTlQocnNz71W8IX/lEWGt
+Oy1ONSmnNlTHkASmyZ5yyJoV08znfpqWU1AYuvvmZYukzHz9LoJKuiUSvIGw5E465nsfE2dWWGb
fsdHKq1lr8TeWPIwaTrW48pieBDqwc1y3xT3qjXQOP/Uh5Q2o3qUEwlIXN/FpKZZTgK1sGkCrL+l
WIGINKDyB6am4qBnDc1Vw2uzlzFda3Hvp47Pm89MTl5WgoYy7uvoSckPA0a3xcmxcuF321nUKSHB
LVndbcpy1eaEallFh2FjpgBhdsc8r2mvpyyxAX8UDtNjgCXyx9k82BVqJE6849ACqQuXlsk+mhxW
xIafqeaud05pvMOcpGTO/LbtfL1fGm3J8jxlhdMtHG4xaSn+HGushk6BXaF6TE7gzx3ApWA5sW+g
oq6tvYuNYE4skopzKcBpN4O9Tbvn1rgRra7Ujy5h4gDkC3MqEK0GKA5nRMWxfAyKeluNkJZrEi+p
i9Xo/Md60SVaPNKzCiSMSa7L8qXgWxMsKfsWm/lKBLlUknVICoeVCos6SiWNK9VzqgfoyDBr5DeC
1LU7XJS8YQ6qQiIbIbCd9614tbLlmL7lt0QUf+RXf4lKl5hxrewU0IwQAk00oCY2MfQFqUDHiQex
rzDTJ+HoxUxFNyL1Sjaiw1TezLGvbZiXEGrYSOY6/H9RbtokyxYn4vOxQWEK+iGuX6+FZ4Yvk6cz
9ETOR2HlxtS++tYX+eGoaz3EtlHnQ5zxJj9ei2O6SFhMP2ymLTs6nO8YMcRdzwoqD6paNw/iV3bq
/wFK13VDyiae1qg0etItPEtg4NWClfLIpyK9MW2uheifIf9n62yUfjBQXAJQqHse4xdVHKIRvkjq
gPTApA0BVSg/pf3336nBlWChXQSLysp6VLlQoSnKEKpHXmtUAZB/t9LEa4N2cXDtJ1GVELmf1u5C
C0lgsDwYFuauXNSLeKOHWsD9aJc96Q9/v82VrPSnhPnP2JEs16fk3K+D+9uOGMaiS3FcAGYvytpF
osdsUm9JW/zEvF8W4CXS2IKm9pBrCLO2vnGw7ykuYbN6KGGro81dULvvI1SYUvgYlHsVuxX2OkCT
acuBRk5TZk5BRhJajnWgjq5vDgV2oU97iLYK6ACl0YUNNt+2t7zCJn6ebSAME/w9SldICupPue6f
YZLwUNcdYFXXtvVhypa2MmZtobF+dliZvDs9dvzRprxO2DDda8Xeqj8VJ2bSnhgvwE2ZM6DjxBpl
Sdq20qt7v+hTiI3ey3xnqYsIlJK/H/XKaennsPPvk0rFadwOjT0DQD+F6jeRw+fk7bevd5GgzkYU
V8jRzucXbRWtEEL8Zp1uIGkHzHDNjBtd8isb5k/J5Z/nByjSyeErhcVcP1TORqq+k7J0DiRZVNky
qpb/bZguUtTUjBNo5WEuztFSNIT2yHD+vvK17PcHCvfPG8QVRIlGBW9gK69W8wYvVRdcPEgY59XS
ru60LmgjUDHtDyc6TVrmd/AEqeAZXoJyIdNiVw7tLiFog9gJ46BaJFH/bChvUWuxOW99HkXMdfJ9
VQRmJMAccpmhrRJ+4uZEe+RWf7/GtXl0EeY6w5bRpKjz2oV7SB8F6MP8feErhAv1J4z/Mz5R/v/G
p/bUEPUKHB+zVbcmO3msCzrvhhVyYQ/CvbQMjZ0C+Ke+bwLHd298+isB/BKa7CSEK/052+vz76gd
vahexv3h75e7MmqXoOSoA9c3EecQ53yU1UG5lXyRH/GsX5afepEczZ2a9DO8jNcN0ajWVJAEPWbj
a0H2Sc70LD6jk9/LJujjBYkOef16Z9JIXenO41Su+nSX1ycSv+piAoGKM+7SAf+yZzWEmh514Fg6
fedjDwuZN8gGw70iBtj0RXZMLRtmZmErQh6XVHcrOLlXLHV6j1isb1j8XQ3rtHmwYhzVosFXaurA
bFlOX5GycdxV0twRE40Yj9TIR9dwkVbnbW6uu+mraxbwViPKi5Xdp/NBads0aMZn4aTLOKtOLhEH
Jc72o5H4ZpExy3ID0m2KYWHb2Z2J1KXlq0kE2kNjvUzjnvOnqfdBxoLukOm8ds0GNuTx8KQ+IKDg
pNMwx7EC6Gj7g1uDTLCEH57vYoF2xzSu8PA7U25nvjYA+5ZB0u+t1iusLZcW63THg705bQcwqSLW
oiAfv9dmeXbIoWn3MHZrg9BR+Gl9wCBO9UaMx7nH4To+qOX9XG5EtFSVXVYu4mJTi/0k7lOxzPON
lSjeaHEqnUDypYbSK/f52TBg3GdaTOfmMTPWtf5Z4mSc881c3o+D8ETtGWdGYvuZOH42M91wmAnB
VZuT54mUr4n1lODY1yp3eH+j//x7cv+OLbfcSywa13JVFxB9Wber1sfmFxarfC+fMqaHwFf7XWgs
zFuHgd+bqLjZxX7TTpLP6Xxu8zO0j3Cz/N5+77/mJ8tzt9lBhs46WfFX/SUJ2xuHtV9zL9zyvKr/
iUzJoHPSER2pXQaOhkDVd8JZ2I5TdDydhHbJjYH8NQLhPhebTzzqU+90Cdr67uj1E4xw0/fyluLP
1a90UbGo2tlUaxtfaQiG5bSrVsVKInt0Q53xtbOYFun+loXh73AvvMnFLqFUUTxXDu6lstkrFsrT
GALlxc5/tWymsGikJSXssQhK31qkXhpA2MPH3zhwKN7f0/LaaF5kzFLX+3i2B1TO6pfG6OgsdRrf
PD+dR+23uHs+rP4zJ2DONgo4/JzPbTJAIws9mAigRJd9NWv3iDTUx/JjmteBWOH46VP/n1S4bPWS
yGFAZ7aoJG48aqvM3c7xjUl+rZWvXsxyASJpEicS8wMURRdpcsppacyeQC1VR1I6Tg/jvODinsx0
q89Q0HlRzA8yA42pLpPqFKPKqqrNLilBtLNfc9KeZkUwpXGoqEKI+N5IpM7P89vIX6ySSO3GOiUA
1xVyoGYcqPHL3xPm2oUvFoiYYbwFr0eghSHYWU8FjaZbAMQrigXqpeQ55PCzvmm7ea0sTGqCi9DS
9zPmETDWdQpca4M6f/ZTXfi8VTn+Se1/G6iLBeBYZWnYNUqUoHx77jMZ6P9Nzw2vD8TGXjlBuy9X
t2pMP83H/7kdMNvnzP2fFZHlVvl/MZYxkMiYSX41vjZmmLr4/gVkBcv32oCSU02bbH+2B6gL4VXR
AVo3nlWntEi+I3U7yQwYcLDWZzSPpo962kmO1tFIbSuhdXtf11ul3blawqa5ClKw7Yc886Z83sxN
sVS1xLOdXSYVZqhaOBrvvfqetIfZCEA1tOO9qe+SFGnGLWmNX6cM3vl8fP7nnV1LmUgRnfG04mic
JaXJjeLF75wJXPkir+ODJJkRY5afp8uZvFJ6mc+9ChWaCN3eM1IWuhLhENYsWcEMEM3l/wSUwK0v
QptuWrpSnE90s/pRJQerIjdW7q9FBVz4YuuenLxWeiWa1vrHZD71FTOdMYwfiDAD+ybo/0rYvySb
lL2M1bGdkIw4yEkn5L/l04BI8XeM+L0BhHe4iD5JmehqYhoSVF8Bt2F7bYyQErTrxItxE+F8oRod
KlWHM1dTM7PRaZHlns2hTdMo1aGrNTrFymvfmliO0B/4+7GujexF6JpBNCvAepzWjs0Z9FMP+hOZ
cXxB0sjrZXb/911+Z23h5S+2dXidZoZJsK03oJvoQbdv9mnYUbG0gn5f3GAi/Y5uwF0u4lbsaGmt
N7hLuQEGbHXurSHNRm8NhchAWd5MUs7X+yVgXXJPUkWZJ54hk9Sf2529Jgsdf8d3+b744rvigER/
Ibfqot7aS9dTHm6M4ZX5eclJqfTCEkqFtxN+t7GDM/NtWGQgChlIiLRFvipKGvl/3+xHGu63V7yI
IoPK+zrp8YpW8xkNNXOtR0caUEnaZPZALffFrZYuR6kbtTYjuXMSy7OyL0ceTTR5ZgFcgqoGZlNu
YvmoWSs9Bt1EbiutY247hbnzbHRwqZv3iiJQVUr9sdx15dOs7ebqkNi+AfUUEk7gYLfZAx/fpuoW
1OZK4L0E9OuVVltq3KN/0hXbRHd9x77Fwb3ygS7B+yaai66pIW+09BeIzdEaxB3nVgP5Wly/1DbX
zdJw2vPVz3FdBnBb9VtKaOYjU/KBrwFYaPSAvEU+0Pz0GvKbreRrY3YR17XaiDuRnhM8kaFtl7LG
Tm5MtGth8RLSn8L7W47aT2QQfuurfsLkwvEcdBJaz6E7E4l9w26pcl05kF1KoNsqEjW7Am4ILrro
JUJH0EOnmNxCzl8bqIsYL90pV60eL1P074Ozm+JbyJJrz30ZppWmcYXW49CwNAMgY30gX8N8PTBU
8+g32q7byHdu0iyufpSLcO3MEtVvNTvfrt6Yz2BGeyW6WiDa+lrQLhs6+GqAIjT6WX/Hm98BhJZ7
SQqYbMgM6FAyPJN86ENMgczBZ3+Er/Gt/fdK0P5flL/ZqLOFO5xeFbqXdFNTTr//fvxzpvpLtLxU
TB+h4DfnBq6togcY06+X3eMtdNQPE/C3a19E4qgtFaeGssV6NGsW86mlFuFvrgMhozx+Mo1tm97h
/OU71cgyTaHTJJlmRdRxDjVkBGlrVWFpHDTtXnGgXVVsi/F1nt6G2CsE8MZOCc2zwjfd4dUoosBB
E6SrkHJEPTM7MAGbpNtqmATpY2kEFsBvzdIcdjCfUYt9pUHQalZ8VS1W6VwuJQcSoEPpW5xkK20/
S0yLkqk0GJnNmM3gs89lB+vpehnB+TxN+sU0RGB36LBSqIDl1MpVrS41dy0lCnDrJF60uRZqLaBy
BNK6FE/InDj36yg9zGO1ThW/iuyFzg14Vk46bax+Wbl4QgERQZ1QIyahA2mOEgbXbmqZ4HXE1qLS
b32cnybCbx/nIjKSvpUFvGGm9fPr+0Psfz1tVgm9jwHZ/HtiXUtpLmkPFQi1euKmmLXPryk9hmG4
efz+/PviV3K/S8KC0dau6IcEqJrZ9SZ3b+fPYkz8JH83ys95Dv++y5XQdcldMLtIF6MA4aWs27Ce
y6BSgFnhaAhax3x6/vsmV8fpIkCmwLQakuNDrFGupS2dMVYzouOqZDdG63ckveVe6tFnJLKM7Iw5
rUyVxVERWOlygDxA7ik+4QvTqqnaQDEO6b3ENnwOjv/xYHWpV6+0qmkZqoIert75sXus+S3zvSs5
yyXxQPRjI1Xw7NdZdO9IhxpmS3OIed34LOfh/2V9XLIPgBnUJOnx4BYJ4wCoFbvaJ/fpgzbvrCn4
LtzwPxbtLqkHmj1PSSxj0BvtV1mi3GQif5TRreLZD+Lltze5WOlFJNqxTDHBam8ItDBZ4p/noiQ1
gLwcISMCnT4crw2vWzUg0kOZL0B5lL5lQY13jG4M6JWN5pKKoEyVzJQIzfzIidBhUb1Uv5MSRDmA
1kZMPsviQTvdBEJcmx3nPOefKgWM3WZraAFN0PSVNk401xNqK4+KYrMZ7LiiaKjIy9CsG4+n0q87
1VOjgZX8lEXejSl0zp1+G/jzz/95Bt2qxrFNEQE77/l9/3A8vDj08f7Gov6xbP/t6hdxo+FSFm6N
GFiXUWjGqIWQU6LznV4+q+6XrCaWdS2IPgkrDdOvsRHlc0RlvldMjTrGak5Gz+0gVQviqE5OhiNB
61sq40fJj5kcXtwkotBTX0dkeB+Ht6y9BwxCBSc8Hf1uHijvb5nS/yBJ//dVoIL1/w9UAg5BFNXu
uOb6SVcgUAioQ+TEfuF8DrYCeapFA71JAvO/EjPEBRaumyRoU2hduas6s2hfvHHNAAiCt4ENKQ9S
Q34/4gteoWOCZhb6VaKc2YSsoKtlaEGTsNZr+I7euxMKqkqYj4pndYQRJAH/8etfZKK80KdSNxsc
tcnB1O65eNGi1mt6C1Vlvm2SL6XZFi1hzRD2+jLVjn/f98qmZV6MJU9MSAtwnHiKZNujXWNiVdf3
ubsenf+6tf+wD/6Z2JPpwCzFqqCWRhtPejP9+vpAUvp4f/f3O5wX6f/OB/eS69E0vM1z3ZFr7kYo
HR075UbD/Von7ZLeUcVzakfjz5Of03XuQR8HOy4OCCg0WrT0c7rDmc2f1v9JGcpyL/keAlLYHNAX
NLjGnKrlm5SP1X9SEsG1z8Hvn+/gxn1al3BAXifmkeuPXD5a4kbucyV+XvoRtHWm8i6foY1D9trc
e459bMr4VmS8MkmNi8jYFs04mRq2PFS+UeXlwbxwznD58OPlMfGVZbxXDrcKQtfe5DJOFlNTDwQf
oBtWOn/o8qXQHv+ep9f6iz81qH8+AMT5mw76y2hxIJ9XR50mpaC6emqgFTKXA2t6SfUUcl2pETjk
0xUGK8pqpQ39tiLzjZ312mq5XPFOTODQiRO26jwr1alo7/9+uyvXveRNpGpK3Jjg5bT6VOrLpFj8
fV3N+R2JabmXlAljNEq405RA1GD9NV5fhCOCeOYrGwKFW3g8vMRH0QXC3BkRKwdaZ1TBeVBSYMas
wa/aIHYOOvc0wM+ShZKwOfWN3sv1t0qE+SZdVONWZCvL8WxQFNywd1jEWReHWRq4KR0M/BBHLgoY
B/nA+S6qFpz7fcJsiynJZ0PWXfSZDFR5d/i65bBroNoj12iiBe60KdwHDk2Ub2F6pg0xCh/YoySj
2h3/bIzHym9GX+5H8lyjKIQDQxda3wLQNsD2INRoLnW+52lgQHywcGgL26yubVi/G7tN7rAB58KW
CmyvNdWALT9wE1BcQBvIMj7I/lBGtO53KPw19Sq3/F5vwrnqQ2UOBNcW4kFvPPcu1tWFIaEyRqrN
cJq+bX0I7G8gA7Xnzh0D5QOtzXra5NbRikssB+RjzJynJWk+bHegerWpIatWbezvQfiChzlf8cMY
A74HYxtvXtpHCP4IcTCtDxW/Vmh+A3ldSMA+iJjmUNhTjk6ph6X5Vh+0uz7kwseCaB54tUDGh8Os
U7JZo7NKa2z07avOgwynEWzIwtdwZeu+bz8dyJpHHn6PAw4DzCwFYqQ44sHGHRonCdrMORseID4q
QSCA+nALpPeyiH1tpEUO4d+vcXQ9136WWJYZbGFRKpvNkHxn9SoGeA6ycYH5SSpIRDDtvQ3UjZEx
+47brFy4GyKoW/oj5CG17WyzeLgbxWs2QqpiMyV3Qxs23UJpILUJM0JPlF46+42yGO/aiRbHOBi6
5zn28ySEIEPyEgPD39A58ebKG4/l2n0Szp4Tdn4CEZaFbzzL1yFhjeKPB7PbOZAyBiUBVQNrWOSj
Z5dL4nq2sQdIVDd9YXjmU5RAqVvsjMmfi8B2afWegow++xMOeNliPLoJ1Qikv6aeasPSkUEXMYhw
jsJTdnBwrlw25qyrlpZcSHcRt6cSMyhbtXjpI2CjbfMRFV6fUQhcuJsO9hzVZ1atJpX2qxSgdG8q
TxnaLh2Sp1MUbaX0qnLrGPtaLOcopoLftejhOR6H+HxBeRaW1SbJvIHQwTmh5mM+odqePFsQpRPh
VHj8o8Xkj5kCeu/so9c5VvhFLB5Kon181/Qsab1abCcB7IknMXPMI6wa3S4EBgj/qcRHMwB4KCkY
4WFNvDgOIHNtveXPGbRp7eVoY/kttO8Kqh2HYkhg7o3RoPGT+462N+yrbZOBExa599bsywHLCR9h
Y7YPbe5jumoQZvqsxmWEb51T93nWl0JQtd/CSg9ZJW6QPA/ks24XswyjU5MGyoThb8mq+MqXNmwf
bYbOTvZ5ZmJOd/gUIvrCajG7sDOY0KELc69o1Oq9hjym06qFibZFo4WTfFkQlK6STwlp1BYiESZN
0QFOA63qaY21ljLYJ0IIXFF3RvtaArPf+425jbUQAgTQ/XHaUBQMpuCmi+bjTgwM6g6YQ2O/r1um
gEeDP0MoNEmioO3PGPwKdTCqpQYi8XKel+1A7cFzSMZauNJod5BcNJVlVdzpDiTM9u24rrg/8GV2
F39whzn9ttWpoSMKhObGHgI8Rt2veOzpKG8h2OfLARXStaMzB41xwTQdKGfwcag5LSa+M7KQW59R
PeFouB4A9gTtBgVi8dRA/BKBoH3Oda9/lAUiELMjgIYg1LjQbSh2ByqEnBxqvTnoM8RU/bImRta8
oeffexo++1MBrO4M5Xofz+Xu1a2bbwXx546V08nWF6Ap8Xd7HYeoHA9BpwM/SBH0lPJRhdLmt2F7
zb4HRqmhxcJQ6PAx2n4ysgY0hWqVvSX7CjM7W7ho5Es2wvAqWxl2WPBwavYzZ4P1mke0K+msefMi
0tj0KMABH+/t5ljIVapALf3LynAigYmiMx2E+zgAxK+vs6OygXfAA/ReGP5gZjH7vEsihZ2eCxxu
tPptzje1CWTApml88+jcDU/J56SthVw0n3PPsM6hnOaNmeWhiIlSq8nKrqZmjTmuN9RIMjCnoODY
9B60gNhoIoHB2u9ctDpdhBfV9NPz1tA2lOjQKY7LoM3xMfGgeY8oaDVhDvRdnyJeaJJq2rqBV9OQ
fdki3RnohqVI5U3rboaqvTFEzMot7MFvuQyNLvW63lyg+78vJq9VPYEmgc+Ne2HtuvQjzU4D35jx
fRTfx90mje6iIuzBi7Ijf+p3VfVYZzvNCYt8LedVNTxgu/dnEQyq17g+683doGyLqWdxjGdFiGjd
jTF33uzuRA4BFuyJoERLADBk+e1oLzN516IXxwmH6GWKXkj/neP/2SRU+8pPq2E15Ycs8gt7k9gf
BsgI9ers1OvGn8hJErX3Ijyb5iDpc/0i3lcg/8oU6m5YVrq6i3CQzavCI84jOhVBrIhFhg3Yjr5a
AEIk9G974CqdhznaZlq9TSZowGVAW2Xlcu6Pqm7gScdwllXoQl9xCOFba5RhV+esMsalYWAfeZ8q
eAC4Ipj7+r7BwihLnHTk+6i0S5S1/A7jjA1faVdEqAtVdiG0L5ZtCbiTW7DRMUOpNmzKrWXTf8EE
loLcSu10n+vumgxjR22ISOQ2YX2PuGuYsLWwaKM+6FEG/y+dRoq1cdODaext9ZATxBtsArbiQAml
gPOYsa0dZZ+0ysLpQBOYHiLU73KOPajbmJgHY048RS4bhbCE40VQei/qz0ZmSAPyEK0d5syOZ0L4
fpohpIYdN44MeL1CttkEp0wZKQFAtMnLgPT7YQSsCSd+0G4WdfaRE4MZ3FqJBvUv4dCxwaeKClbp
r6kCSG9eUbsfaKH11ImxzZqC6c0GzpXULd6M8rusRm/otRDme0zO+rpMf4pLdq757YB0FImJ1T/o
bbpw+9ek27vlmqNtYBSEcXkfc+dNFDUYi4TaNcyGHe5rjRPU2SnTKi/t71RDPKX2AL9QG9NH2co6
1oB/dSBDi/iGDSBq+gVXc5bG5EUrdTSg41Oswx1d4vX7rQ6KYBIrYY1+SJJgsWU0jrMgQ+kaiJZm
hvIb3rwXJRMyWVX4Ra1rmCGS0GoiX4mfqkJsBu5n2W5uH3TltUzuxgyLF0TKpijQb8G+SVZCbfat
u5SasxdR6UO7Bt/xVGMC582jljwleOdhfLRaO5wiCJzErWdazwkWqZaUvgs6rzUoNNJrby4JQNRZ
mODikYENVQ1VPZzbnaaAlnb+AXm0f0omZJE5DqtBmoxdFKDi6jHVX8sGOv3QHlGhLKR8Q0eHVuKO
KHsb1pH1Z2eukm7RF82y6+7q+KOGJU/E7ys7DiyynJtXhXzBZW2dnAPgsK0tXGkogyk62cma2NuG
o2GtnxRtZJMOU/Hm041WznzUcGJFZcVQNrW9yoc7BYSFOmMV/H9UPtB8Gj9mYKCjEYrrEshPi3gj
RNCzlV6/TPxgaDhIgIoeFe99jxghDKrIbznvNH4ayGHoJB2V0UuhRpfHclnryAxhmwgxeNvkXsEh
TDe1j8OQUx0xLxo+83jXgIAKUtAwoEzmbFtgdtUKCpIEjTS01KtzaZlHJWuz+64yfAEwWH5OAfEF
Jpluuv4k+bGAMnm+IR2w3+sETnLnpEUPe8SvCCh65VSj40ze4A5TxPChPM3WwZCPmfJSgYWsvFcp
3FrWefNkkRdhoYGlbxtCgka8jFB5syB3NYnIjyDCrn2pTUL73vhq42RRJPFSYNS0TqGjiTwd2bLF
lXXTvcWD4lWNQdsckl+qu3AwKmZSYEDtpQof+QJYolmUvpjF3nVQuUMVHSYgybLTs7Ayl26xd/We
qpiCcSqxZrAtu22ojCbT7DFIESYzhI4ROfJsH8V0rAsbC+S1SgAQmfyeDME5sk85VvDY7CoIWsNx
ZVHZA02T7yxaJz1o2a+T+szTtTmdch3PhrS2jXkY118FvxvlVuKMwlvWwXVRB9mcI56PGA8OF69p
NSL30bqMwqjVsxG5puiTGzg1moTWxnudoYIHbeuqWnVw1XANMKDHrRY9SWOfQmWjWvIRhKBib/SE
TkSDBt0+h7WQNa2IUu0mvd8WilxUKKxqY+JNIDLbPPFINYPSOaEl3gk611ogq/ZYI5nq2w7VUxRj
5uy9k2Ih4TJKeqTEsPCIxKYYR6oZHy4ALRGp/daUtLFfEqAb0zT1nA4OIbria9HbJL/VEgAw7UMj
S5cgvTS2EOHc6TizGBBVQld41bWAftaSNXXFHCMcXR6MXccIkYzna0hlgeY8YSsB48V6EnoSDEL1
5ujTQhEgR5paGVhR9ckSq7I69XaymHEWUVFfgVX8fjxzvTsJy6BdHSXhgCPE0Cl+rbksrTW/sLp7
x07grmNgIWpM4DQ7d+NCy0Vg5Z2vImvcth34kjrxHdQbeIe2HHKFOQlRyXUT7O1T+gjjaE9xV1m/
NScsmlEiX9528tEdd26x6FroLvP4kLcx3uoEzUMYN+Ccz/UAR71MHzbpHIGeD/B3q2xwjI5RhbeX
iixZLBxfopMFcCkOnHqQKZMnDOO5xz5aoMyhGBZSzqmE+duZa+61uX1QJs1DByVqD4bIlpbdPRtj
5cEqBQW8DIS8lrk9LBzRYC8+pjpEclRPHaTIbJaMezlATx7bYY8zsl0KnLOGQ1sVaxtjoLm6r3BQ
ZSzJVJAKZ3mURRLmTYzbk9Vg2AtDzKsZGW5lHpKGHAyzDBWAXdWuX2WlgeMOzrnNekAWAiYVEMaC
zYn0ROEspQVl4gLJEfoJRoNjjsY9Y1gpiLb8DGXUVRQRVE+PFnlKWKe0h95B5iOsbWqXIMYnC3fG
OPWEOYPDWlTb4tLBaRPQIiQjnABAKnLITJYrg5Q+nENXYxqd5Jg82+PotUPOjKyH9U9OTezopLJp
X2nLGFwB+FCOJgC7kFLI45y1EHXL6mFf6TUQuB2ermZzj/gxRlTXJYTm1JOriOcRyQG80FCPmWlX
IBg9tzrS1LSghIw+xEcWsBqFA9EpqRq0N9Z1ptBEQIZCecrxE33oMHFfNEQokYdRd+qqdJXnw4vu
ruS0zMmToui+qaxc6Qst9yZLR2R5bKNs5fY2G5MPjnJGVzhw7HK9Iv8/nJ3XbuPoloWfiABzuCUp
ioq2nO0bwnbZzDnz6edTYS7qaMqlwbloVHejYFnkH/ZeewXLL3GMMG4MhbZwwfNWNVdyqtB+Fo6V
4hQRiv5AP52HkK8s3ZtiLMPH+jhz1Chj6/fa4EYy3lSa7C9KYYcRrkKzFxANVLNWtPzLDCmKF2N9
PgY0ERSsTJnwBun03Pf6c9hirI7DdXCv1ZJjZN0hV6NbghhdU38p6rVZnY/C2sdRb923IEbtbDzk
eB2irz8o4Q1vyw4XDhCeRtvQxyuhF9A/SdWxQToqim8ldipCMpU0xecB1y+DoNR2wlMQfVMpx94A
CiuIGcYCI1+3QdM+jPtGpq6TTX8IODPmdFXw1qrlsSipzdrF08b7zJRXYfnZFcs9tdi9iLlnO1nO
BKVVF3iMHml6kLoN0RYHySumTWD12GBMjjZucgPOh7EfgoEj0HJk+bW20lVvDY5ljE6BbjcKJtuc
vo0IJiTolTCEn62s7AewtIjMRYskrU4WtjVCm6U5J7rFXitEK73QHxKqg1i0boJxcSTrQDKuFGg7
saR77r5quq9A6NxBz5ylo6GZVK782JUMBQXmq4oFWCE6XTrsq7MjBkCjFZwaMNW0K/1MydwgVdyy
Hh38vPy4k+1e026M6CmyZluThEO7qE5VHWs4vYpnFMcQu2aAW4taNH7S1NOSvTLtHOe7stLtSMvk
fVKlbiJp23FU7+dBOQY0vWmZ3eLgjYars9Nzdb9Ibw0psOfiv0vDg5LKG10fXjTcFOSeuaUwhvbE
ipQq6rTqtk4syEAxnN/zocGW7SsvUQVP04bTAN+aTwYuRbqWU98awaGM6OCSldTNe3lsHFHKHK0W
tyoRHXZJSy4KhTeholP3g26u9IpLYprtZjFcaaTRT3GnmHTO/vFGa8p9CyprgM8sN2Iybwb6HcUS
4OHVjthppwwowcqoHou2Igmv3ItyAPYibU2lPoqqjg3zIlAlGceGRzSGXxZtl5SmTs+lUkWn0MTE
ddlMICQKlVtUZIc2AFMEhxDSrcGIUyx6nERoGki1VYq3sXosuAnmmT5B1lZp+ZGQRDlWO1HaZ5yH
S3aO66RBh/Vm7CbmjSoMyDy6q6JnBaeVpDMdkYwu6NR2brwr5bEbQGb191ZqViZVoJBRsWgLxFm8
ZoR9O23KVnB7U9nofWEbimob7fdE50VhCo8Xh6WRVNKlXPfVPsPYoBJeZRnu5Tm2Lx0crToylXQk
AFGyl9acf46So/ETYm9Rv6xIdkxhn2VIpDRgfxm9bbU4lop9DK45vVauxRKM+qQGMWcwHevwmWJ4
2yOnnPpDFFTrUKd/pqDvpdRjkOjIcfY9AXSpxlOcc3G3d1LVOaPa3YOXZ81NrYPch1+mAfosYv9Q
yNtYK/xo+JIlEJgoXxnZt7CsEwsZS5VvlLLeRqLhY2dzoxtkyVPTEL/Kpj/LRE2usmLTFbnT063I
I4recSGOeVVYb4UEWkHIcVLpmDSBJ8bhY084p1a8VUnk6yhwhiRAZTq72vhccsxZU/ws5C9BUnHq
3g6m6udJwqiB1Gf1V4OrzMA5PLwI+koGbRXSQ0q5JifPrbTT4I9ob5p4kGOabBaZVZerJNJttR2O
y/IdB5XTqpYbkOUzVaorcUSXiTcA7llRuBdHLuJi5PQWEE0SualW20IClBrGVc0xF+fZJqJAy6zF
zlsACJ053jC5uaRQvmj8iVtcLe5zlK/lYHpZ+9wvxEROb3mHw21wU8U4GRQ3RA27ZXyPvhJYKbJF
0M26S/bmIKJ+oaAXCbAQh02nptAW6Llp560udQaJNRNglaiK4iYlxDJRfwVL4Fvm2uwaQG1+QwOS
6QT2aSUUdjGRlwADdQd4oO1aPdjW0bztgCtjU/Y6NdslNdMfpLx5qnnV1IOQs5SjdlWWkyMYkq+R
9qfQ+U0I1lWzsUdyJifIe6xCf8pVv9cftTZ3myV0O4GDoOrcaVSPYs3sRH0XFg4doXcJgVlTCnut
eB4mjfsRDm8B7tYqtR0p8qPcZvd6+GkCvg5W7JVQLoSzfAiGlhkWrlZQ8JnfjfHWtS9JdO5fstdC
iVdFiY+EptkRn9O1xl2eJ67YjhutG7dpax5ySn0RczCwhF2Nm19ajLRQyaESofsE07qzjEOG3YUs
bITe3JaB4tbMwqDKuMaEjy396yCXzBSAwvNzwHiBcUMYrbuuexXnCeA6fYxEa6VYNBlqpa+0rnnr
DIXLua9cCcQiT6anYoho8s69oDHEPhHdtJYYROUyijuRICKZ1LXkYVjCfVsN4XrM3+BVrke59WaN
aMd0FQppZEtC5GX0YpWEHlrfljOi20reJuXO4urqpFMx7MvidZhe1fZ9bDDPCF+kBS9AYBcdSVWQ
y55gFa+JxGORbA3kFngj0YtVFKyg1hcM9NLjpElOZb5X4mvMALdRMzftMiR9NRjqpzBvYoYOMm/P
HHfBtLWgbal+K8e0LKpjDNVXn42rks2FFWCv3lnpbgDtW9ApP6Tq0wAmLlkv6mAROIu9QVS8l+Hk
mLoEJhn5c8bMSpykZ3KYV0Pd3Mei+DBhLCXHwq3W3kpUn4Uer+IOCcJ0FKRxr5XdutBPwbKXctML
UvlXNO6z4ZAz+qrr/mCJZuuMcqm7qtbchgTFMhF9NBaNonH5zvPIsFvpqZqCX2nRs/EG2RnIqQ+4
FiwACLTgU14eK6BsK5W31Gk8htpraYyMlKi57D4bUj/Uu2MZgUxTb7pkl4Kdc0QHD5GQoVy81Tlx
I6VdCR1UCK1h7tAwEWszNhQTDK0B91ZHL2xKX5ZPC6NDq/JM6vTBEmt77FMIQdOjFqb7ZCjeTWTw
U9p7kSVvZv48/zeJnJ4SLJuaP7sIsj9/igIdPsdITzanrTe7infSxYXmDH3n6EH5tMA0zozwI0q0
jTBQAXKk9WLqWSEaFZB+nIqYd8TvU2W4AWYDiownQwX6r4N9A4JgMOKmIS4uO+zGoB/nszcpzT0u
X36vgCUySqRp8eRqvpvaLQP1DS4B52mkZc5MY6Z9EPXQ4BoMlvI3KGj69B2bL+H8UTAKbVvJ67QK
rjJ8TbovNXwvpVONY7Y1rGaeZTMeLIZBahe4CuodU/AM/nq1fCkM2axlxpba8DTOK4FfnagDu+Df
56YH8yG895BrhqNIi1tQeZLbwKguL/Z592vI3uO+9hWiBjvEVEx9TTC2gWY5Nk5Kdiyi95CrgqwQ
O9I/G22mCO8ZN+X3Uhi4wkiVOgXxw2Awj6sKwc+X6BgZm77agF6XTG3GbtOiOQrHm0agaBXNZyHG
yjXcLJWfyMa6FwAews4tamOlM3+Uks8Rpzxrup9YqhN+AKn6PKsnNetvTHnw0a+4WY4DQcwGVxhu
xMmTzE1mn6tOI+lXUprItlCp9sJIVwoVr182IpWAkG2HcTeMoidOzZZQyzVHo9Cf85OHb52zr2wr
f5EeQpoWrq9EI/l1jvsHegiVrjz+NFPCjxL1UxnO/aJaoH4Trd2yFH4xmByfIslLywmDVcmxmmQ1
kbPIib0vu/REXud+bNO9qS9+FLOOh8Hvxp3Q0Jtq8SHXlY3UE6jDGZlMdPFLve5Vbb3guUrir6r8
EhhfKY/pTCn30UofyI1CBhCSsk/TfQcZYuzpNW+gUej6SeuPNXWAHE43AhMagclfunwm7bM1P2fB
Fzc67LqjOvh9hL74RmOCZwUbPd0XGLlC0mwkmifpFtKA1DC/q29N4daEU2aJG6HbTuMpbQ5hdVSz
gxQdYukgzp+8Jlds7ts+dksr9OY4uYvKtyKc94uY4B6BIsCaYd5XIrmPn/r8UiuZDffwttRASup8
lTGtBPUDAdTv6sZAy3Ufm5sq2oo1U186XW80yaeJ7vUGYwymlHV6V02CfZ4SLIi+8KimaH4YgXJ6
Zcu6DSwSEsI7NbmrAK2t+rEy9FPfy3ehlN+Eqi+OfsVf6QaFp6i7Qf6N6z4N5L4XP9O5/GiLl0Q4
LUxlLCPdT5jo5rG6jjhOLIRfQnXIzPNbJXJZOQrY9UOb6B/T9FdF1OcSgmjuxpS+rmk2kiGwg6EI
1PmwjSSILIuxXcLT+XbUc4kxdoGiKLHe+7K/mdSGOrl9m5pPq36pDM0jT9ILLSZn9ZNu3hdWwTjv
o43y0xJafnsusLLCrZZu1+YRyb3mVqKJUtWvkpOQ8ORua4jUxLm1bcWjaR2HBGnbSE0iYuAcVfiJ
KA9i0TlGoXljUPth8mwR2BEmvlq9Gy0cLU3ZLvTLYixDrMKoBCMVuIDpY5z4JXizeF+fO01oJV4W
QMRhABI6nHEG6BJ9pZBtpNqvy10uzi45BvMIpE4J7DR1BUS1K/gCU3KrBV9yor6l2V1LXyffiDh/
PVGXDLKnih8KxAZ8tEUkerq87OUqYGjCXf3MNZw8LhZMH+6YMLnTRrtpP2ujd6rMly0/m98lwxW+
I9XLhZsu9bsTNpmySf3tLN8SFBeySltHv+HuEMANMxgKTlJ5xE7xl+QbkydMuDg0JdbggiaWm+tx
Xpss3NaBZxoaBximnGsZBtgj4hI3YdzxvQTgqCth9FNNWatFwlGNvYbdqyv9o1ZkO+yc4H4AYqms
pxyfgYo4+hX11FLt25J/FbmMEmmP5lAsdwxBqWCpNlOSLHXgu2ch9ZbsPG0Hwmzf2vcg3cnZFjqz
lu7B1XqGe3Kwm59IYT+ayqmHEYWfQmm4Ubzrx8cM//l0lSHRSpxKuhPE26mljMNF+hSW276ixwAp
daQUmQJOZPHzIGyM9IOrm4+u3ZYAp+1U/QrPfl/gJjCbnCAiYPbRxC9WfKEhSPVTN540uu1hJfV+
X/J95ceJToC6XKQSsDwO17T0u2pPYRHAkUgdWMjxzfRWDuvl0axWqvGQaU5Mx/vdYoV5zQlC+ons
dmYq/sHkU6OwbfoRstu8HR7SHQMUqBPZTr+P7syd+EHjrh+tK5q4nz7rgpCfUElRpfBZZksjsBOK
K9Tfn+iIv6nif3wJMY7FUpv5weM2Pprb4Ra2zPBRPc+3rKv34UQBX4u29OvfPL4fn9n5+/3xccVk
xDKzXBAfJ9ksZJHm23YduQzZ7Ghn4qB4RaP2k35FuaCLhnmtTB2jjF0pEA+m0o9wdko6E2iSdrqw
96UenDCTvdz6MoPpvp6BIIFNIpguKQASXFY2kXqN2X1+T3+hJysXjFLsp7QsOX/veV2uOu/lhtmM
c/6HoYh7FO3TNZHWTwvlgkI+pKNupiXvU8yPkbpujWuakB9f3QVn1Fx0qsY8xxrvIEKXaDZg8ruz
lQsr0j1bLGRXUjx+eFaXNqyx0phpIGMCMhB8Y2Dpq5jHOEjsurqWEvGTvPjSjTUWw04YYmHcGcHN
BNWpL6W1gAkCSYi2KeP1M8A2lLg+JjJoAEoBvOl969UIU3CCE1Jqd9bZjFiOb9RQuK8DQNOmAlyr
9mp+hSn8dzMU3frtQPPHXqE7WsQohKSb8BtKHT6nzMXkAAk+IbN4P3NOH3DOjPrbQbsf4cvgRUzr
x0B7jm2zgneXMOhU7yRrJUqd++8d/ONvdXES8WZKICcLjd5vZ+/tWZgNE96jeiceeXFuBec5dLp1
tLWufeQP1O/fVnh/PIiaOPK2FdGiMZmlCPDww0YPPrmGDUl0k+3Pzqzs2PVZjtS+dN80WdbJvIEV
5KXetWjPn9a/fHF0jWVTGs3Cb/E0uDCw1gsigNC+JaLAKb3KuXJw/d0rk7d+cXAZYyqpgqVPux2U
O7vavMnODQMkO/K+BvvzWcXPhJvM3R6Bvj4s95dx5Smfv8ZfTij54oQyGjWtx7iZdypjwTzLfUJU
rrDNf1wzF4cSMfZysfTR2fyScbc9ns3uXwlTPHbwapOj7DJqsvudsUmfh9f8infvjy/s4sCKLBrk
cJiRMK5g/Lot523ufOqkYR47x7+2On8SVf3WjfyxOqVYFgxtNrA6UVEUKsmaGxViSuE2E2SjcqCZ
UsuNlgr7ek78PjQ/NdiyqpHusmDPsKwyVo3sGwCm7S+drjgm6E9mjtFK+j7jNhLhQuTjdAwtKilx
wMTvbaGasorxNmzkVV3H+OSV9C3SlZrgB6XspdGsISdMuEcYHVXxqjMzHRVo7XOYvsq9/BFXWvN7
GHXlODkv678su9/39x9Pb061XM9qlt3govV3Bp8ObZe47To+4YqwlW+CGwzW3eRQt065EzxrX15Z
Hz+JHH8bQv3x0Uqh9oWkxnilIkjCjfHQHuJtjdHI5MMmdL8GP1+rtsn+1p87Umnn3dlkgqZlna3h
Vv93++53YfbHbzHoWPHgBT/tZnNwFKOLnG5hnvTvx/s7evFvj/fi0NLQ80mKxs7TjBkI5A5Ktag+
9FAI6gTUQQUzTm6X5JVxa0EAd/ERRR/MKLk+QOHO5Jeekcr0HIB2qu2HqR/NZJvVFuQWBmk66LKg
ExAVrwakfhKgnH4rGJ8KhmD64JYs3qJ81BDXNz0Tse5DhRYTMZDKypcuhqW0t8SPODnFJv3grbCc
+oE7JbqJjWeSbqGnfNX5eGMFO0U91oz8ZUm3tRjdZ/AWgOJKSX+nG/W2Mkw7jRm8ZL40R7/S7J14
Mazh17nCOGze/PtR/iS6/v3//3hROor6LumxEK3hkoBuQGzN3CQXV3H7pc7Cao7WY/RYLPm6orlS
hcm1wuhKSfTD4fzbaeiPz2aOXAojkrDdVB/CwB/l1ZUvdT7d/7Y+Lk5muQzVSMgJGtRs6Hrca5PN
i3VfG1u0f/37M5SffvmLc1idA6MdG2S8YfAsQoyAe14WpD/Li120umf1k9/2jaeaTPDm0RuqxINu
iI3ZJko3VuWL3VrL5pUowwfDwTcr65tEU5+VsbqzRDDVTD+ZBbW08GWSVSu1uaMbwosFeEm/ujcY
dQTdVYPxH6Rh4oV9G2OfsVhSCQk5xjQvNRlmwSbYGKtPkyss2Vqba+fCT9fXpRnu0LZl2kR80tM5
AvgD6P4UuZ+voZN6PEr33y/np69z0cM2BL2lec7CghFgLL8QWvt6M11pWn9qLsWLWjFux76ppfOW
WdXvFWYuNfE28brwR0/11H1yClbJ+r/7Iucv+McOoSTGXKfio0Z2ZwUM3imlLY1X9Ge/N9pf9sml
66NI5mIu9qQ2AR86KpXEOR2qsN//P54tP72Li8qvFeSizSb056lN7ff2IVFeTnZnf76eU4WviUt/
0rOKF4VeqoetMLR8lRIHInONAxFbfnL4B20rdi7PDTde6l2X8f+4DC4OGX1sy2A8P7ynJ42lfIMf
zd3nMzscO59rAuMfihbx4pDJe9Oy1CDn4c2Nl2FDbMA9qx/H8tEQG682r/U/P6wEfup/LjQ1EXBs
zZRphwfK2WiQBgCrbYe59pU7+3f98X/XmnnplpgMoS7GJku5cnvn5Y1p+YHk1k3tLs49M243Olz1
vvz70Wxe2ifmTWxYYkmJTEKey2DRydxyPdmf8CBd2U29a9bAf2/pzUuvRFkLG2GUZYYmSu9b8eL3
9c10VibB6/hv9j+Jyv/5WlJZnCNTKqYdbG29PrNCbFm/YrX397VlXnol9mISKQJcoN1YV16qvqTa
aVZb18hDX4SFEEzBtRrjp+d0cQQkmTrqU4pziIbIOcsewVwRgEROzvZ8rjeBMmEx/oz06KrPy3kP
/m2xXZwGTKSGfm4l9ubsiE5MTzvQxL/fX42A/nvzbl6aIepqWYYm8/7dE1UjYDvA7uc4MSciv+3c
jWGv9SggHyqgBqVXrUP+fpbievSfy0EPwqCRzr1fnPrpnDiB/iTV/erfa+2HXXPpiChbYlDClsAA
S98xa5yVK5fxDweleWl6WM2JxqSLlwFJ3RPsxSseIvzu1E2DA5nmTOtidc1b5YeV9tuA64/7Enes
WsY6le8gv+pmDd/ndmHsKKAM+/dD+uENXLqdy3pqhsw4zw/pZWEyq8xnydLdv3/4T2/gYrcr2lwr
YYtNWJJJMSRo1S3hH//7Z/9GPP6yJS59zEMN3WJv/q/5TbGv3HrX+pUbrNVVuy4fcSPejN6ylU6o
TrCuzm+uwZI/XM2mebH9TZ1MbRzNJqyI3z4UX/Ezr3TuAEGdlsMfooAD8WMX3F37wN8/+G9f9WL3
q92oWak1TjuxRb4lzW4C3XUK90kIwy3+ygzyk0UkfODnXUa3U/Qr+Om6AjUBGW94v2TlcUrfLIRM
Wou0PcHRO25p93SvaF8nhvbRKGwXuWE0eVAFnLKb/BbC/iqdMxgciDskY2WSOyqd+0WVXI/xHHBb
QH8/pl3vKEVJChuMiFR28Ibb9ZD8s8HaxMNol/xCfbSPFDgFOoTDBeKl8b702JeLtwLUjjklYYC5
cwiDMcK4Z0bHPgiR353dNwf40+0+C+eNGBSbHobDIiBIeLTgLebWr7Ik9k3cF4AzSvIcBA/z0Nr9
QvehHwM1xpXu49+r7YeVfOnRGCWhGKc0d7sqeOhQGAlXrhL5p2X8GxL4Y4cbegHVpg9xo2o+FWid
WXNaZPjaRn7X52C1Wb1V29gd5hDZrWGHKiPJGRpWG8YPioXg/lxI83yNk5G9tTqTEjX3urLbNWK0
Nud4lSnFjZp/psjS2rHzCkNfnZMUCs1v231qvolngt/0iyCyIYfijMCr0dHStntJ3KNIMcp9nX8T
POVUypHUvhq5LgMYGS6QhfC1boNNDyujMz47ERtAIfUzXvPUl35rhVCLcvTa35JuOZ0u2CZKgKAh
JM8QXTV7l8O3ifpfIWNinGCLxWduznjs9GmTafBxb8tc26iRpy6mH9XHqNwUk/o6pIqfKCRR9DmS
ZDJ2jyZxFJIElVkq24dCHVyMD70BIVBQvBrKaql28vBsaLJbwgozqp01B3Y/G15M8ES/n+poI5x5
pcjh0nmjFFtLzaBBYCuRLV4iPJSWcJv3BHwzE47IORwlFORYHEzwhXTFVVeVhtmBF6LtkUYY/2O4
6s23SYfb2SAxP0st6snLzNktiDOclcTPWgESZX2fIi0JZs3PKwa7leJUZIj1aI2U5n1ID3J6YI6D
DDZIMKf4UHJpNaH9U81vK/pUcQevzoRc+u0C5bMF5zuDohKIyH3qdWdUrqkZX5VCVIo5rcREtYtB
3CDjdINCWWVGsZJAjgY06kXP7a7ncD4gAoXYtg6TN5bBXbLIOJISEJeRHYvsY2iFJ6teHHUqfUu8
qXHyCBN3ooabhPtozlxxkbysewzVu47RbzPDglW/i2reLCKUV31wSjyclaTw8h5tIfTNCQ71kmqr
pNUfegM6jcCLEV+FIN4GyGbOutxGQw6afSfloZVOQfNrFOe12OLIYYhX6kbtx/P1ovPBo02S6OEx
d0RELAmfy/IZVF8RhpVRJKzHQYG4T2CXmdsVmJkBAZdGczVb55AjaVsQ25WL2y4KHDnlPSqdXQQS
YDC+BDLLwToJdQXNCXxgeZOU2wbnklou10tOHj3KRLM9ds02GVVvxEYybwD8BngsMvIww9FDYvPU
3VITxUVhkVY+/kxbIcRj1cJdWSdvsaM9Kwxn7ntHbVkEoIbGhJZAgw0Re1k+eMQ/BZbsRhG0j/4V
r1lfFYNVNT9qsDOG/L2UPwJ4qCEErYFVdydN9yq9eVTfjjBH0hFmv2CSMgMbvtS8tC1ulkrbhzEp
2rAJye7GLtNyhsKwhwriCKFcjSQ4Omq4ecTJoU2OxfxStiYZL8EmI4dHjVsOMc2LRv0mgmIrktgz
psr9jLDOfJEkxgwTnkql4unQtUXYpFn8VEK2LhvCybykRgxd+T0qQQygXcN6sxbkDeD1Y2W6lt7g
rdHsy7QixnNUDiZ8xR4avTrfDPnHXIToSPy8/pzK/dw8RaLp1LLileax7/FyClcQRtHISM+iwPHK
l29nAURWf1JjwU1zvrgYfwvdsC6r+IH0SUJc27ukh7shPCpaezcPBAAmhquOJpprcOr4NhGPYwtr
R1j8AbuEMR42iTBhE1M6TQrPxdrk5a3V1KvBjLYT7mHqUZ1Q/aAzNSVhfRZu6LNgS81DnCv8UazT
iJszgQu5VrreLTE7lYLW0/S3SryvUAj1zG6w2RFFP+vzVWSgltVVZ9EbwGtOrRL6tP7dDYGXtyk+
IWxhlu2k1neWxqCQgJsQHpeYl96gxShT3zQpdfXmO8BiUiitYyb/qiu8YipYT8TDRpNdRpadZJzI
Rr9ZAHaRvTlSfTpT54b2tcvyYyN+GfNdytYQkLYJwsFKukMlIYiaVrn6ooujWw/vrXlT9L5Y6ce8
GDaDXK1KccJUAOvq2Oc8tiZMWkR03YZv1LyDVGPs+ymOsKHH76Gpdz0eEEX6oRcHNEXQphVHTG+7
8lOoD2OFMS3HylKuNIauYpA9iJxvafSM4HwlC+Sio+PKowcrfBfbrR5SwUj8sAcphEA1lH4zth7a
s5WefhswiHRMjszyaWh3GgyeytRflxQaYkz4ev4WRY3Hp/t985Dr52PPYPVCOkyVTSVsCefCn2Z2
TaqoNPnu2jvCclZjMthd5Wniqai4T2SUFF+DAmaJrLZmS40FmsbOckQcM2R8ZXsehv6QZmuz+DIK
vxnQxMI3X7IPWSDwkytBwUpvycm6iqEqZWD6w05u94ZV4CGArFNHUxX0D4tICB0cVZQnCWKPbIQZ
pFn3g7FroVIjvKpi9HW+Uk2e3uiHHq610b4IWcrQH7JdAUmzwJ5nwopBj/dLGH4lKpq0/imZKgq8
Z6mDmqpVft7ydb7wqccsq7utzgNw+Vc+nSZsQtQYZAv12pj7g3Q/hbs0zOH4b62cljcu/A5WiDFJ
m2q+H9R3sX6Z0T8s0Yelqzg1AOXnuq/i5U6LYQtluQp76LnGbUDEJPTZ/NTAQFIwdDHhf4lzsYsl
fAFkVBpD9widE8qyUa7KNPrKJGXTtPd5+KLiH9gFyPk45aTueS5yfIHCdVYun5oaMuU3vkzJsgWt
o+IK7LENYI6XgivLEOzVt4ROrcggKefRbg6bzxwd3pznGDMgZWS48xGOPQ4fyoxZHRSFbMKvHm1r
qfFMOwQIRZPdNoO+0axTou4CRfoEUHfjNt3phafETGM+GvEo18+i9Gr00V2U5KiEi32pf5bQNzOr
Xjfha81voNRPVoohZFAcrC5EGgm8Pzz21YOGn85cGKtx0Vdhel6w1W6SIB/Lh6H5kIetCc13kVHy
KhzsSQrR/VjCVp76x7j80HWkvl12bJaHRngtysVlMmYzk3SXAabYASsEe5JIKe1mJ7OQuloPXJy+
CDtUnzmbdX074ytid/rAJSd5CUGSsRyvA/FLjaDgJAnjByTcM7wN3Xqo0+YDuYo3ImDSORjyyuQZ
LQD6sCDz5duac0/OTDuHda3DriO3wpFUymd8o4jTDIqXUnuTp+kQYzekhNFDFoPRtAPw0ADlMNiH
1SlA4K5rhPV1yqaFi1ceZEk7QIfiyj7/tIId2700kraaEogN6etiUqgE0ofRtv7YwLdO6m2AZkwb
kA6mKULY57kUPGnERkCDFFEwiogHPIoipArCLtTI3oo+r3Qp5k/t/AWgUnZRn1bRAJTPko3kxYvT
h0YJ7mc1Wbdw+WIp55EJXmbc1NWyb+tPI30POQXkTCd6GouD4SGCg9eYkms0ghsiI8gKi+xr+L2n
BZ3QuBy53GA0vgo9Lk5a7Ez4Xgn52hKLFcLQijw2RWcCaGHaDUM+x+qr4WWbKJpi494adl3fbIwI
LAAvEst6FwOsYerhOytGaHMbXXpukteJFqhcNlq8GXGmijvyurle2Nlz/BRgEGKVxa2GJjWpn7QK
9z9xseMSlRWXai0kG7M3DkmKSPM8O3UlBB2o5oPgVZawSzFg6ExOG5i8AES+WYPpzHxMmGZyHo1W
5TbQc7Ebx0ZiAVMQNa9ETmeV+A7pwWMQngm82CClmtsL+1hkiGrmCMOCtSBL+3kIMfQuERx9z9Ov
TNnr7DVhvg+bnYacQhNKX5FDbnMTbYhhx9OBhG9+O/xNyrukIwwvC70x+wjjlxJOvxDsC761WEM3
hUSq1gxlsudEf1P7u9H6UqCohlLvJlqzTtg0QGhCRZmNdjJOx51irgUdty1F3MfZMeNADPKOe2p0
kSO71XDXofv7H87Oazl2LLu2v6Kod7RgNtwNdT+k95bJJM8Lghbee3z9HWCVpD6UTpWio6sZmcnD
NEhgm7XmHDNAFGzhBnLVpQSf4mKWWFcxVEAfI6/ZvGp8kUZEiHSASQHLYC9OcnvDlGI2m9LCo040
Y2f/kDtWev5r1dgzMWA6D86Wynr6LWoaeBmPsnz23FdN7Iv27uThIoqAJjHO1cw0wseccyFRFApJ
izNyRfzLzIN7EuC5jP2KocyUcJWChG9sYtlxqM9M4gOlwJ0zBC3LdmOrysIynIsvqXOfFV+5txjN
bM3ExynvqhgdUGNvVbyxVTO84MtiQ23OzOwxLX/YxkWyrwqK6cLKQEOJe5QlP4SIsAs+R+R+Gd0Z
xTRnMkNgws6ZE610GwzlDwIrHzTF0T29cfBdaGimHTT8vuRekyTHPVOfa804+TJEGVuZ+WozdZQL
hqtJwWrZNp1pJW4a/XR54F/L4c7RrhgWyuhSgb+gLNdLFZWeeNsKaSYp2j4EczFkszh71LJr5pEc
zig0hi+uODfzYJ9QjUquZr2ovbMk3dVkp7eHcrgWtOejY5Fc3W6jAKu170a4tVBu5C8uLj/Lsmep
ssr8XaCgfO8utYshxDo7aNga6VJXq7w8uuCi3Ca9mMK9JUTzQCtT0alDSNBnCR8pA+qhgcJ7dMh7
ZZUdh0t+02dnH2QRHqec3nusvDlVj/+06dkYsIywD1q2Ed6ySLiQoB8UU6PIgcsRdOdO43DmGfrU
Ku9KWNIzVOc2SgE9C5ZNU94sqdwqtUHn2QDP98n+OfLKSYH52MuVCqkfcA6dOrkJqs9yNliksNh5
rNrqmUpxRNiUpEqWIrCI2AYv8riaN+gvkDGELmvloFkZtb3OihBY1aYB0UCQoSTmaRfNYntmmD47
A3lMr51KyB3sYu7UyLVZz2eUs9BYhNUJ7TEynENsY+fxcdcvqg4qLaWyihHEWlvhpokxJRm4cwYP
G8XE8V7KBEoX8LeAxV59rY1s0bQhe/wOpw7iZZxG0dFvbtEofPTXqjdXwAqqChANfBaKYV2yQZl0
nE9hzcKHEhtbbwiO0CwT0mw4wFlq4OmlIZZ5N+BQM6gCa7J1TkH0Vgxrn3A/p0S28Zgn6s6yGhAr
2qZzH6SKcFEzXzjwKGIwfCTJyxwmUZxTx99rBH9W+qHuozkhrvO+pWNpRHO/9Qgss9ZCdtexsrKp
WAwllIIAz7ezbPVnySgmvtLM/PYt6KoHH52gttbie2NefTiMpZ3cq0qsotRde06zU9mA//lk+Qth
kfU9dSc1DbAgFtdYOk/WnB7z5iG/OJthl6wzwuudJXyOMx6UqbLBVHJJH+yNMi8O9a48xbN48Vct
8V+Vk79H9LRKY7SCCtHWqqub4eItiVWMldhnB1qvirNMqmRqxdDcrY/cAf5Q4ORFmNciZW9z82Rr
6SUNAPvb7sF2Pv/86PxiIfE92acY7BwvnUEGF2iTQMWParMHdf+ypfmr5x8bHv9U9hSh1TR5ZNI9
xZdSDfINaqnXM7DyoaLhqmE7r8VaUCugDVkCJh8KxnT3h9//xVrpV10c81tzgtjV1HAUvn5NAYxT
BCuZsl5nFTh5k5mDHbkQxoyaODg5faGyns7rYo7fn3Ihuxb5L8QXv6z/fqvty0bvyk7W9VtdBe+X
sJvNHyq/hlPCDDNc2uzJheOmOdACq2pVEKNdJvk8AlnRMidKLeblIoD+FbEJTIOpwXqyrj4HnNl/
fiL8qvL9rTZWOoHSVRVeWM0HUpdPoO/8xQX4i37t9/CbPAwayrgObHg2z36FCJORO0tOksXqg4pm
aA6bf+kzfI/CIVMkUW3qAltRPEaeNyvZ/P9rz/xNmAMSgPUhc9lW95Z8HLbb1l8cnV8cd+PbBWK6
ii+02GwhO+zj5iFmIvnztzw+wf/STDK+nfcwm9OWJkC7DQdmHcohqeMRyEOabSLP/vwllF+0q7+n
uMiiMG0OTLuV2dMGIFgNeSxqb0RA0QRsUgD9xSjonmN+E/L0z1/1F0PK91CXZFBksx8/mIHuVgWE
VlNc9QDI/PnT/+q4qT+PWGzYvHhA+siWTZ442dYb6PQR10kWxV+8wi9E5XjCf36JwKmQd+sanyB0
obDIsFeVDfoFsBfuVfHtBWG2izgWy9poTwotC6uIlvWYZO5rM8BzszqDVRNoa8Ark1BSP9CmrSpI
iLQsFxaNuF5/MVV5lfT1X3zT+rix/N/Opm8bztwjB6oWHBUPo3zdabuySOd21a7BMK2Jf6YakMwT
cfV7/033LAArV70Wj3ZiEoIUbYH9xSSQdxoysxoy4SKEIZ2rn25A/yC8ep696ClNKKSiWeOKwqf7
UgCeKlmKV5BxHHlRaMXCiF7N/keoUyxswUH24aNQnSXRZ1MXjjdzKaahB6ON5kEEt2ToXlkm3UP9
Vkjv/9LJoX+TG/UhhmS8Se1WiQhyZcvXoEHp1VPkfXy9wL+/df/P/UhPvx/S8h//wf23NOsL3/Wq
b3f/cXhp/OQz/Y/xj/7rH/38J//Y+29FWqaf1fd/9dMf8cx/vPLspXr56c48qfyqP9cfRX/5KOuo
+noB3uP4L/+vv/y3j69neeizj7//9pbWSTU+m8sM+tsfv1q///03ZRw3/v2fn/+PXx5eYv5unbyn
yUfpv/yPv/l4KSv+XCh/kxVb01SLjpZQx4VV+zH+xtb/pspClS3NJCFXEyONPkmLyvv7b/rfDEvW
yLi1hakITdcZRcq0Hn8lKfLfbFkXMknfKn4eVRi//eeb++kL+u8v7N+SOj6lflKVf/9NkPvw08Vh
WKrAU23opq6T8K7I39WoyeA6URCCLQmKbtG4XXoI6HbvigC2Tm6mB71PPWSEEdnUdq1nKezNwR9Z
A8pO5DY2XA+cjE9xwTOTReHryHHsRDp7JvyPwpfWbWo5Z21onTP+DWVl9WBbvx77+kHLGP4sqMFC
6iHWKIa27RIP2jjJ24/dUOyMoIOhVGXHvM20m9kHD8N4L5PMHBqfaQOeHCPedDWwNs4IEnBbnO0V
VndaBG0asmVK4m7vxNmzp5hKvA0zKthxL5sTIzH1c2PjCfWzDCI6fvcw7YNtjPPvMHQZxRbXDn+E
iIeTqFlEqtpvJD3s9l8/DK8Xk8APQOMqnX4N3YZ1se6dm/Ge59oB3iLGH0D3ntY/dUNG0dcMb4Nl
b/IqjNbRgFU5pXD3w5Kzl1JXkktVQRtKpeqmpTqB0RU8VJM3RXN6GnoygKWCWxU9So/Oqjsrvm6N
v2UufrVSr3gaH/79H4z/VIhSzIJAy48ZlGpFieuXwkSlkURJetYDR1qaDIaCEfeUs5L+OsKNQypq
GjrDycvjQ9DE9ft4Y/CCaCnJRkKtIuV7bpqBFKOsf5IAEll0kx3Ht/amlo4MBVDgRvKpbqSCoxP0
bHN9QKeBXzLtZQ0Lxcxat7qopw4bn1kXalt9YIcPF7EYPe26S13XASgARlDIw8fg6OUsTsPPrvMY
uqW3BMkZkFJkJrr5Y0DoPdeSGgA3LjU3oH2cxS+DHwZzGH6SSohDWqiPovlBx6WllzrJCzg7lIxD
GSPzzqAAZ/nvrgTv+djo+wBkba9s2+BkRhl91N2g+oekHOgHmyvSo6cVQaxDKu8FrCKIfyOlOX7w
GpiPi1bdGikFktHdR0VkLoVnbui0JiH1gmgGWJ5u9ItcTwRTxEb/oaDJ7JcZFehkabIhTaeyuwGw
o99wimvVZ2qtyxYw2CSKzkBpHwdoHvZWErgLT1V09PAkI0dwWGFPebkkm2GhBsNnvQAqq/IHsgKd
4kZfwTb9SRnse30GghnAdo//zF3KyZCtA8BaEDDoiWv+grTwpSg7Dl1mb/qWcneRgjQzAwH0qAj5
mmV33jj1EiaYMU8rAxtDI2+IVcEJ6/T2lKUa/2lxcnKNLaXFunrV+3tKTc59isF09FejegWnwYOK
ks6UZhk4r0l4k4GC2Fs6giWNXy5vPkb4odToGGpSiSGq+RRkG7ffJA0mLDrIiY9ZfiCZQIPq5q7d
4u50HwmDFHnocPBORbvqzWfdA4NtvHrttrTueX0y3eu0S/cLrbszBE98OGJ5pcL+XGR+syg9UA7e
IksgF7KPiq+0w6Ls5mn3GDOVQsBAWm8d85K5mzQNwQ1CSr4NzbOe3DoLeg2ykozFxCX1jjZRKy5f
+F4NjhkFvitk0k6aWw78iD3QTzkD07mAvqv1i3a4zMBn0hy/GeE5h9osQP7EWI3Xub8w7HVjz8kq
8YNFrhymbrzn41liHeTbPDmb7MPp6kgeXbnX8aOzxEiOhj3zWNVOY2nKKjBg71Ine9dKaRBw9cPc
lwBhjr1ROvUn3jf3p4bx7Fqw6cI9ENtM3nbGKcn2rfUAr8LTDoB8MkqbvFxewBG0H2z9ZJeUVkfQ
KhGUzxKGC+xpk0Ria3xvHZY7twoKaJEezXAhSN2VgDdtZuSv0Liryr1NxxOmcbI3YLbrFPLipdlN
Zs6HVMPOguO71ezXobv6zsFNNgz6EmUHFdj9Aqb4VLffI2tFGb7b2um+6Bcy5x11vxvldhxegjP3
qMfdSinPiqZM8+TD5oPL+raWNcDyGCCHegLXuedmFP+w8DFJiCeKqEaDRn6zjPol+hDOwc7PXmBx
Am56dtdSdKPCXCCHsY8G881MBhRS8wEy85Uziw9opXeLxFA0LT6tZ6NHpO5Wk1npdl//rpPWFVQC
N8gn0rhKLOGFoD/LrEee6p6DNYG1LV10XE/p2Qo/coUTPbllnH0EkSrtPYkWQ3wcnzMLRLlaHMvS
AZW1yOLbwq3ImGm8qZ4eHerkpvXWzw0om04Sc9SGkqYK4xWUV3Wt62vFKuydWRBKw+6cP+ztjWc1
HUCGpNtIcfJgGDQlPNdv0AsYw9SHFuaO8RYBHK6GnbAShwqoiXSdleVTrqPuUcNhl1EfzEJl5YXV
Tdbkiw10t1QOVpJBUNPmXq/NW+I3dIBvYKeOcamvB2jEOcgFpimvSqcamyREZXOomFGpzA3q9j5p
DB6NSFul1mctypgzoBcz2RgAn6E0N9dlzpGUn23QvijSqUAQJEev0/U55c1ZOIygJrDYqbOeGN1h
LFTB+oAj84qtFDxYS/MaOVEN5gdggaKAcymBf3Pdu/HaRvfUGc8gSQDrALikbAkmtFgFobrlHRni
ZFFaLfI7+UtbmY2OVkKKY8Ip4fgWxWvPzYomhE9XUCo4y/iAXQX8iiigtLn7ya1U71p96rQXd543
z0X3CuEF+qA1yUtjHrDUKGSQjmM7L7xBvizhbVqIKzJjoLXLW0JzKNkw4xzORpQRZYER4z2h5ysh
BnP6doJDcpl23VJN5AtGuHBUmyENKzXa/pBLtICp/NGN9IXEUUkGByZHATDtsWGyEQvyJ8niis2L
1lyU/F2Idw94FuoymjOyeIu9xxSeLmqZIdU3fZLncyqYeyWR3gtFORnkwvRNjZ/aqfdRbGzNoBqQ
Phi7vGFlVSVoOloJu6vNCF/VFT07n6423CLD0OplobAdtwsLQhkiAquz4Z911kyRWEGxhWZPsyy7
zF4WHgJOpzdJdxJk6NaZVq6ELccPWgU9GiD4zpKLe5t4NLYSrd33460KP4lGio6S1eZCsyL1sQz7
8fR4w8lsn0JLZnKwBnmZD3JzDZIWsYGEUqVGTqWEeYqdEXR92tvayqRbT6R5dfbwEQEdqdhKtodI
6dxN5gzu/uvHkA8pUTb4Y+QoO3jjurqF9rzMZ7QR1L3qBodpkDIscY5572o57dRtm9F6PFjVGofC
RAZPmdAWCNpXuQCEfcqQCJITEj+UFV3eOVF80xlwUSQJVrYi04BUigLdQvQYi5uSLlvzzVb3Yb4S
YmpFC1FDLJ2iu0HuGoFcmgsFgS5M/WYlIKgGD10I3XAul+tczJUDRHO3nRd0RtCobLMlA0BLvv0O
AYk4xe01Z+FoHxSbvjsLiqlFStIwRbwgsF2ugTb577yyUyypbU5juhY/KkQlU5f2k3MzY7oUHEVi
TZbEtJBWYl9L5QST1nkTw6GSwBrNQVGa1QWYoUsvMFsZd+C8jXM1N42yl7ynuJ4k+cL1dmU5c2Ug
blNUtwFHDDkIJL9qndpLjnB2zkxYkeZ2asabJFnyZO2wkGeeeRDQDyAE0oPJjm69AeQnHRgVyfqB
EcubvZQkdsG3cQHeTmNt1j5AWIRaFkzCJ/5QCU/h8wg5NrYFaTKy9EIeQdDusmyqg9AU6NiN18FC
YTAgZsIO7JwzKZsI+yjVQEJPlbJXZWD4REvuW1eeFBQf7bHPvCgJ0lTDB694j+QVfst4WdUnqVpM
x4tTC4GpQo0et0K4ssaQFl3bSOiiM7OcN9QhGiIApRfGxSOqn4x/c8q0JYxU+s3Us62NXG1JZxAu
jnHm5X3TP7tPZrYr+mcOSiydxzeSejtUu0N6lZtsEtH5idCTS69BMpPI9JAvCbkbAUfIYvp4FZy3
q7I99ckT30dvnc32Ie9KWtDwXdlKiauZUm1blc5CEgD7aEFt+nhnd+PJ2RbHSt6UEUyxi+NfjOBi
eKj8aG8vZXf5YhQPSX6S/YuFWqLc6ecOGnC1SZyDsG8AyXTnKuGpilZSvKKRKQcwFPlq9jUBMuWR
+JyFnC769MLa5R6JfeAASoSe9OJ22ykXS9G++AmsNsBpYmMkz1F7oXSkza38wftUr31E/QTC+LZK
UMUdSnuJBEw5tP5SFDNUB1V7UeZ9s6SD35d7L36s1LWoT+6xOkjkgUovfKhG3TjmJ1FpfrZxDrI1
cV4z8OTRwqABZ05lnOTIMZlzZ0Y/41m4OAJCk+fZAaZ7WOzZXodvNrFlDjzrVWJMExqbwSPnrams
4UtN50o+7b0ZiTee9Sz83aGrL4W2MfeexWXn7mXoYfMHhBZVe0KOV5VrtoZw8Ei1DvQtHWS0LfNA
4lS8Jc6VURDqd9qsWL2lF4ULOOOdrhB2efGya3dls27rh8xgeXXiqJgbgCMsV40F+zj6welJizbQ
R5X6YtcvSbvT8jvzaYa4ukL2c/NGENZSQcXST01tb9+YLFyWj3ONxCWSbXhKTt4iO8XFiiGun5s/
In9B7IS5SbMlULSwuceCVKRxHEkIoVKXaTET1jKDhyude6aeYOc4R3TFe/WZ+LYe6qjNKntRo2XF
LzBFg2FN62rHMMhXL/OucWnvo2bGkOtGi0scbBMFlCBnBFLtCVBhZ4JROygIVp89v7nFKkdI2Zxa
c4P2sYnwp60Me8EM3DHmleTvrcA62Qe+WJOahzDfUv8SHOBXRtmpIxhGnwqWK+gqqDRG6ckvZ7xH
1nJ2zfKb3NypsJcwIRk0kptlvMFc1OPP3HjvZy6GuGiZvgXWlUHTS7CVjedKoe8z0J8nQoCmOWgT
4pUPNQSG2Ug7ZpUxC5t5bh8ZBGBjsX8bI1km6TlNdnk7D+RzMMyK5rNql4r8zDrI1vcNb8sLZr4x
30BslKGQs+k+FfqzTF0CEUe0TPqllMwlxu/0RB5eEc348nSWIOh3nfY00CeuN7X72BTQPxcu5ErO
dVO6M5twTcisJDdutwjXZrnjst6hn80XtHcDADnGW9XOok1eb7t2XdR7lV3WDsiO2T7Z8izx3ysZ
hp0YB7yrtfBgq6pH3poO4LgW0bhvCtps2jUgSJH8jC+tGNtBfWbMSNlwwNJsHittq5K2YE9j5QCV
pY8nQ/fiV6sy+oGcZX4x5C36TK6Corz4J/8Uu0tHYk/KjLVLo6ea7uxHqB+zsdf8Dg5vIjiu1TwS
z2kyZfm/D1F0IodOkQnPm2yehSvaPUY1K54Nf8n13+KmtQ9ucEkOKdVosbGzV4MWaznwVvetSXNc
xwABoDBkBay0L7L+3tNl57SxKUGHaBI8CMLVnmX5llNkWvl7hQ3ReOFAv2QruPJIGwvWTGUemNxH
vntdbDPOyEbamea1JGRB3ozvdDhE1oFQBfC0yZzZi7oa526NiAJ9NHl8yUNfAYocz74sXLLwGPRn
Z0gIYqgX7L75woeunRnRk1yfdIaM5OK6LfHXQNzYn94hkrbRk16Terdnu9GySm0+++hBhZcbRPPS
uTGtZvnCr+++zL6LII92z3DJzNHz5l13VsosH6f+87jm6fapeOElueiybJena/pzUydf8EFYHKT5
Pqtf0mIdtTfE/uEqQ735lCLAGdaJQIzHdt9gDcpio+hvcnRs20WMvKfZNO5TCbLRYMFsr5kHp6q+
YVvgH898xGwgJWFllJwNb+MyzRBrLgEmzCSZxWs1PxOQQggRl25RvsQ1gRZr0hZq8011blntordY
x/owb/15pi0ivp2m587STuctW1TSxzKk/rfcfwTRnDeQ7JuJ2z4oyGmalSotVWeVbalpc8FOGjxL
SZESL0XKEQpEghQCAuGOgbym68JlWx3b8ui3G3KNGc10aUc190VrbgiByLBQ9QvbkykzaBU6yMfk
SSC5zD2M+N09MbaI5F9A0hTFW4tVKzsx/7TKIdHkSQtKAGFvvuZ8C1i/USdqrzrXQfTQE4ClTBP0
x3MmFMu9cIYl3lGuV+NbqVCOUexLy43FKtS2r0536HO48y/InBNjYuR7rvrIfdJR+gM4rGOZPf8z
ZTppp8m3Bh0ld9tuM6DCTNgR9Se5OArv0vNFsj7l0hoy5LCrpp4DRESNgO6lnTBdh+nUCV8R0Zli
w5ORd0bjuJ86GsehWSdB/anvNPeQQ7C/WO45IndU23jPEuHeBtL3tVmRc3HJx+AV1AfwUVdByxg6
l5Jj5W2jJ41BGlTjOikYjxCha/s2IH7GX1T0xlV0QHNJ3SUQH8x9GsHQJtfnYqXEpX6C5uj0nQX6
kzMH//7QMHmdRPXaODf7yQD1xjpUD48Js/paRQ1pXYjm4f1kzRPtNyTKD1r8pNWfPpjNiFge+7xo
G8Ti2TsmHpYDAryWtUoeLFJMo6dIfEqksA7YHGBjS1AxNwzyxIWb7afnnHOKGFNtmA3WBfW/5+2Q
wNTyvKyOFEbt6ME37rx6Zj+ktTRCdCvUTKpzaRwHKVOsL12VRImweaYx0mE6ch6K0onnkqzfe4W8
0DIloCVqbgiI8n1US4TiWSbRJAqbBE9GHmyTWRHbgi0wGI78vFubKl2AjegpkLn02RA7ysNJlR+V
9gYqn5GrCFcMWP1wZ2KChCOfVeqSDHbAkbXiVf+0eh1r087QcAuSTWOg12kj0g8mt7zYqP1dsCkW
OrlSdxZCFAWsd6wjtfZJNmJmQJOJR2EdMmqvnkwNpkTLfLO0Tws9RgfIH0z6pB/h8zhVESahzC9I
SThbJnkQ9Q/GdN26pulDB0sge86zo2I+yeo7o1Kmxugk1qW5slzMUdu+IGmM9TWYG9d7LLL31jvU
pxpBU0mbuj08q8BiS0E6xGuSsWSoZ7b97DR4r9F9m/vKAIKkydNB0udWppOjIE29Kpz7iTShktqp
3U4aZmtHdA+meDEBYZuYUEQz1+pH7YKXcKLaBGrCAe1IFGgxrbTvsqAYOKesUhkbk/fWdg/R+LcP
GSOl/xiU5oSSGc5vsNWkBIg3pvwe8Zm7Caksd6ibEcSryYPaXVFN4t1uqDT6xdoP/WnUurOhhoUG
tlvz70WqBzujF0eVFItzDualDt/Spd1LOc1b5cUUPVo4QaQV6lhvUUenti/Wbjgw+mrxS2jfK4cv
qRV4scS5j9+iKCM0FpHuKZctRlKvWVYWrR+WcG3t21uhwloGdpfv3LxbIdr0drJjPulDpd4Mm3A+
3YrVqeaR4Ec8RLIaQjs9AOQiLbJVE4opmU7IXQniL+Z0MWrA+pZGrG+qt9qh1ClN6qmpHbQg6hel
iMTvj3391q2ldKZqpR7uW42tttTuJJtenG0k+QG5AGTYksoftRiqQSkwlDuQXW1i5sqycziLfv/T
2C6BUSq5TWKfTo0+zeJDXwDiLm1vZeUpKnnb1W6Clu4k5RJdCdOaGVlm7pKajCVVliGm6oa8z0Zp
vlH42r0qpX5hx5ZY+CU5o46qIzgb3PLY1wCZAxnAbpEX5VEafG/lOOMGu3UoShide/XkSF/qnb9K
XL/afx3zFJo7KkHuki0A+7sjnmjQjXYv2szZFqk6KdXEYCwkAX7+T/3YP1qe/9ziVNSfNRemZcmq
atqGopuWSYvvu9c+aSpqO1XVLVKXzZLcA9SXrcDap50U/nGLODh0hRKcRCIvT0LrpE1FWf7rXlxg
lImKgT2ucIgWzm0MQiLsT57OD4puTI+afLB1iZTsQXkhEZs2C1rAS1h7zVQ4SvEEJ/w14FnfZVzI
dglriHICrS+3zN9ru/7UlEq/K8xKZSKfw6RvzlroSgupLrptI8MXc8yGuIZY686qG8rsZzPjiT7Z
Y2RyYfcGtgci0MCjRIZCGoRGFEevxcq1CptLOLTID0SLilpSlO3QGvJV9qqLPgZZOpWFzyrLojsF
McIgq8DF4dMUZ8s3i/PXY/QOP/n6ZJyp0NSF7F17LfWuroLuGgcnoOcE+QmLG40kJUIZ91+3JBq7
v9/678d+v+XiusozvCSdXveLsLH7H0nwFgjV5pLDvfn1cMl6fEgC29jg0UcvDt9bSiV56Y63eomE
rq9bX4/1EUUo26/tXURLImjCa6nV8UPhKKyXmtzdft0tYyAufiXSOX4gSGJu85j4PSpFJXV/fN2S
WgOjyPjY77fC7tGsnn2V1Yo7/tBIjThWudROZRNbytdjkZX+hdhOMX6Wq1iGzT5Ps2VVEaYQ/P+b
0kZrPVpwsSM2ktW3a7nzxTZirqMvjjvE6sjizWssxHJUXQYJl4uluX/cBcUrbdyeXTVVJmqs5U0t
Eo2F9CQu3PIWP6qlVO6DrqctDmteb4InU9RMtRVn6cLyrAWBR/lFC9OTZcZMn1oRX2uCCaWwYzrL
042k2mKl2Y1+kA3LmjmN197kMi+QjDvtm92SfU6g5TWtCfcheXNYDRG1lZTgnMWQ1d1R1z34A0mp
oKLkVifRFCgMVqB5azxmqWawi8sp+8ANLJNYn5SYLztRyzvFtOy1nWiEPwi46OMPRwYp7kjU3dOy
PIf94J6a4T3SdYMEr5TsAQVJYKEaAWV9ZOF7u1YWmZ4Hu2D8NiWqTdEAGl2MX2tbmeXx61bdIbfV
GlS0KVFVzyp7KVCK3SxxHY0svZxB7quC/FU8/iojhw4LPb1lqjPiaC48tTx+DZVfP1x//MA44JUk
IkT+59pz9DVmqg5LtwTtH30tkKcZi+sO0MEltDxyx5SaoAfVqYGaVzWN64igpkaKlp3mtlfTRs7T
lX200xUreiKAi/pxvB068hRG7SZTUqXv8bPJl0KkD4jPxLPbgfLO/FZbk/8oL02f2Br6/c7268cA
mGRR4yAj5OU/H6vDoSYgCOcYK6weyycT7rm3exxDJdlcojb0RaESqMzlKK5dq+/bTlEPeVfoVxog
Oj1ii+usDfd+rEDJbY1wj0MxpVG+yLssvCl99ZGOX35SmHPfyP6K6PRN5PJ1SdmmbZmyTOtHN+1v
UsjexxTFb8Qmb4guawz1hpJNWggkEfOvSwQlO8Ot6v5x1x030iR2tRrLsdS2Vq0iNR7bsj/u5rlG
7Igqg9JBhBuYFVW18cfXrV4NzH1JUt2+IRpnfHjQm0/oUmwHhii8eMLRdvAwzpmtI94ef4gOk6/u
MZZ+3ZWyQPoL7B/Co5+EPhwD/icbBh9ftW1d/z4NBokmepHq6NrKOr/JusTyWQndx69bqcil3x/7
uuWy0hss7+XrUNW5V27NwhKTr7vteDce6Jd6vbUDsqyXlLvaYC5jGZwEXq6iCOaS+ho4664KN7Hm
X9W+FmQThJiHx1t22jpLchKoyjdDtIysAeAp3IJdbcusHDE0zc3Elnf2+IOzXrHqQ00qBeIIs1gM
plfcit56c2FTWyn2d89XoOID4FZ10zs4pddTS4e3MD4uu5SkSCgkudqwrZuA6hD69rIvu+7ahEV+
bkvvQqybdu/NIVjXvnJWVWwQX/oWX+B5J1q521uJZs1b4UYd+/qar0rzcQwSDTC0EusGhpSubTud
nTPVa2LqCnOsVrR01ZLiavDJ74WsGjuyvGnXxeUiaQRxZLFOGgNlH0xSRqigDcrJov+vIaSPMEMr
OQ3UWEXrUHgM3HLsdAsldHZ5ZSUHUyUgp0kac5YPSErtMsNIldvaPQUAtuiTulkU40cTLk3mSKVQ
lnuUKhOcEeX4o7H6uz6IZFqZrQj3kWz+MM0aMaDV0S1OFBD7beeD2IQj0Cf+VcLvpkmtvKcdhr1e
Kz26UP4y1Vg0ZnqaL5vC+NH6NlGJxsIl8fpaB3K9r/20DZBI0r2R+0ahb9JUp/9P2Hk1OYqka/gX
EYE3txJCQrZKpe4yN0RbSLx3v/48UHO2Z+ds7ImYIUhEV6kkMvMzr5k14m3UqGHB5qV9001dgQ+2
BMP/PQTU/8+OaumGCsvE4eGxbeWf0z+Se90sNLs/ySRjPlqFnq3SJd1mjewQjCJXL7LkUOg6vvZx
hzO2rT2MWB7OMjHitTNsn30vPs9J59wEUcktqagvdUP3Ugnjr0siLJ6YDDyh+ARdJh0gnBrWkF56
/IOlohEAI7SnQGHxbabYPPdWMlBoTcAY1bX82geAOir7OugBoCpMMHM7yX9PdkstJBeP//6BGPo/
1wIERWzdMFTdMVSTrZPX/8ZwUAyT+GLS0eclRSDdq4HJhaRKgTX6Y44taO3YH804fKyYsNaOD9hQ
3Sclhh5j1OB+S+e3RVv2Wctp6419jaaZ81eD80+rM8thfqAbLohQLbPaGZDeD9oEjakemuwQzMb4
tEbSWOnI+3Z2rM16beqq+VTnsuGPVal+gQ7Za1/W00NIkQvhcvpQ/bJjrwtN2OGL1QjttK44QTkh
PxqK+TgY1tlsVPOnPDcvaibHr5k1DnhDNL//+8dp/4eP03Ic1VQ0y5RV2fiH6FIQ1JIWaYp07NfH
XG9lfJEmJYOeX2CltkxHJdbeRCoVTzMtbxcCoGbuTd1ID5NEht3MsPsCXCRfIpAHtygpvIg47iVe
DjhjscqZrxLb97nUkmNR11RFFCWGiZjDlE9YTp6DnGqkIgPzkbru2Fgq9tELQI/7IaXKr0kuQpod
43GN7Ose9pt4LyVSoLp0xjeBTsQo8uDZaOKffVVg3y4cYz/kY4BpU2J+ntXL2ZovGwkFuIH1YROl
yfRWG2TnBnDWQx5gm5jOOYwzxfnqOGOKiw2hqt5a4dUaBezfICRAoIlqabQLkxjAjJW3AKkxeN9n
y5DkmlRSacJLkMJitAJ7YpsWuPoQzYZhGr4so3Xj5isJr03okDxqGP6kOMzzgSn26XPF+e9ftKIt
E+MPlJxN1DIVVVZsBUSvZln/JCiM02gPEv5oJ24qfLQP5zvC/jvZShxv0DqQ7AuEqJ8+aofAOJ7z
V10EuzDvp1cEjn6UxXTOtCa4rpjRJkwyCmlK7kErwe1lUDBxWTaSCgqgmxFHbIo1I9YVx5dm2gQr
XtQ0lFs0KNkD+nFxsnpiCLSX02UCroeE0PQS1Kntfv7rtkXQBXKb5Kk96gZzkudP43IIE+OEEAgp
d5+h/hCmU7PVpjr7UWJGJjmiPtfRgv5bJnpnq0BYKP0H1ZyQKpTfwmlOj3XRB6dg1oOTHuIklTb6
oRp1xa/tlM1NzgfxvGaLAnE4LRiGfT4a36GxBjtht8FWWpNmoZkjWJHUW2d/p2tP6IGM51EEdLrL
6LRGw2U3Tc9ttvuMhQvFPH7uwiQZzXGNw+dCSKeZmnRgaPrgyj3hcyIp0i5PjymVFljiiE2EFa2V
tugfVuREEJvk0RVIv7wWZQ4eNeCbk+myhOpcb1Uy5HNu5fkxcDAdWjOu9RDAadg6hnnKq5wNVSv3
UqHtlRbEUi6XzyhJX6dWkb7OGSYHZqTCX1FF+KpI9KHDzrFRE0YSIXbKb+jGeJGuTR+4TNcuvssU
GQP5axvlnhgGk2Bk2TclJ+AhWp6MvLaN3eyM5XuYl/qBVfx1re3McWD8P1QVfSGN/Nuz7pDDOZpj
GY6hWJb8jzxUzYTd4TlpnOpxqfbSDBNd2YSbWKFem+nqx9jylyldlbwUcR8RyrPg2o0gjxlta5fo
BsDxtm96b8zm90xp8idT8rXS7m/BpGZPkRzlT01Cn16VlxhIL+jlOvW5jQxLAfcIBDHogQXktO3y
JHxIYSJ+rCdF++ibKr2HmE9uw0KJnzQ1Mg56ggp+S8Hsl2Z2b30c0aVuyuYZpLb2/9BgNEv590Uf
6JtqsD6oFJU0ZBaJK/99D800FluySfPiKMiOJ1NDI7VoY3yNwB0P2DduKAUWx6no8yNsQpzB1zEe
7pk7NkBDrDZXswN5a378PCVyzI/roZKAk1PLG+aviK+bu3aoy2Pc6F4jFHNPMJEfSwlibu4goJF3
ZuwLsIhTZSq70I4+1hvYlSEXV8u9n2PDyI7p8iucqJm2kW4fkpRqp/VeKG8qDYiuVa/0SRDhKqfR
RxATo0H1UYYPgTl7hj/A4Vjp37dsINlmc9yhQ9C6Z3w5LW9H7yncbYjbnS2GsMVhU1GH30DzyQ4+
6grh3mM5tzzAab6h977ve0b8LrqPLMKgIDabTRuVv0wAVmwpVPaJOqPeOWyRkNpRcQ7d7fL7BHDn
3fm8UcGRb/Z7f4MPj7vxNw/f6yHpeo+JZlQlg7PRrLtj2p7udB8bD1zXxX8Aq8yu/u3m5Yp9uNyw
LrtfLpe0fZPw75IThJwAi4jc0T3AnmcqLMxRkMZyimy882t73eFeLD1tl73oabM77zd2nnmbPbzf
4DtO4wFs8vBhT9bJnvLdZocCR+LuNvsNtH7e7N2PymS7/N1hWN6n8m5L5nsyPSpkUzdRXrjjdA4S
EW/8rJrPfuioVxPQO/dTWN74t+9ehw+6d7l4cd5vvLc3t6vTTdmf6kHfwVXtkDcr9lU+70JLrVCK
K1CHmsX7lCLBiywWBO9NWs5fq9B5g7nZvyul/mOTgtu3wT1v9rtNNb6hd7y81fvj4dH9yZV44928
Ip8f+W1CiMmZZlwrtS+Bkf3Y+LYh37w7H31na1s+148Pr59G3mFVDV43+kiYnEepIi0J38a+8bwb
7QHf+7ggIAEQcXM5uRPCJ+5JsEjE9MDQHzo3SJWn1ncQp/DRVcIn9D6HHOll47zxfblL93zZfhrW
Z6/DkzbooaLOx1yn+h9o3tABvbAJ6DUdsF/n+ggSSgfZklxoVQm4GMA5FbAW327rk++HGy/KDNfz
b55c61vvdungmvBQ2OFlVMMTRrNip9s9Fnkor8nAqPuRpvwDtstNmN3JFxsP8bSdd7tdPi4XNXO2
l7fTCR4N+Di+BK1KToF50rGPdqcaXZrad15r7D/njsaOz3Pr2VgrercHGMTx6H18XKqovF7eLiSX
gM6+NEWPNJq2z+wtvJqvinnrtXkDVRG4gTl92WDl2x72nhNoO54sP29nz3vwx1S5xw9LU9Dd3ttF
c9BhSNxhAaR20aO2CQyniA51GnWnBPU8FGW+BVP+rBSvkjYgYFXsU7V53mw2uak8+3s/yJw3H5k8
uv4tHTuF9+4labz3Hh+3jwtfpWvS0/JOrgE40aBXB3BeL+pj0urACZAzBMY2bGbjl1nRrE4xBezC
Jx1+Ro2vvaS+uL8Ph35uDofjy3E3Bs0u3BaICFmgpIPQQgsMOLZO3bYFP2Ql4TGcm6ugs4yvNKBU
7IbR0vZMVNuaZKdOwsf+9WAqoIKM5jhAXI6K6ev2vEGQYDzwfMNBmVwz+IU0Os+SnByXDw2rqKLo
vIvnyaDoulEnfqzOeYh3cR3fi4AGS2yNXhbgL0yTxJWzed8V9d6Sv7Gk3viwQqGc/LvP5FESA1T2
h5c34siEAIsdhtoFRyVwBJSdsVrRvFh2zSTej3KtbLyHB0GLx5HFIfQiYW97x7gmtfM0F8AiJgte
krlM+lTBEteZaBBgMBuXMqk5/WC5VfYaul+AdLrnRhNHf3P3G6w5cku4LHzlkPKM325gUb+E5nte
JscxTb9TBdHH/PeWxp/G+sq7cTdz2GJCeOIZS53T5u7pev51+Zi8LLefPI+suWUie5ZEhNptWI0s
lu5iI1B6GkN8uMfqQaQEYQhsMjoa/F/VytfNvrDrZ6adBBl0YDlTYdWA3aL8xuPvW47Cjyb+T4zC
d1A+AYrveh7Qq/p4ubx59hjvab+xSNwurjsV1cE9uW4M01I02W5Wla9WIbtZxCKTaeVXfSi+9/M8
46MzbrU8pBP1I5TulqSd2yK7+4ta5IFPKNw8+B5VHJ35/i9jp/IrP94uLlSio5Dmc/9a94Wn9R3a
IGic0nzTtpHWIb7ZIH0aJwL9te5hobcSFpNLp8FIXwqTOSdb/U0hoWMTOCd1+7bZn32tbo+bOy2K
nX/3RjpdTP4KxUrvNtcaf2zHdCwOYQUaKZbAdCLkMsjvVM0X1jbmjxqFH1cru4to0BE209cNsk7l
m79p8FVft1O6uMtXk7aPC5NyBt3E3HcFGBq1ljYNK2lfWIqbzr9q1DS8Lk7feA8aRkGez8pZsWRd
b+yjlnu5vcF0TTz3jf9cyQPNnyLrSCgLsKyBAJMcLzObPqUB172MaPW6bo02XEdbLOI54DvChsbF
Fefguo3mRw1LArUUhAAczXiYddwW5Q8pDt5nCz3TNT5aD5EzmLS1sbVPDJ0ON4S1/Kgs96xn6z3/
HP7rls9Xl+F6ln3+hBbLVPKMzF2jqjy1/4qv8mzgF/yJt8QShP3tYtZExGufoVgoUaVco7R1vN66
DpFBE8jRhOGuECSAaEjz220RZMdxCbXWsz/X1qHFW0igm/3vPevLn//6z+1dbnzXlbTblU2nNqc1
ahxoz/51un5qARlifhACSTpVVw9G3RZgkfjzoln0Qbm1wiAgnEH6UJIwm4tEWRyjfspa9iOC0nUc
tslrVAGZHx0D+SS+Kh2uqv6syCXYnKyNXJUikbuWGZOisDYJNMiYdg1oD1K8zq5mYFVyce1CqwX8
L1jypxDBp7otD/XMHk5kOtL3gTwX6lO/DUvaA0E1KHdnuuuGZrysV/II3Ui5TZPjes2sPmS7qK+G
cDCyEvNlbctES/aDRBGyp0HR7bIpS84TlLlebiyfdi4cUNuwzb0UxfA+mnRGLRbj82RI06OmF7mP
Ykb0gnU5uINpqnx4BdFL1lNrVCLlBdMsbHBRG6cWRqe8PQnRjl9SA+INBukRsP9qhEcIi00xrgEV
AnS10r8S3zUFXg/rNUcpyCiXj6vSGgRb5xCixVKkNZZDaDb6ORxeEdbSkMTMDxUMCj/LzP4lNeTg
6HQQE6WS+imRmXKqotm6jrGWXpDP+q1LKlj2OOuf2Q6dYywLrFKFk3yLwVbXYf9dsuLGtWeCSVk4
3a2cqaLUFaiKPHEeWdfI11J3XtaRjNvJy1AAVVle+zwEaJT2kvMsW4PzsJMY7dXGPMf6TTYm45E6
drEVjY1ObyMZjzbM5t0cSCgALUNFKbXDkNQ4nC9Dyc6Vc0SQttF11aPHnMEB1tpnI4w9vW9RlxUa
nA40F+7rTzPt+l0BZXBZf9UcmT/rKMLNfUIpSlf5csuF15svh0IS3Y7VNvQK0X+EY2N8W07m1DK+
jWPzUZil+W3mZATO8Z7DSIszDZmuWJi3KnaCq7BIB5EAn9DRggO2vtAsL+iddmgLWv+mBc0kD8i7
Fmbz2mxcm5ARHuqTJrdPi8OyMJKvooyyJ3VWvo7DXLz2U675kyxBDM0zwuyxv40WBEXLHucdRvKV
q8IXflqvIR5qHYUZfF1HXQa6QAmLBwKRV0UR0nM/xJBtxvYoBXF+F1VzwHtZv3Z9pB77sTqTUGrX
9ZKV29NhiCLK6534oPs5vtLuqly8H4cbpGb5EFqoU1tVER1RX4dzReCBl0p4ClR9JmFfuD5m7rxk
y6OqV4ZF+9R4OM7cKm4bKcCMLL61oOgjkpIKt/NIpACSehMAtg0KaR3SEo6uQ6cdDavvL1HQgTBW
Mt2NulZOoeIor3rTEaIFDqLFbWo/FXlWgTTs62+zRq7sFHr43FkGmM5ZCVCB5IVSESeEzZwvlp4j
IErEAnlccaPYMB6q1IWnKabaIwmGwBJ43rPhWgyN8chbS3lM3vpKkzm5309FtzXs8aY4kXRtExOo
uoMe5yBZiY+aXP9w4i7wxmi03QkRnUOm5qGrGoBT0pQ26HoIsHb2bS3Yr9e1BFxnkZvPRh+ZlxHU
DmhnCn9FgPpbN8rRsznX5sXUNDq0FlNPT6mybUYUlftKoy0yO4k/BAHoZHMcPSfJE29kbSYU4dAN
6XttVc6+qau/Lq3Xmxh5TrrWGawyu4PWmWjWzlBKJEwHvT73Zv+B0HV7MHNZUje2BJtEDK9hvPTd
2spvGrt76Z0o2g40Cy89aOh7YzgPqdHM99ScHLc2pvAoR9H02gE5Yvm03lu5afc8jxBcwvZeOA4c
k7EtX1RbgrZUoIRr10ApTTOkExg2Ij0UYQLXVA+xJhyIRIo2H/eNkleXP2ea3P39mpEOlPZaDAv3
RgOoWCvz8JS1/YRycjl9KEUArC2Zb7JovaClqu4mVBNJGhEEQw4aMUhZdDcZVpb3jzMsAVJXy1D7
rJ0qdLtIHp/Ww2SU7cXWZm/x+H3qw8Q8DAKOQ+pkfHJqlz9EAEK+bgP9gj7C5LMRy4fZRkwsSwu0
43plUwz67KtMjYddR5Txk4Qi6zKs6jZBQc1Gw7NTeLoSupqf6CYnAHW4fq5GbL93dmo+l41ZXaue
But6PcqgUGdIT14yNPvuQdQ8xPI9xGYF8hEwnzlHxhk43HAqRNp4VHOCF12CyGUgcwBpltr7PNqn
qZUBHHa0LpNORdltFNW7GapIXXZoPMtVSlNWZN4QJeItr7GtHcqxupoQL7+2oOtKkCdvGqT90xAF
YF66srpL0vxtnNO7grTdTycAkZ7P1dvcq5Jrwp6ckybc6XFjK17v5D90sxnQzrOBeeVoMKxDYRS/
10vrYQ7s8SABVjT3cSMLVOGA/EVoiOPM8CyWgTa1w9kQ5vP6kgPA5TlybKB9OSjHxFR/lLYYz0Vh
Gi+46ZZyVr1gNskAlV97oFyTOuc4GcpXxaldFd7pQ0+Q5AuT4mKbRXHXqDFV3227K/1w6q6mqWu/
nRFOSG+PPySySwqyTkPaXHxvpQEPaJlOmRh+pSptw6gqusdkjAk7uQ5uc+bBDbUZRKNVGUcjS26D
FJd+lSHkXQB66AZSo9xM0eOlVdNRgzNkD8OW6UmoRXJTCoCNdU9d3yrfbSFpmO6m08Eayuo9ceqN
E5fV6zgOh8aI00cWqT9Rokie7KIqn2r7yR6oXOgR4prU7SQTpVpD7n4lQRI8wlmYGynr8G/g6ins
tO8dHERXpX74KldC2tYESccuqLTXeo6OFvIOSTlFwPIDcDFpSXNbm8UtVjZwqtMdaiIJdFyrf0z2
rLpYROMLr4n+IZLRPtgzcOr11aFudHQYQ2InOrNbCfTStxYhWl3NrJ9mKC2gwFF+xKOGHwix0THK
puQW5i3wJcn2TF2Ur33atS7PW+7ry9CJs29BJ4+3JOnwNTKd91iFtqZF9SU0w4ZAiG7FcslS6voS
dUZ4+Oy2aRKSO1rfK+c5teXzZKZEKA36nkqFXgLqDePwZCL4/jSbpvakL2fqkL8rbTwf/1yvNBQa
8XmGUiOJQXoJcuM5SgLzpxQKP9TV+d2q+h72fUQfIjRbP+4DfFFSOfg+oYgzG9YbYflulRDRRuaV
TpvWXYcpu7SqR/nfREYydonNGE8TmoW1Wwb0NLbUktQ9xuT4iC7P9TQYKLWYpnFmvy5eM/bcSa7h
UYS57ZUVao9p1k078gLtTEsSB6pF/DtEk/kRW6LDLAMmtVoq59wp80eJJCpW1pENcc8BQ6eMyUHS
VGCtY+shnJ+91hqyXKIw5bvcwycoCrnfOWOefpVqya8XgK0xI6uhjOAN1u5xpmpni94M6pBGjr5J
iTVpmKSgH5WZZkJGyyWk3raJlrN5ufbnLBya+ePPfdFcHeeFwvKvW9cbCnPA5m6ksD3oyqmxsLNV
Zfgu/wmXU0gfRVrJJ0HbbluhwuNSASUK5FvmYyyh9ohx+lZT+7skCcIeQBAXRvYoe+tw1NApN1Gr
9Q1MEW7rgfXmm6xr8t8uKaKubnblastNFsYY2zAo7T2VNGy4FHrfiiY1UAjq9r6giiFb+JEj4YMe
IkRm1XlFW5iE3KzzYmcGEJoqtJi2IhjMd3BFj8oJ5d+O+gWwzC0oEY3oY6d+KiSoo0v68q+RZrTa
F6sZLS/USb/paGxkejnwHyxrdNNYmTy+zuglcRQB5sXYrFnRmimVwMQ/71ivrXfkDfm5BOUTY5gE
LxISh1IOzyo58NOaM6gaTg1j2Ybn9cVEMOdnyZopwpJRpPWIhEUorB0pabOnFCQ7NfSJ9iM0p+Ec
1rJCgEfbrClrc1/qOtCIZZileQ1cuUl9uWzti1HCYOqAHXcU8d+rvowQzB+6cwF+6CI7A6FB7zgf
OnYuhSlsUiE2azlBHTgf2uLuZBlMbWky9wQ4yks3QKe2m0D8dBpx0CdReEZAKFAIkNS8L+3OTJN2
CZoI4AAtepx9oB5wc+uuXCt2Xanz9whci2gUShcrqW41huv+pPRqv3faAPXQCKXI9dU2/Y0nTcGf
ME3Xys6nqxEYDtYoReHNqahUSDnOeM1np/aYmyQhbYXKNCyouS+nU1NCOV0PmhaC88mBFJ/ayrgJ
OctPoRPZ53kYzlal01xfh3nSnmeN8lQVovZB9LwF7wHUXm9VIGrrqZReIRnDTRPtuW4rJCs03IQu
64FgB2uTOR1cqzOgF/QhjFKd6l9VtHe5mZWdQWF9pwx2c9da2YR6RBBTz7X+3OfKfkXQh5kGCp9G
Yax80y2LHmdincQUFde0V5A8btAD7tXoLhFj33q9V7/IenzPGnO6zYUJHTsJvg6y9Ly+voLJR+52
lrvjSAI32lFTki6NLslfdWmGJh5m6O8Ms/pMq8nYkeS8doWOtPUSg8xmZgwo2vfKMV2jTbXNb5TK
d/IyIctlQhYjcEarQ0BhvRY4Jr6wABi6NPiZ6TSTajMtNwJUlDuSjimQn7SvEFkI7pFW9vQIHWkR
a18mYCEkijF2NtIBbVT5GWhHChwqQTocNJjI5/Y4AjkOZ/WLpFCvKMhIKR8AwE4yb30v6ztQeESy
tGyfzFzRTlbR/lKdQNpppll7yjLfsxLv4HUY1chVlfmznOvTc9ic1n+/HmjLVNvaaKpkZyMQrAL1
VzBhGLV9a6fVxlggZ+B46TBrrGTU7NCjDyGNMaXYpOYY9lSRjsrDLq3hWTIq4PsEgdvKquGYcMnC
0fbRIBqyyamg7lSUPTZlIUv7emigiaO6ZbmhJTu7lGdFL3MsauoqOxvGZF+6oijckCXzW4XHghRm
8U87hF7aNQZF0UyoXl6QkRtItRzEAtAvtZ5ecj092RCQsgXb++cgO2G/y4FSbfOqRTImTX7+2wkF
gfTzypDZ0HPD/iBNPEhqpSECsXycZFcoNlWSdIjTXpyLvPptLhN2PXQymmem2XryOl/Xa61mT9ey
pi2pFBK0Hj1Gr4ecwhyU6Smk7IE1bvP8ealPcl9ZMZOfyMk0/8xvoROnqn6K7Dl509mZIm16azFN
OJHwYxZL/On1iEXsRwGnwJxFfhrjEmEimcrCYBQgHauJ0phkHOCv9OhACxjhUgrhaTYc4akOSNe4
yLWzAerWtS1dfNfpWGFEGr5rKlorn0+wU2WHcrHbXsE1clLb/jqspry4Asr/2gYOQWRm1zurrU13
hQL/uQZuBoZogg1UcVpxJp+slK7G79uKVRj38SlEeQzoKAtAbU/L9LHq4irHY+Q5ivpDqHIIULMb
J3+Fwi6o1qsl4e2xQGfXS3Mus4FGIzbqBtzMBEzWqUMw8D6W03dbMobPUQLKw8MZXnGDEhiintvy
US3RL8rNJNskSQ27M7azp4DE+hSNtGUXTMxfRc6xIrxXYlM6VbZyWXEp62GFq1EbAB9pw4QXGLyv
AE5lXKzLc6dwKet30JqIzJIwfF+k9W555oxf+2TvsCwcJgVhmnX7j7rqFzj1/LSO+jSLbxIsQene
2+38DUC16qZTBEC9juN7X+JYtL5QNEm70cpef4p1pMj0uK13K/5lRaT/QZhjO0SCSlbuaVaJ9YxR
H6B+lO85NP+os6LvkyRDPnKk/iz6Or02HdxkJHK2g5mZD31xVVvP/lwbSvhx7WS6dWpFd0szIQHN
ZQgQv01OmBkV+6YNsSNrFGvbGdl8LGVsGnRL2hZLEq9auPXFXRL5Su2I5yjF6mmgHF7j2fBkFrN0
UQvqy/miiZcV6kuBEwr6DDoefQvc31zjNDlzaGUYuXSY9eqsy4HyBofMIjbOigupBdISgNp2SNEk
XuaI9mH3FjulIfpfONSxEweeYWiQclGVO4lK+evwZ1hZXX9k55DQzNHqgR7YVH1TkvjHegKW4W8n
FbiYhGqR0nbiFqibFrWyW543oIDn0H58Vny0zonODhUAqJiJ7JuqATd4XQEMkYdXCnTDbqyLYQe4
sLyCkluYLvoLHZ+jXmX1bYXRo7kuuYY9fE1Vc9yqkax+KYcQ5XbAaJ+bQL4MI7zYERy9WAb1I0RY
wZkVwS/ILocpm4MP25Sg2VHZQmDSegolMz8kKmRdNSz6WyfZAgOXVJCQJ/kulEAcTEsJdT2TQn18
JyWFWrKc5SayWUsNaZsIRRw6J5dPkwGph/V2ejO7EmzwPFSn1h6nt/gZ+slwd/rJREUaCIGIsOJK
elU5S7qcXOqA9FF2snunVASnvYNiFQJ9aCQuaL6owS3MqOeXDn4vxUrKiYqBEIxeCMKv2JaesQNY
70y65YFUlVsGosv/5CZ9Ts8MHcaoQ/5JXbD/mqTopzGFMj/H9kleYia5dfpzFgMTw4GJcdZK0PYl
UqsxRK1ifbkMrQfIst7Xlnw4dObmVnhU0BAmS8tpJ6TA8hMpcFfMaVjR0Y3mmUplF1EbY3KtMNa5
Ghy43iRNTaaqX+xMAzg4IKpV6z3MSHYjVZ3DheJX6tc0UJmhOgmzQ/Q7tPPPgtb0rbNiKDkDUm/j
zCbYNkzVuXKmnSF12FUt+2GsiOhSR314UQyD8sjCq+sM/J+Ia75pARVWlLvDm4xb8NGRtA+iKLzE
5Ci9DpMdeP/prEjVv79afIv0TtoEaov2yVgN4hjllU+aoiC+RqvAHWeYM1lq4a1FUlhPKLNpIr2l
oma2iqHYCSVaiJ+pemuFDYqYjsiB/Vp5KsLuu12r99ASyRe7zIftepYb9bAti3m+zH17EUuyP1gI
Dw/ZhMTQkvavBYD1mirRghI/qqXpUylpcxILm1jLehafuCnd2THxqoiwFNDVMH2iDtBtm4qopJ0l
RB2tgDKSBIuWSpIutcbLiKj5XwW8w7rd9cs+iFhcdbBbOLbrPljqVX+xxipHdQUGAQQ38ZvfOO4H
s4M/oColun+agiTq6Nx0YWZbvW5kzxYsmGiiclFGOGgKhmPWAuRdf3tdT5ObaJABcXkzXtKuTM5l
a9IL4l2thyht96x+nV9JrXRuK9s89FaT73iaqzfzExKqxy9tKJLzCg2l1tEcjHDxZISY5MsDagiS
qM2XSu6LTT9AcbUndFa6HgKRAX/rTNSLEJgxbOSO0lmQfXGK2bwlWKX5tiXQf4l084U2hNuX2sMW
oflztuwlEcy/G6jYb7MUH5acShHya+yTeYH6y3omiDBeh571EtIgTn51D2t1gYU7/Fu0UULXXhGi
StOgPrJiIXmakP1Lsxato5oghoc6DhzlHdfr2guqoveUSYWFxbq0qdrI3A21dtdyOh1j1SzUe8l6
m5YpKZX1TyXSftiiCr8os255dpVIPsLc+VNnqeW26wLnh4VUXznpnqYp845+0YDrAaix9QxwiZe0
U35dQx3UnbDQoFK0neYkO7cmTDGLH+nKNhqMuVkuGhVDdJKT+S53luQJPe2+VrJ5KzVH8o0ZzKdu
wBqabGRO1xwOpO94iarYT7G93Ei2jCbFmNbvXfe09hrqMUOvbZbCw3pZMf7j5aF7sikaPedy8ejT
WtwTedNSn0qBt6kD/AKKSmamn8cZFUl8eGNKZ4gDVUYnfa0VXdplhJT7dVjmRF19V/UnI8wPve5E
T11gEZgEmfkzBYaRxFT49NSwt9Sik1tvV4gyNQOAF8uWH3/uVTHpYLMuvjmpSrOZWu0Jt1Wg2wZO
gdSVVGQiwcXRJVxk5aJqP6dI5zmCPc4YaCX/Qf9HUzxehXGal/6HGYnmXH12RmagQHX+P4Sd13Lc
yLZtvwgRABL2tbxj0Tu9IESpBQ8kvPn6O5Cl29rd58TZL9UASLbIKiDNWnOO2V9/e65McSqMKIKu
U/Upo19Vb0fiaLcUPrGAD/7ErnFwfXnWLLKoisXA6A9YRsKJObPyg/qkJuJa1A23H1CzMUQV5moO
aO/qqdQ8/zWwIogT9eAeMjOU9NNof472GGzyeTT3w2R0D5Q2VmoRe1vJMoccuwSUhDq1bdulhh7q
u0hZNJElLiAfakApAMHPKJIXChLjsxyC+tq7ECrdNos+s8KUm44NHsLO0vkgdCOxs1PRsQXSc3N4
svG7ao5W9JBfG5h1k/44Lw1dAulCpsDZhZVGyxZtODCLsAMGVya/lLNCvai32vb51kmPrrc9hfD8
b5UwNZYP5mlKc+30H7NWmhBE6IChsZtZP9D76l8oLgNR1nMkQstpvHSHY9P7pc7C0VrXozVe8TdD
NTYc8pzVU1+JqjqZefMtQUCMXBANWCVL96FyMMsEBO7Z1oM9zu7tpXXsV+k68fnPpRxZV2rn+1To
6c+acV15DOcGu3kGmLEdQ7ZLMaELfm6TrmQsT4LMPLpEYulrL0M8Klvz3DXdp5cyoY/ZDIRm2SQ2
HkBOmWlkki5FNpZ7v7/65/vUt2BlHW7for4QOj7uM1G5ENuoyxA8RvjussrBYpo+Fggh1Fkp52J3
41XTQIOjYr+PZQuAzSqr9Twl9a+4zh8mScs7kUDnShcLUZtB/JqN0XmexszGGiKbB69I5h3b7fIu
i2Pr4EU5omG1GhhbPd2WS4llI12Ib7bTn0Y3RxDgVN2FNqBxiAmh2ai1Zq5N4L4cwbhh5+Q1QZdb
Vi+ZPRbPZjqttcZmcbngCtqiBWYRuSYWU4og1JkFONulODLMwaNVpSFBwnzBdG3n5Fcl0bHL/8nF
FHo7xSHVPgNUXft/X1I/oL7jz8+HEZlMGD2NnV/Y9pkOP0gfUb0mZY71V10zna7b4yYD4GAb0RNr
7ldS+qrPihb+dmjRimuZL9miIbKCVGTjr/2OeBn2n++mz2GAJLG1hvBAYpl4ziSQTAZC54fs63Nj
hdHHONXWdgTrcNaGcN873rB3TKk/zAQ9rMzFR+HpHTRoX/uIQvogcTZ2OyfPtfbI9ERmy9/+vTAA
X9324rMcxuaxcYaT+s2qJsk2YZMGp9Ik4jEmE1Jd99GA0KEkAyrTXJDh2epWUUhOovT651Do+Ppa
6zFoLfGOUDA9GoOzbH6KZGU5qAVuZY5OojpjNjqojzhcTmNonyU1ma29yGPakrZ1GvkndaZesJoT
qS61cnfbwghHkBeYGfLdtacNUA7B0mdmgq6oBBTC/os8WPEq0kjQh/b+0odoOtti+lJVzP+1qKm+
YoNaMmp3zZu+NJt5xMXyUrkpC7/WQtO3nP09FrC52TidIa/qkt4G6RqXyrgOhsTbxyFEGdzBwbXi
1t6Eohk+sKMc8/GXhQn4DRNif7LKlOzo5bTSkCV3lmfu1CkLNrlGumEfTI8McQ16hTYE6UWpeSIn
YoVkJOYmx6T1VKbypQ+T8RLMZvNkmLUB6m1ftj4KIPDtp3oxRGtZZR7SwW/BkEXEOrrDG+uM+jG1
4gkFa+gcIhs3xTpezi2BbFz3QlCG03QOmqwmGSX87S9XNtGc5Jg/1y1TuyP2MELghUSj7LHjwPB4
+6PQoKuQ/X8BB8k9Eq2GEnao74grz9p0Lp2TyiejR6Zo+8j0DdgoQY7AS6ef4t4XD1oxiYe2g/ef
CutX5hKtWhpd+YpCFqInk9DtSF1rk+boMkGhY6yoC2Eu3M/8fSfHoqAeNtm07W3PeMGIAlNPk94P
E2S0C1zlV+eKe1dq4+c0sb/RUnfYeibxY4mljVdUXij7clN+OrL31/Fg12dDH+y3ZvJX1s43F3un
lebZxoVHsFcVIOHpeJ6Ac/j9zAq9YpnIWDFdu1iX5iqecMDH5XxS19QLuKL6GmDJAWaxw+morzPD
AfKRssi7Blg9pkiMD1FYTGsvjMaTmKwfJILEYDdaAvrCVGxDILbfh+aY8JFSHo60PVOnzfghGBHz
mV6sOu/aARqeBn1dsnG45ikWMRcL0qovw3mvTv98IV58NXwQP6Jmnpb04eJBLUDVi+zsDeX0VZ+B
olbL/XJBz9ZjJ8/SEOtwMd0MIuwuQ2Mc1Rmpq8RxJx022OVGBJJytGKfdqq6D7FoHVEYtButLZaQ
kwKcwp8tpjryOhwMlSmttTolm/zcanlwqhFXwDZooE5TWL5VlwdwBrHWF2Q4Y0D30yr+ov1xKVK3
eKOklx3SZGj2tg0XYlBe6zaCtocQkbnHoNon/LY65O0YXDM3//3S5GmGXxJA2W1QanowEVHcPw00
WsiA/J9HZRWQTxWPxoFmqsw3fuxjQK2KVwoVS50bqbanPYS+h5aHg0S0+OMM/aEZQxq/oeMSgQWh
IRuH98jskFosZ4TijA8xeeDqbHTNv3wieXZxXFkXL3X1m71sct1vjVvLJ1GH1qWmbbGWNvWW2x69
yt1gZ7R9j6BSau6pNsyVWtlmdnT022x8TvUo2YkSWJRrpN574zdr5QrMl+vGch1ztpHZYIaWd70X
RNjIDvK/qudHDhXh352PyqmO6k2srOCrHjXn9/us3l3it8W20Ot2HZbjr9AzzfshsUkvNVnbqwlZ
8HHdTjFBBVsxYPw3qMLBQg6yvZpi1Gk2gr21fWCWMgn6D2voKWTVLFwWc3mGZvYSOpr70PTImSp6
L9/7Tvy0mbqe7EaIk1bw5qgfsI1lFx+/5k1xyeo62w1+VR1TaoavMhrva4jk312/o9su/eQqabuS
TDFrzP60uGO3z68FCIohd8TP5UCzqtvBtFwZrPgO7571c+JAC20SPfz0M+rIajTCJDzbSnuQRnco
Rd3H2enKl4SAehqU5XsVBKCUMIyvxPJdZp5TCZX0OtQPQYFvWd/2hFXyuu/4WI9OZkXH1rPkHWGQ
FYXBXj46eZttBup7r/2Cd0YCE3wrSxOC1aj/atmdSBRGqP60d1+6CLUsH1xROE6AweBZFnnff6V1
fe8npvc6almwt6rK3mfQmW0M0K82hh3TFOUjXuv8NQX01FPQeQ9J+bk6eM1JCKi9/+IzN/TF+fzH
Qwh7iW2drbuW4eA3F1hJ/mmSc7GcTIC3q31kDQz1SzbKKArnQnwEfX3OkhpCalYYKA9/b9lRSgWD
OR3yZVmM6RMKqTcPOxN2XXVzlXrWcLCdebyzbW24a2oNE6DNJDt6EbS6GLZRiW2JpAWOoFjMm3A0
WPaC8zwDjnDh9JJYvrSQBDrj+4r0Z4D0NN9E9cNuWNctZC1YT5T9kRuncRDujKVHYSWSOJUm44H9
m+bt++WwoW0KQ7lkeTYtzkwhbMnn300wYzpCZGZbXLs8oKiH/vmx0n10kkvf0B5rgxiOhD2p76NG
WuLZW9JxZ7KhdtIFBlAsL1NxV6Tm96Sqdm7VSPxyyBcqBV4a484+qsc8p624Fh7Ffh08NYrAzCAu
Y4RTZk6bW2tHaIsGEjhfo3JjyiRYJ3VIj8GkpLiczQi62eXlCL0HyQokQk1x9VNA65H3nDTT9BLm
drohPmW+BkmNYDpfgtuXdYqJvmOjZg9VCOOBy/8bxkv8046qbiWLBiH+a9NzXDhe/7yVEhMQBSuv
cm/iXKLSY4a7esTSoPX46dRL3c6/tI5wUUhj8arV9J/aYuiNwwLNW2kCgLVdQfMKKmcYncKzi4T3
qhTsvaVliJmZjs2mb2EMtd/nxYyVZpTV5pRGw0I0cQsCDMnnqQ4tu8TVrdJXthMG16HUFqoajb+l
4N2lLNClOWPdrUWxNvKqeAgKo3hQR2Y5FmvLQ16JOO+C4hfM3xCy+F+OkqkTn6jyd9ZY97dV5mhM
2mGs4w8FGYn81rqrGu9oFkN9o6vlraTt4em/e1fzGMHSTtIP1S1Pca9s2Zo56+WSMehiV6B92qmW
keoWhYbz4Llwegs0Q1dMDfDeRKxvx0zLH0RR5JcxgDdAnAFZR8v2vRYU5wK3elFn6kUfL+D4x+cw
wxFU5ASDaogtNkVTZs8F9hIyxWuIB6LQH5vZ7k+BM/rQgAJ3Y9he+l6V40eog3eZhQYZLh4JUHG9
Dy+P8k05jeX95HnNsTeRUGtD8RV7dX4XttCL1FFhDvp+KA+xALvcLho2L9Jf9Fl4Dy4K9eepbtCK
h0vwRVpexTzEl1jAOVWjdVDoxi5hW7NTpwmpD5Bn7vxqcr8aqvkJLIT/hvjy/hkryb2su7pAUENA
lWcKxsV/3ssQU+rW9cJh57PMP+RGvRsdUjRnwCMUpEYHj1oozvyFr6neTOd8ATzoJTRlJx/LTd0R
Lsx02xBXzpGcTcDdReKu1Rc8ev/+2k6mDW8oO/K+yb/yNK4/5AuB4xORnYRd6X0e7Ln9tbvCF90G
CBoV1No5VJSvQIqHwWM8YdVidRE/BR159tT0n0JaNsc5QOQd2fnvI3VtXK4lyzU10orUajdOVcXX
0qvsTc2u+x3ryftgp8E3grsuRyBb6Q9ZMJp0dIaQPOcTqAcz2XQINH48/evLOoaBbVdSm6iltCFM
cC8k1AKvwNiqbSvn4SUzoE6gMK6/qPHsozZ+0Kxs+kRQvh9n3/ruJJCYPbBrTzlVNTblo33o8JGo
1quWxt2myKNmp07VizTQXie04FTtInUM76LkLDE7BcK8CI7sg6PM2clMUezT5Py6AXRSyIDbsrHk
S5B8I8ckOmtxZD6I5IeZIBtFcvRXV6Q5Mk4HUB/1mAfglLBSa6pLg4lYv6Eru04WZt9stDgGfZYG
RWtmW1ZDP7POcu89y/sFcGn6qBtMENxeq5i9NV2Fvj9OphGcikH0R81qODJjsaJA5UFJol/gUIrQ
cdF/6XnW052K/YfRsYiS9rJ6mXbuVFMrXjpbqsflebghluvqTF0v5bGYXbZVvWQnFKbg9YxmfAlt
WIglKdW0sCOCcxDpuf1gb9XvqUdavIp5JpA9ZvMhyKpH9ZSalsyPwiPa8/bQkuAb9FWxrzsEo31F
x3urI1U+dJ0PnWL5rRK/GbatBrM9aV0gl3ZE/NWpZAu+VgWXgogiOaX6S43MGlyBB7NrCMA5WHN9
US/ZQhggyt35b7SEf+bo8Ugb2H5MT/ieZQjLsP6F1GlnrzRg/Yy0owztkAfEZ+e5/1xMDdGukfOL
QHDyACiTA4/4MuZCfx1CDZnPMEynptkqSoZh+IeR3du9wixmTfVrngfQ3qlTPNZLKyug0fPo+eNN
qCeAqJld4lwZrdF0JFG6K+ymfoSDYz6U1jQ+mHFtPoCuaR5a/Rx4uXHxpVqhA1h2xeJ+UZStrMPW
N9pAJNvOxKS07BHdn9JytPvbceaL3f+NUvlXsjXvF3xARJHgOC3d5lf4Vzin2zXI8WVt7nXHHNHw
o5egL/VFLvjtYLmiD9ilh6oar39/vY6b97F2xlXihhTgQdPAoFfKLhX2J4PR3SSi8VdtNvzVDlX+
ozeyV5Nh/XWKxrd6oMj7ZEzji2qgpE4dIqlvrP3//deBFf3HwtdzbLyMvm6YhqvT7dTthR7xH4Ql
SVcFsWcagYmrzJ0MzPB+rP1XY+k//32mmuE6g+wJbzJssaTdDm5GJpxvTS9T+QCWitA/StV36jur
nLVii16AFnnO06f15k+3nJy7Ao9xZOX0SwDFeOnEaqBxrWvMn/+SjflBhICo2HyJVXcjlxVutgLQ
WW8i9l5P6ihdCCnqiNvkMZRkjBDrRpjE+OjA3VDtVtVf1YmZKzTNvSaulCTiUS10ZfGN6J72quSn
lSO/NUbRXoGGmq/Lmb1IUAse5Y3mTvO21kP/bRx7OhDIwMfBP2eWzbRfZBSZ1V0ZLNg3OlSPEFTl
YRjAMRq5w/QgAmwtztIbbyfU+HVlRAdlhSpmD5tsMjDSWGFvQhGkPdx7Awl5yatH8Cu+VYpH7eSO
H7ZGMPVgx+bZrMhdWwwnwa6M6Garl2aczTfdxU7ctedahwdqgTth8Z1Hd0pjr15SbbZWhUddV7X2
slEFOzpba9mTJBISM/mNP9Iqy/fNRONOdE17FBg6TUgIAiNQnL2nJIq9Zr1l7SU+CqhxaFnNLuOJ
p3Qa3KpWlhXSkMtwVyA9SA59bNFar8ia7XpLv8IUrl9Qc+xTv0meG9ax8Srpibt3kuZeyVGYS88W
Uv4VFcqdxhxEP06CE1JHAdYFkEbn0CVqS7DZ2kfDUH2aYbDFdja/ogUsLlInUYi3rPqsUw3DYZTv
MHAxQi/7CzLQWFKVVO9ut1arfgUIt8NzlOlHtlDdN69IjXWESe8h77ThgO0iOPB4PjBVlMepTUG8
TFl+1QbfR5g+7AeL0s5/AbZQhvg3Bc4h3VQXlmkbps14Q3LqPx7JuXE1bAIp/i0QDktFGGcgvfqd
34f+Wb14o0fN7c+5BUYodtvvY5p9VUvXQku97JovPLzIce8NNvCfqWdBHQ+drwIV3VNBN/ZiC4Qw
VmOx+1IbVq8Cu1v26QaAJ8QlMtbQslTP+PMmumgeAwOfGrbG4NIVoQEjlfnaWKZpEQcPQ5i6jzkO
DT+GyBvqFcF6hAHSrqT/YVvODpMSPdJQf9UK542CcXmr5xcxQcrmcnqr9jsEUKJzpmvPMg2dNncq
AuDXUp8zpnEblRCrRH5H3WjMxxpYiyHM+rvdhs3aSvzs0Xa66GDjQnEKPPpqm6c2fJZpeTxMot+p
a9UAK3TQLIvKGp2lEbOvAhT9faZ+m+XM0VPjSTXP/v6aakTAViKtKWHkG21CdjQjuIed4G7VTr70
GnR+wzSAmCebD9N/eDeb5B7CsIvYq6ltcdv59FgUJcmSpvNhIrRVHeoust4cUfSnjvbTxiyyBbAF
drTq8k1m1/13fvJjYDW7QiQa7JxFY1EUfXYJtfFXaQfeozOFlzGa0vWfJm6ulyZtt55oVNVa1mml
O2HEOtGIXEoUiX0snZagnhJKrUsL43c/zPQ7i3iMoSEvhk2Taq/k2ICAES7Mpy6A5ZO3/urW/QoN
RIpEGcRIu+6Ur8IVCU1Er4RVBQOD7W310mkdOk5NvNtTU54j0XbrtKo/bowvLX9sqhzAuGddSUJh
g8/a7xPBt/EwaUGx7eBTH+kPxm9uFrHmglZ++8EwnvS9p0a/WdOOeDUO/mI1CuXX7ZlnCmrhhbX9
fuzd6dVw8ZG0mrYbKXpvshpjyQptG7Aakz3wLkTFzpOwfEQeIBi9GS3sQfg32I7w38IrfjUO9pB8
KjXik0Kitf3JD/b92Gg3FpnpvN/+YRv7GWZFQO5hLpmvmtB5dgqZnDIMRau67DZNbZAYkLnDzo2K
X1oB/YJGsmesb/8DEz3Vapqy8SGVGn0Yto6RFwCljHughaFW7yPkslu3D6Y9e/R0Yy+3xBR0yaOW
VKS+8PnoGdLOG+zKmklED8JrQiA79eoqeNOqsDoWAFigmYV79QsCKe/XtTUurojCfp6BoR11XLSm
XiNQolKgigTqhentpQjLnMSBsj72nj6hVkvhn/pR/FL4DLoaooLHWyFi6D/LuswfISVXJ5t20m6Q
CF7moHR2kQRDFNpj/l52NCdREvl0jcxP5ezSohbotxjMla0snHAFozWsAJLd/NG6UtOyrjjhf79I
czgKYgG6pDnj82zvm0X0qF48uz+zLUDP0dfV2a8ifae3HjkheQEeoXVLQAR++JeSFmclqAnDzc29
X2nFuyZwW9sBoKl+gQWqFz2bf4KCrM5MnfV6DOIWYiIgI643l4565wsLSFpvgZ7v1amLyPyAVHxa
t7ZcdsMWwW7LOqD6dnuLvJG1QKXnlzSjBuCUNsYOuxQvlVuUKzxK3kFqXdAeyy6sX+t3ZZ/JZ/fZ
74aQqEM0vVbItIbC0UALsVbjf81yTD0ORkMGYx2PzladSizAdHOWGtDN7D9K8gyTtpMMXZ14Lc0J
g4lEQZcO0UtdJ83WYYm/V/PMOBsgEdy6OwMY99ZtPpI9VtTRnXQ9cXH4LHUR3nWtPN/+sGkS9wrn
mlWIe22juJ1FaQtjPpnfSiDfaSitU1NFUJyBD0NPWtZY6sVbjtrc0MnQgz20EW68Vkuz5DnIxumn
hUSGHUeLvrQkkPrTYpGKBjiqL2Vi72ifBXvXxSCQEVVgoKx20nWz6FLZJm3VGjBy0b/QNvkrS7nt
bW7JI9Yg41r6kcVz3g1vfRv8qrwhvpvC3EEBhIFFvc8lFAnbnN2XcArTs4yggTcQWot5asGlFPpH
5heIOfBdO3X7182CnJbc4nXI4K5M/sykz7Vt3mdhZN07id+f3Q7qapayNuwzvT5TmT3yd7k/Nam/
62VVv9nWPdzmBr8i5cNAK96Munq14qFZF0sFJS2a996nncnADeuBCXPtR5xv+47cZTBmzkF3FhQu
cQSvMS0kkyDOl6SpbaC4PX7L5nOgnUjpjwo3sMAfaTqXR3T++1ZpISS9olkbx+PAr9h0FKqRaznn
WIbf+kXnrl4qY4ZHXtr8zxigMfkZ5Ronmv1sVrF8pt+jhiodm/hall2HXD+K7oRb4w6tU/uumUYa
SsswDn+UW0kLm8uYP7Zmk99FJUujZlnvVE5MoY3HfAWkNiSFWlBqx8Zyq5f7qbXWSBx4Hyhh7ITp
yE266E4LFwWqevHb9MvqiubUmgnSGr8dD39KLJ5cyRFlWVYjI1Y9cLtw5X2SFWu5EMbthd1nxt68
ud12PULPVYerblqKH8Aw+mNp6NaGQg8rnRjFJ9rNZu8LVjr+UBQv+Jbjaxsbz8q6B4evXNENn04+
0wHgVPleO6W85C7RJBahJu964Dm7FF/4LhHuhQUY2chLX6EMccmqo3AgRsGXDLABbORNJtnXYNSx
CVTQyovQ+r+KtN6m1LPeDKshrixPnUuadwNsgMrfqffbSfpq5UZoB9WcKiW5hkZHmj1NgUcdu//2
z5FeC+Nwm6pmFC7gr5wXJe1VjVb1Evr1h55k9R1toEMXRcUPz8DK2Dndd5kl5pny6UB2dB6fXB7h
a5L38yaI2VI3BWSfiBnawN79EENQeLa6yd85iPV/q+9oDm1ifxoeDIC6z+hd/J074cYfDOMhakf/
qBcA0NTjF+Rir830WlxN9HtYJtbVZO0DCdYU72PjVHs2WZAhI+R+yx7hFIU5cEQVwtx04jGMfvph
Xb04JNQt+ip1EtffyI77WbJpBtqP8WfwO+dCLW7voKK4u632ZuMXz78k5BMlvvIxVexjbiNvNRN4
beB3vwla/Far7gD1/qioWf2o5vthat2fg6AAgeKOMCqljDKMRp4XFpFXWfGjakPlLo1c1xDj5taV
6kf3cBupBmKjXYO4mdzF370sIJzh2Jq5h66k7Ih62QwlhDxrzKqL5tTOk21V7+odo9DPHBV58tIL
WB95W96u+4Xn8juPH6ZBPoZ6/yhzrgfTKV7LMrLv8fR+TTggVoFbNg9dCPKhSZw3TzfCbdDoxl2t
d+kpHo7jiMrUxev5VGNnXOGLG39MGkJSBoQXJ4YfOdnxcM9SsFzb+eR9w5m+ihISyby8fNHxVz+I
Mn2rXfjhAf31w+BYrwGruF3tsPqpB4mUH2PRAa0rkkktIZ4z1uKDqmWBlHa11nySk7mxzTEjUA7h
SoEAjhUt+RXqNAa7sQ7aqWaNpoFfCJP3SI+NveULdz9moXjrZH0ae+gN+shuXJW32Dd5tMtHojaV
SrYm4LOe2uDYjWl/HhuyDFl2NUA23e6shS3jTGu2y1c4tybtLsy7dx+Q75kRhgjJ5d5Wt39oxiBG
5GCflBbVFNl4Fsu3qK/KMOseGEW3Wl6/0smjppbg3ZLjezMW8t1pjew6lViLSHLI74GS/NXlbrbH
TDPvlJ2Lgv9nEBU+ihEfnkFePCvCPHPQv7/LmvTgLpnj+jKi1yJKCibL/PdROei/r/05CqOI2Zn0
6tv3lUEq78QCGxCi2LtybE592kTX2WDfI/OqereNHsJHnq50Jo07r2q7k+Y0yM3apvi4ERkKTT4C
bcVkk5fvusfNSBPbPI7TD652d0q+VtvTe0gsIc7ZkpZmxh+zZotK2PgiJYkz1jgNpAYqn5yqUb0P
Qd7p8jUhrujspbJmXMlf1BNRBWRIBIFDRJ+U1hnLLJK7ZZMc2l2xTqVcHvkqRLdrAkqWNAUSCtmP
Y49uXx2pawTfZ4/zck0dJV5IHHBgkLaOGs4e0ZSHo5ef1GlrVpjAUgHBMMQvvpSYo+UFlR4Eyixq
cKqPzRnhySkYR5yjeu5tvKmveRxnjJqVT4s6Y3S6jdETSlvk0P2zAjohLAMm7EyXKOr6Z52YjD36
BvK6FtrTJHLUAxqqiGpgdRVGmB6dGVp30H9Ja3LXc2ma1xZVxLnvemNbl761zqRh7Dtrbjai1puH
PKuyfVBMFjfyZJ0gyGh7Kxize9jyGPo8s3nRfaNm2ibhXTfjR+EO5lkOidj0dhx/admHlfnxp1Pc
D0svnmLqtMONyp+Y2taCTPfPTqa/6WSDDVo0/UeKtRn1xmbsjPow2zUCFH1etus1cb6pwB5q3hgf
U40Sh+G8WpmILS5zjyUmtpzvtPvWqhaO3Yx4r0q39noTsE1JGuyy5LBv1GivXjpb3g9ZQClpane3
fauUA1GtaqkKfQDtgxt/I66Mbd8yR9wmClpmoAzjjVpXRH3LiOHO9aZTGt9kOU8iWi6lxxylx3r0
ZcYT/77t0akaeGRSPPj0aKtTmJKfCZhxXM1JWX9EA1SR0Pbc1xTOfFZ14UYYY34e8DLiZLBWVmxX
nzYbo8OcxB5RqHq4voHTBBLbY601D1mbIXxYXuo5eNI1WNe18V11dyllkDvoh+EhWoBn6lpmkRg/
CrO4F3g+16lFAh/Di4MjZLH1zBhD1vwzAEqzzD7TrO+fW8pLg3T7tywc73mqQA/G04dtkJWL/WXY
2QTbb8e0zE42NHp7xBOB0RKEKhiTg44B4bXIF/0on86scl9aYV3LRHspWeK+GYza8FmJbgxmT7tn
Zc70pHEDV3csyiRTJq1fL622dOzjr9kCbNBqSXZnTl5zLz14hKK2xSYNbdZiswYnXMcrwJMZPzF1
vboDvBOqHsa26akFaegQ18Oy5ENLsjciv36RTqtt9JjGUTHkL2q9MMxueb+ctbYZ0lDx9a09jXxo
dRt+D2JyC7zB/NXFKGA7x0H/kVobzZyCn74hP9vM7D55CwNs3U75MOjcgMswkEXOAuMUWAUCE5OK
YfVfPTrAHcoq9mA56mEtZrs5uVV0SYl9eUU8uqVGFB87egM7o2e3l9c94dkI+PEwiOSs4VkmxDSL
dpmIyq2HvH7PxufSy3j65pKBscnSxjzFYjRO3GcZuG2m7BJy0gdUJRYqou/e0fo0AXWDdHAxRuKh
upisZ1cK3l5ZNjmpLEBq9IgwsLCjNpHD/quiTIZiTVyafDzAatqUoX8M7db8658HUeRegiGNN5q2
7CaNnITmgtoL/Zb4lNnxN4d/4qwUr0EbtFdZFHTxqn5vClaDQQzGRaLR2CETbj5mJzuwtMh+5D4r
6UhjUIvCaJsw4WAb6rq7cNA7nFgcRcs1daSuhQDmNzounU3X+5h48Yx+OmD63CXSwbbvKi3gT8QW
3yGLfUqJTI4ao79LSui6aroxhH7VfaLXJ+HND7n97sAZBqMe2s9eRTS3DV71G/q4e8/P3HBVVavM
wwu8BBo8U3IINh7S7aNPyuCuT0iuVPLdIS29K5VTSgg2vC4GdhLxsnNdi349LY5skxYFQ0Id7pJe
PPkijy+q5MAn7m+7yPZeBofUmsCM6aQKw1ljiJ8pZA7/sTNqSgTWjiXJsETmVsmu+WG11mpazJx2
Z322neO/RdL9q7PJy/aKEaDtItg2CjzElUG1Lstu3x33xdfodOMbNLd0y3PT3VmLAV9zS3LjfLIj
cnc+xiV+FvUYtd40H2uHIAK0wS9QuaZnGq9geu0mf2Lz65xybyI7HqnIN9N+F4Iuppl+YlpID+4U
mTu1ZeYyErzss7JIYS3ZgYAuCeKj8/PGfUB3dhEEqGgRUJ+avvW9wKpLpVDLPn1NXgeZdneNhE80
6PqvPjYGkPrAf+GepRsGG3yPTkpRdjma1RHwgP2tdrE0TlaRgs7Rm/lVjG18RvlYPrk98HlVOEXY
j7kLbezJTYFo2pmkcBmWPrzwYr5tPb3WlMhuYb+qZaoxVd7xNuFEhicObBYI4qG6hsu16lhvrBoz
YYvNsPbsxwPFaHYwpY9nzUjlX0o30LR1gIgHx6O5tAARBzRebaArqu1DWXlPyrwdmbSNIjeT6zIe
IsQUeQfii6PSdNpDS1YwPBHxqkcHydP/YqaVN6FydqmeFnUaLXFpqryTJS25eZArK3Oyjr3ehLtm
IIIt14kqTZw8fBjayDvnMcbpNJDZVwwSJtOMLwvDFFOmGC5+g+rGH8iOvH1Bd7khreocNZ2BH3EK
71K9JsA6blGHLxWEpKCnl0XzCTBWjHa4Q2jSHAA2lr8gMv7rABPbIfG1xVmY06pdYAlWXaHHRgW3
IcSH5mbOtHLX16SkFOHaMIv5rl30rPXyYgSC5GNChUPLK9bejEZa7TnIhUIo2NuYhRYzWSa88Dn0
kNXbCOeVrO8WukQczUjZHNS8+qREYjVndcpe2TgZAyQydS3poAyrCpZZRO25svCPDQVLwkd90t11
mHxTt4e0kZOAubeKc8NynQ3wSpEF5IxXceXGfOi53T9hcvt/hJ3HcuPYtkS/CBHwZkpvJYrymiDU
ZeBx4N3Xv4VD3a5bdeN1T9gAxC5RJHHM3pkrqUtNqAHlgw8E5K4uUA+z6YdaR8acMcepOWitb8uU
ji/N4XarGkljQIPBHT/XVn5VWSx/qBa+qbV7J6azavfY9WTto4rM/hjZDT7rGWNEHe2vofCck7Ie
FN97VHMteEr4HuM7baj7jWH4BNRJbKe5eiJ/SgM7uk8TUsFJTroPwhrRhqbty3rKdwICxWVICiJZ
YHe8jXn8EgZCuYtKzEBZnr6hZPEepzIGhBMqOPHZR35YWrKgZFngMDHdbcCunlwE6rm/KkIl/W64
2PANXAIvcYwm/SvwAgIcQ/FC+hdqplJLsKkU4igHQxA6Bz1N0g/KTlAytBBqRJMR0siXpNAya23o
6Xi7h6VbwgliMsMt/dTPbh2WyqhRwgQVuOzTFYpxpyv8En9utUX6sIm6rN3I+7fDC7OIdctZugrK
zqFpqKVUQz5zS4qPRvc3mR64q9undUtu9SAALTxIVEy4Wf+KcywSGL9uC6oCd9eNF4Cmiew0bBOL
omr3sRPupPrHzYmUHlpfIXtqDF/m60DSl7pQnNcCA93a6hoGNF25/aylJbxkURhtLQYL3ths41vJ
cAZ2Ya+yumcrGJkX2+jNn35rL/xQj7+PaVPTVVacOZlZX91eteYYy8mhDSn9xnhpqSSms82qQDsX
pwrmPZYVQqcaL81I5mBvoj4qniGmtKeCngMBtNarEgfeVQmGZwVIx1+wnv48KMURwMMimmznBw4u
wKMxTeqKZVnM+ue7MuR/iV4Yb7oVC9prY/MIXK1cG57ZHnNf2eUZ0IAgqe0zsUrpNuevJm/U/DoK
5mvR/NM/nwf5ecdk+Ryz8tr4ICkuRUTkdVr24bOd0yYxwlp9F4AyQsA+3zNHW4tqQE/q10fLxxy4
6M3gFGdKt7FQ4+0GT2fTV7LndBD17VhdWLuQvtSl9+mE2j3iszw22XPG7Q9W4R9lNZK5XWDqY63s
3/dV/kaEEcVHvR/20wgJXJ7GZYdotSiXVCeHa23QEvbLIf4WWelSRpwoSvE2nxhuWpybGdZW+rRF
a6uwd3o8sKUmhHNnJ2yVAL4h9ND0T12hCBIS4VKEyQMeKOu9FBgKkS5UV6CoxSZlV0PgR6m1z+0M
IZlsQ1lEgtR2qamX6nqps6/98b5rRbR0pJ+Nff8ti+vLHhp+U3w7uesR998sGaWA+MVKj8QdA7JS
N0I4VAgbXXRwdsnrc8uHG6+hC7JHdWYx0RXwzgUMZHkmaUgsA89pqRxbgX5/SYH1uevc5KSBf74K
AF0X9MkL1dTpSwThT5/m+L2RRMnyJg2z4pXu1soszy7X9G+ao+GLp9SMaKx6pbpwCi38CyH6MzkT
1ZODLXff5aO/oqRzV/Zdwead6b2Kcv3ozm1aeWp09dKpLXMpFXIY5r+Uc3Gtz/FHwluPSbnJmxrb
hXyK/EFCXZJeafo2TF1/p9S9vatt4a4k0kdthnEZUOc4at2+8AGnWT3bAKd1lZNsnhvzaTRdqVQU
x3ge3XFM9Gs8RdFGnqZuWx8dCwfuZOfnivUBqBh/OsJ3FcuAfKVXA1zx2s7ZT5EHGY1GdYpFWmar
zg3jvTW2ezZu9lFrVDwgGWYd6aeUD6lT2Ud5xMcvFkqeqWvF941yMXUGwOqu/s8helV0asg5hs7P
0cLpsBGY0dZh5CtPY1jz6lJffNcEVI62+947jvnitMF1dMLpHadlvSzjJrtqpYpFttOI33OzDrlI
2a2lcyAzMu3oFODbpK1gtuzB9m8hm85fHyrZyyZJlXv5zcEsqgBJoP+m2DrdVHRJUcYEqQuD09nA
GzlpfxwwTS8Cek+sYxoyG2N/X/etu0YfanwY4tpHvHeNoUDjzPayYS8fbMeflp2ee1t56llZcF91
6b6a7dZBLq5EiajX2gvW8jdX81nhKSv5aSqqn22qDFIeJB6Yp+zTjYHkorLv6XPZrDjyulbPeURS
DHEuAn0C29qcUIw3JaB7rfSRsdNSz1oDvvowlLD7GY9bMDLc5q2WXSMMYu/6QDcLmrG217tJWbvi
hlYx5/pV4tn3TTDspXxDPqiK6JdZEUTbpjJ2Xz3MCZlLR7FwX5G2xgiKKjTpVH0NiN2/WrZXLq22
sd7CqPwY4az+aDTkVDP2Z6BGsNaq9p6BzLgVjS3DFqtCN5qlMlBy6jQLl85E3Lo/znCiQjzkfCin
MaYqIAUAf5+ygfJ3aauPy8pr7FPY5f2q1AflWfj92R3ChTKE8ZMkrcxn2CzjJzfN97e5LYei21Gp
3BM9760km6aClk6h39YWBbWwVTr7ON0UpwhskB+SKmUlZDx1gDNVWPJr8kuCdSTlE47wNzAPUuIR
xmgjnysf+DD2fRUXd1ZFURGWKZVZ1R0utaXtTYqNCNs4S2bsa13bFdEVdrlMkvKumkdxNbPHu7Ds
L4U2OfWyz+ONcG1jx3z67QZ3lfKzqqXA1QSELgzJ7VXL302CaTNvxNCPJFV/vo2pQWpoF0/T4I04
Xs2Oi18T6IjGiJ5Fo58XEWnejpYxv3kfnRney2+BVPfgtoMYPoAbRzQ0eyDQlvIwnBSdar5Omf4u
QakDhie7dI0KrsyxWzBSrAz1wMjfafBRxCSRC5HErnPq8mwUrG/52GKiiqoewjtJYCkF5QtBQOyc
QMivarawC3lzUFqgYKkPX6d0I/V90YuFhutrHbMmo3LtzTU6/piUORm9PxCDtkYL57n1Fn94vAZT
XWwkUilS1egsbO2NcrCzv703/aQrt3UYLbyQDAisV7kwu4sS98P619FYx/0lwCuzHrHkeghx7ySK
juzzO9RJ6jFOxUi1lDwRVjzuLQTQhmm3sE3iVNmZd3eU5Do0YWWI+DZSBQkazbTNSQZbJxms9VJt
s48ApJc3E/AUk8qt4nbOdcr8khUq0LN6qh87OENHl1Xn0uxG0JkWLPgsYFUXANhrXOUt7Y1vlmAx
bGVghZkVJS0v7T0cUQTu5FHv7/rcC465rjX7cT5STGaUIEHYKU/lD+RTxq5p9qygwmM/H/366VzW
vP0Dt+e104sGwIY6QUAUpTGAAY1D9q0U9ZZWxEcRg5XxF+xX252F43jRUHPYUY/0FtL/b472hpz7
4IqLs3/8KmwOtJw954LZu737rymUS0px1auk+REFJesYDN1mh7V7qDF5hxmCIcUvzQ2U7kc5IEOe
sR5UuMx1WG7kXR/1IthrXhqvu070OyPp4pXMxUw79dGjXIU5t6H20ZMVKhFaZnuxUtLFNc/sF6z9
v2qvzShek36s78VcT+tonrxaTfxJFpj5E0CnOQbOmaAWEk0My1j3mduivcAiiLOqX0TUa8/SIkgl
gG0FeQp17Exbu8WDUs0luw5Dy7Puti/NhC0inNxvfW+PgIFq6BlzqTsjeZV0btrLesdWU15U83yt
1Vp/TuaneNSjue2z6ByP3dHzo+xHkA1H7vDsR+03x4QP7eZxQOO6qpzQvMHryqp86ZQ2v2AzjF9K
4hvm1z0Uw4vTVRlCkeD6BbAKVCiR/sNYtzqxSpV+iAsrhyvHBNGMVCbDyMrWlpc4b1qDiGmuE6fc
aizUsqMSh8WjAvQSDjQ99jxJQQQFNFHzc4JtC7A0ngb5m9WYErVLH0zxouHFGFk9J/GVKitMAQwT
9lwzJiw0XrI2i8+Bm7dPZa/ttanQHrjdnwbcBCR8CHZQ8+xflGF0cHsWGXKciaCwE31Bp0+O7PBB
5xjPXt/bM1aqN51yGwOdWz36rae/EuZon13EXwvpW8jA2qwqwsI8MyFsATXDo7CGn3LVOS8xs8YZ
ntHQdNuRDg2Qdh3x9TzzhkobH6cagTHtFm1lRUO+HV3gDaGZ7uUcJs9s5q9Wn/Sz43cKYQwj/DaL
SmPiJn+pRHj/dFM6z2jLsOkblyr23TvAcbAK0P2vLI9lo9uo0Z3R028OB9LbiMZDeF//FVEnuj1h
yDDrRCWN5/99AoRgGtqDuf/jSYpGClja/P//yn+eIF9HbWTBuXHDI9vt+NRTKV6U0AHfB1MH76WF
s9xbnR7NFrXnfD22tXSdGQRqwK8wX9sEmtN83YnpzpD9KLY0hZvlABljPTqa9wCWfiu/kVE01V8T
n6Dh0iN7Y+s47xMHYVP3hwAyqQplU8QSp8SpoL+MtnY0o4hlNxm8Jwqz8mNXrK5bEJ8T3E4nlY6Z
RWaUXQ7ZfZIiAKvm/sagV3dh7hjPnQC+ZxgdmO3Avy3uHFcbt3mRfZ1mWE23FebCMfKdhR2oERoV
N1jC9OveVdd7jdpw+EFA+bL0KZUu8CqtkpLFVDQOH0arGEdyfYvlaDFJlppwQUVFPrthdKG5lXmv
nWqdi9KCa9U6r2oae89eo9UbZIaUSbgZ75OIzmliobcZ4MEcSvhxy7J18ysRoP0mH5zkFCJUPIZ+
XW95M6xLmySnKhdomGagSVnx3jvTh4Yp3/eak1wS3PZ8js397OQ1rLxgYRVm82K0Q3EoY9iu7ILr
u2ZikyVbSkZpQPn3puCI3jBZt3Mv0nUWQWmZUB21Yt3lzgBHlH8o8bCm5BE+U6T2GVr+NHyRR2z1
g68jdtyPrQkrqmL3rkzIeEMkvpPc6E5khza6WX/XOyS48GbyFxw1y2ksPlRpGEFx3Z1JGo0VsQbu
M36MNCPLWjmBdnMv8qH2XAK8QTK6Ri/uM206BEPeLOqB6pycX0DTKOyJ3L8wYoOdkD+12SwopLjZ
zXQuvcS4fVcmyqhKo5ivEaEro8LXhA1SfYjcLL03h84lDbktPjHgryREEKBUtAAnqz4FeOo2QASX
mRsI0m9mQog58JekSieWHtvZTVaCMJFi4YbsVIIkOYV7A3W/NWBIDMVjEyXZNxy2AWmG8NPGOe+o
A8x38C2nug2Etl1Eh6k1vk4tp0ReJdHGqvKpxEnyoFq8YGWs6F8Jls6tQdEfLZmNIFaco5l7OgnF
P4CtAhQzzxmipkeaWNHtF4Se/s2lfXdjIhEm/C5gt9DnesAirRFzNOZopdDzFSrYAFSsmP7yydoX
bLL20aRWG3WgWnt7UT5ik2SgMioHcZUMuGP0+2kqKDCSvr4OijD6yAMED0o8hV9HwjszC3UPus7q
IQv87t7yYm0HNiLfN7lOoXaui5koCOJSCS+JXijUCqY3b+a7yPW2sGJ7yZ2GWBivgNE5/2J7tn9P
mXVtumK6aXi24Tj8938M9C2dZiK6HOUo8IblRfMGxJzixzCp4UbrZ4+5PM/rjLGKWAQIjG5/stvm
pcnmgEeoTwspuA0iswEW7uMHrEDyVPNP5anmbjXV1j4wkVFK5gVdVLpqp6Gdc8r57n1arbdJYrN6
9ftc2RLcVqKF7qOdBibB3JH0ZMN/BPjoabG/kTY11wq6i3lBNUDrlGhD/we9WvA4Wf6WCcJK49Ax
7tBoW/sYZeayRZHVsR95ULosowETK5+pXq4xD/g/Ev7HsPAxaIwa9jblkSW48epWhX0qXXpi9ix3
Nxrih6cwq7YeVMN/tnLp+u8Mg/kj0AEbGARU6B7p7vofOchxoeWiqZTgNJq8vBTW/KpzmCcAqfUU
wdNpgbQTSwhDnuIWUgMJxXAuISPybMjMVX/IMxnTHqQFddpCPcpPwVTtvSsS3H22ax9iumSLvoMX
l8K/yb3kVOglmzJTfBbKGW8SXcp2NE4KS8pPbI0G2Y1O+9RRJ187VP5PeCyXqlYY66LUo/fGSzdG
MGbfJg/0LbugAccNGamBoaVLFgjKatRGxmphfem3jflo9h+to6g52DoMx7iBnrn0h0hZVE2v7UKD
+Gy3UPfSXwX3CuRhXKg3/OaEuDczyvAB7sGOmhDOMQvW2s2GzPIZ5A10RN7NdFMYrfnsiPpTZmfE
E3i8HCSL7uoEDlpxadKr1NOjj/ErjSzvSjGkW2tOBLOQaKTZUKGsZK1EATqLLNIEazEnkekGniV9
y6AAaWHWp2WhuU2zgsmBqIveKK6OilTGi0W5dueC314j4ub91tSBQ+zuZIPp1tFRerayThjPCzu0
Hslw19UMfmldN7dItxIQ0jZAJEsdDMK17PFJ4BUEwv1AsZiy8gD3eQQ/64ytvo2x515tBHWLBu0Q
RL15p6HoebylnuJu3dwN9iV7y8vomICfZu/nNHn6xR2OPRVVvHJkH8gnJO411lCiL7rEn+ETAnJT
5F1B1yg3RJTsd3hhnkA89JpdoanAVh0LmHXWbSRgybKNvZmL5NOr62QZNk59rSACz/bmNfOQuUtD
q3ks2MgtWtl+nuEWs28L0VexHFSlemjz0NvSjZj2WjApd0Zelau2iyDVowHv2eMUXjTe/Ur7zkc6
y3WVq2fV+N+oJtetrh6rqTpn/wjfsL4mvd/uO7pwG7Yxi96u1u2Yu1s9S4zXwAhQTCUjekite3YR
xVtG+mRV5kHOBkpNEU3r84RaL0LjLN/kqp8eau7yZ1qEBWzEnH2M2enPuUXcHpJG6pyhtYGmJc7y
oVNUe13ZlU7t/z/X5JFZteURN95eUxRxjl30pk2e2pgzIBas/nn8MX5nBcjhx1Wxq7G7sVSPQPbf
bWuFaxNA3EzecVChukKWosdsB8bByIjLlpVQec2Bze05+zptk/+yZDRsXXaJaqYLeXMXFkl9pevZ
Bwcj1VHSetPKUE+D9ewWrn67UjTOW+vX7cGeRQUlYodggvjQ9KmyHgfq2S5qm30Rqc1CRj/IOIix
qMkJUAJ2rZmZ71iTa5b9L2OxN3MRfuFk5HvhWZpHvcu2YYG4fwzFaLOttjAc/0it4WHMOxu4aoFf
Y1blaw5kKXA6z36mmIyWcGTk9UEv7FURj80+E7mz9BrSCFHuuXs1taZdjWhj44UZMTNUhivFLN6c
inGMAM1xIa3JbmQN9/HoRButaIf72oezJK8FmRZtEjdbQiupn3OGnbHOs0eXlJfrbJ+t26J41Qj4
Ok7qnH8BxeWKqME2d0kmmqMyt+fCSUe62CiHvMoIGIlxyAzuT6n9ksiRKkaChUQi3ua5FWAItuM7
a4zAsiXhRV6SD2YjijXOsLmax9Pkg3xKGmmwxyYAW/N1tQBRhIb6zEqyp4jmDB9J4sJ0j5vkvhUp
aTL+vDrsuTSvFX1aKYnI8le1tsZNEwQntbLspTSXygdznjFiPWNrPqh7NBDpnrOPxDAdFefkD9gT
JjQ8jyiUIVHdRdEb/toqK+WsIK375xtFd3+34M/fDktTNcsgEAPrteb+YcHvoqFLKvotp8DPzaXU
3BIv9NOyhIvChDppTtd7nXvVq1Na7SlGdbJg5We+Uj1imUsgZRCJ+tHVcdPLox6OwVKYYG3trnrE
o/x1/dczfh2hcyhsBI7SCSWwvpxEgqsGS8w6Mdv+ofr7yJzMr2uBVXwWBvlSw1wYnJqe+EQ5TaqN
eJ/MCZrs1GlnFzD8Np6PrPJJ2hrt9AH1vv+up6zp5vJqnNaHYvKyj2k0R3zQ6kKfNRKQYNiYAEpF
GTKLJwximG46FjTF7s040/n+yurb5DVrxmLv2x2DjAx6FYhHV9S1xBZXgUGmMBHzwnf1s9CB2Weq
goXMvyosnohPmgn9iUHOQOVPGM+IuKr7eHhvx2RNPIW4G9WR6CoUYVuz9aK1nJsnpIzbFJnYkhr5
7Ni0xnBdVcljq0fso0ZIRHUyvip9MdyXljthBinfpOqOuiIZoF2voC4S2kqT424wZeAOM22Tqnl0
lWuBFJauHweoZFWFrBiMKOgHnas+mf6DGDv86lSdbDI31l8GsUxnaTSvGyw9bNfo7hXIMcK4Cl3d
CpZcF96Aah0E4utI1BofGXszue61Y6pKgarAeu/10zCPiEAgu1Ux5+XIh2iwPhPGl2OKFGvt4R3d
8opL4DqU2ljHkQhk0+qtWv7kWmCYkwmkDfUFsfKhXiggHEbJ4NPoY+68Wol3picSRt60XMuO/8Rf
v3KHwdowbxAIPLSEm8wT5twJQ+6j9nuvSIE8RUO1Dwc7PmDPJnAe096Dzh3CVqlwl1pSEvhhwQ4q
m0hdArV4x4Spbhw9pl6OF+Vp6rrpAVMRXdWWRgUIDqmwYVVVnFUl5XMvg5ggNOszrbVnWXWz2Tcv
DRgTe9tRivcIYfFGbu5JHBgf/zjKkVUhrVVPvP+XW2QmH8Ch1vNPZcL9FoOnWLhalK/d2dqUwLhe
TQSbLH3NYl2k1NW4mxz9xTD8a9II69kp0mrLv2rtypA3cwgetHx6z0Oa0lIlDI4mhvWoiN1EFeIQ
C5/c0L4+Rx1JtU7zTQ6Jhe68sOfrrq106eZUDXe2A0sNfao35NkxKUqUKLk4BlF+1vygfiYK41mf
1+FeRXQB6mr58lnCBmf5ykvUYhsy0eMFykgy6eaH+O8ju9+IxFZOt79qsuz+LB9QYExbxDE/7Ixk
w4qdBNxxHZmyqjTifDsMChAwNlNAiHFoFcpolZSCuqdWxMM2VJlnk5ch9LNOKods7QRzf8eOH5SS
xrmsJoQZ+QvI42IWUWSOZIV7/eeB2/x93J5RIJ5mugyVNggVizH89xVO4xR1YvqGBSrVof5bz6rQ
eiS1c5iib8FaqlrpBBGrOyTTua7N9uyrdbkcFW8A3qs3inGW7cOwEd/NMRx3dmET70DddkYpuN0p
L0cV1BrLf3mUYyu9ApJCPzwf5SoVOVuAP3Gq1qKKnlvLbOpsNvTxj5B4s5WKnuzBSMdDo8GAS60+
Ay2exG+ZTd5m3vnX1HSUi2D3MYVF9FaPgbeNwJ+sW2T3b9FsXEtnyfU/v3Hu7ztT3jhH1TxsR7au
ezb7sfmN/S/ISKOMqKS1BM2PnDXy0AD0w/v3rLHBjEFYXVjwtdD6i0fUCtl9xRbhITcw8LJOXUKC
bdeN1ffn0GYpIo8qr28WlTrEh6F9oxRWPclx1A1oNivlNotn1t6E4NwJkgl3b/qmTngXs8kS6Bgy
dJ16f55nFGnoSMCVr/ny4f6UXlqcVjbkoPpRjhRqzI1n1uE9DTObnEQCYc1alNcAuAjzlTl9qwF+
5nRJljau4pVbiOb273akDxRExD/1ZjMHmvj6EVaJ9yBYZjWMWU829SZcveW3Nqz05Y2ObI0+t5mF
xlgpAgUlJW2Gwkxs6PMM1p2IXNjrSbmnRZpvYp2So6wCR6mmr327Estcc5oD4YLGop7HP2VguxJT
Ig5nCQb6mvpfEDnu76vd+ePVLfb9pmU4GoBN7Y+Vv9ZBtI1hlm2xmJanLB+Hk4Ny8XZEp7I6jJaJ
bOs/lwo9rxZVHGQAi4OKJTBaLPk5sOD4mboonW3/O8mU+cVqjWDXY3lYyFP0/N2eAJJP2xQ0rDBp
nbtF5Y3OuZkf5NUJ//FWpz236Nkp3sMx8uzkXi5SpUvBogIYFeAIMeEcRswE6lIekqmo0e/wtZWh
6qd0GoxP4TsI+ifvu58AvhjTdHwKncjYuDOaofRy5c5Lma5bBbh+FJhrzKPe9ykcvzt66cAxiadV
6mr2ceCLuq3z9IoGyT5CobePlZlUICoKk6SQkLKfkxCgCp5HW/zqabuVN9yuqc0lLNT6My+QdYne
Dd+I/K2XDfrCx3BCzK7RHb2PBMRpGiTVkWnYPEyj8P4FF2TPK9Nf+xr5STvwox3TshzX9P7kwcWZ
F1iOVkVbTW+VrSwNWZR1Fua8FM80e6TgSeYMiKlqpcaxw2qVU2UqiQ2HgbUWjVFcivpJ1pnKrB32
N9WGOVjOBl4jHNiBGvDsN/YV54iJ1t+Mgao+A0e+2WmbxPgZzwV0E8nRvSeMHn7mWL+kUZEsejCj
31Wd9D9ZVLeD4MAUPlOXqjndVz7Evf2WT2D0srhtV2VL5bh3kTLgnR/vACgU+kKo6pmEOL62YkzO
qk1BnmUKGgC9ofmApXuhqchYqSl77ZLQx+6YTd+ivPd+akl/GXUj+xR6QOMUE8ILOaLRKk+K/oEI
kGxjxHV3Bqnr7ZykiXb/PNA6/3snGg5IEM8zTNtzzD8HWpS6ig5nJdmKQtNX5byWFrEm9nHrfMaz
r1E+yOv4+JXhxXVRP86Gs3agfzSgDUZWzYCDqYtGFhQVeV8iL12WSOxevQCuXaBC49GcAGIl16fC
vYu8JDmALNXuIHNqd06iq3dZKWBOJAEJkfMP5DX5Uysf9HM6XvFUqXtHLZ7qYBakmjAVejTu8KQJ
jhorcbB63b/CDP6ea274l2G7OPfRPT+0sfbU5yPJMb52QDX031jpHtGvXzj6E64nb5t7k7uRVXqY
vL3ZJqu+GtytFF6ZjqVgSSBnS57GpjXuCfKKFrgT97LVU7RIG0slzu/KWi/uqqRulvQIxn+5qbzf
S+fzTWUQoqC6hmOCF2EU/X12rAQyKl1o8RarSnLXzqHrXsVSC78lgRuSzBCr0UeQGwRvz62fyiu+
td2TtClKB0mZFQate0xsRpO8R7ppnpmv+oNvUohUrDhY0R+wjo4mdFkDfnBrJBU+9aZeZZ0woLJ7
TShJI6hma8UbULwWzfDRV4V6b/UaEbgFTtgoUuMrtIxhkeRBs5en8gGtGwDwrLs4WdosBVb09S/y
LPvc4Lwlv+/oNkl0Jz1lk1by7Qx9QmGsNr32zMgzmUHfBoOTPldN/YKLkRAB3cnuy2iCtjW1LB74
er/qcFoo84n6RnS6sWMN9ULvT9v/Ij3FNLSXeZO227z27IuNGErqIGV/rBf5R5SLbNeL0dM2tHyX
Ne65a1Lanywp8jtZmCsM49ObAM6FgfWm/oXxwfz0KgK9dJgHh7BE7gr6+l8qR+afVTQXHpQHDYB1
MC4VVc61/7VUaunfZJE9dnurM+07PZ5VIpW7NTIjvJiSymVqY7K9QYgjIyq4i+M3aSfnvVRXGH6H
FSIaIMSSMVQWsbuwpOk1Q9t7vO2q/VtxaRhqttnlN82Ki501E7ICAqlOMQR5aRiolCHA+46ys8OC
c1umWq0m1j13bRJPV/lpDk42x66znJVewRwzPn6vbDOkRo1iyBbs6AJSHilVHKL5VOvTq1P37sUe
Svvxn4dATdbWfs1RroNAzPIcx1A9kwGQXsjvt1MdhXlUtop+vC02AyJ1l2CwaRKkXtjcmYG9wALu
ijVO9nBl9oq6bqJhJsjWxibJ5lJ1kKcbrUVLHdESPdkkApwcFFunnDq7LDm0QzveidLs97aLYlN3
avHQzFonZ7TUo0OAxu0NlAL/puL3tKRXrfNRj88MKyt519Il9Z1qgoREll4u2svt5vatauVmPSru
slLXVOPrDebHDleRFeydWefh0iTYBQQXYscVRMQ7+jfQF78OgKtXm1rADw1jLz547FaWTqdZLzF3
NV32vMKrJawXO0swh5C/DY4zsl/KIUeXOIb57IyutkajWYfEd5uNhbeOmFj3uzs2RIjVZbZWHdK8
gsDpzqK0g5UJVcKmPb52U6PZqrOtqIm9cI2ZqNlK70rJ3VQ5QuyarPyhDbG5gTsoslXoKAsmx+SI
HBrc9t8PAsHzMoxpn/y6Jo8abbxnG8auS0ftL1wT+dKMstMV2EtELpGn6gLbgG7SvAIte0ka0//h
A2QxKDQe8IBrOwttlDEj/eiwlovaDtXHNKvfCwW3jYMp+M1ogWXPmomWKKZVX5veSbgi2wM5tY9B
nwHzDml7VDED6ED8Sq3FwVLiw9j0sfWfT+UYQpwK4J+cbUDttz8yMSAwTJ41LBHf2xAwWtk077Ci
zYXUSsoHfzYp5SaBM86oKRtLI9uvopq9v8nHK5FcsdYsCyg9F3mptVBLl1YN18UvtM80cAnxtNuf
JIqmP1Ns3Aleih5F/+RARiNrz8CFFQ6YPKrhnKTBIsOVvSfyYQdCjHY9lJJ+pduuvmZhvkcnR60r
jaFrz59qpKQa/kk04PLPdROsDv9yA9u/b7NBUkK/c1THcTTdYKvt6r/fwG3hoiILSmtT4ZR19enV
CwlRgiRxUKXHF2aYso1Hj9hyaDB7Wb42PP89dAfjXhCV9oL5fXTpgcoalempDEPzvJmpwdZv0vql
s2xz/+t62CibsaXINEuiOmS4m0A3IFPMot0eJMS+tnBP2sWjpDcZCZHBUW71p1B3uqekx/5ZZlm5
tVOg6Da0H5we9O8pW/sXsHXumT+CJK8OPSPrNm0VmnG6rSzYw2KOyospd13YEW3AUYul0lTMwEbU
PXWlfRyxmNzL36qwelniGdX3t1N7tvkihR3Udrg61GAXEg1UmfuwtMSxh5+68oEgnWijVLcH2Nn1
KYNMQLe0ge6AFG8p4NFdUcudiCg41HjDqaibDsLEXky7frK6FbN0upNeQMMlJLwsRnCEKZ5yp0ms
VZ6SYXNjYQ56Ep0M68a+6DNMvMrA/HizEYE+KyLdJ93J/yZ7WV3qXfx2qPdZ7Xwr52aX/PnfZ3Fq
umvb9o1tbQf6/Wiznm5n67FfAQAjsDi6p3ap31uV1y1MzylWgVvYi77OE0aBHodzGNEvKbR3G5rz
xoRDsO0DR30fQgjwLXUCWCwIAnvEsAF549Ij5PlIf8JaL+/GESkzLYd4SdHnYkivfJcmrMmq+BbH
FGnmMrJAKVaxvaeUNR58EFwr6YkasvQ4lEX27FrZlVzyjsk4S97r/kUuRoUX6Bt/6JOdMqnyMp0o
SI8q7gjbLYxdaTrFWraNtY6UKDXFIRwbRvnku9qWMJnu9Z/vOef3Jeh8y+k6OGBd0wF9a5bzxxK0
BYNHch+yiCy33VWFzFPyLGqEoRuipfwdKjfztRzmdQE3Uh5bX9fzJIjXzCXdlrqPRtgTjCq5fcvs
DBaOEb7WskYuf9qa2F9NOgDo6qc3wCZbWTLjFjMIM7F4QMdytFu6AnjCo281QX3ZrBkefJWwzrb8
AGNQ/x9h57UcN7Zs2y9CBLx5LZS39KT0ghBl4N2Cx9ffgVXaW919bux+QaDAokQWYXJlzjmmPyIO
2WU0MdexlVz4hPoHeQKRJXsx/vZqDMLiOAZceVvIncmmCIAhKQpOB7kHaLl8isdYQ5yilE/hshe3
WOEzzxnvUqp5jhAX6JN1kOVj3BXe3iT/B7wX9to5qx9IyPVuY6Ed/0DmczGuA0aljwjJgcei9Fo1
DUnYOOXqf6kXrX/yez0dxoxB0eN6qquqcsX+l3pRDh8RIjZHQzdOaZTXfmtH+qvcc4G/XGdSWNEM
a9ZLW1uIhDJggYYW2S9Zi62GPIRprS0vMbEUJ1i1TBPLzn6ZywgUWZtf5Lc6CdkgZaq1y5W4NCBL
cG07FRjLUPTGR91ND4VNcGS2bOTjGHlCtht4wqOTafHFuMZrFWrjaba6wJcXYr4knlVzbN2SQWgP
ApEGc20u2CzGjgDqAhyxLGEDPPvvA6ZMycBUuCBXRh03z0ZZTP8yxHYXtupfikebmtEwXFbiGndi
8hv+UTxmOYsPko28I0mg7qYi3J1fvfwJ9TxBz9A4LxqJLtvCVChYiE+7lMz31qXljh9i6q7e8l67
bS5EoWAxqfppHcdFdHUcVE/hUNZHw0BvsKzwUH+MD0nPU34ZCti9gWsmFMFGAvMYeoEKlOCQKoaa
aoYDRHtibTjt0uwSpqxCQNZrD+EY+H2VhytX1Ae9czJ0y504/9lomjBBFbpwXp06u5UCkCFC1Yb4
VC27hVg9zFWI0edkNnzbcgzdQn5wjR4BqDOJ26RoP2ULctLoLs1ap2/Qo5vvSBTxzSTYU6YKbEuw
9BBcgKTEniLa+tt3FnVu7gJuQZvZiQu6OxPeadvIDAIG16VHdlUVkc1Jhfo7c1Kvh/GQawsx+79h
6hG96XVhGRFuxsH8l74JXfy//925fmiceKpNV9+iu2X84wZYj1bbKmlEyymf7F0pDdGT0sdEAJFc
r0wJ8aNdHFm40vv0IbIc2KKK4WwK5pV0d8NsfPSM8WeimjHWSi3c23atvsS18ZJafDpL+7Ah3Ycb
wrjNFxeJ7GciA0jWXhp/FRnsDHlIftHhoXtdvimau8VmspjleyRbB+mRrjF9rmzwHCc53+LqCbf4
1OBV5+r3sg+dQxha2TrtMHK5cqjKkKHaoNwp1mLJohNLLmXWriobGL48Yo/k1EEPeNeDwjv+OZTE
6juxQ8RlF+Ro4zkh+ftejwv9zBT12AzFAQEYLqn/Rs3IPUW1tnePMYIGJjoMa8IxK2+CcZMz4H50
9N9BBLUVfckrYPfRwr6Xm04Pyu082tiwKac2+VJsywbuPAyUPYY6PCe2Hh4o8SnEAF+Bn4j1dWtF
9GuEzfi1Sz+iDFSwEMq3aYyZsIhdXIzEroQsW5adiSMUOe01n5wJgRPuHiuMfTLhq6u0+QCdqdd3
U6hqdzesVil2zSE9wx8golUdVn8OWXPxGBu28UgXRPikhXRXoWuEkNqIxmUvKbiaMwMczcN6jJvp
CWKbewO576tWhEzSpF+xR0EJgEj7dlfNdnMa7+1c9e5pZ45Xc4HKWV6o6dZGJNyAWNJJZ2ZpZzmt
IQh2TGt7/38XB8bf74lLf8rkmliaEugWGOAsTce/PGI4nRXdUotsZ8ykwHvN17nHBO4lYrgmgZbO
b5mKhc3z5vJBKfEVmaNZXQiqiU4Qkowtq576ufHwRs12Y2yMWhvxb9gQOHNy7lSF24DphRe9XIgU
TayXoKIYt2zpPTS/vUuo1raVWo1+o9nxuXWJdjN59q7lr9w60LgEA7ajtKVObUL81pf//RlY//gM
PNSWhsXtAS43H4bqLWuWv3wGoajNAghsdzS2ldM+J4oGKatxrZO1KAC6mXK4E9Ym8VpUo9KbIV9z
I+Z3Muwr+JZFcd05Gz0Z3FvapFuhNe7JYzGh0XBo4IkVn1EZlS/FOH6V0IAFgTdW6vjd0W0TAbQ7
PbTIFBpkz/tWrfpnht04QZI5/94gqp2i/KsKKHxtW4Tcj6qhE2GVPil2oLzafXOf5gZtSptvcEtI
6SpULjk5BUo3+X2qaAdrdFeDMLy9rHYgfLhb9CbqWr7MiJG91f9SespP7s8T1+GTtV3N1IiMcBis
/p87rzUbFQ/lXj/ec1nTRWhbI6B8R+b84ZWh8rPxCIdJdPjsMpsnrRaomuMQJDGR8v3fPbOycNDE
71WgsoqtMyNdu2qf0WL85fYiO8oeWcfYAHFnrmySWvPxXRBdAsXn917EMUyvKWqA0gaTOHo5lNqS
tsZcql8tgH3tktSQRZjRw9qtb22fOVDXBBZeF1OZrakFQLQZGUcHCdgy9nZkwsFdNpEZITHSQ1iK
hheuswRYdTgsgUh29pLbxXiW8jRjnNSLblPXDvBveJquyzzOHmqFyCsNqsppDIlXdsg0WM3gmAAK
OukjyTLuXof9sW+spN2XTGLWMhVJbqo++wXJAouJ0sBNLPJqL0VRYwuQkF/+TShleI4yjUySqu22
atgDSW9TeJ9Wq5yctHpTx3LY5F7D0jqFf2gVNU1bb8A2nXori5466aL0itHYBOdOYFUh79n79r+v
QeOfXHzX0yydDWeJrpqO+Q9RHbr3Dr1mbx0Kx/oC3JQHABlQz90cYUya55Vc7es8xelJMRX1Elfb
0984oii1r1lJ9l8VIGLawZfUt3GizhfPdH7pSflL0cdPa9EQ9lPqHpdX5HmicMODpLjjp6JHJqlZ
mUwuc8+VDdMyq4v431qX3tLZ+HMtkDTiaZ5l6JZh6rhoGLH8/S5DryNJJ27Bh9yM7YDev/3shkm5
SkJt+OI1EWm62RRc7URjCqj0mj+hTQ9WGsFAO8c4j2iqHzGazxeSu87YTuNd0yJ0DKpB92mOdFd4
18saOZvRTWjPqKfjd7VIx80M4aJC4MSCrBk0f56y+DQ0Rr21ciO9sbImA2z5MuhzQGew7o8yqmNR
1hJQjgVNSR4ZfIo1yd3Z1YKjup2D/ksM/m0dmsb0tbWM0xin8WvHhTFhShIkukTzWUwnQUH3ombv
PMS0m0tiyCrN0vqL7tXd2mmd7mgBD9l0iLY2cpoIk+cptDj1y8Fxz8moOiie2Iv+uwcrIvWL1HiS
FZVU9TZJyOOiSmq/1vR7/MfgiGYPWHSHV+qH4JLjia6OYGnMGbaFEru7tCc4OfV+kTxBV9gTIliT
p9Yw8jPQIiztM0wGZwCJzk5NrWoluyQj2Qxn1fvmZepPtbdR7TqZsVWV+aZ2ir0JIxHc91DHBywc
LRv4C/MWZmlHmG32JlqSBFDiQY6I3a3kLcn/EAZkuC7nhUw/jCSBJfl3Pa9IwUL61KnlNXeUAtSL
fqLCnQk1z6uMVYxSHFmKlvi2nbUxF/WZh1N5ddPwk16m/qC0Srauce6hVOHsPEmAYNR53msi6sKP
kECfRgT2nxpt/4s5OOEh9nRuiLL4lWdpYubGBT+/8Dl94+8TCVJEe62Gev7FksE6jG3nQB3wqABz
xDmGPmWP9x8xtWrCEKVKrE7rfmvT1PtUGNGdC4j0Q5K/4LpjqcJQyp/Csdtj3ZlultZu/gx6LNiX
g5u6J3Dz8mhS6N/giKYnyUaFhLDPjIwG6zzvPFKzr9kiAaGxw6Kqo6hOp9OfjRl306nUnRF8VK8d
oejwQY59aZ+UCevU/76fWTJq6e+Xu45txuZepjH5M7R/FBVdH4TUo1l0JKuTcGCLgveuEFSx929c
aFObEPHwQ0ND1E+6xo+mqLx6RlitsBBVuyIwqy1WLYwdcIUu908SQ27qZxZEdSMvg3KxdRcn+brn
YvZl+G4YxtrWoX73M5YnW9OaRzAl4GVrGr3+nDuunzMD/IO4t+zPCgTSo9V0LL6TQTtBQhlp/KXY
LfVzO3nzywROYiUf2BZ8xbYwzlqfmb50sIqMvo1sIBtOS7B84rmvae+sRiVKkfT1G7sBludExncn
V5tXe9K/FpY+H82pM68Kc79rFZtib2E38QLPn7jAF7UpYW6Y7KgfwVKHZTuS1dov9Wbw08t6OhJK
4ewpI4jUCjwLXWxcrzDvZ4zrh4VGRehZG6V0GGl2rOVbZg1Jj16VhJ4PiCuTKd8HWuv6dp9oW6kw
Ahq1RzRycNWgfwdJ9bPkzP0IlmupcuL7t01ktp/tlOmA043mjkZwvJHtEdkZqfK3KbCiB+njdlW7
3c4WE5Texr9SiejZZdAMQ6xHOMjgZUXXGy8A2QQxWcQL0n/QzC/ySuExafn2ZB+4YzTcinoCBET7
WpndePrv4fsEMVWVXUO0R6gRsr0gOVVvGjfEUoDU4zYWLpuitoi+lY8V0yoD31p0E/WimzCsZqeY
Cmim1Iz4jwxjN3z+fvR4q2GqpmcpBZFS3UIMe6k7TcrCHwVK0cRM0zW3UALYWUhfg7rhmTWSbe3X
vb5c9jEdnXCO1wMAwIuUm5fDZxnY4KWtxD26bTaTAju52vp+RUYBF7QME068aZVnivcMlN686BoX
DPawtVlb/VZal2ciy8KgfCWz9kVb7sZurVe3rEheFNEyU8N7+tkv4GuLDiBJC86AQDRBCot7r++2
SUZMcps6n4YoxtdicsstIND4mCdad09AqLsmIcuV3HVmkqvCtXwkv+UTTD5lpeeq8TlElu/pk3pM
lF6hk8CweeqU6pA0MdE2UptiqfVFU2vvU/O2M+EsR0nPW/49UwubzzLsD5R6JgLD5eEMqh2LpT1X
IMRWAykdO7xDztorg+QcoC77dL28PEgZAQPOWxcRVE7lfJDxU/YSSRXW6tZtuKt5ai0OCrMGqYyR
P0zBCg/Zxlxv6wIxAs3N47DoqJKiwNtHQQIFPzmXWdbvWRGB+1E6kolar9sjA9cOpeJunOXVn7cp
FGIrSy/7o2InxkPvhWe6Tj6ghehn2RQr0At4Hxn5rMaGGYd82nhl4V5qKDJX2xEPcBbbc2HD30G9
+qAt2Jx0Vpy9mjJ6rMSYfU7tEfisveF8SQ5e2Lm7JigpGswmP/RiIMGjSL5XrpK8iJ6Vg6ZMyIXd
4tot0VAdQjTYZYK8hZklaEhOag4lDhHRkumSJOJnpXH7BXgTMmikkQOtv0dCGaY5I2/NrrcEJOSH
IQl+p3QPnFC7Cg+I3ySEcjYKP7WjtXRWF4CvZ0Q7u5t4svRVVu7lz5ENCMHyfsy3hR0wfWi8jRwR
w3dmzjJR6akoANZakzlv9+9NkgDq1TCgKzOZCDNaPdZd/SUlu+DSZH6qWeHuLqQtlh+uUGFgoV9s
3wqz+SRh9xAWefc26c1/Dss3DMZeKZ0Epeny9oGFe4Wrxk7yqyyP5QZaVO6LoPbdxih3rmitPecA
/MAm3DmYoTdZL350SWtvsm5JOg/6JzX8IleQUn3B/YnElgiwbt8y3EDpaLyOhg6i0imL3e9QoShG
l032yjERRCoRdFY9ZWBsoEujUqeRvMWwFj2Hea3uUDXekS9l1Nj4xZ1u0xi3WRvab6AXv0Jk6190
hXQLJFMA+6wYAiKcgZWJaLPpCYQY0kHg2SM52QAT5StNTBxIOu81CfKbsgmxKHQ+LZot5ogh6O23
EZ/taxKTbwXN5RS7KvmNQQ6FO2nFA247+HgjcQZFhJJdakiJDbhPxRV6PO1UTGeyjE73HBB4AShK
tWLcTqpOhVgYI9D+njtw1eEZsszIlxkZMjUj2yI2xSuNa+xstWZ5YjH6HAbjtobqASKLAiHDHI36
rjd/enCjWEhimO9vTtLZh2CpgCKakCfcum8d/MSVzB5xwOFTKYQTwM45vMiN3fTB+f4Z3F3Mtt0R
OmYp8FECsOehiYMlTfUyWDklDc8u+dVpenqU436LRis3J/QVGKx2UqkkN+R+0e1ajkkpu9OhCKoE
avTlc6VDzeW1uPcErqYDGpLEH8auJioQzLc9KeIgWNr5TW+xgsU5aibRXhNC/Fp2DI3ahaGSAeIm
U3fMqF3OsBlm4Vw5uP3g9nFtF9GuTF5RgiirAuroVw3dJ/1ZDKFeqr55TJbcOLR/VE71bUJZjzPF
K8obM6N6Vah2vpYkELlX1OFHmatP3Nfnk2lqyDtIufqqRINv6S/VXONZRamFZs3eoWXt9y5S+qPW
ox93yDlO/Mmsz9DPvK0bRNT+BtBpe6Gn232gnRRULmskSD5ac+tVQcl7gdtpkv4DXuCe/9CbLiBP
wQ/+Lx0/VtR/W4jSlKEcpeNnaeBemMT/cwQ/TPasYd/SjmjTolta2d028yoP3bnT+qmiGumlNJTX
1lOyKwTDCLwsn2VUhcUqEZ36MKXDjjDVclsNeffQGSVdUaWNvgfiO/Vd76ut5u6nPJ4e+tkrMZV5
XzXRTg/GsmlaU9s7I5F3C17dD5oW6hvmrpC/5rbyeMpYeXdJu948BnqLikJQGWB//LEgHMBkV0fM
9eUjFSpJ03Wo7NEfDrul3zPy+V6DioF9ORnUgzmz75KESIBf3R2TnU7wpKsiHA69ZyYYYmrwz4sl
KMuzd7Otim09B78KTVgnj/y1jUpY5l5z68avsA8Ag1WgHy135Gmaqsucdbcoag7VbKuvrlQwAA/f
DCEh7svxadpaWPm+CyK8MQ63P9KiuDYEGD27Dh9lI0jnqlMMewlTPDpzVeeBbPZucYzmP20wc7ui
WqmRCm+EE3Cb0ho/uAqsvzCL51MrmLV1nute4mqef4OkrCitDrQpWe66DLOJkmzzrap+b+Wcttb7
H2UTj/8yV6MO+7+9DddwHVfVbJrFtmP9Y7HT9KTFjEUcHO4nb1ou1108J49tn7dHuK/R1mycBG1K
hlc5z9MHw3Z+5CaOSbWJs60608mQL/NMvQ5mm149ciU2snUfLmLxwUmqTbhMTGiafuZmNRylmLrS
gPsxRCjoGCBc0TtkDEPXRgDJaZYuqrdeix9Hu88x55BgOxuKL/2qOMDyZ9FsmhA3s53XPYjirH3C
xC8e7eYe/sVQ3VhBb9SPjTGgIzSi9tiaLonCQamvU7yy+2KE7x+HegdyJKcvpQp71UdjiYRrwWMQ
h2yvppYAxI76Z60E7Qg9t4wO2KZ/RyVVag4nH35any3RAEv2VVJqC/wXfibnh03jOTBxsgFM09E7
nqIspHBwGaGWWm7699S3uDG/IY0iZjDR94M7YkUtnV3VFtNTz/BdMzhHdG2o9gLYyAMLxWSthkZG
lMD8hpjQfgqU6OOPnOSPugTNcbMxBxfIP4mA6ODHZIAT5QwbpzZth8SVIFnh2juQFIZ9MK3jlRfG
S5h0VWwqM/jFWB5XWa1h+qvy/DBlBLqzKoDJoMWUPq5RXnpnqA+Nnl3mxTYUAPbo1pBcQRUSI+UX
0gUj4ro/6/pHhz8VYmvLgJLOCPasvkq1DexT72ZGXXDsqvRRvvqzsQ2yMggzq8sbvd5T0mneChpd
0axb03yxlJnRx+BeNDuIn2Z61k+6pmCog+nQ6LuytdrbAG1rBd0+3etoUm6VoXu3ok7ym2tgMzCT
213J2ycjq+7JePLSIMOqM2vPZrJo5JaZao6sopp1Z627fWgsj0LzmjpmvW4qhiYg/DkNi4J4VOkc
YzHXbO7QAsSvdF85O1ax5fTPbYbapRkEdveWZEoYY8CRoudC4SopAht/qXmGXVA85BWWEGv83llK
8Ntw6bokrqtN1V5RK3yVQV+FOd9f0VY1XuXXMvNVM86F4r30i9/fJsBJbwv3I/QMktIcldLKybVr
rGFhrqrpAzOru3dgv60U0V3lanGCn71Nxt7YyJeBoCchX46x8YE433pSXPArTum88mdp9lmtZjut
LaKPwSYtt7pKJENgdT8doH2vCTfQLRwjnuuT6flePxjXolNisCiZ8dW1nWU4o26qjDJ1IlzikVWU
UijlypimYd8taG+5aQ0hdukcRf4sMCZ10Kj9e1cmiQBieUsGndw4y17u5g33ESbhyyA/wOyvGafI
AQqNnry42LTXVvLmVJeEPVKGydkicohgjdlD+IjJGHASNHTKaTPdnGJ6nbrkISwm8akpw7pYmhlN
0byAt3DfA7oapE3CS3Rgm7W9Xa46J9LIS2XlK+91qj01D/dyjc7VFPKc0Kz2S9lAsvqEceEQtIFZ
d6wvBDWMPFfY85ZjJSRrhqwkxquBOSxC7Pry583ApsFDaH95/583WHb5yToFX+zYrZWcwYRSeYxG
EJc+giR6KxeSlWiXLnMROfueYZnflo53NDxrx7Ir/24mhCXzmFIeQsPqj22y2J6iWjnrQ01cCw0G
H8E0fAbyVS5ZyLBKzlSzuNiDG7N3aZWLfdk2BE8s+bCkAnaizb6jR3VXeZBHm5R5107efOKx+jGV
TU6BvYKG2v7U1c8umNMfBB6pXPFR84zmjs7EGDyadZN8yZt3iVuiMtG2IiyzfTfRsOurbtvKjBaV
+MRcraOr/PzbRIFVRBrhvjL17w65Moc/D6g6IR5CxWOXjIp609MyOYi6afaJipTDi/m92g7/2GCY
ZBsuvtZEZI80m6ZDU+bMSzGDT2eWv6sgr60Lz6OVGLvmNtYz0Uv2eRyFwd01S7iMTAvpYVldaWsD
AQDxIm2zllMrF/yUmr0Tnu9U5rv8B0xTZyQ/5Y1+yHX7nXSazf0P6k5QmZnxrgrwTad70aArcwyc
sbd3dH8r4tFAc0qpGhiRyAfvop9Tate3LCJUrTOS58L0nlC1BAQQFirBwOwV+aw+LnxKBUTqUaQz
DEJB3OpJ7SsGAvJ1nhcJqABiNeS//mssreEjEOXk33XdkcckIYAWcEdY9j1RFxSOmHyovtQmG464
1X6E2VD4QF9BJGaB+OlZqF+TKRPX++NqCG2M80OMMxBh+ZpEDVITh3p5eJiPk4x4nHNlD9mJhBZD
UZ/xyY9bONTlSWHgelE00Lmssr66dRY/hlZ06TGhPVmxOj5ls3Eifnl4VeQ4e4j7nntktlJqz3h3
/m7sbyeIs7Q6mJEUFGYFoi/4oeJTqGZ0NkPCrQLTcDf5bHovYWYQy0EGOarMuNnMzFLWjpGlx3Hx
9tZut5or3G+KmVcvQ5a/x5jv6aqXoM6xkJkGCyXlV8rZ+jxBJGFCidOw9YrXWWDPqOsJzmKV5gcl
9DBCqGSh08WPP1qCmCe7GF7gp0w3L46W5n4MUR+N8jw6I84TXoKCPXRKp/vDjNXQnPX7EK2nIVNZ
cf8ReXD/p5I5etRU0WM0J7+o5Vcutt9hbVbFDYmnID4op+GCXZseqRj3dZUijoiK8HT/i2SGAyne
NTdeYsKJkFGRrlZgmKnUzs9VO1qPahKcWlIFnpMZBV7Vje+2GhxbBKNyeSpqsiVwCq7uJJS7UsWz
mWEgXF07cPZe884ZL1qWG0DIjXlt2jQ0CLIor+ZU6KsK5h5zGG0zh96vnArzwfbicq8sSSGx6XU3
N2MEmcQoQj2nX1hGM/cizUwuYNXLt5FPeQR4eQ8wM0bBOrxp+wdXM4Y9Io+AlgoZafY4er4pzMCP
yU2mBspJgyjVj5rF0t5W624r2lLZgyVkNKl2E7YvEH7yN5QvE4+Rlew70JcUi5GmQep3z+oTJgbE
MDeVC0Fd842IuCMY++/qNLmPFbZSiPzhcJd75ilE/npWT5WRCuDbfVcf79cPTXB7h9xlfI0JQJXI
A+YZQC8XuoIRVOqDg83zXI2ifZpUHPkjcsK9NFzJY82+h639JA+UaWnvnZhZsjLb3kUpGrn+Kx64
HxUPrmJ7m6JFqRsXeJ9r0nTPbRCIY9K6RBgvRleR1tVT3Kv3Vwrt2/sPaU9iK+t5W1Vp7Vm1spYk
GhEPybGdaLuI0vQnre1uKuOYo1Pa3tZydfc8kf2wc7MWeDF46m/chVcxBkV/jkeA3WLKIfUF3ovO
mH6j1UNxLhpO7dmlHsgX6n8If1PuRWnzey/RCOARBWKQqoy+ZJUyXflu/bXN8i9hbyincDT2zLoC
P2Hg/Tw2c+CX7uw9y2PhCBP+bkFRe2Pw/yMrwS2AvFA8soG1A0TmI4mxjJAxWK3JPIzx9WwNA5uq
IlC3z2aFJdBR81eS1W9N787fbGa2PjLqcRP1Y82jfkETxLlQ100X4wQIA+UNr7o/Dub8InhqPXUF
7L7lsK1O/RnckL7q27jZ6o3G0xVjr8/dP3uYUPudmAcO1Cfu8MWAUiVFv/94h2nwi2EkjdQ+/xpD
fajpPny2PcGyUaw5F7lpA1qq8gvo+KAsgRExafWAPqJR2HVYLGn6tKus7M69XCSZJRCMmBwdavY0
uMT2eJLd43aywksbCaIsFC692IrsnTzL6DcU8KFj0IVDsx8SO9kTFdIcBnWsblOM1z/Anv2RNeLW
1cm3cTTHZ02B/VcplfZSdd200ea5uDTcBI/g+UcCBd8y5Sr1yX1bPaAwcXlgB5clpjyblPSFUf4d
oB17cCRwpUDuG2p+ThqVNf7iC2128nEWbK7u6Rn//sJuMpR53KrWGG28pVUphVCZMrzljkNPhT/1
ShlsHQ153m5CYRkPwNnbTbzshcsxuSePhWIe0OYtcePdAor1xOOdqD336UEek4UNpG/+csgD91EM
xkOpp/7B6+uQsQa2KfqT6msXiw8kwsmPrsoeBstEWUpo10l6fVtl8JOU1VAstGzdGBZqLdN9Qok5
v1FXF9t2ctSjIQbtZjEw9rk7Od+Ll7bTHFCSwXyQPs82n1u0NQxG7mNMUjgzL3gF4eQnzCy+pmoZ
bnHyBVDd4sRvoyUNqLLDbuXRhj5rt3Y0xRky5XAOlo2TQIDDDcE4IgJHu3XSmIliRdZdaLiPdNau
tdMbPDhn7jgqgDmnHom/HjrtC93CpxSx3BN2IJvBODf0qg+1L0pBZ69H/HWBLNwQms0sSRGG8naR
W6Fp5YORYWDFGvveDJ15pMHc+YBObOTSZr53s2iXsOj8pQXKthGl9WtmJ1uOLF9KXax0rTcP52Rp
AkU2BUIdDBoKIdJhy8UpmxfjY648G4MTPdpB5z513nRK7Sb5KEUG7V+drXVSKPHH3M2gSh03PEOL
Zuqk6vTScKOv5q4oX/DZFdsoL42TEjTTWUfEtVGVh6mKSQpDA/kowuF1HsNnFl3atiUQ+IJgv7zI
vT8b0bnFIetxpMZkEUj+A/3y/M3SnZuDlORnYwb4OyPxjRFB4yfVzVlI4zqypzPFe3mJUtKfVBRk
D1VZHYm4ZPBD6PRvBHIVRPtqpKPg9JHyFcu5j/U5+dET4QxybihIM0K841Do7Zhr91elYtFUBO6H
UubZXo43Ldu2T3o0v8AQyFZ/GDhGqxBvWYl0F3AGXhVIlnPmqucJocp9Q047d82gJiGz6Z7yWQ9u
SK+0U+CONF0WFQsqco2TFRjhMFCxUdksM0DTfmxZGcGKq780y8pIXVZGXNfWc5z3+5kJUZymzZtG
NsghaTtaUAtqFMLuX45rSfZzyOwXutLWsJ4lJVanG5gl1aUq65/FaJENlgfmrtOdjz99fTdWYSl6
9TvtrbWeaek74PTqgNHS2KBbH0hyYSiruBB8PDl5bY3+Z+vl8MQdBCKK+Rb3nvGgwBS8b0bcyHnU
3TAxm/cj4WARHW3oLcbLtrsnUDTY3DZZHpSbefSy0m+TNc7nCSWsHT0nVmDcv4hwoFuHoTcwJViS
WkO1h3M7dvyBl05d5SSQAe19u4D8eQSllzEfiL3jlZMpwaGK5jc5x5Suf2VsAO44v8esyyhbHrbV
/Dtk/pChtj41NG2R9ha4tXZklT+MkZFuS4XBWxM4JvzDpN50CzXKjnvG0FO3Yr2on0TZB6dq2cg9
uTGwY540WBXBc5jSFZkK5DkOcQ1PFGLGjtzn/DfDnIpJ3+CEWFSYTfBV2HhISQH/GXv1leC+fkem
q72VyqXQyQBxqv18141Trt/szFX2o6KVe2vUGHDm3XCDORiv63ICWKzCdCkSusTLxqO42ZqO0aH8
6H4fE3bVnu417zwpP6KofpORgJysTL3gsW7ky9YkGEiPJsZHkQIlCt1Q1nTzvlK6oD2wSuV/DbUX
Mka8z7FA6b7s9P/ZWb6EdnKlZJb99f//viiugi/A1teqmlxp/dg/ZmE9jk3VvZt1Jzaga5qzkqne
uenAk5V2XnxoXXYdIi4qEznZrW+Vcc3Mtzzmqtl/ZNk+W646zUvdfU6yFFXjOiLX4B0CfbVuG7s9
4O+pCILPsXt6Fj0zVeBSdardYL5J+hQZUdbZ7FOL8T0wqoSyjqgVqFqLRr1Pw/5ka89/Fax7+Fxk
1hpS1IR8n/UYERCNFUpfFVYjHuWm06vwGLQQOGs5HZiJUysizpU2htnuwa147hl5rKrSYPhk7nsX
rZ/ZuA/STIUvU9/CtXig8JrWPSu+U6A0IajquKNAG8wnhvg4sATzagftVB2OAmJ+3jyCk2chrJIF
66S98YWor5W74ETHHvuh2xXF2evq8oB8lY4d83S6YTRkWkPbRnE/nCdcHmszCl/ggeXfheP+IuDN
hatIuJkGpvI0T02/bvvOWXVWqR6LKQp9j2HeYVS9/IluYUlld6M74W3+sRe1YXA/lsg9Wp5rokSa
PRfbSZ5/Zt8owJ5mSpMEjLwWJnsmp6R6etU3/otdtHR7Gtu8xTbQ/lLY+6LLDL+IrHCfLIDnQTCA
puz0LnOrle/E1ayQRYQvRfdcLkYli3H+ZR4zC4kcKpzQRdSqBeuwGgghYF2JtGQOTtbgBicAqApi
ISZO9kgm/BK6mpohDijEuDKC1SjbCaevl2zmVBDc4rkCpcAiIPjz+v8Rdh5LciPbsv0imEGLaWpd
klUsTmCU0DKgv/6uiORp9un3rM+g04AsNkUmEIi9t/vyFEbd2sbJuTeWl25Imkf1HcWGXu/vpa2Y
EGqGwylynfGnPBBAHdUBlqnw0iBWhT0bOOcWo95ZHakX4Ku0A+root5HkXRkliBgrMNzy0JEhbjr
/E2S6d1zMSc5nCDQgWBDE8Rcov8ZCqwWkym+F2kSrRO99p6GOSKkGRHh0apRLI6lsNBtYqAdB0Mn
Etb+tWDj/SIm7xfO9t8HSWlxJbaPkJdwdlfMdVTz1y1/jk4Xvg3psly6qEyZbNMTDgSQ57b0fkx+
jgBKSr26IqTvrQ796SEK9F0dNmxDcZlewH9mF7vpWLFjzR42KXikbRkLyvpwQAQr7cn5X6fhnA9P
cx/iVGfm4Mz+ci4XfVslRmttit5C1tMviF9IwlYKBCDR4kWdydiFrAxY4ZStB+dV+RIydlwvpTE9
6rXVHGu6+1s7Ib8dQN85kC/qqINz3CLGm8cjkXV02fxg+IWE9Wnx/eRyl2IB/bWiDen1xffEZZht
EyDx6JVIDlW0DbpkUoQHIXjaWuVuUP0gLSF5onWIRaqJ4l7PZuBfA3SqaAFjeqNRlnwzi+48FDX7
kggliHwuMZYtNxUd3TXZe9r9L6h+EFRPThOyUZPiF6WZHGuGo26UxtvYRbe6Ty2XwXI89z/bVK82
kTbcPN309nZmE0Dw18uCdKNZNTXalWBYgMKH3C6UW+FZHakXw7RTEPz5rTUmKcoth63itykiv4K4
mV3/qaypPO8fGfbCAVeP5mzpwTPAZWJ/zaVBJLAG8MimHvVHULAvZZk526IVLpd61r6WVv+iouAo
ulIGLIZ1C9Gc3sjRKtfJAKuwGxpyLJ3sm0ucxfMSIRmuFhfjA5DUPbM7QtPlE9Ku07Nv1z7ea85i
+QztrMg7FbH7ZJDjspmVIqAxo4U2duqe8c44W4MIMMjTWSB29ef7hWPkmk2lTzcyDYZs2zaIRHQ5
eFDvCXho2wpqxlYNI1p6DHhw7WM3ZcO5N7vhLOSLOlLvTZ7Je4lP7zkqDo3XPfRtaJ/UzGKSk4ol
iEdiIExxUIMLPkF2i7bZ4E7hw2RX02/Un2z4dXflgbNXe3Q9G2rMNCHYVLmD//Oi9vKBF2TnYhJn
M3SPoLDF9f6QIexwj2ScZIryu16HP5bU91jRjPf7MtYtnfvNQncWLVbwvR/dbmX1iYXmLp+3Xbbk
Bwl3C5aQCqZ3qy22ie0cA3ELXTc/GMES7CPTdV6d1vqs7hRGvl9tMaM0CXP90jdyN4UKYZ3MNZ2U
Vk8PLY2xhzgZ7X1q2OU2CMOXgHnPp7CvmeAHoXFIcrrARIJHZBr32ZcaFPucUeHIO7ErIiijTjM9
1jrduiBMra1WW8mH/BX6vPwoAXQ98zEFm8qY+5MZJ+KTNU8nC/3o1q0Fxlr2b8auNARwgGh8qavI
OBS2Xn52eaoqcG+l+yUj+ujYQ8vazVTZzxZGFxymzvjwu6nNmHrFon1Qf6s4K4iinrr50gIUW6vm
OCE+W60K6iOZips0bQ9dG4uPJoIb2DCdOLkNbfKUWTL6oWxqtG9LM/4cBHEUcxK0W9Gi4OwXKXjM
OyzncjSQTqSCdrM+ryGckTefJnAF7AyEl63rzb5p0HpFbiSezF6056Zo6h0BE+VaEe51DQI+wzoK
V5BL76jJJ9ptKtY2tnXUrNy7az9y3jQtnLYAZ+pXHq1fhRZ0T3mvf1bUGXJvvxEIJ4iW9oM1OJDm
XBfBV+X3TQnw7FF/v+OHWQ3SOovWhATK2rNWS5C7B4st7n2HjnBEvzgDogozDI/5GMV7O23H/TCD
bG+loLdpOhtR6fik/lglvcPSx41h6Nm+scf2Nekxa9lAFzwQOrGWY7WavelzXRl7qlXULvmSrGun
y9gu0bbLZ5Fd1encFMlZpZvyhIi2Tqg3p2UydbggCJpiEzRyF1nmZizScK20+m5++b0Jj7P2Suh9
8NBA134ok6rZW2VI1qg9kr5qwegQOsh9OBhk/jWN1Ww9QdOgXKxdlOnOC49a8WS1NCaJUHkJ0jQ6
3X/nydYHGZ/+JU1886s8EH13P9BHJ/3s5tXJzaqdKaWxS18Uz/JMMSrTNsMJHsePIY9uMIciugtb
1HZWvdf2oOzTodiqL3rsqvAxAWwIECfc32sEWuLerRpe3WX2boZcT1UREhqiJQ8DSdVkhcZDTrxY
/9OGLLUnKoyAhkob2m3hasHKNcqnaIkqYFPBb77fH9KfUdnZNvV9Y60wO21kWIfCIb984/S7Rros
kXMH29YSxsaTRmL13ihje90Mtmtkz8kjfZfnwhpckmykbcyrl3lXSKZ97kzbDGX5wxjE2a7zk+F+
1MqjjCjjtdsN9tvUTreCifUnlrb+gBQ63QPQpgjVZHI584KvgIMkU6x+d50aaGFfkjkmgVvFBDmI
TkuzNW1kcyExK7hBS//GfGM1eZb1CNvRflRH6aI9x+XCfEi+by12hUCqMJtv+gwhj4AFynvzWQ35
U7s+iwY4MiRh6+4p1haJUqw67doaKF5ITYfvqjPXztmAIEZzxHOXA+CvbIf0CxyE/Dd+v0dQtwYc
FnZ6GOr6CU5CiIou5+HB/9+foxRlfsgsCQVw5vGvrNm9vd+/AwtYCVGW/1ETslJ7m3nuCIHRX9MF
v3cal7S8DG1g11EvxEDBryfMcHxIs8rcxnlKbpg8qgqQw5PfHdIxXcjgNs1PjDXmvVXbuRQ2W3ij
iV263qO0mVl0QWJcQLkdVZNA9QY6L0Gj4BjHbAiWvehztlMSjmfj9jwZqfbdk/4DX0NyRSoR23tt
Vevk+aKXJP8PptYLyIR27buDd6BnCQ7GsYj+VhcbrRSGK+WyN/XCvyAGRKlVwYRceU0wU3tV3as1
d3u1jLQm4nR1Zdyj41rbalcWw5J7sRkWVr3z4yWhGz0RLhY35ao06C4rDsKoMcVR6ORIclAt2x8P
v29zg99GZ9m4kpDrAQClC5i57jbwE+Q7LrENlKSHViTLGgid421EqZVH7BDvQYb50Q1BM6pJsLBT
bv/Epk+hlOmyZSI8IwI7OtEnZddMVqi/uzebgti/ka/jHJXqlJiZ9jiRThQU5mfszcVjnWnzcyTC
W4Xk78rKG1G7SF0LtxZiyjC/KoGL28Fa5/mKrykt5z2a6GKtxM+mw6wINZNBv9inVkzB+6ijUcvn
o7QIrsqg+TXYg/lJnzMTLH31i2Fpcrl/XqIhYDMbDuj5racZnqSc2jk/tr7oft0/Nx16udG7P8jW
oRzQR9oYtGQC5Jlb1w6Kg8qpoxopDpMHQFWd4rXb3Ufoes8CJsGU6qslk5K7qjfFZao6eSRTwMdl
Ji/V7NmkiEBb62L5lTU67mi3bC8jtf+66okeZdV5DyaE6Vmb9puMvPsVK7d3ukf3ZM30gOB+Gzed
ebtPDN0SYxoF0R3CnBkNFPdBm85p/S0NHegm1kBIHdWvFlX9B00O2fOke3WHQXdOE5zuGZ1hMrYn
NCP7uhRY6wvuy/t4aZIUb9FUB2xU4qKOonoWl1i+t8j3omj+z0+zAAyFmrgYi4uiTf6bggw6F7bd
VU3Y1Mqu7PrQo/K+jYwst3ndeDyn4FiFQnM/cmt6tctJ/2UGrx0u45ecKfq60xie9mb+TiQb64+6
B+JouhjqIoIBOIDtc6kbQt+6+foc7uNEz1Z2V9o3pwLoT88S+aOLuKTJBUuKqh1OZRoTSzhb7aX+
66gaTP1INh0ZaM/KEr3E7vQaGffsQBK01In6iT/AH3KXqjloZVnsbYtTlZicyKZADCIAqaIc0UAZ
y57cXCv38dxMW7vR+7dm0LItYVfWPu3j4S3Rm2EdY+0/qZ92MG1WdbSI61KW/Vtqd7cpj/3HsGsd
pISBuXaY+ANXZ7ug5f701IXZLz1KnLe7oFiLjR2IFmo9kOdbUlmCt7rpX8t8di86z3K83DsfQT5S
+Hw36oOWEui3HZskYEjYoWNli/U8mrRpva55UGdi1MdDFfl7cyq+/RGSaCGDi6SNv+WyyVTXGQoU
3azpWCbvAsLPe5QFMNgMJ7m1mJpOYMcJ3WjDryYupecM7TdeS8v/VidEQsr4pDgL9pOJdEFK/0B/
MO1aiuZiESxJNpD9owqdaovndFj3sg+JZ2RZa1Zjbet0Ia22Ln6o/1P5nTE1fL3rV5KZ7EPsXL6x
03JgHpHL9k9RzdWLL9Erc0OYhTuF6WkAIvFoOsbunmjrF8uDO8b4zxr3E/sFoNpSbVNjDm2H8KbW
y6Ro3I0T9vraKoA7Ew2WrpRYXYERc3AH+UJHrM/s4qGaJm0TjBQJETSo17DP5pPH2HDVBQ0qTrHB
7589uuGwkA2JKyxrM5lEaiD/sQuZqOSyXJh4ee8X/P3CNraZvhi3mUV+lSpdtp8V9aorO0DZHtrV
xEyTT3a/NOg7Y/EDhcTKLwnIGLXG23h1swBYLxjQyOeNyLTHJumGp6AjoaPt4ko+LsjuxlqwUaLl
ZvYeiqLNXtX7uXy/0IBVlpHhbfMgWdj5D/ERi6b9atXVi5AQvaqN7FVie+cOjbyahCZhxQy1Ahcr
99AFaVl3mf29CKq4cS6GYfVnUZZvxE7N5z8v+dD9/VT9YK6sbOUU6CRLYJ0bxb+HiFDFKInnekEV
+dvAMJoBJIGUXh+ywcNcBgSUoI7kyVjRCDW5pOX8977MT856GBGLqsVVse7HF89ZBh6Fcbiy4Kvu
hr9i1KUm90CnqVzFZuwf8jQUjA8G65NRJvHKdMkUV4vHn1P1U3Sqv39qziWpUkPMfNfo6HIk0Xsf
1sWtre10ZYRD9J6EaXYc6kJs1E+HvAT9OZ7vamoMPcaha3olto1szOAzf5Ug4tbtnIsj00+Muvq1
WAhm+lQjc7YGqqD6HX/aHA4Pi5UlzPHgN66zowkUwIcr9KfekEU57TV1BiToYMommTqjnXcIGFwY
aX9R/toKYc+xaQtc69lsnc2AeDb1QLAd+quRNr2o9xm15Zu60r2z6cwmPayyeaL6f1BRfImY5tMY
z/rakcl8qWDIn3piY3fEUHulqXurkWSdh5m/8GKF3Y07iNlGBNB5IMoAOFiw8mSbG6WvQL/ESgJc
oX30bUNfTblNHkOrtW63Hed8ZFVgN5VZGYleTV+sGoQ5IyUED5C6fEGmPxwnLyJzpcGcWcx9iSVH
8uuz8DWp5/DC+ha/GJKZalvls20H8clHIX5SRxFcf7eeHxBHM2iW7DSNzLRVyAp4M6A4PHQQF1Y5
/7BX220ghHEbTp3/Iao8fazNwkdFFW0irs9zHRfduk+99mIZhYuH1q/ek2byd0nFpk1NObQKIHNU
DEwxzdI4lGki9n5s8a9DbrAyGE2vVK2G9HhgitYw4rZ5sqhWZe8n3ZHqNuQLqbEmya63OlUvQNRX
3ltGb9xx7oG96i4hYzHfQb6qVtTNX6ta09mz1/YpqHiwaB1ct/uTKcz8/IY5sjln2Ey5M1EuFmyO
nSC56jLDzbG/F/JRYokhWbWJqDd2On0WkrZBof/V0ejR3S/131uYloZhKOsapa4FblUeID8Mq6x3
vv+7T/v/41wIbHjnIPICy6EE+geVAYWVRt+O3oooX/BJVfs/I+JEyMeQlz6q1rqtYVCx0Q6vQ72l
CUNBq+YGaoLwj1mCFZTLLvUiuGJt7LO3tEPGa6OIcU6S0CMN/Uptpt6/686m9NIyvCE/p+I+X4gl
FRMbuYFm/G3M2FUX2WvVcnUVAGhPiiHJDBWKmcfi3BcDxOgkmk9OGlAXSsJk1zWP2uScVE5HYy7T
iTILUhe3g4+XibEriAbUiEmrgRPBuKqeAcJmbFCDxmbCYBzSgMW9Vd4Rq5IW2W7nCV/s78R0xL63
O3+vCQmIGkK2jOApiT+V+dsqt8CLhnH/79+Yrf/TbBLovGcbeOp1N3DsfzKAdSipruVa7UmjR7JH
b4g5IkztcxhUyzUZG/xCJcSQNBqSC25YxHhLYByVR9Ev6NC1c1mtC/fUCOOpkY0je0jyW1b339TZ
UNrZTfPHb2UavoIJqT6ELmEkrNUcZE07f696750o9voxQrVxTtjVMeTHyYdAPAF0QMJgbvovDlKf
09JMX0mBwSPSRfqpia35czvR39bMHQIof0da1ERcZjtvvSF9nsGbXyBF7tWKLAz4ubUQzkH3jfph
LhaE5+hjhG86RyV66zocSmWA1z+sLe80OSRkFUsoBQPVk0FK8Ws6aMnaJOX3aJtp+WpkTgavweqe
Bs2Ntu1QD+xWUS1n2CGuoJcJ3nDhbxedr78apKI69tfQcvVn5VrWIcWa42w8S9URg1N0P8rpx7Pt
O2ke9Qt6aR0lpNe+ILk3dy1ZH+faD9KDS5jNZXCIzikN88UomvJRzBZ5Tra99qVcKlSmJZIAtR3K
veoeCNl6aXC24xjN4sI4aJzCS2q6xIElkWyUCu1EXKm5TgyneFTqrmIiJDizAepiOUrWCEVkwRJX
V/YPLGNBMH+GTBisFuyW19yBX48X1dz12qI9lV0ANoHwUhMx8TYZPBf/asFwpR96Bi6uFZ5HN8wo
bvkUNEje19Ic9f39SJfCQQWwJdUxOwRN0O4LOyhXY5fN17bwvwSlaK/6kotpRbxte72fB3AZiXva
qLfUi3n/JXjl69a+qClmm0z7qRmmU1rMv+RA6+yBLHpyp+ygvhbw0s6ucoG4ReMI7CCGDlURRIsv
3/l27/QUgD2upsDT1k9DvKoiGj29rf0M6/Qt9hv7g9QRWM1ZFB9dhhfXxejePCS+P7Qa5VSPenhl
AnTsXXhrYoy3uekOP0OTh74/N4h7BMaAIB3eW01r1jgo80PW+F/mLE3OTioS5i0cmQmWRkKnD4sU
2VjjjNxGam78yoswQwgsRk0dDHszdz+cxF0OcTbX1ibuHXvPHpTGNdwIQhntJiJzeyokKUR6ug1n
ohjvov3A4njATzZu1N5TndqDO2yGcoluiWN/KG5A1fvzarTm4Kjrxbi1EdFuYSDp16RPr6pjpl7M
MoR1rycB4+/ik2KyzN2plpZ0b2FfZKVnau34pYZKdpqCHhiYWipNoX/xctfaLKHunHVQuqu6LD4w
Y3ZMN+hxz21nb4yhP/SOhaNYS76rkanwaLm6wXLTtaZ6FFEGAUgLWGOcAghHxEa3Rvs0eM2nkIj7
nZMu/gn+Z3OgkUNwO31N5GrjddKLej+NZGyndRqstTYS2HZxIBWiP1ZhlL6MLVsuM2jj/uib1RFZ
bIrStn1VBB7DfRhixLp/bL2FFn+0CQisMRse2YCgOu46xP7yKOqxMvZa591it3u2XWt8UNmjoT88
jxXZkHOAnL7AWgcPKwtOMYG7F1qw/pY/OX6tPXPh+0Tcdm+3adnUXgTd8LKe829Jy4pHe9l5GCpU
E8aSPRuETq7DGYmK2nJ3I7e/Oh3H1Nzca/NoXuqVKv/oGEjwz8I0gU7bOhI4mUZajgd7qvMLkMVj
SdoGIj0uwrrUlstNl4eG50bre1VhRvmyUdMFt2LzYnRzc1XXlseofdXbORK/ooRljGea8uRnLp3r
uhDa/k4802YhP8rcRMhC4GXERdvn+FSzsGEaAXWghgOynxybPJ/Fcc6+GL/Y/lqQePCjzvpoXUw9
yt+8sA8pa899f2QRgvnBpoQsO6nQ4GvBOiYFVOoF1SB9mZ4ZjtuPcJVlomInsxUZ8WH2UFMrYt1r
awBUKVfOmrncKYqaj0jHkh5r/jeFEVK1uNr19wA2+fWw6tOwjjZOVAb7tGD0qtkJfjWNVkMZoQT+
9wc9T/P/Nir7vm/rtg+cL3B1yeWTYOO/cfnsBNRIt8Bk9oo+3MiK9zKP/SrxOu9qsTO7GvJFHan3
JrbnfG8sUDzUtdD5GGj+39RDXaCPaasmPec8jEYRuS9LWhAtDRh5r8u5SsNwD9cvRJCRds3mHpEZ
+wwsls5HMBxV0Yq9O9Mw9ECraELyIqL/HPnFfI7bISHYDZPqRFdu4LvFUL3IlU88LY5vnyvHWa5j
CfdDxuaMsrxURyKPlhUJnk90Tftt3RXOXnNF9d4v8gHUhzw+prJ+b3J95XZx8WmoPNI+SJFbeuA1
kPujWwntBjMd5eOSd8PBtgxaNn7xSR8G55s8GGkwHRaM/fumHh+ADA6EgEb1Y1ov36GnaBfEI5SM
zO0Pbu7g3JPFTKB/ruYx+UhhLEHB73ciZ7UMZ91+8W2LatKEss+WYwVnwX+dbJlzFkBMEJpX7sd2
FGt3qq1zO3qf1GjPmQm3dAxkWqqqohBZzVVivoeLTai6N32KzbQ5xYkZbekZ+v8Dpuz+c9tIkFVg
Oo7hObpn8xD7h0fZGIRXE7dWntxwrC51QzgX3t2Vb3XiUeZNhyvwZDRlqsnwzgrcy+5B7hL64hgC
YCtzcKXzMvIL+7x3Vq7GWPauAirieqYZ1CGor5ALFIF3cSVxbsrAK84xWQ1TYfUbs2umfdsZBtiS
aV7fzSrytJOnMATbta457VZvfJ567Zw8q6PIKJJnENNAloz4sa5lkqRiCSG6eNSXeBsCjtved+KM
7ex1D3PnQtKAfatcLFUmGChcGhjt8kX8CC2IOrlX94eiKZh7juzAIs+18cKa8S2u+mnV+diHGSyQ
zS3m8X9EADiyovovMBZTLN8CaW2apiPLrv++q12HGYKFfOWU4sVj8S/eRhP0k22egIDQCnP96kpi
XfaVziOfss9K6cNY3oqhmW6hQ+kLDGcdJCQETLW/6eVftojKZdWSVnSd06B4cMNqo8Sg/pR9KfOC
ZAQ57LANLT8iGSeVz2wd7TgTS98ZffUZX5B+iPqhIlnSmb7I90NU4mSKzIyIW4Rost0TegSQ9ln8
SxSMqf4600KCNjBPiVM7Lv4ZZT06wKllSZEvQ9Pt2O4O/2txVJfr3z9GaILUQTofl+uTzfb/gFvb
enb1WuTnzmEzp0IffL9zN9kwjOsq8uLzvanupG3xThV/EAN8qLbTP3i0IlwLZiJS6Upex2Dc5IyS
Xwa9eykXTzvAkGrWSpvT+yMP0DFOPxzhbPp0KN+m2rgqAUNjVT+M+FltXeJxtNYBgnaWUD04I7XN
MJggrsTLHb4UJgbTugZ9OInAIRurP6XTjAeFILf5ENnaazcR8gqu4mvs1NFqQdH1SnzssvO0tNgU
zAhXJF/E61pAaFd3lh568ybygu/jwozGyoflZdKNZFMJb3kZiw2Ok+Zd8+gIjYWXXePett6JCIyb
xrvlySAI8sLZKNUheUO8bjb4fD5D+ZRNnk4uc+9uRmNyXsbQ8m8WcY/cuNjdGdCjowqu7TIDGi5J
oguaq8JttnnzVRt78E9WxY5wwYsUYEHd0JhvWAbb7tpHBClNgy9wpyf9eU5if6NmebgJao8+W65r
36MUWimDfHwp8UUNN/0+yh68/hMUCwHKQNIBkAx0VwAR5cM0J2fVjPYRVj0XznDsFrf4PjeioMM+
2c95Xm3v87J/fzabKg7zvy4/0K7kCRB/bXMn2/+kWQLtgUw9mMnprodKKpRGPBq4dTtzbcWmeAgU
ndrzibiYhhWAyeRH7Wxp43k/BqnxnRpwlQV80aPatjhGw5U3pYeqRZ7DJOEupdINq7hErv7IlOdq
IVYlTtS7mXlaXYygdTdDCjDnTnLmK6dBZi0oFbpkHUmBSu1TGt8bz5q7jGulNSxQ/d8FhzHegiNG
M6j/Mf0AdoXi477vm2mhIEgJSJ6Q+DR1e5k+tG8/LvotNwPwAAlh0K/3xlXXHO8CMRcb01lJx/pq
EXd9iBN63S0Zc3EmTfHtDoawll6cuxD+1fzFsLW18Dvzk9eZE9ZfieH0hX2GUkaWjfwsqbdBznKp
74ScbKsX/8tvKRob4+2ipzuYLsnnCefDPus0caizxP20jOmNzGZmbfm062JnWBXujBVICZ4926O2
UanHlgbbFfw9vi7aAn/mw4Eyb/Ydcg5PJzMcPu0mlN549eLLI2Oyot39yrSHinSolnQSBanv/aDe
NgVCqt5/6e5LiQwMQ3Pkb+7g83wKSZtR9gbbzLWd+kNcaSrjd/YQyFQbM9k3vP1oau1PBAvGOSWG
iVw3oqMDC0emElHnk379PfYNrC9YXAGxkLV0u3MZCNgUtPIgiC899odihudCDDjP23sHM6H7y+CF
9qh6mdFdnN06+H3qJGi3izYPEXd2NdnaRs84ESuVGmSr9/IGJ0TXeV86hGJHYzLsh9AzWtiPy6sl
z/QucrC+crSYDok1zsB9rH5ZiJDjXvyYzPHXfz76pRm6fVI3+9YnuWDFDffYk1G6n6E8o4IqiV/p
EKPRvGOqZkE4RarGllaNynQR4R/3uho+obSas1WDs1S9ptW2yqzyb7W3KsUjjcDVtCWTZopN0ALE
fT5qpmXcCrpEiG9pj95vC9FxT9k9jTBz3tTacvz3ZcWRz/6/ryqYEMGnmLZrBhCKaF3+994gHAHx
DwUqHWqkn2oPpl78so2v6mg2rV0AXigpXY+SEE5baJCtmenD8wC2bjVqRfqjMMh+JHDny+yhO487
t7uWQ6JfclLpNhG+GzDOpCwzIh261eTMLe56NzqPzNECGaOTlTwcXFNmb8sRlp2Fb0y+vJsShXmO
9yZ7tFg5AmrI0XFXkidhx7Mbr3w6E6MrVi6+eTCWxnMjX0xzgE+Ln3kXYcIo1lPy1jlO/0Q2I421
tkkPCH/btSjH7n/Antx/Zr/wgVqm7fmuZbie5atN8d9KKFajvo7cYNohn5vvFuc6KJgXZn257xk9
76j+cQLnycu8BM2jWTXOmzseMGdEb47TmZgM3HM5WM5bNRL60guf2EJ5apoA8qJiIXOlzo6VCPr3
UcpNHCJdmBjeLC6dD2+GuZhiaXjCd9ntF32GJxyi32skoE+ZfoiN7Nb2t7lx3AdiZR5VGvRfZ2qr
9dfZ1IiPIYq6xyKlO431lxR06eq3TNQamVH8iuD1nic8cjvCSN0LGquFxMOYcC/DbK5R0GIbaTzr
yZl0f42jw0XKRWPQRGnwzSkG1ELzfPn3a9r+Z91BdItnBbrh2rqDWc6UVe7fvoK+Nl3dAvx3msrp
fVbUDuw1NulKxS6H3bpW5SiQFe0pr4eVqkZx87P5aPSvifdkppO30zPiefAv2NyS6RQyZQ7TM0Gw
0TWTdFh15DcpumqbANdR+oVElpQfDeYbZT5ynfQg+jj4wsz/dcFuAYuTLj0yn+CUBdMXdRb3X4LJ
ofvpxOXBo0G0V5FGBvtiaQr59w8G7vU/7vYA2nUQEDlruRT4wT+pUT1K34LBkHXSKsPejtRmGAU+
eaJOd0M/xMbKcH/lTjrfpc24gW+mFeTneLbKL7MhjmmCf0lhC5GYpU9VjKhyfna8Z8+IZwfRj3ZY
xGxsB6JC6Xwb12W2f3kCs+uaKgj7mds2Z8cKxLY1Rfg5sLcul1VextXncOjTHTrY5pS12VspSBRU
fQTfygp8Jv4Cmgq+VhSb03kAPq7Ye2ABG7ymLDdLUzxGKCG+TxyAbwrUASHKfR3jiso6g3gp4iPq
njA5mpw8jrIRrkyQ9TRZbB/H+jiKc5raIf4Yd2Juk7doXAxj3074TCxfGOTFk+WqBaBVReS/8mEC
y9VFDLo0YKBpECI6xM2t01mPZtfXHoSfN/spGh7UDjqzzV2hVfSGorTf1TUwEDNdygdhABiTguDJ
gjNuW56zVpJRkxbKasQld1YNvjks2aVYfYc3OwAPQ+p1gV6z0NZxZ3ovld1q6+jUGiRxTMbAXt8v
mCYYiO8/ltCj2sqCblfpQXhTR1GWo772wG0VFlIYLILd0dUy/7Fr/JvrFOl76ngXZVRqoLdXs/EJ
pED2ZYosKGeiDo62U3d7q1upDCvLiy42xnEo28l0CV1NP2VRD0w1W9rHkN31RmhCvJuW+NEt9kB3
GQYRBkyiK/yUpOF90Gr1C2qZgLHYnk2k914lTi9/8tcvoQdAJ73uYzyG8gtUQsxxqUm6Ysy+vj/T
8WZ1cs7ZTAArRdC+erFDYmaeviTd6K2MZAZ3FpI6Q+JFu+pn1O1+FeC5blr9MOWyfpE7jSIh3c8D
IH+vL9ow01dmNLpHp0QzVNi9u0vNUTyYAmkNmK7NXaHmRM2wzf3wppZbow2ci2+w+EvXjNL1FVGy
Zv0dGKBFP+ekfWylJdokKPlogDnZsI5Y74Wme1yuggk6u8w/trch0QTe+CU/KttbRccetEpJIo7s
TgwhWQ9Y6+17s6KopEqmrg+qFaQn41akGor5xaQwI9M+MDTn2dHz6FnT21tvWPm6BdR6VMIrzyAe
hH36axN7GuFr+NYSVt0vE1V/MByHMu2f1TpQ4hNe03ZzV8Qx/2CuSx6G0XhQ0JXAjD1HvBonj9BN
FjdyrijQQ3MsHtK8OoPEtXczqaNrZV8Jwqo/pJbnrx1quMsYzs2B2q65xEYdb73E2WEqtW4wZjAu
NG67Q+mIGI3U6OAwgspcz/qqFExOMOuvykIrdgyF5y0RjWyAIfcwLahI5mOGjLoTE84zCFLjMPXa
vOKO/6HycIfYJNm9H+ar+pzin4zimMpOscOnITegnWeC8gUkGXRNf3HH6UvuNAv5tf68oyQMXq3Y
/ZUQKn0UAi0yVXe0aZDGHArd784EYcTrGKrXmrANcw9Llq/NgODUBDgR67L6qR6/mgvpQp7VZkQ+
xDxY+yTBVOvl3o+4z15tMQCKcMyHUYvY+ceGef9aDci+8HgM9wqsKHoVXA8wz0gONAqToFI2+MFf
L+Cz/o+w82puG+m26C9CFXJ4JQkmUYkKlvSCssce5NjIv/4uNHxHHk/V5xcWSGpkDUN3n3P2XvuL
qA3zkkKo3bRmUtziiCCqMjQdogr5hM69Eq4ohH4S3whtNu8rYXzPmWqfpA2MurBBZ8xrHFnuX1B8
giOzrvQPu5Zm/ZYmZYPHsE3L5nxJsbEcVP+9n0cZY9G6Mt1zLzj7uZNHTEuY5H/ldv/UpJo4dwXT
9KYyFq62ZxxVs+yf6qbaRwxhGYR27bNbDSAmY/J9xpbw0OTJZOuywI0GlaY/ZwGjU1zwOFHMCLRc
4NLhK4evyImKOh2+J50AsT3XxrHrFpphljxnvRXfxkvFiygWX1XcfQOyHF7UYm73vZn08Foy4sLB
1frO0qO1XTYquh91SsiY7Ylh04CmBYDKuQMMk/CDQg/38i4c/2LbzN6zxDKMUCwfZjQDpV3Mt3Bj
WPksvp972G2gu9gBHpzOIpS3wu24Vi5jlmokU2fQjSp92pam6a5X0fLYbND7RG666ccQtTtqHOwq
mDKEN/0dQ7slU7Cn/NGGjoDupQmaFnN0S5AL6z4yuX1I44A9pHH2c5vv1n8RVeBG6vkKaDY7V6PV
0vek3URN8tVUgRsnYo42y9UQ1/Z7l+rMJJfJz6f73wB7vCNtpjhhchkQeFvOuvYa6dMq0zXJ5CuW
QhOnbftokhBMCSlaNkWn3xEUwZ4XMZ49hETc4LzN+n0lSoIAaifdCrJY1kQJsqszqJ0vhtLmL0QL
QtXtbDr2cuYUMb7zoru+bJMvY9CytGVqfCmW7YNAjhcDONg2yBz9vgqhgbWB+w7Je9gWliMeFW1u
WHpJUa/nBCMsFOS2p96ZBygZ8qZ0SalxS/1DfjZoN3e3U88L2rg2bBEnuC8m8MzUB80fWvHWfw9+
RDh7Fn4XR8Of7P52JCZDC2z7mCtnz41Uf0jHR2EX6l/LhRHo64XsW5pd9dU1O5ygWn+X6fp86sLK
3JpalF2sIqC1TXVbF1VzSiLImobFMNnUGYQt3feposnd2d6PdStm5fUlKI349RB1ehnzPam2FGLN
k7TIKFW5iPOap8bJEe0msDLaaqI7nYzf6LauF6nSv0bgQkCHky4kX7lw2XlFOu8zZxAX+ZC86VtH
3Nc8DvtKXFBBhH9qpcsu26/1sqeZNDqYjamOpS/Rhv9ei1qjrsTcVPM5jJPvUxchGVTneVsuMhOj
iVQiIIw3ckUDX1tMQEgp8XK7IJlHJVEujgT7MZWPztWCYx/LubrpM+029bT066LyM8IJmoIRwb03
79czOUq2eQdvJMLnRPnxeQPe7tXQAPLKSb23NJxkyoCxmA1Uzyh925hyX3OhUVp90t0uWNjnKcLa
OjnVO8xPdgUQWX7Rj3udanQbjJG4cZPeep0ncqvHuH4PGsAISRmHe46I/bIqzAdbxAhfuxhjiFFE
HCNjHfA43si8G9sV5NrnPd3mvMGXKIBZLObrUlM62rO9fv28CjMP5rlT42ym+SMtrniWGcPJ+4XN
3r+oEHDYrMvgshbWkMwJC6UpItdHibKRy+AU69fKqpUzRFbPR8ntHAjUS0mD1uMPvOOYzKq7ZGan
k1KeEImePypRSIsvy5+I4Za/L3XNr2Re0zpf/rGgNJEyu+arbJkylTz3oaed8fXGO+YmpPoGk7df
sFun1lMt1PSct+E9z4c5LCK/6Br3JuAceSefSLUMwXOwwEBKHX22fLBcZh6SBRqnpImGitD8IrSC
O9jUGO5NkL1LwitA0ew4aq5KIloC4GLRjKq8BbtouRsJ+464EWMrYzXYFSF+qAU5q+ycj6VIH5js
2gRcFuqOCa6kT8gKCjkSH0Oc8ITTKCZIPOJc5BO4+5MgcRhBgkqxFZC6RfohzIiYLaPKDpJzzsM4
Mhik9yyuPY3Lo1kNxWOWQ3jOG6X/CwZTj7gSi3B/vzrCYrDOSCiuBsaqk2zk56GCFUjtFF9fPOsQ
ob7YA7uAzCmRN8IaGVEsvr+Q+M51llk7E3ounb6TmlzVQukvUkFCY0jclI79Vx114mo0KcZyUhy2
WcL8OOvr4GCi/HpjgH9h6tkgUgA9HZhedW4XZCkaA29j5Mpw6CJ1fJgWI3BcleJQt75U3YoJl6rq
WWTu4UOVkA1SOMpNaNjmk0ond2eGSvEFqUdzEFaJR6WFsQTvHIHbDpK0emrNoTwoXR1tBYbMi1Xp
kDIQGpCV8a0qgvTWZOB9XqsJ1Luzz3Qp31RTpJ9kIUAUZHda19do+CHrs9g02Kem7MPygAAuu0cy
kt5W6jGCUcV4xX7gnF1yLp6tXLn8ZN9M2m4B46y/aSW7VRwT1z1SFpyyCMVihQqYMLRjTcRCnOSA
AGVfOSh6cVr/TE0vB0rZ5egvWhX25JA3e7Ecu0fG4TvDDEAKL0tX2DvUARzfVvdopVh7z0KIJ5t+
yAPsvbPcZQE+ArD3bkHWRDcB/aZVLl8wLlUQsfqlvoxQ066i8HOr93IiwRNEzA9GqdPSBeBxnaw5
p2dXmTvT9pVgMjbemB3bsQEVV7eTL6uxSTStr7ducIrPEtURoJ/bcYxm7ETdtstCRf0+t6l+6OUg
qI8jztvjfCNfROEWL7EgkFNMaru1RIV3Y5iaR71gIpM27bxBE/Qh/yEZvoG2Ym8rcfXIwOF5mJ1y
pScWafys1PM7tCCxlz8ty8WioscpzW2h65IOwpouZ6padB8IQ79gRkcFE1IlUkIX1y46665Q37Hw
uXgmK6R1wJJ8pq40NOpyYlZkdPey6F0tySNv+kkuO3g2WmxqaXXOsio4YOhttqutMfamEQ0wsTDr
X8IxvWOwHYgDlIocYfZE3oeFpcxueu1Wo7+3FU73GEQ1h6aF1jK1mnc7aDX+mOS584r4VpaqeqEa
YF6TrVzx5B/BqDdhDEJWouoljzSUh507h+o+5Rx3kzlFhxOpU/c9s45jTKDrMoIcYB0Ppd8Kb7iA
CjQ5qCnkZ49E72HkNbjRn0vRed/KyX4uU5xQhYWZdw5DuOmuChcEba5uIPqhn5GeMq2PLlmCI1n6
NzSKBX8cWDOENn796TDM+ODgdfq86YJkGezXd/nsVqdiSl50zj3fRs7XUq4hswUFaCRY+k14EMum
6cr9s6fh5K+ipRDqTWWozi6SU9oKI6lPw7Telbmq3tRW+rcsNey4obNUkVyZDj88s1K+6ZHL4tk0
xn3bEs/A8SdpwuXbg8mZQxqE1JkPSEHDCNmFfZEb3BrHy/u9REAvEkDXUb1d0pDbnTAPCYw4u9WV
N3lAkelYJaEkNyXtMDcGDVG7JRNli+95FxivwnT/NqMxv6+IsEk1Rz/L84lzGbzevXCmGM/eoJ4n
WjIwibM9weR4S+MUZG6mlNuIoUmlvnjIvN8MdWoxWw5fFFpbqLlGvPwDp+iJ/6HBS81dY4J1qIfe
lwnKdlSWN7AiodvVpb1NrVJHhzFWmymo+Sv4Vm3phSLaIehhZy5fThXFIqMDUZxb8hs3LKnJH86H
uvqfWtVw6LHSpDN1jk6u/Zu6vdEHo3NSaoCqqhKclgSg1UsuRlwxOa0qoHx255Bpkj2HNJVzpapv
5MmigY6+W98OI8uc274iV3RqkfvY6MPxQGfP5bxVSd3FuakOD/IqpYOxnYOMrtsSN9aQxLjTm6zd
BxF81CiMvdvAoV2WqoV4ciZoDm7qBlsRUT/uu2U2WXozoF9j2sOMqo+cdSofNpZLtl1pgGGb5y9r
JkRFWJIf6LCgbSrwOO3urMUXKB2n8spVsiub6XAwg/6h9VhzTEYtxnJIWe61LE1XKb9Z7mETPriJ
dZDxIrISUIELkp3CsukE2JN4xz6XzZSDWz7PzH8UjEkJPNzLul+5KIHRktFam6zhTdFC8zjGPw9a
zbgFiar60uDMy0TGE+Jdnf7rpTGr7/IP680BZQH3dOrVzbrC2zH9XGzK7sFjtTqFduQ9YFbl/Bm5
wYajeHdpNJ2qUaW9L3+LvJvSF2cDiefXEubvftByJJuOuCEXgE+k2uhTtYlS+s4beI/5UajanRQb
cMBo94LoC4xUFPKzobv7taK2WhQdjFlo26X6dEJboL2OZrqXpgGrwuewqBfXDXhMZnNTT2P0JQuL
k4xFihO8kPU8ZHdJTN9iSDTKdWNwH8Y8WTpcTvQtGYI3ISaL+WLubCmWeuVp9ghI7mBzKy29cznq
qVvtyQhydx/YaKu8SlWPSjLaR6Upo4fQU2wMz4b7Timnjs6pFVXwI8kEtgp4osHYGcis0O3zsX/T
HDc/B0N4IzWbTHAWnszwWuTmWwYD66ZsYnAVQeEerTxLUJ/34Qmr4/RWzsXerokQzVvjQQr12xzn
t5OYV0kbCjNtZ+hGzImGApTUgOESmjO4mOXsWpXe22R503VW0+GCJNPcqk44faiscQVGnIdO+ypd
W7HI6+Nkw+CRTq7UyaBF5F2DMhUtqz9xWpK/UNXV75UdJX/oc7m/j2I9OvvUFQjo0Xd4pvabTEtV
JjpMCrwUbQj49qY0V1oslru8dhgoF6TK0+q9M5opvLQxJ025sKRRCCw4yJ84OMGr+udxOrkvqpHE
J1xP6lbMjvnk1cXSLSUYU3It2GbHo5lTKECbfQJS/VVwsSVBxt2vW0TKLPbCl/rYm96wqbI5v/Y9
h2ZrmpL3ARYIx160Ysa4wJ24J/T05+Oo3Rj5mQG9+Lh47alaTkNroWJf7haekh/0YLz7BB/WmHuO
gCEMgMDAEMEKGKi0s+pO66pdpbYUsP0cI4dX+5hMpXLaTVDNdxKYsGIS+DYYdyCYFa8+iKxxvg2F
tvjC5++uNv52AahzfUTjwjGEs5ncWNnBIW2ORdiWF8Vsm6MS0vD63wM4S//P9kBSE1o8aK2WzrnI
W57/ZTRZ4wJtOXbXN3lEBAUKg/ZGyTU9v1EHp9g4jdY8egG4O7VEbg7ZqyWjl3aSpr2AHvWH5i/X
qNu/l6rZ07Xdml1iBsZDGwr7Omhutg4/eJuQSoe78SJpyF3ZTy/uWc7Twogxs8mGHrFb4xzXy0uH
//fihVO0jwIYT2pXehvPF3pTPsaqjc+gN1S6gpjuYCzhqj3J8pFcVwKr9MmnsHR3NO8jqmJL/cKI
cAOQ1n7XRYloq01eMRqPWGhS7Hmie7TLVCURDsqeEOldXSXacXLVeic7SHW5H6O+u2YmyC4HGA4E
wjbw0V71N3E7u7dobIZdL0zYfqbhHXUb35Y+jtNOnsg1JbhN7DI/rWtoXAw/59710BxB1H6zFtH2
OgVf5uGZ3f+9LqH03X4b7pIgnh5X974xpHRm3DbccYRFK1YKXxIuTHr90b4IwFvJg7+cHPEdfBQm
Xfdyau0LDMse1EClPsirZLkqg+qNIKXoBEH+JEN1c00UD55jMW8lj4pOrratBnLTRlQ9kW/q1t9m
gyAoHywSPz5Rog5GOr9FUIp9pNKm3VpP1zV+sTgl1INWPucdlScCdE3SSZ2qg7Ifp2DcSRlbYwKz
6oyY8r0ENSAtF5U98f/J2HGlzsxBSlUrFdSApY6AhzC8Q5FdmJFatXUHiONOyBtClhep2wZ/56Ta
5G2CQdKXblaeoCrNsujDDeJxv4r6kvxvh3nuYS1FmiJz2f01ez+MjGkcsnbpk3bPsRFMlxWSEsAd
3qzlDto+eyMzfGsCkf3Si2z4Gll7Bul1/HyD4xBhbxPo/fYzqpGgiJrRPeLGZZKk4SHYeouEU/62
hEobHJBn7bQGkItW6WKXToF56vHNnKNc/3klMgWUsGnsZG+zotl+GhOVLLzYYUBURfeKl5sn6QLs
bSI47T56x6l3GSKne2gGeoHunLytr4O8C+HyME/hSW7tsdUCOzAGpFAT/q66H56dvoFXTppchLkh
eqRx+95Tox0xJKDbdkNIbX11bbIvgHifpMSyryLoIHWCZVxscd0FuGUC8dCrA06smNntqtBDK/pd
K1kfpdoOmLhysYgTK75LkKLZ0zNp3TpedyDyhPgTo/TVHfXXVIh9qjjtSwdcAvbjGNrupjMg+Mtk
VpQdb242jHeuQ4OK8kI9VSRbsBOwQC22f2n3lx/XpIz0g1f3GOmlhsCzCCrlFxE0KrGQxKSTLi5u
HCluJG1njTIbyDK6SN6WvFmAanlH0CyHRY0YaBhDWZMEO2vOjUu3ZI/hozrKBRCYb/eTtx/g4kYK
Bk9tlX8sLoVBx5VVl/ojhJ8CdX1THx0+7vtk6t2bPKjaixo7JhpPS7kODnTBQozNs5Is8QODGCBC
BOTXM3cAJm3MB9na6Je7bW1pTB66nXR4BHnmM/kzb7zJivZBM2hQZhfeD0DoXaQ100W2vqzKuosU
/LuNRJbPMCO3uSHQsXQdWHwWyNs0Il8srqPoAr5Qf9AAC61u7R5Gt9IDLVFG42uRWx/yQimDj0Lt
jUctx74m54E2bLK5TsbzQCeBlzBL4ObHHBNlCzsupuxSqAoFeM8mnzHhe5nLjYBqQcAyvvSk5gI+
ZyYv/nlqyDZWJp61vOue6wHadSQGccKhG34pNSaj/K9QEifZmXIN8w4OWV920YuenPTKezFK+mCy
7M3H1r4Bg9aYD62C4Hw58cvsZvbFajeYY7KTnxXU0BAREvcSkBqTMDNArwxq26AZipA3YoIAh6NH
T3wYpNhl0O4qsST5JC6cKDnfrZLBesjKvTIQDqjmdk4eJisFvfqIWISetY3ZxIjrxLquA25YamQB
LAyjLsOw1QTip/EVkDIZkLUIDtbsoejA90OS0//3701clnI/tTL9sGAktxJ7KpdZiUOVAe1uM740
OinLCzZR3jDYcI/upOM8/+exxBHZrSqtkMoiFw/tedtnVuyvpdHyauVVEKL//ecZWdvT0dJvwjK/
XfxEh6IrvJ9XsfowJ6F9Ni2ArpNdhrdkhVoZ8iDBKO0pXGwTZugl5/UoDnBjvdtZXrEjEBxsyph3
93X/6s3W+BCY6fQgrwy6FRt7qOnRlOIl6nvzOrMhXxtzl2oliXKz1Qz7dhzREA5hzH0SKQLwK3fy
Z9MsG/aNre+VEXCkPIvbLlZVzXafhD33N5+PR/SQPh+vW6fa8e0k4Q0rsJ0Q2hAodbqXf7+53PWm
NN3LWiJQCX9qh0eg47zPgG4/kh/yn9Jzo0DcaRHulBfLo1mlKdu2V4xLFnuqj5FuAc/8aXSn6YsE
89eRk6XhlXct11ZtdUEq/NZS6BW37zhKJIdViEYfvEefjV4oraZDEGXDW2HqUE4ngu7p0oA98GAv
VLWCfsmbN4vb6MnEabYp+9T7blXnbqnRYMASFT4XyX1iWn+NCml7kxV4Xysm/5NWBj+GeLzGRVm+
dcJroakUjxMClfswmb7JVmlVWF8iwlSeUeXYB8u1oCSaLjk1fb+kTc/M+WA+BTUoCSSxzYEDJsal
hTOhxGKprAZroE9ru4cpH6NdHlXFbZkFdylHXBB3GjTk1CAuZ6nVkii8Rw7kT7Rc+f6L/hlTMdwg
rEtneTcSI5wdlLi+vDuq5AbOdWhvQgbS29WlqHAwxa5bc7yPfxSljVXEiDCNzOUxiwb3ntJP9WuP
LyO6bS25q3KM97qxUNJINtvbdOlXwn3TZdam8VrHl8B73KIn/GDNk5J4Xws1w37+/xdFHX9Tkgnx
NL67LS8036EmzkasNelTivF4XannfHggUqh+0VCdHDObYnvktPtWp5xF8jCFKTGlF5sesD8zdTvD
yvVe9ACG2+IaG3Qsep7lXenreJfACm3gFmR+LfPUl36gE2joagsMfd6EvRH+RXAGKU3YAB4rm/j1
rinjk8iDP9mOnN9rHcvG92WrqmVjAtNd4zdpcds0wlAAJR3GZFSPkvIwZQ7iOTVy9vIuKSfW0Yba
8+7VencSXW1uW8r3+6ZEAN11urdPh/S70dSRL7d5ZjH6Axiz3FOJORUpDkGg9I9iyuutNwF/gEtI
TJwCjC9cWhyz1/u1yOo3Z7bDQ2dHtxHF2S10ArbnQOiP5K7R+lyuylhAUCjJMFLJdUrGH90w2R9r
caDPhf3skE/TVN741plNeW679oJJdHjWRlPsRmPAVBGnJgka451qJ2RZleRKGROMJjlwQgOwT2yn
PUSMUvHPI/eUByGzr3AZFuqhUsXWgn/krwogRWWYu9yVmI+pMLLdgOwgxh7yKNr88bMB7RKOsif+
M97Ix7pYVf7Q1fxPZ4J3Utd1R9cclZcHgfO/q9YmGg0VB3T5kxlSuvgnpUsCWpJyLru82ZZ8WW7D
akR9kQ7tbQnW8edVOTSH8uXz+c8r+ZPhaF0NN9M5G1a7VIncd/xhDTpNwukC5ESXzkV8Jau7LNDe
NEV0O/glmJbD+EZbWM2VqVRbJejHOy3pFewhzghnP96ovaUyjDbDvaGH0UWrcLCMSefyUVKGY5ob
+W4qovFWHv41hiyHFXNlGQhJpCKGLhQS4Cx9bXuQF2hIv44FmTFFTSGaaaaLm72Ijm6BqaQggHKr
8y26ndz6TR5b0jSBrzXX2dGsC1aWlbg2086VT5NkBCdKD+8VenM7HHm01KoIAo9VaY9ZGBQ3A3W5
L6w4/mbS1GhQNiomiYYsX6eCw+nbH5oT/9lnMGliMcIHoCLLM7zfvq95niHb9NSZ8EJaIkRTxRup
WArj7ipMpzmvYIN5dG5bFWx93SY1zgt9vtoeR0kbe4SHhfFk6TPnWBvF1h1BITSx4lZnLOpsQt0N
r7ULjoKUrWFZxeVijb3/xanK5G5d2MnAoRB7RI7p3EeG87ceNc61YIBT2MI6F2EfYb+fOGwH3HOd
+fTblZyyFrnXb0y3iVYcuajRdWp2wdApze+kTdBKgpivDRo9eXqzawvhGGXEBl2iYxf3gdWL8/9+
hUnU/X0rdxwPVIhl8uFAQvK7hwtodVVFInEOXuSEdxj3ogIpm/sqVTV9Vlm7uk/dbbPwamJIKyqx
Kx2Ej2yLWkDbqO6ITNRQFsBontyH0A/GF5CTylE4ivs8l4pPrwXeienyERno53hDtZXmbDMK9MM0
ZM6udDtr2lic5fA16bFqHXUzDDc0GNK9UajFtkZO5uzCqj7qKlRSWYeEooECQDy7jzPa2FfeEuoO
F+NlZNmgzK80v1On0u+nsdxJS0/yj7nn0+YjXLvGf1qhQLKHYOeFtgnDMgFBT0R0evnlkqJhx1cV
GUzTV49oF1I/tFQ/aF12Z2cyt7L/Irr0DpNN+TZWTujTB/EuwA8oRkrS4oYwJTETc8tGrhJmEfyA
6Gddk34U53gsJz8l322z+s4nAeS5H4lZgxJt+nIiKe9ihzT9REP/x6pXH+vFw99BANymqLB9iUAJ
rCq9rE5mLDBYhUE83Qd2dpXlZibs6b7yimvo9CChR7IdptxrbjjHNvwFmfcexCx8jU47czS7W63O
060D+u4WZZT3QPWFntUNpo9sJJwxTNrDb0/myxng878awpCdaLYfs7F55YwW3JlllNyEA7mGYZro
xzLtnZtfr6wC+tFisl7/HzJaSXxnGVPy56DukjktjV4aPlB/yzxq0rmd9LZ1UQjqOOg14cpmK8In
wAGvq5sBFQBRgfxd1ZB8taayvNLXNS8S4NxAGb1f38iy43AyRtMI/SQThzJ2x9vSFuJAr+znValm
p8gqTj1uzIMVJrhniUc+GMvVuDwmDHI19AC95fJxLFwiOUhhHYE50ZlclYoehWBkVNeyxj9Opttm
bSEINfRuFNNZMmgW1HXiWqQFhkACQut56mf1SipesjfGoQDNa6RQodxmF+SVc8iZbhwuUBaHj9qt
dd9okLbZCSkWy03i2B9VR34xIYbovGnai3J+lYIdfGHz3nOt+7zSu8dF6CAbBOW/7iVMmR6b1Dla
CZgONEcv+I0EUQCuul2VmjRytsqHS8DCMS96QMsJBcJG3p9qHV9snj8Bg94rHT5vlcCraFE/ZW5S
3sj5O9sWgI56mE+MKlt/fdMaigQmqLzxckjdjHG9LxoBbWR5rGTFOfA51Cgo5pfeMhM42UlyiaK/
O53eu1xOGovhVyANLWrU7zysE36yRIkFFN21VotXA9bzST7eQq9l0VCGfbmIJlTP3uVNqK/Br2Hn
IsT3CgbCfDUOseImtwUlCsjATr+3yt66Zdwrq/5kCry9nY/dTzQlQDi4Pd247fBPbGXFqs/4NUNy
BNdCgE/QeJ5awl4mJQvPkgqSx9Ymrob+OJgOXwU9J6CiUsIndUyBO+Vuspcv3Og5z6vvn84KsDI6
24dCFfWtQgOUJl9xX7ZYUkiwV/cS6SZvRk1JYTrne2Hb04WzP22EZTK61s+IfCh6unup3ZMVRa2G
rt83uokXoasOTjiIjXyRZJQc5717WGLi0g9eiFi3bjj76rhe1M7E0taEe5mKLEluvFqX2K7wUUBk
BmRhfUhRAiUhm8EQvHfB+4qRiHjBT7IAtjKUTQb49JPrsuKoMfzsfO7JFkDN8hLWo7JJlr5s7j59
OnVVVUt3sYnaRySVdq92VNT8SfJvkDco3/4wTJH1w691MWwJqiZLV5k+mCZcg3+fSofIInKwmsoz
iaIPSTSRxWNp+pew6XTogkZyX87Mq50cIGmUW+IolsajvDEWgiOFEQmBYZ/4jdPdKQumTd4MsmfL
9/dgdI19agbT2tBKUPYJtoCznZtXZiDzHfhnf+3hRk7enDoaguYRm9L8QHbGcIhmRdlJZ93nXXmy
FzNuov99ruDw8Nu5wuPcZtuc3BD5YiFWf3spjFCFMEau3FmbJJXbmK5Tl64S1KZPBgADxc06ycdH
+pq0vBx1mu8COwdCU8XvYSrex6kMvy0XIUgUv8n0Zu2LF21e7JS8pEYfjcUOtSgK0Gfdl7TeLgzc
rkqQi5uxTd17XSMuhNQwxe9r1QG7z9dK7bzwSiJZdeQUNh/bbkmbK3BgZ1rhh6YxfcQ6HcRihJ1T
8m8dqCarL1U3qGgKXRtFDmjGyEKegtnweeZYg96rO9JV815L5UcC+OVtdq2HMsWzEtRm+ASIuN/I
7CdhfYH2wgw9GIxTI6Zsrw02iaBqHb9hwdwSNFldLLvX9v0UdXfdmHyQUzWeDKN29wCJQUSWtXMA
d9leJcHXG79ammmBdZqt55E+aRjP6OJ1ZMCGQSCSck2JNSVfU33T3bo9qrT2vOkloYqY+DE+pMRT
KP7YdFclCbWrURG51XFUxOgJ3WmV3s+uUPzZDuYHVQm/hkyG35DYdBtQHNdSr8NXp6IKXFxO4/Cs
ElzHYUt9iC07u7OUIlrn3lMPd1zHkeVVXXyPaQHTsrwRmHduEhuBNMSS2xVc3ajR7EMSnBHTW8mD
MlnvMli599zyGEQtshBIPYfRdoetjXwOGdISIiSN/Wr9jewh64QYpAKOjZw4yJV9WE7pXUwf4per
YUZIMTk1J9mlKykbuRjN1T+sDJq+qLB/XRqg+2DZM00HkQk9iN/l7kFIyi8AdeWQ5XFAFm31tSMc
8inMAu/UUkL7A8aIj3l8IgzBBPKcQE+zJ3uv1+NwkMGTI1JuJwX5HIAOA+k4iJ3NgPg9WQyNZD6x
MgfEhk1Wd+s6uJh1NQCjTMDwTg9o/KY5XaVpDO5A1rRHibKTZLvB6uYYbUx2YFlIN41JWl/p1NnD
5CrrBFSOQeO+SndjSYrGoDQP8aDC0JgWk8A8aueR0/dh1eMZ1Vz7NvRmX69G82gNVf2ehj8KN9O+
uBXlUl440CEzsZ6ONKtUD3VvwRRc+LMwCgnZJqk2jAOOtnWtPawqN4JQdhGTfmNXAeQ5p0K5XbFU
RtTCJFOsOywG2LnVIn5ydIVizoozFgYrJWOxeJSsiKhEUE2KWQ4dX5T30HDbk7A6aBOEFj9Oef7R
k8ycbPUMzK82d2/ScEV4qzi6MY0uedcilXlbxR1vYRZ96TiYqmncvmSZbd42tyOAhmRYMiD8z2yC
oS678zq2Xf9nZqw/i9cGfkQHCQlh2AeN1Hz9TmOr7x7H+k5+txvCV88zvgJCWdMNiV3Og4xSpndj
n9SaXbSPBvv4vxdvw9UX/9Kvn1bYTXRV2MUw06Lfdn/zFIh2nNquU8KTsJnGalBInxGmuPuuqVNf
zQzvOXaEdwLFAAh/eRa8zXQb5sFX+aSjufZjvSz38rnlRgCLmqco31saHC/5+FxWJJTbBsA1fqHj
YSa1TeGd5ZNRlg67lJDmg3z281+Xz7aVhtuzJ7C1c63sOA+dt42qdLhmDp9xrXiSNw0pILteyZ29
vEsMDifhsDpmalSuP6F3brqtdOfnf4U1ab6kTfD2+TsGkALkAjAiZbMqnzj4JOTZI16VPzICCySD
Dht7Zz/Fep2uBixTYf+tVYwW+JQAjXaV+aTZs71zh9j0+1zROEh7zs0QFfrRWK7G5THaVu6Niu7u
yFzrZLcaqEy6IhnnKGEfos7Stt3CDow6JoJ94FZHrVGJEaxV/YRNiUN3jaMGkUKjnyRst9a8x75P
QFUsJwiPJs/GjhNMzcvdAJ0iY0DlzRy+Wk4wfMURhUAVzcE2JPr6zC7zWgehuGGk/xPEInRBDuO9
3CF1Qo43qnCRbeCcqu1C2+X0yL8IZXiR3Xq0PjtwStM3ltxom6E/35RBZGwVi2BJtLKi2TZFX/qA
mkH1VV55kLLDvBVwAgMtuEye7uc5KIE5886dolofat8V6MqD9Mrxwts3k0NwLnRxv3fPzHWRyJG0
ges9iOyd6YjXwh4QnSIXV8Ii+PWKPeE/j/3yc0uFIcr2GYcBeuqcHx0496/DDtuOb4Qt0p20QWQh
5n0OzcMFaAJVlVQ+gDSy/GZEyyRFCTBY+SiXNLZHMkk3Kh2/R84M/W02D/XaR9Qryk6Mbm8lgrSd
xCm1mXtS1IE3tZjq01rBkDqCGNbKt5Vm1ZfSgG9khOwh4A+WbTmJyuemcuN9lyDFYRbfXmVTu3SD
N15fotuWh8x5O9F2OAkXN51sCAzhpEC3rdvVqlGMlXIq6EJQwzXfSxKfdQ5WEDPggQc+xwvr/vOK
oxrBZrXan9Xe1l+sTkEaqU7GuXaKLYWmekFEpl5KDC14UgwAQf885kRiL3L1q+iFARbC8d5rvAWW
+n9Unddy3EyabZ8IEfDmFqY8yaI3NwiKkuB9JtzTz0Kpz/Scjr8VFOXIKgD5mb3Xpp/LPU5FIHr/
0uvyxBEgXJFQu81y7rNlOd8++u8PKrToo+KKf7/jv5+3A24Q5YL+WQ/FYA3Bf3kiLEvUcGSrGLoW
4UUCzM9/9fLpmNKXr3bNEQJ3jyUNFoo1S9sH0TQ/RWU3757M0yN5FDNmWtJu6UPRqJYEPVodOVZz
vnSfrpOARjfnmEe4K94Lvf73+bbBzjmzfb1ts9X4XfMc1tLb61fO74lFChUWt+sNgJQrZPE0WVUF
/70NjTFhJLp9rhDOeFBA3O/+NQo4lXxjQm1zu8Pnrv/8N0HJQaTD+1EK1N52+eZ42eOqteVn65nb
UszaWT2347qZS+TmOpGpcO/7lVHf7WfbD7Q16Ak8ljW3TbUSt/VOJovp/7vmC8scaQvhAiu1DYd+
yX4ViyiRPucwLcA4oi8j4oSeCUvXhpfIlfXQjZ1ktondHEJrOHrd8kLcynDV4vgdOi+SXj4Xyoqd
95b62gIo3Rs5Ho1xe3lbXT1NNUDjeSBxpVBgfuVIw1qb4b/Sv6QoialoN4hGMfGdID7jtlGPt+Fj
kxKVc7sN/o3EZvsdk0bYWMy0fGvDLRF5cu+MnX26jREsU9mJpnXu6mpod8x00rAwUabfvpWlJnRC
9KdbCBzGItpzS3ihpTEMIcB5Io2qtXY30WRitjJ0i845YgveF0Dh/m4fpBmyr+0DJf3PB7dfSicl
1DHr99OPOZJOy7oN8c72QyEL51iOre7HfdVHvHzULapDdhPmAp6u+pig1nME4NxiQlujGO95lT7I
PnWh8OsxyJnshMAiEp3t3t82WQu5EicUuwxeR4faHWtIb9CQrlthfNM+ex3L738XlJk112SLTapB
fEE0p+PvNyc9a5sE7vOh71Dh1gyqjpIMBPqMxHaP8+idJrUKut66ak5V/Of5OAJe8CF/4Vfj/vY1
GpBj3ufZM4flcIlX8QlEZAuU3n7VQiQbGZVtdr8UU4Pftj3S7L50kYSiLbs9724/xHLj8DAkC2dn
/m4N3XvQrd57aPVCP9NkXv797H8/702WF5Iw3QdGr6Mt4BVTCc3dUbP0+9tP0cnmfhyX1j2ZCHbE
pLzcyzUaZNu+F0xK75uSBCR5+2nTcJzXhR3efrVCXkXByE66sYr97Xub9bq8zhu4cU6Yv60CKZcu
oQZZSfPHGSLKfhbea54TEGIPr3VtfJR5bxyzIWOCxJzcNoEujDiu/XZLQrPvDanHj7ePa9GYyKvg
KKpWOhWAAaY+anpFC5gSnlQpfyNOS4+3mYPtcaZgJo7Pee03+B0KfEv8h5c6Y4LFlzcTlkAcAjRO
EoSRPA99LGiIsyy6TYzk9tMu9wj5GkvlIR/dh9vvuH3qNk5ySuM/f8DO5HoZJs0enzAklRFWD8W3
4q6/F1q5ktexYigy+0exzGYoJ/Ibbs/ArlLTU9/o0FoUfX2pGpWiq2jv+ttmXDd09XArHTrd6O+S
+Iqghh3PaCp0PbrtHFtPtJd4IQmhbCBVlyghTbdl2uiUjL+Hhudwh+kZQcwrfZd5v6YgYNvSSAh7
T7znomiPVdphSHX7bcI8+oPWKl9WwRyumwmL/Kds+Odbq2PzfWj6o6lN3eOtp9l+ZsybnNDorGNv
Nfmd7cJ5sYTVhy0gv8grNiXLiBtnxxoMUHRuR2Neakc3ne1nczA/hi1mZbT60Z9teoBEQ0aqKRkL
wK6kc1e99y4jQ2qjMThNddVUz7t34v5vP9jdTlt7pkFN1b7MbgJ1iu1du5i4N9teXplYyxCPYrsX
FaaNsUvvb9LPmwhUbKO7FvmM31rD8fbXT0wVEydXfzFjHymdu+I6Ot57ulTFPiOAKZg2eXyRk2Jb
D+YEkD9llTg0HPWZWfg2POjfalJiykqGxK9G89S46/Ady4V4ubXTnwEls9gkWgLDLSltt0eedoPD
qTkt6DTrJWNlXQ/SzLS/HUmc/Rbtdvv83CD5rdPM4WAmYMcsBvfoeZWNzwYVWcdjRg7zy+1bu/1w
w7VkwBxHpdPOqcmurS9W5ZKVMDccNTceWZ3GVM9xwau8XBGdS8wPbhP7QqTeyZq715qIRWwY1bCe
CgW3YoPe72kcZsSYQsuf3KH/f6LoNboV5WmRNw9qvUUkbF4vIBx7M8UG9K8oNzONUQ8ptndLyqWH
ip0wyUyworktRFwMNLcW/daUL6JlDLs44qTMGg8RRR4tRVjPSi9GcCdFvucUJT1yaZVz2uoHJgcP
tyGUksOrRjT6NWgohrCFxhy12XXtJBDZ2kvO3GzimLTqfz6CxskWjlSAPTnUv26Xde3BYuri2e8V
BRtm5hUPvaOsD3CsoSOh5AKdQFdxlycieQbjElpZq9w3Km8fE71617A5JDf8//uIrRqhDFq838a+
Zxu5s98gZiS2LPEIUWl1jeFyi1YTi9sdwTkPANjfbhecqqf2Tk5MeQp99F6bJA4bHWNwkk1/tw8a
HGF/kwL1N/87Tvjfo85atINmDOW/0YM0kntXL0kPTaU8mnIQT8So4d3aZKr/gLFwNTz6imZGzKbO
PwCc2lbLf2cLzs4Y5v8VomzJ0wDwCsYG91XXtbehp7JXBO6uJ4dcnHBUtRW9LALEzZ/P0ZoCHpri
AKsQW2TSvd0jUzrfIDFqhQx0n+XiPz+s0OrvETTer0Ven26fZ/f2n18kEotwdu2b0dD+Jvw2W0Nc
zGGEmpF09zd5lCFmenDdmJ5kkbl+b/fJ6SarlcNS7M3GkRB1EQxvovYEK07w32H6TY2rEnQJ3UPm
IaE73xaGyVdQ6QzNdPlNk1SgF2IlCR6/22ZINSG059TRf0avrn2iF9y7tWc3rjuGRsI9DwmrIz5G
w2oPyGTQdlgjzFe6ieC2/aArVI9dazxhhvz579A+7dXu3ikV/7ZQgA2JrNLZMlZgTalYtWi247KZ
HogP0M9KanHfMoQOZBKXQbsimt3Yg4cxNtJLXxIK6OnKgD2pvM/+F/FZtYSvTPUCPUdVqkDT5fqQ
q716BvtQRXq1vMHMsYu7hEef1j+LbehpSV0DoOeM914FmFFtcxlJ/VkQ8HA/Va12lauGWo2Q69vV
ijnT3Q85I9XZxMyTWFl+aRbjd1Lw0vcLUqAMNwGRXx+zNumb23IKxiRWH/PS/j+hHbf9YswyLfz3
GsTJeJLUaP9nbNfWGkU7kk8cEWSM/AvsLd6qGAyUCol056WEWN+UM2irY+wsMVEYrXHRK9MJiFJl
wNeoflcr3mGuJacWBa1fT/aDWfzypIDplVh6lHlPBIQ3T/iwDzalgKib50zzLqJZHmenhQKjD3Yw
D+vT7ODkHREf91V3JoKaS4O870lrskAZ7SUyJs4kOa9gHQjP9ZSwzcBPTqTizPj/cV5Iv5eGtyPs
BU06a6ucTQSEaG8HGM8J8BU2AfZpSuJYPouedSUbAgkrAOimRyAaqbc7NR0e80I/LBnZp7pX6Jha
FrLBxuIgZ3fGJxfLy1zw77oVWzJ3fVbxpmtp5zHeS7ZIB/NQTtKi/VLeWUs9FoSrYsIunMieWhuU
U/27sVRrJxcglKl3oPHK/aonmTrJDGYwC/GztaB1SpdnyxM4+yrBUmzSkX84p8k05qPV2ygmicvs
EVoFoDMe0wLXvUDDFaTdQvgF80+fm/mlWsnYS5rhF+rk2C++pP6FWqluc+SjNZ5D07mskmy8jrAK
P3FHiGMmixTEUwpSxq/ZNg9Opb5vr5fKXe+Dz0Bmg0VDwlxGJVxyblkUSQNzjKMT80dNZAxWX96Z
qhx3pbUgmlHbyGvQG/bip9MKuKbygpTvx645wVc8QDEHxTiDOG7c/pQCv3B7+34YTD/nCtCm6mIZ
SgUNXGGDuU7fjM38FsarP1QOYdMWtI1y0WdOqqQ9ZYtzZRrwM4n6vcmcazdYq+9yVBlaqUcFBmyw
JOOEAFG9wnA7lSRz3rXjcmRtga+alU+wLuP7SKOMH9E5qW31x2q51SfDCEE4/iLB9zlLa5SOUtui
dF6UtSKvyt2+KMPGkmSxzpsRYJogM+tWCxYe9IpmJIhJQZKDtg2rtrnmlo7yGm40Z1mOm4Lmn8R0
Cs169rzAiRfhmzhlfRS2caC4/XNZYBaVPNKGjL5J9Gk4usiTpRKT54RPfVjohoilnTTztR6Rv7i9
4QSzSyYmBiDdd+guCOJMPy3FNC9EgDPgd3yCciveVHJPLS37wWtw6ItqZuueVVGp4dFPh2dXHwi2
IBGNzWP3DsP8s6pQyxs98wEwiZGZFW6IeLP3Xf5OwGvyyyhRNKaMCMbMSg4kJj5oFoWAENlTTTjd
nTvkHzF0N3VBGmVnHdCnbsM5/4BVBD2ekfU+gakk3fFjzsyLXPs/VDIjbL3k0bRHvhGH2ZdupD9D
25UQawzFj5tqDad2kCdRk6riLi35CuIkF4aPOvmt6VrC8HUUj7Sji5goqohg/qN1axtQA10tQaxj
Zst712PCl1rNIxtBAyxU3vnltP4WQv0tOt7q0a0S3x3WY7JJFzZb3zyJ6wIpIaziVN01ErmlWrzx
YH4gLX4JnIxRR0WgiZyoYPAzeNUAmxLJO9DyfuVaLoktLGoC6YA3xdBYgolSi8CF95zpRZgIMkxS
a5+3/YPjlICb9E9g1THtYPYmC0roJpUe7gXh7AgA6v1xMV4dIuTORZbvbelScg0KKxIFyYJdv7IC
LA6zjX1bB1etedYeQtBb3dKbKAkqBSX5jd8tp5HdZTAXpsq82/4ve6jKsV5/ILF/MKWSY/yq/owG
MZNpIXelDokYIs6+FUNxMZIPETvRihg8WDuoVkgg/ApNge9IuiugwuemNjkMISD4VsbX4WCdZ0Hz
4Inho0R6EfYKdjvIREHxgh1jfd1WOGn3x5DruNcyouYLHBrsO+c/brJ5aYdrmlrfvLJ90TZv6xpf
IMYGjjlVkUpmamCL51gUz7yX8mSnMf78ZJ05bqpvoem8TiPUFGbrZfo48Q/IWXsEtK49oiI7knux
RKCNP+tWnfxZNT5NCPSBF8cfInHafUtydaAYjPuGogwNa1Tvut4LAb7y7GEzhJVBktmHJ4x0rIE0
XpcpguK4SahkBtBxdPQQ8+AggJgoGne3aKvqu2PHRMFez0Uv8ZJ503PBFmkC1ebF2pvRwuOpqJRC
QtRZ+y7KTkXRuwMkMyJPY4Va1OkZZBnEY6sMTcTbh7W7tmasR0syOEGpoJqsjJnLr/8LOPKRWKnH
foSKgL+oIOEnBHF3Z+OAJM3vkGsL89HG/ogtB0R4/q2Rfxu1k2zAJ2dsasyUeHDlRc/1D7VNiVhh
zTxoCDK83iuCPHZetLUDv+wmOQXBdJIj1fhCEz52CzAcXjcfHcJnGrfRYqkJ9Zi1wbYYRGE/fCbw
J8ZGssuYHfptQV464gJwhuWfWU+eatWcIjYSJrGyo4Z2xFjDDqdlYBrdUwGAQRb21aVf4QHEu0Xe
iiI0NXRFU94hcjjSv5KmN7R6yFZd9wWJ4La1PlWrfp3UtgCmqr9Jpa5O94xUf5rauMYOG62W9w+7
13dtaFw7ZhsNhLwgOnvLJoT4CxE6VswXZq8kiyflbN/l1meiq+e+k2VkW/TKMwpTXoALTDe2I06Q
1/Ryk4V7T5/bnSrqexUWSZrry4HXkucrN5E35ORhcb+3cTH4VpekIT7tzzrPnbAiMIOnovtiF/Gj
ozK51hqWQQaNIFKcKhiSayHZgxW5RsAsAzKCQeJopFmjRE4CzpMD5ZNzSLL+kXuQnDwJ/Y/6BShu
9iyzuEawUw/+tCrskDNtDhC+XQkGIjEeE1JWQJqaVbQMUIqcEtiDmWgwXZKW+xR9epTkZViSmkuc
PIQPzySWKNfXu6qtPitJMI/FlKka3EdLQC34TOKqR8RDkdgRCg4ONSpG5HQTFY9LJ5/n4NWUnoRv
ia0rUQvqj+nDmHLSYIvMuSvm4drNEq+vLt8YXo3hCnjAl3XiHpaBTGxPp7RPxsT1l548FWbupwLR
I2u5JPMNe/IixoEFQdRZudO3cdM0KpELSAhDvsaFDUw9cFcWll3d7KYYH6TeViap5BMngVb+Eozk
2HLMRWgrzVfCC6wp7YuZKagTBKxYlIPEiMTVHtUQraSRGlGBoDrG0Y7hwvjIBufHrLj0jbVTX0gw
GxY7cpS04MmVYGUGYjW0xt+s8twtuZ4TjonkzEYhnMz1VDKppBZnLm8J3vmGl7AzNmWVET+qKCpQ
TfPk7YYJk2RUEGJpQorFO9ru2p54PZuc9IfZJHhue8Fb0/pITXhoTkutptcZq6llIah9fQO5fUmc
cktT5W4fdftrdJOTwtT9knvZH9qa5JKubesTdge/WJrPMFVevHSugXrPTUEanK3koel5V7cSZDEO
JPSxz7sTTc3JLMoQBtcEEsAgWG4kY65PFJLGBvk+Uo2XuopGBs1M4Lh/as7Dss5gTeiIRGezozcR
FeVRCg9D0ZmiFHPDgvJI5gyOevZNBa2XPxcuvOe5C4XkoMVHK3js1l2gVpTEpfOC6Rg3Mpoyv9/f
bswhN7Igb0kcnrv0mpVd9W6XQZ07rxIhLFM4iDPNeLfdLSPfHj48dqEq4p3kNamaD6yEu4a3Ndex
V+gxETsp6nRWDYGHW32vifSKJ/8dKRnlwspGDmfAEqpxd0/7gO6bgO+soV9aQPkSG1UQf+3mbKj0
cvjNAMM9S+O3pTToRpNUC5msnSmopmAy6/skDzcKAnx3Kg9r1xJkCXjgnqaYWCt10PYTK6/JsDPf
lcUaeCx+wh7MD8XSMjnnwSQmgQe6cp/M6W/bw4tnOGzlMvVRITNCwES+Uyq5W9VlgiPJm8AG/pfc
bKeQylwUh7/xFhwHboXSI9MNcC43mn7HXu+5Lp84ClgGUBZ6RtacRpbpYGMGvBrlM5DIczJK0mEd
FLOLN72VzC6aZiftAzqLXzcIn8JQfedmpoNj5kUfVj3ssFOr7N2YZ6hXCfhpHigcRGRlzquNfD6Q
Nr2LgzpWxyrn65YV8vziatxuZNWdfi9TdSBKGGKvIBbCzvSLg8hYIdAzWKq1DsrHxdo7c1F+DUZ6
cvIVJwI1T2R6gCem5B5ShHode/bkiIJ1drFRbwMUSxphHwvmWE/YFaMFN3Gx0litNacNsFzN1xcy
vGgDf0SMqgUC7Hmi51t6LHOJ4N9eWWcUXf2OLx9QhmeD3mJtuEw9dnyyfLjSx5WmRJxlqrwvbDd9
YijG0FD7idoZt0lVNcY2THJOxtBUOztLP+2JEZTt6VcvITcMJ1wbCW3jI2E6bpFpxUkM+Yh04lp8
YGsJ9LZtALJlr3HZKcFo8H3VVvJlt+4TQoIuYBg3h3NbtTvS+S5orJmqK+tdi8GcooTCN62dHOgx
m08R8/wHI7JTBMPIgnjRNuEaVQ/FkseRMCYQyKkB1MM1BBuL1Iv6mgjuIqYNr2p5UEsQJLnaxRGG
EL9mysr7aNTBWFgy0GJP94vZoC3l4eVZJsWq6D6GFHts5kzshVlnHcZ6vjZZvPjFMs4fTvebBymH
bMUDa6Azc1yEpDN6sstkpxPOtI6xVcoudyzKI9gnHufu9CKkuCIHJItvdaC4U6CNbiRK9VqkSkU9
9LtfR/bqnhh9UMilr1bcFHlFKraQT0udE1lrc3wCdWs0p8N3lUHGTN/cGZHearQshl0ZmpWQJ4uY
TB8uOPkU63omQ3R4E22BuJf+sKgCL+3UCBVqJF3aWk4qekvHe+60Zj6SF0kGauX+zAVOPGNOxaOL
DNKMlc85Qcpgmg1FrkiOFc4HWJ/Zgsce17a/9pXNlqd+L+k1sK4jhNjO8WqJP51su2hVSw1Vsouq
umawbZP2xvNi5RgMSaTO9wTHsYGEEwO8waQALR43xqphFZt1TCNtHlK2DqjLsxXygAajI5QGj/yY
SO/IDEacMKr81Srr1Er5PcuEtSltb1CXHTrAVdupfW3DhED0NaMYPxLIbBHHk4Oo5UDvvf5vvcQ/
WuxQqmrmVe0xc7M2uEydzcJ27JzII80mYCdt4rtRomRYl1ObOKyyveGvBlOsWt1jGot3jCVPvZIi
Fjfba8LXaaczRr+u032tseogq/qfoqT7mDUVnDVx6gbuox2H7a+BZdoI1I9LH9wmEx/GxX/rYXJC
yviEMMvux9O1yEntx0RyEm1tsIXUPbKl9l5lzOOsJPZCLJ0Xe1GJ73GQN7uPduIUlIYxJXClvPSl
fJ2zxglQz37o3cAtYQ33jtKUZ7I9bOa06yPs3vNoUda14Npahqxn24l917MqakEVSHWcofVJk5kg
A6/nMV02SBiUe10rZ9+1l69Fn6p9gwgWKP+lRt6zm8E8IfxVI6VLsPrq8Xme28dSSU00EurLOEvO
Ua5031LmkvUr68KkaPHpWH8wsJ9K+ZZ5uRe6aNgDgRLXVYw4wBVbh7lBC41uhddjUp/HoTN2Tjvn
uNtDoU6n7W+3ZqvbrdaJx33BEAr5aTHO5N3j9q4V1vYDh60ldsk8GlHXiS9X/TvnFKbVBPNYLi7q
xomKtUh7b0fwnN/J+U8zDmRYNkl9AgqbMAl1+qO9pjyMmHZDS6OIRG9kkoJHRAq0duhmyUpLA72p
yK12NwBz89fcZGoo51dFL36g2FHF5iLQRGscOC0AvV3iiglkLpMTbZATAaEFBTcn3yUKvECXPZfz
CJlBSf3Ymx64Uwhh8qAtZpb2IjL6nVrZ29rwqidIqRSNm8hUzNd0AU9U5epTna+/0pGoKbsifzIH
Ej3qM6ES2zymIZxRHRXef6X0FcdKocwpabQojME8uk5Htb9N4cF6h3nrTB6LapFz8ng2uaH2/DIx
xqUN+fHG1vJnj6xRq3d1f2CU7nk/bWEKGvBH5jtssRNtT3L9fOjtcvBjQ+MLtzuSzFMuSH4H0ytc
4RpHXjUxE2A74bGcXz2MKhfa9yTwCK08qVpzZpW9Uo5wY6CSvqhjOZ8rCA2kNXcXU02kn8RO4y+M
3xfVDNs8v2dqsYb5Sua3uQDeENaHV61k1Sdq1HrGQ2cxGpv7HMCRqjN78wxfn9MnNADnxnAfjGqy
mRx637Yjnwenu5Yw4ZSYJZ2RN2pgTipzZEqIVON5OTbqj9RX3OutAzu65VVG4vw1K07EJICp8Nqg
fJuIACxpsTsFYXiDorR0UgX9+/jssNPzRSeNELycjfLJVgNjwMoi8o/JXiraEexwENi+80H2j6bc
m/04BGjhg5pBHVMTfYxsl52AXaFPKKcj2r8hAOHO1EyhSpy69sGo6QZchroX5u+72O3Rr/U2rtTC
e1yNFfLEFGe+V9DHY8HHVRnOM0ergcyUucrP6LbE0GSvObhXpd40aUOK/qrOXqulTQk+tvyup+iy
6q6OYjJTQyeAypMHvc27k3nZi0ZCFktpRhnq/MgenQoDNxAFgXwdW4NFRZJMaAzBB9kF1JjZgTe3
maQrWu5NnrRydnqVvu7pg6esFq+rY0DA6boLkXMOI8gNZd//wnjbEiNnw4eagbo6HOGak5ogCcuv
cVC+1dl7HcqW6Oqpw2+UQRMdsj7mOwCWrVjZmTj4QzfnH1ZRLrtGKcGVWgAy7PQ+IVsz1Nr7DNAJ
nrAUS/vYM+aaTiM2sR1WozowdHrWkT19oFGZ+m6dh3on6ohgaWprzXwUTsmJYRX9DvrGV9nHn50j
HnOPxiFr9MjJ3xZgID4YSy74Nd21hP09QPUgjsoJFG7ciJlKTShMOOvE+Xa4Wu6QuwbqkL16PRe1
a9FLVrgJQFU0+8w0d30C8B7E9p9qra5pO+nHzODZp1vF0Y1X5sleknLbD+au3TAHKvjtwGvsPwDL
20OfTR9Wio4FB8emqa1RHvPMQXHyt3IdP6Hq93CvTZpQTnlM0vzS/7FmQg+HuH+I56U7awURJZPi
FgzC9koO+xHFn/Rn11nOnGCD5ZXRVAxEYKXFZt+iltDfix6AAXHOwHRKbBgQ1A5Gh+a1T2Aw21QP
km9VqHxjwPL6EsqnVx+twn3DYkDTqKUYseqNFGMhJfLij3o1PokqQVVBAB1n3GtRulagpiZekFiz
Dr3QrtM639ezzYE2Wtq+7P7Arsaj2h0sKZSnGCL3vjYHENwx4zYgUFlSRUYp5hNVwGeyzFZQJcgv
XNEiGeI9rFdmXa2CpxGMRD3Y33y5Z7uZDzpG1jD1lDPHBJqHxRN8q0ehJ19ilXRfnvtXbe1Dj6az
lvpvMbsHvUhOJWJZc5mn04oA097smG5u5jtdu6QLtSl8moEXCU3FVP70usfFD+je7yue82a5hE7B
vgq6PcQ7vQ57If/IsIWytB8dK967jbYVTPalqcGtudO3iqQr9JbyLOv4k8yAJFjxq4ZrbV5NDWlo
ajarHztzROIG0Q7D8Cu1dSxpg0un15q7wp3ju7UYeSKakKdINGeje42FgbazTeJozUmlx66IYh1Z
x6rGd5abvHMcp3P3d6yxAdcZI4S2XgP8coRFGA1Tjnh96gqmGHIg3ma2qdJ1C82U7RV+l3CW9f1o
Xns7/nFZgyIJGRmf0MlqA4zLwU67Y8tWDvUg25HJQLlvUjdRaKY/7lSN0PoShafcgEzLXL6LlPQg
wbc1tX5nIOBwivaVibzODG2fqZPcI/S0UHoiOJ7ZYvsZmjVq8UuWe6+QnYm64WWXvWIdkB2xiSUP
dZzietee65KJtkSUmLOje6lYRhFcwTVL77snNO4oB65iKeMGvar4pboJvYDnfm6cE8rN5JCBzwua
gYcl7LOrg17rwmiB7mik+nYiw257bjnHiOJOwzOW1bucQKeFNFxWhOmrsClSEghmXLTbPel5UZaN
j+hQRyAtlRHaS/7RUllm6CFOIwlTa9OIo14X5yKfzwuCGHXfw8lngGui+m4KkDW7ai6ee1O1A4Vj
0F7xGrWJuNjdDGpsIj7OQo/NuJ/hKpBfv5u6nefob4S7vpJwmmPG3Zu58cesOPHa5TCKGSIqMbM+
vnB0URoOfSRpuOw6orfzp5qcrC3C54FAP7z2BdRFpudB6+jk+W0JPUONJ91a4jCG10XgOxlWjdGd
DZJnQc6RhK7x7hiCvmNkDjuDfjqQUM9SZUbkqE9jdzKQfWULT3W9cQ+m270t2vKnfe/SMSZmkJSu
ttAdIGZejVS9ru8SCARrrzqR2EpCtb5oAxNcSMc1hSyiKXCoCYpEVKi0ve0SR9KzUCXguN4JmJrt
/FExhcfZqXL3uT8EhFo9FtDc7b7NWf9BFrLDn7X6c9vu3bmyD6Ues8GdrcgmtiFEU7nX7fhFG5ZD
LFSTQDg2fUV3J1d8FhCJTV8b42Ov6l+KR+vvuhdY4lhOUeAFame9FlW/nunzfmYUmm1WEku+THhi
zCoEkMcRMFMdIIkhTcf+i/X7J5c84Uyd8r6olHsMaUZYW/VXJxLaCrTHu6yVx1Xe466OC6TBarJj
BE7T8zBLVY+aZSavU1jvSrL8lR1Lq9wjL3uxx4vpUc5Y7aT5XY4Es2pfey9OQ0YrX5DCqd6JfN3a
yBULxbdi6c/2slDvQSPgnUTW4g3PPTcSlYNOpWSUVTjLP5a7K1c3fcWbEoimSA6es7ybHSpLMXJF
Ep3SsgsviSvyvDAhwjAcc/O1QJCS9voHO4bvpu96BidKhNDBJNGcqKlFtlvDcteX9as9oMH2JjNC
Q408Nftq6uxnIwtR0ogAueqKmIX5/zzDB9Xta21bhHpXj1NN7zIRRrrTlupsNLByZWuuaC3sc8xM
KoCIeyh6d4+kvdpXtrofbRj6cc/SnFEVu3seQyYLO2GYQVczfCRqo4goN/0s5aYwG+46PNstFRSC
dEM/j4LhsV7yMBbsrTNG+Aw2+3ZT+O8UJVsfPGMlw12k5wwvYIWvdpc16e+BLTHEue0RD+vUWxml
bhjzSEWcY4CMOc8sOxKdzU6u6XdEScig8uyTaDbPHas6pbC/qwm4D9OsD6XnctJcLhqUhw6nOQUP
iYKJrv8oowbuWLqv5FVR/wp+Y6eTiUm7S160kexr5BqAaRjhT96nBvppV+lVd3VnQcjmduZkrdg5
hvKtO823pxt/a/PbKJhv6pOKbL3on21kMkrNm9fGkqW4Cu+ARY4vWP/spd0/x57aHTtFjSALj4c+
OcsWjCIaIcacSm8xwXcb/lj8Oytm9gRDcter97B+5D4mrhHp7Mj7wwth2cT3LZV4Eapi7jJFcmvF
UVnZ3zF3ZLQUEMbyFlT5Vo7pWhKkg/virL+azv3Fttq+88zvWJgJ1gz5ZOdGtWtR5cOLZkFf+Z0K
DsQYH0pYFbbD+QfdK69cnXbRaAIaTNDOrr7szczeO5sDcPPcBSbFYLGKcpdbzYnB8yP4sRxFhfqm
SuUPcYRmSKiUxanMkDuu2N6gJHBCRVEuPUr3fhEG4y4T8dbcf+mGMV4ax+yeu3uA3ta5d+zKt7TB
jmzBXMUSiXUltNCAvvw/hJ3XkpxatkW/iAhgY1/T+8zy5oUoObz3fP0d7FS3zlVHdL+ghFRJVVmw
zVpzjhlkHyA2HzJEh7/yyFhQ8zAvNJfR/9cMSJt5K8dk13+zSQM2glzbB4PYx5RWz/2cElx4k392
HR4mUUY0RWwLaJyGopAFRg6EanTedX8o0VqyU8NriPMFZXbVF+Ilr+Jhk5WNtUbsnDxqdbNCLgSm
L2THGo+iXKe2kl2iSj+2ddLuZFhH66PHcxWWjPdTNcFCk6KJJrQF2qCtqLu88JRtXWCP/fPK8ZIP
S63RQsz2rKyb/Au1o4tKRXmWnqKY8N2sOmq1Pp7h6MAV9tBA2Pa4GTJiJLtmflz0QbyNA4RdOyz9
k+T9O0TIWSbklBQt2LYq6NIS5ITGvNb1s6KgZAz7ApXEoIudMUbqOUV12HLlnDlAuWiYGbQGUYBK
tlhsXSmKCfRFM08gbppsWxb9tZoJUr2FNtLWnWzTCaPaJ4xyK1t3B+74sL+yb8+vo4EQTAJB5Ru6
hfcvxjNwG9IRHbxHrmFswg0gS5fdbQJRRf4/ENGtMwQcZd1rlbiOE/Leexw5nTf9CHuGm5qE3ZGY
xufSDu9nlLn4AeevjGjYKJET7loPIJgH1X1jz4IOSVpI6pffn2+odHvYeDw+efhTUgMwsd3PpAhd
atK9LnkNy6lizWmm37NILNiHmJ9FoLze/5keOPtXKjCvatr0rYhMAZ66UZ9apBa4XZz6hGM/OyIk
XAMOOybsmmg9pkjOCpZawDUMLPr1OTFU812gG4ESjA/GJpS+Dnr7VEHsu6KKZs8LQAUwpI8wW/N/
VG5hP2SDETGgQzuVuS7zdZCLN5I83jBqQj/2OvFidn2zUdLMu0O5RMUauBfxR9Zq2lUxknkK9vUr
T27EPD+NOzPu4ln7Hp+mAswMfVPOgYay05T0p87sTg1lu0tXj9XN9gi3Nt3w4JGpvg6dIl+zeREv
SOBTkBcwkKL25A/6pzoz8CZwu0sv6M1lC9h1KSFGvpum66Krso2SYw+ZDDVlv6q/FVb/UUtJvjqk
9KjdYDr6xHhSG0UKKnT+Jbs2DpmqRTMilISI2FTWd4V/5brTbWIlgbGdfo2gq6cLO3mpEOgixw7V
s4jS+MAUGMIVduDv/RswiZ+Oj77cNM6AJd+OszVtVGtHX3F8b6JoG6T5ulYCTJRuldN0nT25kTVr
RSaWFkpuQt5ThDhQPFXPiHWD9TQW5qujs6ZKyQkWoeHSmA6ym7OOOi+6RWPhOGiulLnWz1QI/G7c
R76xkrQMijVHVXWbox737jbO8vkJHpRbbvKkKzXqT5pyPpZik1UwPC3Rq+quGpGHDf680vH7YNmV
aLFYBBfryMZDITo7W/Xu4CzRDvsXMygC+L5pvSIE0lnQefFWRVFAF8uDLwaLmTVtDVs2HGgTZgO+
Caqst4P0IkPD5aV0FD+Je04XI/WmlROiCW6b8JU0cJxXeJkORZVYoCqn7jlX0d6antU+34ktZJ9X
2xJNId0uXbzh+QpAF3rVNpxPUdNHC22w423cT/NGHcs34a0z8ym6TU5eL7USOV0woyS1f6fl3ce4
P+l5qGb4iVWIHsUUr+XwpVl6vodl59JIq8rT/aPvK3c46jnttlmiGykFuxRa+Oc2TpjJ0+rRkb6L
GOz2Dp7JLzmi2DEiZ9vlKcMDTQBEpuZkBoYxZW2ELeem79pDX3dAmUZWI1qLxV2DrScjHb3utcOZ
cb1/FGPIP9m19Ht8xmJsAryKbHdZOX6zk6Q9uBX1tTCoFAFX1tf3axjdVnyX7jYf6Hmk5MVe0WyJ
tZ2X1NEHFjDNZKE4JkyEMX78FOq7zY6/iYBT5GYT/XCNH9I8ZAXT917o5Wvsjtm6j5KEZhNNGSnc
FoP5oYdVd5GPdwvjztTTetm4FjspQo60heWF0V4xGUfkE6o42cNQF8ljyiL6Zpf5V+O+1r7QblRt
xAu08BXSRGV/H/T7PhwfqKv3KfkY8BVz3cK/2KAyqLT0MgaBdY+eHJMDCM9ZRNKMe2lrajLHOhTW
dGMsZ2YLFEfZN0QbLHDaTHvXtxHvFGH3xH23k7eYM9sA8xxOozxNVLRYI3BxUEOO/81NtOlLVMUT
PKb6GX2DiU0URLe8Hl4iMhi/IowJayXRx30+0qwBrVrtzXlr7xq+ODj9CPidLk9Cnag/yWw3lq0E
YM4HJHGkh4m+p8agbZm10Npo0XgfC9ndtY+q8yFMYLyJPxb7zh8TlrDPxNuJL4eKxCprvOHU+yR5
NCyEdt1sepVmpgrRLvq3AWywFmwkskhBJGEjXVzf7RVOownk7VF1UagsBxDeKEB03yGcu/tyLNQt
gi7rIavKmDKSmXzLycWr7a596MNWLCLyWZYF2qgTobrWK8a/RdS1w9t9WjBDpjEviSJqLUW9rVLM
FkNgXiU8iPJtdqu77ju0eRxpepzdCgJ0WKpMoJBcpC5rQni0hw6bumZn5pNMd/BqkpmbMrMPdUfv
eaDeTx5K8yiBBq0bnZqI6VueDewBgV8RhlY+T4Z2cmOopWOAhr9F5H0hZ0k7tx7ZLNS4mF+naFsI
QopV+nTbejKIY1KU+HX+SvkX5FdmLlKwoOkX/TCEj52tnKXxVKkNdR+lNDMlXaRCo7Pq8F0ouO5W
DXtaEq6haF70FullGBZz355MOE0nYNBmzbabAv3czp4qEbPPscNZ3zhW3Rm/u7msRtd6zcghqrTk
lDN2POK5rB4JrjjJAdGuEnvfV0q6cigHrMuW7z2okA/SQ/MujO/KE4SGnVkUJMTVVb+DPtHdodSu
wihmVpV/dgxn0ZdB9lw29OeTNq1OlWiy52SsSc3kxt0QbJI+Z3wCx5AWQGQ4nzQYzScqnOZTMbLa
n0jd7OazQGVVN9dEjcmFSTe2+fvon2XsYhbXMd8rYWcByNoPTVU/sjIBAkqx56Jk7kE6i0rDe9G7
Sn0dWlOsJwZpz/S+grJA/DczjiTtKJ8jkhRRbVAWFbCzknalZ3nx5hr2V0r171f5mhlm98sU2bNO
r/stZV+/UoXbn3P23kdTTWG/ISRe311+98XbGBAnqKjhpaJWOsvRp2cvckbC/bzuW2qSu1QHeM7G
pFiHelB9tx0idkE2yphlrG7GZmqK6Z5b3A1WuwjIDD/TYyHPK4F8IPSgXQtEAhvpGTbn01IpFerb
1L5QOvgHlwoGPhGjX7pzflSakHccGyYNdDeyjZ1VkLQ1TyMGRe86ru4n8koWU1C8/xy6zeZAYtuM
mQXl5150z1GQ11RT0Q54BXsiMP3hiFcWKn98ymdc4STJhV3rhhswyqw+hErCEpWrM+2m4V0fHYdm
XJGcq6JIThT+PrzI+hz+bfu2YU7vyM9U0QGw6fzzBq7EuKbPXbTD9xIjMaqReXTuByNm9+IH66F2
rvdRVyTE/Jj5FF382jJWlmXWb2UTvMWN4f2s8E6ZA5p7aAgmteWy4NcI18sgKOq1dUE5zfk48jrY
yn0y4aOhy0MecRfR1fMpv8lVplxbWsa2JJGoIobla2S0XBq6F94ArWh7DRDXNvcSZzm2swJvMlt/
K4rxaLGjfHZtOtm9mqt7NzG6B7exfrXCYhVvYStAwZT19zygqlPMgzN59O7mWGynMPAqjG2PKZea
FpXDTsVwLWY/tpsSEPXfMSzu38ggx7BNYc3AYoFVHPc3kJZ/JLNURAEobVGm+zuntTcNotazMLz6
uPVBQf3rlUPp9X6t4UFyjal6CVgRuH7kvahBkF1p4KBlDMz0YfRTq97kKbqs3vGOEzuptTEN1UK3
YpsYnfkiakltP1JzCVVnuCldeVPpSh7vPscWMe5aNUpjRf2pXaiFn02vWn8bZop2Jw9JPLHgRa81
c7bl9XgcxdkK3E+H//nJzrV4Y3QqDuzcy6FOCmcTaVn6iMn7MY/DV8N0vRdntNOlfEUXIlv2KaSV
Bskl4OkdKLX0WR7CGpWmX9nVSZ7qnmqtTCNd5x4dC2US/jlQOchXeqC9ltg+z53avsVqb146o9Nf
aCq9EabCEOoA1khhcBfaZNfkf2KhNMzmoerd9LnpaYJZ9VuOqWSjaTUm4fngJaFxsRyVn9iOn9tW
f78Tfmw8yWhVcGCHakzrqJoS739QejR7Tkj+f5AeS9csB7YXf5j0Ev+isFcsxFLNcK29ws27VKO8
nCO+Curx2BowGNGGq1wzOMk0tJBZBkp9QpfRxaqeYO1C53EORNHf/CR5kw53oUXDrrZy9Nt+gppE
qPXaridvbUaq+4RoVlswqXjfJsK0qW0bv3L1kSHPhOGQrLgNexpA/1oZqWqPnblsXn3S4+Bbuv13
agVB7OHVZbtHaHpYLwe8szD+sOV3zc6pouJaiH8Z9X2XfIy0n9VBBSYff7pI75wP4RguYuZf2QKJ
XU723DLsDPr5Xs9+DvH9NZoPSoQizSCfOxrd5D3vYQewg/79qnBMfovNdNOoZm4mv2F0j8PkSgw3
adru1YtC/yriwbgaekZAagP6dXrB3NA8NMhrHhw/fx0tyFdWDjosr3xkzrXt4s+iy7Btq8E+W3gj
zzmAtzVAy3h6rdOqoLGbeifkq/coytihuC8MIzyNvnXy8i54qloy7e2U4rviHVVrOMvaiNvE7mXq
xld5xqZq79ngv+Ksbl+nvD4GrR18GxSLCmDhTqRYtTxhk3mSm30LTeIJ4AuENHluNuWzOzrUkwEo
lBclH9MNbtXyOrrPY1kaO5W13LqMq/IjcOtvraEFDzghw5uPTHqhTwrVrDAkspwAi41ZNt2p0JX4
WGepv+0gIDzmZsQmJbD9bQAJchcSExUPHb92RfulDJ73bKv9M4gsb+mBTtpZgVq/eXG2mfqm/jLg
B61c15yOtjYUj6Yx/ET3WH2xnsR0pSfaVUz+93BKz2rjdifUbP0JHfuw93R/p7IUOUFXpKpIS5Kj
/DttvWWgrT/K0Dsgicpf7MogxyPmJvYMWvt3wt1/H7x5zv5+Om3bUG3VdDRHRwnzH09npKkVS7SM
+nUzYxzS2rS+/4m2KQY2Dl0ck4gwRTPqJ4if7xbv3KC9nvf2kxlOytKfaDFojZYBPu344SnnLfLZ
OtzTflkPcdPiYfNf014rd21rfstDqmwrmUUir7mh880ulF+aLEPeSQUZMz8auJzPKt0mc7FVHmLY
42eAJosaZeJj65XvxmBrF9HRGmuCBlXx7JHFVPssFGXEDhpAKm/QEpkg7Ndt5ngbLSjsbaOnzpb9
FhbYWH2Q1AA1zFkiKul7oLF48BGhrJQa82YlwuApjWl9QBIj99bQikfX3mQyHITNMYqW5oyc/dVV
CswtKRUiHd2MLBDL2vBYtNmOOr5pkPK+g+nDR+l5yjfL7itqQWQ1WWq/KGEWo9JIkIEFTI8neUCL
CEK1ccA3Bx7l8hG1U819U8Unckp/HwKWu3y04fruAJ9K5UsMGrvXeYjxLVs5JYN/h1KGMigV4RI6
MRChqFlVs3ssc9W9Zd03WpQYjYqKR9xDtdU0DioSJb3EZe1ugsIaF6HpqsfMx9xkd+INQl59UGsa
m8V8WkGTX6GK9alRBeFD7fR0u2fYrTlFL/c9932VwIT42uVdhdqZOtQf47T0S9duffTr+ona7bT9
g0Md5r+PQdFdaAQcnkOVGvio/2alBgNoxi6ITvLfMlvX+R+sUPE3KtSxHQChggfYYJVj/o0KpbUT
W2JQm72rGN3SsgvMcfnoAsCMMmR56MUuxABu9blaNJAO+kBjBmSCNb1MO9FMGOhxHD37QQQ6OxfW
Dw8fU18n00PLdEoZMjH2M4RmbqglN7sgitfzy/qdYJSXNDPELzV6ab3pGjIVyedGncuH8pXVT2so
ZP2qj3VET5pdfHjxQ4lx4L+PFrb+92DhgOQQmq0yjQPcM/7i7VEDCwzw78O+0Pqz22nma87wd6hK
QWRmkZuvFjbejV9Vwcae38V0G65Mte2wyPOuOjg0nugOQugO4L2YRrI3R/1TkjEsEaBAgerdDQBH
Olw6SNk0d/kH8+GUiGqTQXHXkoqRlNbv58KfjSxo197iSRMfrNuW8wk7f8zGvBCFyWcMcA1TB91z
4aTXMpgQgnHzfplmTWpUHaxpnRAnNUfEiW50KLLCjV0gT92p/R6JYPBgMIejxRznbd68S2K5GGyj
2IaAUKEf62aRTTCfxm5onYDBfK9Fmz4XwcDerjIVmBB1s59Kj9YtyUjyoFqTcX9lOs7/WHmJ/6Aj
UiGix+GyOBf8VH9jfml36UlGP/kgeiWHHkFJ0VOMTzUNg2UrAF2rQeFviL1wqQ8rxUENENyo2ZaU
Bu+B0XraSHRRMSNc5SFp658pbaV7vB1B0/a2Vyk6u4hY77OTQgBWlibOj3DS9km1VAEXUjvCx1DC
kxsXVUPWWkyxOExJyc1SapP//RbVgFP8x01qQ0KkeUpbUoNn+tdNGtPy4znVKJcMXXjAYVo/Qrtc
W1Sw2QRVxSYXdYCckoM+IAC99/k8ulnrvs3GwyTSiHUUbNxMR0KEOV/fGjXaV8ckpYyMmeojH9BS
zQkaCFlpQLl2d/JaPb7xQVB9T3zr3dGumJqHY8+CqyqzCp2kw1FH1XyUB77xfKsL74dkWahTuyyo
qlxlKss0AJ3SSoed8SCbU0DusL8H1ki6wOCeonmPiuFnr3XW9Cm8mtiqyhlvucbTl3jFjQTcaNlr
ShesW8QzG3k+IxQ2Xl0jtO8zmMRhiZC8baIigPSlKHizx43EstQR8i+G7vAkT7Fi+9tJwUFRFKDG
i8ooDxhbkSx5A1bKwAeYoVK9ntTiw0qRKU+NZ54yb4r292nL8XL8BVobfuGpJNc0pqfljy2df4Kw
5JzIIz9BEHD6c2oP+SZu0bFKoo68hhQehrYHg2mytPEmg/sYhxAXd1XEFjBnsgrU5kzb84G+Bhvk
0tT+37t0RM5mZlEdUCrnRoDReBCKhbct0oqjE9LVOOsu/sDUCLL9RGrnVjS1+1gmeFSKstFf7z9I
NA2fwdCkzPAa/aVYS8kEMIz1VNUIZ+L+aAdTdewbGxK+l/w+yOt5Uh//XPJAkN+XOImDhB0fOpl9
AuS2iwKTBBXgTCvbGMOtM9m/qiLxnkMNzofWYKbDH+deOjGc78VVoym36KToEhGXvpmBhNC2uXV1
ZXwyjNHZ36d7mdSS+tnvm12ln68yIj86LgAjufQxjesYJcP3lrUgfaGBfklRYx9PiApSHK19MHq3
Pecs53B0pNOnfAOVZ3AQpTHcKAHaJ7fsR8o4s2fD08HhyGS2ziH+J4XqLsFrUWs5G7ij6oqiKqW9
mCZbSKg1BAxrdb8ZUlNgPbWQ+mpd7a/DwbNZ/Jq9eVXsJaXD5/uKJQgWUzmh1UOJu8jrkc5VSlfB
b3dVsRsKLXySUKHGMXEIFgHRyJgwntIQCXkQFscuxhqLll6wGnfap84Gi2DieGeWhuiIFtejhzRm
G8N2vTdB0b2d2xmBamz9rjoXTEM/XNQG85PYIdfH/wncX4W4ulaL0ad2YbxLwE0FmvDg6cWnPAPC
q+8i0qnQfFUKNugm2caBGb2OSvngF+S6l2U6HdU2dvfoXdulSYWY+DC2gfNsH45BfsH2SanT/Vlo
lBjkNysqzPFex/89DFbz0RLNEg8KxQYZc6KrqGhaz60e5Lcgg2lbjXWMHlfKEvNHvZFESfkGbeFm
L9NYmazoO3dTsjWLccT/no0XDEmkKodDtXJbd7g0U5daK9VuzlpgVfTxfdwE9gRxA7fTwmO7e9cH
NNVryZP3avWWdWnNn0VO2A+G8JM8sAH9/UoQF3pin0wlo7pE/PyrqPexitkGsSqYwCCxY8KbtXNy
g6kT0vY4n0khhTyjobmS5RLNZc8/v9czFizDMPC2ndJWJ3nQm44ldgzR5IinK2RR21ngM7UwMYkx
zknAzLa1HpnH0TU+LdEyvhiggrCNQw5qV3kaNc+TQkz2IPT6OdfR+k7zq2G+Jt/1i+JXXCBJ6Ea9
fJoF7fqMzQT2Vz7pVLJNnxgKpXNucvRqVUSnqqqDli06sSjlaO+PNrpMuRlQrbbaaln4nloj5sZe
TQjeGOJy683LX9JWzSPkMWpI9HczrW7Phq+v5NApD7iF6UaVnrIujTbcx637+GcsUscEwM1o/2N4
egRxlIH2pMWTuD7hIbaGv8qtvvRIr+8f4/0TlB/m2BvVyeZ3NSnuwAaSW6vcyye/php6vM+ujRsn
S7lhqFwezNCLHhpTFU8qnEF52fY0PLCRx0ZF+AocVgJm/EkdriPku7U2N/ftRP2p0+U+u8V0jpIo
OWtF0K3rPkepJeu8pXhLoArMnoTy1Dd6+WbbaNgZHcVUI8/3MPEAFg1W9LfHd4sSCbBcozy5dGSY
4egGp3SR115C5YJaQXCu9fobqUHM3qEFs7Yn75D6lEARUA2n0Q70tYPW7+GONSLf91a7oXIB6NFu
zK5RLk4zkRaSqVdJVAsd0z/6AWKNQTN7LH4otKb51RAgGZGv5DUfd9L93aElnWdWsq3+/GX5aghT
B1VuN+PT0NU4avDeDImxCyO2ElL8goRyCfneRsI5pxwjd1OQ0KzlECAHA5EO/rXDweNhWtRL9SxH
GEnRDFKbNBkW8b5JxnTezo7Xf78apkqjpt+hwykH9sLq0SnH/v7Vml4rv9fkSUAmvAyGrgGin8En
4PE30QFiywp3ZRr+5IOtH0N78B9y5UcWlMBzRJFZ23pERAwLEKcWSZ+rPFa2jeKv5Nj353v0mUN7
glEw93XKDlmdde192ta25U4f1TDcF0mlj+neOstUorbIlKuwravneiAuLcWih+LT2c67nDhlWmby
VB4GBNDrzh7rM0bBfhLJe+RQo/NqICI1ROptPE0OzjlSSWMtDM5NgXzCYgyUl+gVLO6b3XzCB+FX
NG7ZI+vXWNGUNRrv0IjCf4Rph1W789MaBWUMWKcfiycmHHoAdNPmHTTlSWZYNRZPjSWUfE203qvK
Y34ANIvXVHLF7lRHAitQwM/DgDyQlnTw9aE43UcGzzw6ltk/EAa6lfnSfNLE5iokyGeF8iU/4NDp
cUwptbMw6cVezG+6QURDMQiLsYnfECZa9ah245f87dHkaB4rNEOrkSeWeb1tzmqE43D+OXs90a/G
FPqbOis17LljEqwUESZn+T85aXUOSic6BD1mniJU4VBHtn1KjYMil0FOHWzZFBarcAq795mMGDQD
MPdMiKW8jTMvYYaygAdXGoGSXrZXMdhsjKYfXxM/uoL2RIvc+9pdG+KhHFRLeCN504tLhvRJhnan
ef2F5wzMrC60DcKqu7IryhsNHiAOsln1FQaB9pTT1A9Ak+1jFwZlPdnG0xjVj15Q4yiY+8c+yW2M
R6G69nXjUbR6Te6gBwe4HELopFaj0Ms015kX+c9Fiu0hR13P/QTb7X4nlpA5VJcQ8jH8TF1QRMwJ
n6xPSa/MtOmoYJBGcISHuJgPTovm6n6KaP7NsWgCC491zD1nx8dUuxJFOuI9rvSPTEuvso5QJyRb
j4P4HhQkFXfTmD9oKmihDDd37zShs50aGHtECVAT7lAMVxnq20aZkpOnVdOuKOD8NHSlkWjQUpK5
O8SbWY5jnCU82MqTJS2w5vRHJSAh2QIGyeqOIm761F87GOdoPAQafibfzVe2ZVRrxLMUyUql+EZZ
yjxB5iD0cV7R5hVRtA5EyEONEmMqAu04hLPfhQ0fnUrhnePUi5e+MMxzl6k3GSFDsLl/SAkyLFtW
5gTyBItynsrNeVJn5Xi5NwMjNm0LP3XRkwiPOuO9XUsiDKsEBBG/FU2paJUNOnr4F5r6lio043PF
xn053yFmLUgIC6fPtojbJfgxdycTp5RasMV2p2fB3bj0mxC725AmW+Ii7bPB0Hx/hdYBB6CUug0+
ySezY/ipJon2XAmyn3qNzbQrxnMZEPkwKzWxZBq3FsXPGpaTcTSw2l9dpXq4v4surj04QY2hyZu5
5u5MM49a1swGTamNEbbjsXNiKDGi67Z8ozd59uf6n1NIieiLJtWnmTpZ1aKSR/BKHnRzAUMmWzYj
kPCqZpWDEIG/It80CxfX7Vh6R3mKFSjdhB3Dej0CiHRwjiLvvMgDEcRMiiSeQEnUQFHcz6OG/kEC
oqvJ0fBiNjzKECeZNu3H+ZPlj9ZRGVPrFuc7NS2M/UgEGresO34GobcpCq9+ldeNAMh7UZpEjpnK
YUyU8dlOdYTR5mPVTPX+z30sm6RNPLCKw8+fFU58HTG17KEK+TDhpvTBqdBlanj1vyrQk/f29ZT5
t2CkUbS2fwBgKP8R3OxrqUrU6t5qOxLy5uW7TJD+U8CzIhC38t22DLy9WtSB9Z5rSG51hJmTKHs8
7LnzBI/ijrSuaUaqkMvYB3gn1F1sd8Fw7fIgtspvOUasW9WrO/lUjpJHm/opy3xU9Fgn+ZUDSWSf
/Y+3kI4XgGO4qFYT02XhErhg2/lZqZMIHgJyTji8+COqzLvHiiexuadl5lxAaDDW1XOVbn4IO/k8
TiVdrnAcpnVAgBTG5g41km3AVm73Fpjbc+mO9jlVzAelioqHkE3tUGXlS9ibT/ficDQINOADidY1
boUlhr8aRU9fX+WrP2/8uUZY2WObFwVAXdc+a257mCwnO9hJR9h7Pf9/JuDQs+7Y/WIcy0eIpA1d
lXi8yXhtKrMqrVm0mROx24nXjWTlKv5JRM1VCHNrEb19lWOG51MNsg3ywqYBJMByDOwtwEC6UjnE
axXiAjpIgK3TrDuAp6qSnRdrj2NPpzuPTO0gr+kAGy4qWiL5phmm7jEeze+6AXXSFlG9H8dce+7h
rG5CTVfX8tSxqwicW+Yv5akORv1KsfoaxJrG2hQfb9qz1xxM81cndEGSG6Bteai8n8LkBwvmK05v
UjsPh4voHWjsmkKZE4+CulnddQL38bzwXiodXBdQDEYOzwIH5uDn3sgPIcEFAgUGl/t9HC2c7iHH
A//7E4J/dn8uUpiPKHR8NHjgUKWMElHxZ1Fbz+QVBFO/8FKvfK3tdBG2uvpeI+66f2UXNO5ayqOd
kk6MCdxoK79enrJIb7e4P9sjwgt/5xvdMSB05iwh66LSs5M1jK+yZAlxs9+MEbShf9z8WvBajRMY
unLoaZ4zH5Smbp7DrLoqlidOaVhd7/eyvK3lQaHE7FTKu6aJbie/RtPL6TiN7S9VccYtcqtZcJGV
sDSt2IhIOjGDLZa78rVkRMjJB178nvsS2zoG6F6uPvbw/aAqH6mdkOstr1UUgpZtP+lr9veInElq
2ycwUKN6phJWD3hvsofkJF/Lq0XagWw9jPPfyESz9kQCui91XuTnZWl0cPK6x6Tr68prOCTPVOKs
Hy52yqhSpxds6qupYJHWqba3ExP6tKYUQBD18TNWc38zlZmPlGseXeBJWfiKR8zewAIe5KsyQJhb
Nf62HryaxEwyOPWxSr/jrUZ70QLi7yp+gfNKAX+2g3cIw5W8xwIXKYfN+uSo2nW7de2m2siZfp78
CzPFo1gH8PqdkWm508PoYPnpG5I1vVL6t2Ly05MfuKDZ5tWBV3VroGDFgaiM1V9DrBxsg7oNTxkU
Zagb1bowiFwd5l1gWx+rIZxw9g4EhefOxbMasp1oJSH5nm3hPZ0kVMa419miLIJeCdn7MwtLUTCR
f7/DFTJgOQfHGR4qqB6n+z9AiY01re8+UzM2zkWDi9CIvZ3Ph7TFUGE+YKWQt9JA/XWn+MhV+DPD
fwN3igtGDR4l63dKXlk/A7+8q62kvKo1JyZkKVRXMrPZyXtUroRiw8NVFmMn0pGmb+8FZDbc2aH3
wLv+93I72KH/rLZTfkHaoVu6awn9r2q775qFE4KC3U9J5H4DKQ5grB7b5jKEPIcdIo6NQM++ABGy
TbH74AwkTEew1D/7LIn1NL/Qg4XQ3kQUpDC+hFXFQJpZ4y53uW1jO0n3ql+cddqFN3mJWmCx0czy
ox7d8aD0iXPr4FUvLCQU30Rq/5D/KnwZH10lMDiTXCtAQ/Sn5xqMZYEThtO3xhPWUvVoylXcY0/S
eGbWRFEgGSnJzQYeW2CHYgld2fSlqD/A/oftVahQEDJzusVe8dWVdEu1UEQzb/iH4ljBPlJ9e15U
pzeokjtCDKJfTCq8gDdBVdpZ88XNIVOUYatk7NZkeSnIjQ/ySAiFnqt8Ih8WtkNnIsYVDHhXMECL
AIOfCjgsC9LxGUD6s1NowTfFyyntGJnFY5aOjOOIZQ3bJ+ihiGHeFqBohn7K3/II+DtxzwRc2DU0
cXbeRtYVtxEgm1KNyinr02cRqPqL0caPreKOV3ceeMuYjgLhFHMkNFMKFUrjqWkatJ3j+NMZ40/5
DfdKYW8UuGHLIrc/RygqxwZAltwZC+raWy+CemkiTQqzfPxUDCdc96m6rnDyrE2KUpiMChK67Hhz
7w4k6pcSDvbWsTLG0Nxo11NKHloXOekNgr26zOSdNGAMf3SA/0S5lp8BXLzjJTQu5Vi7bJjw0jrz
qU13EgVeUC3ku8ncfDO8DI6Gkpz0CDsomCv0fvOQNsGf3ngB+BTsLx9WyyzBDhM4R9O79jonEx2p
PfohbQsK8Wc6y+1ylsoPqhmCrg4+yD4wqCpT8KgwlWFa9b6HfX4SWaxcNNPmX4MsOIu1EVfmmVvM
3yZsIpUYLi3p3+yoB+2U40ttyMLYdpPqLHOHXyzA4gYfgIMLd247JcjMFlGs2gfMSdihI0LugUq2
n0k0blJqwidNhUpcYGTPV4pKGhOF4qvULBe9o1JLHUjX6nydbFVwcN3csYg1S5vFPRgL59ZFjo9z
YI2Gpnk6WLGDOmEu2KO83GrI1nZWjblRsdTsOQ6aekEhXb85E/j9usNMHGG39Z0YM9KcD0G9YLr5
ROpEtCUo5YvpWWpfNVGGl2mcyr3xf5yd13LcyJauX2Wi77EPPBIT03NRrCJIFj0pUeQNQi1R8N7j
6c8HqM9uCluoOlERHQwaNbKQmSvNWr8xM6KsGNxzDjMINRhs4TB5EWEBCxzKwZNnwxKVMr14TYW9
yTqYmGdYM0S3P6tBeSk2aDRsEPm2Ptnp8IiFNYXVqEMqu7QuLQkBSq+zqnOk10G9T4fd+ctAJqgq
94cXRQ6ti0XRRh0egABwGqHbArQAf/8AicRdprcTEYPesbTgCtzCOVrYt4j8P3hDGHwzzCvPp1jR
asjRmXU63psAoiaRq0nnu3Ex5JQcsoBMbIRNXufvskAefn7n//t381/7CtGWf/4dKMRvo1Epe8vO
hutepfpRThippoOTUxppdtNJ5POiwMVlAlZR4rnSVKfvbzQJpMv8Y4sl0YWpwG+ff4Q3YCOmFXyn
FAp/OFFBI6KMsSUEyos5tdbOP7ZW4Sjj93h2msilOoS9HaY/8ZkzSDOqELViwJBU1hCpnkGXM/xy
RmSSmqlg6gXArSeApg3oEwVLlToyKhPbEEE3POj65FnonXfJjR2y5fRjquuvCtnF/iEtqkeqpuW1
a8XV9fydmL7jnmeBgIYx/ORn/ZVapc2N1P/07OpqN9zZZtOwqHNEUaRKJbeAfHOYtNGlnKoo36ge
rF+Yse1T4SNXoOLnhi120z61XlVzCkI/EeIbrBetezJt0AdjhcLM/Lx5kiUYrZ2pNaNyrogUWc5C
j88H3Yz2/qhRz+lIbFh23DhtSka5QiRl13Bm/EnFmk9avo046vy7AHQHAp1ehepUm6G1HX/8UvsQ
p906u5p/H5ZcxFKSw5f+WFlO4yX1zoNa/IJUpXHWR2iUd9PmUKCFLScNgjMxBC7CFE3ici+lmvHZ
BmZPXiR/jUmAXyCPKe0aKRebpOgmLRxNuweoG+7DTjxDz9brXTjNobqL72QRYJZZop4smZq7b9rG
3c/fzW6e6liP+0mpx8hg2/ZF6m/1gUVIyeLPdSsbV0ChAfVOFzSFU+dOmAquVyPwTVXNlN3817HJ
rWvgmRP7J3U3RRupyDMV97BPEFjqv/rocgHtEvUVJQTtcfKZiaoYV+c6hVVeAXEwu+pLhjbgFvdh
6zaRJZW0Px5E/lB9IUsW4wUDZwhZ6eRcAx16jihW79j+5J2ewbLGPCu9lWw5egHKO7M09I6tGxn3
BBWkQLuJNYQAdC0sXts8uGrdRj5Pk0TfjlPJxPSD6nr+bv4iKxTdJ0aDG1R44rL8g48KtzOHoTcr
74IlLDn3q0q5kqVc3sa+dW6lXv0Cf9h1MCQvnVgZui96NZ27Q/lr08iIkBeBvIcWval6HKb0zneV
87jj3J2rIxaiA3bn16qP9LLVJiN9objw7Vv7TItT+Fg56SOo1sr1MH3J3HTrVpLyhKgwVT8WBbiu
lFzUbHyikCdAh06obbLTLU8Oc+8Kp8b0Moiaq4qL8HUzfUkwJjtTw0lXdrrNuH2ELmhZ9Ttzvuik
eCD884eefYqDgqXfhTCB4Y5Ed0ImvzRDDVDASLZWk4sraPrdi4LiW9QgI96WhrJ3hR0+6BGqetOR
bzBQrCSx3UDmr/AVmC5Au5z04vcWsCfL4Jk5+WgJlBzPfFeu9jgZay8oYWxRYi+uKe+iktejpWuI
WHuTNZOaDPjgylCuo7A6Bwt7oepeubem40YNvUzdQM7qYG0UFz9xMRW2mnuhWe7+ZzkmQ6p/g8CG
uQeCrV54lmbuu6JPLmxMIvVW/QRo2uk5wAPrhiTuDv2ENGJ7NsYrQD0cmOTxqQBxsdUKpf+bcJ7I
EL0aCzwCGEyowbHMCdkiBYxRMvK6zXk2nwfSmqNMM6jp2VzVrP0kv/MLJljOMoXlc/2syD8RanXJ
4QL8lXxjw5qHIMJFzEd6bYOaa7bR/WRvCSRiZpoJgGqx1wzgy9D83TuvYkcutIzLGkdn1MslFCPU
zxUlbTVM2IqAFiUkTQCcIgmtx1n+VE5pVK1sz7RAZE9qDqK6NBqO1jPPz6+GbKM2PmpZKjGp13DB
CbFMepJKTfpctKhUq1355OX4YCDot2vkyHuxtbS9KVDe25RyYz8hQXQ2A57dPOv3kPSIL4ta1wyM
xsLH35eFz4ovsugFtK5yHZeafI0bJoEwSAIHFABLAHb07Xz0g7BTX/dDfw2p5TYzleZ7WCQ/v8nM
7Ly23W0cqfH9fLBGvueW2kh8n6ZwIuvGlurLmRzmTahozYwcN8WEvY3cv8lhUuqFjmXr/Vk8mu42
KgBwDd6QXcfAFtC+oE4tBWqDfv5UUMIMvCLozuXYwLAw5Z+xbtabSdwW6lt805lNfwN2tN6bkg6k
dzpKz18y07L2ihivGzmTztJxQDAor8BMTBQXP8EEx1Xl9wwZ7twixizpHnwTdmikep/GZHicJttr
lkBkoAQTPEpFPZ7nqC1RVR3Qih1eVA5yqCNPd11EnzZxrec/YQFTsEsGRPK21co7XYHKiO5y+Tp/
p8TW39/Nv+vU3GObfWNPax/aUalvVBNZUn96b9nCWdrrUZ1ASvjSDAtxN0F6eJiav7Y1sz/RyuxK
7bz+tpmtk9OEAkcRw5WBzJGdecK6azrYgYmWXc7gV2CMyY2GtYSqTR5XaE6ZdyNxx5W7Q5ELOPOu
45C6SYU0AHBsS0iErnpvqE4LDfpKN7zvlG2pCMlKtwupEuzmcpGON6vzk3pRhBJZ0gaiQ+HKJBvq
tgocS6G+iP8XtOJw+ObFk1aT7I5w/pphO/NOZ8/HImnla2FayuVP2oan1vI+R5mtlV2SpOxod5NW
qCpU6pF4rRUZOuqe/U3knMngPzTb2OAWMPh4vw+l/jozZ8cRoVx2RGcYtfoi94zhZ4kLFnL9WHnM
UMu6DN0caRuXnUhH1xUTrRxBxp9VizF5813rM6nE9Kdb+k/LdDlBUU9GTNu8l9lNr5GYGa5j10p3
UsXmIaXVfdGQsKAsAZETmkoTa/AWPY4Leh6ek/mwr+2OYmww6IQ8OVmVG34Xlc9G0RYXP8sdJRJG
+xR1kllBwJi0A+YvM6dg/p3Qeqf3yXpxrx2/uS5oy3mdNW0dNvd8Nssa7b5L7N3qM8oAY+PBAAsT
4jAyZ7k8IC6llT1Kejp8Sqvw6xChzDB948lYLfXM7Mu5aoExjaV69n1hGtVO8vL+spP2KEeMIQvL
XsrU6sEyOzbOyHCTnWmyFA8UGF5z+qef+YB1czfqqf+jHsRfqlR0V2qJITG3dPtO9nzpXAwVypTT
j3EiOD5P33U6eftoOnBrSZljtdc7Y5zYwLjI4cl9iRtAYyGLr2tf54Nh23sJorxVA+ZmSiKYeGA1
EVczPcQiRDZc41Yv0y+o+BX3CoyW5yZGyDrMOQS47EhTXcqOELPyctW7hNh9/k8Zaf7uny/oMaJX
1vg/Dl+9FHWJ0rZVKme6JmsAP0nNL1HadaNAZpTt9spXLCXZgyNDdzvDZcAHM3EB4RqLqnkNyLpA
debzea7HV5wDvKtK18utNgzGVi/rz6ai1fu00yiaTwPDwQ1TRTvd16n1Mo/p3It+xq8Qyn+ZFRTS
GGkrL5Uw42vtb7MrbV8Ww/04fSETQPE/Nm8yvb1SOnhxWSUh0tOWwXVRqtmNGZrm1pdv1Y5K+8wi
ClNqUbrUyvu2EuY29Et5l5kmZU5fjj///d07gPEEXVwOv09kpd4MH/dA0ybC3bK5rMLC+BzE0Qar
8uFLCBz5sqGKPCryDcneH/KUxyRPJN/0/DSD1yl5koHzPZCqFFnnvAhOYAYyVmQBuPDiaF0X2WVs
2cpj60qPYWV5Z7WJ/cOM2azSvM+c3s3S7YRDMgYOq1KCLfxExOimL3rhBldlaz6GURRdGmZv7cIB
0QbhlcVOxGTYjI4LmqZ0PaJ16UOABsytCSz5cvSx/dZ91b4URdVecYXpdr2mXed9Wu8j0X/l0Iuo
pMc4Qtm98D0QEO2089nmoABkkvJXdOAhEpl5f4MUWM4FAvJbEQ7EHDUepGHOWSDGO+o33o3X9G8q
hk5nGE+BGJzSxdZrkVSFc2zWysuEAZPVloWt2qqsobqy4FB25Ba7SAisGuOWoeybIriWalwyhU45
i2LIVooUnQLiIGHjXaJTAQ7hyVeU69Ko8LrHYgRfYlS32X1ysu2y9qmwg79/nI9gg5YihwbHm1u5
JxBr0y3yhdPgU0lWLiAvUfTrA5RTUlAO4Zh8M1vEbJCMIIv9NY1ReY9x5L2rJElc51Tut0HmDY9J
j7I1iOcIr5tOfkZ99VmmpP8XJ5ZJhS/r7/Cl4ugU7ua8QQbfxUltTKKwtn0FDBKBQOZagJw3Wqm5
C2ZJR9WeQjbCWzNwSaUGNZ9TmqCH6kFx/HxwwwbVRyO+wMxwFpQuH9AwKK6SqP7heWpx58r40BhW
81QKeIaRknH7nX5sh2C4bhPz7edPICmfNH/43IwyIric8h19TNpnPcnz7dD4Ouoq/BiGSnZRct45
m/+qyqV7hisu+NgO91DFBHlUU7SB4tDHDkqg7kUlR/6m0dCLSy3SjnOpoMHd9jobXOqoc8QhVdWW
yTCJ2qMf1QVwZg2gzxi4qlcm/pBzLU3AtOfkNtwFgTmSW5kWWEXJHjsFiOrEPJ55yJw+kR/VBLrI
3GAPT80ZLf+RvQnRBSC9aQHyk3UdUMKvqSzNTNi2La3b+5i6Zik3eX8QXJXOZ7K/bLUVRAhI8xbj
v5ltyzH1jaA6XFs2F0lA0uMm07WMHV5ET9gxIIRWZfGTN0uiTd9lkYUfIzqFpYGRUDc2eORNafAU
hdZNV4UdstxIu9SF6l9ZDQZg83kLyGtCMSmUtvN5iWsSOjBV9KQWunQh266HUAB4gjld2oeErTUo
T4lm6pcwi3CL/TT30//51v+3957d/+yR6n//h5+/ZflQwkWuFz/+73OW8N//TP/Pv//Nr//H/94E
30pe70d98F8579nt1+S9Wv6jX55M639/uu3X+usvP+zSOqiHh+a9HB7fqyau50/Be0z/8v/3j//1
Pj/lecjf//zjW9ak9fQ0DAjSP/7+0+X3P/+g3PlhQk3P//uP0wv8+cdl+j34+h///v1rVf/5h239
S5cVRUEqHzdLWTfJknbv019M8a9pGbRBDMFc4VsoHmlW1v6ff2jGvwxZsU3ZYpO3WTX5U5U105/M
f0FB55fCUi1dISmr/vH/3vuX8ftnPP8rbSjDIMpc/fnHr+QZSYUqoZsGFPtf5ztOPGiVxuxItYEo
ECLTw/DClbC//dANfzf38fFT2PwTVv88flEuCy0pGro+tXYlOqCcOGIwAYgcl9Vbi4+9vUlR0yzP
aqW2/CPkrV8Ldf+0OL3oh1w08uIRYk2uiZo7ki84jsrITPra1K4WG1Z5bMFYebHFDlaZsglYG1U7
HOxQcc2DGbCHINvbaR03UdM+vIZlF7iV2tgONUqu35g2nmWPtZQqw/Ug6pRimjWBk5KhyB8PN7g2
ESaa0YcGcyHnrTU12Ma21V9hbOc2Z3oF5Gp3uIFf+fH/DMx0JvjQgAjGTq4bzeDEQx7kkxv4GmYc
sh25xraENTuYGwrAcf90uDnl17PGv9ubwu1je7mFlIdRDcYOSXPMgIQqHDDA5VkL8Vx6bShQhttB
73oVDwIIo2oEZIGEsIeV4vXhj7DyxuZ0dv/wxiDpkjaGyLHrhGogRp398NvhskA3f9v13s3hRlbG
zVxsWBnB2oFZMwDNVNYXuIjWbtDk+Ai5bu0VFstDLMLArJCz20VaELzLrPXXVcXZSNYMk5RYnQ7n
h19jdbgWK0UmdUZOIdrgtujit9Cbn8HDWGceXkdno63mm8ZroPQCHaPs232K8NQ53PJaB06//zBK
ZdyFea4Wxq4mSznuSgVDWBS5bc07sYHFUoHlgyKGGPN4E4f1fsMdIMEn1kgC98QGFmuFGiK8Ch5Z
ItUyWOZ9DXBPerIkoC5H1tSVVdxcrA2VkBuZ/A8BZLm60wV4g20g2wGuS8KiRE+s9y84Q2tHmlsb
kcVKYUMyixt1wB1ZAoIIBUHJ2x3X2ax1Dg/5yh5hLJYGTc9c0eUSnPgapxfqPBm4PiDHMTLquN31
R4JnrZlF/BdZi7lvD+seN7vxOSoH/67I6/K+CjP/7rQ3WUQ/tmpC6WQDFy2pD3YIR/jR3u6gdj9G
huAufbiVlQExFquAL7w8ElYu0AHSh0spGeU7TEXK+Ai6Zu3xy9B3g0Gmh0ynsQokSOSw11/NMct3
hz/92jBMzX4I8Ka1kJuUTRMZDIYBlDjuQWjvxciqI9t3uI21V9AWbQRaOsRDKGDOtlGwiweB40WF
ZMd4pI/WXmIR45EtGYXdT0NQlPhsYzYaypMSaFNfRVIMA+7we6w1s4h0Sx20SpF6E6pVMkISHYtb
UEfazdDCjjjcxMpiYiyiO7HbzgDGSPBREmm2hmd2+QN2d4iVaMVoy1doV9gWmkiIBpx2WFviE6yB
LpOpipOtZphwIxqUepuSsNWORPrKNqkvIr0PhsKs1dJyQNHC5szUxjS2AIshxiDlh5hJ2OhlcKSx
lQ7UFzE/YI8gJx1zzUhagEhgriTEVlQVdhRwp0BB67e1SJgjT9K/Hh6zaWH8zTFeXywAiGlg7DN2
rsMtxFduM08fq2+VimjZThrLzHyIQjX2WOdiv76WQzVXvwwoZxkPh5tfia4lxR3UCsffSHIdtKGb
ra/H1AkQpNgefvra0UNfLBBQ1/qgUAvb0WReBmYada4d4hXx4Hhg+7wXYGC4EeqjSI1b0m9qeqNa
mCJ/EREAwiMBvvaOixVEpNhWkaPVndxCkhHjBhivfd8d07RYm6GL9YPCHlxyEgOOrgWdg19MuCON
mj5KIhudPnGbI/eWtddYLCCNUpoiRFjX8eQxfMMzQbpH3sk7sjytPX2xdgCXT0NJsmzHiDsg2o2C
OeimCcqhOi22tMXJoMIOCzBTKeCIoP16qVu1qn4uck0fLtKgIeeijmbufQMxA3Dm8PRbWXJnHZYP
2xPiBDHzqIRwJvBi3IykmbHpjrzivR1YGo9Mr7VWFosGKvFR0ZhcDnwPSwKzJrOWIkmNFkh+4rFN
WywSJlL9aVj0o1M1Xu2ogdlu49ywzg9308rQa9OLfegmEz8/qWeDcEIVaKtaK+HWHbBqOu3pU6sf
ns4tKhNKQCiouCyiEaS8pCTVj4zw2kdfhLZi5qnex97oBJY0PnRtquJu70mYCZz24RexDUirzjUQ
/o7kJvalJGvFOfcB/cSuWUS0lrdGXkc8vXZVihEJu9kgR+6Rebm2+GqLkBapOooW7JujALHTuuZC
k/qbJPG+4D3y1AvJwawC8Fd/Rh30yHFgZQNdCsWEslTKHSoijpqHr0ioTWVBRGtiHf8HnA1QfICK
dXhoVsJuLt99mFcppAjcOaTOwQv+nestKGW9jvLUqTvLPNKFK9NLXYS21lotooJuh8a9WT7aNTqB
ip5FR24Y0xHmN1u/uojqOmXx60azcxS9KHYE4JsURdddDmZf090vZLQxYANUeLi/1oZm6scP/aXU
CX6ysFycykCeNSs1Y+uN6kWUUzN3M3y1KTocebG1bluEPDu+G0XUPJ0iC10FrCgWNZbfR/728Kus
Df0i6g0XuK40kn+iDJZf1SZ0+zbJ8AFNo/TIbrX2CovAJ3ELLrgJ6/OyQSn9yVW8yLtGei1+P+0V
FqEPoL0tPDwrd73X4P81jM+WldsUxlDQPNzC2hssot8IpUgXwm13oFNI0FYNdGTbbo48feXQoyx2
cy0P0Z4NMYWGCg+YOPU3bWXf5RW8stwIT1t9lSlwPkzZKB9LSarMv19BV7GiNajBHnmFlQ5SlsFt
CLcRvtLuIObIG3V6enV6By2CO5LbHPQ7Ty/A8G5At9x7OZIlAuigid3Cie+wCGq0iwTMbpkcjq6+
Z1oqdq4ujSd2/9RxH7sfcrEIPB4uKipko+4P+JKZ/tXh+bmyHk3Vn49P72syXvEQ8dHBfut2+dTX
OnbSOlCPXH+pLDk60kdrDam/NpT4OVLbmoySdWg4XSXfgiy+N/rwL1/TLswgOZItXttulUVIV2NZ
55nfNTsvUM41RO5FZF9IMVCoSLrwgFv4rf6QBMa2wHfutD5cxDjEyVLD3Lbe9c3A+QFHVWyIQOgG
X/VIebLs/rQT4hIKg2JjH3JIb3ahafuwo4J405RIUx9+i5XlXF6EOTRVDCMku95lOkoanmTWOEtW
1h1rYXxksq3EuryI9b5B1Va37MYZFaqqGGsnqMiMvW9Z28PvsDLJ5EW4qwU0jSb3WgfZLRQ9S8PE
axS0FPNZ2cioEt8kg0icw42tvc0i6pUAUYAMSRbHA51/ZYcVyOcI4Mnhp68NxyLsm9IFhzcYjVPb
2huwon1fJcGETzzSVWvPXwY+4FKMZKTaCXyctwv1VaPEHuXJw+GPv7IzyYtwt4MgQWXIwtiSIw8g
Y0/etJn/2ArE6iMMkA63svYSi2DHGkDCxbRpnDIwbooS02ySUXe12b+c9vxFZFPJ7vKKM/oOuZtd
WrlPwaC8qEZyhGC0sliJmXf0YW2HaOlJHBHwTXNH2dF6SsWRG9WbEd4EAvwhCFK3xI21rDPgXGCC
IOAmR/ru9yMk7EW8t57R+BFPdmKOh7fDEKfbpLNVeAnCwg4Yv9LDfbjWziLoYbmocuxmuEkH4V0E
rgcnR941V034e/aP0xqZGv/Qka4I4Gsgu+N0LWauqJrcJQkWgpaa38d+cNJOjLLjr43YqakHuZTU
Dsz5dxPzjSsWHOv+8Bv8firDMfv14Wqt1mVdBqwmbXerVMiAj+0e34PH0x6/CPdRz+zQ9aPGkcsc
3H2W7dwue4sLceLHX8Q7wifwKTSeL6QOLwT3vAuzK0XVj+wca5NoEehwslyv1jz4SKb0gIZ/v2lE
z00zw4RZ1tIjIfH77UPYi3BXlDy3RklFV42+rxO8a9vsk2spW68obhu1OHJGWRlqsTi1Sz5XjjKj
r6KGA52L65tWnbuwcw8P9e/3JSEWga2jpaT1FDl22dhelJ26140jo7D2wRehnA9GbWY5l1dNqS9R
k7xAmZ4TaXNkOVz74IsgDvC49puGD65mTzg8nPX2+2k9Mr3Ph9UhtsMSyy7GVcnEV9UtbiPbujjt
0YuwbWCp9UNn1s6A9ujzONSqEzZatT389JUJKRZRKwBahXJs147i3kXgF7M63gs1dyxZfkCM6rRp
LxaxC9vAk3Jdlnasxw+jopxJsvm1qHAl9uQCZ/H4xIm5CGJmfYE/I2cCY+wws7V7fLFbqzuyOs83
xv9M5AixiF5RtVatGzjX9+fC6S/9LzrUTH/jvSH1O9y1u3SXSdv4ofzkgt0/srmtRIS1CGXf8wuk
X4bagXB1U8vBm+FVCMNI7l+HJ8Da8xex3FFHHIbURTHRzy8CahxbVwofAx97odMaWIR0CauQ8ioN
iNi4F3n6F7CNG2Hap20L/4G+00GLo3tc7cpEu4f/9lcMdamyjCOPX1kxrEVgg7mHstortWN3kExM
jJ6QckF49nDfrGw61iK2/UpvY07g0k4bUelMmuYva8zO7FT6hEREdeIALEK8txu9i2wWEEuVO2D6
mHPU8BJxbtkieFMdO+2tTaRFjOddortUx2rH0/OvCIi+dEb2RXbjI8f9tccvQrvVNLlE+ULaIeRA
VWTakqWY47jWjPWR0VhrYhHepd9aZP97bhSqf12O1lsYdDduKj4dHuyVqbRE04WJJevWRAUeCu2m
DKVgFyBr4Rx++MpnXwLlGq8E39q0XLaMYaujDiEQq4678QgOb+2zL4MYvvTgaQhOqirGX2qpvdm9
Upw2Qc3FroxYT0jiqa4cfUCWKdau8LS5K9rkSAivBJk5ddmHvVmlzAliWCqx5nQffUwYY2hIGR//
rHBxiTrc/2uNLCI5M7rURlsHi1Abp0XXzi+E8F7NLPkupdH54TbmlNlv9h9zEckNur2Rr8CHMJXM
SSrAv4aiIo+RGN/R+7su4BhtU8+/pDgTnXX+JIQp508IAxZO4iIccfhjrE21RaDj7s6KqzcMlw+5
ozagslnPla19Pu3xi0BHabPCNSSrHFfSHA+RrR6RNjk5lr5bOfCYiyBvXYEaUqyXTlcHOwuO6Vnr
Vg+eVjZI7Qc3lVEeWU1WQmaJkAtG3a1QiEKa08+xyhtuE3HiKdlY7tlSqcbgVkpMflsDzrNlhjcF
/KRNF6okCE8ahyWNw4jSPo0yzAW7ob6XWGRjX3+R8uj58OPXumcKpA9R2QOEjU1yD6woEEKSAf4N
ONVj5g4rc3TWoPrwdE/1Dc4yKgoHuvKCytoj6P2dLuVH5ujah59+/+Hxfl/kUSn7CF2rgd7t1Ciz
a5Q6cxQTDvfO1Au/ifQlu0v3PU80OFk5Yy89BIn6HBfYkaeQ5GAUH25irYsWYRwHOFypNU1gHnZT
TOpCTX9RB8cKa2uPX4RxLAY3KdqhdErN+ia3gjO/UOsHxcMk4rQXWESyaqH60QZMUPSPK5jcCiLb
mHGC+T9y81p5hSXmLeldqYZJyysg1bDRoLK5vnznl/b3k15gCXmrS71pdJsRYEHdI/u+j/zUEWjo
HH78yhxagtzszoubsPBgz2E9CNr8EUHPJ0iKd3lxrC6x1sT0+w9xQJG/lDlzl45MLdCIYq7txXUv
kuuuFKdN0yVwjbRr7ZqdhMKBKV5M3OQGSv9YSX853ElrY7yIZLfXEyihIVsqfQU32utQhBLeWQPJ
+7QWFpt2jZgLjn124UR2/6nvx4dSjR7QS/t0+PHTB/3NSqEvwliWuRymhlw4QsRmAA+zINL6LHk6
/Hhles7vnr+I4zC0w7ENBz5+kX8areS+FMVNIFV/aYXU7eTM/BRYanOWFhruHZHVYAhbY6ZYhCe+
3yLK29AwkdnD/ni0S/VMwZqy7bxjkOCVzlti1RopFRkcysLxjNGv/Y2lFVn+LjBnO5LPWmtgsVOj
GQlbuk8LZ8irOncUpSiqjevqxWlFHPyLfo1A8CMDwRDnTmyGb22f3tmw0l0rOC081GXvkzDrY1XL
UOJ1ncqOr6zMdkZhbw/PrrXuWVwrhqhpRAmn2jEMrEC2UW8hu9rYUH43hxtYWaCWgDolUWVcaKTc
Cd3uO3nXa9xO0DJXwlu5lPPzw42srCFLXJ1lIRQrt3LuaFH5yQiQ0ZPNqjzTyEoceY21Fqb++7DO
1jHI00pLScuNY/rejv1wpYxq9DUa+vQYjmStjcU61QelWXY9XZX5YYbdZ7nNI/Wxx5fycC+tjfVi
oYpV3HYk1Jcm16b8Yqjk6ryLM//IXr329EUctNhHDnncTQNtjC9y5noXuiXyY9iCtccv4kBjjzDU
gSG20VpFSa0Rmo75T2YeuwOvTNQloI7abpSleZs7wkpDIq12ylJ8ytL0K260J56Kl1A6C6URQPYl
00ivnwKvevDr8cUW1ZEcxEonLVF0njt0aJ55hWOl9luadUg/wQ8/EgJrD18cNYpksITUJDmcB6l8
k0xFvWyipD1t+iw1afO69qGsG5njonNHPlrelrFp7k6a+er0Sh+iF7FUECMxDxdZXaP1YVyiqnAs
qqY88G/2Z3URtkXQAy4VGAGF4RBInzxrVIoEedPS1R5NudGQ5fMR4z5r8MQa7ivLtfLLwlZR3lf0
xhCXTaFGCBDqttsNDiwlTPa6bgjLr70wcbVD9QM9Ijmq0/Ay6VwPe5Aeep8jjaFv3GtVRN3Y1lSz
fZNrlBifbATH6gskayyBXZwpD+ddbyvBzjS0Kn3tLV1372vdlMK/ZM+Mmu8xegfkIaMaGSyTBIey
wYXBGva1VqfdrsvLHrmgUrGNR7tP1AHAsluU5woGaM0FSeTRu+jsNkmhNeSmfNlhlGFfZpZmu49N
36NFIqOVhMqn3mgiPXE4FwtZgt4En5w9UaJyv8m6lGTqkJ0dnisrq/ASb2e0AH2UJMwdXBr7jSvZ
ETLk4XcY7EcmzFoDixNJiXGRiWJqTmoF8fGMRQCvxzczLJ9Pe4HFlh7CgG5TS2Y+yrIN8liKz6ED
BheZhgve4SZWlgJlsRT4ZiA3qWpO5sdjdzniP8vtr9QfDz99JUGkTB33MVoTr21blDId0ZfhGcDd
cM+Rd9whZqtiHRgU1/hVnVanVRYrQ5EGNaQgm86CtY2JdfEZWwNlM7jNkZdZG+3F6iAHJWIKIs8c
9HcMb2sPRnapAg5+JT+CTd/hHltrZBEQ2Iwpo6QxZ1FbN/qdLwX5e974/XdL4pW2hxtZG/TFBl+j
H+pKfs2w6PEPsNNXBmpgR4JuZfOdwTMfhjxvurItBivjppyZz2meNF+iUcq+J/rQvQ6Zlv04/A4r
U2sJr2uNYtTahupqXNij2GhegLsMODj1uojw7di0gWQMm554+Xq4wZVOWyLuujyNFbn32PBF9tZk
TecEQXDinrnE2uVW54YjcqykL2qsZjBUY+fs5NMOE0ugXSdDxjcQ/4aRHcdXvkijfR1V8ufTOmYR
5FWYoseJarZjpI115aea/MYldzgS1mvdPv3+w3yy+qTA0ZvDXOTG8SX+4agyyvUxCOLKbJUXMY3D
bGMH05VPJOJKj/NbjkFvWoAoUZ0cK+atvcEypEulb3oux440pNq7D6HgfUyapD4ScGuPXwSzoWpp
6IcR9z7TaiXcsVLlTHa7zjiC81iDvcmL8zpkaNc1Y4GUdNnU0T0u6YM4Q0JQzbddlUnPXpXcSsJq
1XOzZj+5EuZQDle+ZBjZkTnw+0URxtmvc6CzkMVJk5JPMGQjFuNoro61HT7rwlfPD0/itSYWL1mF
eprpmHQ5ZeLdWu24R23L8TGtOPz43w+StQQReT1VHrPMUscOJf1Cc/3gIs6P2i+vfPglhqiLzEC0
kZY4OjY4zoB5/XMW6u2FbzXpaUI2llicRXS7hwCdygkHhTQEDiIuXEV9Kobx02k9NEXohzgv8xQ/
Fjugh3S/uxZ41myJRfX+pKcvoZslCr9yE3Ky74bCF2dSEpKFTvw0j4/Mn5UBXuIzTVkbuRCy7bla
GSbXUV8J0mx9gdHRaW+w6P9RbkrI/GrqaJqCY1/fhZ1OklBv7ZNOHpa9GACzGokwlQYqL/hS1dGF
PzYvUHq+nfb5p7n7YXzjOhlquxlTJ590nntP+zHWxrHPvtb70+8/PNwrRqWqMH93Wlk/R7D+SlWr
I2f86fX/805o2YsdIpEk2evQOHLGDmg0chwOMvEPpu/dYOlz2txHOuuXj1/7cekpEDEd2xAashlt
h7wMzm6He35tdVj0vN3hG9xh5eCEmg+J2DZ0Y7z061Aftl0sZdaPw82sjIFYjAGCSa4wNY8QQ6c+
3/SpLbqzSJKxFjzcwNp7/MdIBBXi6EHiqHHzGGdoo9byo6e4u8OPnzknvxnpJbAOeZRayCUvYMQV
Vof2hZK29wXi8jIC5EXWn2eGfjNo7v/l7Mya3MTdLv6JqEKI9RZsd9u9L+nu5EaVzoIAIYRASOLT
v8f/qxm/47gqd1OZBAxofXTO+f0Oh7GEn/jCfc891snkJts8DzpoKZFRTMk17WYQUXygXiRP5IXB
6dwtTiY30SDrOYwmcdUYBnYPSANXCFtOruYmyf/u45xK69QKqDjrpQA1RfwYRnETBVD7erZeKP6f
eYTsZKttPLKdjMcPx6I/50hKVupbkyUaudDFsPzdEJidjLGIRmIMiTjiatXZJ+BS+4HzF9X6Cyup
Mz3kVF4XLyGO0mEphTF6YG2pAQ9+zcx8Sclw/JX/0X5P5XVNNEngbI6fgLYM3gM1HjyfP1pLh63o
AFRkso8vtKgzo+Kp2G6IWgMSMR6FaHLXNgjwNL2GZY8gGQtBP5c2k+fe2EmXL9I188mEJT+xM/Gb
xkD7WuZpNE5/pQjNspORN18sU1g+4zl46jeko/HDpCJdrQgi+MuvftK/fdqgVm/HYFMjNnQ4tCFB
xHCkgGP887h1zF78z+9+0rvTmEYuTQ2aFVwOPfykY5gglQTZjzCqkAT0G6cGgEBmF3ZXrWY5fFVt
zod3ksD9pkQNcGgWB88IcQcTtvRQBs7bjBeB+FBDROzOKstHJLq27gft4/hmAfn44Bu+wLFnbFms
BW94GfZgSb5yAqsSKGx89Q88hCD2HpnHwbqhfcCnOzpQDbxFBNDRjz8//ZlxIT35gCErsjpSyOA9
IjZSoMXdnP+eYrXO1w1A59GFj/g/++x/dK7w5Csm8DRwTWWMmIr8VyRs8hPJIuZgGCueh2n5oLb9
apS+T/UKdARfDCgAc/fcQcq+NT0HhdQPQ0mEWYDgiZ9oAWxAW3SX3G3nXsOJsjlZ0zE6uvu3NcN5
3FJ0xS2yt/trG4ft+9+96ZMRmActXdZl6a7mNnkDhXuDbvjUBf5CMz73BCdjL/b0HtBX210BFq9K
EcX7cZ0/ivHSHvLM6HgqjEQqUV+vk+tQtZEigo3K63lbeEhSNms/Bushg3U93wMf0/6daCQ7FUuS
sUjSeEk6FLeDdBt3VuxqYHjTFNqCGU6xC1PjmbE4PQ6e/1j8clQ4CdW0uxpV3SAyNcA4HPmDknIH
oMCl099z3+dkKCZh3ZhOm+4qFaZ5gXQ/fsh57b67lgQXatHnHuSkj0HLUZslRTpP3eD8Y2cSR6DC
g6Gh6dc8qvLl4hHVmZoGkmv//c5qjroS06K7CvvfLP+AjHs7r/S3aunGabXvCEiBaXQ/60sFvmNH
/I/x41TBGDgF8iXYI1erDK45QZB03pfhHFbrOJeO9NtIjDuX/+XXOlU1ZpR1+YqI+A2Ce7J5X4gp
2Q15AalEWi8ivNDyzrSJ/ydrxLXTBikyGzcYBbZEE1ejGYDBwQ7gwrryzArgNOsPaW9j03gckmVZ
Mu/ShoBHHoSXihrnrn58sH90naVBQZcaAtK9p/lON76pWlH//vOAee7ixz//x8XDVBEhMsE2ZGkO
IaNlPKQXXvy5S590xmOi6gR3EdusK3hDAKwv5FIq/rlvejKheiQdNhNScDddE91oPl8X46Nu/262
Tk56OHSeYYYmwzaqteMB/sl255rguRbt7s/v/NyvP+nXLMmQaUuDYgN8X7rNJehGNAiTrQj4rz/f
4dzQcapkREKwZglieq6k1L+iZvyAf/IekQ9P2tEdC9IHtyCsHS6jX7261E7PjIyn6sY6zepgiUxz
BRwCAvkH5g5kxOg40ZqAEJfkF0bgM6PUqcwx8A5HXL1ukERKbzSN79jCbi21W8A+4GZXt2h3iPw3
f5fkicjvf3cR14ajmehQbFDtCOxOHp01yMLM182fP9aZfnIqeAQdZB5FLAscdae39ZLsfDJ+/btL
n/Ruzx1oLTVWXOIIW5VGYigXyfOfL37uO5z07wUOjnWoB7bpVfYGQmEVLB/59K1HLYXK6Hnxpmr6
S3KZcy/ppMevSNOallk1qI3W4WbmYGozLYtLusAzXTI+6fMF5OgxwB4FuHjDClwu4eMuGMhvs7A1
KP/8vs49wkm3N6lkMhtpAU882BrdExkuncee0WxC7fDvJhqnK0GQXM2viA/octN3bU+/Z6mDDAQK
CX3gPoHqOEDUOqKIVxcWT3bWw7jNYByev4OyDiTtjJWzvnAWcuZRT/P5XDASpNfMx+0kuN/7bpF9
s2szoYLqr94lPVmIy6aZ05zwbGOKNUgOeSe92yHlHS76P9/gzEr8VEeo586sC1NmawYEdnZseWxY
f98x/SsJ7c6AY/zn+5wZNE+lhFgyJlTRHvdRLXCnEBp0bS3LyQTXfZxdONg5d5OTYUBlSzyxGTdZ
jO3KoCf30drs/UreCzJdmDXP3eNkNIi5QXqMgVmhjdadBK92qpcPbDd+odjz+ed3da5VnYwBA+g3
YUjZvF0i3pd5ECBxx8Xh7u+ufjIE1EBVh3FAEVYDA3E5dLq+Fxmd3/589TMDzGlkX4xSICXpOG+B
l5QlGOdQnc0FqXgeX7JpnXk9p4rCRlsy4Ox83jKkMnxRjUbiWBqu2dWfn+C4hf6PzcGplnBNuB1n
syAIWqOBmgnp+WFyFzX5tVTxtazzdw6M95/vde5RTro37Ol0pTkwaGDZ9rsklOB0BxfzE8/07dN4
PmojuopunrbjUG8TAmAZhRS8mMbfhsBP1/qff36Kc/c5toV/rK2NHRFol/lpy4h4btL6sc/4jVDj
Qzz5l6Nh6cLEcu4+x7f4j/sknUkDOuLLWEIeNI64cUT8LGzQlZlkG99cEi+d+yonXTwA9HhkgiIH
C16rTQG/YYVB/lIm3JkeEp307hXWGNYsetpmKvpsRPyEKI7fg6ovrBrP/fiT7s173g+DAiY+KXhW
BlEMb8HKhu2fP/WZ0e9UNi9IB1XlgO3ZwIzhW68BT91w0zf9zoMwqHexVtGlKP4z3/tUMsgWymLS
4lEAlPgBusAd6pkfS5TUqD7ke+UuOTHOPNRpSp8Cq3GeU9wn6FHtGhN775QzVcfz6xxSv796c6dh
fV2LgSVfI73NldPl3C6YoPS4lPkcPU49u3BAeqZxnSoIC2RRzH2S6O3SmQUErRw81CATt7Un9u96
4amM0AMcla4aaGiCWkAJC8KPNW5v+5o/2HT5JONwKb3v3Oc/6e4r7+N1QDl5WxQC6MZAAWoWArib
1A/ZLH7LcbmwgT/3/U/6u8x8Nmc5YHFNt/BSxQnwqquSpU4XXWoXXug7Z3rm/xa1/xi+WBwLTdoU
t5lHDrpwd8QtA9/25/b1P2nlf8xbp+l9hviVGV2jcgLVcNbhNNbTXVcPtkKA8a21cLV3gXtPYreH
3fq+aOJxh4BWMNnGZDcnLvzL9nGy/Af53RIDXfiWj/PvlOYN4vbUSz2SOzC0kZPyd6kD2anmEEcq
OLjwIDDGQVIWS/BjEPL1z+/yzBLgVF3YkYiwjo7ZbkwBxI5HK8vCJuyaTb25WdbavEETHl11PeO7
P9/xTNs4lRwSAS3mipS93cqcSKqJkHm4SYmQ+YWB4dwNjm3/H40PFGKDvYoqdjnPt8M0lkBL/uVv
P45F/7g0ovbG2Ue49BJFV2szb4rsUojPuV99/PN/XBrwmobxbMRrOUaS5TXMR/1osgst9cxgeao3
RDwQbCJ+iDcOfoBEdrdSq8cwzS70yHM//mSiD0ETXOmRcY/8kJ1LoodYNk9/bi5nRqxTFaBUZGyF
GTKcKcj2Q4wC54IrWaFQJuMBRFj98jf3AUfu3++/CToV55alu14F0zVsvV7+igy8L9d1v1p+N2Nl
cXFzD7QcLvv/hzBgWf99u8xHwFC2o9iC2mqlq4hoRKS2QwJr0lRqkRC0Aj7C/FZxHRVZXNJu9Vil
hypmEZRk8wiqxiBUyvudInXbgSy/dgBrceYD9p1SC2kmNtHtDAarrq22cGU0lNwUHLyq+wU0X5Lu
HXIfRqi6EqvElxj2nOF1IFK7colAT0JeUYhcUtr24aiqhcyjUzu/KpLVGz8uFsi6uBiwkGfNEJQu
y9sD7ehcQQ+gviQZAFlCrPqrHtb4N3AFcHhn6xhkN0jo7lnZYiu5loV0ZDggjowflE3DOy8L0OKl
bxw2VX3RB9OVTFjcfLM5UcFByjauTZkNujlAfpheWRmLKxNy/RBNHsdoXQPt/ZrzDtCKniKxdsh8
v0P11NRV62y9S4I1Bjm92QterB8cRoB3SXSVu3onUrkfcp0cm3BBK9FY5zaM0b5KQcEtcxNWIo23
NCqaPYKvlqtcTtEOstRNp5KfSvtbDo9NRTIHivi4SwZYDthir/wirsaoGDfhoknV5Fk1hS3O4rx4
5mlU6fFnNN20gx3LwU1VjPBkMOBukAwLKgLAtPxqGsXB+Wck21SStHCT3PQDZjQkUvMOOHEEWtoB
M4NBdHf3LV7FVReFU2UmU07TZ40xvdf4V+P8oOP1MzU/J9L+BM7hkwafsE3drWN073JVqk5W3oa7
WeBdITjMQJOkvi3LT+zYUvdsoxft9ZFhXGrdgC+PN6Z0mfovU6E2fJ1u8+XN1vwe7/wOppF94vpP
3U1J2U+YmrUHxLNZH+FeGcujbL6aIdhwYmieofNFwhdLh2tXwIjsgmW6J/McVzllwz2PanYFATYV
ZdoJvY9VQv0GbRMe5rrFqg9FPj37Ai9+AsJ1HYt7vNqwtJhV8Aw4lxyG+Af10X6S7qVtTVpqmxx6
LW5B/a6ylt4vXOxCn99FbPmql/pLy5dfNE0EIrPVBp67Do5WC1trwN8jX7+aeXpMVjS5caRljkOo
rRT8c1iT70QG73ERf05rcSeyphq8vTGh2/Ag+mJpiuzn3ldhyMNtNvKPHIE5sERvumi+F02HdtEv
PwLbHrGwxTZuRsCyX/q8xvpsVyvkPi0JvO2eXofN9NYV5IU2dBMrYHP9oJ7piiDbwt0l0TtJsx1Y
DlvXJrcyynBQExdfFivuilA810CS+NbdiizfJmoBZWPcANWMgv6epsUuIORe8F4hYXu6nxA/xCe9
AXl6P4TtNQItto3Jry1xV0gruam5LMeW3Iz1/ACjUL0ZmmFreL0HSLFquuYrulu5CvZQ1/6dhdMG
HL1qJV8LXzx2i9sFaVZCT1d5zKcYBjkkbxL/3RbFvcKllbUlkQ/xMFzPKzCJndpCw/xopmBnUnVf
o0k1Sm4B/dlagCrIVLQbbcRD3ehrI35l6Y+Idm+wSV3JJoc5B6uyLjlEbKpSHb9HDceOkQOTvldF
8xLl0T5UoN3U2LYAinAVxbrdwOt3G9Fw14EnVI4NvmmurbidbALab5R/etLu8mV4pAaePbXQT0Rl
o4gFXLtS9+uRpeGWQ03krS+anQagoOxDaY8jxitAXI/Srtc1i156B7EG97Dxwd2J5TIgzds4zB4x
GyETxia0HGiidqkJ2XXGQRItUng11NQDRiBWNAqzWbA33TgAnMt6Rr6cCeL469ox+QJkXKFKObuV
bY2J5KtpcZ5TQkqTPc5RHr+0zhV5mVlpXiRp/GbkAz5/p0U1N7BZe/Yz8VpXEnEjaYW/a4aXpffB
Y0wMcpObEbTVqzYg6Nd9OMEdz/MuA6ya8ve4B06kipJiALSAi2ws0wQv562wYJ2WMCUgR7xp46yH
o16xuczpbF7jZZFvfVEj45bEGFI3K+LUhnLhqt+mU9gIoCn0Ot9oFPkfGaJx6dYz6IkOyZCK7zkO
nT/yDFWsQWt6H8dzcBe5Ia6YFViiLKOr5W5yRgfbnhQQzCQr6a76IJm/0wBa3szHzVfE+EZ1Bbnt
8DFIbo6u/7jiyypvmW3yyve93PMIV9xEToRyT8Vokk3PkHC6T1u/FLeqZ6T7lQbJZJ5J28cvri4g
wIhEIGg5q0B9nxx33xmL5FvezSGGCRXvHc4l7xDo591WYdb/5YVayJFqXtzB0/bR9UVwM2eAAG7n
aUzQxZagMBsx5XBgQotFDzEZkh2bjdS7VswFxnITvTVR3n5dGR/QbQQmzJd5mob9nJHmRa9J+KOu
EUAB4hN3FKDsYvxd9xMNt0BCma9wgrlfTd/qDbN1t1mFpHsdpPF917joJ42WWOE70uG6JqG/b/AV
v3XQ6yA2btb3CziiP1ho5/hxlaK4mjAxPfZxOj4js0O+eBDmr2NTaPTBOM1lNQ8pamjM6fCaDS4H
+b0m5RL3+XuDS6GXZhrrhnhav0zQNbSHI8N6P7ZjswEX55sm8SS3naNN+jwUuvl6RKxFJVDXyY85
iMxuMsUU7ecJPIcHg6RhtwEZvSlHHw/oX3EhMTH5WDykbpi2AShmT9wm9qPPifsST2H2OsykP6DC
nuwaKe2VmnmzQwJ3dF0kmb/HgLl8T5dAT0BR2HbTzXN+Hdf4Td5Dv3YEIldFkQdPiYclwKctBL0Z
3iLGjwBQcUxzyxftiGw3Q+uTBUct0IXfrnzpkypb4+63DUn/mLSTRzb6wm+ktdlHRuu+CjgnFWSW
tLIJkbjLiBkMOyyegxbaUaRl/UpWpDXzCnHkGZI47Dhqfd/kMXHVKjWGXu8EVc9ICXFBBffc+Gnc
koe0xNox/9BFEb+LhoX8bgSsuIZBF2y3T4lc6mYDCCLJqjysybLvXBMlWyexwGGlWwEWuXbwNvvt
CpdWUK6LU48J9L9TSVzmJl+lCZLCdohJx2km78K6LjPFLfst0FBtUIZiFWON3MnMLGbre4WS317E
djZ6qyKksfTCQn1UcAwQjw0ix/qqS7tilyKHpxpSZ3tdAXQXTEs1qoCbMo6TKMKCV9Lnpm2jb4LW
LwlSgqq5HgOGDd3IXsC1WpYyoSzF2Gez/tW5qJZYAOZ1Pe5rBoXumvIECxgWNGSbJX4OqhBLbHFD
JdVqYzAKPktA4Ztb23ZJVbjV6V3vnfIVEMNh8B0LHuPvwr4uoqsiT7KoreAQkfFtntnC/DIG1MQX
2wUwH1kyzcVBRpboGNIdRCiv1RL1RXPTCNNlT0MMaO9QqmE2061dIn+HMSb3u6hpidjapg+Kw2hs
EmxAl6Thsx25RZIZXvZXhVJdjjVitIRArc30C8AB7QJ8O7Wonou+/V67o1jQZlFeXMX9KIeyQWbW
WoYyku9hh6XFxnEGtnQv3JpsphgLxj7EQh7yTNkU9wUy6/xGMpWsd60Gb+txaWNntrEHFHubozE6
vHNXu23X5z7bcEt1dy0ZMn43fpDNL1iwTHutetKO7/g2Htkx4EmaijY8NBVDh1+qcLQIUqvDCQss
AmkgdLQAT3Y4Q1xStoPdN5sqWJcHehNHcy6uJUxXZgM82xrfg+2YfYpJYvBRvuXDVqo06MtFwYa+
s3ZZEuhFum7+PkZTqMKytpQUgOUkqfjR6BHJRqCp9F6+wJE9+Dt4xqa8GqMhiEEG5KTYN3Bq69du
BRS9OmaPyk9D5Kj3dRet97Ab1ahcxax7DfNG8edCwfbxGFq5AuzGjEvmeDOh9ZJDPeqW/uwg7uE3
bTpSf6XSfgH1njrrv7QxjaOvkCjHxU9iO3ZPhiU4QGO0/igEQZiAhXW4DmMG0RQg3fYAjN+yXiNT
lH4IFMhwhA3UV/okMyfW+7pRo7luGJRDj1EYrsVbW/uJJEdWaBZVQ0Y6l5ZtWExdWfTptBwIkIsD
RnGVYiM5iJwND5ELIYitAuXDHKt1NCksbwfoetcMKQG37eDX6IW7UE8V/CfxupWYPHN0JNx1uWm6
qWAbTJGMV3B+IdC7DXpFDuExKedata3yb5wXrapqiQSDtuy8VtmVaFWs9pPop3mzmDTHAlHkNOMr
oDFgxP5IMEp9ZLnD6IDNA1SKER1TdwORaYaUwlmswdY3ffxaI3KfojDuoQxhGIEybHXr0FU1XrB5
Q/pngnkKJQ/RQOnTrTh7tYhbsa8erHDNsHOfMydLsioL+a1NWbN2ZYsLoQNZs9DkDVRDjR0ucM5d
99yGZiJg+6rjsGaCcQ7NLikiNn8PgzlqXTnbeOxurJtqLkoHNHBxjUgE1LUcooPq+wRjpnguamPT
OxtTNz1NAu16v8yrLa5Mj6jhzWgj5m8p0KKPSBmtp9dBKYYis8ehJUVmBibgH7yJ+/RmXYY8vEdJ
QLOdjINoPIy1iUWObZSYbVtaR3O07qZuxAOh8HDvHQR5+m6w6dzAAQ3mJVayhS9HqwuyJ7SY5odk
GgP5PWpcLm5TQSdUHSTvBf+prNbDrcGJuYBy29frGwtIOz+Jrk/4PUxhLd0jWiUVd0ZHYCBvOxOK
FD6DgLJfKxguDvsNvZjPBXDmBsuDnMTtgbezPzaTnkZ1CTH5Em4nhRiMcpm9jF5kUOQHGvV03OOA
cInuQtUArVxpEnSYfSFlt5uxzxBSBfqF/YUtY48REZDIWZU9PMwU42oTiR9d1A/2KVY5qJx13gjy
kqA0Hf5Gl+HRPgli7M9mjZHhs84hGW/LrBu65nOBdjbA5EbHztlqGrNY70mwhOsncon5vGeKz9GD
0SFYqhjEi7tsmOV+QoV5ucXyLeXf6DKk7D3UCZ3fQ+ehXgUjPDB46ZbWK2odalWIEi15SlYdlqOU
Qf+QZ/PqfgagE1LoEYiEmXXDCtkkospsbdKbhsnIf3Y6U/VhpjnMAyi+IRUVgSe873ZSNHX+K5kN
I6/Y3TC3W7AMWh5DEuTBazhFOTuMvWj1XdEk3bpBvKJTzyJwySDwuyy4HuWUwg6Q37WryUJbWp3l
0LYXrbHY7E8F/AKOsCDcz2wKe4GDqTAHYT3HDLtgpwvAG9aDFCWr+LpObCqvHcSl8SblPOg2MswV
+xSpstiDUhf2I/aQI4+KEpgHpyCUS+e0gxKoVeQmIU28PBAZIvd7VTwvXp2KECeVk47PrwEdcjS7
LAygRWtS3iJ4NqErClpdNq03SgxD4FB1SbTAMUrdtfgLSTzpu7nR+C1H8V9X342g7apXLBqiWpVx
m03FATlo7YzTaXkcCWqNOlVaAYSY0q0OWaQqsChM9952OBvvb6Vh2hdlmKPhvSl0NPqmW+0pii0h
5gRaZYIO4Tsykrygm3rOElSOsnQRcEeEoULBKVh0v1x1Dr3haxJqu+yirBOkwiw7uUMw1HO7TVDl
vy2wlLFzSYnsl0MubN4MVZ/2OE+zUCHNG5oTYq6Dya/JDY7esuRLSAtlwtIIRpZnxNa2c1/ZCckh
t3EwHrl4OGFM/XtnsQqyVc9EixM66gE1v8LMjQlHzjgAeBijlNE7TuvCPhIw3FsINZKJCwgdKAbU
qVyk6upd0XKM7vD/1PM31otpbndJL5tWlgzRNNiE5kMvk6EUvPUSLPYp7fIynWM7hlU8pcFEyn5F
ORd79s6Q7J2tPc0PmN378B7cnGne9UNiOnyTCBqrl4yGWfRpAoMFZBl7HcqfxcLzVlZti70sK5Pe
IR6jkoi6Tb5rCDNiWzIaUNSo8DPijpcw1Bmxz9aQNz/BUj0q4vmcJ4ksxYR1AE5faSvXHSdrQnaA
0Dbtkw3yQgAsl+oirOi0+PkN29/V3MNhQ8mGFC4p9gQGXPe7gZWrf4jaYkiRnNJNsfuQKmBK79B3
xXpDUZidsSbME/07ZfBEIrJuRj+95jKz5G5ogzx8c0NQZG9d0hX7eDAS4LneZl85duLL907LJtu0
bkhgrnF6bbGazhhKp8wsHehr2jgUHNCC31OLdOK33KKrfuQKklGxCVABnkHfKMRin6Dl7Ia3dUFU
bDnDf9BXBaMiuveo7oYDVnmIu97lrWvq57pHQfVmdlna710f8hH127THTiaO+jr6ktraq7gsOs/i
pHSTELbAkkR17EpHVOXw/LSTIdW6KHyCDRyOLrhRMmnHyi/qODmQJuL0S5Lmg2iu4CdicV0uSSPG
jWv7Lt0neuZ0O/K1sHozouDd1yWF4Rwp6G1UQ2OrhmHa+TBL5U5iL/sD4ZPBAUNCy37IvuN8u46e
ubyUmZbirUgz0u/9MLLboY6w68L/etaRxzEldjaoLj95IUSpwa8vYSGuDaqJYa+jra6xRzqMygH0
jKJGhCPa2cx2eoooKon8xquCNkBP4gOyw5QXus0qYIiyaQf2huOfDW4fIoU+MoY9Ww5AIg6TbTse
YFBS/hrpi/QLlTCY3sUYm+tvZgxV/6Zp3q47V4Sd2dRFnIX7MEJxFTBeTpr7ZtIjQrfDduB3OiMs
eoCljMAXGw4Y9EBuWlv4J8rO8LimWzTfJNo7FoXpRxK2AKfWaejNfdjFLvgYyLyMTeUyFDd/W6KE
B49nETG/yuyS8A9nl3G97fjQzRviFJQYZZ82ppmquulsfEC3sOl2hIFVVMuQOUysAyPNZgRnJP7m
oqE3lR00aBUYlGGPLzkGcf66rGNu3hgSbvJfw8xth8titRB+BlTJwVfFgN2XR3UYnG0oI44K7qJ1
OriDa2ZCEVjpQfUf+TpQ/sBwQl98yeTgWAOWQ4Ljh42zM8bPa8QZmf5qEByYKa/q1T61NIyKJ/jC
1uEaB0lZ9jXnRd032yAdO3Zj1yAd+Lbzte2XbYA8/PR2tvBS5DsMNn7VVZiIXu/bFhNq6WmSv/g8
AZChlDY12ZegXSa7qxl8cU82N7L7GiHgqqhYw0X3MIJYm39BvbJGM0rsmmMtyrC3ck9pOwf6RU2U
yt+JnMA7caQWYQWJfz+1JZZNTP5cIUJLb+WatdFvLVYDk3II9M1b3Dkz3PrI9uTLsqRdeFjV7OZr
NUBLifat4lHdYMeJhHEqQlO/RSuT01ayEORPg5JH9BhjMzhkJeorNLuBjdernaVIjtzxAVirsQyW
XMo9TndSrBWSBUdSWRkL1jX7dppT/2NZiiadyiGbHHkNpnow1zy2GeQG2NunaMqS1+zaxzJrMbcF
yFX7gliXQqLGncTdYeDULag/oWd9KfJQ9NitFGlYyz0OLHqG+rUv5gNraEZLuiawJ3KGsvNTEg4K
q/sx7xlFRSGJsgas4bhrZbSdoPOcknthQlvYO1/UOODbTRzZgPEuyRrh3oPew+RYcjLTweywulow
IQ9rSrpvnE+ixZn4UtPurvWsrh98TybrUdRGkgSgWB0WtBmOo4bCp9tCr7XAoQqWDFDzoHA7KBTY
uWrhg8dayuQPoiham+1xZKeGtFppm+lpUy+FCX2Jwl5u2q3NYpO/wjnZ95hmdWy6NxXg1OQRiwM9
PrW6ZfkvMqfF8pJ0DU2+cJLI8FV505HnPJyjwCFuEuEfn8hTZM7BcdhjggPAFL2MbsIknfMbqxZX
oz93eXpL4rX5P+rOq8luK13Pf2VK99BBDq6juUDGTp1JkTeoZrOJnDN+vR9wdGyJlka2yzcujmo6
7N4bWFjri+/7ft2D2E5o9ZQYq8Ury6HsSB5FMRadom6n4bxl5pZfDZlS90Ostcv6cZvaNKfWNKiU
06bKpHo1jDCNKk005ue9BOjpHGAM7ZKm6i5+NaUDexam4H4Nionx1lNALgXCTFOe2rBTMk31ZYaA
LV+sYVFzf6ytWD13cTFTYG6VQVvmiLJ4YmXhpotabI+ozEvkAhTAeqdvh2R1+nKDCsHmoHd1osir
TtcNgf86uauBjRUXpOgn80PXS0iDqWu1NV43jePioYdU115dbOKF2qv4mGMrStvqaTK5mSSsnyth
JHVdF9JJ8mJdfo+FPXlSqO4xjGCrqEtZ2aOQqNVMSiHLC320WlJsmT5lfU4ybaZLZnUb+lSTWgQL
+7yjzwIY+URop5TnTTaL4YQRVrCNeiyPrr4tNDJXuRXI8MpE09ziiPbuexmbc7PIY637thKzeCag
Qt41udu1xOirCxok+saYglbcdtFhmIEuvMhLsn5pS/aZ7qQjbugmaKJZOiZhQOPSi1liWzCyljkU
xz7FiCPpfzGbdFcO42MSYk+5SLlbRyjVES3ukaEhtf51Lq1EfCB2V1O/pHn00Soh1d0lZEmNr9Hm
WFwqxTV9xX6rVRtdelkekTKml4Ct35NKuo+pc6zXuq5HNarTPTNqm4IIycywAehUN2uZnxNJaY8p
Pc29lVhckzrkxnLLd6M2QwVMbnajg20UzlxzOcGuDPEQFLnRaZdC535sZSHIe0xrSdjsuNoHMaSp
2zImKRtqw07KZfm1FdS4vBZdLH3sS0Mnf8sHobNzOZ7kO6kZxfLS9ala3zeiYuQBDLSesm9FXfQW
W6kSO/2QNe3XAvVjMqMVEYGw6bICJkXXCduVulZbBsaYaPq9sBJqOFpnLHRRFFLQ1m00VKEdAHQV
/M1YkTDChaY/qa0hfqKcWOVEeK0e2+VCuOxOApA+ey4KERc771buQJHfnlSz6RpnN5S9cOKB+Mje
2KVitFmx9pEyPeISqSoQwxN+S4KvFTrBmdhJ86+1MRAfpi2NDcPWhy3FEw9VrsnB1KzN8lSgCJPY
WVkiTal2JFt+CunFeNBqMxUC2BKc12zNmZi8Z0r2Zd/XtfVI02LR1iBKiWFdju3+htnKY0dXuWOP
yM6azwiESbKXFAwAvMbNwM+Fras+6ds4FF6scW5KsaIMC8RBpO1qCAJ90XRg7rNI/Gh5uI3VcJG/
nQiru1G98tSK1KnwzF/VUkJxlz4ls9NzXStkB026rXYwbzGwqoq43pFlo89Pm6VNxrd16eTzpKcG
fqXOKAEA+9j0B3PGGrqdusipa1JfmM/aqq+JOzQEvl6zZepZRW2eqlnR7NMVNWomhUyKqDfU4OWi
M52y3quFCyYljQyp1FfbIDwfnnE8cu6mvV6qd21Pz8MpLVCuol3xByLF+UF53odeNZxKrpYk1BpB
/GKWzfAJX6BIvlrSF3YQJJwKTxmT9jytYAzcZhTW0qEWYd3RrKsEe5H2/H1qjaayi7Sl08shy74y
amSpXEMfkApzRsJOEe4+oUSQWgbaoM08iLTsBKMTH5UKuhG4Fa2jvy/1IoPAygV1icsk65sIygjz
56l7PJeuMo6S6vZdP34e07jIfUXBKgaGLshf05XhMLSfl0HPg2kkt3QQE7DKc48WM4ziBZiSmyST
IHvVsuwkaKR6Z5iycxNJibB96WuVMGDbupwONW3W9A4bXyanRkpxbYskV4YrKDSZbN1cy5H9YtTr
nbBkKJVVQkFPjllm89XqEQis3D7N+/1zahTw8FEneNeTFTiA3QHKrRwJMOb4OlH8Mw8NG0aCrEx3
AOs9zXTHkBtP+ue5sET9FBd7Q/1nrwSnzwdjpupuKvoTOG5qag0zhmsGx3Tm3q6fhBW/ZAvEkMNm
J3o2xJe1Hbr2w9qB9TZtCv3W4kmVRmpp96a+ZwJJM+WV3NZwxuNuUzAeqtoGtzKBsV7Eqeksr15V
Pf00aNMGppLJDegpB1sxUz11+4TmWsxYGWMWJLdXUiBJ7r9HaH2nJfwZZupAz/4OIqcTx1VNPZTe
6CchgM/Q8uUPoifrjurJATGfrdpgdYPCnZ34LJ/NkITPU99ahx2OZtzfgN3+HEun/yhYpZXKvA4D
lxEnv4pmbzfpeaYF9e9v8i+wrfqP40MbpNqtODMMX+KceTq9UqbbNBntSeZy2amgDx9p00qRKXWT
R9RAUlIDQ19QW2lsg056OBYAYRFm+/trOvCsf7bwP2ATkThl+N8GSJSsWB78cjTV9L7BQZDRyoTw
9mJ1uxaiaogM3DwmxuRQ8k0thyJZ83cj4P8cCKj/KIiVrPtIb7w3/AZrXLpZihM3YnAK+GM1pCmq
m9G/fwZ/9YB/QDP23bANqqLo/p6knfGEAkxeuVJFGTcssqZf/obC9eegSf1HdUGKkJ1VLbLm62Yi
uyNSWV6Xtdn/5U38gE1ue20eEFPR/NmoqOhKH8wuqWyj3f6GD/gXi/SjsuDYISnRJjHUVmYj2YC7
otjKb2gl/Z2UwF8sz4/igiO4YLp0uuabaucBDwYWAOL+b47ZX735D6YkXucMFbgMVBWFVNvs59jG
pM9/YyH+6t1/QCDLRavQcmZt5L3SbWO0mD+7N38DVP1zroBuHg/k91awl6oFQgjbJjUs+etQZ4ev
1zfUgyTCBVB8E3yCEHag1t7+/YH4q/s5fv67j0zNZDHQjtJ8pmhrH9WuH265pP/dPN3vdIo/MS+m
8se3N/JN0ectUf3KtHAyg1VvdAYk/r1vRHAf1Ka2+EmtSrUeZG3+nO/ZM93eOHnpmyzunvCvqddv
5dd1VtIWrq+xj7+NbfiPt/W/Je/N/b+uY/jnf/L9W9NufZak4w/f/vO5qfjffx5/8z9e88e/+Gfw
3txeq/fhxxf94W94398+130dX//wjVeP2bg9TO/99vg+TOX4/f25wuOV/7u//Mf793d53tr3X356
o3I7Hu+W0Cr/6bdfRV9/+ckygBUYLPZ//P4zfnvBcRO//PT0XjOAYvoHDdPX+uvwH2722mzT+Jr9
42Gqv742f/p276/D+MtPTG3+WdNlSaQeIammehCGl/d//Ub5WdUYuamrsoaw9yHUXzeE37/8JGs/
W7IlGpao8RtdUri6oZl++5UhAY4RZcVi7qGE3Mx/XfYfHt7/fJj/qKfqHuTZOPzyk/pdLuF/2Wyi
ZP1w8lEbV41szpVrHmXn7jTchDshVOwWaQgb/Ofp+Fa9mTcd0po9+yBqQwZ1PPWKLd3FD9lt9mOv
vm4ftzBmhGzl5XcIMp8A8brDKb8Ur2VEY0exbGb6tZEaTOfcAyLh647kx07hyq7u6SdwMh6FJwc4
4ml15aB1i8f4JHtdsJ5TZ3O6sDsPnuoI3nxW3DQSws3ZXSnMwj5CMcYXA/XENJ8gdzdP8JtQP0E7
OSmu5Ba3IciovF8lt41av/U1v7oltxkNKJ9WZKi6wMsozkAxuBRXI+xu8sm404Putl1TV49Udz+V
tyyaw9bHiASlr3pCOJ3MU/MQ3wu38qk4WbfmWoXdaQx7L3Mk7jN1Ek+4aoHhxJG52AbZ5DW9o2MM
2lGnNf8S3zPA1F6/VKcxUr3Cy3lbxR/s98gb3Nh/BsHjSIHuZp7sxd90h3X121D/fhmqh999oYEd
KO4eqnYTDb4n3hPKnrKgCQpPcAbubApqN/UXv4t2Twn68+RKQR/qn/rz4Fa+4uiuciouhrf4RlBE
UrDc1+HMXy2P1UPq74H1AAJpiEw/fVhcwwEReJpUuwhmR3PqYCOmzBxA66f0BOzMV75Jp+K++Cq/
WZ/HsOE6BpdY+NlJnMUdbcOZPe0EHMfX75pI9QGJeEXQhqJfuWk4XShq3W0XgJau6Iuu4lBMdPW7
/FG8VF/3D51soy2YzGSLdjc7/Y1RFp52U27WdYiKp/aFSCFavwHUdrTIcCveJLsnCg3kMA+0KPdG
T/IKP7+qV80tkYaNQNPQOMmejHsjAsfJameB4hT+XtzXp8zVXAoMrvhRDduTfF4+ClHlbq7MxZre
+Jbx9eZSwniszko0hRagAckxb+qjdM9ODGIv80uv45yI/OzrdC5fpPvsC+eHV+YPRrQFoCT0kxoI
fnZXPOXX/CKfgAFcm7P5SJWPE9Bf8ig91Sf1PPyNdJryXT7xz476D254aSa50RvYWJuzeHPKKRzd
1o2dIYRAYLdcQ+9++8a4Vd/gVJZRG+2u6one5oyu8KxEij141Wt6vzhkt7bgjj5jAh0qlPaHzM38
yV4c6lceyNksJNeJOGEkJVJInJ6/MZjSYxc5qds5kqv4hl94Js9bYZePZzU5VUHhrPwbbRDFbhWs
YfOgnaWQAdtuEiRBFmTvaG2UxkkbnOF9/1K9zOF4LoLixQTMHyK4fNeGFru/aJz5/Cg4yHV8IBXm
Z2MYf0p9PSrPakRpxm1ezE/JVY4kkD0Xk7101Rl1XURJJD/vj9qj4Q3+fDKulREmEWjlS3neb7E/
+OqdFijNvcmrYxtSgC1d10BzJLb3epwHf3ZMW+Ln3ya7dF4/lfZbjVVYOAubTWLqiSd6x/bXbzl/
v7icSV4bO6YD3I2cjHfyhkg7LZc8nIMcw2reunD0V5e4NSqpabuLN/HijPK6vYWIeXjCOfnIjnNb
51W3xShzdgeJSS7uKzb8ghiGI1+Fc33Z/dmdvMUBjn627ktH47vitvujb3rm48FNCSy2gxzIgeYa
buYWbumVXu1odh0Jd9vp+Nzyun1J7vQEAISd8JG51/ipxxGIurDx1CAJRW91ycEc2e1vo5O5paN7
vbs4qiOdC482rp35hU88Y/f+Fky4GpCldmVP9rcEjzC7WH17detIc5GjAXUXUaoIu1B87MLcMZ6N
T4lL+8fOfu15d81VIgEPJLCN6ch6pmO48aMRTTa130AIW94EIs1L4v492VL80/APl/lDxLkYWSEr
iileO0+/7riyxhkCwR7dLqQ0IPBM0LLzexfYqZuwlJNjXFKeRI2vWlkKyxXcpwIHBFObLzNW40Nn
kzl4lf21dmpnsilCO3Ews5KGy2iF0xZO54ljOPqzfxzZiU9b3c9moAezj2u2BTv3E2/AKzI13C8X
+9g2h5PkF27icYU415m/1gO665F5oiYR9L6JKY89cCW2+Hk6ldHxhkOos8dEp7qtfsdXKUaz8wb+
TV6/ns0AVrYNpu/7D4rXYz8PoeY2fC86fVQ8qrxR5zWhxZaQ+Zg8ohzPzR5vTuoS5WwW0GjfbyQn
UJjZ3YVHcc8t3Z1dmUf81dV0Fsewuw8TdyezfWjXcMvFjUXDiSs+1os752z4zWv+zPuzrrLdO7Gn
e2Iw+jvrKbmVx0hqD5C+K594P5abPSXcly+xZ3odl7R947E4rcsB/CICZ3yKEzt9Gc4de0cNdldn
5WjgO3pU8ZwpqWA7V7/mcVpsU8tPObOuiuEzg5Fnux0b3RW92d04OJsj8GSO3x1rNtkcsCDxE3xH
6R2OUWMjL3aB4dTYykZU44KOrdx4Fn8nuQ0fUnMPzEDQLkwgdGM3jo7bOUKl0Z/OW4gl4Olt7BYW
iFeAKWbrNeGxeHW0/2pel9PGcgxctcmzJ54I4qC9pNFw6o6N6uqBcHc8acPdQqSv2bCml/iMmfV6
56ni6gXefrJr5xu8ddviclOsAt2D72vBhEQuumRVjkUeufiC/0T8gEhEQ/Kx85y5nBAcQ6CHejji
lTM39qxQOGODzsL9Eg7hxj4+PouJtrzN4iRu7qHpxMdIuIqFC80dxqzpjhDRNeHTZA8K5PctUV+w
TWF57GSsi8gWSzEesdcHI0tM3OFQLXUGb/8VelvUeDpcqQBzFQ4UtHF1aNqxv1EHAhrJzhPxyt0X
K9Ki3pc5s4wfCJZQ4BQfOzW7mYF8mn0h7P0wdpazFQ1hGhzHYeQltUPbDgs8exthCDKg2B/IiWEa
jW8qZti6HLYKgh5LKrOlj1ud7Myl98W1L3yEwa6SWcvNY0UDjtQDreoH9YZN41lTd7lW7rHeLRej
OkVI+OvybnbhQqTB6sUOMZIPyNtmpOixHg7tOlz4wIHE1AcMvvKWm8RfH4Zf4W/aaOIkxNgihaua
cRScC8JoMTCv2pvO8RUfGKOFi+mdzW1fhaDBrNG5wx40H9AkI+qXuRPEObDBJlu6Z70VdgqcK55U
GRG/OoRtYezWbutb3GfCZ1Oz8yy3cQnmHDBQ7FEW1hVPsEE46Ez3+n64JSzW4XmO07pBaPpuZeqA
k+owk9ym+88t9DQW2SQ0kVnTzpltxP5s2ZP8MWUZCXcOr8elzJeU2GK2V1uyi8f0a3M7lro7UZlw
GGriYT35fetZhORmkD/HhNjtXRXQfnBTV8E+MUzgvOvX+q562N7X8AgUEOn1MsKVPsRycNTjAIJK
ANQb1PSZrMQrOcfFNTmVNUZaCvn2VPvVqThROEdJ7gIhL71bz911uA7vKdHy5luBbhcOQRCV2pfS
J6UKuRZfsBsHzLvPBrNTdwlo69nZlazIht5ElNQErZ+FOxEUwS1xTk5KkdnAOImKjrBLID/pnPT4
54+2+FVwEnIGy2m9I26BS+bW/nadbutFd2BxuaO3e1YwEqitYQswnreXPYWsJI5ouEFJC5WAKVKE
7IUjRu1Zu8XPSCiMfCE+GS+d/rJRs70QiHmpXwEQDExSCS2ghksWYGcsi+lanv48Y0yi8RxHzQvr
y0ZRXfCeZCH1Wb6H9gAZM3tRI5kITvmsfjWf1fssYHl4bf6UcDn6p+zduvVn/b4KEq/0AacwnQEJ
U/qID4IneH1YBbhIwswjDpV2W/OSQPDoTPkVkWLCj2Pypcop7dmZ3Nh+G0O4Z7YW8AO7cwb7ntj0
tX4dGCS5ecUluyQUmJ3JV4LFh/DI86dqoHZh3dtZZH3WNFDPzvCr/IRGr8Y+4YvmmRcT8x2PVziS
PsIwavLsZJM1bKIjD7O+PzeaCuHg568qWOzPhKdsQGG4xCFgEzt5VsDwRlkf7UHqQxB080/MJXTf
Vh5i/MawO3/1XtPvRqG3oWlwErlGwzE81dZtnd01uC17d+Q7hg8Qhs6E3UDZOFQJZ9y0092pzMIm
5yK9FF0rkH1krPnpJoz2+G3ArI6AyABvQ657lt+qKIt6L73tcIW/bX7vxXzcEd2CBVpJvzo+oeT9
ZT7B5JO4CtsCIRwKD4yr8Tv/uIyROBmqZ/K1fCxvWxKofoNzO8I6giDMGsw6pw1JRK+Gx27HrCd+
7lUuhWk+S/QlXtPiBvA5PDj2rvM6OgqOlot3jkPT8uktYfcRdGf+EWwfm3s/7c7Ltzw44tljuY4U
ZLRJofmQDRdNu+SjgI3S7fkE49bucdnHRWFQ7BwDJLPQOQaJ6JxEADlp/n9hyUb8ooH93+yGSPqI
6oRz7uDUSEZrjJ2b41MLIinug0UnDQ1qb+RiJ3fnQlonxsgf4aBFEJ3hD02/e24w/lZUBmtAeZPT
KQTHK3G/znqncQNqaJ3YR89dxHrhlBZv+LD70HUxyia+N/fmwAxbsg0cKZ0hCu1Bephh71hlUgCM
MmHBBdJk820gYhR8pip6wGLwLQQuNn/ABRNI+WkknrJbHh0xtmmwoLJNBqK6UKcIxFKvfSfVxsMc
6aJAVPG7wttvFaw/VKy+T4H8szT2h+qrKQBMB9kjXQlSiTSr3akpLOHXva/EKXS9nQ0fUisOCQAP
wCCyWsgrSDo531DTsYCqY+HqNPsIc3c3Ccv7I95aI+nwC0GKgaM+RS2JyNTe7+KX+Bpf+4t110ey
N0dLIFHhsIhYodG4EkH1ctKoGQ0fyufNS0Lw6sR7i6NjsUWsP4WasDoNVxRDz31Y85/uYoS87Dqe
9eiwiJNvPs1H2sYVzh/Xj6t9b+CEqmB4QebzbrjmT8P74Qak58O/wb93C08LJbvBBQwPxnm132YO
d4U/OEyVZWv8Ew87j7dT2c6pq4Uwe3d+PXOMDqtWOfS+HQD8+AX8iukyVhNrKLnmSf8mEfhSP3Lb
EaOd+zWLR2GJIt3hUnYSy4UQlc93qJw4m1/yEbkLsIFw7XBKYFT8xcVM8JojbI8fVv+IbjQKDUTN
tvxhd4/Y4CjfyV7rDxiyYyHwpYEQ6H7j7t9vJyX4lJ0OM8UTGXAjKt65ifZTrTwMOsfdbihlzVj0
EVIwLtOggpDXwUSBaPDBb3w3A7G9e/MH4WHnoCne6imnjFRfw2vPIY452LCXisfhIM9CxJFYyQxW
4p/eP+JIkNlEiEeMTbbAPShk9tp4B/rnKn7MH6o2zERCvfy6cLwPIyLbQuI4FUEYfFSU8NiCvXvs
yYWve1Kt83ZO/Bfgqs4U0WQndtvs8mEFGnQCEWHn4ZHaklxzZoH5kQJiYLzl7ggRJ+KfI8QDlCv6
oLfbU+mJXNARGMJA96cI14otabEaR0jXEpZRySGoa6GykpTQtMakHpYLO3aJ38pbcr+4KzbpKDlU
mBkAGsSz//60StrRtPiz03r8/He9kgped1GmpnGN36U79WRBWyZOJt57ER93SGK2fIWY6R6BrIlp
PEJLya/vhbuFKvP4SYuyJ+2+OVNVe9jfygs//1bcDF8J8fGeeTIJScCeUj8+oof4PjnVT/O5PUuB
ctq/NdQ3E2Ke3ZOpcm5+FukEhuOFBJowhtQ4mgmJSeL8PtzuGJZyr9/3Z+NlP1Hfc4cIp+kBi2SL
ZJfqMpBiXj/hHDH9rngrMHi75yFBEsn38qfxVF3wQgS0Mr4s9ieKnB2lCT0cIuvBTNzlbYYCFHU+
oLqzdVdG2HesOOVzKm/KnXwbzkZE6u0dCX4eWP9Shft/3bC5Zm89OJ9v4/8HHRvpaKL8dbfm8toM
v+/IfH/5b90Y0fhZVxQFJolu0bs+dGh+68aI4s+iqZqGIUqqpIsSVdL/6sbIP4PyYMS5aFnoQIkW
nue3boyk/GxJkipaimGKmmQg9P5/0I2R9O8CjT8eF4RRf5xNU6RJvfQTWiHdXteOrkC4d81G6j7X
aroH2a7uq62DGI+yRZiuiiyopQttopsj4AAVoDYYg1QWky3/pg1qJkP16bsrYllEpWq5V0CzgHs/
rDvkVCFP1QjCoZrZc9KPv8KakV4Qkm/IJmuFirsCGAqcTAWW0mEgU3lb4ad+FNt+gXaY00CAz3CD
ba6HTbxLk11pUwVqs7WAwTBH3CTlsHbpQ9sIgCS0neLYqq75W9zViS9OzDaHI7/I30SpaAuXYah1
uOwGyijIRV9LoTIf91UDtd2B2b3KorEa4MKW+kGoBHmwtalVn6yiqKtzNZcah1kejQFJjHq4SHna
MwU6MQKFfiiVpVwVQ71arQvsUPPjZjLAGVEGnWE8Sx4L93ouTU+Q8LIPHRCpz+pSLOfS6obzDMrj
nKtMYFtNRLTsWalQ5DC7aUpsQU/GCGWIGSkgoQF9XM7QjdZqT69ZMzVfmIMix96i92OgLqJVOjk4
YF+DXO81oIDuZhMNSygkFuPGIFqVO/xYOKRwWUOA23HULV32DAYXYTojaRtC1ipfE24wUR7LfmjO
FCLPLb07R5dS6kRKJ56FWph6/xj2+2QWMpV4RukUn7tpr65TUiJgBHmLMeZt7ltMHnsexoGIdG2o
y+2UFwXJjJQsqS9ZBSfXBf1kENJC8bwuktDdT1sJxNMcJay2lsJPsUdYUP4kzmtQ0G1FjQNFzgAC
ZeGtQMXvq2zfIE6kGqIhOpiwxRxEaHnd+IzkGe4UuspFF2Iz1KGNfMi6Lbk39WF9zQGQXq1Gmu7l
ZUrJCBTK5kWXX8yhj8bWNM96XezXrqiSD0Of52/dXMq1TUwYuzApq0tTxsJXg7F/Hpofy2brTdWU
IOFW/R6Ag3ViilXqopJgfoEf1Qz2BLnnrk2rLIA0trqNse8zzKY2dqR1As5jJNVVnzoTsaeUGLus
eCayJdDOqfop9mVVW6Ipa7JvuaVbX7VhbaLJUJUdLs0Ah2pZp/GjYhkSAi5Tvj/k1iyxU2VhKYNG
XxqnsNCx4ezk7iyoj7VZrU9btgOnmtr4koqFeCealvCE+hNwYE3J7pNS6zxlaouPMSojz3thQOlO
EaIB6ZnIDM9orPoRtOz4cEB0n4StFV9NduroJCKiM2XfUUMCj3xiVlx3qYC6B9AWKqdqRP0O86ZN
Z6g2Y1hZ63LakRpzdiQ1XpqlJfLcWv02avI6cXvLQDi6lulmS9YGgg70JYi5iX7QuBhXeRuWa4l0
qD0LBdWxUenu5jbVHzZQlLSJFqt9lSpDrhyzUZu7ZZAt9tdQDF4yrFXEZai3sVTlVwl65wdUWuLA
GtT9MS4kwdM6K3Fl0dxpezR77QGWSEJpLgTHRJP7vouN2bPadv3YG5X2SbQQnsIm9aWdSzuiFUVG
3K7OiQsgaDhbktYGVWEWbrKLewCw8wsgiu1XODEUutuBru+qba7ApDZS93Euzrucg8cAc1s9wRI1
IjCa+zM8F/Ol1mXjGUk/gzZ2POh2Y0Fs7iqUhEeFTniZMpcUXpOx3uez1F6QmbnUed2+dbmGdvUg
N+n7MqTp7nalrFcoVOS7V8BSe4SpbpW2uJv9I1CX2jXErfNnELd3DH8ZHmoZ4jkAYniBc5a9p0s3
32vQP68VjEuYLPL2az6SkGf6LLfPPYRFe1erNPNypYBff0wDl/xNBiuCzlS6OXCWd3QUlk76bK3w
XZ2xq9OozPqa2gMeFKRd175L+/5pXw3jearbUQ1MsZ6jXDJjD5UjOPuVAElqt9Y+mg2JMnQiNLBG
xAw5okK49GK53avCvlOK2FfJAXE+XKZ6WZ/FMs7OdZ5MrwMTWv0aH3TDyCSe3MH/sJc52S+1JIGN
7YDyi9t6KmdVceWsuYHnz55ao5bsOs/7O0WeKDVkQL8hRS37txqZ2ktubtjSMVZar5PH0ZYhaV47
rbMzBcQ/k5+1OtzFXHoFwmdFdbs3gdzO6qd0Ky3Q/PpwSkp2lCexAZ9Bay/3MGuHaDCT8dyVkxCA
DRZ9uBbirdWLJJAYVE1uVomjYq/xkJylxtKCuShp1LfaFqod3OoOoSUoJ2b2UVJlKkDFpwGJtsdy
E7U3dUolsikrk58rtZBdiVlJdJ4QU4HDPqtXsav2d0TQDRiAhtXcqq6hMKwzFEZcEPFqVkUIpkWW
PxvlSHmhWzJyI7lSf+UlVYPsXJ5RQyy07a4RVzUsijTfbaEpae3IxVu+SJwMa/aSZlD8JMU8pm3v
VnPlbGM/AnYu6dvsSREua5veS6NQvo8N4iF23BszVRLAWRCNla5zFhX1Pzu3quJRNBvrvEABvSj5
tEcLxK572EzQq1V0PpoOgSuxnENF6MsnMF7KFfkrmiirQi5vIrGiVVsHkVjJqa9a4yah+z7Q5tza
mAw57bRHEe7Bl2EGDQQXkL285VPTAyEQpIdETanQtZmZfsjrTj5JStO/isxCCIxWMXYHJDLWn5E3
6J3VctI4OeJJuVtCHjsJqdDd8s7QzoyqWt2kijNPQi6GZRv0Hh1JSzjMeZLeafUIPmLoxy+Nku0R
2kMDg92q8r1WRWAKYy58TCDbOOusxreOwU7uDgzvMc3k4huqBACphT1Wf+3BMj9hj6xokqOip1Gx
f0V30xZMnON5Z4Th/DYJbWcz8V31shmliCZWDCezVBUgnyp8SKrceEM/EW/Ui1b12gOUZjbCJnlD
3FRRX0/S3WaIwmkcC/0BYKnK0FAkiSI1YdxIp8Z6CFmob+1pYzym15i6eJamjlIUIZzP+W0h5aZz
YCRMTmUGshkJEGW+DC06nrYkVtQtzUo8t9WWf0pxhNCZq0pBsWJIgrz879SdV47kWLZlp9IDaBYo
LtVnk0aaFq7FD+EinFprjr6XZRXwIrziZaAe+qeBRCIzhNOM6p57zt5rZ7SfwjlkqTCheWWCF+3U
asdJsdttF6H/d0RoYrIQ45i6qpHBCQqMikde16G4tGXB7AOj8/0Sq/meJUA+aKR931YZlUjFYr0K
uAf2enO13rXzdMP6x9SP1egmEpYVOoFsmUyFMKY4vVk+hQjqIk8C/8UURTRwjRrLvFMwjELhylI/
7Uqhu2MltbtRtaTYm4i7Y0yuJ0zoKtHVK2VGk0ABsNJN5Zby4Uio74o3kKfP2hZXFCQNvCebqU+Z
kKnFUPtEeFtbgdcJFVtvvkZCYQ0pu+6urbVsQ+QzA6QJgaYuMii+cyI1/hRUd5LRoZ+p+oe5xwYX
svJby8Ncf8y2mq4kki11KI9Nfie6dgSRoUy7yAxNuqOmxgCV+9Q1ibHYTm06HicLg4GrLhq6ijmL
trMuBiIrDTg42awMNyasioeMeK6yV/IXuc1r9EAA1fDyytZZkjoGoWlAZ95o4GjESYzKKiqrpnFM
SAh3qRrx2lqwr7uFPN7royozuWnUgb0OYdaUCJgUHRXI65qgEgx8xdDEfhwqshdXA2V3V1MVR0k0
nsj1Ky/VMFjXLYcM4w1Rix0m8CQWMU0Q/EQws7cw1NNghqpfy1Rx+Nw0RAFK2vNwjD13UyEVm7Aw
mayi7Y+hdGpMQsI09No5jp9jyy59o4iGS6DMAUYw3kTL3Mf06aYy9QybBcbNNW1+HPTU3Es2rxIH
F8e4K/rZXoGYCr2iScq9loSMUpGxP/AjZmbNc54+LpVa+1Gqw9cxOlamjtKWIQlsnJsc4PDZ6hvh
FmWOggm/3o3ciJDmd1xJt4oVFrtAA3eVZZb+SpokM6ElTmBlG8kxy3PbbxVwnn2uJj5exfIcc9Nu
y4LkODde4nIzmDovgLofPcAQDJ86DHafmJECL0n7FrkazmUPp7R9AB3HFFDqwh15irZwS2Ec88gY
XfxP07veVMGaTU53DzhlU0bjcBk63TxJi4I62QpA2ISYqHzsMQp+OJCKOxnrybuWs6vmniiljc4z
d991yfg5WTEtPIKjbshMy9wsEfYPE4Pzuut745HQ8/agpVO16qym+LDw8twGIl/O+Gi53rJAPdXY
kwdBlSmbSfHgg5sLHzIp7H4MYRnesF7Ya21c2uM0FO27gEWy45nQv7KJJ8Wi5L+pFav+KDRuxTy2
lCOwNMVcYW0P6PrLwny0W6lhdElFiLFAh+LXZVS7WsJ5JogShuwSMJgJ4anupbYtzrU1wKzHPrOC
fhn6PeUdrdmxYTQZN8YHPvviRddC5EepoXs485j65pZ0ROQ7nJJQih9NnE+ONIYqjWkoQE5vqDK9
7Piarg3iAI/8teZgG3uprZIfDqlW3df2YK46nFoEEeqk21VJuTxIrLqpFxfpuBFlFX1aupRCloiY
38iSmj+mknoa0wEOiiaVnZ+VXf4gBe241YiYf07CcFgBSe2YwJbJaDsQzOjHykMUOEan91/saqfO
qUlOOIs0RjqrJIxSsmqhXDXbYB+YyszQNSzlgwr5bJXZ+gXEM+N8S6FCzmIgsI415d2jxrl/x4KU
NPtpwv7r6jMa0HJJedcQC4jlXKOaluqQuijvQYxjamdgW5h0HsIJPx5BF+pJkbmAasrWu5Ql82vG
/X0M02LamaZt7TuM8rsqWvIVm6nxkmXCfGPHp76oRoLgrZ5r3pcG8zK8UdpKX9pyR67CcO4Ie9r0
qlG/qfjV/JyiTnfYuzlFWtjespQ8juOQHpelLw5RMZsuTpHgwS7D+mgswjz2Ukk9OMmKD0fUPM/6
NKBmiNLwZdZg1MyNZK6WUlYehF0XtBz69s5IJPlgB9H01IkScINUafJj2QyIXcx8w6eCoMiuIZOS
zCcl1skS1hfVWkHf1AmnadPXOdWW3FnaBTytNpjHRQOQG9htu5XDPL2zRiCQtY4DG9zXZmwiZq2a
VC1foFN5+kIT6FDVy/SNBWg6MhJ4Y0htlcMoh51tBUvs5lAbDqlVJGeoQNxRJNHqe3lgMpOGtvmG
aUGfD6o6aGsxQXKyY1t7pL7sN5N0JbJhkryzilpswDTStEeHzmbbHHcjF5G8BAqFM25mpjFRl3uh
osYnkFJXpEszh++xwK3utYVhuaJR+5dIZrYb15L8rGYgRmQs81vBmvJFJ6d47tvgruyvpU+tzEdY
nBa75lZNGHgWCEIMaZRcCTPmlTo6R3TJuYXZkskp474cG7FjTHr61VXGVxxpTe20ZYSzqpalLe7T
/DaRCvGp9rr5kA2mtVNLOfBTqR92smwNTgVswp+recFfaO8mpY3WSwkqzUmKVMNO2leMU7LQBjQz
Q/Lhrb2ZMQ8fA4NMAicBXrLqC9tX9bGjiIXh4sf1YPkEQyEpEDBdsRc1fjhJ5amrjWwN2bc/tjTH
CKKtwZNoI4ALap1y8Ze6FrTQwOLyCHSBwna0ri6tMETtVhn9vRkD7WbQryYqA5PjXadxk0Zp2e3A
JjMW683ilu9of5qGYiSuGlXRwVCjgf5UnYC9lizhoZPTsIQPmcUPqVXKgGAwz1peXvn5bEtZNmtP
rpSnUJ6x9AlSlCwVoZCkYA+lLQOBepoHPhw0De1QzTz4G7lo1C3Uo4WB5/Wd5lOkWtuuNzMkQZNW
f/ZR3iG5C8cROZEYe1aM0Uw2C6iwFSTfMPZLs4EHwB7U3uRsI58TWZpu47plPJbEGpc+LoV1adJk
uhKYrcYVCZWjZ/aKckVeDSyoTdjwbGURM8Kqz1Zy0EdMoSQNd4tVxT2tpmIy8t0y5cpXFafZ0ygH
plsmgjzTOEyZoTdx0P4wAP2hqiAv5zhOmQUyt42RrEsxCs0q1dRnuoPzJTKswG/mRB35AinQmJoO
LuObKdKwndQtoqQ6lveduqAsjhsmTgvvUMqUOhguM+iBa3yqcq+xA/ahAxoPYZDkjmICHteVNN9V
VIk+mGoq1oq141TVETKwWMBI6Rac834BKVMlNbMcn1Q6zgtyfmXO3BLu6rqoA53FCTPqfTYVAWoy
+nGD1xttsWabqh7UUMnQOFph4OVLOt6kgzq5vTG2n0XOfmpOrIWJV1YpX5aVGN5QKMb9qMP7wezd
nwfdZj0f4HZuhG0oB4MmFZO4bujvR6011ipm0FM+2tnbAEyWU5PakWvP+XJTKWK4mSDmcJHLGia7
2hd+MrSgEuth6m66cDEygHTxspKFDdDCjpsJznLCBEfq22WnWwvzuq4X962k033NwwHpoG6x0sIG
LENCt7k3QsVc7qIKXlIzxVHkZIUkfbVNaZ/l7so9A5LvZ6rcfeYpLWiISHPqYgorHD6O2FcykJ5i
6bXtGHWl35utnLlzqC+vEPmqS97hOFfzXvoc6fN6rdxHUNK1atqSgw0rfZmNF5q09Y+0DKIXrcyj
Taml8WeiRcFR4xq91DQ2MV7YZFTGUtBhKgBqsA+ranzFv6vgQlBChVs713YDDrn3IpftFddgWMG/
QCWQqRkCP3rYVNrYz1qnm+brklfpGy1qetrAFXw0zaJ1kwxWfS8vQfyckc99RXTPy+uimWxzr6Bc
3NSx8EVPhtM8ptODIWi2hLEynkPdvHLFU1hBJTu9VIu/qin3F6O77w/wD3tyKZWZYfoV+iixi8mT
V7WL4087SChzwwB6mhGEO2uU2XakLHyMSQMTxSDbWzfMzOSpndNCdzK2V5Ch4Wyk3CipDofCQK1k
dlXx0KrDtLNjU2cWKtX5Or8mrDuW2dbb+erscxVoaaDQOcdUtpl8nscwQWJhCPvQ53b0YcX0Osnm
bDFlhMkIKaNpDr1isY1KJBXkRKv2M9e2hiuc8BNcYfSBiy2osV1JzoVGFsCUVV4+gweRICIAqJLD
zq+Emj0nJGm9NuD37sywCO/6OaDlFVjKYWYZ2Kodrfe5l7Vdn6jF5Mj21FHPq/DR69mwnT6aoCQu
htnfyxhiMYpn+b5tAtpJPSQOgBnLvFOtpntsFkQ/hd4RsFapNK1sE31clYeXNKikS62HxcaOU/sT
ukR10uJx8SjZyu0YCs3PG0XzoGH0O9oG5amEb/WoWEDZ3UR09kZvDWQjxZA9VrFaPERkt0KPWiQE
Lh0BIgacAzbfvaS8WSaDIaHZiOmnQn6edXYjnZoghYQjEvKEKYDQFYICztGQ3BksCOyyRXuXVwk4
pSxA/xT2ICJVYQBtzHX2Owny4gUQbMEm5C3T5djrF5pfjtokwmemk+8Goy5vqHrlzUg5djCsmM1q
a5bIF/DM30IhVWiwq2WJ0acS4WrWq4y7yFD1U6jpY7RaJHkYVxat3jdKBzAk3Sjx4suUwboHiI0d
2DIqGq4NnEN4jqWyCaPSkBmC6HHtap3dPs6mOR4YMTLKkFqRSa7Q21k8t2CN0Q2MokSww347WUeA
G7VtxfuVuq7ScKfnE74z1wjawe+UqCExI9GUt3iW+seJ/f9Km0xtH/VF+QHMsvfVLGgSCFp5TQUe
AxB12eqPwjE1q6UJGyWm5XeWBMuPBljHZhYQmruo5OOxboYwuORpSu/srglNVyig8lZZWUDmi1ui
NqAzyJyabpHZj4FtsFfJbDBfn8kZdk0pCU+lxpbQxQnHnyhS4MXbgXmW5kp6ld6XogkUV0i2/dEF
8yDzygFevG+GttQ3MOchY2kFLzBXhGqfOzbEN2QvxnV4FpAe/YSXrVq8rK2LiWq2D+BOpXa4nwfi
gp/tLuKlXC2WfaclRN1v2ute30kiibhlp09qiNVsklP5r8ZPU3gKt5/kFYmV/0ghGSa3jEXKc9eA
Wf4Am5LpGwM+EiOiLJl+yFPZZKve7trKy1KCsigorDJmNNvwqaNSMT8mWRpzPwJ1gQA3tnLNrUt1
9FKpLBC/R6N5K0m9vM4tClyvM5WyXlfCFCRSWWGjrEluTRi4EcXgVrklNpxeppcyY7bCbqtwO0US
mF6yi9TDUsfRx9hh3V4V46BuC6Nudk095zfsi2i6Gzk1AtDb8qkgqGTZj3lX3TZVlnwuDUEXWUIz
1gLemTvhsqFGaCZyU9gBgkDQui1oU3LS5ZLlzGLWFzvVPPUnrRLZs5CXpNvAYBjzVd9JjIayAEqR
01p5hQaQKdviS7ldTY6t1uwSUwNFkkZeobNMBs00WAIJYcdQdGHrUQoVUZHcsn1Hgis3xrYgM8D0
CX0xHU0T2hv9CG3VZ9PsaTUfIWxCfW/KSf+0dHPjN6AtkG+SoEGmSmp/AU+m5A2n+NgBWyGAxaJu
zmnvPYF+vJaMqZV99XKev3QRzBPGwz2/molJ8/qU/EReK7V6lEuLPXJWJuieSm1ImZRngGDpSKj7
YSy1W6bF5t11RHYZaXa6mpR1SKPKeXqy8licJsNaePDC4kZAbdmNZaWug0jtdzEEg41uSRUjOhjr
M83Yw2wSMqKmJtNbs0D0Y9DcmK4RYugd0gatkZqd7bCYV3a7aPQEJhLNvFqf7bvZGFIf3DN9l2JQ
GMxT3WtNgiZIAeFDlvXZllJtE6fF+Mje1sJ6NdTJ1uhaRP+13j1Yhlax20vrbksrSPFtOgIGG1ZN
Tv1atcddKskTC6ucoWDrc5wRizbTHtWMh2DRZ8SKZNKdoGcGDz2gEDfjAzF2kKZkOFxXUSTAcPNW
naiCrRqO4qhWirQCHKhxS1hmd4GaqM0rc+r1D1u22jOBApSLSthaO6WOQh6wvIebkudTUZ17axK6
pyoF80aoi4Pk/aUe+X+toPn/yPKs6GRE/vcCmuPbx1v5v+7+z+0vKprr3/mXigbZCzQrTYaKrWjC
NNDK/EtFw++QRW4ayGiuDimNv/NfKhoVpQwzTllTbEsV4CT+paJR1X8osmEJGaOzgTDHVv8jFc3v
JGeWBorsV8lZCD2SjUw97M1BeIF9IrXygeERXHw6jORjeOoYPPVMf/ddcUht7eWnc/QbZap25WH8
m3aH434TpsqRaDuGEQOqEX/BTaXcyWN5KsIHUAobuVbds941b0FWrYzQoLjAPlDuJNnrxW3dbTL+
gJxZcOd/XOtYcP+ePVdQRs8jxr9RWBvGeiRYvbB0UgjtewGMeXr/+8+uWr9jmlxP2jednmn3Q56E
0bAHJjjJPxL9PYtfqegEO72EPiUOoeqjUL7M6TR8KEyDwtUCmD0hB3I62fNltBvwuyfpJX7n/65d
jXLZLOpBUQ/HTtrV+Z2ZPqT24DS5r7LbuIqU3KINvWlXvtZfKTMfkifw52AGKo7Fa8tu3BGo4jGz
rK/m8n9qGXscdFdTm36gy3PV9+NNiF10q8hTi7PkvGO1xlEYYFI64KrFuoraJnjSaV6bKnXPvUrE
Z7RJ6m2gvJCYk2UPdAVz4oe0h7ReIPp4Y/ZkT7GTtr1jFaTCYBnuQRCerzBkgoO01ZztXmlaljsa
wXqMbsSpbxFmmBjnZtYD/vH1VvaDgNgle5XySuZPaDfpfK5p1ASuaWyy5p4DDlBMGzi2Lck1gZ80
O1Efxvwkuse62KXzRkPii+s72ihiMw2Xuj9bIe+9tTxsteHTKNFZS07PDrf0U/6hxtDnW8Ii8Bm7
JQatjSy86j1a9Q+tttYxvCxH/ZjpPkJh4WX2Sr9t6Wcz4vemyu0eYTtfF91uXonmbF8n0b4CE5JR
M5EgE6Pxl9EwHBVm+Jv4kD96jDqJW4CLA/bktAkLHE5dhqyZi1QB6zvxNVXtGh9lcLbeRZS9FOuW
E9saW4nS7C5+ntTOr23lacRQKoenNljP7T1jJQKRCicdSXsSkZuyXEnHGDNBuc9T6FPxG8JfJXRx
qOkrzlPkQSAjCDIxYLmtIoZl5r5AsPy48C/bo2DCvI2OdH7sqVO09GQYu85+pFSufdVnW73VvGyX
PdgbFSOQjblQRvNrYGIT6/QdtN3fP2JXAeFvXw/X18ZPStiJfinAYxvH2112AQy+UzbRWTvpR21X
nKZTsSuOyiX/g9v7rwTb372MeAH/fDSKfk3IKUcrDv1jfWou0135Gt2Fa91LTs0pf5nvCq/BX1z+
T4/4jbCjzmZGMKDV75WzvAt2xuOyhWV2To+ADM86FAX5YGzUJ+uk3f/hjCJ2+u051b+nFA7Z2CuT
glpJOyMtwMGncX+RpfJkn+LdtDV22f3EEHJw8keoFfhODQ83xIZHYNf4/Y5fwyypYYUsDvaH5g+H
5tKd8VDti0uMSj5jzLKhl9Lh9URdEK/ow4ZwkB0x+iogvCs5j36xG8tOirS6c+vcY9/IVATAu3q0
GZe/U/6NNzHJOiqBdAzoV4weE+TWBhhhd5Ddw6n0b8x2PaV+P291EAbPWPFJ7+CZO3QDoz+28X7V
rXVjoyA7AT25D9oDnFOaVoyH5q+5QJfkEIA28z9T7i493VPH+AKAR0eKXsaNfGRHxlzLeqtv65O9
v2/XWu6wjdYxrCA/O1KvI25EAPLchM58mSWHAZrkxDqhebtwywHOyCcoIT1GEDjk9LVI6Ea69Ejy
jMH2psfRp65rGBH1D5u3b1l92c9p+5FVL532qBZfYBAbc2Mlm+lDRSkvvaDT0pMVrDrqb3gd4abH
OPhDfk+O2jb+anXkqqvmI3xfXkbTGRLaMk7+Pl3kG4SCvLT2U/o69GS0AVVzJWPDf/SQowMnyDYy
Jh2sgSTRc1q+zN5ZPuLT7MWbcFM/MvS3BSrrCaE8YtUNbNV9Wjjjk3Er38o32Ta6156xxmNoAcBw
zI7lBusnD1G3+kSdj9sIJQzqf86+MvJ69G1EdbgquFfUVcW7lxbdFqugn66LjX5sPKBx7uKrN1fV
EjZGzanx3Zc11pPqMGBfplX4FV32OF7R+2O7R/HPhhCLkbnNnolAPvePdCqvMooV8y/hjUcWvS12
NZ8h646vWG0Rs7qkSWowK34kmAKe5jNog9c2XXf2TQjSdH5Ek4hTC/4vtyYwYkaNxbv8w97Xt9VL
88JNALmyTj2RrBuode3GsvHicnvqXoP52A2ha0BojR+yvSFJBDRtrWLd3etN6EZnpcbj9KCbDn+V
H2DgdSKm7pbEHotW+I18gYFiFbc6mJBbeSvdNG/JSb+pn5Wb+WwdrkY4UtsOGP/hQ8z4H5PV4mB0
AeB5Kz2bvn64nkwJN0uwe+22Nn+aPS72lALhPtAWPF0vZMn4/b3hX91M86b2Xyb3Y8IxNR/STzxl
8QsQnwuk0Lv+eWjcia+EAuWSkuThXH8aKpndsmPNwhFD5028pRp+YJTVblSvaFi3KL3elQ4ztuyl
mJyM/WBDOUDKy8IvYyhaKC8cY77lvptYg2PorFRzGHFsv8D2w9MmPhmJwk3HjFfsLWboVIoumRPM
W7DktXfV0QhWw7wGlZ+v8NgeeBKXdX7IcVJFk5MedE86hTex9Fi+mn53dWiRVJ4D8vsaGdrY25kb
H9TDsEahRTJLjEWeYRGRhq1LCCa+JLHT/IRqydgqT8qTthEe8BndsdZZC6ujPy3b/lSfjF3+KO2X
y3gzfKhQ5bE1RujFVjyRQBMj7mSGkANED/aR9BIMh54cGNUiWtfWKsy2MRAALM1MJdAPpPu+dsae
3JobXds07X7pLqrmLLT3UUKhmTEJjFsuwXxi/76sJ8Ubp131VNyl+3DfHVrMF9WjqrxU5rudvhrS
k/kcLsjiZHNTd05A9pJL1FN7H85fYHqLxEseshvEOPctwyRY5F4XughNQXryphw3yXFCmPJuRw47
cELInGygc+NEn9LzcD9c7Kchq7D51/VrqbYHk7Zkpa4k2mx8GS48Xa0f+Q/rxbxVL/JlPueI8Zml
dnQ1Prq38KW7HW7C55qJ8titZWNgIoUZinQKPCel6vWEu2UdlsjXMFvryBNpGfSV00Vuibm12Ubp
NitWMSVUc1tgIerurB/dp8ApyW64cdPh0J+6s3gx7ihy+vlZSMbW7CKnnSCZIAq7Sq0moi/f4vg8
DOtw2NrqJgt9cVt+JsF+KDawhxCGP8rDe9p+zspWes4fu2dxgxZNGnSnpsFPccso1X5X+5VmXrE7
I494mbtV5FbD44KrpfBjPGPwqSeqzypYmcN0qCiFQyM82u0nIho9JYRzVY1e3ro1sJ2HKhu8ErVQ
9yRW5pEe+zLT8nElXrK6W8drw77Ncf0Ee6271IpfaWcUlOyMmj3Vc5s6xgFp3bm+C/yAkMRHksb6
BimeC9W+uApqSF5wuopSj9kCegfagWBMPTHs6VMUuTcKbxoelpw7jJ74C6sbXy04iJV9E3yEnxGT
UGxYj1VxmUHfwrmNej+D3TBvB+HrMzXuiipzDNcybRPo1rwgMM7/YBIVtWtduV3sG73bo8DmPcc1
Tb4w+qQX9dChc3bUCuY2+cP7LDjk4t3GZssGUEcqumNvpzQP6Glp5nUoQzZp5wLGzqFRMHssV7qC
eGg/Ze9KlDgGQGxid5wCm1j6mNMtN6bPOLhn2TQpYDofRssj78YbE/MqT71ErPBJ70/pDYrA2/RN
P1fPWvmaPQ+Y5p7iu/Ks0aQJHaV7ZBwIRGo13SqvF95JmFCrh3hV1l5Vs9OKMiwCPGabAjEdqxMx
kIUztythb6yxc0kKDMjvnJWnPgG1rSiOPBBBtiVJdsEcnl7oRmfzBm5MeaPeEeOaD1CA2J6MxX1/
F/HTSLl8Uo7yfX1RWcwWd4HqGxGj5rK5nG7GD23mNUGuKZQub8i2CA4aHJPckOlH6emHpHfFk3lv
+e2F/HSm4EAy2CZ0TnrXvV7jOGVfIlSu2pvivqn2MeZPRtE57t603SSbfFW/Q53NHnCeWPv+rrjJ
fkilOx25w5nOltRhkVO+o+0/TEzAEQQ6xkN0QHl/KmnUI+fFSBxeIVDLZ/1kU5Mh5KiuhY2qbmqw
OrR4Wb4jWBPyLZfZgo0hu/8bJG6dlMDVCRlKRkfiZST32sawkhvpGcDHA2J6VgASM4G8964in5L2
iMTSCXYN26W2fVSnFRB2EgIkxLhD4UnAs+SrVlFyhPSi1G99hriiz4/oKT2207byTLQUAdBff5Xf
/1Fb7L91jf2CBjy9kX/0Vf7/4CwzaBr9XWMs+4yHH7+6y65/5Z99MVP7h2nQxFIsTccRxq//sytm
qv8w4PmhMZLJQKA5jX3tX10x89r5Yv+C7N/UbIxf/Na/umKS/A+8aDqmM13VBZoMQ/7P+mK/tnhM
wfEFh+ejqBYyxWvX7uetYRstNe4qTKuatay78qaAWU2CbcLSNwS9x4JKrvBGp6f70zn6TWPs2873
nwfWyPUj0dGkNah82yEWqTnVxdDJq1484yjwZDk/6NF1nsz+P07Ya0iritFGZ8UuwmCHWRE6BTA6
EwSFLkTkvfvDJ/rdqdBkgUYF155OU/LXU1HIsro0bS2vuDrOohLVbgOVidiRB0x/R8TFRI0SurfL
L39/ZPW3RxaqIArU0EzlLwPgT90AO67aSiycC7WE0KzuelhjUyd56ly+0TB/CKQvS9GPSghSHb1S
oYqdYbDsV92e0eyzKebjzBolo2+ZVoplr/7+8/26of7npUL2IGsyhhbNsL7dI5JmD+wV0NYyjXWm
O43I7jxm8EEEWjrTUmBOs/Aa/fuD/nUD/Fez4p9HxWIpDEPnJpevrsyf78wKl4t5zYtbpRbCISrf
bqBwmC+ZeEby5gCs91t9bQfTn3oWv7saPx3YuP7+T1cDwb4dD/Igr6qBRYvMMVRP3Tkzn4nfJfce
1EM1nWRh3U925P39l76eyV++M2EunGTFAPypmliDfj20mpQZMk5pWcUCHdWckPlLjbh07A+kPzyA
fzrUt7udkR25xx2Haqi8yzD21HReBY3kJ8r4h0vJO+7fvhXPjGqgnzeub5xfv9VQyQtizAhtdlw6
6ZBuOnYqmZb9gRWtXNtY38/eT8f5q53904Wzhl4jWy+UVwuSE0LL3UTPNvHS75eYZHh1cgqat0VI
wUDJKYR99/cX798eEy6eompCkPCmG8Zf3befDq8LUU3XaKmVpawtW3cNWrol6JLQAGHH3pKXKCAV
sfn7oyrXVuG/feufDvvt7EZDkNloCHh5MGWYSA5ZVqXTy7pDYoLTMVZTq9IRikAxDlziTw/L9Tb5
t6NrTG8M3g94p78/LIkmjbrGtQ3YjUVIJVUNw8B0GlUJeabkVTD5yba08tfkR2h0m7ld1pbWbsnC
84WZbSSl3yMp/8M5+e2lYBRuG2B8AfR//1SaQmZlx53Qtu9Dc92VodmTxIb8dUK4ll0N3gOhHhUb
PIAFWL4Qu15Dl5RBK9Xzy2Dpx2RNfvE+1x7+J5+NFVxjATeIQv12vexoRkAdseJer5T2kjNzZzhu
VPMasagbX2OoqnVgArhFJtqLzl2CFrrOiLph8PHiOLMZestno6p/ePmov7uTSLS3+VCEztvfl2Sc
5pNpaSxDs4B8Q36IbM7rYXkMK2Jt6eWWqn3QNeuem/q2JKCIvRHylEJqmDGwyUJdM6vA8EzrQd0j
yzsvS3bI/9O1iIeMPDBF0TVbZ73/dmWtOljI/83hhGWSR1CKm1rIXOzQaxhOX88SaThHTfzphrqO
677f5oJijGGl9VcBxu//9GwbejKHc8ypCRsgbxPLQY54eOy9HtN0U0JtuPrh2miHbG+r1MtpGPkY
dkA28B8+yu9ubcPUVOIxCUAQV+7AL59k1AO9HAawK0HDIAiisRXeGkG3x6bwEcdvKeFBHPcPN+31
tH7//sQKXNHSLE0mRecvR81lLW3spVtWimRjRXG0Kri3eavmrIxBiBg1jhxFGvyINNs/HPp3d6Up
mxQB5EraivntCw/M7pUEdsBKLNHz0E/7Fm9XEnnWzNvFtLdDAgWh3RqI6a6fQMzBH56L375hTQXm
tqWq12r521JZE5cZmBF6Vqtgjmyxzc3ntaTGt8KgTYZNado3CEuuR0/Psy09/+EM/O7mM1VeZ7Ji
Uigr385ARlAdAh+Ov8w5QKH5UW2yDY5KZyKix8wZuVrT+brvnoqePIzqEEsMF4rmT1fidzeBidzW
5t3Au+v7rScQ0CpJgShWBOFa66OdzivVXKSDpUS3UhkcCJ082FF+mJrwT+fg1/k91SDPPS8fRArc
+2DTvz33RC+NQB5Y5SRk+giXnAB8j4AQK/p9StPHDpqtbvaeaoIeV/aqUW2T6V+iD/alvyej/+7Z
M21N6KwrmqV9vxXRLBF2Ct5ilYy0gEgorCx1F5PpScjXWuGTkOIqimn199f/1zCDf351toKqrPG4
K5a4llc/vXvkQp9GW6JSq4vAu9akKtGNiM42173IKMV/KAyV68/7/qxbPOpsCznnCviSX44XJQp5
axJ+xTgE2ot8UORgm/dlEfi6ZN0P0JlkfV0om7FAK6jbyLrteyktL1r1p4/yu4rO0i1TcOF56X3f
nRZa1OqlrUCNEoZrAlGM80tbqUerDW/zqj2Tan36v6SdZ2/cRtTvPxEB9vJ2l9vUJUu2pTeEbcXs
vfPTP7/Rg3uvxCWWSG4QBAkMZJZTzpw551/a+DmGYjN60enyvCtLe85mw6tcOPxTFin0p4lXMDwf
ktyc3HTApL1DFdzUT3b6B6LGY6kOf3w9vsGEmBr9dCPb0q8x6n6Dh1z5FQunjqNv89JHRlg35w4Q
kR21w2ToAwxONzLRhXZgzZQIfzb4VKs03Eg15XE4ZDAoV4YWHzjbCV+GngWeKgYxOKakr43UIalA
QQ0jzsBsD6b3oKfaLfStqy7zb0MlvKqG30XTPjfOeChC7baKnG+6slo1WDiBTIUKw45AIBOPvy5J
bKuZL/fYZ388kIDL1U58rCr9NmOZPMX+Vqfmren4Vxbl0y6sT5MVH2sdWWjAiZ7RHvQpeswUflvH
275fTcaXFstGb4Gzw880zdnvizAbnVIw1G5d9ntsSDdtk7hsJBcuwl/T35ndQ6j2exzO1wLk4sg2
QwKXknGWmAVIf9R8P6syNmsVPJkxmJXG2ytSfR2P5pXlAIOhJf13qOo/lzfJUtaocyOwLLolG4aA
cH0+JSrusaH+QdNGOkAAzSs8ifsCy1WD4ntkHiUjejS4v40SNTWfVl53X4/9ztcjxNLEI/5vUfZ3
ktr8njrpCRHRFokzngWXf+fSLW5Qh+Mwg4h1+Levv1NycJSzWw8t3mqjVRVaenTtZKFnIcev8WTB
HrQYXBmf+zoDEdlugWyuBLSF7WvIGgxnFbsZcZV+/Q1TDYMs0UmjGp35kNPjEIePXeYdvbE92mNK
sVq9yuxwJWdc/nbODJ8t6+rZza0I7ZACu0gXHPBBDcy9/Ate8FXiqBSS9G2jjQfKlNuJEr8zetsh
W83iFmIpJTWRPjok72f3t1bX8HmDgkNa+fuyTY59Gj86pXST9DDb+msVdA+bC6aIdsx4Z4yDsPBs
V0L6TCfy4y7l6UXmjC0t7E59FtLVfEIeyTa4UEo4giWdFAUMjEKTsgsMJFOn8QWPvU1H4z6O/F+1
5m8Ty9ooRXdtK9Fb60OEqNtdGJZuEVwlsoPjaIMQpkqXYAT0PpZryefCbSzKvQqlYoqloCW/bhmD
4iyMQJntovnfcKZD3djYGdDfEWMx3814vJWmlwgQ4GYIQmQYUdPz4Vrq6XWk3eECul05Rgt3gqEo
JjhP6lQ8Qma/J8LntlcctpKSdXg4jhvbhJIZx+qmU0qYFlL5y2/B/WTabeqA47aH7C0YR9dMeL0m
+m2T+dSB6v+yw9ldOgdc0cmVZguLfTdPRt8nNQs9mP2Y3G5CPT5OuESPEhlLyalv+JGTXzxm9NVs
5El8Of27MjtLqyUgrhTUuQWMeQ0ozuV+LEe2eVBCDtHSG1srHqzMeTa9bp98i9DY2UxSBwmz+BXF
9reonm6cWDslcA8HoEuXf47I1Gb3t6FS2OftAIBWn99GSYupthNz+1hhha5ZB+vOfg8aa6v66UaE
mzKXV66DpSE13siimE21eD5kU9tWH6twEGAIb2tLdkXVNu3BdSgHfQy2/KK1pV9IEg1NNynz2EBY
OSVfT0hVOAWE6QGdEMX6GQTyThmMo98Eh7rgne5X914pPfqKh3Uvs48qz9oRFVt+Ps0ad6Bh2OCb
aWd8/QGlbU9KU/ED6gy+dBz7P4aS1ql4LSNrZBnxUTfDx1xHhVmXqAm2h5aGpmwqj8Pr5QVful9o
C9kyGGyZNsbscOa5onbjIMEAQRS+cNxS7q4zK3mcbGC5x0G2XYpK+8tjLpVdDQqeSB7yMBOr/vXz
1VAdJbRaRsyZ7W/OVN8rmAdLGOlopfXXNvDgJg8SbOPEGw4rYy9FIxPZBfEcc0zz7Gnu4BhmTjV4
YaHW9bfH/D1vuuu66a9RtjgGknGEm8uNopOJBbuuKbFh1XFSpZus2dcQ2VZ+0NJmNA3DgmWGi5d9
loY5ZpX1UGJRmYmu0ER4mtT6Xoc/NyTVvYk6V1YgLDKmJzxcj0o4rQBKzzcAz0Q6SaJpCN7eniVj
UdTLQ+EzH3kJHo59MCVXhu998/rg9Vcs0wAvjitfLP6XX3c/Q9qyStx1bOfsixMzsHMIyWC18voX
kPd2U/snJzOvq1HjoXZlFD7II5x4YJ1RFb4J1dXcd+kn6Jw+LknMVpx5/8ymBNR6SQJW2dOOIvJq
ww8oTK4okyU5BWfmfdBxdKJArRvfoz5xVybhPL0RbxJM22xaqFxCs4M3+VqV2AV1CKpxB5HsWhDZ
/reuG4PVN7Z6kR5RKi7eSwQGUlPbBHChLv+I8zoBupd0mGkbITyqzGt0mYxSoezkAwCY9BiDF8j9
+DF0QIAU9PwJw5eHOz96qkxSyC1HmZ10WmzFT6/jNu6VmlQb4AGfi8OvW9bDoezNjUJ54v9rKH2W
Nndy7gdVwVBqxALCwYuKhyYDvmP0a8FsaSEdnaqHRbLFc2Y2VK7pqVGrDKV4UCPt6tEerX1XAZtE
lIL6g9/IW7lGbcunFxqpOeYXxltUmXeS771d/uqls4zaJ6gBhb1N5efrBFNNSMkLkaDMwvwGSt8J
Ru5zYKu3wVPRvVmAmuR4tca3cJRInmSqvDzmqHmKP/+0qnUOFWVKChw8wn7fdGwkzd9ptYTsF37i
6FtWTXjspB8F21cuIOyO3svlzz7PIAglNEfwMRRxVJ7tq5xXuoL3+oD5D+JKCILpt0H8s1d/NFxf
9rj6xQsrrnJrk69RWwUBYXz9Yr0ukUkoAWXDRnQzK7iycu+bHlFp+yegpSFBZx6tbB879nMFFRjC
6ZOgKl7+6IW15qt5j/DBtNLmrRer7kytzyXM9UppJ2s+ehr9tY4GqAKjpC47yBzhK721FYPahZBB
wFRs0YkieZrnC1nZwqmLSsyHKIdo9AnLwthWWrvL0NUxkaL6919JXYQ7ghk3rXmpoMsdb6xREXWR
/HRDHpxWgH62abgxwHi0e3N6tkoZr91Q53eyKjJghXtZQ+B5PrmojFGiiFL8f+gZtcOzOUTbKYoP
JGuZtZHh9/ryUxZSyK//Q5BUefdCUqDs4JjzepVjpYit5XrvmiHZtprc9BBh2jbY6kG80v5e2kIG
YVhgB3ifzfuKCH46+ggnEqAyjB8N9ydOjiyHp3oa9qDLdkFvHqH/r2QcC1VSFbCCjGAaFqQ8C2dX
X4VaJPqVFi4X+j9oujCJ8EFLjJeC/C2kGZBbvzQQwInlH4LU+dYr4FkU+/nyzloKGiAmRMyiMXGW
hExlHfo65GlAx8EhyA3UaLXbEBKrV0FsdqRdY64VVRbnWwfSIE6sOLNf44Ya6eWQpXx3T+qLHOa+
EODq9jFCEcCwaE5qboEQ5uXvXEi2VZULXtOp0KMJPr/kezNAuUfT8C1xMKDsUHD1lfrogdCNpUMs
avMxFiK+c5N0ZAChWp8u/4CliTbJMMn52GKqQK19vh/azqpNpFw4wl53hLXAtTRmwT5rfNe8Hnpt
5ewuBSjqig6ZFdiKs7g4aUbdVHZLgCqDXRkglRipt5b8EqQUZWi4XP64c8wRFWXTYG5Nrj6a/iLn
+XT7mUZgy60hc1wHXK5KgOVI2pq/qOG247AfY5Ic57E31ZWb/mxS4cwaXPVsXUc2P6CAn4dFLZq2
VQ7iqFIUINC4bYACHfXm2vQFBKjf0ff6t1/6MSTa9ipzq/Ng/PqlBgTYVitH2QUWgW1NWh2kfLh2
0HVP6TEUtnmD1EXlIoGeArlbg8ooZ+vK8ERD3u2iscfd83V4GZEipAMpD0gyKrBq9AoTCQkJJKMr
pA3N9O841L8d236wbfShpB+eHL/rpbK1NEGdGo3rMBl+qBBHL0/Lx/Psy2NG/C5SDwdsJYi3efmi
lswYbQ0VDI/qvCNy+k1qD5g+o03oyehQVPYWnuLoKmEBEt/OtwqkRzW6zyzT3vwIsMxJviddcmP3
wSNezn8sGfXZUmluIwtqPS08T+ammxwo7XUMBSPCtMmzrrLU33FfrvVvlibZQU1MNI94mDuzCNX6
kd4nDaCFOuq3LVqWUzq5Wd2j1ZC4BpD8y5O3uKii/CESSFH+mu2pRkfmR5Yr2Y0a/bas+n04/cqD
b6JbLpqkmQK7soPcmDwnSFQOtgOMvodfhBbA4D+bpv09MZWVDOe8m8mKkjvLZDe0M2VVhPFPR9pH
isdqByYhBlS+CWRoMFEKnUO9xhMsUXtU7dq9nmtXpqfdZqgWlO1OAWO5XZmcszRT/A6NBj6PcyCN
88ANpWJsGo/meREqN0qPXU2d3npe/ZtguvOgAk5md+0Y4Wvd2i9dDdImge+croRvVWSz8w0OhkG2
KROA5pife61pux6OJBtcS67tfILqFd0Y4x5RG3SoUMlse/8pdKqrxkd/qJAeC5N7m0I88iu7ZqBP
wwOkLWTXtJynjlf/IJtPWEzcItTvvVQGbZTOXslsVJFCzH60wD5wxzJ95+gTY0iLAkFYIG42Drfs
IajWxkughz+quqbUGmdb39Jo+NGk3aKofAwj6JaGXp8CcvpGAhYw2Ddakb4Z/GGVt7+TdsCOVrJ2
1YSip5dID07H5UlVfWXZRSCb/XTqElQmOBRAO+eFAV8rCltPaAjqNor6JXwhZScp6N01MJSb+DXP
1FOB6r8DVzMM5edKX8XunP8ES6iWCegA5QkeGF9PwIgOmmHltqjPSS9qw4WN+57XVqe073/XGJG3
MRIrN0OG5zvcVUSqV+ZADPB1DsjLKBMQThWq0PMM0exU1PA0SP3hqGNFcXSm7Mbw+ru4/2HLya7O
yVUHyILm++WBz69VxuXwk6ApYrPP41Fg1brc8eEBrhV1QycykG5i83dj+DwkU1cbVyGoi58KKIsS
rGaew1Qa9GC7TI9o8AXqn0YdbuxSftS97CEY89dC3uZTf98b+nHEpmNlq51HewsHG24vKv4q9Qtx
iD4FOn0wsi5MxsEteb+hxLlr2umgRMZV0aHlAizt8uSe9xS5H8Vnsru5Y4z5Fe75hTcCRcS7y/fe
G65KXa6hy8Ulyi6AxMBJtwiUR0H8qPVc2k3zztv718qPWJxvAVaxLIudNd/bJSLFvZ06WJGiSWB6
1q70kpuxcZ6MWy/AHytuTvk1SlJPl8cVO2e+o7lTweIoFpCweVNulBTJ0DxkwtuKoE0Xs1GtXWr9
AnmwvzzSeUoq0hCQOIZ4WjHeLOEe8aBJZNG27j2wq1YN3MRyit+Zfp8LhQm4UB0u03nwyuq/Xh57
YUfJJsosGjkiO2te2Pe9uBmaiXPrG4k7arTsG7IY5a8MBE7B6OfyaOIiPptTROSIVQoX9TxKSAYm
KrrDjaIDphLsh5IKeVojfzl4N6JzSCZ5265h2pZiBOGRFgJb+PzhqGXRMCkTMSLyclq9yp9MUn/Z
kHVN43vhKW5d7KO+/hkMydEcMIwevF0D+U8bOvK5R1Wp7+GwYDkJlffydCxNPirdlJKZeQXziq/H
OZbqrNXjHrgC/Yy+b+77HgJneWeQrrftWhVsafIBcXC3mtQqSMq/jhZ02hgOGW07XDFOAI14FdwW
XrHPHekINmqDCNqpBGZz+RuXYgg9ZB4gqkDM00H4OuzAbpZliR1m6tHVFDYnSZD9MFKBCyq4JvYP
PFWOeoiQSjmVD3KD1Sq4y5VfsRBEAMyQnZETiZM2+/iUlmDpNTIdjCr4ZqT+P5X/pozBI/4Eewv+
dBbscLhCDMVU/6wMvTDvFB0NoheNAwCO6tcJGCPqQnUUsenDeIsA7V4bhgPsfLm27nwHYztz+B0n
3g8BrffS5C0vm38GuXFNhPgsaboJ6ujk98aNOTwINtDKrzsrnAnMAbUk0BKKo/E2/frrcmBOU+aw
B8GbHfF7QM/6H4T2kZYAIDJYxVUaYsmITht6Euhoyk7oXv4FC4cAsIjGm5zeHhDI2Q0uV2o9mnlL
ZzWV71LLfu9j2vnTnmt9F0/SykZYiOokCtRVQJnKAPRnu7HsvEHXiLCur5svhtGckni4kyLlTY2U
taqZWNhZtKNbRe1IhFeICrOxAvDUfa0wVqM8FFpwI3CdvhpeIbC5yWF2EpNcLbG2QfUCytOO15Ky
pY0H/c4hrsM1BKv2dWmjIszT2ucpW6O1HVBVHyoc7hN22VjChR3uEC7SaGtcXs+FUVUQ9ELri+7K
2Y0y2HaInh38sSGt7w3F7Y1vmuTvHb+/HtRXDzWrYXJWXg9LN+gHtY4mCn+fbSLJr4ExCs3rIPJv
W8W78QPpWer62yq9ahS0n57MBGhlhljyf/ha2AJUuonfjj17f5tILSJJTC9JG0aEWH4OxdWUKe7g
68cig7suXPP+UwpKtRs2DjwO0v15wuDprTZJGivrwzSOp5NXB89d2+0UVAXiU4Xa2SQhnNScLn/s
wkWqUkcCZMaG5hKZHdVeqRAjznJCeR9dBZp2pVFMR1zzmzJh04NcgqQbK/O7vLJUHGzBpaHAMWvd
KKjBI9TcjW6sRlco5B4Y7znE7VcDelg1EPeQdNXCdxTVH//D134aefa1gyanUmESGSMeoNH0w6ZD
h4xLnRiHYZQ3ubcGMlmIhFR72UVwROnwzuPF4FupZ/a0uI0OHwaEdY283htTtY9MbgptJa9eiITU
9G1ABIAqgEzObkSEXpVQtgSixTC2OdrrJZjOQXrw6vZweSI/tuMsEFIGtGEG2jYLOe8JhUNgZCps
IreRw4McjFhpaJiF6FF0GKqwd+VqvPIUVdDnhhvDGrampF6VhgEDtOqOSlv8RTl4YyCIv0P0zHbz
6V83yUhKQQyCduNtxftqFqo7hNEzjCdYa7TqSIgPoM8PHuUSuMF7uKL/4bmsCiQRbTlQxNY8Hekw
HEoSASfyI38fGunNJGdvUZ+9KdUNYhZ1GOzr6TsC0erKeVo6wnSbuQx4SqkAZb/eCaqdllYehKSc
llDiMLcDYSOcADOY5S6U+n0Nz+ry8i9dCAbzCxRTpzzizDZaN9l67zkwT7Wu36gjkJjiYGX0Yce3
AR26tJyOKWTNy4MufacJ7RyqpkKpd14X8MugHA1AK66GvIpiJ8dYL+4TTXYz1dva7XBnscCXh1wM
VQKoRBUINfMzAlVVNpVXGpzfJgYVjYIIYi1XaMufkIFFwnQzRFDtrIqNbK8MvTTFgLPA/VJn56Ez
W9UJlVtfx3SPMBUfzAacKl5nHVDbANHILvo5IWnhGSsdjaUAQg8FvhyyAhQb5/GxqBHaDhm0K8Ir
Ufgl3dmgven+hxYr24enA9TTD9LivO4xTDijJRpD9TnYZhBVmYGwO7UWtfZWov7iVDIQL34okiAO
vx4QvDD6aBg5IAIqIMMbLdr+WjwNR7nZMvmsnv9z1Nby0qVnksor8P+Oq34d1y9SecLUhQ0b3ST5
Kz5fm1G2cRu6H3WOTQq0NLseofum94J/eHnrLp4Wjeq5TMJ6zj5rIk2ObMTj3bJLb5wIf5XGuYmj
/CZon1SsN1o6rZdHXD4sgD8E02wBltB1sTd1LbcrAt8wuZXwIMU+mhTVfdL7p8DSTjD0MavL3rTi
P6WLFK/BC4h3AFHp62RPca1KVldRNezhUEf7PDAPRTYd4lNqJ9u2wAjmFqLpylvrnEYhtjHdGoDD
8JzOCsWoQndtkIEgKzR1Y3e8RsfJmnaehnBleSt5Ep31Vr01UvWPQbfCD9rTkKSu6FyMbVahx+Ud
uj7BPASL476ONjxesH63sHbRFG+vt2tM3KV9AS+JwirbAs7LbJ6CshzVBOKRa1nTofDlg4GHUjf1
BzSMHgwLxZs1IubiiHQNBa7aEm3wryuDZzH901YdXBmFQWXCLB02fUMmYHRvOoNn4RptYSnromLu
sDA027kwvo5Ya0PtBWZN7IR5qVfynVKnrjVaz0GoHL3VTbD4gQiyyKC+QBHOe0Q2JoF9r/fUwkPj
qm3ak1NlN11S3htIhMU73JJX8rzF7+OEMRatMfg7X7+vaibHChO+r3JuK8/Z4i+yFeIM2XSfTGsg
yaXoSUKJvolQvTmD6FNNjqACsWGCAP6i0pwq4lhk/qprFSjOvZyi7qesXbxLg4rNKRrdNJDmtwO6
swm+sRUraEBLV/2noEIYMZY3iifv8szBtFl9xK5hfzmELQ5L+Y5VpO1BEPs6sYZH27EOGDYdwx2i
64/YaT8H/XgQLPksTt4glpiptxKqFy8KoGyEEnotNPlm1+40Rr4R407ihq26Lepd5P9Opm+KCmMQ
ljrkRboeXYLemVltm+E/pFUOCZWuUzzhfT/75qzM4ijDb8Qt/vSTse91n1DgUDQGOxn322xYY+Uv
TbIDKIRWPa3ds35zkeIG3egeXwvotpLINaIjxZ3bEveTVHoZYgs9rv+UnlMbknkVsa/MefYIfAMe
tA8sUxmbU6RCcQFlnOZQQANcG+T2hIXpm2L/k07Jv+8hkyl/Gloc508tnjitG2nsmOEJPhAKrzVH
dRwPAZEWN3ZW29zp6OSQB2n+KZb8XQT17vLGPgcgiWydZB3UIOyfM8Eo2+hU2Q80Ph9rbM3XrgwP
c24ESt9iwbAgs61emsl/kFbZ14tpARVxQT8SUlXzpHLUqwaaGMjQ3ELHHbu9ZvhetfKPsipPADKu
MiDBTo5AIuHzx8pni0g/f6Y6YOrpJmpLyKBCITGYfKAfo/ctG5EEhl0kUj9f9l6U4gf93PsIUVLt
fUCTjuP5PoY1fIRqZQ8sXBFEaoG9+qihzbOTsQ6M2GsGoNAGbYGaTkmKY7jvHUsn2Yb06ItyDYO1
kMszJCmRaHZBnRQ/6dOuk3HmKMGukGCTbwxYvDotWuV3UVYfVyZZXDezSaYaCYVEtIDkM6GFxG8d
J62o1MkY/NYeZmrQNPVaQh0ZdXepOKCh6ZqIGyToJq+MrS2ODU5ENIIo2s2u+tCRIGcVCl+pe0g3
G1dAzzZDc9UX8j/DYD8743se+qfEDp5ASz02XbH37N+Xf8T8OuYmFp1bIPUqPYEz2ZpOxly6U5FI
zRXUC1CPjX7WSLKl91W6hg2a7yMxFNx8ognlFB78s9IZkiUeNEin4S50ttbwrqU0E3tpY7dHjC15
Wkz/8nYQA9IxJbOlpwBFeXY15b2m1hPO3OygN9u/x0DLD1zfPIocIPp+eR7PIoUYjK4en8W7kFro
7KGmOVj/JniYIG71863yHp32PW2uYoCpVJhbN2tfLw84v4k+xqNVIjjpVBW0WWAO4D/pRmI1rl6+
h8NT6+Ok6oArOXoZLjHBX1xPLw+4sFNg2RkCtY30Eufl65mMjK5JUhMj1iyqt2HmbSI0QEcMjrTp
FE9Plwc7g/jyeYJPJiAcdNnPKlLlKDlFUcUd2nKjoE0fMhOfpLY6mmhgONHeG/DDgpY6GfZ1GrZ3
w22nP/yX38DhJMUHCXRWtGlS2U5VP+rcIHzqUTwePODE8sEKvYMhrK+ceC8X1l4e4+sKMWDMe1Ze
pfMwKCYB/ReH2KTBM5xvYF2iaoOfYetWWYa77e+m+B6UT1O/FomWlpakhusVZAWQndnexWNcU1A5
anH9sbd+jR+79qKY8R6fwX1ef1uZ1oWdK/pPAsBMAnX2ivNA/QxGqrVuWUELrSGNwUr0hs1UP5rl
QzohbO69Ah7aVv6rob8hvbTrQcmp9h+VFeiPvfOqq2ttv4++3ueLQMy1KOjw6hJHap7HViFW0ZmO
z0MdXQm3IsV/4B26kaTn3vteqzcjrg+J9jpFx655mfo3X9q35U8vv+Up2sqPRfv4HXe+zTDszfQg
Fw1q6Hc6ougrkyeWYv4zVRtsEQoldLPml3GM0XMb8253B+Ndyfun0bH2qf9uYwHuOcOmaNG4Dis4
l99HJVy5sBYCONvw/4092yZA7upCGbkrcJnEd6w5WF2Nr8CL0hT7oaqQlS5XPnd5RCAY0KN0VCTF
DfopD/CsqcB0vWpdiuEbIXviaNomBJ3sdDeG8ApZRSkvjygcaGgOiBTk64hapdsdNlOtqwf9gX04
tS80CA6dhPBU5BB2/rm8oIuHAev3/zOe+D2fvnCMoqo2q7Z1p4SA1mlb6gIbB3iHrES7/D2I2/2Q
/bo85tJdBcCGWilPCYXa+yyUN06bTFU+ciupPA2132mhnWQv3hrVH0nT9r25M+RpU4fqcWXgpd0L
qF4IevE8BkT19WtBJQaO1EgNrDpvI6MfPxTyxgz/Jrg2e8W47RFETyE8qYlFwXOtebe0tgJrQQUJ
7MNZNUCtkzqasJN31QIVhuR7prwEzo8W2FpyF2lre/cMBvwRUcArAC+ilAoC9uvHZlVnW5matTwS
sbPxt71Ehqm8Bdi95Kd0OHgZH2sGW7X7KZTkDljDjNppZcaX9hdrLXgTBIwztnIf4zOYF2mLidlD
pSqIK4U0kbDn+B6rHq8a3ZWLJ9PcBVYHWRorM4AA6aAgM11szKPdVhu/zDfpuLLtl2424C8UH/lt
9Pxmc5NQWva9gmwpVJ6TNIJj0W7J0vHTWFMCPXs9fiwDj0fA/+BAQWZ+XQYlkHxsP72GYv2f8C+Y
o02p3kdxv6GLiq+ukTduKj8N/fPlmf+4NOeRmjwX+LCq0yxWZofMgQgTDj6Xd9DhIUupkuDhYtio
9nghXrWv7R9j3BQ5OvNvY3eXh3vSKefZSbe6fBWYrr0SvM+6nv97wdEKQg+FB9S8pyihJAoCwW/R
FL4e4AvJeAfg/qAEN0kmH0PrQUVkr3Z+m8607xpkZ+1rzChjjzKKtHMwnxrdyzP08b45myGhfAzk
zOZhMFuZJueuSbyC9Kb0tzV4YHMobwbiIC/fGjeF9CTLd77yUuE/GhnpJpLSqyTBrmJy1iZHXCTz
n8LeINHiDeSAYfi6SepANROeLEwOAmSDX7uy31+F2VMcoHiPLQHtLNeQMJvkDmoV1HxwjFk5EmdJ
GN0OirBccsAv0X2cxUZ60unUY7/rUu3CP4ZxAWykeryFMNOuJJbn6bUYjHYr3V5O4YcJ3pdrx29q
v0ymxs0CRL4oTf5w6n9K78oZkXPZ1aGLYLtF+wz+sSyvTPbHHfplsmeDi8X4dOepNOD9xmJwW7lq
w8dnCxwXnd/K7YNvk3U7BdvS6LYVsy3tYSqE8m1v77Ap0ZJH2d5OSH5G1ONfMczcYpFp4YQ0eFuJ
NmP2W43R+7DxN7KVIziVvRo8FNN92TzHzmOLIUqrtwCGEY7Jn2VMUWw539Lo2maYDGgTLsvjo5Lu
fGuX2K96i/Q+qbaB33yvYV7D3AQ2kN9gX8lXfvceNuoGD/ld5x3jCfPWq5zWQHpfx/HKhJ3FcOaL
4CXwuAYZ6hwpidtxKoVZ07hN9GJTa0pyLGHB7zn6Fr2VrUUASc3dyuEUEXi2SFxcnAQQEkL1cx6h
8YGNIqmvXUfBBgBDNIEHtODnFnim6O0mj98i9NFH/zUwVh5eC9+LrABfLHQFTLK/r/sD/01ndHK7
FvwZRcNswHzWnb+ShkHwdghObbyGyBWB5uxbPw0425ByVvFwD50a6/UIMy2uogZTBVxmMv7bxzA5
5FjQ9oS3s7K05zGQOhf+ldSIaYUAOJzFQCfxMy4ovrVAtcTyr9McNQNUyww7hfKFiIn6N2HyDRNN
tz7bCLnNauh32JpcXu/FOf/0O2a5fYWGh5Njv+x62NYVFDoFOqLou90oY7wDVyIe0X9dCXlnKvQf
tGz0c0TQ49k1j3ljrcllFprIZpSvTf2tco5N/Iw5OaQNyT7Y7T+4DIlnTYQZknGocdcqkdrZx+UB
548s+yWvEtjO34EsCEUV2CsU+Em2xUR9Dk5OMTl9wk/iJadUR8s6OuO1We1t5WdxhE5HmzPGGiBz
ISih96HZd7DPMG+2f+TajXHAxSPByerd6LeO96QlK8v08b6bb9VPP+8jtf/08/JK10DdU/aJArec
dka6j9NN9RAl2+q+Grc2L7FyF9mcy5v0RgYDV+uc2OspP07Z6Sar8bffDHg/y7tAcad8e1TUa6d/
VKyV+PGBNDz7ocQqaDgaXG15dp2lUZR4k8I8KrhU2cxaQK3eScLvU5y+Rz5uZPaQnhw52E2W4lY2
ziC9ekqcNt/2ffUz9stNpuCJ7f2t4M1PxY84rndlRwptSPex+Rcpu5+xdUyghpm3hfAwx/JJtvGE
yfGOQJXci4FMZem2VfHA8rIjcJeTZTySA2wl9a3pJpQCf1bJr7rAeVN/CGV5X9Jyp/wbohXX4ARP
YXgjZ88qPxGTmtjFzR4T85cogzgIy4QCgHGrp4feB6wu3QRSuWsx7/HkB1/+22oPIRvZ6dyYdiNu
ea1XXuVk/Lk1vWA/s0+06qQlyRY/nZQL6fJpNue9g4+D9ZF9oilCqWAWQg3H84chV7kyxK/c17/8
6/IR6ZKicEdux+uoPU7BATNRXz0q5iHDwnrc9QOm5rjXb1GRL9UrHOed9uFkqFdyhNWQ0mym7J0N
vjMMaJZ71G85fdqjctu8pXv8bgYcY7me/8LjvZGkOw+TLlwUdJfqJ8Ue1TgU0TXyWJ69N6Vt8qTc
lXvnIUB83Gy/49XcRYeVSTh774mjDFGHzBYp1zM+g15Kva+VeuOObb7LfrbZg40z4G//XnqtOSUt
FX/zl0dlCYM14zG1r5XqpOg7PTmWFWnendWcDPN7kP9MnH2JeW/hbYFe6kOxKcJdUB6kbDf66hYF
zEPX3Cn6yQnuVXOH4J9LPjPpewnpLVX5Hhh7q0Z+J9z630DQGfdW9N731xlu4c42fUmLV7yst7FS
7kv/Dq1tDJYIgd6mxnbkXvMAJRbIpyH70r7DebvBoWslE1+aKIGkpZEIW+6s9jXKau7Zak82aKTA
pVqOpL9DtN7fZPWbxNPs8sIsDUeJnFwb7TTKbWLzfophcaopkWRllK6DYcflnrf4+apYrlp/tQgk
QKyuDGgs3O88+wUSwOB8G7Ps3uniQOrlpHGLCZJ78eb0/q5J194za6PMIt4AkLbMJ0ZR8cvzdOdm
Gt5GZY02c+ZiI442mRGEPyoY5y/6FJSKXyQBbZQWY7MIGifxiTA6UJpW4uE6nZ4d/76D1C76lcro
7zo4tEWDIVnFQw7pyMureYYA4AdRzyVDhEZFl3SO/nZGv48A1GLg5SYEl161r6SA2pL9O4l+Bp3q
8qj04TVhtbv1mseV0RdyN0ZHEuNDC5ZY93UzeSTNZhBpPOZ7LILJ3Rrk8UfcQlXvrwecKgkmVwiN
5tW3yyMvZEwUVsCdQ7ukfTffVG3vpF0UUQG1Q2ED4G9UKO6xlm1Nrdzm79gbt93aVC99rGDW0hWl
s3U21fHYpuRRUe3WFWIUwQsaIBvHZ5XJVaUQYxXqSByBjdc1KyFiaZUFdhVqDqhkgQv8Os8hxG05
TRnajn8Uxnsi4cH2IubZip7l5t4GiZBJ+EujpyPFa9oRC29jSkX0//mLWtocUmOOhjlQ+a7cwPGw
c0H8k/JN2QsUlmGVa5+6MMuASijdwLiDhziXWSnGRrLjyKk+0NdWlR7VEpgQCqfZvWdJ+xrRMTKw
rTDGuLylzguzkBD5SFJP4NB0S2dZeBJbTt86Fp7AmHOa3VuH66WFBEgdAL5+0wvJTZQ3H62ZlXHV
8wD5ZVzx558icq5XaisrNi9wJ3H76r3R0Qs4OMZbq7CZhBkQ8x6iKwHg00/WBF4XAidEOLJucLtc
QWd1IIgcPWYfFT1o89SMUFX6V28I1z5S7NBZRkrQxMpD0YXbyJwbk8VhRhRpiBT697F9Mig1IrgL
JyZzOx24UkTrpt1oanNvDsYm8/19M9gbU35amWzt7Hco9Nkoe8Ezw15Cny+yBJhJGU1cGCkrRFK4
1XHpMaofOdm6XT+KolsHDBSnxsHmHWZIbm+tzMV57OInoMICRBuWG/Pxdb0NL8+txMYkU5KHjQaY
V8imlggVdCF5n4TtMhjqKVmhYp2f4q+jzvrxsalUcVj+D2fntSO3FazrJyLAHG47T2uUR5KlG0Ky
bOac+fTnq9k48DSbe7htXwg2BHixV6hVq+oP/HC8JS7NLPq8hwhpTAr2jxXulxvzfH+MhQEFK12E
KWkgLeZZc5MsCxMfG/co3DsRz6Ra2/eNvhMBghjR8EbA6JCiSK82hl5ZYqHzCaRXyHbPfuEvzpPV
jQ3Rij7c7F1trOFjixIVDtF69pij1OvUPY4R3dFkC8aoo3pwUWzQpK9/xX2aRcr7z0csj1VSRmUY
W2F9UFVMw2HN95F1UXHd1ucQtr4CkWRra9+fZNiM4BEAViK5RrZ1u6+qvmpzQ4POV2nFMcETe7CR
ZjHaB9GY080cc1SqCoq1I03bFbpy6Ib8Q5umlxAmlRFvTMDKW57PYfZZfv6Fl9Dt55D3DEkdAuDp
rZBCP6ZMGHn/SnNOd0Yga9DI5HkcINRq9ScbAS25R3uucttpjxWS3Vn2fijtfYfjqAsNe7SNvW69
L4DgQxUO8/xAnej1RXv2W7uNUnyqQUUWsB9RatmuyAbXnYD5VfjqxVCS7B3aMYeZwkPBCnqu6LgH
u9pGA8HtjsEMMEn94PDOiB7y7qc5v+u4Mtz2aezNfdVdYwziE8QupHpTh+EVraFjoFcPirslJ3jf
ZzH4cLpcgpbgHbG8o6uuqfXeSSry9x8+2bw9mrsBhZQu+iFmSXZznucYwrEULf99AQ8EF5wPXnsU
0+5YElo7drZiVOw74pgkgeJSkcwWisRnsVCMUZSElXKym42QtlJIvx15scWcfu7ok+JPHU0OO4os
EL1QITLJ6I55xYWs9chC+a+o6U96BA3n9+tbZmXm6Z5w7mg1crMBJrvd5p1t1Epb9+XBGLDskudA
zA73hlPRJReVYqJJLb1N8PY2/aP1tDH6fZhldNGGExE8Ebm/Hb1PirxwYp2ortiwxC7WB2XGcJos
PE7edv7FpQ7TlFto5/vgdjuqeTtq2sxxZE9aSQ+BVe7eNn9xRDSreUiL5NA5G9yilez3drjFFA+R
PhqwJMrDrIc74DK7KTypQ7SfMJfoTYzuynMeYMeVsMxoEoFb2phluaxuwwIf8Jy2ADy2QUbd/t4q
zmeFI1AeAt6uTfykByc1wdIwxVPAOIWoZbgiQQjVWKVqvDG4TOZrgy/eWG00xT4KM2wwui0aMIXo
LF4snk/TOFOokhDNZZkDxbimDeTuTL+6NcJf1VZ4XMmQmQfgYGhdAyEiXb6dByeIkqhvMTgO52Sv
49k6fynmHnWA/DJg9Ri0T2HWEAq3IFJ3DWvhKIosgOlCzKCqeTuuBD44onlxmIPqXM9/zaGHPoS3
s41po8S7srN52slz2gDJT756O1LoFEXbxW1xqJ1pp2O8PuFc7nd0vcozhc1rMv/aWN6VvSWvHZGk
FeEVY7G37NIJqjIdC+hHIwTf7JDZ6nns342oBtkTBMGROhgd6vBU9O6X1wdf+bWoUAgXV2QfuPVu
f21W+1oGGgDGkR9cEK98G/rQiPahN++GIsI85q/Xx1vZyqKZDawOLCMqj8vxTD0NjMzNDyrZrzpZ
hxZzzteHeF6hxXEBLghmHag66MFlv27gSojdvC4OiomCIyI2bWy9DXPrrVMWpyn91hpoHGsDqtXu
l3Yadnbmfo5GpHaK4pdn9r+rJMAqRrHNg59gcug5n3v3XeBiGWO1u6ybT1PoPflD/6uzsmTfVPEF
bnK9c80gh3HpnqJYCfaRrn/swz9f/2kr7SoYCMJtcSzqdnfqvaES550zZPkhCm1E9vsjvillSRmf
W526qeRPDf6REKupu6dwIT6A9NsN+s+N71g5jlg4y3NOmiFgRG+3DdpevZdhAHZQQA3NbXYJ/eBz
XUVXe+jf1On7aeh3rtbtlTF77AILC9b+KE4qjY1/Me8cR282Vn11agB7uMQHrFMobd5+UgxhD+Rd
WRwmxBbEiDUdyfgnPAkGsgGcsxI04NWZblqc7yRWhVSlskk/B2qyFbBX7mQat/98y+Lp45uhHmpl
URzkkVuOJI6oNTU1SVmYPopzY0B0jiCRuMEm3mbthPHgsokkIgJpLpaG9Bk6SRoVz7TjKQtOZj6c
hr4h779I57owlaP5vQgssm2k87kq8rE8zWqwtSBylJfHkMai6LCJO661CNnF6LjmPE050Kd2n1lv
aLVSwk8OzWjRYiJrQF9ntjFtyVS01cnux8vGLl37AmKqiZGkYDqWtPpgTrV5bIr8MKjvHWoKIqAr
UsmTle8Uyih+0p+sMYBJE5z1i6Vs1fXXTglsJdSgARADjZSlevEM1TJYKUZiERVCmtjGtKs66xLz
Zmnj8vD6b10ORVQATQKElir7cwP1dijPjrUZtQxE3LXwD4x5vfRt0SfvTMX4+/WBlhfG80AivsZ8
mgAU5ENe/KY2czVltOFCFSYdJuoXB7UH965NLGxLQwci7c6wESJ+fdi7iglyikKT5E/RbF8+JdNa
011/0ntsR9WzqCT4NvqZaX80nQS8UnyeeJapUDVfH/Y+8XwelxoGGY/Y5C6iSqZanWvGKq6TbXQM
xHePYkZQRTuzQlDVxqa3elLOTVOit9fiWr+ZcN0dZz6AlIsqOhLQ0PwWe6hWB/yVepqrdoYsfPGu
CDB8pmiV4DptxU/2Q14lIBZ4X5GOTholrPSjjRrh6/OwXHVRsyQBo5FJQLmX7KgjVVfcCPPNyh6O
CkcohWpWq81D0wwPWmWdKhQcXh/yPtWUMUkWSE14zwLQuN1pgxE3XlG7/SFOoqsc3QlQSBK8QSBq
n6oXN/7Cuuwcbetps7bVuGWRw+Buo+oqUeXFDp+nGvUxnRkfMcQ0qNXMLcxzQ9s5vv/OHZDew8wa
zvX59d+7PMHPU0y2wiYnG4TrdTvs4FdB7qD8fNBr62qF+Ajmzfu2+RV2+pY80l1cZGapewqnwlyR
atDjqDCqdMI9Vs/AF0El6coz9o1PLtZVhf67GNQ3WYL7s1m/N4bmMak2NWDubsjnT5DCEHtbmle3
v1Zpk7o2pmE45L+DZLjIwLUOe1NTn/Tus17aza4w3xrh19cn+b5eIOMidUJZ0gAbai3CF9vUjPIa
dfEAFEkMdmNIKxS40ke1hVvgnUGS7lW93VsI49lSJkz1PTzjjbtxbYu9/IrFHZ3obh/GejM8m/M9
uyIAfSiS4aEo4kOA1mJTKCeR4N349auzjswBjwxQjHfBO8E7rjTGejhI9EwQtNbxH69Hkke7PRVZ
8gatrF2ojGc1zTc23cpPNqRVB8ATI887jQW1VJohsRB/tih51+0196M96A7j4tlPFlVgCJAbIEuZ
xJv8Axk5JF/QgyUFIWmWmPbyHDsNFW8rHOiKUrWbzbcwJzIcpGfHO1KO3ghXq6PhVExtQDqESyI/
jRpD8UvUi+rW2o0DfQ2Tolv+WKlfS2/LBGt1MqlRSjMFldsljr+L9DIMAkJjp3cPQoWuaC+PDvUQ
zDdHQIKaX/3hplu5pWRsdzMKJBAFHcj8d3woraDHb1UKtwBK34lmPTSFxsJt4RPWIj89barnNLQt
qtmLzDFWNOCpqt0fzCQ4Pds7UPGonOiaxBDcLSRfrXZfKwo/WdlYxtWZJWM0EQOk9biMS/4Uz0WZ
ABuS4O93P8RoOi2yR7xvMn5s4uJHECmn18/lyu0KtJRbnlwRtuSyg694gdIjIjwcpA2Ev9m1jZ4c
u3vAH0U0uL3/lFWQLrKIDEpZy1g8UDIb5K1fJ8OhNfqjVOaD1rhUUfEhHh9b81yG2llHoinipneS
jgSrQqPwklfOhvLV6i9/8R2La2B0wyhBU+R/3Bfy/A9j/BpqwSluv45k7ZRRX5/otfAPiVLuPIoP
93oicV5D+LU5pVY8vhE9kR4BQpGET/aU9z4USrhvw+wcm+hTY2/t1+mXxN6Cw6wllRTo0a8Tu8R7
Bdq+HAKrs0gq2zg651Z/hJi7D3P7qBfKYeZx4sfKMSK7pj1aYWjS/Ydsmg8AtIFAOL3QZWgkpaX3
3pPOOYEAbAcKl5D4m72qfYvoNqfk8Lm7FT3WjpZI8oOyldLMsoTqloFZ5XPXHwythWmUHUJeDO55
Mhg9Q4T8bTLMGznVPemCO8CAnOvA8Marzl7s81mvGjXuuXWQOfswFXC660sV64A1BkAaT2P9mffO
Pi2PTuo8SPVEtcdziZp26Li7oH4rVVTMTjZ2/X3HQD4LpyuyaeS0IeLcXk1ulqGvHFlweTsMCtwH
GDFd/Mbs+11ZYoHFi0b9IUgO8VZ+/QSsHbgXIy991dQCNLsdkdwKvljM8qrgLz/6Feo/AoRClHrz
/bKScrAAwldG6w+i++IWDgGRYh8L5BXL6IsxvJHOUDfwfIJE2Iaf/OkbnrG7LtuyYVq7j6FlQ6YV
EvqduJKZBtFQZz3k4Q4leKy5RSwyIqWq/faTlvgbIXx1OBtKKLcjYfzu3ujiUR9GqAoRR9lQYDlg
3+7pH608hRS6pauzOhrWYRY60eSzy1dpEtSZ3hX8uCwOz0oL2BGUKD7Wz02IUdvqK6+dXNmrUAHk
j+UaOlNV6BMlv0Pe0z7DwEs0kab2O5WPnYL/QmD5x7Lc0vFZPSUCFCFMESSJG7enJKajqViDBv3D
OgXGk4+BavjbCy2eucqRW2lMi7NqnsfGO75+SFYTEIscFdMOuO/g/G5H7nyvNjWa0hSO0O/RzEvs
4ytPtWGO/Ufjx9jUB7OlwetumRGuHE/ScnQ3hCDJdlpkPuQ34MsbpQMXTMHSUo5KE14btUIoUXp6
5nWgJ/D6j13ZS6yp1KfYUHR1jNvf6lZt5OoVdl2WVu07HEj0Oj6G7WOi2Aff3Lr7VrYSbSNuXpgt
iF8vA3IemGPT5hbwRAUxr5BuuKQXsb3X8Ns2zohu7Tst3fiJq4Pij8uzD74VSfrtT3S6JJs8VGMP
bx2ABXpEsQSH5ICnfE0tMlaq0+/X53RtA8EnedZEglNGJeF2xJq+9Ehm06NN+tDbv4S7E3KVGCEl
YeMpVp+o4p9Rjf0vwwq3l9z82e38dlg/MHtjDDgxak8EQk1PxBH9IX0c429K+gbRq51ImDn2v9YI
onphQtp4hs/xLlmWqbzYhVbsEpE0HaBLXcCgO+hDf6Z88DDFj64HufJ721fnNtlyEViLE9IPwQyO
Wx65ikUSOem5O+cqyysOuJLM9onFs+Sbp2QQqRHRg40AjyBGjVhPt3L3teMj3SYxQUI0dolqU1pj
1GuThnNWJ0fNyK/csG+i6Gevg25Ktsx+VzcW1VcB1UtRe1lSpssLTi4seZ8ASywDjw4CUuw4q2gz
pNrfNLu0aDrPw6ZPmuzYxdtPlP8cuXFAxZiLkGhNcFfxCsPVjx6CYF6Bp58TpHCRSNxZDoYrObx5
StsEKQc3+P+ws9HyRk8VziS/f3EXULMYbaWu2dmGBdfQ3kcDyrEk8Fb4Da1KkIRAvOLgiOnSRhlh
7c1Ap+2foRcZjJ7bTDjS1occ1E9Yt3vP/T50xc4CQje31XVUH2zUet3i1JHhGN0bE++fjZ9vrs2+
RRvPoPUnPNXbgz15XVWZZsYuw9ZakFKFkp/76GSm7XszitAHPYTZVZQq7di+2pX7pSv8B7fYEnxb
i6Sgn3kf25TiqVTefoeGr0tfmgUSFHH/sXD6k8u7cZwurjfvPZwfo6rd+8pWc2N11wvGRbiQVO2W
D+TRMJI099oOyCJsmGeKYDr+XTT5wfQgonHs1bB9mJOtMC6RY7Hp2eoU/5HdARDwDBZ7UUICIZYA
/EEdIqZxI23jGiOqyv4coGIURbuWPf8zs2EsN+klU7cqwms/+2b4xc4z2gIqoo0YxpRYV7VEZB1/
CNBMvVqfvOH91HGJdc0OpNzWRbKy3xhZOknyVr6DBCel55RDQ8EsQsCwzDGN4qKcgXlURzFXj2ic
DYpyQvz2GJVPw+dM+ajMW+5yspmWsy+9HorhKEix6283Wxr10VzHPlor8U/X/TukYwcCfr8dXWQe
7wbSsRsTeyOAEIt5dqMBSSwFnpTCMruUCH0/ujYYPesOPCQOlcUx2zjRa1tLwwWFJjGVAFrptz9O
yWuVjARxI68MjxbNSbGoBWB26Sf3afhj3DtwoHIgfHF8IX/7vDH8yrMMJTAgovJmgXe6OMhukkx2
mnKQE2U45vX7YPI+FUWDU1qFyTXdcrfmX+hZ7gd7c/CVKIJQJtkCvGqe5cv3RI1Be5r0DF714R8h
sLxOib+PUf7RqbxPAt5rk/zYz0iUKPkH32vfZJn3qEG5CGaNcrW1n4r2TeiZ9d7oPhU8ujYm5/5O
pwYH/gdyibzo7vZDFZhDX/vNwWYZXHPv5GDCm/Dsu8GnLgx3s2l97tv8h+9jmmG7n5Mp5+/+LNP5
XRsoXyX80mLZeJTcb1LSZnJnaREh2LC8AlQs47IRRbVDXXzvCAJDOJxwNg6yH7qTXONsE8SwOiAa
1IBopCi5tFoYJvaop43PNPBI+w4KBmirKCRb+cde34vVPcnHYd6h2b+jB4yTtjSEoR1Gly5AkpH7
cWNh7sOSPB3++aTFrtVoZ0f+ACm+bEzcvuydqXe8fYFUV6Bunf6YNdUDT/9PAVoa9h8xlD8RR0zt
7LLxJffnByUASBMIOFDUQE7v9vgGyayVdqvVB6sEX56h3FF2+xhks9vg3RphDVyUD40fHQmip42x
71MxGRuQN69iUqFl8bbNZ1tpW71GB+q9pX7o+kecDRFbqCON3ACT9vAxj/5SvC27uftjawGm4AZG
blYwFYvZDyZwhmhW1AfPi3eCea4LqmM1v79/L8wUoeeXw8eNX3u/DRmVdh3XEW0HMA6LmW4LW2vM
rIbnZe9mWnPCHCyRlx+MU2JcLH/eOWb0vAv+v3mBwJ4Nr9m7PeG8wtAgCI9Gu3U9rZRxKQ+IHR6k
GQD3ziIpM1UFKL4foPZF8lllFJNDNApUeCN9cJWHj/BYZFynSC7PXRrn+8bk3B8IHjAo0z3TpO77
8jClrEmPPNy7kIeNWvwarqhk6cUP+ZQM+8xeS551DHwq+ZIniUSskm/6rcsL+vYGBf6ta4hksFT3
ZDwvqduhqQwoWzCw4+YJXjdwLxqsaCH6+zEPdoLC/hwnR9P7zu55fRru4zWjExHFcpIAsRRl09UO
GZsE+lRoI1BLYbP5qY/1O8cAlg9U4vXB7oFmAnW3gWlyc9G9fn6OvkgKUzUJyimKGrZ+/ezrIIgq
8Xdwg+ksy+9pV+UtglNlXO8TQeU56aOW6lvBUI7bYs5FyQuQAkU5epyLGoNrTWZRTPgY/QiT+YOC
X5dQFGoHFZQewMLYvhcUgXBbJIVx4h6lFOXYpzSzusPfG5Miudjdx0j9SHhzNlKct6fUhbmcwPiv
DgYVbSTNd807WAG7LP3qBn85JdjKqtqlvBbLhwCSV93t9F1cbkXG+6TKYi7++YpFrBh6hft34v3R
dI9TmqD0/aOfPrEzP9fxVc0/1i6S0YoFMDQ+ZEDiXp+ElfgoFjoAOAy6S5S8b+dgyn1t7jUHYllb
76XkY4bTcxsti6y93rI2Y3/y9S//YVRI1ZaNfTUVtcVNlE1BnBetBSI7Oqcjjr0svpiJP0uVYJSk
AHus7Y1u/sqjmHILhS0GlD7Wst7jlr0CPoHY5zp/VJfgV5QASb16/bQDg4mB+e+pRJXnUwJHs9Oc
jYleO4KgwShFcB/haLakVnH/WGDdS25fILB4mkzjE0qVkgjIe3Bq6N6V2QHN9YFG/GRHe5V6n8Oj
7fWpX50F9jriwUTh+xtgACMfGXFaPwNppInX9vucWxj/CmRI5rOAxOSClEaeW2GyXlJurLcK5fdS
Z2hJ4dNBI8nkRiI5uN14sZfmtjdCdys0c6d415JbEkH0/EMZv3dw6bP9izP8WSTKDr3nXV59RcsD
6Ou79gdKEIPh7KroCQA6wJetlVq5vIU1zIlEPZwgtbgiRzNLFRcrNgCwAG/nH/p5djXanD9IW2uc
1DfWY+UikASRcEilhDxxEYVooStDqRXVYeir94k3055QkT1Ja+eXPpl/zqB/A/1/7mjJETJuokbP
eW6MRyVxHrNiIqnyqZoM2tanrSSM8p7gSY3kAkCYxaflbluq2ahXh9qYz8PQ7eWMSuFbeOPCeTPb
cz/0uwGu28asrMRmaYLiQY7Cmspmvd0eWlc586jPFZV9NESe4gIjoJKbgCrtBGdeHp6jKfb0iBlQ
0ZDNGqN9wQF/yMtPGx+zMg9SppU8AbDDHeFg9CaQlkJCnYLxOKSf52bcpRp8FXN6J0hxBfRRVOWP
trVlPHXntwIVSToOyGyL++Kd8C2Kmw1qg8RnHQktNEZRPbym+a4JA2S3qQ1P8V6tlENFu07AOyj1
7p0CXM34ybCTo02S6Yw0L38pgX3IUnDu1bCjerQVVFbudSKK+KuQUnqwJ2+Xi/S20THcKQ8ephn0
uHZGM+zCAESA+6HtlONkwhcGq6xG73q7fpgmjPciCqGwmGM6RpNpbFVAV7LMmy+Si+9FxmNHY59l
kyukH6Ds1H6UYu+m19z7YfP6abFjkYAnc8WxnuwfDcmnVvyXfYyECHhB8Fw8u5f7uFbjzPAjbve2
/mMuPyIkmvQ/dBTqGiLJ2Ld72cmyagLFrZT0IuCZJqSMoW0lGmtrRFUKzgz7GKjS4kipg58lsRrC
EjUTbl3vS03SG6f5u6J7n+vegzpG3+RLph4ud/RDcDSun/MyQxcDunewWR+XEL/IvwCZcxcTaMlO
lwKKkxUN4VzA/tTDvYl6ZObihpHqPn2QMwbzn0qcnAr77972ol0Z7NONV9pKnKdEzuuM0MszZFnN
6ki/NVS7ymd4vRDyAlQwKiwjYrM6molxCDf9VtYuXy4WEQpjM0B7lTfJi13ZQK1XZsMoD5FJ4HJ+
OkGzF9TWACewrG20uFK8Gh+HsEA8rHpgNveIJG+Es5UfjkeEhBSO6n1s7bO5HvTYKw6lSCjG57CL
D9VugmnrAb9DXKfGqYOmwD6xScvM7igAYvGK9OOcVs1vpGEfNL/dum1WTiyfJc4VqLuhPbuIIQ29
TfgwASc2bx9a5wvVxms12AdF4zb0qO5RpWjLCG2oL72pP9uniNzQdtBdWyXB3bApBUEAOfh2lWoc
Z0clqSFOTtHeaNu94mTn5jzVyaUw22PZfSqB2uTTcEw8/RrRa/e2HkorZ4NPoD3JZrFJkhYbRZ+L
kWQ/LQ+m3u/qPLtIpjb7gHuR1q3wqrEjKDGecorq7l0O0q2EyPD6PlmJF5Q5cXMiT5d+wmIWvIJy
Z5lHUN4KQaJ0MAW4dJRmr09bGLe1HflyqEWigXKJ4zspQ3ndtzoI3grgpgq7vYguCQ2rmb/9299m
4xMHQQJrY5LyZfaZ6J2DCrpWHKQMJnZSuqacCiO9bJ62+1mUkST+C6cIoM3tXop6U816x0KrLGMR
ux/S/8M1bq/EWwdodSTq4tLjQt5oiRjQlTJJoIEWh5wgEur6dZrB/VOdN4et4sVKl4dfJRUk+luo
ZCzFQFKzNNMmR4FtQLaKfKwZg7NrpdcSOJrPpSENXXr5KNcpW5nhfTJ2O/RiW9pjhHVtNxSHpqmf
ncDmguJ7DT5O/WmhH9AY6a7QvH1AyHh902iyDW8vLIYWmV14jBBPrcWhrEor1voKuh5HsDkJDTNz
KqSvgTO/cWIPBdl3Q3tO6v6dBZdPyNVulF0ydCPiIjxuXF8rpTz6mQLb5g4Dom5LCv3iLlEV8E2D
Cr0YsEY7VvuhzR6V6NwNxkVelM/KPxb2rHzGWOU7vNA3pkOKNcvpoJgsSDXoBByn2w9AI6J1/c7n
EI2fPYrX1cSJ5QaJkyczQhMopjmE2FRJtBq6TbnCtcExcuYqlW24BOVYoYlEuedCeU44wciENLxT
qSbuVA7Yxg+VdV3+UFDrJE4Clqedv/ihKNAPOmjMgy9gAXa90lyFz9TobyaqMpJI+gEVC41o5e41
XkRjvAEmuDvcKGLSzgVEQbWK5+kijExcAZCqgOIkfXAMmWQpHNDC13gAvP5r715eMpLw1Xl3gWhf
lujs1OkKI7bzQ2MhDtdmH8ygfUD0fyNBvys8MYy4roIKEVXpZTlEHWnWjRnDjCO9yjB/iGx3n+KA
3aveo4BiKjzIjXgL87iisM+41IGEtC4quovwMTRBGVaNkx8yxbwivFhiSINAbmQrx5DUW6HsrqvK
sUIlDzvn6xB2b8jgj6HevWmmrW753b0nk4D7niPVR676RTlUCaGR2Sg+HvLggwdLLCdYB/nPAhHv
7OP/IcVaW9uX40nW8SJk9BkPlcDz+fHNJ1G1F2VobpND5U9nNeFXc1Sdpt15Gcxn3rXSGAvxzkmO
RrGxze6TLH475W/QEfAH2AWLO78yiiJpR+K4FZs7o8R9L2d0o40/aiIR17Uwrqf0gjgiyU2vfZj6
8E2qikRh7G0E9rXDJdx0CrHse3bG7bTUcZ1TjuLmjHmxNnl0ZHCyf2vfF+bGz94Yaln2B/symV3d
F2xt5SiCJx0NKKl1x5v5wL3qo8wwaG0xzaCQsnzgVDkm0XGDpoCOammdKceOjdWKBPKEsaKZf46S
6hOB5aBkxldsody9/0cyTX9koPvnUNk7driR1t5doPJFHnco9TWKv0vVmVDzPWvOubJU9MIEmtR1
8fepc37P6KA7wVb1ZH2P0fWQSiclbmtxQ3Vhk8ddH3NJ6OI7FR3Ltn0oyuCEN+Kx4uIYCqrc7D3P
+5x3qF7aw07fgo/eX9T8alsFBMVrCyjYMtRFEHBs3yZtUJQfwrTy61MzzjuJ4i6Gxbji7P0MsXTr
0RqxadQ+vx7Q75M17OBpvkJNwimAhpM8vF6c+iaJCssZED6YtO6hxNF0bBx/N4uRBexQ03/f0QSr
fYR9w/nr62Pfl3nBVer8w/SDc7xj7+m0UZSiR8esqf8U5cnnzB60BAKgJ13pT7FwhdTulEJSEoYU
xRig90ehMuZ9BxqMbhAHkerXpa9+ZIG9K4a/Xv/Geyzm8zcijwp8WjbmYn4SCtRjriKEISVOf46O
qgfTEDyJwoNnUsw9onMn4e2aFspY3VZIWNsfDuoi1OINUNScj9v1SeeicpuWORqjL6KaL0VOkYSK
5+6UwG7Qn0UIAHX74Vl1Pyp1dnp9BlauBfoiaPmiLugRMYzbD2jDZEpKy+EDkCGlJ/nRVH1EDdOt
BoxcLzd5FBP9cpzFROtTFKitjEONQWR1DSHVoKoQDygpoODSeLFA1FD83j+XG7St+3Z1qaX0QQsU
8Zo7MyEDxEMYliZ9Ftp71bFIj51xEqmx1iWdo5gcZr8He0ZeZUuwciXw0+mCIg2RVEQc5e9fHMKq
tczeqhi5CrWTOoSXNEFIhjwkr7cs4FayCvrrSJ5aKg2WO9irqVsYjxkWcT1S30vJPqBywguN4851
TzkjyjeSufuXESuLjBoSlR4uzTga3v662Z8nJ6xslKCrYt9jWiNSS05vXDOH5QX6qlNalT6zqc3c
sj6Fk+gqkHJQz9Lij1AZa7ekUVdSzJuPWkT/2QyL1JrYbj5VpGZE4W16eq5hZFw8XLm2F5y8TQun
u/fpYioWC20kZWbNMhWFigcDlgxS05u/aUjP+5j3ULhHFQu5vS1VudVxySTx+qVidIfuSfJE64IR
yYFK/ZFr1rOcjNAFzMG6ODQmfPNr74ZwXrYwJasxHr6LWFaJ9oCxmGe7Njs7UBh5pocuenZYgaYR
oZRcWpxAQoJ4O7R7Z8L1V+UxUWuoiTzYUKqen03wgPvQvFhAH5qo3xdIr0jj4vUYp0sQWwafl1+5
WBfdbOPENBS0wp2fdPUK9aKPOlUCfNkR2HNpIvmWfmgf9AnvqkSl5/l1HyCMJ7tVJHwBr47K30X2
Rvas8JTn+PD6J64lbAQnE7UKasT0iBcV0HKC9thZEWYadb+XyZxBy7qJ/taelaM8pyOQKl2aHgQo
FIYsNQimaeRkGZw8GkR5pGy8O/+XaaNOj/kiH7d8L2VmFoaFm+QH9wvGMWfTpm0B9BKTG0FSyQfK
0VaN/oQVl4pyagr/b1a5ru3wLCJvwtELKntfW+8qK/neuhQrB9U/6u2/zuLxYOR1A9CLou0dzUAt
jcpJbAMfovqR8vLBNIuTafw2vS1qzn18ZSDHpNuFDS7Y7sUyVUo+jpY3RwcnVVGC7Q6qx+MxTi9T
TdNg3g++s7F5V3YGVTaN9hGlFn7dknxpxbbb0SmJDsAC30bA9iLdPvT4CQTVhN2J43+NS/OdG3Wf
kzr/6FEOafMBHcdwrzxNuXas5y0630rIl8IfAnAURVCZWZJI9LwJxzDJ+CSHZt6kHpMyPE9z+dXt
zY/pKG6PySUNsX1GaEdDQVerf/ph8DnQ1T8DfedPlOjcrVx7ZWkoJ4iiJE1MaIaLB26F5A4Wvnh/
GfiAhPirdmq218ZPbdWia3U0la0BV1eGiqs8YlkesOe3N1/XO2MX93F0ILjA+JvxIlRDqfvFx9GO
QRPFPiUOfDPAObWOdTSlPGpb/W8Q5BQ+AuOkBW+dod/Kte5zOoeKnEXSTcdPRCAX38VTQtEtJUQ2
o7yqjfkt1tQ/++pbG+THIm6foqo6qVlxbXh4TMNf4HG/e6LsPPR/FtO/D2zQjFTJt5DEke+5/RiQ
QI2BeFWIlhk7M6zfZUpzZkMjTbc357Dcm6XLvYgLlq19+1LFxcOsxyqqZ3QbQjc/83DcAoauBDa+
CQFGCjAWNcRnn6EXCVlHh2VAJC6Ef9o/pGq7m2rvGFT6tzpByKVNAs52VgMabfVdOD2a/fyH6WHl
Vmj5EX+Lh6H23zfmQ2O4X22e07UKmFoxeFfDfqDmmeignbcqrivbGzwGT3qdtyzAgMU89r06qn3g
8s2l8dh5E2+i+cuk+ddBB5AeGX9Wk3PVMuNvzww/plV6MT6GkfamrXOa8dPvtqnTfTENIUw367xx
ea1sOL4NgBNEPh4zz1nCi/mMurbNEsQRDr2vPRaR/vZTpervkmD8Aknlm+FBfUINKkIiXx/NM1Ks
3zPzYVCrv3rn3zP7qO+JJJEnfAEDdNvtfsO5MY2UBvv5OfW+RE34CWeRr5Yp0k/vndp4VGOkfnXj
aqn+J4FabUyF/O9vUw2GF7oR735IIEvemW6lnpqX8XgwVIQxkw5JpHjf6+FjSfMwif52UM6JENXG
r/U0iY+hlzzWbvurs8It1v59VsinUEVEzY4/7kwzKa7CIGmD8Vk1wYft1LvtQ2OHn+I5/6CalAC8
8J0bUnnLJ+Xrxjzcv/cY3KNHJBhXEghJyV5siQAolUqHYnyWh3IGCg8gThsd9UUsasnEwsrkznyK
LMyEjI1FWDkqoL7xrUQMgXtquQXUKoptJXN6+MC86oL0cS4QOs77YxLjWiT+CGAON37vXUOEbQdA
SFSSqOmayzoiVe5SLSIFjSqKBqKLkuTTORqRxwrQ0fPgsTonqWawKy+ZsvGDV8oIjA5ASZJchC6X
/fPORIK1s9QBdo7BDeSXNSwHB3HyLruY3VShoW0fzAjHAE2tfqqZiEXk9P+njUhw/+ySOgbu49Sa
BG2yKGf0TTwqVmYPB9cvPgB1+TiI8YyfHwO3vupU34B5Avi36o1b5h4rxfTTuKCdIBAXnri3240K
jlGrijs8A51mlxQzKY5l9jahqhsYBt6c8d9NGH3WO7JS2/vUzjM0UJo3YftXXup7JcBaq9EjjkJ/
Vor4a5X2vyxjfCeiWq9vlbXd6YlSHAUfkQtaBHJNqTpchb3hoNW8iYgOQxRfewQlUptNGu2tONlo
F96XXpmcFyMu8hTgKEYN7AIZLROAL5U3BGf3gf2nCyhc0vF//fu4O0XdkWILhZbFaHZrKyMamWBp
EJIvdBOfS+9TjzFo350123s0icWvj7i2/Z+R5XS0eawA6bld/TbGClVr5/EQNL8MxJD6RONqj6B3
9tfshxaQdqX6e+R03/Rm8Ym+2d+vf4D8pEXQB8ZNaxjVFnwyVFmAF8HOVeBz67nGnVNEV3KzN4EF
eMcpL6lTnF4famX38EgEOQXjC0zxstOfVXkzp5NOUC+wQQY/V+DEhpr9IamrD/XAsd9CDa+88SHQ
4h1F7kaVkFz39tep+jiH/cjsejCWUlpCTvWQJ26+7wM0HQvjqgXWpcAoLUlaUgzl64g0G/563Y4d
vhup9s4lPmYR2teHpNv5mWkd6yJod4H717+fHAR7SESkpHrX4AvzqStRdhkOTjdisGZetN54W1F6
CJrk6lBrzzxtK5lcOVzc93AaMGFw9LsGcSDCwopN5CnN+cyT+bFqzWs5JrvET0+haW7d6hIelnsN
jRFRLyBzBVl4uxqh2o6tmvckGMbXPHZOud4+DHp7MlCGKnCGjh6s4Yud7Ytc3WPbftAUdTdFPLxh
oG9E3ZWSKqLqEKupnIvo51Kwti1dNUemeDxMU3zNlOLd/+PsurokxbH0X5nT78zizZ7teSCIIExG
elNZL5wskwgjQAgB4tfvR05vVwZh2KkzPQ9VmYVA5kq69zO58czj/K53NzqPgE7Vl8x0Qni4f8vA
Nbs82KcWHaQBLWSexmTnlEjQtrUVlw5OGKWWbkdZjkGBuWO9MfkcUeJDy3La59DnxoEGWlw4fE+K
hFXfJiVvcKZ0suLWY/2uts0lPCifxmSHAkcW3UvvUy1ZG/Cb1ct2D/u0Gws7rJmtyrx8dHh0zUFA
a9IflZrPYPpOTcBPLzcVkga0E84iUQcp3Q42g65YRUkCVK0CxDwNnCKdmYCn5t9o3IAuB6nviNcJ
lWjkqRi0ZijMbke8aOSYC5DOZ5JPp0YX6Q5gLiAiC8rQJKSndV4x3kMyEFk36ZioxcAaBHXpBuXZ
/3wefW5pMriQbyA0bXBaHLmiIwvMs8VSt5KFbs103anY/amlaQE4i3En6Cq01Jbgo0NRrNMgymu0
AHMgswZOvoRy6+WPO1EGdVB5Q6JqvH6DdzcJ3iatUJnMoN024lfGDF4JFwRLE6tU90IGDoH73ssP
fclCAkSDvZnNybycnDHIj4xSvEhvTnWRYIahaV4KOaYxAseApPfwMlJQBLj8qafWAcgCfzczmTFC
lEVDDYjEjXlnQX6K7Bl4KORQV8lsMenEOXfUFgG1FOqkAFRPzrk1jUnbONDLGWscIxjfQdEoZ/BI
MvZNI1HPjSA68p/roQIpgkMjtGs08GmPuFOegMZA30K1JqHtzrRRFhwB/lLsjKT4qiRN4MXFQmnN
rd66j5d791TOD9BxxD8AJfC/6SkAFPiojhIbnzyKSoBLgCLlSHFt87ryxRN0ku7T6r3O8jvudS/U
MQVoOhCu738qitwhI/VMzOwL0d2Zu8+JocAxE9mlEQrn4Rh2uB9C59phRY8Ld44CW+HJO1e5yiG7
wFLrMetenBTGqGzOWfF4So/gaRyp4bkAYfEpcSeLBLIwKUSodK9dmc6zjlgvYc17uc+PYyDqamCr
4V4Ixhp0TA4/zUrVPlJMUwDueC+6e6+B7KD6kpkzFbzjhYNmgITFfBrvr9M0v1QMoH11TQRAJMC7
u/ar8jtKsVW/ZzCzuvxJJwAJYxoQMccer6kAtR1+U+lqVecODCrZMr1W8xrnQ3HVexFEDX8IB4mz
0vOb5FkHcONyyyc6E1kQYDdHwhlKsZPOLAyH9VELQSBRRb6tAGYFOxYzX+Wz6cWjlsbdETJagG8j
/4OAdPiJXa1UDaohRRDp6sZxSegBRG3wGFzXmd48mvtoSUdBecw14Tg4FX4YKjV1mhTzPjJVP5fu
NbaCvef8yKMdB6pENdLbrqUz0+V4SxlbBT3L0kC/A2ZgsuIA7dMMs9FQY3ZxJzD7cCBsB4NkqmwF
TbZeUS8Krw3Tgi6jJtkbirVJRDfz6cfJd7wFvhsZLguFT+Q+Dnu5zGLIXAw44ii9FojiR8qtDcYe
mmXKqrDqBWVwkJD3rpZvjCFbokyjaGoo3AEFvGFdJvTl8vw6ntl4ISDKQW1ElQa3wMnMLoDVVQoV
WT+Piy2EzAPksnGWMP0Pl5MaTEcUOR0LlT2phpfbPjXjMBYAZKM7cPmeYAkTWZdONUAcXYOZSqf5
Vu/dOoygxJrcXm7p1IxDjgXnMmTNwV2ezG1eGTEUKoAvSAjfII/xUjjyHVJHgeCt4jeOmyy7oZwD
/J7u20/NGoeDDRdqomYjdoNmqNrHZrWlenbduXXmQ/UjaD1+Bb3MXedCg13pV5e/+XjrG0dWR9wa
7xqjnNRh66mlp7pVo85aNRvWVBsqy29F0q+UqPhOWrm2MMnTfaaTVw1MaphW7uqyvhpszZd+Xn0V
Jb2//EZHB8nxhVANRGYVCW5I8kxeKOe1JhNU3UlfbzW58wTS+jlYTLBdbdUStiXWTPQ8Oe6fWhx/
/inDUXbcslkFRIPOroHqelSc/Fmpv3cRRG/ydB/XcNNxfmtF/Wp0Co4SUstpOeAzuR0kuMYmVIYy
g7G5jEPFqRZtkqyalOxdL5753NNDjokOoTxctXHBPPzeNsssJ2oJyvF5H9olXXa8uWJ0WFqJC36e
vc1oscr1esGrEmIiru84MjCqZ0+UP6A6dw1HrgejnANOf2BpDi6iGHiUFsaTJ8rY+nShu1afRUqE
vbG3lKs4aYmfgbkd2bdx5VWLquBFOCQof5ZApYOGkDBvw6KrOibQdo2DoY5fktiGLFlUNrBmK5/4
IGywMPMNqnQ/hlRZSJ3fJGIOnzIukOPXHq9x0OYZ2ROHvemyzIQAHHzovagJevepEj6UlGPIsToU
xsXdt6pvrh0NWItdBlGKFKiQnHjfLi+a42zFR+f9eovJvkWypsQREohrG7QijJf/hd9FkPbkmfQL
YMKcZFhCSftajdO5CHIqQI8ufDg/o0QGHOZhB2RO7+asBISfwROlDvPYeheqhPl2XN7EIt90hrfq
VHepxhyGfP1LpHoroq0V/qQZkCQpZuLHyXg6bp0QjBqhuFPPkF4reMITINDqHOJEaCzPQMLUKQlZ
jOjlVY957d12wiW+YZGZq/140prOBhycYVeNOyki6iR6STPxbCJgMxRDrbZ2VcU3K74drGblZfza
cEsyc1Y4FS4x7BCxRpoK8XKymHW1c4zaNeDb3Bs3INiuSls8RJa1B9d/rUh5z+Nic3mynf7GX01O
dmSQEw1HgpoCXBTWXkpWQqMLGKYskYFcoVox06XHGXDM7bEENJoAaOCBTbYoCFz2Ffc0OMzG1gZg
XH8A8E5ttR2BWZRfQPgp46UPVtd7DWmiTOapT0hXz3T0hxz3ZGjH2uvIWcdMP1IXbWCRQnUwjgIL
WJXcEKGjpPu25EnQ2ck6N6CrICjOZfmzaJJ1WpFXaYgXqNdA9wGkGqJo35kKIleCc3pUmyzIWM6h
7T48OzlbOUbjgg+QfEmtL71urZxKrFrZfSngEeL31O2QbZRXlWPS0OHkMc9TY8F5ATfjvr5KUzPM
abcwqnwNEaxboBF7//KgH1ehDFzXRiAxPh2IkOldNAKLv+v6fLS7I1/3yeA8uykNbe4Buqy6Ao48
TPdd+Zq2zU6Lu3Um9GWrxxtO8gFS7iZfpPdVQ5G8xakqgr7xmnbxWu27mfPisSAJ7kEqQATwlUHN
4kifM0qGSlcyLQ2kIUOuclSDsvuBGDd5UTPfUPmX4puisSWh2Xss2TfbiN8kKJJDMkfKOVqb45sg
o4FtAWdmHGIPI2OSi8Z0YYgVOJ0Hnw6xaQz9BnhGXxVswYZsy6No5gJztDbHJl1AuByUCQAFnuwD
ehSRti2cNIj6OMB9ICrrFW2bVeama9ub6+tTHwiND8Q6E3AE2J8cfmCqQ+w3adU0yLSv1B75eA0c
tZ+95qZ965qfl2fguI8crD98GrKy2GjQ1HHGoAXElCUM6ERDfzYheEtE4yslX15u5Xj7GJuBmhsq
bSNH+OPnn06DHCrn8AOoskA6fJs1DbiePOgl9428vS9G/XFdjDDgPde0h5m2j7ZStA0ZDnwgIjmu
oJPdoyaNyqhMs4AYUCxK5S7Vs22fO1+SQruxLLp3kTDBbWgH+4SFYueBZmR71rc3uKWuiRNB4IfM
2kOdfClgYFEIArkFp7PDQdZbGteQPs+gM5tvE34toUmitkARCXeZRtZaH+COErEraXq+B/+K3AOf
Xfa3uToQ35HVwuvnrEqOjztjRyFdiCmOyxr228N3cjjNCQhmUI5S4UJj11eK3oeuAcdbYt8OpAud
SIX2gga8/bBD5WhOkPF4LsKuBZVKoL9QNsT+e9h+UWkWropVGvQgwZZDtVSiW6tTZ+bicc+DyQeC
Cy7U0GgH/vqwlV56VqVDmDRQq2dR3VcubqHDHkS21cy8Gw8Jh0sLfajigAh0Li7Z0xqzWismAZog
gUQB1MJRzKHKc91FvgsKUe1HzdK5bSIy0+px8ECjI6jRwp4+MlAPv67U2tQqVSeBlrOECAIf0Su+
qtA1Kno7ajq+Gs1s4cfBES0iQ4YEGUTZjwgxsjAStYwTxGM2bEZtU0Wv7vRoWFE72dM2mtkyT4QS
ZP9x7vg3dveIIMWBQSitPEoDgKBwJQFC3IaZW6fess5ZSiyhxmNLz4RBY6lbzzNjOi6B6ZgCAzWC
17ETYMc+7N4BqBGR1TY8zHiEehakPyL1Rs0g3MqGK+LqN7rNgSMedome+QODiLYuspmyxdHNGuky
DdlkW3cwt45oKWrSFnGh4h2IZH6NDU+64sHN7WsncZdg6X3LvP4uq2cOjKdadQE0hw4kCuVHlYS8
xg/UGnsgcsJBBUFm1usvIHE/NMQNKqLeUjo8t9H75Q4/2erItBpVF4/FNUqhGwQxIw148W5F9TIp
+mdN7+9S6kKnp7+HjNE1cWYixKk1hOoAQgP2q1HO6nCQiW0wy43QwaJ2V1ruBX07PLu4iFIFA2uK
Jyf9dvkzjzOk2KBG9BkoMbY+Kj9MmvQyHLuZkQbI3W4z4e2Bx0zHfaeHFu/GaNpHqfKw89ZNnL23
Ks4gGunuivo39gDgoDV8PHQ/4UoyzVwBgkJJk+rYA0YLULW/qwf7h11me8Xo7kirQoLIvMZkf+q1
9K335si1J/YgtD86WaAuM+ZGJ9FZdznORR1Od0NWLSxrgN3BuojcVeuzKAqrCkoRgAXaYPWC0jQX
Wo6yDhgFHLmwI0OJ9dh8mkJ2r640HIYynFK6rL+rsisP4g2Jne+12LjREndFdRI0wlliXe7VCNrk
tbNSSDKXThrj9CTQjHBjpKqRox0LOocTwlKsyiGlxHlblWtgBYqKrJF2utYBEqxhz5kJdTGud1Kw
q7j0ngewoCvcFi/Py2MkD3oEboY4C6BcAC7u5JbICVDfMRlxukO9NHJ5C3p7UAHLMGrsZIlcczo8
ZJH9asAqxuctW9X2rnIXBosDswQ9Rv1u5epXUy+AsLeMRYZHiGGYiU0fBvLT3sLhHOpvI8UCu99h
b0mWUNRcIxLYzLthiXWX0O6W6/Z1G/fXhOuwxtZjPycksApNhcCGBTk6FEL80qu/u1z1zbrc4fAI
fY6K37RKdd0l1X1Ki33hcfBv46XsMdo3XhPdK1r50xSR40tJd5oNlTXXFj4l5qONPXepiOy60FES
d2DL7CbeHBX+RHBCRAJeeORqH4tCacirQpcZFIK8gh5qRxcsZksLXNS6XkU9JPu1OdjMiQ0euDGU
TFHFhQDnlGgUA+lfFC5u5KL8KcvszkZkYnV6j9vEbTc4M3mQ4zLNOOVG+0VU+2A2OQ2FudllGYit
IMzExl2b8zfH6+FuKdal0QJgb3qLVJhhA25/DOp5KYvHvtEZMpda7gtAmjLMzBocl8sr4cRGhKw5
3sZD8RYIk8mekJRRmboOaDyZpmD+fM1otVVovRRMBGVbw+CuWtVpeLnRk8sP8GCU7pEhGW/fh/Na
V0he96C3BTzptkoVvQOwujA5/dJSu8aoy68CJBK9t7e1S1dN1MPcz15ScCTiRqzH/xsZhA9zpts+
AvdVVYE7W4KxOucqaZw4GAHuBAy1hZeFLsJkA+uKhhMkDpOgldeq0926IMJ5aVQvIqmpOyP/igzm
E6yY+L5hkeH3tfckHQBZakslS+F5vR8rwH9lVeB4j/0gyJIIJQogh4ffUUH/LZ1s8BOja0YPt23h
jgAVcCeyyKBbb0hT32uGHw6VK1no65K9XB6JU6sOIujeCBMEokGdhGOWZLUGTCPWAL6NYGsIrGx4
MSl9zkS5UzqOzbKzV5cbPXXURW3wV6uTTABk15jBS2ifo9wPUuwtAONbBa6dfbXoRr8hKDI41Uws
PbUHfm5zMuVSZUhBEQApCsqZ+yRTkMGJZw6w41yYRmvEE6Q4cIzFiWeyqQAHzpkbj5LuQF3Euva1
bOioHngfNfV/toEhXQU4MbADcPoY/RGP2qpLnYJkWowHyAjhodvTon4YlPqFpd2+K4criHtt+9jb
Km5123bsHu5AN4ZeLqTxgEqdr3f6CnD0DXWrfWrqV3pPtpqW0Lmjx+Fl8a/3HMXfoTGGbMX07m1b
ueKg5oGjh9wn5lZzv9X1ljkbYf0UKMxjayPt4+Xp9cHq+jUOx21Odk2jimEJMrapFojoSXVdlFbo
fc/LcqUq7d6DEUwFqd1il5tkmeQM9fDqmgz3g7bvUVDTc/AzIm2VlZD+SfY1VDm4+W5l+m5I+lub
zwXDE/vQWC6HpQaIOsD4TaZNwWuRKRLpARiYX0nS38lI2dVdkQWNmrvLoRpu4fPmrlitvpmxd2MA
7mzAxinPVqLs155R3Rvgh4HSqxtLcJ/uiMOSBSu9dqmWeljz8rnett0Ctw0Qdg188+X+Powh6G44
WqGcAPOwUU8AyNDDYF4WUkrWIB+Q4MzwkCgPIOf6GtMWOAUu3NQJLjf3ITB2MLyT9sYt7VPOrS0i
q+rdCJl0yv20H570lF51MZgePQwpdYUFgz7s1CGBr1UEfd6ibO/tii21CPTrBIThWI3vW5XcGUjK
AG0YpvFTJ2TQE/CNQZhIQVsXEEK14ZdYmjIAYd4ZYPVqtDu3srZOOgR00NcART3E/Yt06hf4TL2m
102jBkLp4FWZv3Zmcw1/IS0ouQMZZ7V9bDszgiIcru+8qN9EYq0FpC4ltbcUGYyW421bkc7s7ubR
2ACNjAMutB4gDoaT1WT7GhoOpqnqJYFXeKuKkZUDC90G5OnSWRTODTpq2Q+whZb1DtbBV8Qwrx8b
QFREV910KnTdCkc8WaqEGBK962Po2iHPwlLkBYgBezb7oYrlTQq9lqT2zRVEsxZCQ/ITJR7Zv0sc
4KiyI0qxJ02906Jib4DHLaW3A/0x0Jga8MoJWblpwQ6wSbrupLaS+rqHe83lSXMYmv8dEgCJ/ICk
AJQzTcGZfWoKT8GciQcTYBDD1+QdVX+44sfldiaFj79iD9byWOCFS4832doM8H5bmL9iMXOyjLam
5iwIqIZOwVeVmtx78krq7s0o9V673oOtZF89b8W+9u413LlzmoMDY2xZ5Bp+aaglICyLIp5jwUyK
Hv/3kjj3YscDTWqa92dZY9pDnyHTUrUrNW1ebAjt0xwZ2B6QTTMagtLOfVNcS+gFDUFRZJC+rK4j
hc1wOT/ySgdrGchBiALh+IFkIohAk/MHsGAwfIHFRcBYf6uYbMVR67Wqh86sflLV2lWeeW0W8cYZ
ACGRxodyDhCCodG5GyqMvWi+5sNz2dUr2TjXhtReQPESUl9ordi2ZvMlKvUdzv64RTSLwRQLJ85Q
ifyqltYr/M9vYQmxsGO6MHpvMfriubFc67V9Dek+f8CxHKrSpftadwvoNvsO3EstAU5DVm0tmQfj
nwnVlxp9VlzY0xMIpHfIF8Yro65W4wlaK5sAQKHQ4NmdWtf3TLC7NoUPUee86kN7G3fkNZb5Q5lS
3zC6r147d+s4vG9/DDWQwKA9ghH0gTo+DJaumUW1tLEXsm6AjNmVpyxGMfVOLA12lQDnXQ63KY39
6FEtNyIr/r3u/ut7/9/xz/L230PJ//U/+PP3spI1DFmayR//tU++1yUv35v/Gf/Z3792+I/+Ff4s
r9/oT37xlx5Liv+mv3LwWLT+19sFb83bwR+WRZM08k78rOX9Ty7y5uMV8B3jb/5/f/iPnx9PeZTV
zz//+F6KohmfFidl8cdfP9r8+PMPbISfAsf4/L9+OH7jn3/s3/I3yZO3o3/y8403+Nea909AWoyx
cgq1KqQn//hH93P8ief9E2l3rJOR24gC9wh4Ksq6IX/+4fxzTKggM4/7HHZisP/++Acvxfgj9Z+o
xSAPB0LWCB0boXl//N+3H4zhrzH9RyHobZngevPnH5MDlgKROEDpx1zW4WQqWgflWdxMNkpTJmtZ
SGwQkaLQe0eKbtd4ELOG85muvHRiMNcxpP7vUfnINkPsanf9oJRbw2lQfkkNd5N3zEoX1KB95GdA
EIfCVMtXXerZXTSkjh0YNvhcsNGDeoM9sAz3kKRJNp1D+pkDxYft0q8g9OtzxrXz6SDhUQ4xLFOY
G9ejEfY8JE413+gyt4Vd3RD/ULoK7hh2FTUwTe7idA1qa7+k1Cxtn1VqDRhRm3iLnojqZ5kk7vNA
bSZ8wfrUHaXsIpw9PD3fR9TSXzvFda+zKMkfnKbMfAx/HpLEAFTaqHr65g4DOIilIshN0YvsW9bk
9E60rnk1kOw/zIb++uLJJajrGq4OVmptIOaZO77pDs13YDOoukAdx32iUSoDyIm6T70NkSg/tbh7
W1ilt6VR5czZylvo3lPdPtkie6toWOfCX9cwBuUWinXaK/N49KXtGZsTyj3c93996GRfgZNlb9m8
GzD1jP67Y8jiW1Ir6oMjAeLxyqTP/x3oDuLc5zUxYUb93dJUkxTEMyNJW9OASpuStyGnIi8WtZ70
2yoVQEraageLRUiaPGdUAZjcqmP1yfWY+oQtyv3WtaSF1RVkQ6CGZHoQlKl0AEMUlcslqhbNS6vE
cIhT41w+foo4f63qz288LtYT3T+FTJYqQXEhaRvg46wQevQrknu3lx99ptenjDxRdxBNl0MTFvJF
sd+INiw71fNp4/5HV45fnT05zmbQcDChT9eEXH+MhLbk2c9c3NpVvxuca1XEM7fXc98xztzPgYGg
YkEM1oQRS303zRe5uve6xjdKRPT/mkTWz2NwZgm4k0DqmDLmxEYDNpTuIgp4yTB6dM5lCc49fhrY
7Bwyq7RsQg/eIYqew0sApBxVzATOc90ziSIZJKMGx4XIsxLlflZf23ATymS6dNO5Y/u5D5iECFrQ
hKIUzEMkiu5wAQ5MnLFwzZk5HR3evH9No0l04JXbDEVJmrC34W+FIagNdat5j6qarryIzqSFznzE
lCtZ9ABhpwZWQ9Ql7hfoumrbxi68e6DC4vfL8+jMWp5W9HoBb9SIoomGtDi9Wybz3gwP/o6/9/ix
/z6tA1gFa3bnYZrChd32676Gyw3T5jL/Z6aRM/79p6cXnpubGpjSYefsWg3aEIIvKqyyIs1Wl9//
3AiMf/+pBQ4iFG+rCuGiVwNb8CVNy9vBZA+XH3+u98e///x4u6u1vE+b0NH5A60seOi1M29+7tGT
FewWZdG1RdKElVkt68xbaAOf2bEOUwN/T35nsnoHJWkN3lBItGedfIEdiraO0MKzyop0DQMFColC
iNfAM3xOjuncx0xWc52iukIGLLeO1otBi4NEzsmHnhvhyUo2hdbFehwjFHFcEAlUpuoGJeS5suUE
bv53Z02NC9oBkInKq1GiXpBNqiNHHxQ/itdsmSx73wxyv1+Iq+i7AEnM9lVAGlegIvgw7Qvs5eVJ
duYLp2QaWkWmntSch4xAvkrhrw5OnygdhZcff2YRTimpkpiRA4crRNo27VdgtaQ+7pLxKvEStnAc
5Mkvt3NmDkyrX6neJq1bRmhHynwR9RQZSqYZMxv2mYA+dQEgRWdT08M0gN7MphqVRLRnmEMHiWUv
YuPp9z5hstwjL3YHqXsYCb2Wfg0bYQ9Z2pkvONc/kwUPi5Gcsgb900NBsOXROjed34slU3kA4iUF
0cAhD+O6q5D7RkZHMZEO+b1emSxuTRBDwqyah/bg7uzKg/HGnJTUubk5Wdx9Odrm5egThQzwxTOL
UK/5TZQnG6Z1vzcvrUkymXQil2XZ8FD1ILrpxgFn0Uzl6czrT/GZPCZx17aChy1Rl5KRkNvxuitU
0APnNL7PNTHZoBm39GLokcLWrdLPXHfRdE9pCVtAPvMNZxaWNTb8aYsD0Ks0owKjWzRfdNTHJVK/
Qr3lw3uhxzMz6NxHjJHvUxuQpy0I4YhwdfQNmklhEV0TtVoAZjfTwAcz+8SVZ8rYVqhr9EWJFZCY
yDuraYmKrOhgpkc6Z6tKw4MmGVhVmAk2MPlDRVYt0/T3jKTmDWp66ZozSEe2mpoEKCEOWw6MqACX
ILa+CLd3X2NNiEU3QC/Vq6i6TTmN+0WWVM6b7KT34DWlulIghPik8rJZeAn3cwuOX72GfN9gNEoQ
W4a1qlmWo3igJMDNurDEapVc34BNyMJhAN8KlKcG8JgG3k/KQKEuWgAOQur2JjY8so27vv+R5JZb
+J3LRQqPVt15VCylvDIinu55ryCHwojNn1GoHm4ZNYvn34oAU0MYtc0gGthijwTjYqHDpFXFLvl7
j56cVTjVaG1EWELQbri3odgs0vT39lVrEreMoVPsbpzZaXlDbMhwSrnw1C+/996TyGXncdTAV4yH
uLtUkNYV34gzR3U9s1OYk4glDOlkjp5DOlIr64XGM4AFJJ0hqp17+Hho/LQWnaboB67i4gUo0RX0
gzalHv1epDUnsWqoRAQqdsFD0617yCC3UEMFC2JmOM+9+CRQkaFwCwFPk7B2wCbRxJor9DcfPYlP
HBub17c4Ig3CWNiKBin6OWLt+IgTgWnM837ubgD3exgI6XBV66LAJQkkKXNoGM8CAMfJfOr5k1OF
0notM1QgLOOsSb+0LTynYXrrBLnC9AcTbj1WPcjeJ33q3Wp5yrc0xR3PAGd/JvSeG5bJAu55nQ7w
nsD2yiK2K+MoWSmgz8zsTueePlnDKa8K08klPs8ul60ATsqdy+udG5nJCsbGTWTZaAhqCsq2INcz
q4aMnhlcDhBnHj+VMoYKQGYVwOSF1IpWfChfahJ9V4k6Q/A5s6VOIfoRVTORZzgX2IW+a7JX2vdh
nCq+NGYW87n3nyzmTNp1n0YlDwm19sRp1qDaLIfSe7vcPWcG9gMX+SkMUd7XmjW+f98yP7Ov6nSm
Y849ePyeTw8GS2MYGqvjoTaC73TqD7Np7XOPHv/+06OrFtpTXODR2G1R8F8Umlxe7o1zozlZxZqm
oBJRmM3GiKA719jwQrckpyviGP1NZeTxjGzyuS+YLFbo3g0WYRhURqET08f1Iym7cuaCM0FC/32V
/qjCfOofXSkqkbOYh8Yw2MuysEFbdOwIyLNRCx0HzUXrqXJr1yzZaW1thGbCHYAx2ZyM35mz7FSq
qOoNk0qD4joxaFeFBQ+cNr5HVeorMvZXJnFmgtKZ0ZrqnyZGVXVwPRinGChPsT6K3N5KnBfB6Z0Z
qAna4O++nGqCQeOtBv8Su13TZdATVi0pIaUF+aqGQPBD6XWAW3ief4tynq2zmqrrJq26QAGQbG0O
Q/sAKyr1TbptvGtS3gZNG9vbIbaRmqEuhceK1u4GM9avuJUO28RL55JPZ+KGPokb0k115lC8uJ6A
s6btcAL2xTDnzHju6ZNDQF6muUBhi4dR+Y0BVjn0r8jjz0zgc+M6CR0yAW3ethCyOaTkcS5dpmrx
1kpU8/WmmQlP5z5gEkO0WEGHOBkPM27vIRP+gHQWMtSsWF6OJGdW+FQcFgWlHOJHmJv1yHt2mwKU
XPvH5Wef659J9MihGp6aEssLwO0rB05xUU0g+EzlTVdnD5fbOPf+kw3ftIjFwO+GVHlOqscWissL
2dr1zKZ2rpY3pccz6dHULF2xYZ4wl24OOYRWKK8SqlErDUKCK5vl8QowbiB/e1PbW0kEiFipQlFY
Wt0GKIz8rrUTtmyNHhJkuWr7UB4nywKkm7VMjTlv+jPd8PH+n0IpLpadyywpNmrqmmDsFoUvEb1n
JvqZODnVUorA5bNtiOhgjToGophC96nSAA/mNs6CAYCg+p7W6DNT8lxrk4hA9SrjMlX1MK2Mfi8M
hVy3fVddUeivXjmFA/EOpXP637vfTI0KJEkqpU5RczCd0t3qovUCEXV68FvTc6rwH6G0areAS24I
8G7AkXb6S5cr3bfLTz/XU+Ns+DTqBMRLXrSuhjNXeSM7bV2kxaaryJVNtccinnMSORODPihdn5qx
OlvkCsEVsO+KHU3t96xQHpgj7i9/xbm5OwkTStV6VVLgyqPkK1f9qcuZ3jn33ElosDxZouTp6mGP
+85adeirm1TuTFw+9/DJbaAZGqh1c2GEdHCDEvkc3yEwvv2tHlEnF3pQeiyU13CLoWW1Y0oWaNVv
XjPUyXUe8vZ11VoEgJ2i0XFOEI7yYILeGXaMzxFYz/TNVPLZ0/vIbuTAQyvWrzvcPAJWSTu43DcT
yOLfJ52pY1idN1GlqKkRtqXnrAkytWsRK0COpwzh1FTUeC1QLHtgzE7C3tCLLVFEibnbKcs8KiB/
XkUe7HCLaO6Qce57x3XzaX0YXC3izsuNsEm45dtQegcYtpmpTJ9ZfOrY6KeHx1RXS09P+YZAOIvA
r6IVd44Y1GcXiMSny316Jo6ok+uEEdOy7RWvhp+tmofMYvm9auTlvQnNkqXZ2vHSLPX693bsKf7f
0sCj9prYgG98/ERLC/DefObR575jsuI5jWpY5dp6GJEU1y2zVxbqYJfAsKavBhHfIIQ+p+h+bswn
69/QBwv6QKYemhWAOokHB6rG1VeXx+P0w1Vvsv6HQunSQrR1CFF6cwdcLpxgBn0OC3Lu6ZMQAPAn
z7JasNCG22jUZgsoD8y8+OkTHzh0h5NVg5+1JyuXgbSWRUsbZ9ZlDrnTddMpzQ8Wt3NkrNMDDSbx
YTuR3gwgGJA67K2kA/JO4QFOgtSnub7OFRgNdRpA9pcHwzjXX5PlnZldPujZwEK1yRjkEfUsNXy1
buHiVnoAwMNy24Q6Mo2tvWFWHvELfaBLZlVgB5iq+yV34e+VwYHhPQKRckHdRr8VhKo3lEm6lKra
bHEIweGb5qhWZ9i2hdl+BYCMbdIkUd5lWiupn0CUeKkMdf8MvoXht3arrtoutp9j3eoWbucNzxXT
4YQpaTRn3nduOMce+RR7KmD1GeQ66jBJGnup28o7NMfvckd7B4vg6+XuPde7k9hT1FYyENKzEPCb
FN5AkM3VI2dOfenjiHqc74QcxuEniM4jrqxJuUFFG8p0QNj+L2fntRu5jnbtKxIgkYqnCqWKTu3Y
J0QHN0WKVKQSr/5b3sCPf6aw3QbmbNDj7XJJDG9Y77OKljrNkcDD6KzhDviaVF5j09p0yYuv4Pqq
ZhTmHd7YAohX+gjVg4oyLgM7ntbWN4VlwaIyHzMae9iBu18JnP6Jpv7tL706vOyiyCat6EtkNIcW
s4zEwTz05p427uzkGhSJUC/RACctaAvmWsIFb3hN+i+ugM9ew9V5ZgSqAZWpSEl7KR4Ut/KUoJf4
RXnik/16LYmsYm80jkblIxLJurMQFdxVI+6bsGfJPVSe0RNdx+bl7yvqsw+7Ot8AOkDnFvvhAPif
fGEj2P426P1MtLOb+0wMAJ4mQ/n3D/s4kv/lrV0LHOFrU3VCefYga8fHcAKhmWfW8RgI/tHmi+wB
5JN61/QQuFQe/8qV/uO7/NvHXh2AkdRkNsJzDxoXdYdhEoe/h2wyxbpF/qmHedPJG53oHojb4YtE
6R9szL995tU5KKfRTaY5xDdaqrXoxtFcoJfW34ioaMYjcO+zNoRlre7maE/FFO+azsbfg3przmO3
NCWTHsshdm3QYa3CBwC7deHWWr/xpfEgG1zVURvmpDYka1TAVkA9r6JanzeWkOcP+S7wx1HQ3jYO
RhRWG7VFIDUrEQ7Wlw0GbmNqB8bQtwuXDLi1Ng9t0x/pMgUXqViy+/sb/2SnXEOr5rABJ0Ai1Y4j
4WWxRy0GcravfMM+Hua/PeSrfRgY2Y7TqqYDyFsmh4mlfWHUYvYkGLavhq4/WTzXMsSF1ASsuXE6
tJ5DtnQdfffGdEN9X212zVRLW4yAJVumKwLuyt+f2mcH8bXAtXUq5vrzDHDODDQs473B2iWwFx0c
C9gl/DSd70G4yKLztFsuYiLvPq3FJVys+UZMxAe80yAu4VVFMhwmoIUBhwM6VOe6b5NnTP73P/Sz
F3B1H8muRUod4vWGNlqPaApfjIDPkdmiNfv7J3xyq16PuleuapGzw8W7X4gH9h6JLhzQ6O+d/5Gc
EPgf//1zPjmarqWgEE6CTdFM00F6q/MYDT7G4SsqIbiD1ULBpUe+B97sN5lXL95N7EzbVwnRJ98w
+jiZ/yNuYJooBo+V7eC23r0E1NQlatdRPzcjGE1//3afLeKrExDTh/268mo6RM7Sbhn15XCKAboI
0mGrUWGjTus/xh0b0S6SkCQVf//YT3b/NVo7QTTox8JtyrqqXmecThgp9r4qtFwhK/9fbuteD/4m
LJ4p7yO41vS02BJanya9OWE+EQ4I6zD6ah8OYjixWQ45mlaASdK2K1XTYIBk7s2XJPFP7tBruNYk
o6qalNeUWhunwHCEt98SgosmDunduC5it058KEaQv3IpMTgCw027nzsVFYO71ju6NEFZK1XnI+bQ
XgjB/0qWMPri1v1kk15rFLmNqrADQGdP6s3sMFDY7+bKDiUGAeYvds9nH3G1vrBmlKnawd239bSW
CRyYiwS6tt3AYWH6P62la42ijZDRG9vqEu2CXAwyx+jsF7vjk2Uafvz7f+zA6AOm4cz41QvDTJ/O
quEr0OFnv/nqfIynaRvs4iuINtrh0I9rDcS4/cqm8JOnfi1FphCfQi2IWAGmeDzl1NR54wCeuBD1
VQXskwKSew2KNqPpyAbu5GFhE3mJ2UhMrpoA/taeM2xg2IXjKRl8/3fMAdnPQPNfn8N58lQhk9bL
mVzmveuh4JNyMuL7f/HKrlgY/3/zX139qu6WYKzQ1I2hxz6Fo4ymFPNnnkxDEams2hqd14pNWUMk
3ALpooMhxQSz+5XC4ZML41ra3Iw1SoNDtR0G82poux8RA6Dll43sFhdw6VuWOhBz/X3xf/Kmr1XM
48zGdaO+t28BqNxjLN27aSKtD1Er+BenxCeH2LXMNWRBr2exqRKoZfjaK9YBkB9tVDzBzW3e+7BC
WPJpCrwvvtJnKVx4lcJV/tBRLXto9qwMy7Geo99sXYbnMGRrzhqMs7cuiCZiESD44CeHg1qpBEM9
GGEXDoOalEqQ0f7+gD+5hMOr5WT9IeZBOCyl48MKu+0L0GzQYN3Smvz4+yd8tmKvpbLLuGlbsVGV
rkudHavJhipBIhdQbwD9hF3jmMQXzEcv39y4hcdohRz3VzD49iux/ydqfJBP/vucUxukEEnTLaXP
zRsn3cO0wTKKPkI7fQhnVQ59c0uX7RB1465p/aKb/cyKaUci/gc7OKMELoEuA8CQFsJ1+zSMUHSp
swnxpbOoMujrLxoGnyzG4OPf/+NExknCVei1qpyBHM7lMran1U1ikjqK/bbNtD25iU2+6th9Fklc
y3SFS+e6swNeTaCWMOt8sbap03P2S0LjeOsko0NTtO683w4W7U9v8TyW4oKjzR7T+VPhzbCL//sy
+UdO8S85TfBxBPzHV1exDxcxN5hxZWDPpSDP9SHMbPwhmzARu58Rqp2gp8ttMgFZYgH/o1CgNT20
0b0zv6Lo8tsIGnIgywTGcUMfHBQGoI6rB0gdfC77HSKScc9waeRgptW5hnquYE6oS8OIPPdJ1z8b
Z2XflsoGtwCvCp6SGsfBF3vtk8PsWk7ctbx1MAw/las/OPtIc7WffHjAeY38SuT5Sbx7rantHZit
D8adSk0bBla4aA+OhS0ZULpOGa2VezNhJPTB7Z2v0N0+Xs+/vTZy9drmAA6GDEDgmgc/gGyPXsHm
+mp04rPtcHVU1hbyEzpEc+lqKo6NnqKD488J4GZ6vAgm5b0/buaL0sVn3+TqKFw1GylmWlVJO7JL
Bqw0KYq/L+5PfvW19jZp9GCZ5LoU6Pl73S+BRsD/9puvjjbpC7GCEmTKOBjcs0sYAZlms+Xff/sn
K/Zae+svdlwct17KDnXzvRwIHHC1O+3Ae4m/+AKfrNhr4vvgTk28MsCUIfHSt02lHLiCcFzBo7X2
POPiPbo+05kKl+WLF/3Zt/r49/84aRxnpB08djEkJ4Ip7foICCDVu+4Nb0T/8Pcn98m9eq3QVUvb
rLXD/pmwHC4GfYCLCFoODGKfJJdAr/XwxQP8RCAHOMJ/f50R7rx8nDCYPcxjS0D0LhT0hIWBwc4J
9FInizctd+h27tELOcbdS2X7r+KzzxY2+e/PZkHisSQadAnPDfcQWOMXLtBKu//tIV5tf+YvGKCI
1qaszHoUDtkh23xyqujgm+YLosxna+Fq0zdOIMKwmTEiFIVJ2Vg3yTdAbtJJDl/dsp8shWvNLu+7
NmzhbIU73R3SuevvwX3aD35is0VVL//To7pW7rbSxbRwhZRoQiZd0m3cdn4VyLcATbWHgG9fSYi8
4J+/+19O/GtgOCopRjMMoKO4Ift3bkJ7q0GDbeGZ4227ivX+AalT+zTZTe05RCfHxJPbUQBQknZS
8SxAnjxm3mKWF6A/ppSEIKl531be7FZY/rLlV21RCYLtBCEVCr1o2c0qOWmvg9PMVI7tBSATOBOT
wq5RFiuSJ2LOQL4oIkyQENXdI4zYD8N4iVn8HOJnfECLY48fN6dr0rjhR8mDGu7Lc+rB50ssBe2C
FJn8OyxfMJLZsQysMFQSP6opDWTc667r1kys9th5ooyq5oIoInWmV7nOcH5gcyq9BBhMcuDMqcG/
eKtalEEC5aVifAqTLrdd9FtP7rmpIczrUL52V5XC0iNzfJnCpHDnb+67DJ+cln+0no7R5kEINu/V
x3DWh6hG6SIwD8puJnVH1JIkxCSmb0/E2sd4WXZAi91iJH3H/KNiPzX17pJgefPH7tfa3s6IZFzY
fHnqblF/fPZbAI8rw3oFp1XuJ09miTdg2n/J/XHIOPIOUvv7gQ9nHk3vaBsAaNTBHjg5BmwfwtaC
BKUhdbYlj2MTpSzu4St2X4tXZ2aZp2+VkY9165ejrVNGHimzKYfTWNtN2ea9ichiIQAVPIa7vm8O
VCAiE02YVxEc6FCgZwjPY1vnXL0vTZ9vNZhb/B5Tjrv+w/yk1SAXokcQxlk86GKN7gCZOy6qRnAg
8FbWnxRGda07HhhdDzIezlDIpwM/kvEVmP4iVHVJgPjTwMMuyU9Y3zHX5H1jH/o4yjrBsoq+svHd
6ym6tCdDxLFbblkCTfME75dNTjvjnlbzHBJ9ChiBG8V3Reo7Wr3r5buWDGvythKAOPrCyTUvNxA6
EOqhSBzO6RYcqLeaFODsdLEgd0UGB8F0P8D1pGfvaFpnhgVnHbRzaehyCLFkQxcLhYf7mEkBt4FH
f3poXHnPcHEhWsdHdKlb+XsnmfY6AmuQmHswB2+HpD33McsQvMM/ZZpt6hi5C9w2n8f+4CQ/W/yf
qz+f/aW6S+I/JhrTYCFlRZwcXDgsaoWRYT/zOw8TzKjNCZE70qQaQKweOj8udiOJy25COztMNjgQ
sTfMkCGFGPEfADM8x+8DovQ5triF3OkRLOl0lDznwwd2MAB02Pltu3iHaL2wBg357qGHHywoJ/t2
CHwkoSgadoE8eUDJ2T5KPVaVVTJa4AjvqinZBbbJePVogNSCz1JzbnwM7rbtO0qRqQMabBTfut19
W9+ZuEFuv912kc0nIK0wZ3VaYSizQjDLFFCY1aHdsFhNlC68wQ36ZsCHbVq7q+m0V0YUdsGIc7dC
5P4y0OF2tfbNW84g86HLfnG3u7C/MXWdrfWcoTLSJOoHc5qTcVBEp8kxIvIoBwBaZjS8bFD0rVcM
JMpRHALMiB/BPPzpdUh+gRlnw00U/FSJLJwAI3/zz2rTu9ahO1F7JZUam1U/RuCdkwmT5RB+9XWV
L3Ctg3FtAaTfL9sAqKTjIXWhvlQa7sgkNfSpYzxzO2ye4Gcofq/krSIm9UN0wABSBU8cOg+8UVuv
GD1b2X3gRDxbt37HQppFfbubk7d5njM3li8zvwwWE4Irvm+czhtLEZZjnSbhviLBHpX8vHb7fdC+
xp44rTwuA/2mCLoI3vA+Wb0PN3FcYkpAMfEyE7Oj2V77fipVVRrTnvh669r5cegvzeCkTndxFvZ9
hvuxW+GeCcixAZuta5uLS1y4btHM93HKbTIDMylt4BilNM/qEHU6Muwooklhxltnc0HFvEng8E38
t1WrtIU3EvPfPyqqrup2Tvt7VXdjt+Ze1Dzz+tXnXhbC6S2Jg3Kpt5wpaKuwHjbRnUIzHSuX7mb4
6C2NTtdAFVv1Hg94DPGPVjbPnSKXNYIbLF/OW49Xgpr9sauaTE1TUasJW5KkdAD90Uf4i6OioeqW
9cMPD+A8UmF1T2bBJbFeHIVjgmBOeqkPsGkExTiymSIkq4DMjNZwzzuZVQn7vslHPcK3CrYTFbcg
N65ZFaBAEZl3yBYOmN7MMFpcQuuehQMyQpEUdlxTSV/chR8q2qKJ0N7NLqbK+Agl8wlzo0WM8Buj
DyAUwd1MwRiYklL1P8j0Qyu5q7Y66+sRQ9BYuQg0gSvEAXfhGh9di191hVzefSRd4OoUoBSQcdw4
GV5EMokJB1uznDz45GD8FG69OKWBvzpFIADFKbir7AaWleSmq6sOvFcXj9CdgwA1uUq/u8vsfiPj
Cu9W0nQPNUw3dmrAN4B0XNpssut4Ql0N3rjOGNA86NjyoCsuL1O1eYca5k242RMxHGuUndp8GUl1
FF6odbpFXM2Zvwl+skMwjLjD5wQDJp5XrFMcgYlZiz1mvNDrw3SX/0cKmRwUpoKwM6EiDFJXiiXO
esC8D3AmfuZw9TwPlR1vO7aCwhCoqH2s1gY0T2cve/ccrvowcEedBoqyeTaiIX23tRo2R1A4lzNi
pIJjlrAAqM9NMe3/U3fr05ZUH9dnOxcdR4ld0Z8wZ5MnUMThXkhwMrXCTbnFgNso/0AcdeMPLIu8
dm+j8dSOnk2VGHez07ZPkrvnOdAFqrp4fG14hpxnKeC69MqZQkVlrBdzcX27M+gS3AzrcouWb1es
AVrC0spvaw8iA8aFz6SedjWZ5KmN5iELehKnniUGVAiMq0nqvmFopGgVCIeuMvd1EusUUDQfvFX9
FGxxmNdyWU41PHhVImpMSuOAU8n8tFTVixgS99B4jQPC+5TrOGQpBNnYXQLGW9384hHvIJT5NsX+
GWYwB9pGzg7THK8i/uhUtxFuz7DOjIQwBk3BEHX5HgoeQDY9OUwZ/jr8wk4+LGTM4ci0bz3/Dsz6
m75O9oI6eTe5L3PfiGxDFuVhLjfzYhiH2u0Frb0ahmXxq4nmBBpu4MLi/gB4gsaotlf0MeIWUOhp
LXeiMqd4DE4NquSxGppTP7of0NvtuzDrmoMddayMr9NKsuPY1O7e4SRFKfKJ2YRnKgh+Y16bAf9u
EpxTnfHSZm5BRpndNUBgO8hdZFv/Vys2m8Xg3u0rwPcElIe8qgtJWY3r0cQS6qmkQ1zhMLv26Swp
kLXBNAm9g4SbNA/TqCKdObGPJGj0VlxbLe12brhg8o1WANsmlDcvyiZDBzzrvIXltKF+gv/al+8R
mo0KBk0t/D0Tx7t3442eYFEGVC7thqFH3I3WUDohvPoZMVpjWK+VPXCaVoHBaeeQ5lQ58U7W2j3H
nUKpKpEyQo+fmkvsgRA4jDF5MAbT1zMJwLjBL8iwX2q6i1i8dPsFvacfHvno6s5yA5pUD0uYkxj2
8mFd2yeMsoYqc5YlGTJpbVKOw9iJNHZHV+wSGOUe68E4GaqAOEJUtaKPIrw6wjHLh+EE9IPqir52
Bvgr4KnNv/x6kVUZO7DN8zca1zsVW68w1NgzVLIubtEAtra9rmDE43gcownBvEosw0nM+NlQZqJe
dFHrtbpIWNTv42qaHhZnxHOMlrALjz66HohoPizIP/C5dY/jUsVemviIUbsE4HeaOCOu97pn7cHX
SdceJ0pqc5hXzLpmdKt6hqO66tqd4KttykiOjSkgt3iPlNuCx+uoIE82OCnsOoIcDuO8juKp5VDP
gOQKqNB+m9la5Y0MAACGhk6lAhEMAg0NJKiG2idbYFo4pDCXtcjYIEzz0rhGKQKi99555k1HbuAd
CZKp8b0fZurBWdkcjIiNnqsfYApm+6PWiQL32P+wK1Loct2FzDN7H+u5BK86OAU8EohZAP87zpFv
wezxpuRUQee5p8Egn9DKj2/bbh4Lrrf1ocOLWNPO99f7kDWTk4WatbdtC7vEYKq80oSuW3TJNO5j
+EQg6dvojT9G/QXgHJU36zp/E4NXZYtv3fuFI3HJXNzkO92Kodz4NhzRAxcnHRJQtNwetas4HsL3
RXpwKIFh+g24p/rn6mhdtCiu4zuRsMnIRzhJZ3+AsXlXxSVMBLDCGmLGXQTZeakZD3Dqi+2GBf5w
shU1uzAGGnZwowQsjcD3VlwDABIi9o+CHoqNJKq78yL9NFQNuE/yEMuYy7RpPIDA+3o+tlXffJvq
mZ15s/Cd1KE6jYIvj7wa2Q6rfSkCt66x0xe3+YP4RuWTHn9uaupS8K/vVpiKIqxHpzNwpum0hfQ4
NAIHhbnnSEEAvV5Jpijbcm+LIJzvxB9v6y51YKvvMlh+2IghN4U7WF4N7IGQqUca27+BEsazqbJ8
t4Tmya2rNotrNd70WME7MycMr8jMYGv4buHi53BCDy8SnmwomjfPDnBv+5FNAQT9IeIT1zu0Y0jL
aZiWPangThH3pN7pxl4YDdYTYxMo1LHLL20kqkz2loLfIt57hlNJhtULEL7g6i2yxYhWMoNlJZZd
z7S+reEJfI4N+5i072wxJyTJRyhKYIG0rfnMJyf3BkTiptu+LUkw/E4iHT854DXC1c+Pb7AJNzgw
j3FWN5JnBnjsb2sXi0PSIDVsrYkzy6N41440LCJXsgeGgfuTP1Z9Khc8FaoahVA0fGmnwQW2rWGZ
VF3/xjhxYPxB7I52o9jBVyYoG6SCNeaVsnaL/TxGpD35SDxJ4MSpK2BVFUE2lkWd0zzOVcUuRm6k
xAxhgyCeVUB2B/MRqrs6RetbpUYn7LwSJY6kG5cH0TqQMfOYozaiA6RzPEBZZrHvWwflHcZiX4yi
Cn1MOX5rMYx10ETb0rZqgQpldHDYA0ISBkJfHBP2GYzKZoBtZjj4xsOj7jhei6xgNSNsbmotis6I
FRoRMX33q9m8qtWNMJne38qP82Nqly7D1Nmch1UE+qrqXq0DIS4JADDsq55fmB3CUtVNAqk1HjLS
MHpDl05e3AGDb6ahQcGRIt26Q1KdTb3SM+UTz9GPjVNYNkA/G8CI3q06DpM6Tzu5XEeRLeHyoogP
s5lmXjMw0nGrA0mX9mSxOVSky6Xh+o/S7uNEp/vVC0zmMXUnpumXOwtaIK6/B1km3DdbZaH4bHQB
UYN4qtwEpWig1dJQ0icVR803H4OdxehFc95O6t4MuEU1oboM5sgpx2R8rHEkZlSjpoIvApO3Le6L
rdPHwUzxYalcVjgrjDKF9XLfZ9i6mHFK62r46faTvbXwmkwYo2CskfbZq1lfjKP10N5zvf0y83cR
Tk1G22q43YznPsyybTIhHSxLLz4I6OsLDQZB4Q4RBwWikvAOCJ5NqKZL5a/wqjIekDxr7+8jr+sQ
7y/PAxpf8GiBB/cMCWcqZ3vyKnmziiTGLRZO+3lKwmxhTnKj+MDhSGAPftg5J5EsKu+It4du7J3D
gSeL9azPUENC05P0PQyhFNn5rReXTSPj0+DgFhGxt+atFX7qcXOLOOyAbXNeJc4S6uC8G0j8W4zO
cIc//q6NzKXxRl3v575F0CVDGClEY6NvUfQhddHVq+Ww5ljvZ4xRZ8i8unsa2OU3kgmCBQJqPxDi
fJp/cAymbx9C9fEA6+oJ/godAzM/hJ1tqiN978KgNqPN5ryPPYkyQZX/YIVmuV25k2IcuSuQhy7p
NjfLIRnaJKe6QkSM8e2UVAQ1t96r7lZM3Z049sW33rXbE1LEZkJsMY1L3hjq/Q47QMUREoxpp0R9
V7XvdUD7vZ6RNsKv2pbr5qIGqD0/2zYCS+Aabp/wuOJZguDppBsVVwjj3eR5xd3wCE+Q6cmHD8FO
eguk0tz5aMWp5X4jq9oRWcHkBi2U8Y+BmvfDYQTCt21ta3DD5aJPyzAiu0oaWJCgKyvlm88Bc4nH
juBD6IjbpKJuCtN45/vg1xqVuxbCj4F5D1Wn9ZMZ++jBjED+eysJD8MIx4a1ccgJ05NBTpMJp9Ei
Nhd9edSBnxF9JRjGHWLWpii4bd9BzIV6x8IoFMMsW4jyjTczTL6vSAGaWqLbLEbkc6lt/OHib/MC
IcY8BTg94LnmWUYzGCu7F6C0w3uP49UVSbMlJSh/Zu+Zpk8rD8/8IxubSmI3fuyilRRRI7EKYaIr
T53jRU/WbyEgEK5A3dBlpn8Frt//HdognLJKYzwf0Q3KX07N64L1iXt2UNd/0j7oEDNcl35IMobN
blq0btEVFajp9dWKW8vvYv3sCdHDxT7GSEKObVzVGcbmpzCLGqBXC0z/g1phu2Tt7zGLKIZLq1rn
BE3cEmGoW3G4CoVVr1Lp25Kg356US2wjfdlgsbU3Dk0yIkUEk7A5ohlx8Zgzp4nYzdxH6uj1s/gd
SiQcacxbedKzz3+JeTZ5KOv2rW4wYQ+jRFCIoA9i88VdxHzEheMhIW4/CMeU1n0mwJTMZwJKHsoE
W+gVNfr8TTpGTov9PQoa3QJpwZ8328iD2YT5ZSrlPcGeIfi9zjTKHbetbhjn7Y5X/XKHx9p/U5Lg
wlMJRX5RawkX821LDTjGfdpry0ruRDSvYgUUiQrDGyjzyWPo+OoZbkxhYSDmPhPHoy+rCvh3hM8O
gl5aB0jvUM6vMmpjC8ezUYRnFZEFx2+sne9m8HWBwnK3XzFtc+dWACMGgJPBkpKdA9nYn0viYiAc
cvmzZXAoDYJlKGYhcLb3yZrArmpUvxoxqbcggcFUYfhipx0HIx2R9uTw4c5I39WZjIyzIdSrJcYz
JQLReeU/RaRF3juN2AHVTM5r0i+FC7cQXOfzH4GqBS4QIJHTeflgLkMj5uA65w/xhkNmDuzB6Rv4
+gW6h7HuOqD0J19atmEJsZcFUNQWhMQ9lIP8oQqjqWiiNddIyeH2RuaUK+WmeKM5BGjzbvtQ1sRu
hA+Y4zNA53fNVJ+cLuzSuV2gxq+H3bIJAXP5BVdNi+Qk1y0ubAOd60laF1X+un9qJlbGk7OH/ySq
eHN0H/X9AxrfHsbNlV9MvsVzXxMUSxGG4Vl/N4us7z+wHS1Zz0glCtPO8CFZut/+vL0R3/vWbvij
SI+4uvXzIK7PbPHPcPopBwWMWrSFR1ciL67Fe+TJfTwPqAyhcgw1yWyRWcE6xsdMhZ5Os5Zw14v3
JJLqvCV1l1asRkhLdIgyOHbhxnp0PprZvyjnez+f5tZ51nDfQ8EG/Vp4SQC9IcqEdd8jyQo++mcx
oey4wvrnZFx9pD22otXlBMhGOG8lTqi4JJBMo3q4o0ogG9W4lemto0YnWxsE7WjghNjUtty2Cmpb
qS/jZE7cgW9tidLq/ApbN9t/0aj1aPzRMP23ruBH9/M/murxakg/RWG1T3gPhxBYiU4vMHvZimgZ
2FMQ6/oG7U+E8bBJmB76KgYyT3Ax/Gpla78N/ejskwix4QdzmnrphxijrPtmhZV9VxHwzxFVn9VS
OSSfapjn7DxEehdFE9ffxYuByHmTDlzskfuPJxBjjJNiLU5/mGy3MPMbCpdhjKfLu2Bs3PcuGrzD
zCSc4VAAQ6ZUjT4ad52d1+/t2pJvpG3qZ8Ckwxhc0DXBrTra5eA301pgcEQCiUKDB6Z99x5HKDaw
08eZRJ3yj4hNWxhvhUUGQiLndoImFEMJI+tNPo0Uli3E6BpRkgtyoJAe7qLAdR/7zmx+2tgJyD0v
np+6bmAXJ5L0cYwDe94mMdx2tTtDjhX7qAYLSx0/Q7F4PnVR2CPKHqoL/ojpjneor8IXxSWHvv74
0RbytFdYV9GPzaVhrxNAB5Cudd9FqQq3eS8VMIqIWOET74mRvtttxhyFW5npEqJ6d7t6LX0ZI5/v
eY8EHtFJMqB7AVHpL0dL79RAPfWaDLx7ibamvaeG0jIJuzHKpmENzoG/OTC4G73vZCZIM33ql0zz
+MavezpgD9DxzGiEdham5f8k/3RAVHz0ecvfa4ztoGuFWaG7ajPmyQR0e3Y3/xkhKz84NUQvKY/q
+ldHQJ0RNNkeiFnoOdIt7pWeR8vBi+Gos2J24nuLzn6bVkPHHpctDHhGmsH/ligd3yU9/LxwFJkB
D3ipm+MwLiiX84Qq/JS7QcW71uNFbVt7AHWf3rKAIrGsN8w4VYEnA2AnPTiFY+xE29Q4ndpZxv0j
I1tUMP//yDuz3siRdD3/lQNfmw1uwSAB2xe5L5JSSm2luiFUKjUZ3Bnc49f7yZnx4MycsY1zZ8A3
DTSg6s5SkhHf967eXB7CyWY3COIeTj7N3vvIiziNXdIHVj4j7G1tj7o3xMb9Z7p0cUa/U+OFwOoD
lK+0ekGzTOrJarc0NkdQholqM/VRmB6yxBd3HjqpBZ2qHb8GEwjILnZUfO96BeSpl3HvB2JJu7W1
9N2wcf0Z1DWuFi+Fo3S5lOqi1KfecYJ55Y1hf495PCRFxi3tFZrnJdzwPIVvYRcaPjQ+LbFSxdIc
EtU1Hb7HOT6rLlYfMg/E0bRTDJs8F3qtc8YoEsCj6C5Rffw8gn/fMiiScwvbdU5bkR/drPL6Dc1X
vb+mQjIcDkMaT+WKuPPiQQb0bGTx0HyK0cAPUChh7VSl9O0b8ZbfLovBGzEIzVbK4Kbrm/Um7Wv3
N5CGTZrl7OW0rLal9wrZ3n2WCAqTjWMlzRN6gOyL0I34zGNH8VJws+HRcCTvx6UF5TZNAdDIlI57
IPwi7MP/bJQC3U9KY/aaie4gQB6t9Zh34aXEjvXSO8q8+QpQmmbM7sccoYajSKJ7c03Vp2zJFRRj
NXOFAeVlVboqNEs8K4orNiNE68EyynG3w62VHm6qSn8htmp3iyPaXV8mzrQpcsfG06Rd8+5O6fA9
RMZtNmLMmdq6QU9/WlmYHtkcDHeyqn9gQuu6dbVwh5TGH3/Vsl3eBa/Iu7Jj60Iz5nBvpX70TuL/
/B2C4+/0ONjBmvnVeaCdT0LKLgar1dAk30Pi9iSSwhL87GZCb1d9n/tbOcfRayWL7qCVXT5GQ1+c
raIO382oystUB+JZFWPWbiRE8XM4RsJdRbXb/6x8mLjb/I3ttrJv0dGwvOGcyduTnlian4oLft8i
Uufazp3iyGbc2KhCkjFcSXuZz1GJ+hzez3SrpWhsCNzF5FQih82rKLuF2JmEYzTXxWs2K4k4ZOnV
Wxwa6JkmjqvDZC1Uvk1e2q5dNzJi3bQ31LNIcUZQEz901ko2RTfvUj9E6DC1OClXYBCdpljWp+hp
bMv6vYuTMTkURGyS9lq0wauOZvdgUll/hyLqt4LfFUhJPwGxyKXuHoO8zN9dSnG+oliCSYUVZ0FT
pNNHV0fRV2qcBSGDE8+vKaG/993S1b8NtOfVVUN1HxWAv+DygyYxKMz0Q9yU6s6dAhYgQPVJbpxw
KqeNFtEIRXeDr2OPMmRSeM1Qbcjq5Fvt+SrrFWtWcO8Go9mpOo1PpIlUv+QAS+DYlY1Vqk8Wcgt6
buRNDK67r1w+5ap0NER9POhtWFn9M92rdcXH7wBxgmg268jU3mPuQxhxR/iXCvCarbvDcZ/Td6Og
tJeGnDBRPpG0YX+S7klVYl7UG2PyEIpem4cwbP1TmpTOY4XFkxotuzzm5VIBhKbqLnAy+2hqwIeg
ysmDQaN7nn3LvWTVmD/oEewi7RvMUNzL5RqUyPpRtOi/nWkJ1dZpUZQ6Lr74NYp/v16V2ZTfgT1S
gNyELgj5UJcb8vKqrQo6HkbfDdcT2dc0rIrgVEQut0pQNq9RQO/ZrkNuQQuLXKgCwoJVX+LU5xEP
dJzEq9Yeg9eGLSjeoLfhRAw0NJjjcFOuYArMT1fdFlSRzmgokLvqFuYEom6O4uzSKFxdBVXWLJUN
S3PjNN6PKmyqhzq2UPAwrSzATVIg0eh5EpA+BPVe15mzMYmOt4UFBVVSkHThu1OfXp+gzQiKvnvw
RluFq9CtoiNNSeGPUkQc6XURdg9hPZKWMMQURq2LWAdX1UfJ1jaOeeoAHo7LMhrU8wxh/Wrq0nIb
CbMcMaTO2SrO+grKAr5zRXm2eFsakTxTIV5tncXSvIhNdx3bST1mFPeelqCAvXWSbrkMZBW+6aWM
kLl01nku7WU7NrH87CIuhhXNG86+5d3c2Vhb4Nf5zbpFqEDsSabTMWrUcHGS3dwSB8jd0K4t09jr
hl0AAYvsb6bQaTfQi70XaMHeh3zyn3Udds+RSw+qdG33R9WIfGd3brMP5i7fhjk8fDiIn9Pigpum
oEYbUuJ9cFfURNfAX9KHZPHbdTckziEJ7JyWuchFvtEW/lBvMmjbFf//6GKEYz3qwG0TvppOzCh/
iLFfiaD2IoCt3r3wVJXlJqu9wdzR6zu+qiDrh5dlBMfe+rFtJCBbmX3UVED/jCkvfrEQ5Lqr1O4T
f8W969dAnoR6cVfzmG+IfHYkq8kwH5VbITgbo7kkl3fq9Wctfat5lrNU+3TQ5VcJ7wkIU8eqXnPP
kpFRVul8y6twOODHZaSXM7F7+P0EoOLVaswcHkaasT2K9chAAHEYtp3oh23oxP5znZKUXabjAGgf
TfZ9HkbVbgwh+1eQhaSNGwoOZwzoaPSjcknfRwbpXeyOFoISrOgSZex6gcHYdmE7b3vpege7SEpv
pQJP/DnIBBEQn+qgStg9qDRxzOZ+Xo+4Ij4zhX4rraryWi9qetWczXvZde6957Uy3A62n/8oPFVd
4ETbt1g35p1Go/Q4J05+ElKrY1HnYO1Z5dyEfg5eL26dkz+342fbesVTksm3FrXTO4dneQQGtTBC
c13Voq5+DjRJP1TttOy40OOXtk/sk92r+jx1QX6wDYItGuoNUpwujA7xMLpHX7vJKxqG6NXhCuQk
WTx+obrYpfNAfMQiABkB95Njwi9ouwxtWm0CelpoV0bl8JT4ig7NvKzNVYQcwsi7UuOhT5jl9zJw
VmRzUn9PQ4Y+Z14GUW+9wQEGDsR0Huwi3+atC/8rS40wr46pk1+noe6p7mpi1hCtxLbuo+Zp0X0Y
3viD9qTtKj1Ytg0vEXNVbtiTlDoZy3VPi58OD21r6gOqSMRb7BqVt9Ihlg4zFvPLGIXZBZ41PpcE
biSrPHHCaz1PvARibDYka5pXk4r8h5XO9kvRONEe1riv1oI6u2uvSECJ7cG7qy3dngbLGSFMg349
NZ1/Ci2gVs7xGPEal8YxmnT/BMtAQ1Jhst9Jp7n90sla9wogbATKIi4e1888L8D2sMvlveMLaw9K
O2+LMeYm5XTo75qyj9CxLFHzIOai2KnYN0RmDppSkp68qLQPm4uGMbJXVJ8FZyr2JsSUdWPdd5aT
XoPe88+UdJu7AlLvLIrUvYCAFZuI47TW4XgM6b16VkLdzs0UbGlFuvj0mJjR3pPug/iCJsbmWMq0
+U4nn4O9WbLfVtnk79zlTbLm4SGH0/G9gzuxnExuEp7CLJnfeqq5D1PkpuesnLLrjGQygmTMM8xE
CDrytQ1ELME8LQmrjrYWKqj6mJQVHiyMjkzRiAhWpgvmBgSvamxA3NFyYITd6Kc3W8F9Ik2z6ce5
O1TxfKt9m9raXgWdvez1GKuXWXvtbhDae9OBVewBBpYtNkpzAFxqP7H1lUy5aUOmGw8otHNf6pH/
fCsvXLvjHQx79KtNLO8QoWWyThDzs953YDK/U5mOSHpyPznJYs7vMupWjuE8qK9IKutXlGTLFhas
XvvU1o0nJq+KyHOQo/upyV1UJDo6SA+bBzVC8XPopvVry8jHzYLODSlagwfMQqridSbbcH+pg8/T
8pOT3vk9W433O8vYvs2Y+2uApETSeFLHO5/knhe0ANUlrlNs8rGGqF0ThUcZa2/JLXhDfuT/qu9d
Le0TD0OI4i7UqyTEmx66sJo8U/1xJskb0gaBXZiELQJjMOMJciuaX1vHyh9boKiNyoP2Hl6deHEY
uh0+Qec0sHOeZRLwLnZ+9FO6c99siqBU0SpoU0ScQ3aToHedU9Hky52fsFo7COTokX/Qk5smu9Bt
6rsxN0R6lUnJO6SdcTVWM/3zzOHXFEvOrgnK5DHuKnMumCjv9RBOd63N4jf5kfqhTLGs69zDLue5
2VqQr73XaeqsC0vE2yglSgAtwgLV2YAy04+490iAA/6dFh7NKiDyQefwsFhqkxwJqO12aCtkVECn
kHi1t/PAOo5tgtg2mNhOyVI6JVnWbDJHzdcyQkqWzqiikhhw3qum8BDkar5f5IT+nAIGtV+G2DtX
lD6nKxqNBig9nZ4pm2MXDuJ4v9SxeLQGtSDs9dDpsP4VDxXhnU9JHzun1vKIQMtndeOU3YsQmf4t
oEzLe38M3Uu0BD1RVp4O3vKh7D98x3F/TTrrdpOKqjOnNxpl35mafpWO0Ko74ueNWmuO1K9y6TAG
eaLNzvkyi32rVXvMfW7N2evcjyK4dVIl2BVQPDPb6Z1AaP89Lt344AyqOgLs8wYVkaB1i/q28Grn
TLMdf9XqQBeK2aisHK/sJShHRJ7M2xwTwo5tc0LXbeSJ8AdrG1PadfJlOX00xkqemHb6nckia9NP
hX9vep3+oA3RT9faifRWxSLnjk2pfhQx0VNdpb513rt4gj1BB29UFsOakDL/TPxd/e57Y3XwetjB
xCldRHBYV1Z1Jlx4I9M8OlNQLVultftQOROXpnStu5Fe8n0Q2MOxZ+qaAHCi/kKCm7ng2XA2tKXM
rwrTX7QGd4/uYLSGFYevv81lHSLLaCyJm7POL7VlkmGrCCeIVj39qTAlM3Ib+K8atf5s9yNWaoju
9SRNhcbOq985A+3LBLZ27PApPQomiI/MoQRHI0J+CqPR2fpZLJ97raxp47QhvEhvB69RnQG/JmWQ
n+s2n4hhUCTD9rWowB+1h76hsbe5MeKJG0Zcu+wvApIiWd59mIZhY1j01kgas9tMnzi7IQfonrzS
O+TWTAG9tssnNSgPkRfKsgzl17mYK6rTOSRvJAuHiCmcK8KT4gp9pX4nVUniT6vMV44OHJn3bMQz
CHmM2HpctnE1Oau0XcwX0+SNQYimLeyEv/UBYjfKtuKNDOpwU45ds6cpzj+NKVwrFK+7nqDjt1WL
0NbWnZuvlt4zDzkuizeLczBdL0Od7ZU3jztL6+GC6XZ+pCDGbHU219MqbBvmrhykOEjHcGvZcGl8
lEHtczmRhpuXxYO2goRDPsyvM9UeBCcGfvbWhzNIetoD5MOn9xsrDhZmslC9qLKcHkjR7UCtRgSn
lc9mDdcMSFQlZpvOeRkeshrYDv9Dkb9EiTV8uViy7mKTNOnGnnhi7wHyY6bOcpLrvvEAEafcHy5t
zNS9Lrk3eH+l2vUO+P40dzgMyNItzzKLhvBsea70N03tO5DnPofZqMPi0RugenvhBK9pniAhJS9g
WGkEOLhQ+2nnxZV1KO1+OuC6Q/U2gPTdZQCi1nqqo/ltym0otKImD8bRUjyA/sbPjETOtXAxv1DP
xgxE+JKzTVSC2bDKO0SUTaDyn0CQKc+rzqDjpiCL9rbLPb2J0rgefxHCmW3nGJ+MPWrl7bqRrGes
FXGrYH9a/z7M2tFf6QZDmTto7ymYmiW69JZlb5wRT+2LNwZWtEsdZSNl81yvv4OhMYCAjucGyfOI
k+ZTKTPvWbHZyt2Z7vn7YbbDHvSvK94dK/BnKqVVnbxSPRE0mzG3BHBvHo/3CLCBEH3rFo3PGxqD
ra9T5TJHR2SgzRAF52Ysbmu8ELh4XNQXlhbpGjdDILZ2YsfjXWDHS3lINHcom0zkyjg5+jGyEwvJ
P55MW2BzRO+ieCvzNszwFzjJfStQLV0dT9WvcQvwsZE6japNtqBzWqd1BggZDWn7u8y6wd5UqV70
0R3AHU7tDOWz8hZroTC7lPTSp3pKiVtOg8Va52lJqY4XmUmtXMKpXgEG1bRuJYP5PrDnajpBoqA4
SaYJJrEuG/xiLiYAbuTxN4p6X35UGQT3Ko0aC0F/qUS29wKdEnPojI05juPkPCsGMntHpUw+4aSo
CwPoobmWdTr4G2W0ezFJF1DeXlORA1Q2utdZ5MGnKxgQYAEXdaEIPn3wzBLRDlRVmFpUttMdz24H
RfeG3CPfeKCgGzkNy8mNY1YcmKxdSPmOt0ahAqg++53Af51lGJ78wq0PpW/FW8lIhpMgKNgTkcEj
CzB5vuu0Sa4w3Fm70jxoJ3R2yX6GHAdEWIrd4AiTICKd+4dWpl1wAG1JELijyN2W/th+dHLpv0Fi
u53bxT6lSGCPYwIlRBZUrkCR3Pycu262rIIEhWxjCbPRQ1KghQ7A1B4KNc9/tv6NfB2SyeZdrdSD
qRmGlG0Iz+ncJN1zyFHrSjHdfsyM/zOdMixUMJg/qzQn+dsjh+w+i5vhJxki+cXjLb2mYdaBDIbt
t8nRVdSDMjsUMAojbWZ9cBY26ZpGqGmLpj0/pTqc2MrgbX76GZEMZuqbb9ckEAuOgmdHLkH8HhNT
kLl3fmst3x4QkFh7em5eEXDeaqhmfBQona/aB+GVSRWewHPGLy6FCQDV0xwvfEn5abSC9nOM8vSc
Bz26nKkManflp870g6ZnnwnJpbzkFjeGRkMv4HwDnvvvhlXQuGIlfNTxepXSowcQ5TRn0IXohKZm
KHeYnu3nvho4s+KwGTciVl0CZpEG28nEzRbRjwQ8Dsy1o9T7biFG8kvEMuFDltRhT6PVh6tWud2p
6mdOJVc3IDIx7FplDeeURfRPl+lrCwZ8uxEXMPM+CcNh7YdF/WWN2v0Msjo9NVZdfVKKnn+RI9sd
2nEmmSWOA2szFDf70l8MmP+p5vqXf1k3/w8l9vv/TW39/4ud9LdMsL+3E/+HTvqH7+az+IdC+tvP
/7WQPgz/ADrzpKT03fME8uT/VUgf2n/YNNHbgRu4ri3tW63H3wrpPfsP3/O8MAr4gShwbzmQfyuk
d4M/PBrk7VAE3CKu7/6n+uhhUP4FWR3YTvRPxuLMKpcEfYA+yELop47H7cL2Wx4nQicQnnBWcpH2
I5LrSY7O2zxgEdm4KI7YPioPiM/mtYx1GR9UusC+c3/tYHCRQZcKE4NY8l+TN1DQnUssdGwn43eR
gqbYPX6/mvzbzdQawl5sKb8qRD6HNs66h7QeoYfK3n33iSS/9x0PWG+Y5vsQRfCzKQgbTYxjf+dM
Axs6E7ReaTsnRbFW+VOEGOikUTE8ZFN9g8aaFkS51KJ4jALpfFWCKyorKfcwYs4+3CzXYgsEGUAi
lgwsJAjZq0oFuEdCSt1PovL8U4VN4BSAEp0r7IrvU+oUr61bY+fspwjZgs98Izf8BbhW2kKOV9fM
fgEMnlofbqnredUVFOEhjDPqYMSAoI2RxHkY+GPX0KDJXZWuSF6HUha4JWtNj7yfeubnWPf9uSyB
UFZFUaofscxBA20/QPbQohRToyzfvdnFn8BFvdxlfjn8Zje17wDmTb1G5+CiT0sWwBzXekT47AB0
m/Cdiaz9uUCJ3EwRmc8x69iFAGKauQgb8ijRsPpy3o3O4n74csGdO9RdvwmH2v6ZRLBTK7dmb8ee
0lxHlFePY8HUtFn6OXfBIyELt0FZSAnB3hOmIlsnYo9MHE5voUvnsw3dsVgtSUQMmz/etOXuVLyT
Hjxc877ST7EQXbgyjuhAaHKv32p4sY3ihMxXyOroO9Cjvmt8C9TBmrnBbtAnrlhZoxp103g5yahO
9oXjT/W28Lza2aVo3Zt1olKsTJYei56AH2xzeRRFP0oJ2af6Vn635HvnEDRL3a4dGKFkE/vBDdQO
bxT1aGb7z5p8M0neVhTsY8fzLtmNS57DirFrKYTJ10iF470cYI6CHL37emkm+Qv/u/9D8afuM6yb
v/IprpNVpER5LxlNGIhx3IDOlb46e75GSy5jBGBrxoDl3CfK2jYE0OBDGUThr3E+NcCmnjzqRutm
XSz4OkvaPs8zeA/m4yorDNlJHkFcab5Mu8Jrx/c8Sa16194IEKR3CZCfCYLkt/KcFo+Ka2+dfknr
HSGLLRS5dn2b0ATbf4eJkgsQg8BqkieZ76No8DC0RXrImx3a5XCLSGn4CPkmDhXRJAYodMZw6mfE
NKUt9pgJ24nzRPwQJL6a24uehHgpslptIuQa6tzrMnqYY5++5tzXE1g6ojK1k2HixET2Tf2fUruI
AxjaJNaPCDkE/RDS31tDRI1JM5ka+gh8mFxVq+InbUqgfxOHOVY7f1bOru7l/BKNafCbldUVR0Yq
iBPs1tF7ocK2w+sSZsNajSJ6Ckym4Uk4mrN1A+8BUD9CO69VUUdAVXW0MBqMTLNhUJcXTwy8lEGK
VhtSRE09eyOcdEuFmI2WwvM+VZVPr1U+6A8aMkscxwI/VSDDBQeWG1xF3WTPZTmICVZcpC9N0iLs
TfNxZ0YLHKor5+DkCBsttkzd23EmWOPt1s+xEFu1wtFphfnWaKNSQCPpJKsQ8u0IN8VHEnoiiK0V
tX5x3Kr+BkDWJJaF4VPiJd45q5Lwyy/K8g2ZW/XlYY1DHgbkataJZ5UBWgSUyS38QL3BIuPOO9WO
xlmN5TjfBUIS6ABwMrC2xAptNVQdGNcQOvilM7hFoNPEmC+nHEcLF6D032l1d5CK0XKw4lqUF24O
m03Fy39odEEHzJ8J3tV0ROgvwBw/20A0tEKDQ6dHlGrzZ8LkfFtzGweRsYs2C0hT9ejqpdDsawJV
RZzfDBVZHY4d7ssRoUJtuvE8ZGMHj5vQm74rAcaw4qMtSmEJb37MpIjFMa/bBqB3zrKrCguqqvtb
dnU8R9adYGGE2K7QBSLgbiUng2ziYpvgyyF+TxCJ0OSBZ+29Aa3wSqUlTpvFG6pBr8LMH2e8sT4H
aU3A8o9BdPVPAR29HaXTbUypNTZaK39viwE1Hk/ytu9T+cuuTPeZzJH3geuh3gepB0JBwkXdIhft
w88iisZnx9GYm1LkzNBnskOPp6Ml8jFKmwAFCkULH5VfV79UP3BWTGVnNStIwPhXtlS++8CiB6po
bD3/BqXkDepLuq1Wo2u+nYaMQaTn5bwrcdTuckDPP5fAsu8Z0+uX1pu9rW2rhSD58mbO18WMBCEO
b6irs9zruKo/RefDlHaB0s+m55TZRAT3bQy/ko2IpIchzxph5ecmCL7A0iBNw8B3HuFrbqot1tZ+
V5ihvhKJL9+TaEDzbDMSo1thM0yC5dVkbfOL3AKwxJtAeJ9FBJeT0JpPAM4UBqwyKIJmlY9hy0/o
tHKByOJw20pn3hIWYU4lj4FcWflMt2MTtPsx8dOLNS/BcyrY6IN2sbGr1065iqOg/MxkGx/lZOaz
7hHY116CO7g3ZHcgDN5Y/NWx8Q/qzkeqdl/2qXVxJ9ZZkJIh26DybX4vvlYb7BjOpgqIE1r1Okvu
RaBu+Q1J/iClsq8yo8tqPaF7O8amoll8rJsYjwOLFxJM47XbujUYcyxd/kioVjo6lKftu7Bxjz2r
zEGQRXNSMgiICih4kbUd2/PWkvV8j8i5cdexq5FuJNxrM5lg1fCV+gucuByHNR7j8uJDrbz6KJlD
xihH/zm5hqyCsQqddak6s/c6gf9GhIn103Ys+T5kqGsBSkimrlydrU0eeceyjcYzF0xwELblm02X
zDDZ8FTzvUgrVUGt+M4dpFy/Sy27QyOaoKEfQvVzSXvrm2JSnG6ePVv7FHshGaZknoGXKm+zBNRH
iTwzD6JJMeX6qMJW0LwunnZnfqqdodj6la4fauRmF50AFdUdAYe4+wEV3WXeSr8xu2Jw8nuS8eob
oNfd8Tux77BchkcooXTjQ6aV6KfktPFS+jecwl92bJnNbqhhxeUyRHdhAYRPDMNEmyDQybppOvSI
juB5Q3paAY8QQC7a6wjB8EGrl3wIxng4+oxwa56G6FqHpsIGMQzikbIyg6Aov/Xj9FGKAh9B9mVy
av9Miqb+iKJYL6e8g+Y+KIxfGKHrunrKAM6r98AL0zeIh7bb1SQc/JnA0ewd2MCDXaNX2KROk8f7
sXeoWjZOlGK59fX45gpA2TiKSccB0EN7apA59WvhzuJxkg3SIK/JuVTcoFXpoSj7hqOPMR+BEFhj
tfVNUx4m3y3vxh4dUl7Dk62s0LIPKFC681L04QugZn5VKcGVbeEMa4bk5NjiI7mP6hkBjtO3Hkko
TTi+NXE7HmdU+LtEiVtXY6/SJ+Ih2xYhVO83qyiw5O1TFI/xlHqPSJk4GDN7jJM7H7wHJFbNcAXh
hGWU3Gu8yBjyuMIoO0HQgVqIMIOwR+uTdnLYDCjKrpndosPFHdAeuJloMFDYJzyMyf0v2N9S/RZ+
LN0tX26HUiNK+nnFYxKRQeMuQIK5msTb0HTinVsdlNtCBIPZbOCCjDu8p7bV3Q0IYT47xH2nUS/e
eqic1mf80t13rUv/zmAh3EHAlAhXA/+VaJH8KscKtS7kOKbcJCr8H4QRTMcUZP++lTcrURJal4kn
9Iz5z8O+PiY7gjgSyMmslR+gkbRd12hKQJyUiQ8+Cn77Eet4Z19bTXhKlNU8hrIf9zEuqRMtStoF
y6A0dMxidLpUTZJzmNfJc47FJ6bjtgpeDBDqa3pz5OEyob6vZbBFWkft1Wq0+OJH3Ym1pWarZg7O
u1dUQTiturkpfkTC869LX1vvOjb5VlUl4FPS9dvWFx1vOZjxpvSC5V2XVXkHjYbxF5ME5IFsUfAU
nr0eeTXuls7E6W7wfe/DTsPo3eRVvHe87nYl6zy4JrVLLDTBAEtDQ2kJ1SWwaK3zoAaYGoShvC/y
sxcHS9CRMUIdhXDiY1f2AG6WnIeNREhOCg0pM4RyepcqhiqJIDzI4Cnip86dupcFlw8Js33JJbfQ
n+vhqv8xN6Y+lh7PxjpzxpDEBhedGBY3IpQaUrWIZxq64V75zQTzgwETmUDSHOqWGgQc5T61kbdT
bcVg4d9zxMdMy4i1X7rBdxnnFyVRqXnYnDOw4zuP5etcLXN2nzeDgVMUTHu21M8JYRR/ogZfjlK3
06/YcpjdULNcLJaiTxJ1KgwrQhQbTztoWpXTyJexLqJpE8mAI6XgevgkS57SAI8g221ddtyfNjJb
e+1hzcBgiULkfQk11GnKVnm/6HH8FLnjPmWFM5Mi7tCsF1TZ9AP3ksR4zS1BeEOuL0DtcXlpRjLr
qWgfLQJrinnZo1MSK9eK0gdJ2OYmzObqFLlJucuV6Q6jisxmqqV5RN/T3fkzqmdbc2p5NL//LcLx
/2foKvw/QlePn/rz67v4t2NXfFa/u38AsW5/8q8gFgTtH5EdYOm1ncCBsfg7iOU4zh/M8yKU0pbC
4S3+O4jlyD/YoSUoVuihm3FvJUd/A7Ec8UcQCduLpB8hKhG0q/2P/wY4mHzXj391UnT/9O//Vg3l
Y62qvvvv/8XhP/QfDBfS98N/MlxY3OY19Eh3Ejp7ICthHTTLJeEKIXgLwBYvTsGencvqYRZkrLG3
rniuNspLDk4cgK96zVc1Ew7V/N/Knf8SGvzPHpDbR/qnYEVSDtx6kkt3yhobSQ7udGLQuNSjsjoT
acDkwCYHbLa1vKW/CwWCtdbvEHWb4XebuW9t2BNf6ZuTMzqf/q3f17HIW5Edi64qZblDt/Ai6UvZ
Ff1Sr2eT5Xiis6srk/rq+LQjxaV9Kgb14XvmhE/iSTXbuqu3jk8iqukeYLq4zWc9HaqiSw6ltsTW
hHW/ZZBOKFQy3yKMjwAhm8wkj3ZNTItdvLTl8CDLXGISSWeCF7If3qTUurWcr0nbb84wB/uqsJ8X
Ah5X9cg/hj64IHTb/Dtc9W9f/b//qv9SX/2vfq83GPPr86qq5PZA/Fe0YaRVtvN4ijIIqxGrCZFt
OcFXiFkj1qIm8jYB9NSAqE79T9bOa0luXEvXrzIx99wBejJi5lxkJssblZPpG4akVtN7z6c/H2vv
faIKXamcQZxLSd0oFIgFLKz1m7C+WWqwgqV7WW0ACmtGHqTrzqtN2Qvm7EUROb/wU9oVI/pYCIho
M0QyG8WvDJNSZLIog0Y1VHbEZ/Y+T9kAXCZOy+s4HDJrzvdrAx0it5xnV8eQZXTHh6ZxL3//qxof
6TFuW0gSswRQK2j9+ePVEk6fcGu9bssUEIpJtxAK4liK3WiNyJzTKMDyhG0MruMbHndpQMWq39l9
c0F/8yypo6d0U2b2jZ8DvP3zldbNDl2fr2YFQ409X+JjEn0aomY9ocNpbFP86CtJWpgZtEgoSAKM
HHLFyzrh0X6VCMQJPfpjSCaBHX302jPqSDGg1Pzb6IjPTtbv/SI+ZGiM126X79F330DcTX6A74VE
na/f+Ga3993qMZqnp9+v8qtt6UdTlerfcVmDs3PRsRmGYa9DvSsjP0Ac4rCMg3Po5+hna7N9vOo5
N9Onte3GfRhHYkuk9m2FySqhAgvBvfr9fI59dEmEs6/1ae6RDrkai3o30LO2eZLx+Pr96DQHPvww
spMNxFMHhSPqDNZS3zR5c9P1PDIaZ+1hThiIyLhlv4+Fg6KBpZ9zFnO3x0lIK7l4ioqOV5CI78Oo
vx46cP8R6oGmjQuZmyffAFE+6UZ3UaXur9/Plkvlo10k+7EsCMfCTK3aK1v/NQPTsqJfftHuMhJM
G8oSVbUTy6J/xNgj1GT/FZsjMCmSobnSq+nSgBnlNAVLFJ2PhkdVncypre8G3qy+fcq+7FiMuNKl
FXKilXOO3xLOW0/W4l2nGQUX3+JF1k3OX2LN7oBJUU4e2vBsFg6M04gdCiUUYZ3r2dDWg9b2eN8l
YAJAmfa7PBJf02aAXtGOP/yKjnqBldvedr1i//sv8moy/kG0yG4uEKc0J1y8+qqfxm/1Ky4s8Wuu
rmHdeVgubhz4cyfyXwyjo9gOPdezEAk0YvRvUMfYc9Vg4Nd/pSx2gJl810PkoVIO5ckGCuBcT3Py
kz7n47TUFNi2QlGta0FXiBOi8kdXXbo/Vq9rptgyadkmuI5m1sbNR0fIdJ7Fanyxwc40BhektUmi
kurXztlARWGwtfva724XEFGm6TxoVLhWA12iSlwXnfuTQ/ciLKgAYkYjTmxK88gh6m5//+aqK0st
x5rQb67SDoQldGLvZu2xZVizZLzzp9UJooWkBXw0HtsTSoVAtx8rBAzvKX86WDt6yJtAbqBcj6wY
LtE7O4SdUYaFGfRZ113kRvgCjPCzGeovS2X+4etDtZuy/Hzoku+iwxNIo1qB1isqmbA0rr2Ct7Jj
W88m0gq/31AfOkBskbcdVG9+ybDJepoqen2FZMLeKZNrrB+uCsf/hQn0RVUOd1n7lc91ba/mmdX2
QOecszIvT/liOscWWTr+S69vIarY9VVW5WKPpmyx5+RFpUDv4k816YUPivWAKom+18T0IzOtnzT8
+30yuHS0fLM9dyxU7rwlOuSLTfwOfwL2Buph6wPodgRuGoxZLgagcT/hVP5c+m94NxaHeu0fQMdY
F3O0d+FGIwd2XeTjtaWV4JzLGNWK2MPC0Gt8YJEG4l9Tdu5rUKtC4zuSE8lZWiLh1hQAs3SN/EoI
IONefml2qIxyTeWA0sVjRWERp5/2j77HSCAc3HsQItbOrLS7sexfstz9EpvZt5FjHURKdVNE5kUd
R8E8Oe1ZE1vffv+ZX+3fPzo3pGvNFd3kOaMxXImZTLeLmudutJoD7hLccqagRoMA55nZIp2sDT28
sqk0AnSqogN3c3bmkZzsIdh991GfOSS1VSCuHMVB2PdXLRfmrp3JkH8/V+vItSO7utBv5elAy/oq
tGIIVLfueEeN/pNlIhPV0iy10GG3J9c4zC7UXzIFTwfO5Lfj3ieF6KL8fIajUcXrX2nZ3mfztzXK
b13Ng7Uz7vF6vaiBl03YdsIjvmjRXcqtiN81vArRYMsz59BCI8mqP6igXxSmoe8Xt33MHJca8wjl
vaA8qgea8ZA7N5zAFEduihEJU/cMtPM+ifPg9+tw7JvJhjMhmtU0GUauX823zqll58/Yf7qHHjbE
pe617j70YE5VAppbhQAxO1MctNU/37BJ3xMUZy6sdEXgA+2UoKNZcjAbrwh0Y0Q5z0KYqVvgZp6Y
7HZefLDBnO1p+OYc0RaPUgqYsKu0yGwDXNsSXUIdWm5xkQnJnr37KEclqWo30U1zQAe7Svt9hCow
uK7oEaxu0e1iO04+eUk6PE2Fp+1XLGFu/ZFWAX3Efk/tRqOuCx/H6U5kOK/2Uh9NW0oCFkgpiWb7
1RXF3P6wWnCDUMV2LoAr6ihNoK9lxjWNbzOdEGOvpsNYlB6MMzvbFVFzg/3pI32I+3pYLmwd5BTE
rX5f52g1zFBn96iXwk6GQosqUtoHee7mZ7B1xQ7gl7OrXSjNTYZ2Z6cn3wY/+tQjY0G5y1nPGkrc
pZZlF6bRGDtcRWDAxfxjA1aZvjGiIXXfFzu64y8j/TEgD80NxjbVIc4o1Sz5N6+NPyWTfl7TV7wl
ki6bMMIzrwzACEOcdjdZn8gUYEIdC3VquCfEErn+WofpBQzvxz7rSbVdRMCh8/UoxeUTAgqeeaa4
Y+z3O0ZvMmfgSVtfAThlzWqeGF03UWydCrR8qTFG+wjo4d6thl+zRbulh/CFwGJXI3YDGa2i9RGg
XfxF7+yrbDUf0I68MVdqohBP7fvZGG+sskTqAsLo76d87K3yuovebHIUvhAwTOv8Ksu8L0gd/dHP
LL0JuP6w2M6t6zsYx7lfCiO+B/jXn+dVy2npQLVdS+AjjZF86sBdLBjWKs5IylFMjt14dkvKHI2e
3OtotHIEjUb/FOKLE2vO9Nk2EH4z6sUOYh3OTpKW00XeaBvAPnbPOWTsrT5ro5Ibrsl5O4TRidg6
VhWS3ayMcXGBHYr6KkLVh6Bv/J1tdnAscrCwpFPzJQAm5ASce6xQ6dL7PYwdxxaBW+jjfs5n6z4G
6nKmAVKiyiAqDm8Uv0+s3JEnh2x9RR6fePWgj1elBe9/BdJeRQehebeuV106hLs3rGe27e0LPX44
8TOP1Mlkh6sCCQPdyOlLhAmCj7SBRAEeNUm86zj0wLgIVNTQy7DdQwbtMUzDl64Lz32vO1Sa97n2
I+ewmusnD+XWEzM6ctfam7Pamx3Nd7enRtfnK3ccX8w0d/ZmPy67Kps/hXBRdhnNOvgZ5S+6s9cl
BwUNuCeLcsAeYSY7MHstDWC7ovKKhLzWpt8dTzthjfKhVRapqWyVxdYU9aDNw9UQA4iiuBP9EZJA
I+aog+scqw7MbaPvUE48S5LxOqNMlnfdH8KublpkkvejbtL98sb6jFIClj1ePz30kZMcAOQ82qMZ
rE76zXUxJ0JVA9ZAf8LH49jFbUt3YQi7iMqgN2w6VC82uhhBlwI86OHu1m3xTc/6P6aIe8JarCvL
6r+7HNF0d+k5gI66KxwIewmIa2twzTN8renUzkQAYiS/opIU98Sn3z7xB1efLV19iFWssTbZw5Wh
o3Dhi/RWbyC8YhX6p9kMPKWq6N7hObxr1+bGsypUnLn1XOCHO6tgehyyz6vHvdWEgJPI0YbpoNVG
f/46v//fnYDb5CeM5eqv/r/ewVb/z/s/Us3+1w/esKPv/rCJ/fTLw/CrXR5/dYjy/Lvwvf2X/9N/
/I9fr6M8L/Wv//7Pn9VQ9ttoVL/LdwV9n0PoOIr10/cs6frvf/9f/tkDcN1/eMBY4RN5lvCMV7jq
9Kvr//s/HfEPD3sJoOqur/s+CKz/1wMw3X8I1zMc37c9y3fEBj/9N5DV/AeY13f/9O9f/dM/98nv
egDb+/1vu8mEUvL+INER+8pwr3aCCnEW9M3ikDJtfiJXODa4vFWRcJyzkMF1rfhs+NaLYZ2yQz82
tJSF9JVpZSkyo4Fl86ieU+xQ/HR1/rmJ33VK3pbLj42+/f2b4zVD+GaqBhognjPf15Z/bSY8DN9s
jn99gf/J2NLVv6BR7sVj5ATDqP1RzPY+EsDS1MY23s8bHkGXQcCHc21YT7Bav3fToPgtpQd/ZGmN
tc4F0rIrMA0QmPYBukOhOHHpnWuOnQYIgp0CNiLH451O8AKnRmlVtvB6+zURfXaXEUZm4KJPt58G
+6/GHOq92uDbDf1mq/j+NA0ZN8cmucbTp9Dmw1Bqaov+mqK9Gdw12oGGVmgF/lBpiF6DrAGljBq5
2tyl+Oyi2BmhPNuBXQzfwhGBp9p8URtais9qopRS1AztYqWw9VRuCqu5VBtbis4cm5t8NXhF1Gia
UE/krda2/Yn090jovxbc3ix5mA5z2IYV31Mv/0x5nSVF80lt3lJ0skt8SA6cWdEC9D/3MIwITySE
27J+cIzrUnSuVu1AKUptBPpRres3ZisEvvaa4/dEBfjYukgRGpuxliIpZAeGLi5doV1H059KyyKk
8KRYAItNxHYAdRf6wfi9jv6VjPxvz3Ha5O+CcxxRB4vAxELwEdNl4QGHGXTjRL54ZEWEdHU6S9qE
uUDsYTStGwdDmgIxIbUlkQJznSYclra4t8YsiBHGyMR0oTa0FJh6ONBQ1CiRNprjXUWu1v3lo5z3
ojb6tlZvogfRolHUKaMbITzkob2j7K24JtK9aTjFsITAZaH3Gn+um/qHrenf1KYtRSYo/9LGZ34J
Jm8GojjWPgQ3mB1qo0vBidqSA/62QxXEdj6FiGeuSfOsNrQUlRqNvsZcZitIauNlsq0/k9A75ev8
8f42fCkucytDxzxBrTJp7Gsrt+9GTABUpm34UlwWqzNoeTItAcVRE/psepdP/p9qY0thuZiFP1Zi
spADiOKdN47ntjl8VxtbiktDoG3sQPDkPLG6fQqAGbWJSCmTQET1fex0cA3qild80Irp14SKGffz
QW3e2yd+E5aFNesrdtkMrRd3gG/vRIQhn9rYUlzqqWnVftbOCMj2BSQvZ3jGAOqUtfqxTShFptMu
EG7reg4m0/uZ29YTGiYn7sxjQ0th2UKOBeY+LIEBoRrzO/0KtXFP8WNKgQnLA2bQWM1BOKAZ1xlU
yme1j7lxG99+zCycPYg79RKYNDNALe9APart7w3A9nZoSBxr00YwckaX5iiSQjfxEEeK85YCM0VO
DjpKuwTYLX0tnfxax5tBaQ/KQDacraLc23ZJRvP34IM+oPWADrva6FJgwjwOu5CdGHiQ8yAvw/WG
jvmH2uDb7nwTmiZS9l7WsFHGQbtMSvNrRMNBbWgpMiMtGy2UQABAWDhktCjwgMvOlJJZw5MCM83s
Ehmbnkut7r8KFDp3gxAnjNyPRKYnRWberDGkHI6UqqXNW6KsviYIQqutihSZTeUKvam51kA4P/ZR
/BWtSrUFl1FCgJwxP2GdA5N09lHrkvHLZsGiNG8Z1dOgbW95sIswXCqf7dlBhCdXO6xkGA8+Gi74
72K76bGzWLDcRA1YbdbSjWmVs9NjhARfZEKLAWsCPTef1YaWwjI2HU/gqDEjHUiPfq6LZ6SlFMfe
duabqIwyG6eFhBXBknAN8h7pqbwqztQmLsUluSC4Vx+WL2YKfyE9qO9yYImKg0txOfUQnyIzYQ8a
I3CMqPzelMuD2sSluIyNJp4awYpjU3FrZnpgd4lSBm64UlT6gzDRMkvZgqv2C0G/n8iuqQWOjEuA
edS5sdUtQQqqB96hgT63dqqTt22Ivz+8DbnZD8e77m3eD8jYLo+ZTw0FKfETnZRjY0sXZpuDPUJB
EtNG6E5ns+2AsSsQIFT6mI4UmS5U1hRbTgQysQzCwWjIDwtmD2rXgyMFp5ulmlnjjoVOxyy+5Xrv
fw/DabpUm7sUnqkz64WHDmqAovHLGkWf4caqjSzFZm/qA4qXNnVlDc/JKUF90sQaQ21wKTY7VGUF
XZk1MGrrAb2eQ9GWJ15U21f7aB9KoakZ6Qj7BHVEMWB4NWJ11k8/cHg54OdyUJu9FKIgpOkqbqJb
cxOf6XZ0JiAzKg0ttzMddN8GPOCWIDI2S8l6eJmoqaiNLeW00WxELtQiXCSGWgusDDe/0dZ+qQ0u
hWgm2sXJqnYF1dB/hvj+R1Ofq40shWfoovM5Gibn+JT/mffuL16zqdo+tKXgjBFHQThtRQ2jqL6t
6XqBM6VSecmwpchc1nQW/orNy5D2n7q0/IIxn+ImkUIzF0gZlisHVhfRJZ79zj4s0DDUllsKTXM1
EaJEUSVYk+UJn8knaNKB2tBSaOJc6WHwrNGqhupplc5TZ9Vql70th2RROx5HihE0vUaKFTpTYKjO
25LemSPibKE9EpRNY1zBf372F8Uc/BVC+Ca9itcesrpN995ecd1txysEL9V2iSVFJGhUD1MkAGBr
4T6lkfN9rVzFY8qSYtJJKLW5iTNjXIJApOVgzJ3E1ovSNrGkoAQwYCEQWhuBXc/4yosHNFmUaveG
JQdlgu6esNiBhVk/aw3S5NEw2ooLLoVlWkWNVc/GEixVggqwgd9w/6i2JFJQOr2XVKJgaKzxviJ5
/gQo/hRMfPvdP7gwLSkqkxiAsmETOojNQXyjBOl6g1oSYUlhOYoOcN4CSR7T2Z8Q3BF3yRu1W9iU
otL38SCZM0rV/oIcaVSMO5wan5XWe5PaevvqyYVulUZY4Tg3ICobjhe1GZ84qbbw+2C5TSksHS9D
Y8JZyU9SbMaTMdyXrQ4LGzA4oW9bnmIYvRLg3hwtRrvkWldR6nTN/JtlR7drtZ7IsY5sGVOK0LA3
MrGubEfBy9uZrZfV8b6qrfz2I9/MGpz3vGBGTAIU94/ZDMe48hWHluIzcga08z3KhZEY7iPHP8Cd
URxais/USpauS5g1d/OuwRN6XyX1pHaubOpub5ekRXsT37N0DZK0ng+orMyXZaUtit9SClH4NKOX
uy1HInZG3yYMLRB0yBtbLUoNKUrnxbN1F1eKoHT0n1Gfwk0Yne9Ke2XjEr9dGKuwp7rfkmUcLR+G
Gfzt1PpqJ5cMB5otHzVFn54mpc54Vy1I0parqfZFDen67AAdwoelg+eOcPEB9UemqXbDvXJB38SP
CSXHQVSSBl4e3iwj4hVtl6mdiq84xzdjT7mDpocfk9LmT6XXfEfP/5val5RCkxu/C10TOWGUTL3z
YijT69Dp1xNrsh1LHxy5r1zGN/NGxLYUJkyHABGQrjpEcT7fI7HWP3axj3Gg0q8gN+/Tjas92vwK
ttdc14v3Ra//JYf5v2zeA497v8/j2mw5ymNWZ9G/a612h8e0WmVFbt2jXo+To0PxehLLBbrWeKOM
n5QWxJCOraWGNd17NHvDZlPAFdXPYUnUzttX4OqbL4rKcAEZg2kboj/HPPnMMBXLhjJGqoxtoaOn
QarV5PaVZUAe6hDoU3uD69KnhLTv5AieULuusqfY0F7WxftTab3/BpFys1lHZ4luWDnYl5Y54oSJ
B8a52ujSkYUVnhXVOUV3/A1/ITgI0WjFpldtcCmfQLCx00Kfhxve4HihrOVLBJpXbWzrffB0qYeT
2LJtw8R/mPL2PJyRM1MbWzq2Zi0qMcTksPU1lKP12PmJdm+idknoUk5hpEbuejYTL+Il3kdzelZ0
ivhIQ4ZJ9cNQIfVJRT9MTdiH4IyarrAUl0VKKWLN78cYgzFAydO474qC8EfRTmnNhbQRJ5E2S4Hz
HqFf7/FYvxHmooRjMoS0DdHPNsDhk2iteP/skc1N8Q6I1YrvQtqHfWZO+CeSULRhdg+v5K61Q7UU
TkjbMMpjOy/RdQ4aJ/2h2+UOX8MHtdWWNiFYOi/xG2Zdx+E53ssXuaddqg0t3Q96Vi5V5U4zdmbg
oZfhGoSD4oJIG9BxxtnFd4oNiG1e2GV3Q+qfeL5tn+vvuQQg9ffHSRV2yeAtqAe7GlbaFEKuR/y6
VVZEl8FAGs70pp7YC3XlcV/M4VMHV0VtaOnVGRadbgmdFAKFfu/CDdf40hvUHii6L4VktWhuX/s+
JxWuT7gZXDRaFKjNWwpJVMFmv405pyZrRkDBLN2zZLPUUxtdikn8vVLdAucaDIsW7zos1LD+rpQC
Hs3u9zuF54PW4A5Dkt/ot6Itr8OqVVwVKSrnmHZv0+Ly4ZlQlxHQvfR7S+kQ/Juct5eihN83bMJ6
su/6pLv2QTT8frk/JtSB8JXiEi3y2EF/Zw5sJ0PD2YfEUu1KPfGvhGV1T+kMxHuHUeD6JbaM6RoS
D3rXNjbyxtk4Y4J9PiNmd4vIc3dvCgf90bYX4SVv7vhhmYRWqS2BJwULctndjHYVy+uaXywjvLbr
8uL3S3Dk+JDxOUY4Oi3wtjFI9fyz0faXYdar8Sl0WTFqieuyzs1iDFb/R904D/2q9vCDtvN+K086
Pd1eq+pgKfQgWaaD4aWKCyJFSY5+1JDpr24y2U3dmBR9nc9qay1FiTaiyxzOFHsnDUcFo8HlARcc
tQNVRubEbs9+69Y6CN2u2VuhR9UkmdRoN/qrMfyb9w2s+Qj2MqvSiKLY3K8PwsuMExnUdix/cIXJ
4BwjD4UeFnzNGdz2o1+NX7wewU34/0Xe+koPHV0G6XRu2FTAFevNcAMjmCns/Ttqhujkq31c6R72
3Smr15geLNbdNzm+dJGvnxh6u1s+WB8Z+weyo256wQloAnf5Ei2mh2B642E+gPJ1feKHHDkIZKQR
fmpJ2RlNDXWjxwQRq5BNGkgNYajL0kCVn3YWfu510IUZFsFuf44Lw7PSyrvbsr3ZmwuEa93A8J4G
u3aOo9xZmTZ/qA0tnTMrwqvIusOPX318QIfuSmtqpUKHLmvh4PycQNj3OXjzzsYest2IoTNQWrWZ
S2dN2NpaxcQtwIV4VU0Ur/eFZpySGji2WaRUuUkipy8ckNzmMn0xoOLGra7WAtdlvNGarWhXUUoN
kO6+0bHLQcPbUvueMuBoiWrbK70MflI2ICoXJ90+n23FwaVSiiWyZunbElkAJK93fYJ5ol0pvU10
WQwkcq15RPTKDrA7+tmN5SVms2oXh4w2atAiQnwB6nmkaR0yNd20m7pFjT6o/w1tVKA3jKq2HSRG
FmhLeoUb5Ylr48gm/Jt2RIKrYTogwwBt80vsODferEaP1V+1ld4cKXrnurMVwjKN/QERlcj/FSKh
oHbSyioOKRw2tGaYtxiiS+y0b0dTMS5lCYY21LvMzCBrdmb6Y50rc7fii6s4bylZtvKmH4qxZvB1
9S5EYjxN1nJKm+fIx5RxRtlqzCAxUgav68+43H1Zy1Eto5NVD8bGSOupBjiGI9tzg19r5Ks1N3RZ
lyBJnFFgIOfgVF8k6CtaZ5adq1WtdFlOwFpdxyg6GFswh9e92WUvRuW0B6X7QQYaYbWWRU7ovlro
3XmlOFs1obZPZKDRxOVg2w1ibtpcdejHIJRsYy6vdspuqrxvb3s+phgtVO/xNByxHs6/1K3zorYm
0p0ZY4pn2I7B0BhD4bnT4jbvqt3HtnRjeqjpz4uVO0FS1ddiaa7zxlVcbykup8VL0y6doK3jkRKM
bfbQ54Z+4ol8JC5lqFGUzfkwVqxJtmrXiTt2u9oSas/av2GNhA38fGDiwluzg6CovOAisVf6mDLa
yE0wVFmRzA+Wedg7CCXbRfVJbWipvNQPNh7JWOoE2lRhKqrhRasGWkZA+v3ujrUsdHD8gANKdJ5v
B0qElrnaRpHBRjgA5h2mrpDKp/ZzOIhzoy2UyrIYkr+ft4Nc12KZk41jEjDRXtvPI7pTassthSWO
U0Y2jayJh3X3Q5GKz2Nc1F/VBpfiMpw6L8a2wQ5a5JHQ5ckFVqindGuOBY8UmZ6uleOcQbXHDOoW
5+XnSVF/QJfBRgLSXVUUoxMUGNXrcfyCuuqV0pLIWCMtgUMOsnoTCKhRCsXR1odkitei2vBSMSuK
4gGfWD7nYvVn9izyQIt0NVKiLmOMZk13O0xBNpD4Z6MvUUXX8ClSm7gUmzqg+aTPKRgsofV9zigp
j4WvhpvXzW0Lvck4ba8XmO6xVQZtWp+TxHbOhYhqtdv+VZD1zejcabOwNXQZEKa6MylZzuGj2qJI
wYld7+ATRFz27XCFsfxF2NdqeZsMM+rwYSSNHZzAyo3b0YgCoGiK6yEFpqCzlnhb7ce1nOrCMLvk
DL1NtXeJjDCqZqM3uhUj1NzAs2tIn7MlV1sSGWBURGWiuzjD4BCh3ZubIW2aRZ3ajSkjjPSN7BiW
pChugm6d30WXmFC6aisuI4zGyp01o2bFSweV+aKakx9Lovlq2ZUMMoqrlmPcQuqlrmOyTbMrPtFv
CxU/qBSbdaXPcSRYdT1d7LOQcuX9kFX2D6UIetV1fhOb4TBa00CrHqEA09h3XlbvMKxSqxvISKNw
meMZd18H9dXwJ+quw66YVsX9Il2dtUFrKol4suELgXMC5qlQCe1Tr7btVP2g6CkjamZLc2mjcCAW
uJvfrkkaQfAtTHPczc5Yq2VyMramqa2G3wGWaRbGdzg67nrRqXXbZGCNg2kHl8V2CrQ2DlRtNO4n
ZzmlDrttvQ9WR8bWGEZF7bpmS+Yx6WEWNviyzqt1prQlX9U632zJumTwnlpOgI3sVdI7z3PpflMb
WrpEsyJyF/zbOcFGx7qLnaL+jIN5/KQ2uhSpKdQqP8/YkqZnfxvL9bwuO7V6raw+lGo5SUuJOBjy
2tU+TwyyxbpSLHrK2Bp3rt2Ife4EEGbnPc6pWLg4q+KaS4HaVvmIWy2fcwgH+1AbM5hXb43VTsdX
B4I3m0VrS8NF8ZeyZ2rfkMdcOLYaVEqXIYz5lGjTq7Yprk7wkxHipZuvK3Y8ZBTjNEdt59fUVB3H
QlIYqX/4haFasijjGK18DbMyIhH1Iwv/LkP/nleKfUQZcZTiZrw6M2/ycMGQD0W2cDlFVjxyrsiI
o1izh39tFb84m0fzLzGOapmijDfKZz/SQoNZZ05YnLlx8rP0kGxWCnwZcdREZj3aucnTtl8v/QQn
H92q/vr92EduImFIqbm2FAUYZpST5jj+XK9leMPtlJxV46imSYLj8fsfgUNf5Hgla9NZEOZxg+yv
/LZv1bJGIWW7nj87SVkKVn4I7zLE3mbHU8ovcB19P/G4yQxTWxnaEy5UN+9HWoxKOEkhg490F+hb
4rImdiduRwp9blhnSqmL2Py73r62BBam5eDSldC6Jbua5tU7Q5JXTfNEyPCjGPUNXGlYlByN4Xlz
O8QiWE3UR8haRGVkFzZsHRoq+ZJfVgbwTt4yndJWeRU1fbswfhpahbEdLX5ifo+yqYW1iH3k7wPp
48NFyACkCdPPKukZPPb6Q9Kb1152Ck72cYwKX4rROhmiCEFWK4jw0HF3+P92P+dSQ1nX7Htd7VAX
vhSmeJM0odHxU6YoTW/aUhv3eGapicIIGYxUVSlS/pjRBrO5LPthdKZDZNgnMt0jCyRLE+FWmImi
5YCcsCV+XOKfbuoc8s6xTox/5NvKGIXcrSnLh9vko+HJqZtLoatxMYSMfrKsUCuicast1mjWV41x
mXp+p3RxIPT7/iTAVjRcej2yg74ucW1dL2LTe1Da7jL8CRwzfvYO807K1ASw0WPD2XhKtXMhI6Ca
Cnjjgq96EFq5CIpSXJXaqgYKE7JPW6o3fT9h6B0MVXXb6+W9k/tq7E7klt8vuDCsUassDRE4P7lz
rOjCVZOXQ+Lg/chr3q2iF9uh7lmPg13ceqWbKW4T6Qo19MjrLIsy8RzXLs7bzZd5wZZKaaPI+KdZ
a1vY+SzJOC1PVikO1NRO5C5HwlJGPdmWVjeLxry7ed3MGZ+0KlPb3jJgSNfxHrQnDkO3NDY47Hqm
oR2odkHLeCETf3Z80R0r8Dx0phyhBUPdrYrrLb1B9biZvbBko7Rh/DAWw30d6y9qn3L7Dm8eQzyc
rcpuCUuwCI+LEF2QQoI5/H7wI2e4DBnKsgI0AngVasTGl9CId3Dfzot2VbueZeMqANnx2Laogjpx
v6CyUPaPtTllapmiK0Vn3zRjHfZ80R4bisMY+eC1YqNQqrYIGTSkOaLMxLY0RdY82qZ56Qi1fgVW
se8/qVZ2U4MVK9lzVoe7NLY/RaN/yr7wSHzKIkV+RP6MzbYdYBRzlZb5Z9xWlBrlQoYMaTOQ5czn
cw4FfnbJOtX7GTvP32/FY/OWrs0Sm85Wb0nl6kk7NH11jSmM2qeUEUOOVvGYc8lUzGotd2aHF2pq
L7/U5i3FZ45VD3kp8zb87DZqvpaWqVR6EjJkKHPEuKbbE85L+oNb2Ssox6lUO7FkyBA3tObqlCmC
Wtdui/LzbNXPagsihSVnLDvHNRnZd36krfsLf+wfakNLd+ao59bUokEaQL/y8fTpx2BUVCUTMl4o
98zBjCprS8XdR5pQZ13Sqmn1CxkwNIyjE1edwUGIJS3QnszYge1VC0sZMhT74zg7A6sS2WJvlf19
OThqB7gMGOqNpI2MRbewYcGPKuvbh27ulbq2QsYLiThuTc9kvfHmxCmrNneLWZ0y4TxymsiIIcsb
MlxAtpsna9qHNDPzZ2/pQ9XhTekEHzO9D2vWJS3wfsyM28JXq8ML23g/dDtGQ6EDfeA8WSp9p+Fj
cO1NoAbVAl+GDXU+Vk25JawAy+E7q4sPfuypnbOyQpHeWmvmmS0duUGrdtUa/4zN5bNS6MuoodX2
aaearDjGXXejcMS1p1eO2laUYUNjQ6FYzEx8cNw7LICeUBwP1OYt1YXszfCvHcA1I0qoZfuiBECd
unN6inB0ZKPLMkW2s0S2E4L8crvxMw7EMQ3oQnGvyNih1QE5XcSAEefQCxozugsnNaU2uE/SNp8j
rbQaWsN1MxpXzhCKvW4Vp4yDj+S1Mnio1zDKnurWCmwjtnAlr81fkZFUyc7v41jxy0qBGg8tEk4Y
gcBznzCmd6fdqLmV2mtFViwS8bLy1AQEIfLGuq00ZIjhy6gxPIWsWVR5C7oiA8tD9ex6ycwfflOU
ajOXYUSd7qRJ0tEAbezW24vMu2zTajwoRZMMJBK0Pws/J7ldOucwxmG6tzLnlNvWkVCSZYtsPDS8
WGwEh0xP6l3aJdCphmhSOx1lIFHRdWPRGA0nwZCciah4Wlc1JpKQxYrqUdcm5HPoJIZetouSotqF
i5qkqpBxRFmRR/hZ0kjU/KXfezk+up2XqH5R6SZ1ZjGPk4v7heNGe7/174Wj1i/HPuv9EaM3VIez
TCd/bvqDMflfYydXrJnLSKKimbIsmoCHFKnf7NY8zYI80tQaoMKU8twlchp/9lyOFmuKd6ZIrrV+
UFOiEDKYqMwzd4l04QSYvpZ3VhkNQetErVr4y3gizO0H0551Rjf6didw4a6a9lEp+mU40VrO+Hr2
IBTHYsENce29XTInrVoSIOOJGjs2U7PYcvT2p5H6X3NPzXFEyFiiZsY3omk2VPISfs+duKN2Fndn
aosiXaQ8PotmrXKKZtEKUNZNlvZGc2b/RW14KT79Wiuylv4Q9EbALKK3L5ABqtVyURlLVDu4upVh
s7UQzHNESoPhJAP0yGEuS/OEtVfioLq9Qgc7vF2L/odnhpnas0hGEvVkF5k+kIyaQ6MFohr+6qp+
VUI/0NR4f2w1Yxf1YZtRZRn8JEidJgW94atJrggZRJRhH9n6HqOXRXfI0v/L2ZXtWIpryy9CAozB
fgX2nGNlVlZWvVg1JdgYMxgD5utv5H06d59zbktbLXVJrS5y58ZeQ6xYEYnPl+7G9ezw3zhEU915
/APsaYumXEXkO6nnm9gy4TWDqOtcw+HpjBc6hZdmiH+yqrnxG/+sIv8FYo1gBMTpJ5AYCfH0+eiU
LrfdzujqdvKKm3AaEMmnlZesV/dV0t8Gf17ThzQxaUAXht5czFOxohbiOhxuC+PX7KHOtm7YhgnH
pFFPwgz3yz81cv+lNL+W5amqT+tstaE0lyTcwZSO/nI2AJyDvTL+elPQuiYQ+U6EQYAeawfKw0lY
0uQSQOhNz75mEAXh0vZNW+ON1s30rBu4EoMOZcr//+kMR+7fWXjhNYPItAMlwqA712JVd6YfxSsd
ZxAssWgR6JzrOLvTWRJ9rH1KbkSnrplFUytmNcwVemvb3m2fIIyA9tg/xPjPsPWffqP0/16uMSVw
ZpNIq1geDl/bkbZQvQXJo8njOclcOSwrDXIzbrYrhMgSKBySwN52EK7JR51vuZUsIDtm4e1tlM1y
Zn33Dy8r+S+/2ud//5e4EUrsFM8tXlYfp9+6cWqKKBK3yT2H1/wj4kad8EqQ3WqXBu7fSVxq7rLb
7vc1AwmT9UB6j1NMVfiY9Ft8TP2Q3BaZrrlHUGReBZ/w0Qc/nuYehE8R3ZZ5r4lH62oSE0Tqc+YD
iAnndXkGYVj/g6LDf7x9MEG7Sr0pjHl5ryzbrdhsMDvJIvY1bDrMfOdPY+IcOTMc9pnRHpMP17Lx
ltyGn/v5ef71INluhUUkQBzuEgqHkCTgdyIyNrzloOL5VyBUiIkk3DtwDVI197npoyUPouaWgIiH
X13wjcM/PhM625G+jV/nxKlHOY9K3XJS8fir5ExkWDWBxGHK0rqwFdty20c3Dcvw8KsbHPdTvFQV
vhi9LKr0NTn3VX0TnoCHX5XOaRpwzTweHnE17MOg/Tlt/ibiEB5+1dyiyQrGOcDDt5qJgzZvlnTm
lnoIz76e4IBX0tce+UBw+9w1bfsYNWF0CwkPD7/qbe1ndJeVhntpCBP7JWU/Phdx/v/s+R9rCzgN
Xt3ftYu8bkBw29F6cL/gPqTCHJX5QMqp1/7l//8h/zHq44dcXVbb9HUTBvh2mmB9QwU95ZGJbulw
8ezri2qxR+RnhOUwHQEWSzCTjaY3nvZrZlIatrxbLYJnSkmVd9B23I9xq/7hy/9v38vVRV1JK9MJ
vlUoXZZfsWjuoIz+D/EL6+//JTRfs5MqzrawmgFFYzWEibvKpnbKJVNxkLvJVVkuxzb9IivX1EWU
drQ7mo6sXX+I58nNW977DeqhIKwoH+G/rSDbqySqT9Jl/sNLk/EcpNamrCruTnM3xX5f06CZyt4b
kEQ9/MZdQTrHnlF0BwbSJ05muUj79q3bVMp2fJFrW6ptFk0ROyN+0dn3ppRNs3xdw76p7sEKy1wu
2FAPhfez+7IlsJ36obXTfwcTNCF+CpNlCvtGeLethxao0nhetiE6yqXV7mAy2XSFabOAHeYtGEqw
fKIjZJS26q5f0rQrabhUpmgCU1dPjW/GpSRdyHw5yqz5trQJvpV+6rs9a0P6dXLhkPtFdV2b26XD
2B3dIQTaW9fIsdww/FuK8NOUjY1jvxZznAzdA59URou4rifs+g51mvt6nJJjOmfILAyV/WHUdT9C
s2hSe9jaSrVbtQkMVDjd1uSrI4Lk8TK036DjIaZjCEN6dV7ifvN5O0a2GJKw2juYPu+6TGpzJ2k4
5dPE130mVA9Bm87HVc63ML4f7SiqrzAAHJ42U2dlwmnsDnIQgQJuS6NP+vBAC4xbOLDFZZj3AY36
Bx4mKnxQS6z3fg3DADeBB/FJLHF8arD9kmJA07OqHNcOskix6nz0TVFuXtIQiHzJErQrr2mUzGwX
0tDrAm45dMxyN/JV/tBTrS+EZwndAzRlL9n/Du1X2a/TrtcoQPGtRxKsj9rsjVSa5oRE6cuCGy+f
AwIHmDsK3btfia6a8Rc2Z8lSZKqag71LXNXfA+RB+nPJRuV+HeHfdrAJC36mtZqry+hCY0+D6uM/
bBHdfkxDF+ZdWvnoFGRts+9lUL0L0SWf59r8NdjHy2XD1N9AQa4pLpYkWJ6ph9NxgRPWFP0gTPt9
nkd911bwy/U5vNXZ8rrVautM7lEoHTvaJv5FKj/N7xVpcJRyCK/aPwL94/KaxbNuPsDtSp8ifIvf
son6fr9ttEOA4L3OXUNFvU/isOg1XcAMTIUhB+gl9M+TWvVJe+klhvFN2WeW/F0hpYLVJBcIVDIT
DEJJpKWa880kKjv51YzJoVOcfBkJlAlPzFbN14jOXbElJrLnJlqsBTqekOOg6wX7PMMKwmauhlF/
rcBpI/ezcrR7rBRlKin6JTb7NloE2QOPoeOrroelKoD9YsoG8f6UvTXxiLkP0HESQHpJ8ibNk7UL
yE8Ven7Atoas9tPYquApRnQIjzCtrdIvrGU8uk8oD7J8aRdj/+BSZWuY6xnuaC+ptvIwDYZ0P7pw
Iq+s6mbz1qkoiHIqUpv2BdSE5xcdeis/xnCgruy7ipW851FTBu12kNS6Ah6f9n7NBpM3QRCPRURp
8htqz1GR2Cb5VWUNBHclnbPDKoN5VxuFliyWat+vnTtG81jdU83Xezq7FxzGNFcGLU/eYvW/4IDU
1D4amMNUlj5hqyEuRVjbMq6aOR+T+qTG8Nk1Q50PdXzeujocv1aR+021/AiIuzNjsxRYyH3gqgoO
UeJYTraqJXknpd6zhKm8drLNtyp2RTW0VR4wVV+CDMoxECRODpCmQb8o/GvdoqEk8fDHRanNJ7o9
QRvPHzvZfW8q/n1tsTJDJQ3OFNJevKSrJjtRb8EDSHsrYOrmz9zNMfiGGidSMk2LMWbvnqRf16FP
97zPmg/cXnLXkAgUcD/2yVM0tNEpRQ2JKYBZo3fdRrJcRTLYvE0xutcYy/Y7nsDDGptGCI/OQNYz
HvmXYRJxaeshed+2QeVJMnY7GFGfBfYRcsTFAAJBuLcNm/GWEyqgINlCaEZ3SV4TLXfDyP5Sj9XL
jaSmWJz5kKOkNE8zPhbdtm2HsK/TfZoa6vOtI0eYWbSlDeTj3KGxPE0q2S/xkG6lc2t6t2bh/bDw
zJc2Xp/HoX9B1IefTo0OqxK/F4bFmtGHezQRrgSVf/kJ2Ik/YAAfQ/Y4gcxl2q9LOWizHmM6/Cb9
ovKtrV+z2tpTLCskaUEdZmoz7S5Yo0lOm5LhfZMlotiW+lfle949V51ZxlwtI1fIR36ftg3I9hjh
HAeWLXc+oEnebtBgXdjIf0Yy5T8DTsV04MN2x8eNlCNr7K5L2+ki5+1n5LLzskxvG4RuXidrOvgy
DLKALXKDcVDbXZBz43uCuXwhGr3ndcXyECg3lh83/zy1k8s/q4McapZ90capxWsATbKytMoFX5Dn
NYc7XcHSrsnhZzhftjROL9kMESZQcOi5Z5s9c5ji7SVVaB9xWtfLvG5iR6N2OydLqw42nX9lNb8P
eMyQ51rorTjkjbPeGM3HJQ52mm/sHQmQFeMS1DsZcf/DDvV0Ly2quDhO1r0ndVRAbaLYnJh3ck4P
abrd0az9M7h6PQ1b8oTg1ZUZmwwCeDucJKBUqJDbFxPHuMlZgOxX0ExhoacejipeT1pkP/rW+lfV
dglsuGpx6ccKdNzeWwdtn7Wa8yRcSYBUFqHHwZRwp6x5XDZh/hjmq0c6yns9QSuFYsgEcs+6PLQY
sBxaO6p9Fi9PLLTBqSPtmKO0uKxN/KOvqkfs5VbFZOyXmAX2iWQLVukG+wttPt2DSvFCaPOR4WJf
ehoMbzXgnJ8m6tQjqfVDFyfhyepx+7FtWuYz65I7w4LmaFw3q10AVe2dErDajpAZ83qb68PcTrLJ
uyha9jIMj3G4qsJX8SmeaJf33Ovc6N6csElJdlM4n1wcQgezklU+cPbHTOkpqFVfgNcRl8qLvsDj
XjzsReBKQeOzcKLOIQHNyi5r511v1k9SAr78xvlq51WzHRqfveNg9vtAjSbvXRKW6wQntRiuBdit
JG8UTVOfL7zFOYNuI7mHI3ST+yB94nL+E1Rk/WmDsEVsWO6NQokI2XNY6SKdIk5Lf9/DbCLPBON1
MdmuH8qoI97eg5R/MmwZ/7Ym3b5kgSbHvoqn/UaMfdHKTHuydHZvIjpccH2TPAsw+ekxJEc2Zh3e
nD5HLVdnuEinxSC6pqwh81HYoP4bGnbquAxRHs6m0NOgdjXh1Qu0bb7HKfnRpfUbMctUcIutEYUR
8HMNnQ2WA1UlT6nlWp9hpkZB86mUpXuSrOylGaLGXRLbY8mv7vqlQUreZHDXaeXsEeZR68VoVM85
61EkFHNFcMhioqBe2m3NU73SeCk109P0kiGvQxTeSo4UuS7rU5ZOfn3gW6rDYk19hxXorrF3Ol1S
8zEuGqrMFXXZmvOGjXEedEauzwOvMeCsyNbi3wlkCDDXb1i0ixYqmtK3BhbSzcrl9qWj9UJK6IFj
XTZ04/YloUkWICDhTX53fIIwfQhwhpTS1Mu9qKdP2gqbVr1bfEx8wST03XBm0gYFrtYwqc4pmXVO
IN9wiUhN9nOrxjfuZ2jt+ZGNx6EBT/88eu/HpwW0IxxDAup++tx3Xrl7dDKC3tuJ+6+e95HcBxvU
FA6KBchnRTMQ+BvCbCr9qLLUojziIRHY8ZUNP2sHxc2Tgcx20+SqGkhfugnSdvfTLLmEvVsUqktr
/HBfMymhVbG0FTgVsNza+aGOlmfzaXf4SKjqSOGaPvqRZJCTBEbf4uZj0k3Tr6zPhs86umIZLaFt
GwqZyzgTJ4j0LoUduyxvBjEWfRjjJdG1K+LKsB3roQBerBYoVc62T26eF90LT9NjP8q16Cr6hbcj
sqhY/E+hm37JJTZInzmuX96u4fheb+F72LTqGMSreBB2xOyACXIvEQlg7yXsYfY0QxkFwh/Hpys6
sYh3K6r1MqpYnJFeq2LO0L2jfTlHvQ5PWS3YpaWrC0vJbRacR92Z1xBlofqUsR9/4OrQtzBUCNli
nWSOmetUBCgphiqf56US5ZAEQb0f65k0xaBji7oI+nO7eqxxFVb0D2GRxkxfUEBrNHOe6PdgCMkd
dmM8/lqkIbhOpuYjzRYwuQzURH7HZu2yN2GsE+XKm2C4m9dIHqN0anY1UrmBdrVDnAJvOjq3QVK9
xX2sv1FEEPQtc/AdwvbLHkffXnRi4X8QbpE6rVzbUrm5PdZ1NTwGzCVD3sRc7byJuyNoKtuUQ+1m
rI+s4RlUGHTD8YEx1CvJigQMJl5acu9A1RwlMksO52f2q269ua+2cEsPcyWyByP63uYWNdNR92EY
Ifqw7OvmZGifNuid93lF6xWhW/Lkyxqt5p4Ad6KFpU4cmU/Wgwz69ux9n4liMbBXK/HKUBvARx0m
ZXVV9sn6nCp9ibGG1pWb+NTGrYb1b6NgLNrO0F7oGYFuFDLKFxjGL30psEfeFxWa9GOrDIrYtlnP
ZmWvKU26sZSWNycztEhDcVhXf0wMiYtkSFwhV7uhfxnHGqGhoo+q0/2ZZMoWPghtbuqmn/cW0+xn
LwKmi2lMoHxNBXMQkE3mb0nv+oMPtzqveoCXxtJtn9ZBevSZR0HeGF1W4QBOw+fEN07Hu20Z7oQb
XoIIxecUZz8ivAaDMtS4E3yw0yMIOT6Xs9ZwEiH9WFCYlsjSiOyNMfdbkhW+rRGKpzKrqw463/Gj
Mi7atRI9UaYNFM85raJzs3ZKHrY5MsfepeSccixq5bPrwlcdQzT129KZqTRT2/2Ytl5NeSL037i2
P7EVjIa9sbaUqAZy6JM/wUHOetxsPR9iF/ivs8MfmHp+liGVZr82S6K831qzo6toEdmnWZxj69WD
aYBv1OjHD8m40WfLEDZ5PEH7gy/tfYPCt4CPafKwVmuOSR6marwFtrSiNTo7hTk/QBBdIaslGb4O
jBzQiCsoMQcrloiep9C1FFm+prj2a2/d/bSNYi5SW8Hvrh/wHvakHyAFUGEdO3Y5h5vucopCkw3I
i60CJhJvKzpzlk7DA5lr54ppakl1RM6C/vsqeZ2dpwytcT4M/ew+fKwpz5NNw3l11lYvpRUL0+Uw
VGiiZUQj/K8Rgtk3VovAlkPEhENfqNcoFwm3rxhp9LLY4A1wN0IBdj4SKuY/i2PQEusSEcpiacbB
XdJsQJUfkE0cAqr9dtCdpf6VjyMqiy6Ol7Aw1eTbpwGB6b2nfYxexged201cBEPBIBfegsMUd7K0
aC2yAwmgGLMngifRCV69mpeEhVX1pcKeavjQcrpluW9ddWxNFMT4Btp4emBxKNqyXhbBARHw6JvL
grVBfyXTxhwDBxdkXPRuSQtOZUseNOhkddFIix3JebXN4xxPKFzqBII7ebqBV32kvG70ZahZ9Io5
6owojl/+kMURe1SrD6dSpb20X7ZoXL7gc4e/CBMQsEW/Y+Qp3GBUlUNQnM2/t9mzeGdWpLV8bafF
lyqTNnuDEEQ6Hj9vYZMVYxbx6pdrpwzFlUR0z6vV8FfKulVBgL9Ow10A03KJ+z6FZl8ZKKGXbpyc
v0AP0I1FUpl4KLWD6miRTiy8k5VZ51MbWm0uLTQJv6GJZmGOAjLyOZSRsg2fo19/ckR5DD4ruSzm
aGfk3aPVk+l2yGtoY/FZZ76bM0VrMNlRTO0cGQL9iPTcrC+dwz7oZfN1IPN49U17WlfK43LM4KhX
ijXaWBlNcCAttigdEoCUMXPFOOMGX/g0+ekYbSmEqBcFd/o3vHNCLwno7OPf3qAyOtA02YafiEga
eGcaVeuTp7WPnskcuHoHSTfBSqPCdp8mWfTexdH0UBNUc2UcDUhMS9hOWFYjEIAodTKIreSmc+7Y
21URoHTKBCdeowd/JrwluMWMyvEra7e+v2+gzMnzaDYrQKh6Gvchnoyssi1AIVv02F9VTFt3pwzN
+HugEcHf57gN08donRZ29BEjrzOhpMc50/1jN49UHkeYr9ESI8oIWRp+LGa3Om7iAptqIf9LCLqX
LpfRtoCj7V1wF2SpmM5Jj2q62PSge9yYvtvyATgZ1i0y8KPRwQrO8f2HNAgeZShE8ATTPlR5SgS4
QfnQK9AasfqK97QnPvRLwRIIVeZI5IAQVJ2Mr8mkUxw6aHys3fe+c2r5zSEYLH5PjYi2P3zGybUf
6CShAfRppatH4NacpaJwOg5d7rNuJTs7fDp4SsmXi2vQwpV6rUBLbsYKnXAlJ/kzadP0HZmS13tI
tk6MFibLcAMw0V+A6badjX1JAvwpYNLSuGW9iGQZOv8UwYC49gVHfTP3JWJBbfBSHYN8lQLE1pWx
sqEqp9oDwpLOBnwHSXbblEQ23hbwqYnDHKzJqkdUWKHoNAOBf5sbCIRgXog18jYr9dwTZKa5BioT
5cgCPnmPYkWyUkE+OSiSWkt0n1iiqf4OZAV2v3CcpX3thoydGGoNuOFQvo78O6/H2H5xNcYGX0yX
9RqFRWqqw9hXDkbvmiD4ZYijn40+WkUOvHEi2z1eayovG8yjXmKTSnWIZjKjSELqissZEUadu25Y
XuBPDUPt3rg6ee5lM6PpwAAh/OsoSaIdEGHaHkFAnbdirBMzv1hvwzmnW9vqs7eLmA+1jQgYCVv8
ARbmEoLjVa0/Q2x8vTBXOezuBb0dP0EmYkqNIqK/oJiTf43xwva5jaEDWai5a3AKIzjQNvtFh5nC
b8nyubL9Q9uz7ohL6N7rUAugdrNjxzjd2IcKs1lhvVZjSuAx17Y70shM3094K71C0e4wUMw9cr7O
N7UgacMLBdhhXKH3HoMN0Uj+xP9KC75V/MlvyZqnlHa+TATacMBL8VPKp9gA9xXYGZowJKOoAAwd
wb/XLoZwvEUahFUxJ/t4QEW142iim99rVBm3gyq0TeBHW0cctw2dFNYOcFZRIFQDUjHV9DHmsCN9
or1nHeYwRJliC7ZWl3KbbH3ZVuCqiHi6Jjl2XSDxIStWTSeCzuTeO4eiHk59C7uziR/RVQQdkShV
kz79RrVlf8gahNP3MLJ2fawzLFLvMZGDJHjcUYFfYTUUxo3gFtdFOifsuRtaJfJxTjq9m1kAjKht
I9QklkIJFJrw7aAaDFEW1JuDY11KCugPRW9RiDEVahhPX5oo0zqHFRewCb2mHTshD031KQHh9TQC
wtnZOrCoGwH/rLlXYDhgAkRQFWm9PKfoCprDEGLUVi4eMREKXvOKVjDtw6RE5wKCsmurQVzGyGy6
nAPENCQpH+UNYsyXpR54lod8YQYVs5XvKSQvT1Mnxrio4pZ9FY5hGWboef2KLqM7cBqxeReFjfyJ
7d7thWXGAHDxIfRlfX9AG5xwXGLCn9JZyB9Z6HRUBktjTvhB/ol8ovAIx81zU6kpRom1Lm3hBLMH
Wq1TeDJYPIkKDglYmvcNhQ2VmuFBt2/sOqTIbVMyHgVkkH5wk1X3grCRXKoBivN30Bpy3zGIybof
fdOjSooxc08+oMBQ1S9tYmsM46Fj+wm6MJYWUmAy99DwSd9ZT8OdcgG6BukjYFDjqBr2BSh2iOFO
ECNoCyQ940owpagoR4d+bMBpDKJvgCf1mNN1CTiQirqFv0DXofuX667h3UNMM/91iRt3RBUc+ssE
FHX8bddQINe001SdA29bDPFCJgmfc6VI8rSGhAC+b4Z2yJOMBMETGXx9P5GahQUD8+zCEUZesVId
z+DQZTC07hpRya9tBXvUp3GeensPvrvaqyxmvHCyqp77ik7VockyeaF2JjCa0qLz9+uQhScyLMPF
ixjdzjwbSMtRgYw8cT40TyZJ2K+o1VqWTYYSJ++o5C9o+5oz6E89tAvdPKJcneX6xgQw4jwIoG6A
SYHqpkswZhiFrOPiv4XdspxEACA411yoh37u2g8dZRh+FNCxR9gRXm/tpZ03DRx2ZMCZ3Ra5tfDN
qkxJjQ5i5KpWuR3kE+n7nFjaHzc5wc6plZiMFdBSk+Ilo1XPLoEK5Fn3jV6KMWnW4BwL53p8z9n0
txdCdTm8E2NdRlvih0MCpcHvjq3rXKBAFI+sqZNHbJiMu0TwZ+dqrBFA+pStJYLydm+J7OM7DbbT
X0iqZM8MUjTfPZNhczZo58VxjHRID2GSeneAx9cI7HhY5BeKTfXnZBI14EeR+e/YYM/eY7OYczMR
swvNvPc1YD9qfi8EVydPrF3eQ5DYcvAkUQuCtoW43IUPleDpI3Ti2xjwJbwwYf7s0W+gQnurow2g
MtLzs5g0PaQIJNmhTT/bd52K5Tnh8XaebUYlWn2uz1V/+N1vSz552FKuSbiU2WHikBsq0qWRhzpS
1Uusq/pdjTjqowDfrcaU6SCZNGC2JtQdYCWMre0R5HYArG2Dd6ZgTPfgKx0/pNUGMAfDmK8dbdQh
Dlw7HriJ3njoMd8eP2g1v25aR3ExTlV1VnRrMKsG4f9Ch7o+4Y0FeW9hwQWW5dL6cok9uYx2UywX
wbbOZYpyfSxcoIEUS1fXH2RDkY0LRCJSwNiXf+FAPx4BJrLHgKDPRp7zlc0jnG9cbev1swqXdd5v
PUkAr0jfYRYSJsN3eHyFMWoFQkASaIPniAfTKSLhBOMvsZjfCd38X+bnHiM3CCgPSDkt+zDQyfyT
0Fnhr6bD3BQCEV0AQMPgvzB1Hb/EVccsNrAX932IDd7hYgikbvQ4TqLseKaAuVdAm1CO+vXOratU
BcWE/hWDHbLuAeG121HpXn2szi4/Wj72Zj+nA/uLaxgfMV54MAFpMbiLmnuyjXOTpz1xj0PKq3vE
/OxX02Yi/Qde3n+jllwxqSD9P9meSqxOZTOQeSJ9QQgGIrcReq6oVDqc2jRuDDiFOPvBjCpPx8H3
2559RaWqZC+HWYFyA3DsqGYEryhebnJDA1voikoFpzUSMNiK7JCjC9iQP3RVcssyTMyvBWSyCGIM
Hfn83FuIrUmM8GDRZW+S7sXTryhUU2K7rNNY+tIbWXKGjZXIi9v4ZdciMt0WIpopiMgEk32Ft+dj
l6F/veltXmvItJtJgYu0n3uTTXBQiu2kcP+0yPO/OwH/xpTGt3JFoEKemZScE8iCtIBljq4KlywP
eI05d7wBVSo2DCIxVQGxsGC1zL4GUFaby4jCISQf2qZ2pUs/lT+wstfG+6UX8U3eHvhonxfzXwiq
w5zIznqsMazrZ7jq+3gnNxfcshmJp19d74jAe15k8FCC8HfEjjINN0B3OH77217b1QXH6pziXYf9
jnho3y0PX0lwG/f1WoLGo1qG1OwGBnhiwVJIn4I0vi3mXevPDGbF+qlBVKoq8atf2u/RyP5py+C/
xNNrARpnMi1IjWfTSnyzbANFqr7tXV7Lz0gLLpQC3WJXB+YHbaNnyBT/uOk1XsvPEKRzAp0iqKua
AAXwkhJQ//7e9uwrEjOZhpoD9oBETBv/3bau4EO03hY1ruVn/BZhPXf4FIvIgl9wqZ3KqNLJ8bYP
fnUz0bqvLaGQi4AUnyrBqhBvixiH29LAtQQNSXxTxfbzELpI3KEo2Pdku/XhV9eyRr2wgOKBzRBn
H1Kviri3t2jZxfzatQrC1RgYpljlTqb1Ddh5ka71t9u+8Kuky6Zu6DE4ATl69ORJoozPl61y7zc9
/VqExlFYY2x1jZ3lACPoZQhOmapvkoOMsczwf6M4XUIM10LMDTXB8AEzV+QLAEe3ffIr6vJcrSLb
oCW6Iz1/mwdyx4FA3/jsq9vZrrAJwrgcOX2MjzpzO22i2+LVtQrNnG6DyBg+NoYV+8WoH7zpft72
jfwPZ2e2IymyZe1XOap7TgMGZkarz7lgdHfcPeYpb1BkZiQzGPPw9P/y7Pq7o6ggaIVUUikzMhgM
s23DXvtbi6FZg+VN9Qvll5FutgaSTru4aWb7a1dfTJp8UoAQDMCaTjqjcbqsthU4ZG3MmJeP9sFS
ZAmh0XFQCf8AFOZmQ4etSkgCOLnX8ohMGhGFQXFum6Ril1Nl/NPP8z9+jP8ZvpXX/3315t//hT//
KAWOwGAUufjjv+/LHP/91+V3/uff/PU3/u29lefX/K1Z/qO//A6u++d97df29S9/QJIbFTs33Vs9
3b41cGH+fX084eVf/l9/+I+331e5n8Tbv/74UXZFe7laGJfFH3/+aP/zX3+olwKo/3h//T9/eHmB
f/1xHcVZLERcvDV/+62316b91x+KSv+JbSABxZnLYHJd8NzD2++fKPSfhgq8GLSiXNNx9PvHPwpU
mkWXu/7TIFTDMb0Gu3IG4tYf/2jK7vIj7Z8UynqUN8mEUwPCAOOP//90f/k+//u9/lF0+XWJ3Xbz
rz8ug+9vfYRxvuiAgTqlgwwVKwwHuRUqCQj2V5k4x92XynJxg8X8EKQN+Cpp1R/L/C7KnkN9Y1yu
PfhiTzYaQ0i7EdQjSdIUpEFbF0yE/ZjxF5pEW3y1y6L9o9ZZTBM5Ts7CqKPxkUEBZldGr5lIj+C0
p52u3/WWP7/H/6H9l1s0aGgbmEkL5hM6XWe9ehfECLiokH6QeL8V1T8MBIwvd2o96WRm4PTUl2Zq
6f1zl+cmdH2OUr/p9RZN6zL/fNBWyy3bnChcYpnK/bTgblgZVoikf9K9akHnSdVstV8i6uFtLj3i
3TaGkrkrJL3lPhMUqVigwSAV677k5oSrL/ZvLVCalApcHfKJyIsj3kBs1vz4/Guv9KflDizpiApr
acZ8vasPk1Y9QlTgaGmxsdtYu/xiMPdDhkVqHDAkaKurTJ32o2bcSKLcmGXXLr8Yyg28sjWo6qmv
lcO5aSSvl6DOqYytYtnf1eMfdaHFmJYaJBgMEVIYIVp6p5g5hkVvCvqcV/ej4vWPwz7eWFuu9dbF
yEZ+RB0KnAT4UUEVW2X5M/iMV1EQ3MKS8m5qCIcYuP7aIF/u1CQkDgts5HVfDwxhh3X3A3URt2qB
12xFuLHKXxnkyz0b1EdGRVLcBJVAEEXnEMoNylEZYMDc6MRWRLzFJV4JvcstXANTyawbLq9DkPTJ
SmSwAq7NKDwqTnMj//p8rHy4vWV86T+sxEU6cNSp+K2mGuYE0LKZ6ulX1l24+GKUY1JtoxrmCj6Q
5OQwJqqwkJofNq6+MlCWDsStlvE4SvDoWV+ZYRKjOAgqomYL6LbW/othbmRBTWQRMz9sfxSUme2I
0vLouWFbvIu1518MdBTBol5mQhwpSi3aqX2TohYG8vlJDulGsfTaOyyGegGfcwhKDfRWdSo8OP2h
YENnNTRdMorP+JdOhfGdF8McGUvS49GZbwSzR3l4m6GmYmM/s9JKy11eUqelEcYVg+a9sUsc5u/C
UnUUwgzv8xGwdoPFTk/N56gum5D5cVDeDDF5qCSwTLMm34gYKzHwb8hRSUuGfJaon0S5qXb9KaK1
N06B3ev9WQSQ7H0Jr8u4fukF76ZsSLKSSS0D6itqLplDLWITivCNs+KVrvS3zV9ChEIHbGdqWJTn
QjzOI1g4rFaQnZG2lgVr3+ISpd69gdSi9FQqGPVhavKIo5nnsdNf5wYj42vfejGmpzIZwg7bAD9u
j/PlJFhrbK3fQnivNdFiQEdNHgpdp9TP2E+Q/a6GDt4AsHtiwRZqZq19FuMZTvElTiHw/EypX1U1
IC9KWcX3qFzcMu5du8NiKM/dQIoZXGK/jCAhbEiBFBgqgFGrpWy9xMoUusSTaobczMgXopmS2wlV
o9Kl/kPFbrnQoF3aAo6svMiSU1qPIpwgvBDHWEIVc00D4kEhTzyDplv2fr8JPx+spJYuxyFpWwkU
iuwYRBkOicahdGfIloUDjXf0Us7B8DLJTXXKgrxHEZ4Bu0jIkyaIilAnxq9gIkE2MCK/MWAfPcpi
7DcBHBkgUC/hi0JmZ2ahDilZ2aSzVcEqMIIYS0AJwdiYooRyrtXSGwqI/uDBZ5zGXtKuq2CA9orx
yg1SDWU4c2SEtsS66hpVtblfDkiryjSoHagEG+TfQyYdRV81g/X50FwJk0t+agFlXQ2AQH1sI1KE
lqBRRUxed9KzrhJQRcaiMPAXQ8siU0P9erkR/pWVjrKEZeUM4i1VKiZfN1GG7Ch27Nxec5ObzT4w
UWLqbdE5Pk5aMf77Cd5Ft6lLUUYR4045VNXP2Ut6mAObXzOn+UF+UQiUQktJ7PD75w36G1P2QZf4
/RjvbqfUSRWVIW7HT+wqPI92Utk9lERmb/5IzpOtuiH6rEWcaDd+Je2AN1zE1w4CHEbLcsKSTNxd
pATj1DxsvM7ad1pEVyUu01HFgsmvnPSWWrnTWKOZWoDUW8RSHNmuLe58fq+VCLXkbhWKWnMd6gZf
HaVzK9g1as/coG2fKRfO0KJq9vP7rL3SItimdTnRwEgnn1ThlVaJBxSP3/VE3vLuXpmQlvwtVGPA
SZLx0c/psyi/VW3ngJl1iJN6o6F+U/w+6GNLNHGK6c2oIAY61nXlJjq5IiN0F5W6Q7LaZo1qAjxy
6hFJ0ig5SOTUogB2UlUXJahePfxASZWXYh6OqXQ7Fl1hcj3aSkCvNO6SaxwnRsyBIsqOYa/0h1ar
9P1INO2Y5NKWR/Lvfv3R6y/6JE6TUhmFB9lRBje5PQ9BIoVWnEHFhXLiNLELQ4eUShtIe5aSqNtd
sh9gH6OBHtM+nE8MQpsDPKG6X1/qUEskWhrJDesxrfj15A+oJhL8eYTI8vOL/0bCffC2S/bZAIge
DFDiye/6rn3BIkHUZhVr7ETUtj8jjII7IbN0XwdN5FVRyuxK1NHGVuZ3PP773dlyMznyhotonEdf
vslv59gOfmUv2oP6UgHga2oxFLomSsYh+pT20sas+vHmGIY3f12ONhFY21qMWxbIr7fjVdD0G7Pd
2pUXgdIgc1yq+jT6QNdC5nWjZ98//0hrF170SAjVoqSNFDyy3qNS4nsMnfPnV/54gmbLPGE1Dqiu
01A3GtZnNQUXojqXkD736usITwJef+34a0nzjgKcYrelSI86yqSsGAkRbw7UDGZYXb8VtT5uJL5k
euetgHSJGMUxqsP0G6i+cJUyjK58U1mVfcOPYNSMJC5o5XHv9kEtu5oxo+ZFq8ljoFfjQSNz80bL
TAHWQ5bgd6ll8AYyIUfUn9pOJJkZQS/rg8RDbkq5Dp4hhtEOkegBbYmMdtoaExdY00djYjGBTM0U
iQhl2P5gaQfVyezCTWzpVvi1Ux7zfbKL3eTE9pXDnWCj8T5uO7bcj5O+bTVwQzCnsKcKUWAINobE
x5MuW2Zco2huJBKi52awlyNgrDeNAYP166TmJnLUW0FspRsvt+MyDaWWBujGwPY8x6/hWT3Eu8JV
fOnMHOlU7sPr6LY+F4fgix9puS3H7njgrCYo4PhWX/RhpnKvP+U35UPwEnZ2ao1O5U7UC3z1GP7o
dptbgo9nf7bcscPbAFYqId4UnAxwUK4gVbQHp94TO3dCJ7UGd7Cjs/iV7vO9eDUOxS3qlazEybwv
sbkZWzqL5DMvCtA9Rhx9dM95Dk+EdMtR4OOX40t0fqjzWs4IwkRWX5E2t6X+V1ReG8PWydnH3Zwv
6fmoEGsuzMr0yOtSs2im0lMtTWLjXHzt6pcx8G5pHircmLukTI89gFCofs4cCDzoRhf/OCjwJTxf
B8pKwDawPOKgwyUA0MQZFsusdmpypfPnAHQVw/jiic0Sp6+FI07ieF4eQ6qZKlAzsP1Eqa268S4f
BwVY3Py1oZCqYGA3CGxr610kH9sY5r+7ts/Nav75+bS2toYji6m4AIusbdFexxycqNdh1iuvp0I5
oEpO2umSWj1nzICgZ0LdE1guGdIWnPitAqF6XwelV1R1vrF9WuvUi8m7mMaLkEArjnJb7Totu87L
5FUvjGs+QB/++fv+pnr/fc7gZHGGxEUFNXdXl8fBGu3MrTwsU10g0V3FLi1uw//cHPa913v1CUfG
9p+ahb9IFt6nYH8D+T+672KuCpT6snrACUVrT47uflfMzqus0Cmtt958Oh7PxHp9uBvMyJHN2lTN
u58/u42pZWUrsMT411XZEqNMyqM6kGNc9DXIIemNovbu5226MpyXIP9gFAGRR0CIw0KIVzVWCrdF
pdhGsFjpFUuUP4qHAqyvEYoEfQjUAxQNFpyfTVSJb3SJtea53PhdNMqQ51DgpJQeO2kAgETrmBkW
4K5xtdyKSWvvcLn1u1tEc8VKyPHT46BPdg/iChlzpwVto7v+/BOs3WARKFCWRGnDs/TYhKeuboAu
LsxAVQDHUe2v3WERJwC/S4E6xCvoMkBeuYJqv8xUcaYP5PfGh1jrR4vxX+tUbmjSFUfOy5uZKTsp
yzeefiWQ/o4G7z4ATLH6MlKRVZaAdLAzWMN5cFE+DJ0jIu6AECdtLHfWOtNimDfYaCcKCjaP4CC8
zXrxNJfSYSDzlkJ05fpL5H+YR2OUKllyxGL8OMbqm943Z3i4brmV/B5WH8SpJfWfTawA2BKHP62N
ZKuTubGTO/2+OfdXmT3vfmSmjM9vt6+IIlb7Vnid2VnwHXAy64sDcukN0AZdX6TT5UiymM75pR4u
b8HolLzPe/JKN7tIpN4PxgkuRk0y4pSgYl1511R9s6/ZtJWWXbv6YqinPFcJB/3HB5INxIzvJGk3
wvjalS9//64PBwT1aTOno98CdtfE33Lt9fMGWelTF2XY+wtrhBWow8I6NazeAuD/SuOHpN59fu2V
gbekh9cciLrf7EXgbQD2EiYJYCPVWGBpITG0+9pNlnO63tRjEuA4AVRZ5wK7q/uzbuTupNVmC/LQ
1+6yGNrl3BIsinFcybHjNYwfORdWl/d2LcPRcyg35DUfNxikd3/9GH0j6yDIov8oQtqPs54jg9Ec
61T8BIHTyaph6/T14ykDq9TljRpUrfb96GvAVXAhDgNwPVoQW+nWpPRxh2VLlnhXpcmoN/roAyFh
F1FuB/VGr1pZtbIlSbwHKkyEAO/4mhf8Qq3qcCpPjY0K1F/NPffLuy010u+4+vdwyJZM8bRLIi4a
3CjagwMzOPORudQq7MIeTcVjp+BKP+Q/uVu5hbflJ7ySWGNL1jgGOZA1MfqAgJtOFQa7Vpp3oIrs
BZCbeeaFtHFVdTzAm22vF8kdCR4/7+Kr7boIBVkEfhaA1YiNtTm7xE5cupf34R490ERaw9qSTHwc
ctiSSY7KNvByJnQNI9QhFnSrOLAkbWMOVtc63iIe9FNJ+NiAGdGRGhVdqPJnKK3s4yNK9IP9DHVZ
ihWYFj/VujS6fd+x/RgCVSijYNzW9Ap8vyroTySGAwsrA5QtolTlsgsePODFiqOKmnIrzHMB/JSa
YQCR3FbrHuCMWhfx1t5yJanJliVD8H7F5K7hY6AS1yr2Ys+9cNd5mZ0eMCl7qdXYgz06itPt+a5w
hLflP7eSqmPLiiJ5NmZVGDg7qTJTehbXwyl9UPfTVbpnh/QlO8R3wIp8rcstdWvAUAZ6XeJ8iHrx
rr+XT8kdRY/jz3xXXmFt+cXTmKV0TVVlQzEuJ19BksIQsIB572ZqcyWWLsVqw5RIE49w7eg4utTT
n9Md2YUHfgQCyK323R6cvCvD/rzFVsbOUrOmd0UE6wE0WBifJOW1psC2/fzKpf8bqf5uiZHFQzAk
kghAmpktWNXbCiqhW7Gxzvj47FFfind1raKFDC6hP84Q2zEJsAZtNI6sDnVTIuP3uA6QytC29Akf
t5O+lPCmVKr6KR6DQyBAKu8HJyvvaCU2VpEff3J9KeHFiqkvszxLfRKNFi1uBRTVsGwYh2zjBmuP
fwlu776FlA7AiqhJ5xepsIicmGHe2X3+/fMv/XGI1JeFlLMA6q6vAeiJx7SyUcSRPQQS7Eo2RvVa
66h/fXjYcKQpvJqDA5MfxfQLoGurbR8jVJF//vhrjbOI8HqC/TT02Kg0EeQZTJubmNJr3kpb26C1
5lms9QTaJgQ6KDgoaP3z3AyzAxYL2/i0K62zDHkgucCxUaMaGKTSPqHdQ5xphyGXbLmdXz5voLVb
LFZ34CH1pSbP0kGerxr5WatwXJe86QDjfn79j5ep+jLiaZrOQWIOjQMIRIU5jMl5TiOzRWGhWsVO
lIv7z++z8iGWwa4rRgaYJ+GHeaIwmyp19UaG3cDGxmGlGy2TqnVMYDtQDhhjbLTTBiwg8UbA2fv8
2dfa6PJO70ZwE8DuG2xGzZeIasrtz7Q/Fd1rET2nm2dXHx9268uqyxaOzgng7sGh1GhsySVrrG5i
zZWsN0Zts6QcgYsuAitvqqa1tXze0lastNzylD2tYpBqQtL5ZayMdsBEaOZq9rOQttScaze4/P27
xgunuR87deCHMFGvSGZckQCTKUudz7/N2uUX3waptqBWKJxv20y+mvLeBSpin07k9vPLr3XbRfzj
4J2hycGVLOnkEWW8xur9/vNLrzz5MhEtOj4ngjbBwQAXLp4gbgsjAEQAmdqITmvPvoh9xQiGCOjl
/FDl2amj6vckHTfOcleefZk9BWK8AMhPSn3eq4B+FY1kU03/lc6BtJGmX7vDIu71aWMoY4xuEwRP
sg5i04xaiHRrsboyopfZU0S8Km2jlh9UUf5IIdqM6V0ug7+l5L2ZsWbjC6y9xCWov+v7kcoive1w
GzC2vdlI7spS7Jpp2NAyr73F5bbvLl/2HNhljqAB74PMODCag/nyoBnfMm3La35l+lmmPqVB6K2m
oBIUyC03YE3kBnLj0qZ5MgLQGz4fCWs3WWxWkWZrlYDhW0/IiPH4FIPcxRnkVNHWa6x9iMUwzuR+
1AD65Yc++A5mL3S6s5mlG9vUlXGmL9YwudK0Ae0xztjF/1jqlOeebEEKVsRKur4YxAGKqLJi6PkB
Mg1wLvMEfvbYCre9dMiRusO8Ycl64ocZNLlFNW30rJVXWmqbk7kVaWEUmg+log0WERLvIZwHPv/c
K4pOfalpZoNIZwCjR1/t4HjSKLWxn6g23Wd6EzlR2NbwI4JZclpxpBAyXXEF7PFcOCkx1I9FuWfk
s+JSnZPBrCve7AjJc6cI1d6SiyLcmvXX2uAy6t6NLpWPUqAwVfPraiTWAHzhU4CyxZ+fN8La1Reh
YYIFMoDWpXEYsDMDQd6Mpi1tyMpwWkqQk2ZWAMjGqVOnpthVJj5qfAeTVaVTkOLx88dfGVBLwaSc
RDCWaLGcK6dv7fRIwL9qtY1DwZXt5VLxaEjyHIQy1uxa9/1CyMb/tBbIZ9LAjuRx6DdeYe0LLGJC
CnBsraOG7wCG1/NU4ZBuVDciwtoXWEQEkrZ1HqKc8kClGtU+8sU7MoG9lQ7G8xm1UdlWhmVlBlgq
wMJEjod2EJofAOqAdBJQ19OpNAx3mIb9NGfu51975X2WKhUFpXXQX8qYLrsAcNU4CszMyHWo5/u3
INbtz++y8kGWWhUVzi4Rqn00X6Gam425B5bwxgdZu/RiLJd1raRDNfJDIkZqltow2LIBEvrnD76y
eF9KL0rU8aNcYVL8gMd+AwNCPakCS64iGEpEOE2Q5cJuQcCHpcKWPR7RPrbHYzpZ9F+Ut+hEzGL2
B4VGTjYp4SPsfTSA/tTU6/tkctIExGuaDuFLe2Gqi4nB10uqDQepXogHKFyGXUkT+n0xx/2eoLoL
cX7uxm9G2CR7mGHUVzhivfBS41q50mc6giPfgfyLNKvPWD6dsqk2dmzUc7eX0+Ae1t+dp4517OUS
g0o/LLGNmXPw8I0ydBNei2Ogy9KBK0PkaGqEqKRkHLh2ONZMTC4jSx468aiMeaBYSdikJ8AoarsY
LyjWdJquxdQ2cIAADbayIk1TDmAdD4e+naJdz5sgN/NKnc8aMN3ngBT9GzdC5XECJHXfZ7Fy2ylD
xS2YeWUUZkVZD/B4GsAUTGHXedSCI51mcC2gtfLckgA+gjmD6gh1b/ZcAvinj0oeWwEslkZLkrkU
OijHLx0+TfB2I3lqaUGk+BEdcNzWtECHG5HYtyiwB1VYnR6CgvUPEZraS4M2voV5IbxdRi1RbaGR
8kbRcDSdD4AWF+Ud7OLeMlULvUKuH5VEjc+ZDmMCUNgtmTbEBPktczIJWN5hBio5aAqwR6N9GUb7
LpJAlu57+BHF4gF858mJRJdYRCPEyrDfsDM4WLuskr5L8AdzjLmsnE4vQciCwY1Rk9vZYA7FfsFE
MXjrRunwhrzcLzhYzHcyvEug/ubzIZRl2exALfdgyHiSxu5Vh5+t1Yn+Tp2RuRm1B9mA08040SPI
yQMwkVCZ9ok4NTFxE5J5jDc3UGGjBmcCjDczkAwFxeybGGvNCmrsdUMZRkIzcAdeaiBtzQwwYYXc
7JgSw81nTPmx7YG/AFxTqE9TMeqHfip6q8kAfZzk3qWZXlhIhwKrHafsXiknySuxAR0TWf9GQDRz
Qa9t4ZZggAsvDA6+tixd2qmzNCPLraI3qJdl9WBFjLRgQ8NqAad3Y9s19ihlFM4tUpU5sg7CJp/K
6DCguswrkNndV1HdOxqWnU7Nk3EnhzNcGaKaWk1QZXt5SKtdOMKNQgbZY08YXNFHLWA3sOSmj0qr
wCW1nVTJa5oaS5ySqMDTxkACgy9TmKARNbd8VLmd57mB3HrGHVKr2SnlcX/NCwPOQiXMRFK4OChK
bU+oBVWSlNjFkNwrVerAB/hQRsrDOGYlsP/przLPAEiDZ4BJZY6CTkJ/TWVxkJrgGy9QRFVHqBum
Pc9OYTweUhK62Km+Qe4nX6lzca8YrLN4knldORU7jch4RhY4SZXvZFG8aHVxAhwWVrswrY2qczFN
fpTTA8iSJy0Jb5GDeR1pfNfKxnUaTZkNsOtORBrAU9MIODSZdqRuorMUdidYu7hCFq9yPjojLIuQ
ST/Oavg8dL0Xz8wmkRQBJFocsABCGXgDqR18qMexPMKw0cfyeQ9p8x5gS9kkDHaPevoUhiOw8Cq1
AphKW1Ik3YJyexondc+D+VYh7RVr6SNwLG6XAFAOvJkcTW7Bkl9DL93EZNxJMbkCquiuhGORpcjB
CRzUa2kO3EAJrzsFLoYDixKzVqJTzskhzYpdGZYufCx2ZR549TxBKIx4A4sauGOiHMGHEOtnUqTf
QiV9iFt+TufsGv3bmQf8SqnuAca9h7sk0L4XvCrVwUaDftvD1VxU6J2BcP+ps8aPc6biIDtyJxkG
hXCHiCzGmgCEeNpezAxCu00NG/z470Iej5I2ngASPoBdncHxawReUr1XeXjCehI+BQW7HiXdzuf8
SdKmwizS+olO0kOuS89wQTmNHFExJW7E9G/Adp8TXQFpuOVvuTrdJSNcF1QsezQN/Rb0GEeU9XVo
sKdQn1xM/McSqCpYjikvsPuDNwAIyFYl6W7EDXDppx2XGr8IG7vui1ueMy/RsQmSYHgiS3yvFihv
kmN4LYonYPThASMPP6gBy1bgS89S3PqRPD2VOYfPjhivs6GBL6Vxk46vMFKGBrPi10OhuJEqdn2S
HedCP6d5eKTGaIUR3mLK5RQlyPQh1ypYI/KHKCQnPowtHCgDqynAuZ1S7Qn8l94qKf/JCAEQRD0X
SqTZJdfv5Kr7NY70PkTkiHMkLUsevBiaOCaw7DSpNlyVGr/NVNUH+fpuKDo41Ta6l4CgHCvdVUry
h0hSro2Ku7OBPsxhP1Sg9DdPr7DCDM1ILp6DWX4z6HxNBzjfzEBjYwY2o7FwKk24Mp4sKqElm9r6
KlD73RjKfkTik6FPTzicUC1UGXkCaTXMoPGPDoh6pSjOedBnSJIWCBMlzugV2CCddcLaA/i/latF
pPcbwOFcGgayBff6u6avHmGGBgz5OJ+VSIUlZCl8NcbNtOypB34alTZGa6Pw4kbH8JmatHCK76Kn
5IbHCnp/mqi7IeSq2xS6sRsZO+cUAjVssEN7ypJHZe67Y5u2025Kh9xLWpyb5ReSHAMKx+oJm2FP
SDsTGI2TmOM7cPImlOTKbzRHz5PDCYrDPM5MnalXMmnvRBPuFCSYUO1V3NcZSkCaoT7oKjq0AfcB
PbGGvH2CkvYQaKlmzkKXTQZnKYsw3avburCUGg0tZYkHf9QbCV5/VizDgVAu4AOYXWEjcA+L1ydw
I++7afAn1jrQY7ttAb41yV/0ooQIaMifpxyWtihG1UkZe3EvTuXMhF1ejIlQAobtlZKc9BBedh0D
IoJ2HvLe+3ROMzOVp93QFDvQ395YBTeKMVNdompw6hKp38PJx49xZ0XM+4rF5zhVnLSlg6cmsmwZ
OBOMCkQg3oMPHxQ+PD7QmDq51Qrm1JL0hsUeDuyn6kGk8bMRzvfwWJOuOlln6F4T6pRy/Vpj+S4k
1dGoEHGrGks/niRHVjUzbCri4YB1Fyb25CEdput6ZgfQSvfDGD/ABqOw5FA5U3SGcFTceAAfRIjq
WznXD2zqPVD3d30lvQjYLWHNgnUgymodnoruAKr6jlSNF4nBxzntLgvpiYQsQZEwPJTVwVcV4z7t
+ptezrHkkKMM2EE19tM+hiUv/NOCZvRLOXtAhekB3nfTPopE8C0bpOFnDeHlC8wP3a6DqmaCtsxW
DemcJoZX6NQN8tAPquFphKjAHKoUnpYMg7OGJ4eVUrZjMIW4jxo536PY61KUMwSuIgqImnSOiGEk
+nmU4UyhF3DOBWUCPoIqfIIlblAsQPghbZQ7adSVfVVQzaQTU6/DsKmvFZHMFpjqs58n6PP9SHu4
TMmjlUWhbAVDBV7CrP5QZN7tRngYmhmpZEfvmgg+kcNjIFcMEqHmRdU1bHvBiO5ondlJNsDFNJZa
Sy0x1rMkKOCW2GIFI6F7acmMKVRkZ1kLdjIZZxjxUQNkCQoge1wLMxXGPizLF9RK1g6P6tcg5G9y
r45osil3YDE0m22rohYZnkU2kzUfTm+hVTEYj0YIdVrUPekkfewIukyPwWRcKCgdia5bWR3cPKcR
BnbPjkKe0bMEfZGM/L6Y+gw+qLVhRhm9JkpM/CBUyDO2O6LDQjH1lB4HolM3HfSseIjKBEd+Go6z
YLH20onGgcXWPsngPo2DEYXNhxkONAIsWsphLZobjpziWyfw0MNaz5lFZuPU02Rg/6Yw1jEolOw5
zkSLubFJSCzUnpsFzX8Nylw4UE0fYB7i0Wl61GE4bKjDk07D1uKwsUp6ejQ6eAuX9CzBD7hDcTtC
v2dEyonx+IHlgW5jvedzAsQ7hChwY8lKTy2qwB46BDn4N01w14XZZU3lJ4DfQUa9LGDSNtspFGZW
kOrJZlPDLC6aYc4J7ESK72NVYRaaytA/Afr03SDZqzpAFgJbPKcbhII6f1qawDDA9GFIqDsCPWUr
tKf7IO21txGOEeDGaOFeVFK7mwKl9FgztvtJCpldNxwGQCrB3KtXaXEtA2L0BoetKLMmfKOL+Th1
Nfg+PcQUQjJ7kDrsDMHh2sHeAs5kLK/9PpUgR4U9GHZgxux1csxsLOFVnHPipQVi4KVuYTArqDQ8
rJv1OySP4YZAjM6D7Wa2Y8Cl7yQ5RJDtwV8Ajj3fzVU7ecpg0AqOBSVs5rhR389dFu5zncNecpzy
O3g2jFYLxYSdSZ1k8yYrbV6q8oM+a9Ed7GoaB/7U5XNQzcynQ6bPVpQN6jcGi2grutjGz3rLXFlS
ehTc9a26T9qgvmcyb48kUeUTFEGyLQpw7NWyLS2hd/0pVsfW7gHwP6FiBqkfJSX3FZb3MN9qhFtN
9fyC3RW9wqyD05a+6uWT0sfzAdYpldWoHTyfGnCZsZ1udi0YuUesZ+FnUA9wCAZXDZkMDfB3Cf7V
Tot14L5PmXHXob00mJ4dugLfFcZ39d0ElwLgnWH8kkIJ3rbHCgf7V3FWKrukQKlBC/9Y7JF4q7gK
OtE1lhXwbewUPlkK3Kv3EIO01/AuJfsI1l8GinTU+B7GPrkTY7fkY2+GDZ5o2GmCS3RvhX0nN06h
h9hZ9QFxYhrnh6SHAcaopamXCxUBVBXDIRsoPOxGPYCPg4ETCDiAe1RSqcuFxHcz9kiuNkzNYxzA
TyE1qv7e0IpXvURdMh9i6a7JUXongcVw3TM2HbGinu2qpBTWQLCK0vmo3U4sjh5wrg1pFEtbD3E7
MMlU9k7IRXhmKh2cilWzyXoO7wA157d9rXZ3IeTzWD+hjIewvvCHcIy/Zx1MUKdMCE/JYT5nl/+P
ovNYjhwHgugXMYIGdFeadlKr5VejC2MsLehAB379vr7NbsRo1E2iUJWZlWkFBRdz3pHXamLjRmbm
SlPi5z0/rujsGDPCMp5bm9xwkgDSzV0A1oquaAn/m1Yjlo1L1kyxWW9rM7lftG6SYPJwpi0o+u7L
dZS8FtQJtWub45vdSEW+bX7+i9jIT6I56jS06+9CtuvB6+QamWv/1FTyw1n9o71ggUg0Jk/lxDK0
HW+TIksolC25ROsQC1IoQTDEmrgVL5vj+qfW3X5avFaRMflX35iGo8da67nrxyvra6kxENk5jWPw
kBOcRavirD/Jtudr0gFgfud1RAf4NoGd+54QZcmNaPYTubJkh5EM2JXhz12OYwyHSBayVxPFJ8Yx
qldocDCVjXuy+goXkiJ0vl7mQP8ca06mDlNN9HxS+EAu27g/h+22noi3+A2vUETduHmHRRNoVDTN
U2Fu36XNNMdoiIiQ2MJ9nkqSYHKKaVvusQ6MH3LRxGyRCx5jP/tkm/mUlNn4EuQ5WbMWnhoWmeNC
ZrdcFMlUBueJKqsa/5327oE0jSSne4jp2T7aGnuFdnPucGn2TbbHoe3kwW2aVC/rf/iBvJtz/UOr
nUmpdwHecFtfTqo1v7y8S9TgPQy7mezF5ketyG6kL6CzJiEywhb+kZ2ZL6fRP2tfn4a9fNiG+sXz
1xfyrQqiRO/N+JD9J0YsCbwteCZliPA6c17eZ5mtt5G5JI+bdpweyHZpUycYBMBPezXy4Bp2Kjg0
XtU+wX38YQoxfk2ZWkllYymlGcUeh45uD2uo2V9vrOFC6NBy7hbPv/XESp3KruBo81kjo7XDmOyU
5cUjti+h7P9erO3Ics65ELQniz4RbhOrzjxUhvy7tuaLZ6K5M0kPa+edXturWFZ0h6Qvw/deFf+Z
S/MEFnHR+3janIHkomWWqWtaf1ezOYqtPOi+fi7J4E7Nyta4k+ZPlkCvTPt2bQWv4mINZ+Q/MnGE
BGxcwGqbcSI9uHazCNdOwajQWUcrVzwQa2ILpypTlhj2eK8YnK2h8Q7DWBO5OARrAh5kx15JC2Pv
hrUfQqfvPnQmxdXvcj8t2uFT+TqMWI6/jn7wnZecdwc/KKymWky6VlJlRV2Co8+WG6lemQi41u+x
q8uo87ID2FNKsMHZrPp35fWEI+U/pRf+wpSX+OoRr74cAytDDr/FUmTXabW7WLji5C5EBgV9cOg6
8WK0xltoiTlahbw5dR7vZOYlivioaHUHHsNMCBcVomhUmfYD2gwtvubGPzVrjovbvGjnTxVAJ9jC
88AFS98j41IEkcxqars7ODjxbGJS5NaK7tFglLssmzvFnL720zVDCLRcZg+lqQEqm236ry2dBQm5
24O/EKDVsbL1xPXXnvzMMtNgLusZGIVwJKoWEevxjl+DFa2zKVxS22lkqgDV51T1HIuZ5Tc52uLT
Yq1/TwlHWICqgqIjjnB332dRElW2Kzt7ciEdCVjOhf5dyWb+ITvp/5sNt/pphnM7xn5YF8hkVf+e
1Vl78pY+S1qn8W5qaIZjmC3i3S2n7gra1VwXpzISnyy/E2luvK/sv5p5dB9ZMdgbzP191/08JPZi
45taGoSXFKxE5ocNm42Epl18bLYLiFm6mqTptUnY3di+6nlo3pyllVlMK2nf9lyRhpuXRv3YGfPw
Qb8B5tDbZDEz8sufptNZpP6xzPV7L7HO0iDvZ2cbB9AQZ7h5RL6cTLUaf1vG/Xh0caiNOt/Mz/Zq
jEdrDLbvoqNCmb100pZUKCLADXU2Rgf7CTJkxJIsWS5A1V18iE+1TxxlUrqGq5+UkVVphoKLdJ+m
Gt8Mj01PmrBPYJeBVCc1yKN2y+q9tQNlRl3AfGerYJFJNzZewm0oDnxGM/Gs0XgUhbLX2CjDeiRM
SRExaE5N9ulDJRysdvSeCmKsiTvaC7vFtI2c3m2s9XEx7Oyvqv3hpxz7AoibPihxrYJThZ/pkc6U
eCJvzAiNbXvyqTuy1lslGUfYldXcKmIo84PTzE1qj6xKRdJ09stcEn5OkJl7Wq0si3GJsq7BPLK3
yBX1q7tbd9hFR5LTVrHy7rbtVU/FfjIIVOPRTsFxbKY5afvZepjqUSc1V10Khbw8swrlxcRqWA+m
Xw5xXXjB0cYe4CpWQ/9crZHxpiZHmJVFbYwHQ5bdyxCEdipWf/HuiWb1yxrek1h13Q4Pg2rt52GQ
WVJQ7qJmIG458jJvOtezP/6BAOnPeh6NNxq9/Vi0NJykgu8f9PgBEoXSeCWbmy4+rPKNOG8ZJETX
5sesLczLhG3ucSBl+52XN/xSyixekSv1aNX5DQ61TVZulGPW1eD1hLYVPNnArnkk1n53tgTB/Qrh
pMghIsOb7TwDqvW5z6rtjz2sJV9g0b+urMMz/G1+XBAhcfRKtZ9rAumeGmvEOmtew+DL732HAFWt
L1Y+DP+ViqSzniA2cmKX/ehncj2aveElLYjCYe28/dwwx/4yfd2KuBlJvmNhtzi5a748FoVFYmnL
xWCWJk0jg/MR+fX2uPmZgSdXUNofljmvP8kxbX9mNDD8aSTkt/LU8jbzjx2XWvsHLMGBc5vGDf4T
xHEfVWCBDphteCr6cP+vKYv6Ygz9/l5v5sB68KgmlAu1b23ZWdGSvXYO/FaClqNsuTl6C5insqqP
Rvf9kqyOzaCjbKehr8HQlpXHXp4aGxekSISG/YWwew0OqyuMhxEDi7R2pWqSbFX5n9Woyh9mto23
waqndz1MRC4W6/TLJq7vEHRVlbqqbg5qsod7+HyQTIt17xBD/7vRKxyhMnpdpqq1HPcWeOUyvdkA
lsWPgv0LtBlTC467yeXtnp4OinSHQJoafI4Q8B02azRi0gbB/tm2SbeeUFeSp1rrzAorWzcNnxtQ
KstYtWjunSBEVAQHZXyEgbXFs7n4FzWwhx47azvw5hEW3LeVc8t6CkRsoP/OU0K1du4HIgGcKCeZ
6hdVT18DxsjDEs6/AssbE4IxxpQvjNy4YjB04ta+CoiCd0on4f9EhRHUz/Oi5FflrOLJbCaDZbDV
uZ8r+2ZkDS3JpLbnQsq1ihaWtzw61grO0TDyV1UT6mdOo51ynN437t6Tm9l/SF582AP5NQwDmPUC
vhf2QxePjXWsp+55U1BAi3Ny/eUxd3aA67KkN1x/LJtxrCUtVSZPFGKV7ATNEttKPKNXPxmoo691
X+zHGtQkBsB4MYZQJvXif8Grpao0Hkw+RbQLckiLdW7jsOm+xab+CkHDvGRFjdQp3BM9Z/9m9OEA
QP4haHs/tfOWmV5MFQiqSW8Np89g75FmiPonac02B0poTvx0sirt4tEchwe7sdl6dvcxrbz1OcNT
nTKwbElBNkEqynCL/G7/vaDmJvRviWu9vume6pQbxkvlDRVPzv4OlP9ggd8y1hlAcZv5p/EWZoEC
TEvu4XfOzMeokVE8S5yomO64Mjoji3Vu/dfLRkfdIlj9KQra4OFzCcSFiFUnzuGBEk7jL/g3bGxC
yA0ZnBa7Ikc74C7I+7aM9p3oTSQMzOomSZZmN/7euEIjVJ5GNFJWgL1Yh55G3B/cOltO2pg/Qr8r
jqZAXORpcZZ5/Rq001Xk9hXPs1/jVBO/bdEcMuXHOpsfhFjMguRpNR6a3LROPOD8eecsPzt55Z4t
NeuTNw5wGJpWaXDaF5UX4eNMl5PahVEf/QJMVljiuaz8RJH8F+fjNia2tB8xlWdbW+QIvkp+gvDC
3+Zm+fHGTJnspn2Yw30kLNy8FHfel/s0VTrsYghoD7aSiHVpwMW6sv3DZM4wv+wmpBk5yGDQcOKA
YNEULgkbjKT7+d4fNq5v2RSQDr5V4XuekeUbmOyX1mL69IcNSgQ1QdWUv3VI9HllQXt3qrSiypwl
JHo3nBttVHFvwKe2sgtu097MZyKNL+zTs/TXsa/KX62jsBfo25jGIz7QnBJpWeBtOrOnXo8l3ig7
BtKl5R+U5RpxX2g3dqa1wqbSuDSb8k56N9/moPbTyq3CK/4WILFufctn76PV1XQyCTU+t+32XzYY
VNqe+CzIDzchgbPnygeBLW1riYmQxfVtBK8rqb2ptfXvdl2a4AJNhj6xtYjzsxWbkF2bKnsgT9dp
WNxyx6tvL+GhZoqNtkyJF66sRJQyjOvOM86dXSwpzCUsRx9sEbzxY7V3UNQmb6U921mMg7U6y9Fo
Hianm6PCQolQid0nVbz67gtc4OE2jr3TtR9D7xcnT+Y2BGnuJv24kptstjZPbgvjteiPmciwxuja
H0OuMbd1dh3tYQ9DqdctnccZYKh3GRjK5rdZDjn8pHohYwwfRbKV3zCKGi+eGn/xiIxIYZIIVmP+
2ATy82Xynbhzut9eZhEIWxlbpFTzSiLph546EZXwZLEu/C7xehLgSSkjZjGbQc83NDBYesYEKnLM
XIfvgxXZdKMb+WASqh+EkXW/GU0f3b392ldxnzmxscI8JHjuK/joqU57JzBOmSumtAp74B4Fww+b
vrNUAxtg11uYbsH+I+hN+biPe3bO7Xz6hQcod48fEFpRh9XFzARDvtl45AQR96uC7T+67w4fsCmn
SXZX7mR1s7oMz5m2uw3VXgAsca6yvYCtt3r3aIvpmplWmeB0aHGcaHFlb/kcXfMn/U931UY9P5eM
E7Gy0LoANX1KgwMuPDWhFVr/9P4+PnVtpY+NCfDVzSFOOgTNu7n/b9lycVtyGiOHxGr6hJK5XMNP
DaNjwvHwqHvVMx5My5S4UzfGmwnoQUYwTeB+rxBeznjWmctRI3PBS7X9JUlIYg3Z/yaRbXqcQrk8
NUChpaxlUhnzP98me3XxeLFaIhIGW537EaNnDhq3xzClDQUFsspuP1tCgA9SWEWyT/lHsYjrbOsu
3lUOGC3E39UjRl7w661b++5M8yFo8JlvQzLZMy594JMPWdRtrPfawKnd/c1X8ctrONFBwLRdlvJ3
3+7HLK9jS9R/q5Zk8nEwPvsdU4xVkj05b/af0NJpOfVr6ixbcaxF/+QuDf+mOR+M2X0x8+yBdE9J
xmdfHrwN/1/sWI275z00i8UhF5b+p53pH4Z8j8NOGyXaYEIb0Dv1Fg1Taf2Fcp+YzTFGLMhrHu33
IM/yNjJW1yKxeLVvnau8g24nhnqZMcDvNOEGQdZHLLqs7mAVFVero9A4UT/GTUdhRZeW+PVuPdJT
dg8lAdIHD5b6vejk/ljmnX9SoyiOvmnmqQpFdbbqQv30bXt5NHdk0qXbTG+6lvNl6GjEaKEyxLn1
sPqXsZzZZldD0Hxvziz+GvM4TYnXoRAwrJULXQ+K2E8P5IsokYZwd3o65uzpTxvWco0XX+TfnI3x
oNdGZm8VGD7IVlU2p2lz9++pJUUuWlw1n0PLHppEVuN8DHtbR5Cn0wHdzO+qcP2H1XZl0hO5jDmk
NB89qew/QTW0L+BcKg28CsnP6MhfcLrradbdlo51MKQeKdInC1znbGMEENU0hgnoWHiYRJfxhHFy
RleV+V+5MWysUg81KcFdfhTdNB18Pe3HteqdP9u47JdyrIrbbqj5CDDB9uBUOj8wrvR+l4Eu/s2j
A7syrX26rYZ9mjfizUujFW9bQW03fQly16JoicIBYXFGfAwdnqXyWCq/6JPA2w3ouGw4teNKsrJG
BVBHvSwHFBA+f8zcsjw0d2iNz2Qc/LCU1znIRx1VG8m2UdcH+dNI1iNLN6U6EA6OB2TbZ0uSq9CJ
w3FYj0xc+ysscVNF92IJpja49tExxnF+MWGeWFNcBCngqpOpMDXSODnOjo5Mqw94CcqWlqfRxN9m
hfHtd+3AapFraIwuAyuWU1i8hSV8W63EP3TV0z/eUh2BHmOolIOGZIMwMXqzwXGbtSNllrU/UXn3
VmQxD04g5y9PZkXcOGo9TIBs72Gdtwe/ctDsFWV1DZegfttotK9BWIsvpm5xqkZVxtL122OzBsYj
Kzvk905AhWbRJQ4XpkOwYpH0rtaJRuV1A3syILtdT5yWtbM/vcGDg8QpwhRXBAXhHTHf0B+7QBny
DuMMOuKElSCcKjsvoQ/IoPYmJaNwOeaYb8QErhkk/rL7hKtE4Z9zPKPPQqr+tzEKlepqplA05vBp
k7zxMtmFfe5EOH+SDbA91z4Quo8D4mHORqDMGigt1nMvjm4hO1r9pUjJiRgA3DoEQ+vsLcQNd1mc
DU71Z8Yz42FxTOuxtiz1LoO1SDbe0bTSnX3qtnZM1LxYUbhPJ7V0fbJ6lYxddKSx0bRbirRIv9El
IkTs/XE6jVUJkqxzP/aAA576mgsmGnyn+JdJWZx2xE1blPvIFF3H5FOV0n72xs0Gd8jzQ2hVxmOg
Mxck0Ziqd7LL5stSlOMRbb06b8u0xmWOxKh0hvXJ2zvv6BDpfSznyX2zZZani67H1HOnNh3zfvyu
xtziWgjlk6sLO2VAaQ4zQHAUOEvFzTOjqkMkFA2WkSVWCFu+BkNzCssdywp0FD9LKuXV1kzZHPX8
oQXIOAj+zWeEXYoyHKxRt3LNzZ099ok1hV4S+OXCWvDeoEAptu/Jzoc43Fai3kFxkyIQbN2OBnBT
7i5jUudicTEQX2mfd2FS1pgzfgZDJR+LEBin14XMWZU2cUQDhYmtnBUz2J9xTrewCFhF2Pq4lRUD
Qh2W551T99gOefXqTIKs1KXbH8qKdQ3Iheai6lInYbGJG+ONgvcf5UGUQf0jRFOBsUzmxUu/A6mv
Uwmx7QqGEBiifV6KXyBEVNpCj8ULw3P9tElZhYnn5zIu6mlLq8Zdz1s1jzFfPF/rurZHsDSUPHU9
H33q1UMoOnGZi60/EpbRfUsJ22iNen20BIrIyJ+K8lb6TOpm6E5nuw63D61yp088LeUVw67tr7eh
zYQ7LGPLX29WHS7IAUGGEa1uNZyeOCBEpN125sPG4It1nhXXGxoU7SSBQLzfE3Vu0IisZRtXWU8d
twC3723uNvaH0KyfVJBPx3YyjkNWvVThcuQ1SajaTALDgkoUGtBW5FhvY0po9cVH6rfndeLUyyXH
mxh+LB3n4OKsYGvahgreL5muH4fCHI5mZdyV0ZJutT/nixO7QyCTrXKewolK7ZvGnDQlrZ0v6xc2
wugGS++ZJ3Qb5HyzM5ujtzLo5I6MLMN5qvvmuVjN2DKWt7roX7IdiqOfngf8agnJ6p9CY5yQIpXi
7Mq8SWY5BwcsnJ+ktscHnyKWruM0nxu44jgzik9wzmNdltd6cEkNRwfnOMXVFthydWb237JOB9MJ
xmRbAbEgDlO7cq/od/NzJprlYYcKDBG9wds6J4++F51n3IvuI3AR4qyOYV1Yf84PZr1YlJOwZn6s
g49+6/xXb7L8c9ft1cu2SedjcjMzTIJFD396oKqHAdlQeXBmlSlmw37bAE0Q//L91Fi9t+QEIlS0
Ilq2NeqnfI4nNMvx6AX+oa/h9XKDcWVWSCo3Dk+yOS0jtjvVWG3sjX90fL85EGckLlJMztm2fT+W
MiNhGa/EJHdhJc2m5m6UKFkKC0KyGe6LW4EXbKcl87YYqEMcqmHrH8cKlavDMPOoB7ly59YOkGxV
v9uT/u7dAtzqrp5Dr47xnDP3b4Frb0/Djg5h7Ng9KmnfL3iM6ouSBSpKgO/Usmi8F+mKHzDU8zkP
/JmUeb/5BauuHnz3jqqoik0lFlScs4XCDfxQ6IMCPruJQPFhmAnZ6AzEh6j6IB2Yry2YUT0f97Lx
6I/EDvPqNUWsS3s5gu/RcnqbvZ+sYemQVTIjRbAL4/JChI/1J9SD9VKV1gij7MnHcrYRn3hL/bMp
N/9Vdvb8EIayYRPMn7rE7nLpRGU1+bR8gdH4kRyVSLwx5yz67W5cBzPvLqSIiFS3+IBlTX4NYBqA
b1x98Qro6NKS/+wsXKOslurnDIh1yHb5aVtQ21Ckz2FQ45agID6CcNmvxDtRK1rctA8jgmeK/7wj
bV+6i1FCJWF+q7dXUK/6qMsdl4JBtyiWCMFZEf4na0axbVoIORVuwY3L7r6OaYvu2pZMBcquWTYd
8PsUi57xU5bAjUxbdlJ0k/HUOmr8G3BnowGas6Pom/7sCFV50YzEJuYslU9jE7QHxMZdtAZT9j0V
6oF9Ve8Ijo+ZLTmg6wc6zeqPbe910pUTKwI7/G/tzPmlaP1/Y6Fe+d0wIxbtdxl2WMWYTfioeVNu
g6M8vgZcSj3CJqbudzn7+hPg6Rlf8fUiw5nxQM3daR+N4RLstTybXsC8VAQ5rZ+YU3Zbm3Sr1+2g
syI/VfuiSeJsJ8DnsDnvwZxHqIMd5F17wTWOgNe28+KdAjOgC9DD2epy6xJO/LKMz0Narm3/ObfK
TFdLb5cs97qzobdPfNXdg2ReOHbCbmKUlu+A9YjtA1rbkCD1J1nfZR+7m70gAl9uQ721/zQuRVAT
kxevw74mI7bHRzKMKBgFyyYtbWnsKYlUp8hdxP39enRKLeLdXPWds/fejLlktTlkkbdzIfsV88eM
c2xMi2NHqtb1U1dbTjwpNWAjNLsAncIBd9hxiITYFbctH33m8rZMV3ZJ7sNt+HsgTwn4u/5LO0tT
MdrueN48vTwK1SNKAId5gxBELtqPbYI2SZ4MgT2tgdnzJXRl8ew3exBX2+jHCwDa51gE86s/CvNk
WkF17X+DE3sHu+dUBCMoiFfYzuMIw/jqzvkWTX3/4I4wt63SDdUAbt9wCigNU20JCcT8qoNfP6wd
6q3akldL6OltqlaEAf1qveKyrdkUQm9lSo66q60PxIGHzh5ejV39KAv94rX+Sy89VocJ7eLnX2qU
09bef9yzne640ZPyPfPB353utHmmmbYWDvLBnYxl/LBST4UXR1nP7rxaQFvZv3UID5KvKZpzXijf
vEOck3Pk5XttjOLdbSpoIwi/pS47yi5N/6wc94qP4J5OAjGgJ8vliuWSSB2xn9rAQObYuydaQZnA
+hYnx5ve8mVjQcykmmeyCuLa39793vmby/ZtYWc81/ctFjiTHa7vXvIg8vfpxbNcL5mbrThZyOQT
qMj2vkEE4VluXjpz2JFd2S9YeuJb6KVuM5BD1dtVsnvND3PieikNUBAfhi/SJfRBXsFb2TbnZn4z
4CujDEv5w+zgwj7oCpagDfwEYMuJLCf/OczTDLZB4NdatVmKPhcmnGM7zCG+GPhQpY5jUEB6WIV1
mQB3XSI3NQqyL0JipxQPR3wzMv2DHVSSMHwM35bxTrmNRXtsa+jZWrnZYXHDHKjRRynVst5ieXl/
P8nI87nFrmthrCdfIVAY2MM6MSJ0J791nrmrESOjMeDLDK4ZUna0prnxOBdZeZB5gIgdijIqy/o/
e5oGkAnn01DlSQA0X7LA/o+UcDMeLP1H2dNP12T1jTaXtQMEPikNjHf2+5aL3JbLS+XL96zzvnJV
iqjrFkSktn8Wdv60G3pid8wunqZtbNN6G1xofR6DW7B+SKoWd8m9JcvV1kZehWRypAu69MVkRGgS
/mUNPn4zesUEledO71Bl0aTQ1651+ZRhrh3JCf2WSbBEDGluxgVCMXQRZRBZ2/jSivwNY6Mnw3C/
i7l82Wtx3yjKHu0+G+kPALsHCynofZPIZePhMZhc/0Z//9QLI+68+ov4zx/UpAGQaRSHLtvUY+kF
Df38+jo36D/tOttOtmPm9OrOduON/FHNVVpo710VOxoS790Z3adwp25wQNGDYiM46vY85d4Z3cab
3fqPiEn4dRQw7FzD5dqbqpJ6q34gTjuhb3QSe3XbpCvImlAD/AAtw4GMQUDUcj3vzm4jJ9gQu9Uj
Aw/Yqm30bjzxFOFXOobv4G6Bvf0etgw2xdyKb86pOmI/8w8l+GFdg09dIGoKzeJmCHc9IHipIpux
LpKO+OBF+Ag8XrPG3N4sOKvML2CQlfdqdPs7muMshdJIvNlCmWwFc8KzTtbQ/RzN9ppNCKH7jl8x
s5riwF4Y77zf/r3ze/FQ5ziNkg5tm9lNzHUVretUxaFdvK25eckt71hYc+LZxoc9Id33uoOHGEEA
isX+Ln/2RpGuu0iZmylsNTs6U+d/FHdnjCbgws4Q6iDd57+G4CbZVENYs9FXNP2zZ/nPGXsJejIP
5mx+8rWscWW5X+GWH4tQndjMSqZCnFFAUgdM/dVZGWrTpZ/iZc8DmvjsOs4hE83eHTvIvQvUMm2H
Qgjsowd5QCr7AUkJPru9qLH83r1axwtLOhz85p85ozxYTAdscmg+u66+QUCzAuqARuaDYgunKS4c
8z+jtRw3a7tf6IiUueRYAfLypHUROjaIUdPK9iDBB4bqvs+5VG0rDpA6R1VHk9toZ4wRFQTI5jZQ
71ka16rquTtrHpYIbojyJ0Az779xQeDm00leTaMj8WN14WSKWaW+UMa5CGwgBhmaqEVmspAlzvOD
DMJfaGSsU5lNaK4GVPq+lpdl5TtWod+ne2j/ZwwVoHA2d5dQw1/WQLtn2YPHWNrZD6o0ofP64a9n
yVVEkvDJm7GXnPccTEM5Dcpo2raJIz+7xk0RHBRZ1TZd2a94XWUFXxvCAyL8+qyk3X2PkFxnmPD2
MmbWdzmywTiRopEEzCaRLYctRYBi/Zk7Az1SDwfBEGoOBxD1/yqnPigavqnfr3vP1DEgP7J9/eJs
WAOFIhEGL5i5j0ME4PeuDesQIHA66lVZF0AX87HdtXvZLTrSdgFIsj0YE9BDJ24zPacWil+7V0dk
WG+YQp8HqV8avDEjldHXORt7bKUxP0nLuWD8bqWICv+OBgubYZ6/z6P4ZRtAgfXEZhEms/pg11QT
05h+FFaVJTYceUzmKHZDJLHGHkbKSeGqn3gnAfSW4K4qC52jZbaw7Ns7kHwda59aATVEG7dBVfco
3w7ADslc7Gss66ZORg/KicUK8rnsvL+ErXOGa9LsV+RbHOy2d5wgpQ4GCw5lZt2UW/6y9gDK099p
18zRuAevUav6wvpX9Osd9mb1NQ9Xcs6qfEzzjX1ZtqyB1WZQ5RyeMhamhe4Tf6yXteQPszrW7fys
m817XtnsiWQhzNgFN0oWBPnHkEWD907MzsU0Ky/t2KyOXNt4xLvjrOloDG+1E72xuuYNqOD9IcPJ
0XsiVVaktbdf8R98McF9L8TjfQXNcjb84lzo8C6gOodIk7esSb28eug7kScmJBZFzEClEHjv1MrX
JhSvhdm5F55JG/WO83e23S/dD1UCvH7bLOdTApYcoGP+tflOEys514jvy657Y8J6rgPrMQiB/DtK
YtTp+ZCPpMx4gOWRXU0LD2f8wW4cz6BHPBXUVmxaDJO7uf/P2XksucmtUfSFLlXkMFWWUOdoTyi7
bZNz5unvwqM2vxBVXfaoByA4ke/svfZ9EKZUTjL/zCfFTVWI/aZU5SOSnT9G21KPSX9zqooov2E5
y/3iiQiWbBWn7JOl1j8g+KtWZazZYt38orQ+GoNclcKL+2gInNwbWffiNjxqkO7BbdzoGj021Ckw
CDeDbn4zSo6kJVOjhlMKZMCgSXUF8RyI3UMCzWAlyum5r7uTEDYJJ9IU4iXDOvke26NE4ECG1Ciq
2pW4DkXjl+TX35KxBWWH0ymsyXKvPvgRYrNWrg4Sg2RdDMKTnIp3lSE9I0h57qye03ipR31anUaB
5EpKc3sY5HM/9OvC9U9jTkbSJRL2J+NQUwPC5H4j6aPKPzpJnnLqmXwL10AnULe2mDeU0pIYbRq1
JDUDkALS7Cmohl8YJJ9LNcXJlXS3taN/lLr1AiqOfb6V3rq6mK4NB4Bl5FJRMUb/zG1hyOGmH9et
2DDcdahwgi4nI6G91k7hICCnrNoE9b0U+NpjjlRiB3OmPQiBIa0SRS9f9dDI7jI3wOaFrgrhm4vY
rTc8voi0eNtFCJ7VEpV6hR7wlXOO8qzrgXSnO2LyRyjSGngQ22nsyuOtu0yKztFghPcyq/+HEA/5
o0RG7knrYuFX2dTNzs1azvhiOpiaJvpWaBwOTKuESnEZejcQVdu1KCRYqXUc7ccm1+pjiY57Z/iK
FnMAbwi7oQn8kw7wPtlSo048fL+r8rZLR6sx+xWq0P7jwJHbqM92d02eKWtMgd1tKRqc2QYqnq1B
LCrs8TBiuUX/R+p99jKqRBJjQDjF/7LEJAfU02qY1an1u0gQQq0QIDDdBr8xBN0GjvWj0g1jAdUw
A8xQJmSO0AjzyDBjye5jS1+JlverFdV07aP24xjbXPFp+HIdCjGHnJiAe/wh4GHqgTvhO3ST+j1o
MUZfv/YMj+M/QRClJFktK5rtZ+zykAL7EQs7Bz30mH6v8Sm6AP6YwbxMEyECRTJNt5Ubu3aekv6c
O3dtsIAQm0EUa9M8iK4dQsnszJFjVNpCWe6aIUCTrcgkz2WbwM9J2lZWKCr2ioVvyWOD7d2jT/t5
/R3OPdr4bj/hfUBcDEUWadbJi18K46kQKZn8+tqlx1t+unSnCFHJsUNoe8zwBehbq/jA0PHFxh87
3KerO51gGkoI29WN5FPE8M4DLHzNQy49Xv/5c71rguPKsKvGreu7tiH9VvRfRm6sQfclzfP1y88M
QVn+9/fXUqiLVZdH9pBzPF/X0joS64MhuztNN9F8i4m2/tqdJoMd4Bc0Gd9z7T75Y1Boq6hsOCUa
ooiP4/Jr6Mm/kZKfmkNvi1RSRgBrjk+rim6odK+sVFho7JlZ5C/O/NPV877Gr9VWFvqmbgezYquq
7UI7zGCWpgERSCy1NPQ0wLdhfasE8S+DD3hkbwiPBr1mfUaqj4RyKQJppldJEwQPSjMT5fpQ2br0
TcrvoHNvkvJ1aMuFxp57U5PxTMFSQn1WAOlUh2EMJ6dGjv77x/WuNHf1yZB2K0SK7FLNU+xYW11t
HqygO37t0uMtPzVx1yB+soLBguJnwmbItiSHhwsvZWaS+zv3frp2mqscIgP1OJkOnxFqI9ma7NRb
dq0LnWjuBpPBXOTJYAJwq22lFkkINVnici2OV1lg3l9/PTNwpWmIbWHhPcOoHdtO33tsJR3vCbes
96FTuNuLFDEerUAv7tMhM2+GlIr5wsib66+T9RvxTtkMOoQzs6dKKsrCbQpXDc1p3mzidrHbSuP1
/htMoE3DbUu3qErEBc6pkwW2UOFeAUwviB1kteHdRXUrKdGrlfrbAkvEQrcwZ5ptGrCKCiKRBb6r
bcvolFu/bLOXqtEKPs/R0azSoY1ODocKB4ey37MP/2sXOQICXazn66hOFRwGMqxvvWu3CfLvOy0U
gMNIFpZhtgvZRoQ/J1Keadtv2C/kXZgFHPBS3Kd0b1SdhKy5F55Rzw/nzJKKWxORO8KowrXZEVNH
qLB8q13V7VTcVrfy4PRPcZsSN2Kx5d17KKO2at2+VX0oPzV1i2JdE9lCtm3+Ppi5gCe8NakCdlnC
1iGVNO+MKoAyiNaG27rCEt91gnUqqav/5MBARaqtaNI5G1ykmgpf/K6gfjNVFKVW7BVvWi3qJ0j6
4+FzZGxTr1RXSHnEbVyK/dHqW//YKilp6BEyj9RAIQlvxD0MkouHQmqzI84G4SAoKREynVFnW1NJ
9LOqKxVyaxWjGCPorEYupjmfXkeEfNHyPmJk1nuV0tfOVUP5xoS+UW6uD6rL7a9OEz042Ml7IfHM
U64RboOKL6FYDENgYezMXX4yF6PKrDDQsEWpo7cYbbqR38rN0sX/jvz/jhh1GuXRD0LVeiGUhNSM
73zXv5MKyl8cE36rWkrykppvENxsMT9wZhEczXwpnubyIqBak5maJGRfLPkIhfFWdcdEyNxDx2Zp
gbk589KmuQZmDXgErzxLjFeFgHryR2tQvkHj6L/WKvpkBfY6dDVVgV10sBD6ceyC99J9HCjo7673
qpkpcxqsrCgiHwsNAwtgL1UbgqSi3yLb31B6uX6Dyw2gTROfGtFtzBz82Al9g3mkCNg/eZrgLSzE
cz9/bJhPi2Wd+oUFCIKFuHnrM8AX0HCa7Kccvl//9ZcbWBMn3UcQsgzGnTTYmlTfD0O3jzDQESOu
P3zt+sq/v98qAAeZHb8/NmMATsN2lFtjmvra1ScrfZnCxoNpAS4zfisBqBTxq6cuXFv6yyb975jG
svvvb0cTLAaRjEpzyDhLlmKlvmubfmdhZYCJRD6z5FrybasVHXiDfngLm6ayhTpydkXbKy/poMb7
Qanyn1bLhBqOJJKYks2mxqMA+0t39kHTFGfHHYUbidvrD5aSOitMjiXTiIJaQAep0xpdvKGoph4b
CgWULQrfOqRh2zxnMOA5FxDEB3RHMtVfUf+tsi7dilkQ76Rm9EUMkrO20lTZ56GUboahb+xExmRd
jGBCpaJO5hImt1ZNzkQxaQU3BrVsTpqqLoL4hbnekGthVEU6e2wNOMbcMjg5XHXP8VoHq0R/rgIJ
emJiWLCwM2yNskzODaTRH9jYBirDgZrtYak57zJlPxshuvYiOVF010UmulOCKG4lRSwOEsiJ80A1
OMJtkSv7FB3KUzuwEKOeRVEPvACRlNS9UX9U34XQKm5114vyFSac5GB6fbj20DXe5YlFVbPPNUAm
dfpoRBXxFlleDc+mqg4JJl+R6tMgJ3vEj8Oj2vvFSc4lmbI4CZBGH/3EJ+cg2NalDJCHEB8CZLiv
ciWlN3qSRTHna6i7EZBCLqsl+H9xjsNPRjxYOgIR0bJV47UWLDRKYmvtSsQvoxwoRoNWYLQFocMR
MeoSTfXDLRJ0DiWEDiyIEkgZ6KoAO2tPGc6RnWgjaHQfRYpq6qa+h9O4t45VjRiwr63MripEFVac
Smut9oGKJY54dlMT/oRAtUwyVe+MJa0cVaz5CicJMGujRu01ZFTDo1JZgvuOk/V/BwonEv8OFLwf
sVyIzcBnVPTYIwgrOVtSX0JB/9Bl6unXB/vlTbc6zVPA5RaGA6xKWwhfsiRZF+E3V36SxftQvJXq
u95fStC4PKMTlfHv40h4Dg0H1qTdA0hdNSIo9tRzv11/irkJfbKFTy23j13gLycdQZZjCMCkPJTI
EBWMhZC3y3dQpyFvmtX1Wo9w7qQ2L0HYrmq+siKOI2pnoSFmNzvj1/unRSnStXygJ5onSWufm1L6
IXrKAbH6hyAW6UrmmHyTNdnRTKQ/NeNm4xv+QmFDHteNS11tsp6kuYbOXANRrXKKfyARIsbdYACR
K1Stxx0q6uew7pJHh7SxLY6NbKcJeXWT4RNAYoXpzTQQDLpGqezZjjsftYoPPpEyzGJhnHZ7zl2C
M6IR8YA0nVRigqkhAMlqWUhLb2+me1mTRwAZGmNrkqyTI2eerchN+IYf1XtOvbEq7Xl80NVRJq9j
E38a5hhwfU4QHQsJk7CLhOcb0qZmmyq+Y1/vkpf3AKQx/tucohYNrRKP5yahvOLoYpUi2AkXy9sz
49aaLKOUf73QqROo4kFbbREPdNs2kpiVejROcS6pe1Hr21MpFPqpEvNyKfF1bhxMRpqsAjtqS9M8
6fIzWKsqwShgnhK5XWjImeub4/N+GgVpX3aq0CGrlsTizSzQ8nqeLecBRMalrLSZljEnA01zpdps
0YOdOHbdmHnGdzcamtGGe73l5x5hsvvu5ZhzzEE3SLESsmSdpXnzQME7/5FxCIkvA5nQ+vqdZjq9
OuljHNVXqoNn3obFI3PEjAc8NoaFi8+8JnXSwyQjYzsj69opH3Rzha7+Jkmg7wdZ8LUjGnn68ysr
jzL8Dnzehe0+9VARxtU20zqc/Q+6/3z9HV1+DHn6GJXfdZC1MuMETqc4QQmRNhwiphv2DurC99zl
ZpDVyZjwRSHWc7ntbVG6S4abePj40k+fwtgHZFlpnMF/8IwoWzmWeYyt7hZ+ysKaNnb4/0778hTD
bmKDc9iyYZjCLouYkGgFJ3iCgrmv+2BXyMpLoMTp7vrD/C3/XrrbZFhIeitBaQAk2rzXw7r4Zr1p
I1JypZ9RRzqr7FZ87r4/ZSCYVsPT9Xv+PWG6dM9xiH6aTdoyZ3OuuIWtl1ULExIl7FbyACThD5WJ
+jG64tVQOusP9Zz+u9phTgsFVJ9eh5EdGXC9C5Jh2OLzR7eJ1wtlouDn+Z+8S/o7sQgV9FCqwnnw
yGG22rC6w3iJlQrdUCbaVixpt0gSOJRWQgMwa242ztL2cO59To8GvcqljucaQPSFWj1KWMxh6Bbu
9wQw08+kceoHgbykU1+01KJQEm3DyMCfY1lAP0zfy+xUc8D0iuWAQhsRB3QbtMpt1y2Misv7V3l6
oghXriGjgwPYvHLf6r6R8DtTdYtSYKd4/euHUOBD5npDzwzy6Qmj35kV7KoCDkuFTKxBZhph9wh+
fe3qk17kIY33CperNwMQWJhKovraQAu5fvWZ2UMZn+lTH9WJ42qMugjtmBJ05Em3cQS64WvXHu/5
6dqOLrYEHja5HdelHRXim+v3f65fenz4S0NL+ffSLlBvsclkyQ6DllgTdPAS5WTbA5jytRtMFrco
hbYmNY5qj6LwojdvAyP8HUsoQYHrLHw3zPTRqUhANoqSsp7CYYnyqLvvbsjyHEDUElAELc2ycy9q
sjqUQ6lp/tARHdip2xz8HJSITZCrZC0svaq57j/pQr1j6IkuibRFAzxRRlm3zUW13RdyU+2ut8bM
WvE3uPdTT0rMjKJQUau2oPf3alWhcyuaTQjQfuX4xkcu+UCalvJB5p5n0rcyDPYNhonWzoQyemWv
5u/qou7Qqlj1sLD4zQy76eG0IPRupMIAsSEJKVWHUy1e6Lhzv36ycUpitNWJr7LQGdCFn8vku7d0
kjvTX6dH0D0OcwUTR2+HUrW3hJFsgjh8FcTOT2C2o91OWJo6Zp5ieh4taY3YDwptgOSkgQaXupsS
DxnWiG5hdZ5pgemxNHy5FsiFQaCpW//2odsA3qsWJtW5Xz/ZbBBhUTS5LwgnKoA12vYKMbGlBcmj
oRJxsHCTuQcYR/ynMeEqJpVkQw1s3cWlCQFUabyH68Ptbze8ML1K44N9urYfwW1F8h/Yipg7N2ZQ
UWhoshjA2gAhCJJsvxFo9pehKutow5msONq8/Tswis2xSGDbVFDX3hPfiU9pquebwFRwvGnxUBPm
kcVHpbGCx65Ms32AHn6Nv1Z+v/7bZw46ZWmy6gAbBNHXtHAhjEjd+L6PqjG1xcL4cFP3Hb/Xk+sm
tuv23zCnLH04ztRP5OkJeMOhhGjpLZ91FSYSDMwoKgCeAm7hQEpyhBCaoB9v/AjksQaV1Vu5Rb0w
mcx1t8lapTqFJ1RCR0LPCLcxO77G4zQzNkLmaQuj5fIHvzw9HfcVUR+1A6OKv36rRyN3MForkjY+
u5Z2Cig2rGSzu1d1xMHXG3Jm5frbvp/6YK+C9akbNAVC8F0jTUlS353sLnSXdj5zHWV6Ik4noa1g
SJxMFUypp+ElLbeFKK9k51Xp860RRQ8uOOZ0KaB95ommp+EJXp9CAXF4UmWsM8K3FFsztpI6XNjz
zl1/Mu1INWqtQGwHWySCOEqOA5xR2bNh+i3EW83dYPz7pyZRfK8MZTVIbCiFccQBvvyWmdJKzRd6
2dz1J9NOUFkBhfCEhEMsQYXys9cs6nQ/1TzeXO9TMyvY9GhMyqvASZMwISP7u1u+CBivS6PgvKRD
658uTMwzw1FU/n1LvasGqtcwVjL9gy8PEFq/TNbK608wsxMSJ2M9zh1CdBSjt+XgpFcfGBl30AhW
ZfVc1OBi/I/rt5l7UZNdRFWU4PVcU7JrNzs24/o1KPEeRfL3EsfzKhOSL3apyf7UNArgl62Q2Eb7
ZMK+CX1UgL2BTU3+UnMAe/i3OTTSmULVgLWZJJiUGw0OWiW057RvwoVedbnBJWtsq0/DIu+Rzhl5
r5+GDvGKKgjd3iwz/ba1Sn/hFtJMlRz66783SQYCucY4RGSsoIkDKSk3ulX2GyWuFEIeeqQiTe1u
hxwO5VrQAf6YPdaNoK61g6jAOAoNT3kPkGJv8MiB35CoDOOc8NmsJx6nTVj3hbgON0EBS0bwNWfr
VpgEYHL5w53fms1KbZMxtanTbbXI/HXXq8URcyH5HIafnEtdLyFgWM7z4JjNHamh+YFvtOq5Bj/0
2MtltvECExqYhVUiJpKSJCWcWKIBLYZYU9KvSoHgHcH/6RhyhZEmCY5DQHhFX1hAHi2p3VZuEtqR
6ze7viiB5aXCsA3lMjm5qhGSINYJax/e82uZJCTVRXm3SzPJ3Rtx7RyloHCOumOER8GNuWqB+u02
8PAa1ZHl/qwGM7BW2aBZv6tQCo8qbhOM+fz8SjFMsl+c1Nv5qdrsZCPuAJ8N0auIe3oX17UICU9P
zjXJSyRkheIzRCB3Y3ix9uCVcvno4q/dhk1mwToukrdat/4IEkY2efQzC/CMNoFL0gVec3jAIzim
sloRtF8CR0J042NvZvqb3xvFj9wRvVfDbLRNE7iAK3rxzououwbQMXeRVsMXKoPfMAglVDZtfEhU
CwFJXJIIoZjJfSj7PWTSqt8UpSJtRZQaT0BIaW+px0Hmh0FJaAyFyuuTyOXpXLImy0VjiAOYGiZC
w4XblEsZLlete8oCFcVMDhPu+m3mht9k1cjbojD0NijsFoce5xL3blO8hoBIr19+7ikm+8nIzRv8
ClVv1xk26PukHEkH3z3z9frlx8v8d6stTY+OLOzpBRg9/VQExn0qhc8K2cFfu/RkrciIY4lkzcBd
xrsezW2uv7AKzf3oyfIQQspheXAy24msp1rNbxXwNNd/9FxrThaEPorlgH15b7vZ6LsihEJK1rm8
8Epmrj494NHqsO4l6CN2BSLdTMBQ4CPtoIB+6cdPD3cqrAb1kA4pTDrmZ8/TzHUssyN2DDje128x
0x3NyToQ95ogJFmiEzEdOysMuH9UqX0OokZe6UJ+uH6Tudc03vzTioZ7vggLQ0lsVXk2nUf23d3S
UfZM1/krFf106Sw3/TyOpdRuMi++MzFCg/pzpGGhgS9vXNBD/PvLwU94PWiRzO50GaauajK7ctzf
IvEhU8YgRPNWEqENfrHBJ3u91oqLehhIOdIH91T34kGH+gSmcOHyc08j//s0UoGUvfAFla9KJC2e
DE3AhJuyzoUGTprRqIB6yuDpa40+GdRyhT0K9Edvd8aHj8DR7O3eyxaeZOZrSzIn45qSf105A1e3
XKrjud+Le1zUACwE1TjW8C3Wlup3+8ZznYNTydkDZSxhYZN5+esVu+C/r5F0taqKI68gOoMjpt6A
T8uXsraDEbJyh6DbgWussAEBEU2zTPraTPY3UPdTT3cjEsm6vu7ttHrsW8QssHC1hSeaGaDGZBZQ
iLga3dT6SfaxKCoJBtroNkz7hQLQTL8zJuOfDI64FmSmybh7CYgi6ZpfAC6B4j6JZrYwkc09wvj3
T6+nSoBianmR2rmv38m68sNK83Opah9f6s3GZCIICXVWHZjAkHoMUMb9Pk8z8l607tf164/XubBu
G5ORr5iNz3+PdcrLbkHAvMC4e75+6bk3Mxn1OPCjBup7bBdSgfn1e4URMxcX3svc756McsIzmlQl
KxP7bnVIIcMFTvHFTjkZ4kWB+55YDepQ5B4TV4nwpSJrZ6myPfPL9ckodv1a04tGRdnQg42TYh+M
v+IJu+sv/fKHtTSVRSPUK9QoM2IbLrUOJUc4KK731ofBSbLSreXpIuSRbnv9ZjMtPJVIUzoXyxba
jR0QUMfJ6HoAPiHFS6XhmeE7Fe+1pdGWehSR3kd0VwrDUQGU4+CAy8sMU3O//tpTTEZwrlqljjKr
sX2M0hAq2/Te0lidIgvC4vVbzLXK2Bc+TRJOCoJb0xhlJKzuEj/jUynRf3QtIW2KFT5UCWnATfe1
CVufDGkyiyqxDKXEjtRXpblP+6egeLn+HHMtMhnSEruRjGTqzM5b8UcZUdqSgWXnAP6JwT3XKmTu
6zea61mT4S1VilAPnaWeEq948DrlpRaKrRIr++uX/3sufGHa0ydjfKjZfoD8bG3M9padifB1AQY4
BzNpM3bTCeHZeU6CVWcJFCE9ta1WYt0ZT0YviW+WaILoMRNdf2wFVd3pelfs1Z5Yom1KmFe1J5Uj
+YHcHoq50WFu9J0kuHFMw91CCwsoApTGNwuw4blEbrxvTcP6k0HK+41qVtjWWmMcQ0FpPio3iLe5
olhnj4yFFQEcxtP157/4ejVrKhoKUhFPKeHeJ880folC8QB//6W3tJ/XL39xiuPyk9ark6B0hQ5q
d1fcxN6r3C9M+nM/e9JqUQgS3gtCcvJaWGpwMFuCK5z8S44GzZpKhYy+l6W4c/BcMkuqjbOWCuhD
ibHLIWRffzPjzuM//Y5bjE/2aSKgpOoYGZnottXfqrCE4dNtAEgCxni9foOZV69MZpo2Q5bdJLz6
ARhXLzzE3cIvn7vwZFYJei/OFKmqKKVKR2nUrDf+kvJk7q1MppU696qudpGNE8WiaHfkC6yEolsX
OCOvv5W5G0w6JG6E3GojxberQX9CXv5HTc2DVyBqD6WFITX3fiZ9M2s73WvRyLNrUHpkQoMCf6rR
tl96gKlOqZMsPxXwxhNDS6gLlTC+M4hXfFY5cXwZIBct1LpmRthUbxQIcLh6oa5shQSYRHiuUkjT
+gLDYKYVpgKjBkCsDPuTHL0G1ogQpc+S4xJVF0LhAgV0/U3NPcF4808jjHICM5tOP5ULUqMJtIIL
BVT3axefDF9XHFzRkMXKrixy3Ch6CdREtGajZv6Pr91hMn7l3By8zMQGQzj5puz3SpGSAfN6/eJz
DTAZw7KgD8AC88rO+h2+UdK2Wm8bB7vrV58ZAVMxSBvnPRldzG2NT4SDCi5POl6/8tzvngxfACeR
qAEIspP8wTTuRf1n7rBpXrj6xU2NZk31IAp0zZ44Jrql0JK9W1lAoKwiO6UREbEqQLtD0BfV5vqj
XNwJatZUEULcNDREvLq2UvRgO8o+3Hqa/IuoNuXsNq72SyG8dGsUsbIwomdaZSoQUcIgThsTkIDr
ZwTDCSffcL+y0eRZxhf6aailRNK2me5h2fKzg19quyQCwp8szXmXay1cf+wOn65fDgFJqRx22mQN
Z/Avk1X1BAWvPFflLvXOrrS+3iYzU8ZUJqIS9NxSzavsNujdVcySPOSljefr+uXHD7sLa/5UySFr
aVpmiFtPXZyBm3WF7Fj5mri3klLiLAmBhepyRiI2aQo9aEgXPmOVceW5dN/JaOdTT0Fwmbg2GRwE
nSpZ1v82SSd7pjpGOhqho77tlWWzA6Hm3QoiADP4kn691eJSOA345vZhDnDNcPOYyCQyqjeAn6wf
MFTBbKYVX8aDZpIXrgz+W5U0zY8oi7NviG44W8iJ47vRCJvepEIKqpjw3xd8wIY/uhLzo1pI/vv1
1zszOUiTzUNYGeTuSLJ1FIdB3KtIQZ87uYB33Ki5/NKTV7Jwo5l5YioeCURX0spGso4h1tG3IicV
oRd986lsCFlexb1IzmQC3nFBBnG5V5rT49hO5xMo6HTz6EpJC5E4IvpJa+ANqG6Ol+D6y7t8E+vv
0Ps0xKyAGGhNk5KT4ZbmQ16QSjYkgsb5ay1+6TmsqT4FFWJKrpcZnMIsy1a67PvZShKxTOYYIxaa
ZuYxppKUsiKWGHqze7Ic7wdUUlIOJHySVRQsTBEzs+jUq+0yDSWJSYJxG1j3pP3cgUt7/VITTF3a
JHpoedWYZI5XqN0jZAmBCyewVN0/128w99vHl/apjV2Q/62jCMYRkuRdU7lgAq0Ff9bMkJgKUYK+
NEk988xjQHSk6FOTVgmDIBnUfeV0fuHdXxalaSSA//sAnkkgj5q1xrHojb2kB3A0Fdiz1T7I7ouI
z+SHFHBjUKcfeR4uLJszs8pUoJIyoRSJIPIlrnWPXl+9SybWgIqjtgjWxPWGmbvHZFujEtasQqdS
j2ZjZDvPQTyb95W6jg1lADG7dBQ5d5vJl4mbWqEMWg3ZgDoQYKXclZH4CkgOt1BxuP4kl8efORWn
SAW5tI6VWEdCMK33Tk/LR91UYWbLepz9vn6Py4+B73TSC9hYQKuPzOMQDg8a0k3J0O98p945HbmE
X7vHeO/PQ0X0pG7wHYW4De2hIH+PXOydkxv7PGm2128x96rGv3+6RVhURaeBSyYkAeRL3Gx9EtdM
c2F7OXf1cQ74dPUAtrbT1qbCgGwptutY2W6irl64+uXhbk4P+WlLOUkijQSHVN6JHRwY5xsQsn0u
tCCBX66/oLl2nqznnG3ht2QIHINcAxIjlR9VShaE13YW+41g4Uvu8qRoTq2fjlnWTu2poHm67NXj
OGjVa/Xj9SeYe02TAddxYOORFKAc1UpeN6byrpLguE4C7R5MJ4EwhJwt9NeZO011AJymmp7C2dmx
KOTsHdRDdXSyFNeOVbgfAJiqfZxGwcJkP9MwU1WAWKmcW8A9BrhMOmV4Y9UCfOdkpwZLrL6Zmd6c
qgICX+99UZP0o9wZ6Lrk3NM/lEZU4H64QcdWUtfWImkAu4LAoI2i+PlTJhPfBAtiZHhfb76ZMTQ9
1WAvDqKIcNUzXjt/VZRJRd51FB4ICF8CCv3d+/93b25OjzbEHs6eI+UdUAQV9EilmOqTAPL3JhTN
4QV7WXOLtdq0ez+Q3lNNkf9I5CEQeBrEhIymifjIwgui1STac8kMd/k7xTQnkx/J42mTl51+7DTd
PAiQQchxx+NdYfxeR+QKHl0FYpQTFSofMFn9cf11zzb6ZEbMKyEwc0FQjm0hq9G2D0rCyTW9yu+4
H2h8qU7cOyuGRAhaHEyVYKTpTgHHQdgyeZMLv8JkhrzQIlPFhU/wa6CZoXrkiCPPViTipsIO9ggR
QSrhicSL6Ak4dmhD0VHrXP8+NQna2VkuSS+rRmaAi7LlZCQwEykmleDc3ZYGcoUEVkZZaLuasKjX
6z92poeakw0RabF6GUmedlSs/sHp0mFdBXVHjFt3/7UbTObgtlES0w0E9Zh2YvUUurGwq6uAgAnL
kb9fv4UyXuvSC5/sfhINFZ8HF/w4EHNvOT/bgOi1wT16us6r2zraiDf+o+EWJeZhLVs/JDxyokbW
YLIfCm3dC7ZfwKd4kvN9HGTrvH511G2dHHuSJVTtjoCIVZ48Z9GbATOlBhoQDQufG3Mz4WSCryut
USu3N46tVz0g9eRg8ntvSeeo/HH95czcYKr0kMww6uJaM47o0s8hlI9aLzfgJylKmAtVictAWc2c
6jp03C6+XLjs3Ye/6e8m8UxR2wegoisoLroeno0EqHYOlWYn1T7oa69SdrkvUbt1ynCjmrry6/rz
yhd7tGFYkzeqKomLR1jrbOJhjuZD9+48xLf6ydynK29NkLi58u6M22Y1rMVN+I3AFn0nnMpneBQL
k/7fs6n/dEfDmC6lg+jJeOn5BeGKyN4N4uPVe3SEOLG6e94+Hv3Vz2iX3HWr/fnbD/ae63OxElc/
7rtVuO7WgChX3tbfCRvS3RY+ey7uUPhB40T1aSsXGikHRGXZ2aJDis6HTPbCwsseR9ilR53spOOw
FsxS51GFQ7ntNqSNHNK1uxLWv6uVcVNuqq25goSwITpiDXtpoR41+4Yn64uY1L3AcWlnt+thV2/D
lXDWVsNO4V+/7dfEQvIvOFabdGWtjFW51Tb1SqEBypW0Ih9gm66zQ3WqP6zvwa3+gdoRpL229rZL
nMe/Fd9LL2ayEnkqoeFyyi8s6AHSmUDFHWjzdbFteSf+2d1nW31VrCru6VK5W1h6Lg52GnrsAJ8a
moDhwBQ4XbbF8NQxqZXkt0TkIC05kOY60mS1qARd7QuR5g6Kb061l9uFRUKe++GTVSJwahAdfB/b
zYf7ynHIauxLyqa+9Q/O/nu+Iuxg26yadb3p/iinsbFO7Rni1c0STPjvsdSlBpusIcRMJWwJ+AUa
93b28jY8eOt4626rg3N2zsY63xRb60bcBYdkG2yFDVHsW+VY7ep1/LY0UP8anS/9isnkhWkCDaOr
07Ef+m27z+6cU3MeNhR31xEdqLGtrfYoH+VjdkhWP8jDXHun6ia9y07lnXxI1tr9kud3xl7BRDrp
S3nTBaXACzHyTcf8RZjBTtnk6/GNZAe4j9Z34TsuHu9WWpN5swEl/pwflm5/eU036Mv/3r5oEqNO
IdDaHImt38l0Xfkbctr33q/g3j2AOexvFbuz/RdnZ96V5+aHuos35NrYHq0jbZutvBI2S+1yeZPN
r5nMc10wRDAaGM7Enwh31XOWrIY3/d4g12HVnsu75Hf5U1oYDJeXU+41md3IsLacsuFmw53xlNwL
P+MbY51t+512ks+08kI19e9B0YXOZkzmKLlRkaVJY2c7ZefkPr+F+rI3HnmhT8Z+2HoHvpBWwTba
a8d+f33BmJlAphrELtBLSS9oVaJU1oTWrEF8LKxFM1PIVH5ISCOMD3FsIoXUH32raO9dVqwSb+lj
bm5nYUwmKdEoElEvWEaLHRkZPTlwD9oxP7i3YO3s/CXfyB+RtlPvyp21rX6GN+oqYTFPbrzfyrfr
r++v9uJCk2mTCVjxXDC8mfx/zq5sOVJc234REQKBQK+QgzOxy0O5XK56IWpkHiWE4Ovvyrovbh2T
RPjldBxHt5Ro2JL2XoOO+z3sw0KCq4U4TncCR9uw+/6cIUZUB+8nbO/ugl0TC9wucJ0Ihz/Vvoib
Pf53zx+qO7px1Vm5a3nGiGBXMPirjtikHQwqGPdLPLRFNMHc8foHr3VgROXUWuq2lAu+d/4x6TMJ
fsEU/XrTawHOM2Jt1XpgIRVUx2Mk9tY97M7j7qBP/FDc6xu26xDt7TOIQVFzN9/U9+xmuPNP1/te
+SzXiK35jLp8Dx3YeEL5xSJfautHO2/cxtfaNgInXaQc2XTZBzbdpSAQJh1cmr1yY8rXQqFrhMJ8
ctICPmQ6pvfe6/DsvpC76jOA5Af5kv/24YAW2hur/dLiO4vdNeKgA2InWwr0NCT5Lk8h4AkNaJF+
9y0K9yK+kZ7/Jwv1XjeXgXxzafJrJ5kcgnXw6kTf7bDYPX+/K0PcQu5+5ufDzzY85OFTtsONtgp1
xI/s0B9I+BdvSuzuv/HLYxW9XF8WK9HRNa5vOdVBwEeCU62FzbXH+v3kWhvvQGflqu4aoSO3oIAH
joGO2337l8IduIXhfDh/6T77T/w7fN9O/aHYk533qM9qD1vRuPjYJjYhgjMJsqbvMY9ehzeYHEJN
H2fomV8ftLVjzIQIJknBPHuxdZx8mSOyH+/yc3GfnJJbi+M9pfbWkdw6uwanWCV389P1Xtd2mRE8
vHnGk7WddVzD0R1K7QnkIOyNyPQPLfDOijTRg11uKbiDYcDUwbpXt/B6fKy/BLf63D9gjs75vb/b
4jWtLDlTc0ynXbXAFAuDx7toQrqjKn9fH6FLLHvvI4w40VvjqMvq8hH5U9P+cK2HHJahcvL2JQDw
Y/OHbb0e/tXn3+vKCBRVAWXL3kdX+p7ez+fuhPQ+NquKyD1Anb+uf8/7GBLfNwGXHDlVIWZMedep
WyU/Ob0H1XhAOymqGIt/YHl2UzT1DYeJzvUuVxaZicD0UD7nbYkeRXbX0R+efbdsKde8nyrF1xjh
YAmmWi02TtYG+xJydoK9zsmvzoGLYeJe6IVVBulW/kssGztmdfyMywKdBNTJE61jR+Iq31ihUjwS
xRB5MLwsLOvGLeGNmP2ALdnGWbU2fsbtwaozp2prhDzbhXEx/Vpb9y39cn1u1jaOEQBgwIu6ro+5
gbwbDD5K+VlY1cYLYKVtE6I507mCUzzymbyTMDxsAvHJs2m90fra+8JEZpZLldSLVYOgAE24KpyG
gO2Qh9T3BALWJ/jqOHE3NkhFIat67ys9NaHoIXEe1iJIXvJhcd1QBUG5cWFZOeZNLKfuBAihPThv
3F12NXzr6/Ebgzhr4T3DaPZjW+lf4uHNIc/gJJqqGpKNg5pwcWHV8ABDetjaFy2/ub4i1r7jsgrf
dgFXdly9AOpJGCwqe5aJG9j9FkcIa48RTag+ZDXsZa93tvLaMfW/bLZAKgji4qe0ojrUrheXzfCo
ujGCkfLGzegfE/GduPrv5vzmi5Jg8Wplw4MYHAr7doaHd+SD1AWbUNiHZn2Q/RmtmcC+UwfHUibk
a+0L5wBdX+ve0nb6nDZQxQWhuHdPTibSvXATcb9Y1IbehJvh/9rlgViKHtLZLoFVKOmTaHT+itpz
8iQT24/7RlsnN7sQyvx82BMOnFvF0uEUCEJ2FvQMD7OY6igv4E+ejEn5VcqAnEuIXtyIvicP6dCn
z7qEApusQAxUlOfAmi09pFpIeha6I2eRB+xU5yX56nX9gmvdOPXfvaLO2shVKX8CyHv+hCpJcVQl
auDz0hcPPlRxnq3KWqKZ1OmnoqxhXQ8lS1jXo/4GGJ4AvXloJms3LVB9wPghV5OoQR3yoWO4vtZj
/gCdcng00GCedkr2gwzhjD6B28YTWLXWYIO00HhwgNmtlltQeOUj+HX60zQoKDtoMrxeX0krQdLE
2npd0bZcJslJ+pkIPbuIZeZTyI/6G+WZtQ6MKAxTz6ZfKCoQ/TynEdzggzBwFPLCLSqCH/sGIxj7
MoUkB+CQJ1oXkYYUftFC3Bl649ebvzyd3tkHJtK2QWW8gWdXcHJ88cgcDtXRhN20vfy69MvdbDk5
PLu2KkIrwd9E2TKUxn2r4vwER9mHOvWOIDxvXZVXpsKE2UIREBzTyuWnTvnJTQnt8l0GkkETth33
7pN2tCGK4u8CKsKca+QWeq+/gZso3FMtpOhg9F4BJhDS2tZ3zaLZRuRcCWYmOpfBDNhrZ8DKbFw9
kmIIua1CUrpQ1fnYy8rE5QrZFiOvfH6Cxs3egYcMzIY2jtO1Mb3M45sgqXzHy4Wtg1PiMXhApN0l
+8ToEUJdH5PJ8v8d5G+6cPwJqid+lZxEWygotsI/eUjS1wbes31ZdxurY23hGfczzvs6ldg0kF+U
r7mSOwl/yI0dtDZIRgyoAEZsvGzAcUXYqRrsXav0XU/tw8c2qLH/q4WlwOsFAI2Jqedhg3rzLWq8
LYywW2vnDsJJQtqX6gybsg9RvHzfBKPKNkUZymqTE1Tf88dpLNuXamTsDvAZ8uQvxN9YX+9PCzNp
uNKCvBDT4xi3Cz8BgXfLPWt/fdjev7EwE55SULBFIVQ8xGOVhllQHis4dvTCO3K80tiWAMX70ROe
tv/dIIXEtUsN1RDT2f3bSlhn+LZ+4NDhgct8qIV2QglK0sdWmonfrfykBqYBGFgfGkmQ0godPd7Y
ekveYiVUmehdKailar+2Tj3826MEnjlPbjvZ0LXsx1dfLP3G/W5lw5hQ3qpu5LL4WF3FZD2STH2v
Bu9Rps5Gam2t+cvf30QURr0U5vYECuYQ1pb+H5bCPw2Mhevraq11IyT6PKtZkCJedYC+RI3WsKYe
ClROxvRjlxYTx+u7SdYC+JSc2pmdCANBMVX0Txd4Hxx+IxYmSvdKMZz4CVRuswVy6JUTLtOH8FGI
HUY4zNvJZXnTWaegHl4zx//p1lm/m0i9wNBZ7qzEmsNp0t2Od+XWIbI2KUaMzIaJ2VmvocmdjaEG
cn4CSaOjW+KR7zcP8sZ/VxQcBAUMBME2Kwnb1Z6E/4/M7qlofl5fUyth0OQwkFTnfTeCweNCER4e
Z+DikWALZrn24y8B8s12UDMInIHj9HHqv4qmhrJrPE8bV49/F+n/vT0yU/QrZ3ySad9ArnwS9Skd
ZqWjuUyyqPT8Zu8lrjiwwJr/inq2PhULxPibYehhuTTJ7IEy5T7MDiAtUVlk3VlOfDpYruVgRdbq
vmV8HqOUX+680p1sHg0CyLMQDypnaze/n8hjpuufZRccWnAQOR4DqFjQRh0WeMUnTXNjezbgbQH5
DeWrb7PyN66DK7kpxo34QSzeVBgWjFg7+uCyJc1zTbOOQ4CHwJzP9j0gPEbZoQiPvFEI5ABe8gmv
gj3MsbYMkv5Vmt+bNyNDJqshdQMXVkyJP80AlMF7jYWyFPm8S0TquWHhDH/ngJY/WUoFKtS+3R0a
PiS33jSrG2eBZZozEQWHeX88B53+E8Cm827ywUfGMeKGLYPHRl7b8g6M3/wHjLPKH2Mm1SfL9/R3
aOS5Yb74zRxCx66DP2cB98BeADAd2nTRMIonULxMkv7kt/a4b0jCcA2R9QvMzerb3uFkZ3ey/OqS
urxRmSBhOfbTzq2KfK8Ky/GjHC49x9quv0qn8eJWi+zgdJ1z1Fx752GsyN4hbhfV3cSPEz78IHIn
iWYYrMO2ElaJ1BFuRKRX71xwuJ7wyoNvuFNXKMUvyr9rRs4Pk0Wck1fK+jiUM4VJZzvFRSvax7yc
cUDD8TSNkEFDvQPavNUcdV3ddKceLplIdor8sc9KyASxxvHssNFq+HU9nKzseNNnaywhpADEhx23
HftuZ+UdjL2nXebAkfRDHZh+Q7KDvxuUQGQMUq+zY22XhGnnwZHcJh9D+zATeO7K0uMQ7hrigczf
ZdBDlwVWd7mY/xbc313/jPfvO8xE03HlBBAZGIe4t78N0xRaeLzbf1Mszevtr1wOTawc1a5YOsag
RVoFFkCh0wG0Xz8iuX9uyhuwrp+Xvv16va+VI8SEwSEVlBS50wQnr6vOTa1fLVr8uN705aB4J1aY
aHOkU7ksxxaHK069yM2bQzKrIyxsgZofUY1gxcYxuLJuTWQ179Ok1wFKHUMzfGFleYNH4MGrnI3p
Xmv+8vc3ByFSvVOBJJOOEdeKnV8Xy2kmrXsY+27a2Bhrs3D5+5suZEvyZvFBW7YA2v9dtE32BGHS
rWTyWutG0O5qixELMq1Iywff9MB2dlJspEPXxsa4E3JlTwQpUZhTpMWDTfwnwQHMGbaSIGvNG3dC
aSfL7KthiO38xzx2ka1uIVK7sc1WtrGpNRdA6g3OQgONu/4xU587yBcT/9eotkR2Vta/CRbDk2iB
vBW0QnqQrHeJC1xmUmYhTOxvutx+sIath8vK/JqwMPidqWYgox0PlO4Yy89sDDZQpWvfcPn7m4VJ
WZm1SGrJuFYp3U3UKQ62xfOo01m377Pie1A18+F6vFgJeybECxPbq9bmdlzo/lGnksMrGzmvagHQ
y2L1jjrs18DtjSvo2pcZuxpU3BKcC9eOSZuTRw59lF0VZN+h6GvfAM8E2NcgyO76l61N0OXvb0ZR
drly3EzacUCcu4TA/iQVX683vbJDTIRXS/vAGnxswIKO7c2UBcvJt3rrjicT3whOayNl7PF2KJPU
XmY71pO+SwTIs45dnUqmj5CkfeKEbaWU14bJ2O24amGp1ZzEyTCTT2Xi1yfeki1S0Mp29423ns4S
6VUcu4Q33WfVCbyVWP5I6uwz9+Y/12dj5QtM8TkOP0M1Fs2IkMKSs3BLsc8p0gjXW393rpltiqI2
eT0Wc+HC+J3akDWawiEY9+O8BRpZa95YpWUewOe90U3clflfTazXToMDxIbd9V//7pMJv944hXJn
dGuL9FmMbRZVMjnjlfAwSX1s+/Ixr4t9kw7HPmEbt493pxvdGas2KUqgsgDtOSf5sIMqdgh3GBgi
V7h3iOP1L3p3ttGFsV7TS/7Zqtv57LezFyUocIIc6GycTu8DXtC6sV7nALbTXgp1XamyGryQoDz3
GYTSau7D6jCgIO808L3Zjbi/0TBB7V2H00w43Q0oBn6VsBQ8UYrrl+f37qvjusOWv+bKd5sYWWbB
T9UXANFbS09vBmpBajb3tnIy7x4DzDbhsCWoVpmi0PqvMucALfmwrS343GUAZ9mndrldQEa/Pn9r
PRkr0nWh624tZIQYkNzbDJmlyoVcTP0JFhnnQgZfx2bYopKubC4TJ2tVqmYt+LXxmHwdxHERT/ZW
0n1tOoxlKJRHkLXsu9jPq9suJV811JM3VuHazzYWoS54E5AlB7NAZs8yV08wo/4N7baN5t/HvwBX
bWTIAs8XQT0z+FNLB6AuVmCqgwwOh17j7LJ+zD+7C+CggbKsPaq98/5SOL25Pv3vnmvs/z0U3pzK
GkS2dqKpcyYOhf2uO93RYn604FE49G2cB+636/2sRCLzHphrJtUwC8hkd/7fJsuRNC3HByuoxxA+
HX+ud7K2li9/f/Mxbus7M5IOXVzYoB70bA4bqEWOyI4QuhxQgI83oWVra+Iynm+68qqSK7qkcEsC
dpAWT727HHq98R1ri/kyiG8aD0a61LQImpiXJTDIuap2M8if1wdpZSbMshFqErWbaIueZaXCgkFw
p3ucQXlt+i3A/crYmNWjRSnclpbBPfflAvpH7Vp3rPTlQbbAd33sI4wRym1ZyVok9CzG4ExEHgKp
4SzQ+B62mB0rG8PMAyUpInxNPHpW2dhCDbksp53fVOXTzGrwbSp4V6bOqDagTmtDdlkJb2Ycjret
JwO7jYeuPY/juOeK3VnTFolpbc6NIA+stGNn4A6fHSvpIzgRpLcLLGv2mKn5CNpAtXEZWBs0476R
2a7NvII6Z9r2u7puyYGOyTOfQOZO2keWVdPHwhYzwv2gaYoipaDn0QckQfpJpCB62pTVXwLcrVVt
VtjXvsiI/encL3VGFD13rQXtovLsQCcYCqs/YCz7QtJgY1OuzL9nHAGosvmem7ck7tIfAYgpfIAI
TL51gK3EE8+Ii5PqAgkcNMyocrgHlfbB6tTGRKz98Mu4vVm4nbIryJ9jIroge0nT0YvysXmhU7p1
P1nrwNjpgcp6EIEFieGDF5bzSQsKQ7WNl/1a45e/v/n1jNOWFR4Q/qlAgU27R2/CY4JtRamV275n
7Or5oiQ7L20bYwV5n0Dr72Orn1+7rOmOASTddxSJ9kMnavjn6Dbb+KiVzW5SgYoxI6V2vOBMK+tG
s+nkjnAtsvz61cm9LdfJtU6MnU6dMYfViwa945LSzEdwBvzxQXH9y5P+Btx9bdkam1wEspdCiTYu
RgeifPqu1PnD9fNjbeKNbe1BkzhAlZCfE9piVaECAsdGmmxd39eudCaPByK/FWlsRWIry79oWuW3
oq/+SK/fq1TddH29t7rqhBLdTZ47G8F35ZtcY5f7aSHySvhLDLLIvpAsGorqpqab/J7L1P5PKpvZ
Jr/HqWRZuTOCu7XAihwC9hlQk2P1OPvUvQ8KNXymuvfuOt+BXy4stPxn3TrkBTZa1cOoyRY78fI5
7/0MIyBMHIZWuB71KFfryHMHiGZUUYuqb4Hyb5PpnaO3kgHvk7XxyUZ8GMmIak0DFAflNZSOv3Lo
PcD3PoTcYjjWIuxLtq+RZ4cWeggAGWTvT7XL8Tq9d3COByOJUZyMMNOZfqpqufFgWNl7JhsoTVIv
Q3nEPmskveAWxZjzwvwSBjo10JM4S9xu/6Ft8j8Q0JwuZEq0iJuhveUB+RSw4kZ7H3JBwOPD2ODK
9yBQSsb5PDDrMGVVzGmz6yC/+aFfbxKbKJEz3Czg7+7WfhEGot/DYv7b5I8fO/tM+pIQADX3xLbP
3TL4O0KK4imADN6u74NuQ854JQSaFCaZQJdqHBvcc0srg3zUdJJLslG2WDmd/tHe3hx+AiIy0urq
5Jy4vQiDMT3merz3ZfJoz+4NKZs7WbrHZLA/X5+OlWX7P+Qla4F/rTUvsYToPbihUQB+NkUG3dva
GCuXNZOz5DWVBYH8kp+JDasqpGRF2UYO+5tPPHTtD+mrM5saV57J91rS5No+T7nee0v5ux+re6X5
vZ6zYnd9rNYiDzWinKZer2vImMbFoqb8jJYnsHrrmvxAugnCoyLr2xAFiPrcQNj6yWsaXYVNOU0H
SJtBFQw53vPUuuS5npapD/VSNt99fyzvU55AsRK2Ae4RePEudltGti4FK+P/72PerKgGutIZt/HI
ryQ0dLruN1ngsptV6rdjw+4RdJLnjeFZOYtM4PVsMauGNnwbO9/lK0yJzuDnjkcbKr6h/Mme3c/s
Pn0gt0ns3Hyu7rIv+c/rHa+csSYG250DQqoS/Q7kwa0ectlFYtmyOlnZ7CYIm7h4l2MrjvDh6V4S
6jzopd4IhWtNG8vJ0UEnF4oXAKn6+14sn1PUYzaOo7UxMQ5JCxAXtwZzObbTJYM4Uo8pt8onh8xb
Ji0rkcNUNy4GkgWFVU/navSme+Uv6RMpy3mnbSv4kvB8q8i9sn5NIh/cNxsHHHoZ5353druhDq2U
nnmNw7/KVB9WhByvr6OV+TAJfIni9SRk0MHiK1efhrxdjgVk5T/2mjQpfFUBWglbaBdnY32TBslz
UzhnRbvX6z/+H/z+nSvYP2mON/t80EUOyytNzj5XzY1X1Qzeqro/wE3S3TPtFp9aT4MIZEHoLRNu
dbowto+tsntgk6wOSCOrOFeqqe8aKvMXAe7ARmB4f6UQ8wRAXMikuxTJucmbI9AvkWPD97Pwb0qe
b9yJ3p86GAj/980IoeS6c/O0iCuRLPCLnRyoDsst7faVzfRP/+XN0NrpaCOTLcnZSRXWNw4YlR+K
tv/Qj7f/6Xi/aX5iaJ4R5ZxtxyvvAU/jeyjh5RvCIe8PDWiO/x2aoJD2xIEgjXXG3VMeZP0nH1i0
x+vLbmVo/oedKLXr9t7cxrPbPUHJ4Bsm4sbKpo3mVza/yTa07M5RDXPIWePZVgBTyItzm4jDmFYh
qzY6WfsGIw7badsz317oeVq49S2TRMWlx1TsZKX6c32Y1r7j0vWbKR4aB+Q3PYm47B5Kn0ZIv+4J
hKa6Dnp39v5jnVxWwJtOAHmscqdi+jw206GVv7sZbsgoHgVCRb5SG1Hy/d1sm/QW2NEFXQOT5VhT
Guckv3W4dduX2QHbfCPHsDJaprL7IqDFWyzwaXd4HTWt3EO2/nGg3TNx5NPsbnHEVx6t/wCtb8aL
lG3pZe2gz22n4oY7P6Z0BpdPu48M6EJRBuXOkfYWivzfdeSdAP0vLfGmO665X9GxwUac6A52zg+t
zlFa1pGGeHaeLJ/6GjpazoB74HiecJeMWNaGOvAimEKFZZFGPkVlPS8j4tPD9SWzEhxMWkwziTaH
Y1MXj1l64zYOnBy2QDMru8qkdkB9PB37BOcdWbon3tB7uRTnJHCfrv/yteYva+fNaKZuOrliXMa4
kU0Boiv9MtcLBCtq62OL0OR0lH5VUx+O4nHj/7rw3mfoISReAahgESor27gVrOwmYgSGDFKhdtOj
Oiad6Rct3ZepG85+pV6XbGsi1ubYCAvuZDEncS2A5Nv5QKshhJbzxq9fS6mZzA5Huo0qyQC6ExW/
hgW+EjL/gkReFgZBcNfL+ZGm8nlo7IPbllvy6WtTf3l/vJl6q8gKLhpSx6M/71gHOk/ZgVYyf+x5
b9I9rHywep0kUOIj7XGqxRwpYpONEVv77UaOU+R9W1mzHONRPnUaOuntt9r9cX1LvI/EZ8RkdaRl
mUvB8BAaR2qVu9Qi/CyHptmnJJt3bUDgO2Y19LYXKou6osjux65pfteAH21cNt7/PGJCJKaGdbwu
uyZOJd3bgtz4l9tmTjey6O8vZYS5/858V8jJxQeNsVvob3AGPOKy+aFICDOn/zY9NxY4WzwbY9ov
wWckJpwqFGObbAzMu0eaz5ixCYnf5aBtB3Y8LcmulfdVme0JQLtgJkSclBvjs9aLMT5LqXHdqykB
nO/eT4ZdZkPiK/u0eN8ETNaur7J3T018iTFQWUJqNOaReCyzNPRg1bPLpRd7vf2DFiAq9ZkFvc7K
3bicvTvl6M7+77wU0morNvEhbu3ith0v7m3j6fqXrDVt7MVUNN2I6qcdl+2ynzJow0Bl6XrT74Z1
n5mlQye3+2KhAD827Z3l5rvKrpEo+jOPf6+3/+4+Q/uXyXkTAptg0jRvPDt2CRx8g/FzXTu/eTZv
ZCHXmjcOVzXP9QgIEpqHkL0z959lmR3HPP1IhMWvv4zam1/fZoCzkBZmczLpv5W+81T1w7IRYFeW
p3f5pDdt06ZL4NAT9PGwsMhaYE8bvNbuFDai3if07yA+pJPAzDIiiP9ZPfXAUIMJ/9yUzA6TQn+F
ocPWfXFldZoVQ88VZCx7Mcf5WN+j1HHsOm/joFhr2tjCakSxRqcDMnPC+aKT4paP3kZ0WFs5xnYl
xUytwQMkt+hRv3Nt8OJ+NiiAXF/2a9vK2LGdypLOFzNyQSBl2qGqi/FmqvFUqwBruMn8vN4IDSur
yCwVElCchI8SZJyX7s3A2mjRAmSdJgc6p8BXIREMYbR8S3NtZULMKqGwfJKhptNDsLTZIWkTzssW
l3/tS4yt3M04LjMOPmNrdWdoOXXhaMmXQEMIhrI+mlrYCEi/29gV/16B//PI8bEL/rv9BCT9hYCq
cawZmDQFoLVtaCuH/WAXcSThaXVUCcRgKsiL/K7yjOxT1FP2pFbFYWk9bw+nseXl+mpZG1UjFChp
B3PnguQ6zcknV4hn3+W7jzV96fJNlEHajowBkPqQhKQKEFc9P2hn3FTMRivvDaJxjFepWw9KdTBU
7O899QIO6sb+WdmdZnEM5pX5SHo0DAn4mCly6LrpUz8E++ujsrbWjM3v++kMLzZqx6I4zZDpXkQX
Iid8yPCwtXkZNdXGPWclDphVskHZrmKDJnHtpY8Ehf2Q+rhMV3bwK+BboWylE7M0ZpcOrzIKd0Cv
Y0Hk1zDMw9sg3XnVBBVpMaQbIXOtn8tovllLdJpzd9DgSk/a+r6k3+YiCHOnPwXOz+vTstaBEQKU
NeCcHXHcisQlkZu5/HXUYwkPwK66XNI/yGMwy2MtqzzIkmC/kbyHBZQiTEVZAnKjVerkLNmmAPnK
NdcsCXgVfLZ7sGWBEALqPPBOHf/aZwuAk79wzB+uj9pK9DCrAaVi1LVaHPCqceaw5fY3MJc/ZFbr
M7MYkLnwZpJATeEJS15pN/wo9fxak/bz9d++ss/NWoAikGLDyDsx+Id/bafsQ3se760G6a3rHazo
yjIzJV5XntYLjOBj16nqW0CT6X5AvmeHKiw0qFGHuBkKG9LjaaZPrSDTQ8Zrfwe/0Pq7N1r9azDY
85lz/qFEFgbUuBlUosW7x5ppDLP1Z9mAdc28LfHAlf1jZtCHJR28AtYo8ayLP3Cp2iel+9qr6Zcv
3Y0L91oXRgwAsFRJ0EJoTAv510aqbwTZWbjkW1YkG0fWyqYxU+ljbi3aJp0XZ9X3tobzuEqPWfPL
5pChphuRZmXdmbp9vLQFoJnKif3m3mE0ssQcdu5G0F/7gEunb+JkwVySZkw6cUWSR+Uuj1Vj/Ww4
O809Cr6Tt6WgsLLxTbE+q4UmXeslNE4ZBPoW1fnnxBrVx7amqdIn22RUxcjc2IfQc5rlu/nyz7zf
mOW1GXD+O0gBd7PRTWwXNUwwtIey5rdjlaR7z8r1x84rEyDklw6sGuvEjZtSQCHgk98NO8JvsnYD
dr02z8ZW5pDkC6q8ruMlyK1DmnZq75Iyu/MnKW8o2HKH1g/kByOxCVoYhOoTJGbcGBqH4Zj+Savv
6bLFrVlZSiYyAZoSEvTETEBWoGwiF1YBceI5W/SalaBhQhOCQDtpsCDK91OmgbJL/8gie+2E95uo
5WOTbYq9KSCNJk7xVJRVBsnX9tGGhFrERhp1ibWFCVv7EGNni5lYM9Q25njy2BNPIZ2YwEdyyQG6
7z+2qEy0giOtZIYnJXI93QNISSinHG1Owlz9GTcSDys779+L6E14Clw2CtSE7dj2ZH4aR4i6g9HH
nVdBx+LL9WN3rQ9jdwPNy2xCSR931YzSEOCyxyn3v/Z1JTYOorUejCs8lpTV+mAax+Dr7jINc1qW
HHp7SyzmXXibjx/73/DUTB6kh0q6xEwOJFQJWI8gV97iGn9X2uSbhxEMOYrTY8u35mXlUWKWuGx1
uf+OEIZZBBseA35hBwsNjtsY+PI7l93y0GmBJ0QXdMGf6/O01qdxnHui0iiNAFU3j3Zyl0se3KaQ
/HjNNdT4o4kCasyAQ28iwDjZBzVMTLGzJRA2oqOjYqS/oAWJhwqLmbsFsFuJymY5zFoWiTJkgtSL
LAoIgi9HnSwwSZQp3l7tI1hXG8f8ygo0K2LMT5sOUTkB/jS4TVT+BzquR3zYVmp27UMusfrNPk0b
7mkflb1z47SfUyv7bTXqKfFf8hy5pNEZ99eXwNpnGG94X9WNmPTEzxBa6pLHUn9evK/Xm14Jl6ZF
cTaQHI+fxTrX/NPMbxWu91X+2FQbl7i15o0QUGvLseZyTs4Vfjm5ra0ysu17R7Lw+s9fORSJEQNY
70JkZckxAbn9rQOk7lJE+BBnx/dM+S4F/OwldY1MWvrE4BQRBfCci1r25fpvp/wyf/+bm8GD9r/L
pytYk7QiKWIbsfjUNTP8+YKERkU1pY+68J6CGcdLppsvQPC2UUsgRyEqpzk6TpccObenWyIGONJY
0PK9gQrH12xOaZRR60Uj2XCiHXSrqpLcus0M97Mlq0P86xUE0UFNAYr8b1/0YwiI/WOb0vZUsCqL
k2wOdkhGO5B5BhA+FfRHVlTQcm7UT3dKodlecO+VStLtyl5W0VRQFvqFd6FoN20P8/oB/71DSBb2
rsP2+JegbIHablio4M+Cmh4kTPMMiP4AHthLZjcAWA5w0Jk50AsZn/duz0TYzCiNV+2Qn6u81cfC
Gv7WZKzCUQXZAXaqycGjoo5SH89Qh3AWNXj21NHlworqCJTLn2ouvCdtWVYdJcqFqwWbkjs9kiRC
QkT0YSI7uWMSxpvZDJ1zvkCoeU78R+mQsgpxbSwPQntprJagjCt4moYJlu9usAV/ZmPuPJQz0oCT
57QhKg4WSGpVj/pVD6nd+yGxqAxHu/dByeHiXI4d7pyZv4TU0vOZ+khopSUAKdSq/za0hYI1VW4E
n4HhnJUDDfv+IpMV0B2n7ifuFECgL4fG6//CL+1ZDaIKi6D6qsuRhVM1inD0cv+19aUdQV0QxndT
l0eg8qcH6bnJyS7Lz3AP5pFTd/RYBxIcHghSw2nrhUAfN7Rz5/P/cXYlzXHqXPsXUYVASGgLPbhp
z3Fs32woO05AiHmGX/89fb+NX92mqepFNk6V1BrOkTh6Bqd3m42NiulOdBKy1J2EyYnbnwAjyvQE
jbCTxqjyCsuG4YELYzlaJn8bu31wo0z6oN9DUn3MS59V8o9gkPINq/ahyrqvQWQ33TAoD7jmzlNp
+e4Yw98Yj39+FRVq65Iyjr05m0Hwa0HReTRdafNN10TDP6prUCA3mb1Vbd49pJbTPoWGnCDxHefb
qbf51kp4ty1lOXouFMS2oej/Gaa6hvZapLbI0CbokMkcDArFQyKnX0lZD0dq9HQ3tnW2yQvIrLlW
aAZRl6UQf1ESh2oZQYS+6PdOadzbKTQVyJwMXmbkqNT3QGf3ApWuOcfp5cB2Ekgy3DUKC9pYeFWO
cGCGCLKpv0uN/DUV4Y+ejZUv4jDyY6N0TgyTj67N4YFgj8mWFXx64yZ071H16O5Msza2qA4UHzmJ
58CkXGwoL5VvNcTxnYY0G4CUq50CFfoHcJ+3YohaqMNZT22b5V4WmrChbtsvK8mtJ2jyGJssmizY
KzTFrjX4P6QVUGhs7DfXbX/ZpgKbxXBtj5X583QqtUErpPSEEb+7yfASO/KNmUnlcwwRzeafrl0d
zC6sb0EyrTadoyzfGLNm2BYSUuu4Nhjm3pE9xJEgrj7Efp3Radr0BchLW0EIT3Z5mQgshWVg/0Pu
Pb0NJ3uGgavJqs1ECvbGIdW7j92seMa3lHs0205sy1IxP05ilEtTyezPhvH8RsTA7Tng3+H/gYY9
QETd6j3w6QeAHptwA+PfKICqtP2DdWP71PWje9/NkE3GgzwkHYDRhUsYQIGGl7Y2sV/JlNEnYbdW
uuHEiY8VMuCOJ4kfEuxhp6lBvhGueHZCXv4mKIP2GzaBmgrQw2+Wz8ktb0EFGkxkoX+5ww9hWNf7
sHHTbcwtsYUJa7wtU6leCe8VbEhzSFTx3k52A651L2OpyGuNutY/vJ9mCnJDz7ZxXtjttrHr8mCH
1N7HhguXXitM51c3w4swrZC3sjSN6cYwoblKJ0v5zhgWkBbsniBaRYMaDhI7y3Fcf0C5OfI6PClH
2yHL7Nca3K2beY5lEEMawp/iYdwmSv2K3ObGKd37cTBrb6imdmtIvPm41Gj3sh0Sr7agMlmMcXOw
oFnoOxV3fcIKZ9OGrMSkli8xdPuxAgb3kkndhQMN9xDAB00nzH+K2LWDOHRgylpkzxW0C/fENNiG
97Lb9BJuu709/FRG4QQEqXQz8uk9jgqo53eQdpaj+waNm9wbu8T87IrKfBUWJIdYcRIrL+SmHZEN
zIQN3oiTEfIaKgscU0SezCriu5ZkYBNX1dMw9/VfV034X66iWz4ncA1uOvV++YA/f21zdPlM6HrR
/OQMcQRY9jVye/ixteL0w6YVIMh5GCBuKNr906LR3CYWd4P5AesUPw6v04dVedUdOIlPxi/r3X0f
Xtqn9g5vVs+XB3X+Ruf8e5f5duWNK1bQWLpuQOIy2TRp73YeU7OReJSnsd/Fiqx8BC/1pH2gknKc
ULUM3SDL2seSZHdxMv6y2+7ZysnH5cEsrZB2PW1LYsMrzXIDmRyS4j1P/8zGGp5tqW3tatqPEYFR
FKpnbjzcWCze0rjft0jml3/6+U8PR1fFbavMiePZMoKq+2xZ60XE2GYyg/5r5JHyui8PR5x6/7ba
qXlCvg8DlNFaFu9U54gX02hay0uNNT3OhWXWdSDHqspjzvrpmE219JBpI69sTVyBwuS96dd8984L
DXFHl4C07RnIIg4t2xIMbZw79eFkR5GG9qa0nA03wWnv8uPchU+jm/2w7amGbjyIa3Nk47rHU6/u
19Qol0asTaqIx6aya5riGT1zdmlD5m3apOmT0WZqJ9KoWvn6Pf9x5OiKkR2XFV7s8XVKIUR6R+B/
4hcRWfORWmr9tO+/bQ18Ws8wkrJ7bA2F29vfiq+UjZYaPv39W8PdDKf4pk3DgELJ+LEvrXkzCjns
LsfNQljqAl0wn08qYwLKNAuHdvDCUA1+0xnh3Qwq6Y/LfSyNQMtckPGzcXOJYOPqOv0+qZ38gOO1
/rqudS1pGWFdVBbBTmad0z7GVcn2eMpI/17Xupa2ZlQE5jK3MPsWTliZ9feOscp6XJh8XSTITcNK
uvAKPY4ZCzdiLKKDSVroeoyTWikyn8+LsI//391TCfjMcvCNgiHC16t8zyCKlsf4Fz2IbK3Qfz6C
qa5RV0EcYR4K2w3C/sPJBi+psk3T5r5cFRE+X/WD2vT/DsNx0lFlOXEDixSf+Bi9g+RotctKIIcU
tTe4W8PmPO9XMsX5daF6UKCyB9uiNLKPkPbBZ4gB9YKwy+AdSuKVQs1SD1pI0EnBSsdQM4DQ066f
xp2Z2E9R/nJ50y6thxYSMRloZxMsOgjNXlZ8DO5H5Ny6yXV2clRXqVO2EsmQNmh/sm7SaRy9LKr2
czo8XvX79biYjViVFFTEIzNme4tZ729dJ5m9PoqrfWY24fZyPwuroGuoTkk2M0Vw37FVtwlRhCF1
uavHZuXGttS8drChajTEDdg2xyHucSvsx8/Wjd6ThK/8/IXY1rVTGd4j5zqBylFuG76Yjwlsydzo
o5j/8Gzlbedf1MR/a3JUl/3jMXNmU03JkaWF+ezatnsXDTHgZySNbwE3gHdeApMsPDIN+KYuAUtJ
TXiKxTSEb3ZPHCiJc8jMGIZ5kyRpeehinqGy2lDoNle531qcHIGI/ekC2bhJLLvc9EaVezGoM16f
R+TGcczZT2Ept3E6yqAL1qp7lDnDm0KG4pfqIlTHZJOZa+ze84cV1fFPWT4Sy8SXWdAWzQuoCgGQ
6yvbemE/6KgnY+5Hx2wo3Kiz0DNUCeTLuOnyqz6vqM4PiOUMaIY74PLO4YEgWR9vROVs80TtrouW
U9n220XEbopIzPCtPEbUrvZOlpDtqKr5BjFqrKTFpR2tpcUplbB7tSHlA42+nWUp6U1ALyur8osh
/DlW4VXMZ065liHVJAeVA/sdoIYN64m5T29Y0qNurqDVMMq5PEBSq7xy4rQ7BE27UVQm0iWKKCgj
48s0BiBpDS+0cDTqaooSD5QA1LbJUVQ3hQ1EHTaWCveRVeAJTBzrZE3mbuFU0dkJQpaxaopmPnL6
e2p+lk6G8D1AJvLy9jpPseFUpyPM+NwiQ50nkC8Zwk9I6WT/QEMl+glrdVVAZdW1Sq/unOKHOWQf
MUhQ2zaeuRcl5toTxNIItYVKS5xnlotzk9uxV/aWF905w0d3JWaB6tQFwYw0B2ILn/CWc8yIeMn5
+HZ59hYiR2ctSDzDpgD58mCY4ClMel/Grw1So+s8SIh4X+7kPCeNU+fU+7cU0KC0qfKeTMcmVU/G
RA5V98Td99ZOby0gqyJ3N1gPbipW0sFCwtTJDIM5oFjeorgyjmMw8fjYqvIP7+Ovy8NZWG6dz6CI
FArIfx6cpI1aWLzxaPDD+ZbxlXvY0qKczphv08Wka89QasLJnDgoNh7t9MfMHuYemPf4z+UxLES/
TmWQDctgjlxhy+Y9ivSgt9JeHlQn/6nNFPXK8q0Bm+9yX0vzpWXneopTqzAKlNfclKLKNW6KsNoR
Zo1evyqbvrTmWmaOR4PyqDHAzRD3YXqI6POcXnf+Olp4W1ZaJ42NS3dkOZbfiPlQWvLY0eHj8vyc
lvXMXUlnNlhxJJMqmkUQI5G8KLhX3phlWK3kx4WJ0YkMxVxEaWVi9o0uPLpW+9Fb2TuK8CvF04XF
1dXO8iGeobeMeWdm2cL72Mg2nQGvL9POadC5bM1Ld2kYp/6/xUTRc9eVXTyDdNZ5oJX4swDxI1uT
5Fkaxqnbb82zshnddkRMZ6rGCx3i2nW9DFw93Fkvr/JSD1pQS3NyQTYfcc9qIbhUpl7rmL7jvCTi
9XIHSzOk3bM4yUO34YwHKeN4eRheC8kfZsA1Vgaw0L6uGdJkPIKSd98doZlnbnBzLo8NRPLx2ptc
Jc3Hqa4ZIqtORDMl+dEV98L5GUYfzXUEK6oj4Sdh1bMSUJKJgC6E3nEx4wGnve7DX0e/J2CHx7Uw
86Oynsz8My3vrWllVc/Ds6iOeS+yjlmQXmD4npgf8M55b47ZS1ZB0N906bYrKbg8Vew76jqiIdVx
8DBSiGSp0urIw9z1RBly6PTZcpvY8QrX0FraSdqBQPBdS5yCAVw4tsmOJjA6qXiq/Lrq1Ksq++jv
JJ0/omYkiMbYDio3tbdG34Omqzj00ICDuJlKdlKlNOS9E5XugTnA7crZYl9ZVDYe5Fa5B1X86dEB
lWObuSEefl0wRZo+FSun9ELa1nVWZisNpWB9BcKRmnalNOTWDNs10uTCuuvY8Abu5HyiTnVs2LsE
Icwt4jvHfojhNw9/jU1eFttafV6VOXSM+AB70RiFJCfgLD7ksCtvQHFq5bS/3PzSROm5tRYgfubc
CSQDzMSIhhK0vXEl9BbSqs56gHNt0dqTOx2tLvUhsAq3CMD56IdjvV3+9UubVTv9CS8iCFynyTEs
20+jJLDqsBxjA7+FNbGhpeuxzmaAshAEuySdIB/J202JgNg5UzPuqgZjkhIW8OmIx28xZDJQDYl3
JJPyuuuBDq3Hc7Coy6mbjnjZ9WQFFzlAFeN0DQG5sDw6tr4uSaumEoK+DYTzN1UZM587YQT2dZ5v
AMfYXV6kpW60jNKxhEMSysAOBsc1VNHGVLcxe2sgonW5g4VdoCPsK1Sj8oK1YHbnf4r+l4ImfC7/
Xte2tsNi6OsqYIvCYMKdY0IZcRw+zbBbObYXbvo6mt4dnLEoWgUFiioJPUXm2i8LB5rZklfNDfiH
rd8lhv2UiTBbuRMuBLyOsSeQ6CaiFiKgdFbPEP0sd4kJ7YPL07WQGXWMfV3kztA20C4rk94rsatM
F2n9n5JnPkVZMYYzw9qVZ2kgp+327VbYWlEJqpFDg2SeHlvgqzZzgiLZ5XEs7FndUn3ER2pixGg8
zuMN8Ca3cX4/OEPQhfLmcg8L35E6wl6QpCtTiOYdqxrf1+CcbZ0Ior9FwQGukhA2zFi60tXSTGmX
T5XkxBZ8Lo81tSHmawTAwaw0vZQede2pzh27BhKcEJO0/gKefhO3dVBl/UYCydJzFHcAmfIYb/38
Ojgv1WWouqoy4tN7OtTsSdJ6VVnmd+JfY3TIg72pyVor9S/tAS30G4EPP5j1hAEhsW+ratPAKDUc
8OSmXi7vgYUedKw9U7jqtqUB9gAz/Dmx/VZaARAVAJuu3B7+XYcz36+6rJSaINSWTyMP2Kx+FtR4
cRsLNTDS3KQUzs8iZDdx6SC1VR0EWusPmxgvbVO9Xx7gQmbWMfZQ7mE9ScIMBkNhLHwjxaOGDace
gF/nkjxd14mWCPDtqQSeIHJIjo5eW/yK48Gv1/L/Quzo8HoBvRPTcE/+7pbzTwcrUtz5V3LMUtOn
v39LYHZMTXBHag6s7O/RfEqM18vzsdSuFu7zZMdZXeFJQg22N8I8xlzzqFvIWTqSvjdoFlZpyiAW
Gf7KaogKFuYAA19JvHaQfxT4Z9cNQSsYFRnp7ETg4gP9xfvBBA4vVWRND2tpfrS4JihGMYVvwmMb
TX9qWv0V+dpV5/zxZ+to98KxXVhJoDhYivqmJOPJz3uf5eZt3tn3uDFuANvdGmpayb7nw8vWAVKR
Km2JV208RnIK8+aXAjyzify8vAZLjZ82wbftWcH+JlU2Lr5t8ouj6JKoxjPLNeTbUuta0DYWUJNT
6WbHobG3IhcbmMjB5ihCir3u5586/vbzS5bm0mjw3YRqrT+SnwL3t+hK8pCtoxLHenaGhNTF0VVv
AwXc2X1vgOa//NPPb9D/51J8++knegIhoGgf2RQBLmYPb6WKtpfbPh/CtrD+d1qi1kgyxFZxNCzr
PWSk2A2RBeuhTrq7PIPm3ZrD+MLJYwsthvEVNCa5CR0tOVfGI9yv08yjc1PsWQyZ9rEz8h3stPAW
S9tib2Z5txkbF2TV3jV+F6Lprrrv2rrHc5lUsRgZcCx5Xu0GaG7CYO/r8lwurJMO64OcslUrhlc6
OCn9hoCHL6HzubIHTnHw33Pb1rF8FEBuAMK4CCYJEDI4RXAk/KeK49TrqzV76rMxyEAx+N+9APJb
NZZJYwEaDOus/Kmz/0BiZmUAZycHjWvx50Z5CwaCsAJh48mK184Dycc1J9Ozs4PGT51+i5AIEIOe
1zEJHDf9suDp4UFe6gvSUjeJWDMgX5od7RjllkGapprmIAWGzgF5zxhmfJfZK/NzNhAxBC0Qm6xM
VVhSEyq67R563R4wbx7Q7ifOid+XK88XSxOlBeHQgFjr5vYY2O4nSB0bKwKQsa79rBArD0jnvwAw
EO047V2q6iaxnKAoQBoJo+aXCbvLW4MPLMVTf5Q/C8cAkyQFSHArVBY/Dywb9pdD0D0XJozqB26b
dbwRbWIGdECZD+SvYSj9gfyoKGhZ5o/QPlzu5/xupvpJK0ZuzSRPrWAaMq8ypNfGPy63fH6bUR1+
HOaGlUKfE04HVtFvjYZ9OM34yA2+loiXOtCiPOrL0rWLwgwSF3oZ4fAjFhGQj9nL5d9/fh9TnQGA
p8oh5+U8BkYe3/ax23izI59n00YtdDT/NGW7ksiXxqHFfN4yJWLcmQMXvrzbopvAOBFGwFD9uzyS
pQ60gJ+6pM+VY8yBHffmZoxcZ0ejokFKwaF1uYulbaQFfZwUlprDNoKYlBM4zH6l7aqG4tm7J6P6
iVGMkyS0q1vQQGqvGtqbqAn9Oi1Q2Es2YnggtvswG61/eSQLgeeetsO3DNxX4HGBzFwH0ujKTQEI
gVfk9LHKi8Cm8lMwqTawl1wJv6Wl0dKYIFbjVioaAheknYxRkBrpHWiW28uD+ffB5j+nLdKIlsPM
oizAAAvnoJ5z5Y9q4jvZVoApch7OmyQ2mOlZbTeCPlZNpyTWbUTXGy/gRGY7MrPwhhu2+zLTxNzE
M40nn7cFSl50rvdRHrJX7hbkrmhjeihqh/1lVa5uZNyQOwPMtbusNnCw25nRPrRJyj5ZaPKfRDbT
Rzm69uirxBU/B5f3+wJcy9/RDPv2lWPoPGkA2+a0nb4tZOhmaWgBwhaQ4Y2kpQ+rQDAq2y3Ae8GY
v4DqtDfG/q6LLL9sDD/NclS4Y9Co4m3frsn8LiQRHdHslBZCLqr7oAdkdmL8ZzkW5U1Xp6Mn1fSL
9mO8u7zUCztJhzWPbSOsrDWrk3NotOFD4vq1PdqeE4uVPLUQ4zqsmZiVBI0XkcEmFA3tksXPwFu6
z5d//1LrWpKClrORz7OogrqL/+GJOvABR/rltpfmRstOToQ9LQz8cjIOByM1dkb1F8WPlZlfyk9a
DLuqD4ce1MpgqnBdm3NvkC2c1Zsv7O5HR7Q7aEb9rSL6enkwS1tKC+mmhOvZTKwKPkpZUDjqMczk
T9rXBwWnchIWa9CBhQXRcc0gwyZuCBHVoDPlTSHmxzkt/lwewlLTp9z7LTTJMFagIjt1IObuJukg
ldoi11y32FxL4KCBZijN2XVgqupjjI27AoTbAp7NV7avXTvaobL5AL+9wEgmkYJzmA9bERnEm4ra
er88QQtrrAOZUZnjnFpRFmRDqt5rYnDQv63xRg1ufxwnMNsdZq1RjRaiQ8fi9iWZ8n420yAeeL1R
ST3hsddyd2SQzsqhutSFFtzk5EeTWIofWPkaG0+iGzfAx67E31LjWnQXaSNMty8q3P3KbB8XZrZt
ksTddBNfczdZCHEdgYs3E8iZpVwFpFEq9rOpYM890LheiaNt25E0avEg0OS+NcZt782kFE+Xd8LS
4LRopylTIbcnfqg766Oc0p9gJeMSEq3k9IXmdTzu0Eu4doALFoxOBmQTjC/2psA1KxbJtLL2C8Gu
W1obTsPxqVY4hxx0oW0UsmHfDE2y8pJ8irozFxzdznosqi7u7IQf0tyFruhDaDqe4ZbIw8+XF2Cp
Ay3c04TBSDWzy6DpxwaeU8QefufwhP9yCAv3VujK/eWOFpZCB3iaVtN2pOjroBX1a8TtjyhLnjJw
3FbWYSGn6ELVfVxKExwIiFSgKDJBSUSivGf3mdfPLyS8rrhAdYinMfWc1gKj4H3+ZAFf4w1J/uxI
9vfyLC2NQgt2yEpH8CtoMEu8ABopdx8NQR4JYbdtP0BcpL5K/Q/6xadl+nZGTRS4ZBuInoCVtNob
VujcZp1MN5eHsRQUp79/a33IR2rR1CmCKWnY1uKc+JQMa+jLpda1dIt31zAS0LEI2ja6V2x4ofw6
tzf6X1w9kC9wk80CM7dfSJfYtyAvRz4UUD4a7gyPl6dnIRZ0dP3UFpBfEUkfdDUo6mET/opi9V5G
7krWWPjIY1pWBTW5dKLENYKmlcMvqEOLfTnN8nc1UHVXhIN9z3JSRyhXtfHKkb5QTvoPnr6ac+p2
XdmD54aCehc63G+j8YuiHA4Nj53VN87NCDEnMEp+t3b+enkmF7aCDrXvILkN7SLcFpuueiikeoGI
+UpmXJhEHV8PwY3KKExeBfB8UX4mSQ6t1ehubqbXdOb/zP18myX1CnxvKe61NJyN8PmBcyvivoy3
SePsUdPYC6Ds0umZ1OnkXZ6uhY3naHf5Lgu7pIW5YDCh9rNPsoluRS/JzpZptMJSW+pC23s5uOjN
DLO0IKZQWzJ686uGfok/AYp4eQwLU6UjuyGVpAh8H+uARlXvFZ3x2vNsR+cBah4F8/AYsbImCyPR
Qd5lmrpprvCF0JCnisF/+Z8sfbk8hvPqGIzqCG9lDGlqQMUncKNG3aVTBuwpm3q2g8xJ97e3q2LT
Wnn7DMsf+z2c2fQGRUG2HWmvwJDg7g289PpdbAq6lQyvDDx2Jy/ihjrCutX+uvwrFyKAapsyzGeQ
/sIQJU7RHaTN7rvIeLFVewtlWr8c2F08GWtss6XJPv3924lBGbAOBeVWkNlsn53Ei2a27+p5c3ko
p5985h5FT/njW/M9jWe3plN4KCBA7LXQNvPmeb4Ph/gTEjO/L3eyNAbtXGJQWYJ8wgTgbC9vRPMG
lVqfpWuqGktD0K4GXUJNs6wcAxfN7NNqc/dmLNr6QYZM/Qrngq/M1NIg9BQBMGYmZ2YcRC/ArzdS
P1XZsTHq66zA/kPqDCNgPmG6Eh4Gp0o35tzfzzk+L1Minoy4W6uPLQxD53eaQ10ZZpmHB4M+E3Zn
li+tcw06llEdsz8CGRtH0PI7hEB7FWBLDP2PsvmZ1/lKlj6vOo4eTqnv225luWOYUzeHBwD8qqMx
2PatJePItzie/Tz43ZqbaKDJ7w4Gy7Cyg3LT5DbqAEui6gmWzc5Wyjnbc4OWK99RC3tPB/qrjMDZ
0cKQYXwMKbhwE7eflYS4X3Jd6Ohgf6mswp4IOujSt9l9ssK7avxzOSrPe3VgNrXYH6kxg/pdhIdM
pbYLFUBhPNWZcBJvHNzysSlCeogp428F/IYKryYKgqKzuemUK94ybrEftIJWxsqvOZ2DZzKRTgWo
GmmHVtcZyERJ5uEw7jxc+O+EgBDHgBfXxqV305ibXiqi0rPmil53bupi+XjUBamzIeGhFeSeT1/U
YFCe6LfmID125feLjhxvSmVKWlVxAN2lt54M/FZAs2tvlON9OkOytYLO4OWJXApw7Z6RCOjn5qKI
Alxo5I3d9/7A2myX2Fa5vaoHHUE+sALlqXCMA4j5RzK/qVK6g+PL5cYXIkonOlhwQ5Q9KBQHHoHF
n3c7qma1NQrxA+biV/mgMKrzHYq0c41iNMNDD+yeHxVu/6NKCvpgduOV1Smd5sB7V86iQKoi048q
jLw5PcTG8+U5Wljif6ku39KgguhZaw/KOKBcqDYFVL027dyYMHmQa7INC1ccHakfQplj6OBVd7BE
73gi4j9N2/noTteCwnokHB5ISpSPl8ezcHPVcfu2BUK1G0UCYoBRe5O5yYYl7J4l6Y9G1J2XszUI
2NLm0q4Kc+60DkosOGLTwc9p6inAy068/WEllyxNm3ZJSKR0nLyEfGdbJ/exXf9WaftAMvvONqAA
Gw5vyq5Xujpl6TP50tLjXCVd1c0YS95ZB6frtzJZc6NYaFpH8U8zk3ZpNeGhNPP7KYuPeKFeefhc
avo0cd+2rukYDMaTFaglkJcoktL2nWFcI/8vlGt1sL4hjLKICfRnLei0/iAKErd+FMqo3eLBQTxA
IHPoPWXJDmKNxnyUjcrMzTVb2NYf/MSgqDNYcFCP4OjSAONWTwcSwk3Xs6VrBSUEDPcIKf52ubuz
GYDb+mt1KtuxdVxK8d5Uj349JcTHTefEp2nX8IZnYwVdnP7+baVAPHe6zrRoIMmLNDMYEY8+a14a
d+02t9TBaWzfOoCSFJTcSoBvTxWEKXqba7kh05NsV7LK2VjEAE5b8Fv7LDdnUgGLd8wSq9hFE2l2
BXyPoM7aj1+A64EhNHF5gIwb/7puVez/7ZHAZKOlLUbEcgbdlL+m+B3na+f60nRpuUvBWrAsIk7x
vjXBjXiE7JyZbOFEDBPOoTRW9vHSxtISGG6J0OckzAngKZH4cojuEy5vc9O6TmLR1mWZypgkePJn
oGsX5a5h6W3NxA2b1mTqT4v7n6wIGfdTavi26EpZc8tscByGCobarNy2XbVyQ12YGl2ISVQiyXqR
Q1qcQXKUwKMHljPKvKoEhV9+Ohy//fKTNVIrxUwDuLdsrL7wIBW2icxrrgxoXYvmyJypLVLwfyL5
Xjd/ib0rcIu+vO3PHt9oWwvkyQ0r6Jzil1f2U1ozv8zZNix+1dMH3uReLvexNPmn9f42Ow5SqbRG
Ph5THt10Q/QyFQSaSvw6yz1bdxYGkCkacvg8HyEq/FnPbuXF/Zo44tJv1yK3KJIwnMySH3mcPmQ4
sj2eJShw2Wusu/NfclgBLWonA6aLMKvLoVKlel+QeITrrCg2BRxo/A7ALwjSq3bT20ZE8G1a9o8p
c51bcJmTBwZ627YmqVr7NQuJSq8PT4SxMaIDPUJaPfNqSkwPHKcnW04PLhv/XrUfdNWVDIOILNI4
xzyhXk4SeDVjycSaeNzCGLh2uYIUZJ9FGURJRvpV0B92J6CG8nc2rOtCRn9/nUhpchNq/kc3qr1O
PpUM73FW5ruZ4zVWunJFXNh4+hPsKJ0qLiNBjw4K9SQ7QH/Wk841pQ9u6y+wUHqnUpYYAiAXkOBI
yX2lPuvh8/L6LiwAO/39W7xP0K9WLYFUFGuepXXDKtebq2e4KlxufmlmTn//1nxO8l7GRsiOoUwf
M3By+rmHvUBcrVxzl9rX0lWdQdEqhfb3UfapbyT2pnM/lGGtPGMtta7dM2YTHtipncDkK+99SEv6
pLh36rWK80I615/6CsOmTVtO1nFIIKQ/u19ZeioNCyJ2EPVPfJCCVrbQUk9a2jLrgRm1VTtHQeBf
BUn3UoBkiTCADC6cKD6uW2stliVNZBJbjB3lNN3EOaCQkNQ/1WHW3kYX7hy6YlYM148O9CsMI/qY
eaDYVZAjjgfA/92lgH1EkFm28MudLD80hZ3uanuAKvWpsnl5chaWQEcfqCYEfNcpavilEP5kjEP9
ONq5PIwEtryoqKKk6YBludLbQlTrVNewTlgxO6F5pFMKHXk23Lhm33pILi9jU69UkBaiQwc8lF0/
j5yM/BjmsdcU7CYUEvbfa5im8w+6WBUt+k6ADZjvcHoE2wsGIiiMmvsSJOeuL31aoD6ZvDJueYZY
uzKfL3ujR+0CAbcWGtK45ceozb2Zf7rk4yT8NoU/5vbebn6b7mMu38zqYUTR1Dbe8BS4ck79++l8
5j6tP4ym+agsQPqnI5CGG6jg+3Wbvaq5h7FN8VW1ajfL5pim/aHIm9+jOw8biNO9wKj7AGeTnWrU
Xs32q2usuXkt7VctmGnbGShLw2XNjYFZG+J36chDlJ/sdeTeyNjKY+1CSOtvqb05Sjjk5s4Re+eY
R/nBJfTlcsQtbE/99RS+JnYOSVIGh7UQ+n1fIWT82vz5usZP0/btXDMUHvCMrIWzuwFHkQ406AF8
VryDXm7+32eHM9tBf/lsJRBRTlFlR+HYxQOnNN4XidUeVMLYxoE9CMxOEnmA/0P1Iop22kwQ4VMQ
h2/DfaZcvkFRId24vZniYStpphu7jVyvqGv7a5hSkGq4kNuUxuaP3CXmK9yP2k9GDJSJYE9U/+xz
ET3TlJN3majwmIqEvjWiNPdQqSYPxiCmHRx+gEsRcWq+hAkeT0EYdvlayWJpW2ih3w69NTkZ/OeN
Mv9V9PGtYrD1uTy3S3nlP+bclHdgN2XlMS2q/qsuCrqD3dF883+cXdmSmzy3fSKqBAIhbgHjqds9
pruTGyojEkIgBjE9/Vn+r3KcOK76bjspYyNpaw9rMHaCxUFLbOw4Xt0m0H4iD1PvziPwmhbqqf9+
/rV9ef77b1uHlJM79XlDjoaWRQyH3Z9FU/yg8j/KSdPLUbPX+VMYdDw49j38sy1J4JMUk/b931//
SmDwL3KJIegj1nmLObq1Q+8nkBmWuNO8+lgLSR8rv6s2QLGLW3f+tcddxKHab0kY0mg4grhnkFDo
fU3dKoEoPaR7sDOd+unfv+vatrgc2BbLEE1Rbzw4h6roVAzAjbEZ7Gu3r8h+LFpnjmkftCmB030S
NuPMEhKM4taRv7It/ve1ftsWOZjBKlAwAC35J8V9eIq9FfmtMujKh19OjFdMMnCayXRsCIOYkpUD
tGcVIsFZ5fLWHXYl6bgcGjvzUEN9VpnjIpY3ZwZNd3bYr3VEf4si67lxfK+EhstJsJlWDUNW3zt2
a/locvOtZs5w47OvbLbLIXDU0VqMGFkcHYq2E4Qb4AFksgYip0mzeB8whNv8e7Nd+xHnv/+22F5v
YOTDxXjs+HzS8Nnoilsy5n/tzYf0crwbuKQfShcybA2H0xOIQH2BvIElir5ZiQbEJIGnuCVydW1f
ef//d4wNOKcdLenRqfMjIBUPddl8ZyFcv/79nq79mItgI0xF6qEw9OiBDJW4Ar6m8QwK6sZEMMb0
Qwq9mFGIJILrAEzr2HJrJ1x58KXACnHDyQXvHN7g1c619RZ8isSvvXi0J2f8pLV9UbeUcK68w0uh
lSJYpQuznRZaZ+yX6dR3VwxnOtktyvOV9vyllEpd1VD1gFbbkU1hv53K5n0YIoz7wRk1cDNrlv4n
m8y3fy/YtRhwEa41Y1UfaOgMAts0sE3nr6+N8XYutvi/H3DlbV3OxCMg2ZZRyxYC108sfFzhkxjc
4nFeeVOXI/GFgMXS+I13HAKzxTj23RiSwxpSQmrYfqer+QKk240XdSUCXE7GR80c2PIJNC5ccycm
uLvCrvxGYfa/LPEv2ePlTHwpV+OVQvpHFSHce0yKvRh97z5onXVXiDlPaOnWadtDZKSBeCJY6uUb
UI1dOnSjesqDWcCR0u8SyaI6xt+mGGN7FrOpW97gDlbvi6Aj+y5vznRGDc4frGk3iz/wzASTHwcQ
6U5oqCAOsFQV6k/nbe0M2WOmdZr6ge5lSz7rkMBvcCFZ6Od3qysRBJUiOw3czVqYNdFR+zZBNiZ2
z46Dvp/XWemZKZ1HdutavBLvL02363Y18LMMpiMwBF6xORufv/Z92b1Bjru/m2fRbaOh1tv/tHUv
pcF4o6Ut4EB/9CjdVtOQeqhI+uVGJXXlYFzKgi1Fu/JQ1d6RWvcUtPlBFtE9l7dwzlcO9v864r/d
WLbXtIUpUHvsAOEAlX0A4r3HXCYabhzsKwfiUg9MR6OeClYswI9aLxFL/sMT5Far7Vrj/hLJMUFu
SEymCI6kUl0G67lhgTgG7yEq1Zo7K0iflGEbPQtGisfBMU5WDNJJCTPDJz6PTtIr9xau+39wi78c
z0v5DI3hqJ2MmY9d53T7EcSXrC0Dv03hA1NsASwSn0wIm8Pn1fPWZ1UKeHSj1z/7KMQjCkEdyAyk
bq8LmCSCeBtMdY9+weTzBuKLrt3zs+wgOn7dJ80J9LgXeI98LkO+2nhVft5s/st+9i6lDZYurDBK
gz6uw+FciN4VcQA1mOcbH//3aOxd6huQMAAfiKG1W3EV2x4eeiZM/PKLC48QBdwmbMf+/Tv+vvO8
SyvjtR9GJvF2j+FCHzCeuZvG5r8cSuZfBhgJyIXnQCr94EUEwtPsxIcP1H/P//7ifz2T+PRzKPjt
TJqKjquYAMMwEK6EvKjfkcSRmIgb50Yf4toTzq/stycQS3kp614C/jD8oOs3gWkNPLAPLtS7/v0b
/hq28BsuKv3StDoqiHT2nQz2au0gnxA9RTK6MR+49gO8//8DwAx3p4ACvLN03zr2M0dF5bmPzXSr
c/zXTYqvf5GghiRyzQz7zr1ScLnFmXzFYPB+XmFbPYrn+mzX1yw3DsRf9ymedZFbRRB8nyLogu3X
3NuSMsgKN/r871W48pou010z59EwDjCE7fMxWYcd77tTH0BWy/g3FuLKOl9muTWEVsOwO6Ml+w/k
1bFW/V01hy//7fufL/jf9unaLBAioGdoaTPsOVQIhbf6SS0RmPwcHdx/P+Wv6QLzL+N21bhjAMhD
vhdkwLDJxsVUJno9uz03cV3KG4fu2qs6//23H0MhzB0B4s33brinkBnodROP/njj068t9cWRDgoe
MUhQ872Z2QEG9NtJF8/QjHoKepL9+z1de8TFmXYtcoVw7fK9b50tTAli6z821bSxxP2Pu+niWPtk
PZ88HGu9ergE1xgG5TE27Y2FvrYCl6dazaxBLQCIdMG+tIGFKsfSlknXmP/IDrjUPipzyk3rAvmX
yzlWsNWuQh5L+d84wX/ICUrfr4hgZ4oD9Z41lFUDUt3IYv++uH9IBw6Vhr4frGf3BSeJ132NgHdQ
3skrX/+9ef4e5SAv+/93v99OIWCLFUJR0XkZAevkHtz57sZE99q3P//9t7M1umou1Rm0zfmLaD7m
wWY1e6F5tfn3t//7fUAvRY0A5lul8kO+hwl4j7KF1m0KNm0ckTnxtZN2Rv+nPfqnkGBooLVfI+R5
zVK9zoHD04J2+j1fcUP8+8dcW4qLc2yilq8+qu0Dh3X4ZmC53LRQ+L/xA64txcUZnjGirDBmqg41
KcCWbkDszwrGfix8du/KwPtvDPY/5QT1UkV0NMUhaPctQGXde4mKNw++3HhJEbbOH9k8+0MncC07
Du+wrjh8fDzsnc3DvXz2t/72CP/URMdLglOSNPExT34EMQgrsZ/0W5GwBEaVMbxy4j7tU+jRHda3
Zh9u27uliU1skhcntbGNf/z7W/69uw3VwvO3/23jG+5QMpocuaJQ0aFcmh5C0UVbZOBkjIeckGBj
BOCtsesEUOBmU9t18dn0+8ZeurLaf4hMoQ3Meom3VJV3vMas6XH2hjhcbmku//1u/gOoy6ceTunQ
bTho2+4mAxqXZ9UjRIyzwOb3MBq/hX2+cigudYCcojdWdWNxmILimWgHtnfTjRHEleBxCaSFqOYY
wBBSHvLeGbKasCoptAWIrbAZMDrhhgIaXIIXkP17U/z9mqN/OJvKnlsBTbrD1Cyx6T97FVLwIrhx
vv8+TceWuzjgFvMUT6zYcivc2ZhoMXcIf7pFL5O29pdYl2EW9gGJW8K2XSPGuOL66+zTH3VHi1jn
3ce/f+b/2l5/OaH84jrPhcBUv5ujwyxp0uc/wBGIeanTNiCps8IgD7jodf4xuP6cBIM8jKRGf8aN
19o9qZIAYwnmaTBu2mm5KyTJ8iJ8dOrirjQNBPa3ffWBk/MWSu8GXOfaFrtI9EMoNfUqcOWhq5ef
btulDoTR/v0uriz5JWx3hdtEW3nnCq4nBztPT0Si/Tuuu//28eed/XuUgeB5JDssuY3CTSk/u8I7
dP1043K98l4ukbu11yqDPqY8tFC66WV+AM7yxkf/vUHE/sDtGgj0eG7HcfY6L3GrL2Xl3XFlk1Kf
hXTVFz28epgz1bNJhsVuHN/CBPXW7O9KcPwD2EsqjoZUqQ5gG/HMCSCBk1eO9yB6QffRmtMbv/La
Czz//bflaZeccOb1xaGx02MT2cMo6ls0hv9hYP9yyi6hnMsYdH0Af/JDORL+4nRtlErCBAyNyyDc
jHCY13HusPG9lECpOnYZ3ow/d/fFMnqvPRXuCbVVuC1nNOgaEzXZAkTLJmQaqqZAFT00kCA+tvUA
ppSFcNJo/eUz44R+VhXQ7RriK/NBCrfaLW3R3S8kb7wtIBOuG3OwhepNw6x3AGahH2Kf9ytcH0Ll
fQll4WpQrMbmsSh7joe+smEa/ENYFpPathXM4XKBcKVwEGOrmzkug7LfLYVw3qWVzXZdlN65g+ug
C+73m3qVCDRLWZ/7x4C/9Xn1XkDp9NVCmjkxvqzjQI1NFpQeSVZWTXe2dqOHAvqRm2DJi0wxh2yG
1Yy7dqHlE4OCwQ7qiCxxnEmkVXcm0oXrrQ7PlYBwCUI0rBu5tkiIXcRchbE9ehnyph3pFZFAeik0
0rlh1AB51hy8fNDftBuUp0DP+qfmLX/XEBbdC6hZJnNf8gcLoM5xVEubytJbstLtu+dlqqush3Pi
PnSEuTEfcenfNaZx3C9S2xAK3Aq7lR6Q7kSfo35enuEvKZ8rb2Ir5vpKfw9dBsyw1/rlkEDHn2Pf
QT0oAQve2MyB2JLcAQnQfmqGGra0oFusKZ3F+gSr8GCNBS2Du77w1L6wytzxmQNGr33AcpB2hf2L
7HrmxDoM9XftqWEzV2HF4rVgHlj1Y74Vpbd+04PRD7rmyGZ6V9aZHxnRJ0O0Nim68WKCOqcDZ5nR
o28DNeVG13BInWgxpsIf28wLSgK7IeYldS2GbT80YxJyj2xZRcM4mssuWzuP/whbSzZIEOt0CRww
t2iYy7u+r9ZjFC5TNlRT0YP71NEEEBlv7/nB+LoarbeqLsp4tXWX8JzDCYrT+nsnjL4rsEu/jEXD
DpZO3VNb2upr7rPiCD3cuYjDSLvbkENxi0vjbmD6BzHFsrSb2ujJTcK2aTdU5GyNMYfJ4XFS58AQ
5KygcWULe9/x1jwyFiJOtsMU/fRH1ztx4fxqAIVHHwCP6HyOBHqw/omIKkhwnEb0wVdoGnEWsvec
l/S75cD2JLlXzY989cafkH/gB1tFy76jLc2smOFGOBSYAnVOL/a+H4iTMsWUYlI42kQFgSmSaVn0
Ux5yWJFBg/dZQhPhSdHafPGDps5ytwg/5skOVQojZpWGba13Zd6rbxEX4RCXhY/qUKqO0tQ95yFq
CMgGYwcvwV2gW2hHG/3kMeCPzRDUKYNTcZ+YTvT442LAdSMj2uNLvtpPDpikn5oa26KjS7XHNu1t
LIHtbmMg1dZN37XL01CX+hFwMvFDKkb2pIkmFCh5MyXOAFnR1B+kQAsQm/pDLuWUFIuaVOLULntw
wUXeIw/tD9xR1SmYmoHFwtbYMaGQWHQtIeJLh6Y2sZ6IQFNjaOzXvh+bLfTOIkzyWO8izVv6EtF8
kq8YWqmUy6lVMRd4pxBTmQCu4RhUJ5EHW9GaddN9HglYJS9D7YsNcD+absCJnpbNDL5nwl3uDxgP
qHCHiti+rqqav5l5RTAthu5nB9vYOq47vLY4aoJiF5bwlxkCirnJ4hYj/o2MeSbzMN8UtpmOYg3K
Vx3x8K5QVfdYsoj16MDVncxA0DRfBxOek1M12F9BB+XG2OUhyQIFopXveNCpdk3+4pG12Ku8qL/I
Yhp3sNH5XPZ1/TCMetwppwqelsbxHwH6EA/dAjd02s10A4lRujd91WQC5yqth3JOfUWD3dh4zdY3
vfcgtSB75cgRcoWD2FbuuKQjSHCneQy24+RUSE51HZwkGbsfXNWYlrpB/gK1cLj0QrVq4/F1hdhW
wD8jMccl1Gt5r712Qa7Lm8S3sAkfRlgqQDrS+s3BbQZnjH0bDducjjBKYWEtEtHPY5TScYruSWTN
BnSel9bA1KPKMYXgMpwyrvWU5svgh4nJPRjEdbCr2QD7Zjdc9qdZSvuzcXmwKzzzq40Y3RRLr6dd
3sp243CP7tvZn3ZTWAcKXog1fxKWeycND45fbT6D0L+Ked92XmuTBYbXd5MtzM8ICllvfKH26ItS
HyXkpbdh0JYblCJtGlWLOgDzZ0Czm9z72lDUV0tFEuNGMAoZIMb1UOfKZA5aE7uAMf4MFwvyChE2
svNLveL/mEF/OHljUie3Tmamat2QQvhhludRkDLCJfhMgCtDOButbuphvq97B46OQeHFfgc+UjZP
HdqIC8L/Z1dW5FM0z+peSE9sZz7m7y626r0QyFWmomlPZllgsduC6mrz1km5XYpsKIjZaC3UyTjA
KbZ96G+wwvIDNCNyWBi1Wc5se7cGBWtjVQKpNnCQPhfrsXQ1proDuk3eW0oQe0ju0qfRi5YdUwJC
bExAwtiE694ZVJlaF3ofS0Gbr3hm2KJKjNR9jYj6JRKOegr8IsS2WeYFzKa2fPWrnilI6jc97Mda
58Dr1r40pdvuRdgVmc4JTPBYESaN30dvxejr5xZh48np5wgaDX2UhWx27hdPF2ANT048C1HWcRWG
w/so1rJMZmnLxPXD/vsCoX2YqJf8/UwhynxbFu/TVEFUA7L/m7mYy/seAO0j6MnNbiJjuZuh9fIJ
xjwa6D7BDrXTtD/BjJUnz2/kZzTx1cEZJw/XaOFuF1Rg+2oSFM5N7rjx9SJ3fXSeoQIJaO/FVOot
d0jwhbblMGSOWeY2DgAYuR8gQ/YFdbXZcjA7mnQt8vBnKcNuJ+kaJbpyy9Os6g6u4oY1T+48RKeu
ga+4C97pG+HCdXZdNfDnecaMGFJfwRfrjyvAEAohVM5togWL3jzpBytSbDFNqWxDMKKhB/8RDqu7
yQMxZR6dCQxSdL9RUKHEcNYJ9iDjim0unELEzuyTLAI7I52496McJQCvusAcjkMjmK298z3vcNVN
4bJO0LSSKoGftM5C+IimrB7Q1oT5c9ILg5BvGujnr5X3sjoNzepiHg4KtMesMLV496F5cgDFa9gD
vlUCqOy3WRB63RYupW7CPd1mZVOuG4NU5mGd8S75ZLukBjD3HvqZs81EDxVeGXgm5YjRh2UQ9GhF
125w+a1OjDEo0oN2hGBNPMrRxJHI3bsFF9VmghT2EauL+Uxu3f4IgTbcscgklge3dxAdKZuSc0ry
DNX2Ic0tiG3ODGtLJBGseYRWukhrCoCLEqr81Tg5DHpcGAB5BcVL6ZiBcpZDMTFz3TzmXMvTsJaR
h+M39d53Lft1y0szb1lv2G4RLXvwCcx8BJAHu27own2x+BUCTDHuGubyKu3C0f1hC9U/wJ0Sp9Ob
/Aja/kuN61zajzYYznEhUNWmRzePJC6BbpogLMyQcpTPsEPX1WaeO2CaUST36eLJZuORBQ2OHHeP
nmnQxE0g5qNZZO0nI2xXp3QAsflj9BVEX3KELxGroKGP/YI8Mwg6hNh1GnBtyrZZf+S2LU5aOBOU
yk3FY8gA4W7teTlvqkrKUwRnS7Phuau3SLI6fdZEa2F74CxTdDS+SByLBhCkw9NBtEFS9YrvKlMX
TeKhW6BTzE/pnOUS7bXMGORV8dpYUaQr06jEVKi2dB7lqWhZ9FV6JP+B/i5wD8pxUu1R+4TZBNnx
c+OvWWFeHRu6eA8Nuin31C/UZg3L8d0bBhfrB8vVKnaYIieJbeMnBHH/oy4n/uKSLjrUsAh/LUoM
cPEWSrGFuLtMkVG2j/jS4dFiGgu3y1yGb8Rz1mZjwHX7WGXukZQFjobaO7yzl7BbH3i1mp++JTUq
Tde4Pwc7stOSj83591vnzqUlkvSu9N029nv4L8cVMB9xGa7NNliIOLSjQzfUr8k2ImCfhtEiUoGA
mA5aiQOy4UFDO8QdYk/J5uGMFWmS0p2QGfX+NGt83Ep/Aqyh7ipIFEa08NOmcIHkp32B88BNgA1v
/U+FmDx1JO4INZu1sn5KqKcfICUPnFiHYkL4rtfFBsK/G9lx/9PQuWjm2QOMh1CkDk70AVl6Ax5C
W65PxWzCj6plcwI4Jd12Y1XDjKaWz2ELsQASiflzgKqpQYMT8hCtL2fU86tfx3Je1h/IjQC8J6gH
vvhqqj/PTlmymOIefoAbHL0jg7s8636qtyJwvWeQJMlB6KAEioblC76RQPbsS8aSnivnPsjb8kRH
jmXq5h0NxDakfXNyXIefokj1W8f6UI/BmaPP5RAWKcZnw3PbO809fKDXd2wGf1PgnGRwJx524AMs
BxRaLEVWXcO8uOszAAHmTY+a7c7OfZ768xK+TaNdHgFgIY+YyY37KpqKtEP7InVq1SSoNr2DgxbE
qfF0lWoSFcDxLEsSNZ5J4Ne8ZBqGGAYFE/N3BUL9p26qIDmqV/2sCj9KvRk+W3lU2A3Cr8jaGtOD
FQO6N7DcvSM2e35UzEYfXaeKQxSwKEV+0R4iv+yeaDVO22Zk+aGMGj91cK0lVduue9GvxedQOP1L
W0N0K44o1bthRWHcG3feRkHnfgtBeCUJibwhTHjfdK+jrCd43XnjA/IhFsVUMOvG/tIPCZlQjFaM
tsm4dA6Pob6N/HYWiqlEgUa2FbLTgA5X7p1jOGnR49buA4fYwobg/LwBjgjho3bqvw81Lb7ZoUY9
YO3SvBkuiwNxymDC8+bQbrApxN1MuubhbCK1o+CeIvd00fbcwDOdTyjtzxXu2V17q3vsAhmN85KS
uYDRZIveTOdS+60sTPOGdpFBzsYt0rnald1ZU7QWzqZDYQaqJpmffV1X5bYP9doitWnoG/bf+jaH
QVPGNOoAswTiwW9Rc9s8aZ1hAHjOETGvRbefo8Ai+k5nkwT8R89CDj4ex7U5MFhE79u6mBAAdOTc
9YsBvYcDgBxBue5dG8CQvbDtkJj45Cyk2QLdjeup+TpW52YXQjpwm7kBY4IFmxLXDHzvmV3BzVjd
x4pENLHn3rv1agdzbTk+zKU8i5vQutngVl2/AtZZ3odD6e+I5BBrcl3+tUf0xGjO2lM1jYNJbD41
WSQ6weIOyq7ehmsHNax26YjRS1G6SPsIJH+UDZ1vVKoZfmEOcKjoW+Be9uSKeXdYY40SG83rF1bx
eYHBdzdiINWvKhnRcSExYSOMsTzWnGaUFcm08upMxQhiy4w6TFSQ7diUemeUDxEEMfAYBZsGY4+u
FXxjS5PxsdI7C4Dcd5g1gDwIewjQ+0DD3wQzHIVnKBBknXWjLUUQyETYLx/5jDQIcbLqY6j8enfV
gI0lXcx9oIZm2Y4UK5inquz7B6StDeCtrpeGaCgkoL2ox5pZDpuLXjheQvucfhXYpQny2iYZzkih
0g/bfeVgthqXRIm7Kq/GnatktauIZ5/p0sJ0aVL5awsbPfQXfFZvSMM++Cyabaj7MqNT6KZh5NGt
FwH0khBH97DI7UZcT0r5L17ZutjNo8zqvOgevbqRWyIr+VYGGmxKQJV2TVHYt8i3RaJDROkGJPAN
EEDo007TcjBkhoGGD8ffFAWihH4B5OpRdLepLocgmehgfkWhB4OxUeQyUxYyVgA/oc6Yi1yhRzDC
UNOYhd77vSRPsxnpSVpExURUS/s5aOfxyZtXGiPNFRqem2N1byo7plp60caicIf4Y4OGEiBJAIb1
KpV8hMUt6qnMRlHzzdqzUJ6WZfja5gF9lM3kfwrLsEZTIEAM7ZsiEboM0tq3609Ah4HgJEZ3d5o7
xQ7plZdF1lE7nO45NXM/HqWi9l0oyV5qQQG4aUoapkCxkJRDCfsIHSBxKvuQJQDQhC9BuzR79Kf4
O1uC9sRUgQaq7eQTg7P4F5ihu+9rELLdrEc8fmx5ajrfCWJ039bMgtSUBYKIDezGwYav8qV4Cztt
DwYee5+EgsVSN/nm2xp68z4cZ7VbpcDsvfSDo11D9zmo1iCtJt7t63bRO1Kacz+8ce9oEPinrmYi
pYMVDy5AwUdPzwhaUVud+DQjb2iqogKIkuenBROPVDMC77CWdSjIo1AdNV1DnJ+qx5hLmA0cUufd
GTqajQZZIyS1fzJT5bGDzuGpqGe69VXop5Un288RqunM6Zr+lwpw77ad02ZqKiXKdm4PZblUDxTu
B2lrpf3mRMJCxSTkR8I4+OIkRzK2Lj66J0FEhhjnhTxHteUPtMKIsnOXsI+RmYusKpzwDaJvereE
C3tubR0ketK+iYHLAhVZz2tDElHa/KVBcfVLilo/O5h7PaLoFgkUpMxbOMN0A01KL5k0qjuFDlyW
j0O/1fDTdmPI2gYHX3bKRQUKmplfNeN+QaWqEjmu7T0r3HIbtkzuvEDhxc08eqlnbVJd4KwD04ja
r6rzGr1esCBYGZBPK/D0LiIj2lxJqCl/pK6qH2Ag5B41cemBEDolqPWcvcCyZBQWBzszd+IQVAEK
VnfBGq+sq/fAqo73Sx4y5DxzMcYI4yTtziYc2rR84wpkO13L9X6cSBlPIBh+bhaTJ4Fsp7SqCv2j
bUJi4gFY4E+8ZXxTo5WTDv1QP9bLCvhzT4naVgSQCVCwHWBwWB6fW65uTGdr67j0pjUlQemm0C4K
33MoDN27c+lsJQD0cPqBKknsFpiweF4kFggPYegUow9SQSWUky18bsatGSdcvq3Dl8TM0mxwEtfY
G3n/hbKyfp+gG3U3t17xJdfCvsopKtCLc8y9te45vIMuNXLm3sMt3L7gdhOo9cNqP6EZcxeiRO5i
1WBWhLbiXCMxq70dyPdmP03FnHUeGt/A2OVZwF3UgBg4fSNjdebFDWWc11pC8VRFz3loxAsbz8RZ
7in7Ui/dTE60M+12iABPsTkb28SHFebn2Q/r19nBuW6GVt9xF1DKGn2Ix8DO4tUZvPLBQChmH4SO
zOaAjhstAzS+a1VjSeCguCozbdseAhlVZdytiQAS7tDGfasVCJxce/ZdOyuWHKIR61aHo/rpOUil
UfnyHbo1/V1fI78KraCfymBdntCnhqCfhxbOmqv8HrWc3Hp8XLOq8+22U7n3TfF83Vrboe26cLOf
+y5PUXGVzyVMuu4KB2kpbR1M8dTsvJWTNz9KeSb1Yb3FlnLYjGeRHyJAWtMgZTUo9O5hISYOZedK
tkGCCwZ9k9sKQ3XLPmsQOckjjIBrnUDMNX9zJ2g8QXNZfaAHs0C5sUYdsq1wAbKM4p75CBbKDA7y
CBljV/Hxw80Ve5UwtiHJMFflN/Qcg69YvuITJzX0ubiowgeMB+0O+8L/VLqQAY+5EfSN+PN4NHBM
F3FNyVu+wpdBGTBaGDI9oIN4s+vLUcD5mKz3QtVORo3y9kvu6V+2IuxYK7+SqSfzft+vIFPHOMd0
F6mFvTY8mF+aGdgWbCXnfbREf4IBZKhinzH6xJmaILw1qx8FAcchNitfkbP2HqobzGCrDezo5WNk
JvsZ3CO1U3Jyf8FSaUoCGoQ3oB7XJswXWIxxBW6rDuvyQHjwQBeYhg151MQ4uWE80/mWyvXVMfoF
1AI9FjLMtYM20kTtAQSaFjNmr3romhokh94dsgpc4U3OIid2m06kZdk4SAqF2S24ByFwr6MbWIQr
iKBL6R/0DNCdlAL4Mh+PWF1apbmTS3TE/WlTeZSki4En2b+BD1dAYJcKQIvT57DzKavD/3F2Zs11
4loU/kVUCYQYXuFMPniMHSfOC5V0EhBilgDBr7/r9JOv2hyq/NTV7i6mI21Je6/9LUql48bLkvm7
fPCCB2R1kEIKIHHfjUhokqhJ/ealhKzuy6fubPbDOrYPnSF6x5Bxm7H4eb1NEs+fsctB5eIZBXbv
Nq3n9GnCiMqiXAbVBp1+rYZqgomGjuDYHzjlOWP02Moqj2yUjlDHO1TTt7qmx6ywUD8lCU59ceBW
v21Pf7v+0mtV68swfydkkEFZZehSK86ucsYnOfpvZLHojWiou/GDrt3h8vd3d5iYPWrHRerFqmhx
gm0edh+I6NmepAXY7ddfY0WP4Rl6DFVyDVN7qzlXndPtPF/2JxQal6+fu7pR44YMgs0whmnOwwJ0
N9xPvC/EqYYNCPnaiDdESoPvECf3kY515HI3h/5f4VsvExd/2BIecK+vWkI6MVkqO15/nZVfxKT/
LPC9sH0oKZDzd0TkUOXEQT3BXpGDmPK5WxjypayTfV4zzGKohGG2MVl/3Vz8AM9vQ338b9/PBxoZ
E9m2eC6O8FmenVuaeX8C1F5v+zBAVabo0aWwpFAZeGzmSIYhFobEhzM0o/be4jUw65XLeMxxUER2
YZmHL2Eux5sRANkN2dnaBzYmFRiPfgaSHJTXiCOTrCO3ecvrzwnPmDGfkNkoS6wJ5RnZuCrintA/
B3dx7kQYLvvrv95KQCJmQ1qTD7wtSN8mYfDzwnrjj14w3TqgbNgEFiPucs/b8tzYOMt4vwjlG9/t
Mjr++6MSU7E+W7Yq66kFJx8yligHbKZD8hRbvByJ0CXKimlDQ/vxikbMRjXuBxSJ3LpJBjHZlwO0
2I/Mov+gxgP5cJFZMaDeW4Laj2MTMZXsulTtKODjk8xdinNZGJOu3ZjJlwH10Qczwt7ghaVtDbh0
272UxVsFgrPbYDNkx9cHwtr1jcA3tMh9giUEREkn2E9r9MmJ8cr7Gzq82DnwKd34PT6eMMh1/v8a
UTrEc3TVD0kOoUtpk53Mi/3U641otPYLGHspkrqOCBSvkwvlCXyYfS6bT62fcJz7/ydvIMhBgzit
EnBoj4Pq9sXofA18tbH1+nhtIKbYXHBbewADVcnAJ++ArN0ubdFCrkdUnhfrqRt96yjSHOlG0W8R
G1Z+DFNgztKxFxMP2iQt0FLTwzUSpAiUPmwBifH1cbXyg5gw6BRAotrR3ZA4ZLpHmf1czsHGpdee
3oi9YTVUY7XYU7JYLzg0R0t+I5wtx/iVAGVK1t0qX6YRvYlJcOmSajBOq5+ua8U0vGXqzNmWrm7t
+1z+/m7PNJQ4vvdlCOFFqVEjnva6aDZ2G/QyMj+IGaZW3eKoZqsa2KHFLgaYaEJ7G+YU2MqaI3U9
WPYtdEfTyUcP79nvfHoScHc5BYXIbgiRwb4Le3WE0GjZo83c+pWDuI3sLuN37jRcTv6VeiY1Ttkj
ykwnavt+1PspuVECrUFotCnRoY1yOsv99rBk6KnuNfe+MJ9s4YdWBoBJltUtcFd+bleJY6NCtKSn
Ps3vWiTQPjV0TXFu6/hzDt8PlciZHqfW36Gw/vX6pVee3Dxn5U3ahWGVTdD29Shk0Hreo3ZNDpMg
2cZRY2XhM09XqGE09iLFlEwo0/i62iHZjZrMDyiLotbdiIkro9c8zghd1iFKM1VSZPLE6vCNSSQJ
rn+jtWsb01tSgFBmDhujqbtfFI8I3ZrbK2udaaM48CpUXc6HZO4H/1hN1vTS8bDd22LIT7wZtgbQ
Wgwx1jrZMB/VimZIUlQlozxDrZHJOHWnN196CRO2j7Kt/fP651oZUmbDRl6PCObLgkACDsiF+THT
P2W2xS1YW52MxS9AHr2p0nxAnfvc9X89D+WkCnAvJA0nOz9kqEWg2PapNzH7LeyAd7rGxjSZ21+l
d3Qz5O62fvqVn8TkpBPbzXAkaHFtFmXqZ5MwaAagH4yc9sS2sBwrH8vsuQDUOFXLxKekkr9S/tcZ
6EvvhrEu54e+hVKQgA8jt3bwa29kTBN4RqGb3p4H8HZVC1tK2kfZkP8DNsiubvmIgqd7J2r+cv23
WYkqZtdFMfEOqW6IBXHmi7WNzfqQokPBQhkB0By9xV9aGczmIX9GsU5KEqgE0pvuDiUY8QL9L5Tu
rSdO199kLQgYG14b3k2KjYDkjXX/5IxqV5MChY6s/gIPp41TzloIMwJAyFJRzHZaJtOsbvNUvQTN
+Pv6469d2tjoOkKWGjVTiG9dHUG4GMktGv/alY2pbg9pOc8drlwAz5l5qEzTz616ZjaiCSCLbgY1
JpYYzr2HxH9aPRZSbxwtVh7cJBLznvr1VBIMGtWeCuZ9Z2m1ZXCxMu7NJARE7hdOfjEmQQVRkybH
pckiixeRZ70szsZqujLqTW68B9Sojy3gkKB8Cmn+fAL7+Acy9Rsjfu3yl7+/22qKFnWGTLpjwqBH
8vrgCCVYpN3gc2HbRBvTpXLLkSO0FiGHNKmBXrIs6T1JuffJOxhTdlCWRkPskiU079+abD4JDXWY
G3Yv1+fUSkhgxnTtFSqEqsEbsGJ+nkr7QTrOIe/Kv3VgvV2/xdoYNaZtINCA0M8too7z2JUd+guG
4/Urr6wDzJi2HGUE7ji4srbls7o0sQTjF5ktR5hrQLLlnwMGtfn1e60scCaBGL3hk8gzZ0zsnGTR
PM5HGEVjDaX8oYeJbAO5RATkKfQMXf8pvwCPmGhiHEVCJH413o9UPNZjBvlSupBoatAIf/21/jUQ
++DA9IHBK+pOSy+TFjvEO5Df5jvbHaF2H3nYfNNw9IiH4Qll8Fbs4PuKno0iDPqHrFNQ3JM2hGM2
elxhlyBgrXXMagiXNI7zzg6VW/GTY7f8MBKFnr6ReE0eF3TByumhJH52K1n5ERwWmsP1d1kZyyYM
Wc5owpiFNyaU19gRSPf7MqU/x1Hurb7auMfKYHaNgCI1fOdHiXuw7N6vz3nx+/qzrwSq/8B4UxW0
M9wbk07dAosXpTrx6MY2ee27GDHE9kkf1KrvEx/GSxAJ1vPcRjxtXReGLdI7V23Tf/LzGOFk4V5p
U5AXE1GA8a7+gl64v/6B1j68GUVGCHY6G1eeuj/aeZNbZjBr1zVjiNUgd99NmNdLsSdUJ2C5PF5/
5JXvbpKCOZhxU59hAc01EB/WQB9RKTpVGD07O9vCRP9rAvfBBDYLe5yGNdRvA16gGvzTpUvzyKsO
CmYCnS9aHnSAJsNq2kPSDq1b2XeHdoYCjLlVe2PbixV1Tluj+QDcYgiHoQBP28qKc20FMfE9916q
ed7YrawMcpObm/O2c8OlH5NwCNOvoah8nHekdULfAfvcADQ9VGtIREUHh7lzX3UqLhvojS2yNBsv
sPaLmjNpLnjVQ2+ckIsh1FTr25yHr/nE7V0qx3FjqK/dxZhEtGQIo+4I6q/44VSvXM0x949j9eX6
sFwZ8ab1qetnYU8tDBjUVsC7l7PcWEvWLmxMpa7P5kJTXLi17opGxHnebOyCVr6ISXOt56FPnW4Z
k1E66JrTU1RYIbqf5P04BxtRcuXpTaorJBYLISl+29CZXng43zb2+HL9i6+MexPi6nCRAauIGNNm
/ZPNwiP6XV4gx90YLytbExPjCvV2iCZc0iDfrF5zGiZdmt4LG6oudGJ8zxfxFXL43w6ksp/7oU1K
Zu3bHEVA6LhJd19lf2nwKWi3R/7dpLzbrveKQNQjFS4MRRX5E+Zb+ZW1AWRO3B4KZJegbxNl20hA
ajShNUTnu0BspB7XRo8xZ1PVayx9ePKq++IOLyG8R66PnZVTmGOse+Uc6mpxpyYpyh/DXMWirMBA
InHRAhEUbtFq1kaoMXXrMcyzUMopcaHIhY+CjeYMJn5ff4WVb2PalxZImbZUQTxbz10Upt+U9Xr9
wivfxr6cC94NFzT6wmICza1JFcqzRLQZ7TLKp5+yZLsx3aq5rD3+5e7v7hL2vbaohyM8mGPPEE/v
idNvjBp6GR4fLN4m+DOgamqLeVQXkwIYpzEpK2jtIbeWzsRiNEMGu7FW/m7yahy+kdOSxyzvsr3I
umKXO619CrNGJk6IFj9rDNP93Ct2ntD+/NIN6HaYKXg6gkA1gp6p7OYifPuje7Rj4dRaof2MhqBE
Mv8Oka8FoAaHmaGFmDXPZgdGHR3U0Sz8c/3HWpmCxBjIgwVmQRoiCMrlYqboQCg7gnG86J+QJW2s
zyvD2MTltRItSWhvb5KJ09d+scANGL5z9OVdf4UPxxsLw0sAfjcSXMeevaZdyoSk6IlThD1nWZGk
jnhGy8J9Lccty74PhxxuZAxsOFkIXYEfA0kUVFLDfKxp/v36O6xd2hjNqs0tf+A4x5ZodVb2G0l/
Xb/wh78vnvny93cfB90D07KAfZPA4AUn5KDUYKm0bDhnRZ8/V2htfvrEjTxi4mzrEG35QSFVwoIa
oIdQPstWvlz6WUfdfm4gmZRszBAyyyCVuAcE7kC1+rx9tZxxi/f74UjCOxjrURB0KWztO6QF9YS6
pCvcPfD+BC0TtIGTd05t0GyEnaN/RtUHtTRotkaq4RdH2e+myqGJBmEI3LeFlc8ZwJ83sJSHZRuR
buTATQP2DWP2pBc2fUXnnNpPkCffNUNlx1C5aKAAOnqjfOy80XvR3iOP3T84OLi9Qsqf612u7fov
kypFMsgrTqqZxrtqCQWyHYHF46H3213ae97BbjiNWA5CefWtILBF2WVqBJ1OON2BLlTeOrOebsa0
yXlU1tRDMY4s1WtR0PwBLdP1UYCJAtBGGe6rLCtje2zkI8hZw0OQ8u5TSToMzEuweDcwPe3iQF1h
8+iqbA96wCGDG1hLN/lll9/sPzEc17/MtHfXH2dv9jhBDradiGCRa6GMjJx6ew6XyT8CPgHZPfzo
Dlkw1Pe+PRaPzugvxxDOUE99wYI7r2yGjRXxw9nto8/l/5/FqdoU6YkcS23KvKhYpjpm4Vbt+WNS
G65ujFrOlRppPtIkbJvbdkAWweZNipxUJ2544/6x0DySuvUfKNIPY8DA15BIpztqiWhZQPYZds/X
Q8CH0wcPYuy2upIHcw0Ne0Iq+0fLulvlVztHTWgmabpfHQNc4PqNPgxquJGxaIUYs7bsVQ92OdMR
MtVnb2Av1uywCFbWGwHtw1ULNzE2X0zUtC5U2CVeUVbooXZexBDuamvLXHNlUJj7LxAORFZSYUME
AUH6TN07pTGZr3+hf0/W/xn+PjU3YWHrkTyjkO8yQCtLJ5bgPkTloXpi37ofnhulYh9K2JDF9i+V
eDfurrrtbpwD3Qen+tK0/aWGTiOP+HP9Ff/ov/LpgAznxtOtfNp/bfTezU00s7miDBRNStcvn20e
FneNG1LQPeHpEF//Aiv3IEZ8cTA80XaFjrm8+Nq1v1wX7QL87fq1P8xw+5QY83kKlajVBPuPLB93
/gLGCWjboUTfCztJ9tNO/16/z9o7GDMbrN400xM8goHdhCg8IhNF3qTfqAle9kcfDBFiTFcsPjXU
rPhCF3NgD4QlbaFpNbejVp+a8FF0YVQDDXH9VVZig7nPbDOd+l1m0WQkYFFkzY3M/ARMtMi3Gnw6
d0Oju/bFjElbsmDs+0F2SQDcErt4oBDnOFdbHRIfBx7H3GrWforWRStnCR+qfZN1EfRkB7ZUUdts
mV18/AY4Ivz/WpGGoWSePXnJgKQfNvtQm+RRpzZCtP0xStZ3zHXRcUPIoyx4aXQKWqVstrzHVJHs
7AXgHqNheP49VZq8pSD5AesbwropmjhLH2sb3E0NksE9sKDeEcDAJtYOAN5uHy5ZrICRObbLuOxc
u0AzdF85y6ngWYCG8cmtDzzPgyOsTN3zjN7BO7+oil0JJgI2S1X2s1R83tthLY9cLIBGTE0AfVbo
1AdYyXuRBSnVsx41O/Qu0wf0GfpHdPKlO/T7NHuFNPohHdrhZtR8vpHoho2QWRh2fYB8faMnHy5w
aL1zikrHoNYt577T5dmD5/apR49Q5KKNfVdiZ/9A+sL6UxbqlTXj9KZbyN+tNqXxzIBtTSevOruz
J8Ko6MAhstBRtsvZOB6QjEXgzNCKSHw93Ptq6ED8KoR/r+wWbRw9RYgYXDx+VdV79LIBLFSP9xn5
ES7kBr1a6Y5MjB1lWInd0oE3EVHmpehEy/6CxJPdu8vE+G4IJ7nTA7iKyoNSGAZaKbRUg/uMNrPm
KYeA0o7HVg1w73Em76fMgmxvgQ3z0gGG1US09/gMdHKv9xQwLLIbSWvHlefq3aQ8Kx6VS5C8ENUj
DqSFt0vdRWY7y0eb1EYQWBvbRjwTja1GUgRD4i8ToEw2CeAXI5zD3HT+4/U4s3YLI6hZsqjdokXP
r6bwfevhphZnqgzjYpi3eJ8fhzInNHcfVqu9AO5JiR2Me9svX7VXsdgBihe6kxT77LD61BoGl5H/
jwXgp3QZ59C4OKEiN0vTh49yziloTcHy7fr3WoloptgXTeT+BAvSIengJrBDm1yYgIuovqAPKrhV
UIv8un6ftbhjKnzVOMiylTCDy70xgAcMB6ONTfP3quCwF7OYjRZKvy7dp84iQRbVbR2iBRB96vvr
D/Dxdssx5b+YJnlLpdcm3TDjAAe+USCCrcPM2le8/P3dhibwrBBvZEPfWoA6p6rfcgjGaGL6WNTd
lmJs7Q2MlcED0MezFtomA9IbC06cAQTr1z/O2vMbGxoJMkyRkhKXFuOzV6Q6Al8CrL/UOrvZKHbX
77L2Asb098Fr4sPstknT5GCpe2g+nYK/n7u2Me/RdalsynibyLwCzoKr/gCjWOdTAmbfMTWNvaPH
PoRdBWr+RS/g0aPcb1C12n80DZZTh5h8r+d6fGA1AAZp1/2zOCAQAA9Jniy+uDtZK+eP1G0XWxBj
Pvd5gTYg6o8vLbG8nTtxfdcDtIKefIEEuzP4EfrJwA0lBbkZ0HkTW7O/xE3KGI2Vs2BbJmc2Qsyc
iY1AsBLVTD0iKt1TX4U+UuX1X79/Q4M3HC1INPMBi+lWWXTtJpe/v5snDgin2aLmKbGZKvYgDkwP
rOMNPIj1P3Njg+PXWnDJ/tyQMKInuoXqys4HifLU+M/oSFCEgtP1S/8r7P7v3tkxlaH1EI5WRRaJ
TFF3z5hTovtfNjABbntQcSvlWE8q84a/Xu+jYQrHPHln9yH50aetf1tSqzr6oi72wSDmGOQncQTS
lr3ho0A2LsDDAyOUnutwTg/AynUilvCdSpTjVm9AlFW7TDo6ptjGPAAoNcTdADpNZfPpuGQz6IbN
gDOJmNDKyp0AC3lTtXukyuHPzTo3Uk2pkTUX6L9ETHwMSF68CjBMk3qasweew+Ev4J69s+Gnelbo
Okehqkfi64LGUilDT7YKe0C6enHj5Vl9J4ogPZXMHWJChLhpKAPWIOTsFSVfiXE8ZfuyqLr6GPaA
KU4E2aeokcNcxh7sC765Q0+CWDTVUNxohTYWHAeGLohU3oTIZJBXW2P7dP13W9kdmEBjcC7GQAuc
6YeWR50POA14rHW2sbn++FjoeMaA85RroQdgCc6BghFTCVjnDXTciRbdD+AhXmprfHRkvzFfV4Kp
byw5Kk1dNBp0U4JkN/pC2GB/Hf252rj6yquY6lpvnpCCFD5B9sx/Il0IgiY/12n/ZfL5UZXB35ls
yQ/WYoKx9tR9m3ZZo+2EkscZsogRNepCAxsZfBNSbJwLVxY4kxjd50ugdeG7iU7Jm1bV41y752wC
To+JYKsAuzK6fGMNomNmS3ERo/WQPvfO11HcpNOWfdXaxY1dZ8d4gEJ+m55LAoYb2HANSLY4UG3M
jLXhZIzdtA1TDzYL4RkLP1g9WbB3rLba2F78K079IFyaXSaaNoVT9Vwn9rRQHo2enkERtH3gMzT9
zko72KmF62PJe2dvM9Ao4wBnqpO1pNm+oxMBAfKVQUEeOS7Wo5G6cfm3mF3A/lMx76HRqgFmD3i+
d+o+iMex8gGaKfURfoHkSy+pwqapH/Ya4BGICe6nbKmPuSrVL5EOMCudx3pHequ86QWs5FGoQ1dR
3bXt94y79tvARfGUBYzdesJyb/piEt90kQLdyBbRI4fee6BzNDLSepB8n3c9ufUAl/KjRXrDU0Ws
+mYErriJkZVLvyNdGx5UEVgPS5O2ZOMbr6SBHbPNRqZeMw/Us85A/e4r6AIbVcEk2DrAcoFY7Kuf
fsu4Po8tyLpfC2Cl+4LvwP2+HllXAobZf6ObFHzQpr8MT/3HJt2uGDgIouwIhuyL2/PYCje9CrBZ
+GgwGZHPS1FRHSim2TIX+87K9+igRfH9l7BhSzL8uf4+K9PN7MyR9UJAPIIRq0uGaII0ebZERPmW
S9xK0DPbCpyA6swviXXWLtw3IQGxkQaz7PrE/+UFb5wfV6KeZ2y4beqFrd/iJVrrvAzLjvEXKsad
pcKNQbf2lYyIN+SsYtjFuYlTDD9J1U/RothjerE8/dTPYAr1SUtYKaS3JFCR3jaNeEQK4Uym5nMr
tinUd20U9FFVX5Im13tRdOiCKuNawBAA9miNhL+2/pQMy3dM3b7Vdg229HRBCLR2bPQBa9woW66E
blOs3yBgV4xQOwlwhGaieYZ04Mf1z7926cvv/m6/jkNss9RgxiZFJb85pf9NINe3seKsDE5TpS+J
64DF6dpJGkDX7HTtLm/A2UUbIttTpR+vv8HKCGXGFHBatAeFlt8lVZEXiapF+lSXUsYWmOsbh4G1
j2RMAgbvBdmkU50ge/g2duBOA8f9uac3Fn0RWE4/g8EIIftvC45bJLghwGdcv/jacxtLvmvDdhOe
D+G5XqydK8/+shXdVj66qcpX4Gb16PgMwWuX2dd0UOyO0RoIpbbKP/dlTBE+DIdb2YNUer7stRwY
NGTL62Jv2WyuvcAlbL8b90QP9uTDw+Is/DFaKORLIIe3Qbjx5VeGvimJ7wp0QDuEhGdmlZGfQjoW
fqHpc5fTjbC58tOaeni0H9kSYN0lAYdUHVlrzYeud/nnDtamKh7ypBys8wYDB+gpmP5hcwaoy8aj
r316Y8J2I7UZrAWCMxEyIs730QHWenMX/eGX90IzjzN4PvwHnLZI5rq9KZX7wpmVwZ7be2zA2Dxe
n1gfLu64iTGxkCnSDfCkC/TITdTXd3SoDz2/65BSCYM/1+/x4WfyQjMBwevW8sABRgs9W+7n/iJ+
Kn/Z1NlYUz7czuHyl7+/mwCQ6k09TAfmxLf88tFzptABVjylkVcvalfAh/21T2v2jZcT3VL0fViP
xD2NSTf6+QLg5sgTADFvm3ARsGnYLWqKKX9yKv61COFQPqZe/ZlZiPtdxsi7dyxKr84AU1sSAbzX
pUmsbp/huRDbYb6//iOtvdHlx3t3h8nvFrtSYQFy/UQLdOm1+jtHV0/cztalRTYQ/t0o6zmxWN39
ctisNvKVH85/vNrl7+9unPkEaUq0CYIHWpw9bZ8zLV+uv9PawDPmZ7EA2C8A+U08HZ5GrW5oOuwc
m25oL1cmqHmGTsFOcidkgYAxWoCXPoKfHtvB90xuuEetPb6xomZLj4xr4flnxw8eEXD3FHhXG5XA
619nhWIUmqgG5DF60FiAfamofshEfs9h/2i17QOwhIfGsV6yAT2PGoDPFBioeLC6t35QGx9vJfCY
x+yaw3RX+mJJ0n7MH4Wr2hvp1OygGEf/F5qiT7KGl9nGq15+8f+cw9DEZcQIVI5A87gYnAD9TY9B
NqkbVYTkaJUV7HrsOrhT2GntyDzRQx9adEcACgeAckSulMO5LqNpsZV6+bi8hIcxgocTACAC0+cZ
jFvotwaeiApH7cb1YCRegyYTem169Dqn3w+VcHbQ221t/1ZCpWeEkXRO4eUFg4REhw+BplGhXykJ
o7GYzqP8hYT+xsK4MjPME2lmNaih1bD16ke/RF7eZjEFrDXykM7sePV0/Vddu4sROZrJDkLsvoMz
7Z5G8hueHxEFgqv6nFd9aB5JvSAUtOdtcNYerBktfCdYllJA3Gvr7/U3uDzpR8PS2I7nLIWXTD4E
Z57ND6EvT8GwpTRe+6mN4KGAgKx9FEwTUTrLmzc2/MmeFWxIgz74vliy/gmc73j2nAWeTNffZu33
MPYS0kJzIJJnwbknIOvPr6H828o5ukgErt9gJWaYJ2w7heYj46N/zicXmgJnOvTS7uOU8kNh+SJO
w1Qfrt9q5fOZp23WdahgICuOxoBvYtEPHmjSC1xbfSeLuwzaDDiYXb/Tv9rHDwaBedomCE2wpsEw
JqjW78ZB65gXs47zdKoOAdpOji4MeuEwaWVPYw1TDm9xQUrvLtqTsRhOjmWX3zU8eYCCn4D6J8uw
n0s3BNPeq2/7iYf7crTG4wh6ewwud7HP63z4dv3pV0aweaCXjQvk8YgRPI3jcyfbl7TMP9e8HJok
vwku9YGvR/wGOKRFVc4OI7dvSFH7G+PpX+/Jjz69EUEA2vd9FL1mYEAG9gYqPiKItLwnUU0A6bfw
jijgefbA3ELueiS0cXLzH5aRZGADLRpzCV69ocftYzFoFnuDZUWAeXZ7NjKxsweePdBetT/HKsV/
gEP7noG3EKeBw380XuDeLB5o4IAuAGnUNDVaNi7eMj0Oz8UIID8ataFIguXB2avhLGg1cESfOxHs
M9nLJ4Cqhz1E5e3Zs3I/orACROMHPGUlKJxH/B/hV2rlqE0Q5Z16nqOtmjFV793clVFeEdAv2n7I
I8cBlRebfZgQ0f6prOZ/YA89/ahTon+3vg37mjy1AN2nZNhPtfBiAiPBrfzoyjQz+zmrHP4oC9wS
E3D1z6SZm5NSsByCx9u941FYwyzWHUw83OP10bqyozIzLDVaL50Zpo8Jg6y49i6ePTVsAbfi09pk
MML5xVE0raymT1w4ngDQ6PL5tssr8Xz96dcub4R0l2KQ+fnknW2R3ddh+S2He/PGVFi7thG74X7U
ixF0AsiUO3WQ6FaKyTzzjc3eCiMgNLMsBMAxlBUDNBimt2NYwVMCeQop4hZRi8O6T8Kko5i6m2GA
XMQLZ/hfkOOkMEQLQI3r6QC/ht08kwOW41POuv0cuveZJY5imR7gxBB5cDX71Fc2szWA1NkBaor+
2apRcps9+NN15caOZWX8magE2M5x2JnQOVHwleFIAUkP0O9u48lX1l8zVaNStyjaHFbAcMHgdxqU
uriA6PBYI/H9JWV1s7v+hdbe4vL3dye2PIWpFOqr/tnXzwqnQhRrtkgfa69wGZ7vLm3VcFFZMrTm
50uPVMov6MJ3IJfHAySFn3t440wIz64hsDTBJOoCWM+Ur0VqQSG6VbxdmUeuEQKU8vrWZzgmAyl1
6ODJokv++3NPbkx/UjkokUhvTqb0cSjvQ/c7r79fv/TK4d81Zn/pkrS3W3SLNS7ZgR2+b2ESxeiJ
4iBY0HA/X2xR7S/Xb7YyfEyogRhH5tYVDvzwA4k8VaOTEC08+s/1qzv/Jg4/WNTpZa15N4YQgmdk
5cAIAN6yx1vw5agXUs+7NNXWn4sb8jOMIaQHFzcohuFpozuwWu3+phxF+yN0lxz4j5tFL86xYuWP
pQqdO+lbFHZUDgyQUviXQRIrHRj4ldDQwjiXAZnKaavAlIJhWxtlHW3uvcbSt01KsuPktMFbSAZn
x2whXoTHs4MXyuzAAU44oEKb7YNwBMHd62DuB3syuNTi6I9nAYsphouKfgEsrL2kzN6WUqlXql0s
9pAMu4CijNPyt6tDfqt7Tu5TGIzHbgB64TyQ8nZw3fYgM1hhQYUjTjhJNkdBM/utbyjMm2ABCStC
qzh5qmhP2D38Y1ewJveVcI7UWSSMLJ3fYgEzt7RlE8E0StwMtfVj8F39NDa+PlAMnGc07X1Lxw62
ZZao/zbwAophydLsKbKLD7Th+PdqBmQvndHr4w34iDLDHnrOZ+snLUGZHnxUxnnfwCQGhLFo8VKy
d/x8hlEZCvuDguimXPLpeSidHyVcxm5mx5d3LjzkTtCkVfA4G+qbHn7ocTkr7Nw4meN58ebYbqvf
OSthv2QPKspGH96XGWjGqLKjc4SgKgv9tlvta+bU57Lzm+YiswG+KxwhWosr4Igf8rkpHTTWwh6j
lUV4qAowFWF5V8MTb3JjV5c/XeGpHWXAREXlVKLUz2DaFJWt25/yppu/wXzZ39ORshtYpqLrukV7
m6UmakVwUa4OC0GAdt0K26wAu7MHYYHc6PZd+jCW2j5M/QDXtbas7mFJ/V3503wDI5P6Ffaw9qGZ
hPzSqWk6tp0/tSjMwpZYwLBFwiM0oFHgusMeezwBL+Ny+VFY019awnGSXTw38dNIHfEpoHvPx14W
TVEBtp1QXY8wej64LqmiLmASLlOW9h+zbijuSTu2sGtjroTBagvZ05SjT8uVGgFbpBXQDWx8q3hF
D03hY/PYSPvUFP33UvvhWbVN+uhOtlMfF5pPDzPcTHdZe/ngWmGUjKW8nQqbHyzY2cQBSWUM3Vnw
deSQWYwpjvsRMFO9uJ+WQj3mQVW+TVkw3Qg2QZDXD46Ep7eGTVfDgz0t5E+PdW8wvKjjomrSuIa8
+pxORQ+WiWsfS6DggthKpbtvHJljtzG42JzAQdp+URg/dZRr7X+BthA2P3DQK6edvYxfio71By+r
+t2ACbpr/ed2sC1IxtICG4amKp+C/3F2JU1y8krwFxEhxCauLL0xq2ezfSHG9mdWARJi/fUve05j
XtNEzM2eA2otVSpVVWYmgFuSsm5wu2TPvCFq8BS03oqwcnG54cjmkHMBXhGS385DUQ9vM7VnO2Bp
m9zPvAH4PNXwbIYQC1GwpdiwbsDYlQZtC45daDUn3Zf6tm13SXeikOIzIdzNTsLpqFcn7V1p0Bdk
bLbQjWsh/iLbNaPpr69yiVyQhka9fGTfc21yoViSnWjhRLRNDgXZ0gpYyRAsqWx6OXeEWj07JcXg
1/1P6GUFlfvUixZ7u1UzWbvAFiHEYDoQg4bESMQgOl5UQNIyCqmgin7tlfIB9f90gU2ipJ2ZaRZk
H+vJq6zBvadU9fe5pY8bLTArYcqSwYWPky2SecgjSKg6v1WcABfkqmmLy3NthRbxREZ0JkYIwkfC
LGgYc9PcqczJkLIxvjjEktClq+wGkrqOBc0JB+2RaGLrf0G26WtR4pLKxbVqNpbcMk8lUn9p/CNL
UVPd4v9dWZ0lmcvciHKgrEC/DrizIHWEDfcyLY19cGhYf6+HQSuGsGR0MarkrNaF3Am15gGwUMlO
ABuN3gT9V6/lJgRwuppsVODWJnT++6cD6wLxYXYZ2rmAXTpU+jgipd7+bqzx+WuTOZ/iT99HdKBi
rUWaxqwTZwft8xKyvUn+VJd8BvfYUBygzrnVx/DBAnAhfvwol3wajdFWt0qERid0QUO3UtPonZUU
RmBMZ8RT7ryLzpQ3lgTzLWjrYh8Uq7HHhUk/VH/2dUzjQ2EKyHHbI9k4j/o5yL/wo5bA6dY20hLi
C1lkOSzes45ShEqMeBoD/l1mwKV6eTlkLyDHgiyp0fZ7HCg3AMJw2AjbV/z4EjE9je4M+FwXn2b3
3VVPtGWP1KZIfyEEKJPHCsQB13d7baDFO4cmpcnliIuaxgzSi12FpGhL3qehQeNlsofG3QtXbbwx
2trZXbiqGtdTPBoQDgeWByLkFq5wzU2AX011EV6f0PmYXti7JXoaGUQHhN+5CwFePQC06MjGbGNT
Vt7LS+i0wcc8jWusFdSjv00avTW16SZ2qrdcTzeqkCueZAmAxnKjw9Zy4K2gi34C/d9TjMqhD3uP
w4QMECX7otNdUtnkI8+HeTTiE1XGDU30g9EyCGLPGxjitW1YeCm8TbIMQEoGVoU0TKh8tOUXK0Uf
fa6fXAby6a1we909sRnlxBLC0sT2bXKX5BsJtLXfvgg5TDdpRsHgk5rGDN0p++O01RZl1mULcJbN
bZTFrCJJQ0AbLSI9cU/QiNgBaLG7fvrXPr/46XxySTM6LYkE+am3UU5+QlXy+qc/+A3+37KcJfcs
VBZ0rTTxs7uTuW9uCui949lz4xy4n4TVgd6jq/3ezDx5V+/GW37ffckmHGvhotwKGyJzWkVQ1izG
INNYGXSkmcOUVeODPlAjhKLKsFUxvrz7zpKlFvy3TFkuKj9DK97BevKunRP719fwsnk7y8wstPps
t7Acepr6vPlWigzqUNRUfgeu2FsQ8tVBmqju6fpgK2dhmVs1lNm5KSTqIn0s5p8TUGQQLpVF5U9A
j75dH2NtQue/f7LFiQi7YsygJ7Qosz1HSBVAu1iAu8Uaj7adZs9abLsPXxvs7Jc/DWZMnVWMjMwg
Rn3RAQfSx9/G/BMKSQCibSWkL/t4Z9kgJyWD9eSVcbJngwNG0ZrAHjBAm4T7cwK2y78+lbVhzofv
01RMPhW9mjv91NTVOzHAseCw/tSk5E9t0w27WTnI5sIXdELv9B6cxCdVOHgRZA8V5188WvTfnw/F
yS7OJg29PhJJHlBFvFpz85xaeNVfX5+1s7uweWu2MwdG34D5o9oPMwQI7Yr+BrH/Rv/y2vcXgUgK
YtU8KdElajLNPYETIP/mNKw657aGjdO6svzLzGtSl7kLETFy6juk5Fgjfwk33rihVn7+Muvax06s
W8ylJ2KT4jg1TXUbS9X5blW3G0NcDgwdY2HZIoGmMN7d5NR07g8IJO3rGhrBs8CScdSrSmSkYjVt
XYsrfuT/UglcSKvpCTmp1vyWs/7PlDm/8oHs5tZ9pJnauMPWhjmv5yezQ+siawsT7NkmMZC91fZt
bb8K1R3APO+rpN7y82t7v7CPCs2kEnxMAghTgZ7+DnnmL73+wN/z7wyYHHlHB1OcOwf/2nZ/72aQ
hHA21udyaQIENv9+HZg+pBEBkY5oo27cyQnM5sZuupOhm0E+7eX0c2I/rlv4igdcphQmq9ASYNfo
CXxo2Q5KVs9p3zIvceTfetZ+f22Q8+H+tN95BxnijGXxqUsHn4C/CIQcvgseeN5tWPmKJS7TCyZj
bjd1uormoh998GdXx3py+iAGn+OGJa4Nsbj28GFNGnNsnzKIn98lZZx7o8E5OnHA3XF9ndaGWNgF
FfDlvdGZp0p9N2ww2AGC39GvSaU4S5YzZo8Omk5FEyGNGyg6HMwJRSBIdn/txy/uucHuJqGVln0y
RqguJ8bvkpU/LS3fStqueMLlW1yg5gMcfmGdytx5bOLqqDva6McaRB5M83eF9qCRko29XnFQSwIz
oLR7w4UeOboUM4k6Sh/0VH9QufMyNfPfhG1xmK04qCWHGRjlWRO7dh2Zg/FsOvxxLr+mN+osH+CN
VuONIw3IWc5TfAYxHJkyiMektQUQWvnxy3c4SUrJhhHYL5HLfa730NT7mgCJs3x/t3LKRnOG41ZW
603jYdKglKC2nhYrJ2n55k66sQEkkeDrbYfKR4niYg5+nrOxlQidKhwzKLTOG/HfilEviTdJOdaZ
HCWJkpIfQZ0C3Cc5uWCt/JLZLZ/hYDwdhqTEU1NiqVQagRoRNamv2cGScLNu66QsnJpEQ52hiPiT
9WKfsqe0rEEotSVAsWJsy9yj4zSUDsoyTqgDPkBk9m5oQW3VOXYXNASuBNqfG/51baTFrS2Hkunz
GTTa0gSpnXzyUJMF6KOMb7lxVonfVAFa2/TFDd6DhKSyCazPJo4/WMxHZdfv6yS4vukrtzY5Bw6f
LlRQmVYdWqOMU5rF5G5OXBHotWUezF4bd70p4/31cVamQRYXd2FA99N2gTo3XPcZ2OgXM3cSLzGH
jTtjxYWQ80Z9mocaaDW0HXIZs4E+gvxn7D5e/+FrC3T++6cPV1B4shulyQiAyAIiEgkNubS+xaos
A5KLfAPHsQIncJYshsLNbIc3E7imnCJwONXCfpCaj06t6txHwEqvGlPzvuV5HFIe2x4lLQ/lbOI9
qwyxVW+8vI6ANP07XTWxdh7LWIJHvb8d2uyEDOnGFl12lsCq/Ptpnc6D1o1wlhljD3iW/chsYnmo
RHwHUVwwWmaJboJsYz0vnzfABP4dbC6lVhFeGidk0A5o5q59TcW3iEyfrx+Lyw7AXpL3jWlrxHbG
9ZMaEuJxSEr7eQG6H7294bxowkyUv7420nmnPh3AqSyFZo8lPfXxvTvMQVbdOzlI4nnhdeX362Os
rdYi4srAe0AUx2sNClQ/M6e9S3sw99SdtXG1XF4tZ0mjydFPbTCzrUFvKeugzMbkmcVgUsL7PztW
jd6GTQEKreuTWbPYxWTA2kyzhEz6yU4ID4B97X93FZK/GLrd2blZbYxz+Tw7S1bNtEOiip5lvsE8
GUjF0ZYzenrfeKUY0L1BvBY879endHl/nCWnZtI1cZ8D5xLV/btuu3sNL5/a2qIbW1uwxRXjqjIZ
SoGvTwT9a7L1XKcD/O4JtdXgK7/fXrJpItgGAyRJRTTV7hR1TsVve5HOTxOoKQ/Xh7g8CXsp8o02
7QkQxXo6SV7vZMX9tH8dWno0t/Ayl/fAXpIB6qPVyqGIgTeS6qatjLdsKCvfTcp+d30Ga653sQ0o
CdpxzuV8osgcmnlxsMYhvP7plcVZcv9hlTukWpl+4oUVQRHRc9oH2ONO0/IvWbi9JP1LmSI1arpt
NKJra1DDo1nTW5rIYzKkPzoutxIxlz0JqEr/9YYpaEpJnYCOK3Ysv9TfdA0UVJry4vTXzKqNyazs
BDsv4yeXaxUz56WAO4wb9VuX8X3TOxv30gp8zV6KfDuGOsdcFIkxPp64Mx4Rde/L3AJ8Lqnv4HP9
tNEj6L4NYCsdt7LgKxVwoCP+nVJcTp1LjISe0jZ/KPL4oHUisM2nTIMoFYeWUtMcppLuiEATntVs
GOXaQi5c8Ti7VKjUwL0iUggqT98SgHyvH+mPF/T/V69sRhczStArymZA4hjRBUA+dX6qIVCagxiI
57cdWLdLD92neeOZLXhXfGuGDKVgSg9jB4Q5fg0G2HNHQuG8gmQJQh9o7kDbtOyL8kxuQvNHpT6k
c12CLEcDorVzA9y08ZZbscj/Q3WTOgaIESuDfkc8pe/oIPzRfNSmjRv943V+YXmWuO4ePD0FCHHH
k9ZVEk2CJcySVfRBtmlyQG2iCwj4Pl5d5KFyz1RZ5VecjjvdictjjEz3I1emCo0SsJ3BmSdPaoTv
HAfyo4Oi9FjFZrvxU1cOybLxvpSQroDUqYrUkL3yhPis/5ogub0s/og6z0aVcwXCjvmX47LnDr2e
vqln7/0kHzNde79+GFfuhiXZgMYNzUlrh5zQCPk4xug/7ctkRzr+pdyqveQZqNDhWo0Dok1SVyOk
bJPhOBedfagtu31IUc/cSH6uncqFdwVHdSP6YgSRYubezaLye6fIvWRyTzPdeqSvrNUSjF8UdeJW
bq6fZK52FSA5PlHspW21P9f3YuU4LQnt3LxiIM1tzFNv2k+1ke0L82vwBHsJtnddaL/SFlUyno7i
JwgT6V1XKxjH9V++tjILb5m1o5bM08gRYeRPijg3QBY/SSv/0kvWXgLuk5nUFPcM0HLJzxFPS3N6
AFGFj/rkhktm8LyXXM4iKcKqKunNPkETs/WnhUKqUUAyqftlsxut1w/I6e2urxP9KN1fGmkRKoEN
QyRGN6lIcPNgzC5Sbzcd5TsLnXmiynxwb+vpTSV+GFkYl78bwJuybAyZ0DxjFoc6PpiZ41X8ue6C
2J32BnsGUcuej29FVocjenJ68Zb36clN24NhAg9o3Qz9U2zqno3XOWs9Wb6n4tTYtocUCdAGARRW
9VTtMP+HWIxwpg1qE8KL9QqKDyDxvevNQya8riehDT6/Hir2qH0DRPhWE+LH+Gf8ardoOA9q8Tcn
dw3R8elHhWcER4+7uZurE1jYD0MROtYhTp0H1j8PyV+rnh8dffatJPGL5DAntjejK71wb2LV7Prh
b8N2+jjscpDME/NPbf4F9QbYCiG2iQyGO6FHCHpT4oXz4RXd9N7gBOMIvEVQZLcZwM2mGzRD7CdN
iH6AoTyN0BCrzFcyH4rsuagF5Mt/iNdUw03qJU0ANGBttJ4mZWCDaXwsW+DjqWeP3UGLG2+aeGD3
e84OJhCUswkdtTnsyFN5xt/GQG7yP8IImol4AoSo/CkBx99k3RB+W9Enqj9bCPVyLYGWwD4b5E6J
27huIukAbze+01zfQZgLJPKPDUOOFz3tPHewa7vUPiDRmEC+l+4lGYFBjjL7WGeVh9FwFWZ1gIAr
KBUa+WtPb24RfVHUqOvkYep1jxfEg8hwKJH27iARAqxGmkIDcfY6/Vdr3Z61eLSk8DiYTEChH3S8
8tOW7BD7enr+0jTPjex9bg1Bk5Zogq98kWXISwJx+sPku6zSQrPtfYloQNwIKT0+3MTjT602vLT6
JmhYg2HQnHfjhP0pX4Y0cqwn2LKXge+AkzsB4jrohqY7CaJTbfzJhgcLqZXS1H02OB41BqTEBq8F
UrWebxVgDeVt88cs92Xhpd+Nzqvcv432n579R3LkGKNY9EEOxowNc13xC0sWIcRSRjrZGnpKatXe
WEaMn2PFYNTPWtOPeXafsMpCA3USKRTaqNu+tiV5z8u8CG1Lz461kAB1S2fXEOp14HhEM3GP9aRV
tytloR1cNdZ+YdVWICswQ6YdBfGaBSuMW3QLI90s3sA3vuWmLz9ByDLLbKduCwlqyOnVWSN9TWjv
Vlqd+Slv9NQOxlp/vb5uly8y8hHKf3qF2ERzs1kfwK1FH5jzGrvdxj3zkXT/f/dJPt4mn77sFIbm
zkbvntBjlf6Bl57gO/5rf6B7qbwrfhg1dsXLfn1pGssMMxjn0dvfYDC3+THiXrPern/3cqxClhnl
ITYhTVaXKhpBUQzWEwkPLMa3kkwb5/Zy7ZwsU8qszrW8o0YZJcq9Hyz1ozSSvxJ2DcMyA/BxH1uh
3dZlvHE/r+w3OU/00664WRzHXQadw06/b/SXmGwd2MtxBVmmlokxN2D+x4F1taI4dBKa7NQau2Ms
5H9f24vzlD79dDFA1thMWRHxcj71Fp8jJcb2r8XK7taCAkVwfZi1FVoESHGfAtNvj3WkeB5CrfsA
aO7T9U+vrdHiNdlAGyunEK2ICHJteweamUAulAI4ntntqs1nuHmOhf7P9CBWtpgCF+jMLcysg+Ck
TCOtSeIbgADTJzUmFuTSQSVWmaiwKiuB8LBJzNdKyvYXKx0oh/DRbKA1kPMSzNlW0t3GBoqAA7ro
b0C4MYQCeKvAhPb03oF4XtS5BdJ5eO7tzyQZEP0hMbvpFWgGvTFpmwc7UyzMFSjsc+h6Nz4AD8Nx
jBkENh3JvAHQzptcTdpNNUFPLEHc/qCPUj1OHXce5s4iP8EKB5JRkYEFwht1DaGEqqcfYPOWD6rJ
rLAV9fCaUpTXvUnW7A1JUeY380j28zxIXFVtKg/JkKDhb2QuxyVIxzuRIhWRglftPY1J99TmqRtV
RKQPE3QMg4HPowdFuTwq46S6jyfFgPHJenxrim9rKhGqiB7ZeFIZDlBLBcK8Ki/2HK0pfjrJ9ypp
2kfcm3rooPf63eyFCOPc6HbtrGdhSVW8r+rCfWAo+kQj4Px4ZLXmseuB+MR6t35J9GI3qtl8S0Wa
vANxyY4ykU4gx8T0SN3Eu7bPcl8fYrmbJKn3lpHWAWDxwy7JoCtoQyHzOTOKBimI2YUioIn9HKib
hwOdpzAe0ChAncYK87gpnwDh5AiBQI6VoECEgbX82OUgcEH+QPo9p9lLGut12LsGfXAzh+4cBJPA
Vkg9LEFHFRqk/567fb03aqMORljjrkIb5ANBw/gpH9P8ftC5C1GbkgPjW4iA5d3PgQ3qXo1x6+mi
Nv4wWZffVRGLPw0ZRNggm2SAKQjQ8uvW91FjvmAWy6xYXkrXKS1HAfjdiVDpjICTpeN3IO+2A02z
8lBNuREIw3JCVNanoI5jLajQkYDQcphfRj3P9gDZFhtpuovuwAJ19L8OzZ4sa3RNp4vGLg1gCAeQ
nQAysvGc/+g+uDDdJRUPtZupBS1Zh4aTLvUtsy6C3GnToyFE6hGrb3Z6O5JQISZ6Vk4X7+fOrB6c
bKShYZnOIdahWgkYFNTqdHMOe3RD7TItqTau7JXZL3Pp0yD7OCmgjtmqmw4JgEop78xpeH2zL3px
uMDFM9FIKZPEgqud1O9Rf2TjRrx0MSDAdxd7ZhBI6qaiLqMqLWc0E+ukeUizzvg7JIX2qA29sfvS
BJbZ9FryTqcKWSVq/ujwetLneMMOPhByFw7GMo1uTIVoIUcMOwjnnTz2xyyqT6B+HG4Bi+AvLEDS
1uvD9tjfTU/jS/9i/iLgYfkvudeOcfi6sZIXIx/LXSbZh5hOBdUQWjn5Dc3/Q94g0JqnpB+8GDkh
nXyfumzjMKwctWWqXUcYVZWa3UejQOFMyz2nqQEK3+LSvxirYyaLwKQrLRdc/SCFh7iFJ+vHSuuC
upi9rHxmXG3s2togizt9oBYwbzoEcdvUxhx+cfACNC18evYLx3xjoS4XDjAV+q9LUk0CRBfVkJsD
TfOxUqLdT8ye/Tzv270+d9pOn+YUBI0m+jg65ERanP2NwGtthguTzXu0neOhpiIpqzuQHNQ+ehOY
N8uq9mw9OXF7ix1lxTksM50sYdOU5HA9PUgz4qoBvP6/61a7Modlxr1O5WTEGqzWqIvx1tHLwneh
ROArp5B+gYsmzOe2fL8+2MqxXmbfZwL9kc4RWDB7zB6TuneiZKY0QlPSpjLN5UhySaLK80qBMAmy
t1Nlg/diNtNbt5XavbAqfsbXj8hgcHvjAKxsyzJpOxgGNGgat4+GlGTITdjaYbSGLcb0tdU6//3T
86EodV5VPThHdOD5CTgAPGELvCPUVty9NsB5Wp8GmNiU1KoagTCjj8p4Uc53zXi6vtNrx2ph/Kkh
KpDuVCoa3CFI8r+q/zs0jwbVwI6VbDiYtdVfmL6YUNkALgD+eCpb6D9Lfkygeboxg7XFWRi31Azg
fw10PAP6EzDTgvw1yv98Kyu8cpkseVJLqfQZfXgwhaIDj4Dqv7l5BigRBT8OqX3UjB0vkeKhBKvn
hq+8mHBC9Hb+KZ+2WxNSoKMXKsw2LkyvG8J5Ducwuy++hEnFAOeBPw2gCzk0fZtAcpoTD2K+yPL9
uX6c1n76+Zh9+jJsmSP6gv9LCYl4P+2zTBx4QxVYlhwLfMz2SQzjV7AHmMY5kvo02JDOGt4TOLsV
rQMxPQJp6GtbM1mL6Zc0ppJwkava6qIE2rY+17oBeRpX3VRG2x7xBOlBNpInvoR0KDR0nOaeoA9x
hzK1CKauhMImq61n4Zpbbd+XW+ww3YUXcCzkGc3Yhag8ErRe6synmmcHExGHp0T+Z8zcXe26voZ8
e1qa+95xZ4+1WrthxSt2tiREpZROZmacw0b2ZGt3g/XLnR6vn5q1Ty8cRGbbVumWOPDIsYkBgIVd
yzaAVStR9VJIyzaraYrB/IyXkETuQXpm9ltYum+PfXD9x694tyVZaEccsEyxxj1x+dBISJ51LLz+
5ZVlWXKDUhw8x9KAcLLnBkXuug3rwvkFqZ7D9e+vGKu1sJ9WkWyszkmjCdRC/pDnkP9zs71lmQ+Z
gTUy7eG9cbbobldfjedpfjJXqIi3E1WIwmLbMAMyzt1dPVlN2NOiOqG7Ut60EF7bc2fmoB+0kSwB
C+QuJ9XoIznQQYbQHt4KNpNoxIW+V5ai92PCt6gfVk7KEgktul7UrZv3Udlb3U1F01CrzDJsaN77
xmx8cc0X960BMWtFCGIFJ/0muAK1VhF0iOiN5J4xGVTZ1r21diwXNtVCtgFUTpqKzPIkh8DeYnf+
gJlceOMt4c8mQHZurvDhzkff47H4lkT9sx5UQblLd71nB+gePLqn9tm8YZHcV/5W+vQyV67lfpRT
Px0gTmUZj6OrovTGuGd7dbR2zQ5Py9TT7rJbKGruEFg8DDd5VIU0Sk9x6D7XGw0v+gei7cK8l1jp
Ao8VuKgU+fRUEMMfY3RJzCAK9vKi73rP0HX2nNqseqCjQOKpb9Hz4NXc0u5yexDf3X62bH8u8ule
Twtxw+vMMUIIpSILUqhxABcb1C9OPf6PNtaGZx4bXJSTuBb/sfRhQOVI0dBCkzUo82y2A+mYtQdN
TR9Ad7cKuOM20IwWJJx13cV7kbWnSrjkjusx81NTqx6Aw3f+QipxAjF3Y3yfoMq6A1ep+QB+sjSy
jARV1qQ3vHJy00dCUTBsE2miQgf8zEFYtMOT0OTmO/Du5b2tV+lfKPEylBdmenBkMd1a1TCEcdGM
v2WdgTFuJqr448oqDbgu06PDh+I7GRxdedmUkefMpU+xJp0bKlCkTCyeBLhk1OvcVjwcmJ3/ySpT
80DO1r+A/LS/Q7Yv8fLWBBGuMbg+d0TxBPxk6hVVryLwkKhT0U/nbidb5oEzlPVBZ6Z7mKGCemOm
dsogSp+me1FraEKHzNE9NKvJLYF39Ymd0m/mYMkIhXkigOXOyu+tpHglFs7gM2xB5PbK8NMZeuJm
bZEQaiVuYBXuD3CU0Z0mQHEEZt1k55QKL6VGER+FVXXMNE33Bbd6aAWrzgxnrUYJcOYyfks70NFB
M90tD/GUjo2HrDRQSQ2bRvAm1cOtBuq258ZlDNTEZVlGRive4hwJ5qZR7i8CRSse4a43vBp6FOAn
HrQtQMLK3bBE9Eqm0MPfwcr7oKjCsgmcWzSkqSqot1ouVxzUEtCrWC7qREOuKNPbu0yKY0q21L4+
kFcXbHUJ3xVYWAsyuHlk6EY7eBNKD0UAg8E6ZnZSPbVIUs7oBAMDcQjKbOudG4ClSzQ1zCp7g8Dn
AR1Rya+MFDraiavpuTWL4QACwhYaD2B6vH7/rqzAkhABeqOwtBadY+eODNp+F+prT6Il06yVjDWT
Q22cRM6R0pmLX22mg2aqdY7Xf/llmiTLXTa9oS+piodWGifTrcqIGfV8sPWxCmYNemRQL4gcgSzS
YJegnWzrIB7Jj5jHt+Zo3Iu4mwJnhh2eNYKv/56VSGnZKOcAr1Slc62iHG1x2VMJ0VSt/nb92ysv
5GX5P8USOlaKs0Q7cCvNPkU8knDtkNNin098d32Uj+vzwpFdsiOkmjNmkCXEQxyggudhyrKbJub6
scG1cGCumBNcMUg0dkynp6yr6LdZb93vba6PwQTZW4h4ixwgjljd9zKXQdlaBqq8Md+DWZ4fipkA
jSNKe6cLbfYbPtXPaWZq+xkc8UeVglqryVi776Wr/Hq2Bg88kW3YuRnbKXOqb5OuUl41FPRI+zjf
F31Z3WZmph5bPPiiJk7PctJmHVbtmNwZjrBOQEKyABfUcOdYrbabqLA95g4kHEQtDpQwgkKWMYYI
8MCX7qLb6PpSXtwwR19WJworE6wuiynKSguU08M3Mefv9qR8JiFdVbOX68NcjBcxzNlzfopG5qko
3FhmdVRV2es4xocO13Ud59+0egt3ctFBYIjFa1oMVRLPgqJlshbHmGiHwsAxuP7zL+Y18O1F8M+S
hCqQXwEE7U7pQWTpnd0aJ+XwewOdmXwmz4C8nTJVbw24tl6L8B9Id4uaSVlHvfxulDdycv0cGbIx
/u/6hC76AEzovIif9gMNFVOVxbh6Db1vwQ6gixfXldOxR+iykXBYm8IieHeZlfag/DEiCshMy1+7
9I/Ocj+OZfC1OdB/53BOxWVJVumRmaaxN7D+QY7oOk/klkzlZS52rNIiW5YUU2FMJZdRVfrjLruj
J9NHURhFQg8tlZ6c/DbQbpG92MXe6SkJ4jv+Zodbw68d6EWNy0ynkZZlRSP4gellonZ2KG2DftHy
lyG6DW34tmkLEFlphqe+E2idGPdjXAbDn+v7s/L7lze2sgTEtEHAHJFyhszGeMxrd+NKXfv0wtZB
SWbUY5fTqDXlU8rpN0GGjTfnyrFdXta5wOU/l/g0GhieegaL7qu+9nIL6RAIc4uNS3jF7y4v4UaA
ebthI9jPE4UgljL3TZBM+zkYlQH4Qub+BQN2szHYirUvb+XcbEyX8d6I8njyiuy/ooMMwPD3+jav
LdjCzlXPgcGDDnNEATAyp8bLgVgs7TfONzb7g1Xk/257R18yxTdU6lWsGThIvumz1+HWUqiPKu9h
Psmw8OWB/lDcM5/IDvzWR+1H91a/8V/kGxA1TuAcS3+rdWFtHRf+ALqpxQzotxnxTh2cXOnB6Pa3
WtFq4fW1XDvXC5NXtunOlNhGJBK3vmOdPfqD25kbR3vl60tSo2xy0FXSJ/j5hntEkeSn1rsbcd/a
pxf3O1qKdG3WcjPCE5Idncrsn219wqv/+rqsLPzy+aNDJYZ2iIAjPuQn6Br+xyzxhzjuRr5i7fPn
o/3pNmxsDcqmMfa1PXfwNNUpNoRP+m73tV9/HvbT59Etx+ecdFYkYmvn6L808Nk04Ey//vW1pT//
/fPXK51rNDaMaMqtP5LYxy5r99c/vbYuC9MGPWNtwNNa0dwNaAohXoOm5BQdyF/7/OICl2Ylqqlo
aaQ0417ZTogyvRvK0mi++PuX9gqt1DLPHSPqQX8vRJOCfDa/M6b8x/UJrDjxJeNS3uqAMRDdiUbH
gtZZZp6Qqnmo6YgkWz1WflFrG8HUyiYvCZc6MKDnNJZWZBYG9005aX4vkofr01j7+MJ48dAnszMW
6MvIweuKimzqblFOnD9xwXUvGZbUKAdhU7OLVK+OICs9Gg04llPzO/J+38QQv43x1o26cg8teZwT
15GuXqOjHY2V7HUCMbU32n0aMKDqA4m0X3h9tS53VDvY4n8NrpTQIExT24nw0J2PhVBzyAtuh25l
5AdIdNpHMPKDlSznFB3DjR44oNc/UNb0p0nrjJdEj+0N2185gEtyJhvckLyCtB86KCZnlzp9vTPn
vtiLSec/p5EUe8qyrQri2gIvvEEt0yoWSWFGXZuFjFk+bf7H2Zk0x8lzUfgXUSUhQLBl6NndnuIh
G8qOEwYJMY+//jv9rhI+Y6q8ycJVgUbD1XDveY4CX8fZNNO3UCto2llEmCSMNRyOtAJpLT/msZuO
/dbmmpfaf3j66+sOXGq0WVQQ8Ambkg7RvoBoJM1ftPodNnFeNbTuSJyV0LM0p2YreakZsLQNY/MI
Ew7LY5ZMXCssVyoWl4bgHNM0xCUfIyBCj4SJBiqOqbnLszi7F02n36SWo41X84foxpaMb7OM25vE
SsSBl3V5A9zWpLlJJtRKFFz41DnRqUaFX9v3pnE0OnkzDBOM7bqVrlpYgOZEp9Ews7wUFfITDE4v
He/KY133LIDyI/kO3x8mbbO1X8MNcVoz7PeRrxh38dTgbmcg5t3XY23pA2axwrYtUWolBnReASgT
vlbZnyZeK65cmJD/JeP/WvlVI9IGYBLUT7UyqPKbbiR+VX047PnrH7/0/NmER6JmymWOiRKXjzE5
pT2uxwBuAfzY/94LZtNdtwelaVLDrpG3+5bHAuZk7cNUJb6OUpGVXYbz+RI0l9YUqKdpwac3UEQO
MZLIeMDDbm9qDMuzPBWdVruCxaarZ8bm689a6vTZ3M9z8D0rB2+0hxrTnnD4DvKPNBvuv37+Qr/M
VTacWgA9Fmg2RDLm2SOrvCK0H3QbLp+sefzeS2abglDING8iyzjmUfcbhorIQVsHWCrt2DiuACsX
2mkuulGOzhyb4TsaqAFjVbq56CDt+RbeiNO5xgaMf2LVWaOOqaifaQRxnYEt7NetsxSB5zqbppd9
axYIemNTXuB88AanihdoFTrQKRF329B2hUVfQNjbN5q+CZ3swRkSH2iOtSvChbA75+xQiZQoMLIY
Zdj9v9ignr9OSbhW97w0xmZzX2FDCLoHtv5pMT5QAHch9Ux2ZpNQL3HalfC+9Amz+a9amedswiLp
2PRkQC8I87qVPe3CIj+n6CRVHdVOO1HAUJ9Uf0b5g1tG9wl5LlYVSgt7WzKb5oqPZqr6yDx2cXUH
V1SvZNa2TZ0zSeglzsaLNlork/HzmULmTB0yKX0MW1EcBQWzo5iS2Jep3UIkaawcgT/vCjJngbUW
2Fa16Cx0xXvGf/Rr/NPPxxGZg8CqKFR9bgqwAKXk7gh38TszFqk/2VW6sUVW7r6ekEstdH3/X2sh
h+FGMpX4/Sg9A9djYzq1F6Urzf/5YCJzAFjt0LYeVG8drTbxKIV11dS5ZojEd/5AYJH19Sd8zm3h
xLn2zV/fEKe1hFkLz47U4Wyjw3zuBgWTzn0BONeRY8+TBbKPoeNtOzispaSudQipzcaLUK/1vbBC
/k+0ZnbhNIUoERBR9tNy4nf4/q5stZbGwmy62yZcKxhFM44y3rbsRoxnSLbLxva+bsClMTzb2MNj
TiRywPNFl3gA27j6+PH1k5dG12yqQxlqE3Ct9CNVSYaWb8zNJGuIupqs2Hz9ioUx9n9CE0jheAVZ
/DHJKvfqLZDk7EG3RjCDTkO4Vi270AVzzYnRhbRl3DaPOUodJQWzgZZug3wGjVc6+XNZCydzQQm0
HYOMDQT1wscHHCwvO9Q/+LtzLPZ1YN6OnhGIQD4kd/YreXBu6KE9pTt5J3+qnzDJ0fyvm3NhLMy1
JpmCoiwBlvxoEvVYMWs3tt3KMFsYDHP9Wp0XON83RD+WpXOZiPOg9SFc6IyVX77YgNdP+isMtFlL
oPiw6bGJANAb+QT7xKqL71tZT/AFyy3Dqxq7hJdGmd+mcZudaqtPzrYjhxtTGJMP5W/hU72tDnEc
IR+V2NlP/I9+ryWp9GC+ATVmWedAmNo29SBLa34KI+832pSqwHTGLnaNkZpea9UyIE3ZP3zdJ0sN
N5tFmUTB0pRb4E0m5Hchm9Szs/FMGrKynVga3OzfhuvBm+y6MKRHLXQdPRiN0i+G13j4bsfP4hdc
S5vJAhHpSAHnJOm4sWSMax66cqpfGrKz8JWbODiYKdWPTgOnS4tP5TbNibMSXz4/BuFu/N/GGSU0
1LUl2yMF9tzjlkr3VKcs4Gmhg+RhbMMmogFzRorRtibTW/ikuTSmZLj8622jOPYF/Vln0QdN1qbJ
wmDi1zj61yzBY/PMgPbmOEW6EUiOYj4HNM5bJNCq7bfG61wIY1lhZ4HQj/qcdLiJLf1iFuymb4aV
auuFiD+HFykKJ10yYp4D5X+ohXVv0fgXq60XoJkv+Pu3dsKEz8JJREsWZXjVcaA0AajFAQek7qnb
I/EPyvQzddbIVUtdMpt/DUasTS2tPxpFe6/Vg19H2abPkpW7lIXpPWca0dLS4Bc0DUeHDG5t96jX
f7U16ZJsTfq29AGzGVg0qhXKIdcegWVdnpi/id2hGCeVzsq5cekbZiGQa4kxOsD9HJtGoqx5rFrh
C9s0A5qr8QBwA+pzvzV457oYgMpzotmZcXRo3z1PAGVtgHELD50y1/yDljasc2mMqWcFKHk5PdZO
XWwzoia/siryrA+55TshZKxkqPR9iowOytvCCDsNuOZWQ8zuv/7IT5sTmM5ZhyWdomVZwagsYRxU
oPAwFuNbFI9neJ6syeE+HRR4x6zLgHwHUaFg/NCV8EBGtRzqP5rsuSbFStz/NDJbzvw6B8btNax+
Ehsk8+mx7LF2531xbuNkE0XdOeqS3hvV+CB0sbJOfi6OwRtndzutbpa0nvDGgdFwkzjdJpPJNgeV
QlzdmC2ne6xB80jt/mL2cPsWw20chvI7IxNvn0Vuq0X2qmSxdSgay3RVXDgbmTKY99Jhrc8+Da14
xXW8/LU4ONdEeqTAIKZUndhg32eT/VOrtKB27J8ZLdaumBbG3/wWqGY0Z7KTcHq88r/6oXnksJog
WnmE8/EasnfpY2YB3Nb4CJ2kU2BfIENXM8bqA8oT7heUJU9JqLoby0zil69nFCX/ifX+L2eHxpuF
cVR5c5q1fXQsQQeP3dZBaNqCfsZM8L+gF9znXdah7rfNHDenFcpXuAjVCxv75jbNre4mgk7miC5O
7/NYN7d51ox7mKuSpytI5E+CPkCZdiGf8qgUuPIF8Vy5Jo2dJ80UI6QKLRF3yGrVHlYscc65AelH
HOWvg86bNgiLHBj0WqibNnzUjDdTz3GLq4Iud/xk+JllBgBm08GYsMGp+wBiVhdaak9JSEG1a6Gm
r7rfQ1RivB+QMfSu5LpqjFwU6N7YBV6nexrYaArMMmVXbuT8chjzRfvCq8HXhmTLJerSbernKL8v
SjjrICf2EBX5LwF2TJq9d6kB89hLmO7D7lWfYIfL0USpOJr2H2FmOyJN32Jwdi9pEPcRavZ/ET0P
cPUdgHBSuknKofau9s4QgXihJyCPXaU9jX3R+1fCtCNcRbyJxyCROAGPqx81G7ccjqaWzvZZpR14
qo6hBi1COD4CJP1g82cFqhknfjy8pLK4AcByk2SoVY0jfGhfPBixsRECtUEszzadeOVp6JnpK44U
ByQWYasgp19Tzu741HuQX+xkYR54Im+dUr9HGirdJFMTqGnYtN0TkrC+1uL6MxlwkEUhv0XSrQGj
NFjDS1zy0lDAKvac63dlDSYb/toUpmeDDZcPN8J4i4bMJXrmsmI36Edd6NCoHsANCMAQr0aFMH/b
ZqlbWa/EKV0xWm6CX94N8Hc/C1T429uhdGD5xveTJGASGp68NpHYoIza78VDPnA/jB0Xrjmnkpe7
qtODFHIKg4IBZ4W4U4u8zgaat0+2iTW5QxV7Vau2gidaUIE5zf4kjECw/lQWb0V6KobIawABEEeV
X3Rx5pLejO8tUGTPQ++4hLjJmTWucdBv6K5gT+NRB8xNwDvQRhLfiD36Qfv0D63ACZoec7KFg6+X
YJgiReHKg5OckMaNk0ArA8Ke1QSekxc+VckZoJQi3JWXWG1pcYLgudO84tFSu+w+SY9V4cfA/cI/
Qg+o7vK9UZ4HCD1ir9Aemvhg4XSB2/bGmx60OBjU3Wg08PVxQ+7l5RmMs7K/g0i3qP3YIEFbpm5I
5H5ylFs/8WfuaDtMlERdYSb2xtim0fDEW5g8xGduVT59afFvbF7i2yRHRfaTDjuWgwkjKpSeVaA5
G8/jHy0aXkg9/GxMjAyZJqjOGPYsieCnRzEes4PS7hII9scBzGfFXJR9KXvDQT2k6on0D/F0E16o
BbagogGSYQF8fbcWvIZfawvkitGjv2DMgmTejmXcZ1bulTkPMInq6SBKN+P7LL/nieuAPKDF/ugE
CCdGi2ZyiX1W5LYd9mX0QNQJSEaHF57UH0N21qtL0j/wbNfmlwYEpQw4pQwA+HNT+nkNM9OtzF4G
ecrTEn7Dd9AjZ2BcYMSl2gXjKYZCz3Fl5I8Jqs03085wwC93S33LUgznoLlvc1fmJ0jM5UFRaPo2
adluteG967YUH/mRXm9WTJSiih15i6cd6D/qbcihSIeIxjXeqj8hQmLla4nLMV/ss8M/8NvEsBlR
OKfdNi2s514i7dySwLbukPcGHqN7iu1AdaeqPTWDF0eb1Pbseq9Zz1a8oUABd8a9BXilcTN1NvJ0
N1W7y6d9H1fwx76NAKYpDkDwmzF3OSY+VnbTxh/KAKn1HmCmR1a4tFFu2oWIxdtcB5g8OQ/SS0HI
tJuTzQavsyD4gU+d7gstgAIKfRWw1ku0wo3H5yL9WVp3YV/5IS8OXCBOQzdlWuICVuDeJmwXZ51L
itpTIaZ3dhyz31r1mBdvNTfcJryXA6RE+m8AJuP2gwzUHWLYoFLmORCQ1V180Vh6kPy56CVK9jHz
U5z0f/c5QXFx5Xf668B2CqiKTH9mYRP0grmkMt00Gr0qa/wriRGMIjv+0eRABE6vMgFgqbhRADhJ
+oPbT41hoJq0PLXGfd+AwGQ8VeopKfcN2UbQu6WgGJr5ucqFV3YhOKIFfhnc5seLUXE3hVpfoqJd
Ah9qwRNApqPraO8y2mvyA5o06iQeqRuv4DslQOZsQJGqiG8mjy3J3EazAbcq3BA/3NBOoYmxR7xp
Sjwe90FVNb7V3vPulBERiLbGFjTxQ+JBOOfFuGHOh4si0h8xCx3tzarCvQCCMlRb1mCYZpuS5p4V
pag6uJej8HO5SxzbL5woqFF1BWYiUvZBZ424uq5dYyA3tMndirJ7luIWqLkdYlQegYHmxWnhWaNE
QnOrILNIzOgwWVd53FgBaVpua+fBCMfjqENXhrtjVKFUJTnKWt82UXfXWJZXDh3ImeLEu/4mx7Kn
Z8R3zNqDL+wWwDTmwo52x9CN3dg9WDgKezyN7mU4+lr9h4950EImqIyXRLSYyyPkrKkLDyxPr+2t
BUka9j1oEjAIyctEyv2IISyN3MvJT1sbMOj/JPZLLAFiM1Ez192z7s503tNCc9uRe63ZB632o+lt
N+4iwK9S/EeBoMuDmt8RLE0ROYUkO7FcHVlm7gYLMqoqZH8IzYIobN22fpJqD+mbX9nd0zRod6ER
ojy9uEh1ciDlixDfgGqpstv0an+K9QKRa1CnnIZeRf3QfuJXwmg3Gp6ggWGPWwPmT40D3uk06Hsj
xeYKzkPda5QanZtW1T3AcEhzFHCoNKLYbeAR52E4nSQPg6lut6HQfRi933EdvVwZNxkyPsizF3eO
fCVx4seUQY/5x9SgNoCjDlWFF4mbJHwipg4NyFlLbs1QuLq4ZXh/UdUXOLi7oQUaLHi2HS8PoujO
eihfKyu+Q1v7ONA6E9i3FeZX2QeN3gTRBDhK13yIunhpm8pPqOkaVbVJdQdoVmwXyBBw8jtX0Q9B
xG7gdpDhY6CF/NNkL0kMBbczaGfQTrwOWaTCpIHOQnynOjcw6FRh9M66cS8ANMDOhgddNtxoYedr
aX1v1hDTovbCjlG4m3RbhUCd1vkFcPmd1siNxYp9Q+HhklTavq81T3K1IybiWJvsuhLxN2bZ7fUS
1wMq4VeSMRZIe3p1DANCV2X9iUyOyNV2+saO0XcoUFebwuK/SNbE24Fo5sbKNcPFegqrtmlsz5MB
jXGE/bB44EP5HjqIF9ATgENbY7tlQkbUTO8pwRZAhh6foJItqAv02nOCbaaXAlwDs4sxdi0r3UZ6
vWsjY9tH1QMqZb3QwSYB54K4Hu/SScNWtjsbU94FnY1tmaAhjFFod4vKow+YQGG2h0UEI5vEVxKN
HMG5zrMMspd16E0IrbkcWtDvFNYqLdMCUWIVE1WeY8gAogdmxR8Di40wRtTPgCBYqOoXUKCwWpN0
9AcjwhOI9nvoI90jYpRulJihRyLkSmN8i09gcBVkdc38WmhPhCocb1v7DinzNjCud2GhJJumcu4c
o/gh+unEc+slxo5zgjmu3ysIGUX6i8QTyqjMB8vOH+2mO5owxysynIjHJrUhvbfRvCkWcSWhFMkZ
sCcFRTmrE3ZbZnF2gznzlBt5FBQlnCByyn7HUV/A+Tiuf1RV1PooRWlxb49tb2TJ8AW1+jrKnWIC
U7aOAx7d/WI0Og9DDX6r6LEVqkDyNwdSe0UX10Bi4yvtNMO5IG0FojC8OSCHSw1sc0aOclTIDU5l
Fl1MmewYs7CGZeUxHjtjM6LB/YgPb85IPJylPkJ7ClJE4rKcfIhtj4Oqz5lofZ5aW7PnHoshDGUZ
CoFKnK69tqw3CWQRGVQSe9y1uykv70YEvk4PN60pT3067IZWajtgijQf6sOtEXUOYHZSfyit6t4p
wXK04t9wo9qUYBhOOZYEq5Il+DEFFq4pPbBraZAOQmbg9NftUQglfZmUXj0VoFBXGIxTCe+HIbRO
WYvLDCpanExtZ4eD6BZYRs/k46+4jbcybm7rqXpihu0OqFpMWDd5gqh7VoUbvQ3/lFq+S4SNbXU9
tjtH6+ITdBox+KCjKXeVKWy/naJ6b0wZfzYxqXeVVtunaqiKLXCf9r6psuiYDgVOjo2VQYJtIK13
hzKXug1a5O2PmrSNQ2E7+DFmHr/GzIkeRU/Yj9LWsH3JexFRN20Ha9MAPavcKhIS1MCYbpimrBsA
Q1EZlZcZIrmKtXdI/ItfmnbVHFpGgzoHovkokm+xFZCdH2tm/zY2tQpCE7AETlPzvSjrK+1bJ7tS
1kiPVKa8YLWfbkHlhEssXA3Oegt7khKsuAcJ8s39IIYwe+vyukhxbBsmDPHC0p+/vnD4NEUAL5nZ
XdRQq5FZRkGOsT41p8ZJ0hsGlwP/66d/frdmz5ORpmY0RmrbGOuJCYODlzB977HzMFpESx2rQ0/9
jqYrL/v8phC1ff/eOk0Z4MFYsqZjCOx2oZ8LXNd0oBV//Sn/1Rf//70MCmz/fXw2AUM4FICAIVez
TXbDQ35oLj0OlamvedzrPMhtN+PJ2mCgHsoL2altu7MCK/j6/UtfN7uGMiEQ5XD7Ko9O/Naxt6YE
dCH5lmMkPOf//bRukKqpgbo7KqfEgTHxGE1zjw7hfXll6F83LF9/xNJo0/99kakT0AhKSY5mSoIh
sm7NVU3a59d0yJz++2glSriqRyYMyU0cg6L3Bgcfrhp/wP2SoWXf7IXZbTRp7UwrAKw4cG26YGVM
3alobgurWElKLfTyPE0YhnUZZg6fjoX9odmoiK4L17FG7+vmX3r6bLILVhck46Y6DlgKMqwkgCQM
P3IefqeiEFeX8+7tJG5jFahP2gT/sfIeyS/QqVdKpD7vYKSB/u3giEIj1Ghlc4wc+1JEci9wa9QN
2QUnjltZ84ev2+hz9A8+YtbFYTY0Y25wecwiaewEl+xd5Z3h4vqTbTh8fn5Ak4Aq1qicmDd2Ndd2
hawdiNDBB3mUpHDeoiSHTlR2CqviOKQO80D57GHxMtpkrZTk2mefhKN5AlYri5HZKN87JuG5MJxN
B9QD54+OM/oNdtiqXenTz5vdnmdhy6xTmYUff5zkzzBieyVuxhIhb7wbKrn/us3/s07+7GOuA/av
hMEIpUhnU2EfQqt47BIWuqKKzRsK65HfjkbEM+o8qgsNsXmFuVYZtKmGuOSUjtdLfTiQqSEbCPrb
W8IFh3HIgGsZTRLrzjAm7IlwjHjWGFlLOyxEsXk5YDxktiS5XR+FCSsJCAxwq0TF7uu2WFgy55WA
WOYnOxrhCxT14+iqEhcRojrppHigqXMocNGNgBAiN2V+b9mclwjiWNUWSQubNyEr3DLBB4P+bPrv
OR3bc3PQUZ/AcTCr9hByJyjDCATwjG/LSa6lZz7PAdnz4sDUVgl4CWV9THJI2RS2U7hnVKn1AzUW
+R8OYdX2645ZCJ7z8sABkBWNJ3FxVIOpsL/VYOjGDnkpN997/mwRxoDHjlUivlXDsM2BgAjJs+DZ
91beOWe60S1iZF2eHyvNxCUl717rVqyo45ZaZhaZeTVxFbfYmsRj88DD6ASp3wa5qpUItNTDs4AM
+AIENcShKNIYW89GmSmSI85tjerPTq/FSgMtvGVeAAieSIZJ3edw5hyPfRLu69H+gHfDG83M+697
eOEV81IQbvMqU6j9OJhV/ehMQ6Dp4wZ1h6dGp9/7Cj4bRAC3J2FJMIg0bQgU1U7CaB9SU/upa+Xb
975C/zdWi9SwCOBzcJBvK89Oqh5JCv1Scr6TU7xGbvsvvf/ZijAbU+EgkpEMV+JS3z5HHIS9gtdv
Y568C9QagHb5SIW60Cbagt5prAzkpTV1NtJsEzY+YWnxQ56ab5AMnxXSZFlRpH7DshPSn+9ZYa1s
ZxYWkXmBSAlT+UoHuhohS/0g/Jrubb6X4rfnhSGCEr0Ok7TFs3HFY4zRS4OC0NrBpf/XY2Choazr
ZuGv9bqNHJIOdqUfgCQrs9vYonvBg+ZKHigMvyuGlQ3rUiNdZ9Jf70mnImxK47/LJPPGUBD4hmve
dQv7mjkyVaQFLqOLbjpOaanvu1FTe7idhs9WneSbmqspIFqhr2wqFxb1OQ7V1uWUhlFOjk5uk4c6
rJXm0SIDlzUBrG1fEXt8QLYbBaYlLBaEi1v7aqUJP2cgWvachdpwEzpIXDwecDF/NyU8fQEzjAdJ
LJSn0ayAAUY55m5HiwRQBWRYVTfKTQvihgs1YQIXhHHYNgjpttsyyY7GJPMaDEjczcdgCu7F4NhH
2LPnb22kGSedrkpsFuKlNYs0+RRWyoAhAsLxMxyoXN02fTtpcW+3No6X3jCLMjRsFHb61nQ09RJ3
WnbiMhQTIPZgf2uvbReXXjKLKiagLhqkn+SQGCH1S5niVskMm81ktsjuUFSjfT0pF94zZ0lFBcsg
GevJQdDIN2FxAfjzLqk7dzLZ7devWChdsucgKYXzS1N3LT2orLtvcvWoN0MwWlTbtQNP71nS4VoQ
CMON7MBvcBIYpbCJ237eJdVKkF7YbcxBU5oA6NhoI3ow+vCDo8AIRpoggOME8PU3LgQG89q8f8Wc
Hnd2uRZF/EAb6qnq0bo6GTqYqYZA9rT+5lfMTjwSV60438cEAqkUDkM7PUa1nrVyn7PURNdw+tcn
TBMXRQv3o0Mistx3kqwJzKKCm6FmNyunhqXBNttoGKTVLFP0qCLTAd+VH0BmeUS71GuSj4XIb87m
PgtjvcPV+nQws7A76F3eu5qjr/36hfVrTpbSHcgT6OBAUakbmxr1AKH+LIx7hks1VBzjBLSGk1/q
idnclzUgFUzgnEDLHmUwuQkBgDMCEhKba5TehVcY1zXnr87Oo7FmOCwPB1m8hlPh2VCfiyhfWen/
E2J/shGbY6RCHdbrbUnHo5ZEADQiS6SeE92egKE0HeLXyi7f894Z4AbaDgZKXliqUXdCVguGd/AQ
uoADrf8W8MoIUF5Gn+227kC2nEi4onhZ+v7ZXqSqmDkURWYcIuQnkfuSz0ijbIdhzZtu6fmzeKAS
qUQPUspBGOxZh3GySxJ1w/ia9+DCTJqjqLDEthohHUDAxUWl+nbE4MPWOrDDKPg6oi2M9jl/Cknh
2uYgEIA9Xx5JOW5wlg3doUNtxFRm7mikgXLYtPK2z4GmsD+fhYYJqL6w0HV66Pt03/c8UKUJfuYb
JoInRzDps4u0scJ23BMT6puQfB/0p3jYG1V3n/YljEJ/auRbHDz8mlkgQdmGraN+eLgiHusNLDWa
XUktFkTXjLqwjTXh1dIwmW0lwI1KtXik0yFtkm2F+ae31LU1bWUbt7AqGfNAkqD8MbUMdjC7B836
bZlwdxt/iom6edKvzPWFT5gDqgByLgvZI+fYpw3wObmI1EbvdKP3NEBaV4bHwofMUTpEKxNLoVbx
ILLnrES9028OHoaTfDj2Wqpm6RXXefBXREQKOjVoC/FZ6TxESQLYhuZWNZiy5NRJvvIdSyfUOVun
sNpWkpoZBxgke7LFr+c2Ep/DwDcVQaFQ2LFDQbvCL1V76ri5cle6EC7mnJ2GlxZkSnF4aCSM8Gwd
xa156cBwuSq1AHX42fbroPH5Agxdyr+NCIs+wKSjCp6fkVEFDcmyW8VKtrL9WXr6rItqoywB5Ilh
hNL26Q6Q8tC3JEqnvv7tnw9ka3481cJWpnXEu+NkfVCthV2v9HEKWtn6LD19tiAMsYwnppvi2Lbx
INwKFRZb22yzm7426pU80OcHRnhK/Nv6lWCGhH84LgOjPN1ElA9+Qzv2GrEkPzdI0x7KqOljDOms
QTwItfuvW+6/ePL/y735fzQZptoO6wXfF5pAQsHAII6jcDiB3ytvBTzZ74AXRgkcJCfJTuWZ9FEi
PZ66uuzppht7KPM4zIqGWKM7WuW4F8iUAw/lXvi4jBhOprKGBxVl/bmJ8+h3X0gUb+ROn51VRJrK
C5FLu2GF3m9Qn5v6RVd0ldfbTo56wELYOzNM2yBqGmNyU91Mt4PqUD7TFtElh+PHvoIXQrehshN7
RxoN6godLXz5um2uY/P/m8aaH+JN5Bdba0zDA3By2y6GypFUNU7V5WlCQHMViA3QIIjXr9/2OeLC
Qn3/v0MgT43rogwr2UoAG8lL7Joa5jwzIh+sAs67Xc5facKeIofvYHh1k2Qo20pQ3kryNYnc0kif
rZ1hAQQdSPTOobpegdma26PkqqL1ykT6PJRZc78TyUonrCE9AVVNfwop952B7OGpttWFs3ImXooz
s2WTj52ImI44wxp9l1XVDTEHtbJcLvz8+Xk7S0TT6ldXZHiYenX1NEzOdqAXE3XfK0Pg+is/GXHz
0zYsWh1ijojBRqmHQZFMr23b7CvYisaU72k7wcGg97WMHjJNrZwdl77quqj+tXiaMW5BciOFw16L
4mpoP8IHM0L5Sz9qrxQFrsHX37YwtOan7ASZ9GiIIvDkq8c4nNy6RRVvrlZG1kK3m7PwmVedlgDa
h+XFfhkjBfTTn69/9tKDr3//q3U0lBBJZcMXRozhG1xsL4Y5rQzVpYafzXdtGBM71MEnFw55yYfi
vpmy0a2UA4+Ivl2JYZ9vjaz5sdpicVrprMC1OgrUwTzYdNgXUVi6R8bvuF9J2Cz17WwrPCrHKVL4
GqCEunJTEPiERPVPtEYj/ZwLjbVxNql1IaOBtWA1aLtuM3rhlgSxlwVsN0DneDMdLX/yTv2pODdn
uVN3ONpfos13J+X8vN1FcZMz5/p2VLmh4FG4og+Qbck3lu2ixJt/fD3UFlpxfvDGBSQ2+cBEHw3n
XLa+FQXK8r/36NkcV3Ishu5qmIECBS83tCDCOYXIlTH2ueEC1snZSHZM1GjrqKPcj5QaO+QGLdRn
yozdExrL81Rq+oGFUMuUpZr2wMVDYKlb3SaX5fBUVXAcgh9Z2z0jRkw/QhRFr3z1wvo9Pwn2qqC2
FgEDaemAL3DJ8fnTWbba86CxH+kEyUFYtNrK6qBfR/snwfs/W/K/QoUo21ATDkr1Gw4Fj2WV5j0b
Ch0agMkbx6QMkgpF08agoZpWmfJPiMrdyrR27TjdGt19CewNfCos6wdjIXnkBoMJiCQAL49OdU6y
IgxUkU4rU3Zhv8lmU5aibtqGq29zsJsJWzOVxrdNPkGLNOnjKR6hVlJWUf1hjVE9hhw+NV8PxIUu
mRNc+7YUST2S9tBkcPZOIeXJkwomu6H8H2dn1iSnrmzhX0QEAgHilaHGnid3+4Ww2zYSk5iF9Ovv
qv3Ul9PVFdFxHvbZ3g4ohJQSmbm+9ZB59u/FCx8Mmy4kis4E2PUn9AzXnFBbuFkwQDWCBnaE7wKa
155M35th6w9ocHUCl1Qu2v/gCc/EcJOpsI7lHG6EzfdduTyOlF/YLs4N3enPP0yvDkgzbhY5HGac
mNKWqVd4lTzAxvpBK2sHKzZkrA2kI1+/qM/9rHAYXYUMModcIimbH7PMm3Wcm27gqQLl8h/rTK3i
zB+bf6NmORwmC1K+9aYJ7lQu2yc0r5c7nxMoS73AnpJJs66L3Ib2f8Uoph3aEat7JUJ17dBieHN0
PQBv2tH3CQyOd9n5k3Vhtp2JqOvUQ9vaEJC0pD9UZiA7HqJdPSzyIQl6IdKvx+nMW/kPKvPhrUw5
qztSQjMBD3UBPKuQ1p3WrfVPOCCtJYDK23eLtGS2AXy5v3AoOTOx1w5Cg+U12h686VAaTp7qEDkH
0zrWje7GfOcLdcnh+dx9TuP64eEEtnI+BxMCqF+AIqRHNPIQD/pYU6iYV5n1/PUg0s8jp3v68w/3
cUHNmYAW6Q85dd3bcbYqdH1U7fv3rr7anRbXrzEPugmzwPM3fROgjYDUl5blmQOWu/pkqntdhWWW
dQfut3DvQqLgkZRzsZOLg7DvIF9Qu8t84RvxzECtU1B1X3n+YLHu4OZWj8JCqOIhd+6+NU7rRJPO
M+Am5zE/jr0bK8PjYbjUu0j+Sz1/sjmuIc55yx1VeLj48acVvUKsGNXRH6SzYhV70fV18lNEmy66
fj0ek+sN/ne732/2m+skub5+un2o4zzaP0Tv2+3f7cPf/d85+jumV3fb/T7a7p/20f7vFYvidFtF
6c3hkKbp826Hf7wdHuPdYXtziHGdJDnuYvydND7Eu+N1stm8JvenvxbHyWuS7JLXHcT3Fw4DZ2bF
GhQdBLlyF4XIU8iy+g1B/3ib4VAPjXExJjzs/BcYsBaX8p/n4txqhrt4dVwAI7AfIV4dDdmg2ryt
rUtNGZ+7zfr+GhM9KOSEdekHewkR+yIs9A50AAzWKQyAdhraHb7cAagR+8HzIMoHlZmNmB4nSEq+
npln4tB/J66P8aExdFZ67BGHKu92CSz9Cv+DGntFOe6Essn26/ucG8fVd4atnRbNwEGwFx08Qnzw
Yf41l5buf7nIT1bAmiFt2SLvnJ72BxiHNrumU/AthCYdvfcLqDQbTZXjpqdvwrgFD/CdzIKlOc/U
1ei38qfdWeEBVb7KipqicP6gUm/fd8xt4sWBaEot1L2nNbQwrLTku9fqBYSFoLUFHPzczInMsEz2
RubgiVI4DEYFvjTAYajaHpUtelJdkmZXEseCRp0An64GW/ylVFRos6TFq+SigMtjUzmQIUHqlASe
CXcawNetyHrk5vxCh+jQUvo9CEE5iQEUN2ADEH/vA0e5pSEBOagVg3qucyDTGn+Epo+18hGkquUO
vSU1tEYt1G15Dcf4QJWx26IY3KD/+y3n4OR7sIqM4HvoaWgkh/bZbx2e0IFAaAoW7ZESoHO/NQvW
oNcinCsyEBuzrbF0iDM4FUndqzxxS7e8FBHPRPJ12lWIhTu8LRAgeC/uSija0qlBz87Xj3Bmwaw5
3v482Fz1Kth77kNHbgXodWF+b0px4XR4Lle5pnhD8EYKNrfefgm7m6JoEmQZ0lKMsVtDI6rlHnbQ
sSX7pJbuXd67DHJTkug6u3CyOzd8q5NJJ7S0hxo5MQmeRdbfFvzH1yN3JnCvGd/aJrARdVq8fG03
W6qMTG1/Uc9oriuu8j6joM3oSz6W517TKm5DkGHQ3ALwwtL6/I2Rprsb0NMDFEE5PRUwA0m+fqjP
45q3tlxsWIl+SgWiTa+Kjeqh+OcOkAKPX1/98yHz1g5O9TSCzQfyAOxWHkeIG2n2VxYP1IIC9VKV
4vMH8P/rTvqwASgYL1TAnQV7u9t0829hlqjNL/z8s3N59SkMyGA2Sdi1go+kJI0KFdTLDs3BEygn
7siibDIdsA4NqWRkZ0D+R8Cuwc5w0VX31xEtT8d2VlviB9klj5nPh9T/rwT54XlR6ZndBvTAQwFH
rE2ui/JdI2Vgx6Ejy9Qv2IJU26i2X7/AT6dhYK+rZxkEYJPfosGXevoHUcE9a4IumkoL0rBLsMVP
v5Nwj9O9PzxRQYSjnV4A9WZ6SC1dNm+GHhgX7OtgiTj19MRySM+Ma5sLee3Ps1K45SpG5HCgRaG0
g39G4LP9ILz6ldhNccuIGA5eYfQzAdQGyRUBsqgGxIAUdXjTcN5fV2UY3BeLdnZ6kcjSZGhr+3qs
P53J+FGngPZhHFhV5lZhIJD0LFRWCjdhIMRY6unrq386b3D1VUApx7HuOzKTY+X+s6wpntFa6oCU
Nfm/3KxIv77J54Vw3GX1yVMV0BtNbrbAKE88Dm7eJVUgdm0/3TvAT8FIMcWHylb25A93LGf/9V3P
DdxqlaIi2DpZN5EjSGYSlAt2B4a2FWVLdSlddO4Oq9PfMAF0pXw0CLvyVslfSFqG33wv68qRAa0c
/VHWcsyUu52k2I5Llzij/DX4Tdp5s/+dg3Jgr+tHurEnlNeEfRz9X4ze6WHZ2rpJsvL1Wy9h3Yrp
247G9M3to+/pJ/QOp7oZgK67ZK/zeSjG719FibwcqcWMaY/TLLyEuF69D2FpvUWRN7/qC1jr8GF0
/5X9oEB97+ytX9TqmNfdGDHbzneFW+sLJ4wzs+F/KkqZv1S9T8qjT8I+6k2YtGjHiXpWPH89lmei
7toSdAF9Zgb8sjyikL6VdNi4RfDqmhlgGeeSF8enxySM5yoeMB+ifwpw+gnrdWjQzZ3YBlCqrx/g
0xQyLr4KA3XNxxZlf0hX/SFSIgDU6aGt3Y2rn9BvFkng21AG+vpe597GavUTPYYZa21ztEFnROtN
0jo/HfXnexdfLfzOoVbAxImZP01pMNNY4uyyBDz91uXX9SO/oS14IvrUc85j5W4mXcalurCfnFsy
66qRcLsSzTVDf+S5gAYOCME+Uo3IORBvIfyB6oGmbm3ptJJ63rKFhklZmjEadMbTobDnxKHD98LD
+pxJamcOLYkeZ7e/d3gRQY7k5Zd0DWemwPqYmTdNDjARTiknxF85/JzHMZrqb/7y000/bMs4Xpp8
ZI19zEcOKnOuwutpCQMk9RZyYbmcWYtr0/qK8EJ2BBuYgkNeNHkAf7U8WL4DNQ3sdbq+yIi0iasI
VEWnlPuUz6nRwtnkXegf0dDVJC7Qbk9M47gOLo7OLqydM0+1bjWtnRzIKhhiHctmTjJg9vpOfnPd
rIIXwOiSNSiSHY3miQAMr2doSp6DzdfL8j8V3v8kZEBSWMWvEcwa7Y2+OoZo9PlDxiHsY8c0A4od
4+Ck6O5hb4YOYRl7rQ8k3gQ4GI1hE82Pg7sA++ICmYMKMKRWmywLzEH7hUq7UGXXOVQ/AEA6tZM2
QdDFoXHFczGxpd5W8AG+AftwAHkqB/VlavQO1uksRVaHXldCsV8ATGVvtOuzB8aXIW3A1t3PFRp3
c0uFO3dGq2Zru1MyBgPYQD0SfuBR1R5UcrMEmorhy+ClohwSjZ7Le9ilAuMDDFxijbKCJZ5sH8IZ
3fvd2D61NZBh7RBomGvL7GV2536PQ7OIoW+3sOOFHNpO204ceJztvLYs/wSFM22gWw0Pox/6/wxr
wa4MIRDcMtm2EBS1+tpvA/A4DcSnLQypfy0geEJAVGfmUFW80xGtg6EFEFs0j1+/yzN76br0GtYU
WgE9IuOE6m7U2l4ZCyRrIlOCbZP74uHr25yb7KuNotekJ17rLbCBQwuo3w+Qv9XzhQ7AM8+wriX6
RuIcOOHiMJ/ZgCQKcv9WaBWr5f1bv35dNTr15hOk9b3jWOJLq+qcFmjKsriQcjozNu4qgrpuYzmu
WrpjVTl5bAXDfdcFFza5zxtAEN1ON/0QnmFrnQO50HdHV80zHEsDcif6ydw5nPAXv6X0Z4nO7lSF
vL6rtAU2NQfCzGZFs+th8YskaB+gBNxyC78MXDQT4igHmZt90xP0xfgko7tMdd4Nmwuo87ieElos
DiJl1lgXIjTDb/0k3LircKZ9z4Cy5E+A5+XgqKKXOFKttMBwaA+QHAwR+Gcg2C1z8vXrPrNf/k9h
ygWOrfGdCQcDpaIiHG8KSETjUlzic5y7wepMxieEiG7R+ig6C5WNCdDfvs/8twI6qm8JW/HiVytu
JG5rs4XPx7B48LSJ/XAXzEP89QideSPr8nAuHYnGMZUduDPGC1SMuQcUU+rjzczjuxi+F5zWJWKn
tRXt2VgeK6YjU1PISYBeLSooAy+Vm868inVdMDC2qtCLyw4Uu4TXX1nVja0uhI0zcWldFnQKPxfz
yQYAU+hY8C0jek58KseYNt/i1AT2ujpYC5fl1HII3N1k3Ej/2IGDmenge7mDdTWucwJdh0KTY5n9
oD6EZThBCvr89Sw6N/ardV3Unidb1yUgAIc3oncpKJTeCxDhlxyizr2A9TlFd1yzitBjELBpq8Pp
yS3m6aoGnDtxwuWSPv3cc6yW86BzZPw8nCCN91CDpel1Lwa48K8H6dwzrNZx57pT4PnYoGvBf+JD
5IbxOgNWtb7i8hKq6cw91gU2PwzQ1dQafCPOuQ/KHEWFvNfqMdNtmDYe1N0XHubMh++6dmMUkX47
4GOhkOKQD91Bnij+bmghiLjgOjrDjnXWT2taLqUyT+/gk71jXc8ZHFIIH0nno22R4KdpFxlGOL8G
N76u3QoSFNk8Gx4M8O1VbpwrL6XoSki9CYjNb73ANXlfggnUmKJgB4u7rwUaemIStlNCumBH2vbf
1zc5MwXXVaWAhaWNBNMCZdyJ05rHTv67RBvF11c/Nz9Od/1wiADlDtS900Lt6u4XvuvItad0u/GW
hb3nEHlcmB3nbrM6q0De3SkBm+1j1Vdg+w4RiIXdYW47mIlbzqUk7LmhWkUdNB1ZFss9ghprAYv4
MfXZEAGcf2Gszl1+FXMaMUKdgWr/YZjJroS2LwqyJkxqPV5y9Dw3TKtwMzFy6mVhUF0PKqLi0W37
eIbdT/adKm5gr0soxTL3M5xewgOGaoNq5E0bAvU+XSJYnYkBaxORSQwUWCjsuPDr7eJgLPV+zDMx
R9D+Wjtld+U2r6APmUL/T9+4l5pMz7yXtZMIIC8AOasRrQCN+YHw+QgS7C0Jp8dvLZG1VYjOSDPR
haCjOkxbTiPXqXdW3b6pori0E5x7gtN8+LAKG+jysMET+D8jh5x0faV3g65zNAxwc+Hke65Asa7g
o0MZTFGvR/pmhh4otvUWanJ03eo6tmAObsHJ6MJiPy3qTwKzvVqGbU0U516HHHQx3UoxXzMT3H/v
XayWoOK6APl0wPG61ZHk7oYVP90caPDiEgjszBJcA/Zamvs+U0iqVPKNEJ703rKv9LUAR/97j7Da
9ZWeJW1rruE3DXytGoQbNT1o+yO3YzSMXNLlfPoS/HCNZyPlUnn5nPmwyMCXDkyC8wig4oevn+HT
+YqLnz4ePsxXeK8EDptaWM6Etzb4sBUs6xv9vV6TcM1iy3BKkbla2GEsnwXhOwOlXRleihafvmD8
9tVac2yxkJJj07apnT34LDeHLsjcq3Ho7B0rYKP49Rh9WnbEfU5j92GM2owS3uYdO/jtvKdO87f6
IT0rbpZuCzu373W5wc/7/9/FNpa9GBq4R14H+bbMTJn0c6U3cwEu49cPcu5lr5ZzUVud57jQ2sqT
xSTBzlqa1HIvwSE+/eDEOK2WNJKJs1MajXGieqOCq6Cgse/c5ON1NUM/zi8cF8+th9XWWsAXjMgQ
t1nybCsNuaklfft6gM696dWKZnmZSck6fcxmu7iHC43Yyb4UD3RGnPXUEmwDFM5evr7Zp3usH64J
bSXM4PquUSC8tsUDB8W0Uuwqa81roLodmhZQ9JtLiCTleCHknnm6NRsZpbHKWkKrOoaiyY5O4egX
b5Ht+zCBjTTANOjWOIHQF1bNmdfETr/iw6oxGcgj0FmaIxksGYtg+CeV9+ProTt37dXK1xXLRvgt
mKNyTwhzl/wOySVb4TOLZM1F7svO4y7l5jiX1pvH59+aqx+1Fhe+NM50m4bs9EwfxyXQqh+bYTnm
TUGQm/Gg6nKb+Xcz2gBuM5lfsakME5oX3lVYmvzQcEw+p5z0VQ4feNiydDz185buvh7Lc8+7Cgqg
dOUWnN+RAEFVYHRMymGY0hm6/fryZ4I0WwWFrMsWW9rw1PPMDw4rEqDmow60eV/UF7Q+n09rtq48
kZJavXT1chD82jXZbYN6s9NHNU5Hk+EXHuPzUWLrApRj561qZqoOsLO2DwxrZ5uRZUaeeSq+c6T3
2TqBrSER8F2Tq2MZTOoJlQQI8pBnQecOmC3T/juvg63z2GOeK9I6cjjSLLBSfOG/LijjRMrASYNb
Fwbr3BtZTfGu1CXjfrcc0A9Cj3Zd1TeBNw87a8icBGHIpB5s5775+lfzt+0dH8wpAFGgx98oD04/
BjjT8V7WRTpYr18P27knWs3ipqomTpZWHG3nnnmPVtuhTbeKGqS683FOv77J51GNrUVrrUKtO+sa
cZSZOFoqeILV7YXXfu7Sq43NoHQnhAe0sMnIlXCrAxpL777+1Z/v+myd3JyzknflNNLDHDjzI967
fQ1cib51kStMYBbbg5vUoFHbdv1fX9/x842TrfOd8DrFDVngHgbvpEIJG4/hk5Q3SdlTuQ3bwU3F
XNFDPwbue1tb84Vp/fmHl8/+E5N9CN0DyLAN/Fadg+mypzGkfUSVSBsQoEAS0LC1yF4s6e6nMKvh
rzZcOCecmXtreULRCRc0sgGQ+WY2iZ5UA6dtOBFNuqgjSZGF6evgUqr9zERZaxFsbyLujNE90HG8
qksvHepL5KIzJHL2Hy37w/BNS0Mr7uBBRBWh/aSChcVznqLNPYFTRf4HtEL4Jd4tN1Wa35rvzc51
1tTAagJorqWHZbSoNj0KtOjfhq1TG/YQFELOFts+TAXrxrokmTuzU6zTp+iYpUPfevLIaTHv/Vqw
K5R5eGR1Krxwjv98T2XrfClOb7aybJccqsJ/620v3wnGj4BZDpuZ6EvmBuceZHXI4pXxCfoF7COp
fhLz0Aw4KF54K+cuffrzDzPB0Utv0YWaI7MgxjJiyDd1A8uazO7rzddB4oxema1b3ZF9m0jd+DCB
cKoB9ly81r8D32teimr2jrBt9EMg+DQ1sWF/8tHu3rmpk0a0wxV122mDbLDdAtjCHlvmdD890cK1
zlJwwYy8KfOTaSmsBCLj+thW7XDhV59Zfv+1QX0YGFIKC9MVFmSlND9cT75oh1y49LkxX21hkGxV
sIkJQGv20dA2EBhfuwz+d3Cj+XrEz91g9V02E8vu0N9s8HnhxWMlEz3m8VI4Fyb9ucuvtjA7hHS+
YGjOVGQ+DDnZNu1Y4iiZf2981ilPV5lgKhY0YC3eg+p+VfLvcskh+cxPX6c1S2fheTejojJBI3Xl
06zfqqDSEK045MIp6MyeuE5toigdDqPswwNETX4iQ3eET54y4QF+DlCzyuq5RJiwbQKuIS3DC9ir
cw/m//91PDU52LV2RQ69xTKYe2CFFLDRgP6f8wvfS6dL/U8K0mfryow7tl6NvmvguXsTz7AE7/Cx
6qHCUfbpt+btOp1qPJYJE8C+uirg9oQt4rdvsmHT05x+b2WsM5E9tXnAah/xWpVw+qP1vm3LG75Y
b997gtXSGOBKpAGwCg5tMBR7Kyz5xsHXQ+wy1V74Svz8NQTrJKTss0y6YwB0UmPvFKkNQiG9o0X2
A5PgUn/355M4WCcjPezMtIO46+BkjhdleX0jwuYaueeNoeOuHix4/GKz9pxLLMxzT3U6cn0It7rS
bq9KLEzmDchRNvsgR0VLlN1eud6fr1/O5yE9WGcp5YiObw2jpYOmQOMCe/VQ0fDC1D137dO6/PD7
W5icyVkXNhJ67guagIaIO82ljk5i/5fn/2zxrb6tGgrY6eLVCFwwmUsL0Y33tgYs5tbMPHiTAVsC
VOXG2mwa0i4bbk1o0AvQVQrwtKR2FWHK2FGBFj+c7ZoG/9GXwFSKrtnBTA5SH9Y/mm7xI+WUFvAl
cjp4FVpJfA706RiwMVJu7yQiNH06lfxOhdAgBQwQeBGUfyd0sKdtGNZXbVW1cUGaIuXj8OQK8zB2
1ttk9zAV7do7j01/wh72kOCQmggqYhMD06eihQUAWNveq5PBt9e2PTStNFnSOPrgD+EceQt4cECz
Ncm4wOW1408FJy/wBbQiTt0ZnoXgwSEAxq7n/8n7xY7sUlxTh5K9mdCEXHMGmqEVLtE0SVC/9b0f
ViIV1nx0GsDf6BzILZrYHwoKW855NPsMBP24gz4WBDYa1bN+IN1iUB+Z4Qevl3nDXcX28OHT10DK
DBFRGqRBs7iJol2+txXv4h65G9P3d3IK/kxtlUclzd+nIvynzJSjq7P+2ZOy3wp0bkYVMf2O1NKP
eiXnTVWB2T/Qso6ddtKpVxuUlEx1IHQ8Tgw6jrHM6a5rXJSw87vKNliZ2sAADVzgyNUlmtA8OIXb
pXznrXqdyn6JRyFVKir8v0axa7f03SRo9N+ahPD2hLM0zt/XmQfIL+wWlo0ouAW6di1SntsZnnkg
kYTdX9KNNESTZQA1zpBxuGvKxzIrNqjn+WnYwCSns/AiGmdGNSlYFqhZWy+ShsH5my7lhswO3M+n
6nXw2j/EIKPnjhhMcxjhQpeFzg8yL5hyXrfH99YDpFEcpZD5X96DEcxsgulb+I/2PP4OZ301VYAq
wwfup6bjfePBp3sRzbHIqjyWk+2i/lYEERzNNpNlbWnriqQU6sHNvX+yng66tvd+yR/UXMyxoua6
0fIxVPPrPA0AV9W5TkOwUeNW1C++wsDA0CZB+8qeOP7vXhT3dLZ3HvwnkR1ySNqBhI1OUOvVrzTQ
23Nu73GezuOsgROd22pnE1R8b5vwucqHHvRstDZxd7id8ORRDSRf5EFsF3Evv3Ws8MoegpgWbZDa
hmzbyodubOzhtczJ8yT6Y2dZIBfOGO+AWY81YDcHWzhTRJv/WkNMmLrj3Mb2CO/vsbA2osGOVFaw
Ma3cVj4F7QD6eFWBjwALoF0OjESUuw08PFspT2DdMslzmcWsOTmFF1mw8ZEIhbUmvHDRoPWb1uZd
9fhSBKiuSeWIpgMRvmk57mw2BlGmuU4Y9f6gZCZT6oG03ZU/eKDvG3AO8wH8LlHXtyCGydRDe3HM
uN6LUuwKaR6QBr2iTL2RfiRRzbKrYfDRMj0XtzAxvIbDJ1wVmJPQcpo2Gs5Xm3Hp4SEwdkFkzdOy
wXgem3K5cxUYZBmDcbfkw0uGot2xXCZnV03wb7Ux1PVQwgFSqc1id7CzkPatN7t7Q6YgaoEHiix8
pcL3OXciqOfgDA+SQuxV6KoHM/e2X/IeJlwICv6itzCMEXHlsmtGIBX3Z+JGpLPnHfpZXjAVh61p
g4Mt0dsA/JKNPm7YhA5Q6se6sHL4UFPYKDCYHPCqgvOxkTeW8YrXUqOlGi6NTw3Fq7VzhcMQsdK5
Gr0UhOFtKcGWqnp6nBmD8RrAnk9+SfZhYN+N/vDIrHaMbTHtAwp9aT7lPzKo+KH7Z8+asIfQMbCc
zKUCQ83cVg4pY9/zrmvX/wmJxSOpmj+Lxa+aoNxb+QCr7RHRR9j+77YuqxSxDlNOsWnvFdmrHdhd
PGVzt3PaOUDMcJ14hLXDLvQnEg2dMBuqZi8aethQ8rZJKJe/kfDuI2ssH0uDWRoA6A9cX/Gvy1wa
YbY9FtUkN32JkwZSoy9u3T+jwxvHWxa8mZm+Tji/n4yMb4NBIQvTL//qsi7jIhR/oXoP4N1LRSR9
Pd+iKx1YTwUn9JZQGJD24a2DD3UB/650WEwJF2thJZQ1XmKseou8b7HJ/OHKhUfQwRs8ukPCX8Ep
Ztlngl8VRL6YUN6isR4SEV//LYflr0Xn32YZHj3QRhMyFoeRFb8BsWi3hGdDrDKWOgaW4jl37yxV
/ZrL+mfr5786qx+i0VbbZgC6C8iF2Yw3mZ3/GCFWJRwq6nZajq49hZFt3DEmcIjCfHQSzzIZ+j7s
Ipnn4GUpPHHCfx08AUw6t5aTEgNqMtrIV84QKzzYfMLX1rkJsX2l/dAI2KZiW52L5eCSZYk0aee4
nGEPq9nyAItRGeVO+bMDBwpTtfmRmyyPteyfXdmhZ7/2q93c9beODp5Du33hmasiN1Bb3bADDFAg
X7ahJ4Dt6wZHkleoltEe4z8r33kuF8CNx+Ymr4Y310FQHWXtxV3Z8MQp4X0bwm0iGuce5iEwboXR
9OLFPnpg2sUisCNvmxhkx1t36R4cYc8bzJ5wawnj4Jxd/bFKGJkuDP/W5Q1M6yt4yCxBPl/bIazo
7Qm7l0AsiTqECBikM+vIob6PhISfW+5JnENYcwfz5gY22gBYqLA5ksLG9lnzvcBlelXfQ4EdboaO
OykPxxpSCT1HS+O/Y4v+4ZL6LhAW7IMX7MVchJHTLD+GzDzzqXSTucuzJJide2P1deSY8o6o9l3b
qtlKIpvrsoVkYgqm4IjqF/KnLfwb0G/A7uqqH3czzhNxj2THXdlDD1FDC3FwVBZCndFfI5qh13sQ
N06uHnB2fqYtLw8WKPZRBizWgWGhJrnbw8bSWSjKDLWOWeu/ZIyhn6GqgLeweZ/f9UEr9wvs2O+E
KpwoaPsGAoRJ31fAqj7UtvCiElnevWno9F421g5FtOEKsiMH55YWguvRVH8bwNxQM7UKuukdMQH4
Nsp3h9tjrPjcX1voOPnBYQBwbPKS3LbKCu7yOQ9/+MR6mS1l7vxshuPz7Dvd1p6k3rtcYy/125cp
kDs7mPSmWcpwg/Z550aWUm0E/BVjR9nmChXxPs2sBiCSYXJivnjqETmoGYdK305MiLDAluW+1l4R
C2d4WWQNJ3q+6L1TyDDRlgDFa/TKqEEnLAQzlES0g3upxCl5aUd6TRqP7NTM/qJD0UuhEPjVC+VF
sFXGyawb8tgdybQJivHZt9FiWJI22/iZD+wp7JlOP8qPM0v5e24Y2ICT3cQNztKbjI0e+F2ExRZo
dWj56sKNZfoxsRq48mUyL2OCVZjowPO2hdLYA2cfa7n1wSO2ICYcOOl3jSXJzxZJzivfme2YWhIO
wW5eXTW+Is/esOQ7eIazGLbd3k2w1CLKA5snncOqX9DblOO27Kf2B+m8MKI0CKKuncN/DbzE0p76
Gl8C5B8KpcDpl1kLUdOEZ65z8FGqVsSoJhYJCWi2YU5tYqHIEmdBBQZo58R5Q/MDiDC/KRy5cZKp
uxTNWeSP29juLQ3K97LNRLRI7eKjE9NObnTfDwiKs592osI53CItjrALzC5IUe4KkZVJCCpxYdEm
Vr1e9kMVYONxZycBNsGCgYjnJhKV2uuw8MsYJYx6t2i4BIeFUVHp8CCaM62ijFodvN97EjudRoy2
vT51pF9szDC8eqG4b2sJUSVmV9xUM761cCzfyBFzglP1K5isLskN4ET48onqcbyjHVYAAhRMjHoS
ZcP4OE6QSvpeXadVJacEzU+PpY1Pm1xawNLBqPnK9TqkA8P+wRcBbJ8Xjc3I8d5p4YapNQLU3bAc
DIgKBxPVwi2CZtarXffvOsQv9mf6REBxiIKixvef6WCSM6E2UeVsSTw7xLfbDF4GZy4O3wH+PmzW
N4PG2XsiA9gjGe7Ny+GNgfwAIFf+r54nb4NHQarVgyRODlY6jjmM4DuLJ7wayH2B6mKsAe9Kaico
j8HMRjse4WGR6GKRUWbD9Rw/aYiYsxT3YabAOiq1j+kKzK02hYgNEGO3sIMXCUMYvV6yFpbeIbxS
JFIc6Wg6b0cZ5FXEof0dwnUWVYO67icEKghrAOjJu5fh/zg7syU5da5pXxERIECgU6Dmnuxu93RC
eBQgJEBiEFz9n7X/E798rq6IPtoR3jYUk4a1Mp80VY7+sq3Epmtcdysm4m5Bg7lxoTPfhI3jb8vR
/lF+EGJjWfQbTUENVYN+wfpF7yjjcttAuX0HnKhK4jCAZL+Xv1rV1PslFz6C2xUuZuwfLVBKbRK4
PU0LFrw7UWDvx9DDVnfBFBbiAl+GsX7sAj+CBQjIWGQI4UwyLBMKpiI4qNPBmXOZqtA+Vm7Ls9ov
TOJWCzRrbTBlwdSPO84UuqYKbGF498hDwTEtQb76gOwRTGPYtBKrwA/zBRb+Zf8M0vWXackf/Wq2
6aSqpygKv1OJvV80ehC8Krf5qhaCk05ziXIdlPZlO/5gddOkqIUwjFSNTOKaRSleYszXzC8eKt9x
j62gXSoERHrT4PzpBlTei2XeAVvlZVPh3hpEooNyp/9Yd7iFbfKH8vMh6byGZ5VPzS+EO49ZjDue
ADsl71oEjKdoBeO5apgvZuwFUsST9FsCTd0mdIMgdXQrN2PQAluq+QAlMOjQILCbe2BC8oTP5H3Q
bZcVVjUb2vpBqlx+fomqZ9fEXZsgrt4vErcIERhWI6GK1BXgH4BSiR7bWGexzs5Qf7qFScDZ6/oM
dxHeM3r98YsWUwWNK3X3lPbxhsXxjJVgL3YOx6K0pkFxKy1kZiPBBOZhxtq2vmu+KQqCfsq0gDTA
0/U2B9cLbxlyjxuUVt7Rk6iQFz+yOC11k9+4reS/4ZsdnzwZ2BSVZ0zmgGA3wLs39lVrh2wJbuOj
ZxSaqBa5IsotylduqvJGuJp+7ZwyPhmt552bwz9R5bq4qUPE8i6NaP9oNZRL2tvApMBmyWM0qjJV
VRxknunxWJRb72PDzpH2Q7wBE0jvColaxshlexxEOUL5VFBkqTSRvy9gTE49ExKgo4xiyWgEmu1j
H/M2wUJi8dKZTcEVRdS/69fRWnMHJ2iBPUjHjsSiWc282BxkD955OVFzpUR36RSrElo3xpxQT7nH
cUF5ABs3lEdG/xV9kk+eYNXX6cYZDD4Jpfk8RGqLCN8KhltVIQbbNlcUd//uQEds1dmRGLt8BxHn
SEkLv1U1dGJTcCOW9t3z6e3SLr8/UymN13HbgSfroMHm6xRo5730yM8+jK9cwb9FChFbVchH1c09
liXRkaFPMRUHod9zd4949YRgsQ0W1vbjS7hQUF5r+rigY9k1o3ckpEms99NIe2w81Gfma1iKS2c4
X+FfJV8KW3XIDApXbttnVRdspfM79uReVNeADpfOsCqKSxiXlwa2ghOvX8jwDlLELlQkGbW/+/gm
XXgY8fnEf11CB6TeApaff4zCsgJksQXvYhF/aO4+OWY8OiN2jNjhz1e6Lxfe3rWgb5a1KMIerTE+
5erUhfFuCGRGNSa81rr3/qyDK5/ipTOdy/R/XRgDtDbO2Yw0wTOHAq3/MK0JxeSNGu+mGYbqrqPz
tdr/pce0GljqvlUBoyFqThMFs3Ys26Qn3VMsGqRr2OlKp/7SJa1GF7eMCfMUz4+oXag2TpCksLMF
du1w+LvmmvLp0llWA0xux96ZprpFcsafrnid6EPcP2EpMn3KlkGjePX95y1G4Lp35KnQDUAGKMuj
sFwDU9FfaVNeGOajc0vrr0fvgrPVzW7oHa0P94UI8mdg0o/8ejrHhVsUrb77UDVdyQhaMZXlPkrc
zU5UCiWjDnnq1ckO/ZWR8tKFnM//14UomEcnWy/esctRHGsm83XxqgNkAupKH/9Czypaff0E6xlJ
J8Sp1Z7THAaY2NHhQzXj47Hl0m06X9ZfP5+PKDBjJ+oeYZFIvLBJverVIBWgGN5jUmYfn+TSPVp9
561iTsiUC1tDPt6PsXnFMpiDOEg/tyxZp14zv6vCMEZ2N/ZTx3MPBZSyw4ho28/9/NU3bTykFw6L
hzbrFKXxGKDTwbPBv2ZEvNDFjVYfM3GXvG7JAsUva4ItdFfTsVzMkHYow6QI472PeLstsY1JGquu
Gda889H/b6syWjMU2nwsbQWy/xHvV9aj7RI1Z0JsOmpzPlnCDJKBi+gBRIusN+LKZ3/pdVuNK1j+
jkC4wIvAxscGAXCcZiEG/Fm0iUSE5Kee1zq6jMxD1ywtNHkLCi4VytJt+7tDr+fjo1+4hHW4tubj
ENWEQPEX+gflhI+S0jefV2+0YpsI0J3Nx+e58N3T1cDCBk5tOwfesQoB7Br4E1oa17wzF+bCNX7R
6mWsUdSOj4XQ32wgQemzBwQWoHl75Zu5dJdW4woLYzD5xhraReJm2OlAXUPQ3HBC99Bo1PZRcfiU
rYxGa4ZiiW10P/c5jN6B3roeElhik8bRn1x+9gyrpcMwCRZEXVDBuCa2FVLUNWZ0ibC/q9TRCyPk
mqGoRFC2rseQ3ZwjFHouEFAiMdokC/HklXnk0ilWw8yAYOPKlnY+odhWbwgpvzRzSIA9uSb3vXSC
1bctEZ9uJGu9I9zux7a2r3EVbUm/XJmpLhx+DU0MFn9Q7QDZkQ2Dm5qwIUGH5Hmx4Z+Pv7cLb+wa
lgi35oLkNKJPeY2matTD8tqGj0qzx8LmBfoG1SfHpzU2kUO8MXex7E/oSpysio5LH77mlfz+8YVc
iOwFSOF/53RsNFFpVk0PwWI+pAXBwk04rNhHzXjQk7uLnOYZ/PRfEfh2ClvHymEZiBv3yCdHtRAF
FjY/amChPv45/81j/5hp1uhEV7sCq/wyPIoxHvY2LCQ6YZjpmiCXj+Pkl7fGH9sdm+p6LwZWp7Wh
HjYffveOqor/legI9A+nd4/U5t6+9pDYAJRBtLfSVve9dSFZGGp7FwrTpv2AApuDusd949D2oIGp
T5eoaPeAbfGvTGp3n0cziJ4oAdwEVuMTEyHGJUPzWyYRUsw6K25G2MW3mEKmbVzG7BulVqYDFC6b
ulXTruQ6RMFwhti7VH1qJhAvddmgZcvHMkD1GmLtKI7NEZKC4LGLlykzyA7cOzSOMrQWwiz0p3Ib
9NNwqhyAL2bKEGKIrLUD48GQsqIUKfhD6psqJ/2ST160b1BhykZGASjwFgvQB8Y6NFbiDBqVYRug
p7L5+HFdiHiP1mCihYoynDsAIvN+vu/AkPuWo3uRWQTcouRU0icOclRCoAv5wRE3WKCZqJPzE+tQ
7L8yVv17fqJrbakVeqEqB7BczPOe9u2NW/hfQkQe0ela5eGCup6uRabjLNwFktjoIGvb9ygd0/JH
xxqyn6imXyASMV8w0UtMvy16UDJyq3M3igAvGswH24QKVfT8PB9MoNuOQtMbhdykVAbh9KnFEl1r
VEFgK2kBXOSR5eBqVAVSYwTIbQ9uG7A6IR4HAX+x4xVt6qV7vho1uK157dOwRnSNB/vplHf8blZj
eHBs7qPD67tXHu6/B3K6Vqhad0Stvab6qPoKABvtNxloP2WGhuEnA2DXPnxX+N5ce1wfI589hxM5
1DnnyRjSK6ubS/dqtSOY6x606jDojigjpLns0ZUNUh8uDPb88Vd46R6tJmttoipCdwRRRfrQLd8W
CS1Xe20/c+nXrydqCzIOXDH66OrhvkPG6wHdgJOCZHFbFVxcuUf/rlqFawVsqONF1NM0Hm0uoFB4
LT0nxX96/hZRd2MZu3Kef9+qcC2CZfEwoGoox2PDkCFJYT0+OaIXGfW6a6zRC5ulcO3LLyhS5qEI
7I5BHUCpl6dT526nUW39gfxckBoHzUdrzw2MIukk6TcVyktXru/f65JwrYd1R0gS0ZSpEM3m3xiv
eC9KoBJGU3y1EI5AGHS18HfpTp7//K9agFksMlrduT1Wi9k1IfQZS5QjHpI2fz5+qy9dSvC/J6BR
gMK4heamIbzdIDykfkIfxR7ngkKB6kbqSzFa+N8+Ptv5qP933RGy1ardV+gRacnVcQGp8vyKh0cf
8OMrj+XS0VdDAHRCnjRVHx6ijpSQJ0Ci1E6kuWJPuHT01fcfSL7UQLhVxyEnUK5x1923Z5nW5+7M
agAYR5c5ZkbQhJ8LcEBrzW6BaC6uTCQXbH/huqgfxP0IIU8VHXxtf2lr0dGdpjshyx9Drb6D2rAV
YnwaF/YLgoDPhdeHa7O+HxgR+nOpjrErsC7jh8WvDijdXHncF76NtTt/pkUvIeerjpLN9N5CP/4H
TWVzitwovnLfLp3iPFz/9fmNfu7MYWTNqQh/d32TzAXYwE8fP/FLx1592s3YxnPuO+eC8VIhViH2
kpZoga6+uJYOd+GVjc9//tfP90HbbPSAVBFVuPcF0TtJxBWn978nLKQE/u+h+SgpRA1Cn1ivYDc6
l8Z4wqTIoC/63GCxrhmJynEcMQGpFnq1l6DJOSXjMl/5mi/c/XXJaBxmr3EiiKjo1IPp2YEn6tUV
+hyy/pzfPlxXizgAUH3cN0hdseW2zMtD6dBTNDWHj9+fS9/0umIEYVLERjDXTxFCMfIC7bTozoEs
N67sg5p+cTb/4fH4rKrnj0944ZGv0zpGKFAYryFc8spoqzjL8khmIhDJ3L18fIYL7+u6bDSyGkTv
jnens6agpM5tSJbXjw996XmvZp5C+35oYEE4dYRBuVyYk5xmKF3CKy/rhT1aGK6mh8GhwtEjXqg+
T+Rm2mmRFpn8Rt+itE/8MKPz58akddRyvjBSQuWANzeSaZkjzsOBVC3W2cc36sJTXrPwoZnzRRNz
fRontZnmL01lcRYDANyV7sylE5wXp38NSh6L0W44x9OBHBNmU6sPIIbM2Tx2EzSffnRlS/P/W/v/
WGzEq0fuayjtsfwDnKYuPezL3J49NqKbRvBoSPcw9ODVLIQ2O/xN10sWC08MVL5DDikO4eBg9uQt
hh90uIULmsIh4rbC7FFOMyrhfFRwNZBK/kJGRmcTLNMm/BMS3jUeTDiJiwDQoykn8ObGQSO4rTnn
t4dFlEaihLZWiS6TS+8/eg70s8k0zcsRqC9n1zKoeOBaGQ5xN7h3fh4EBzh20ccKlNnOVM9wCfm7
utPhF7j1y1QOxL74LmS18+SrO82q/knwMn7FbpHXaRu2rN5Hkk+poGGTaRvbl6hCSL1xvS5RhX8P
jc7XcYSsZkZcrVniOh1L39kYKPc3uExna1sGL0kzxUmX41EhQzzf4y6M6H5IhdqINFtocxd0VGt4
M2FJ2cUCWjLXiYPt4oQSNWan2EglWRY2cbx3onar5vpYDHX9tYyH36HftGnI57vegRTanc2YWgp9
0KLUyxRUz85kTaZL3UGq6JgdqYt3RslZYjxgE5PHByFzm4L0BjVRS+HZAsMsrTsKJT65KWwAu2XR
2BtNolsIuXQaC0gBI+Tdb9vcgyfCa7IR6l5Yr9xvyBh4dyr8DDUPchdFYjeRABq0BhdYunG0kbBy
JAWFRIqY7gm9TFiUxB+mmxsS0icXHq5dXLg3w8i/YYzZyaB04Cma27OLx09J3N9UeUiTvNMuTFk5
SaHD2y7ohR+ruoavecin5cktYReZwvxG+cpPvaKDIRYBfCOA5i74smD+bmIBK0zhHJyS/QpRO5Yq
GJPS1ibhJXeywUBzB2co0O/IHB7DlsM2W2ynvN1LHuVpofxzJC4UnGx6QEyw3E21egQ1Z7gj4zBA
Mcpsqt3hjVVNtY/RrQ0h2XDcKt4qwedEQIS1HXq6rzl7nyIBX1QTJ8bUr+clAfr67+VSvvG6Fdtu
KUTS+NwmUW9UBlZbneWkvpPWe0Eh8hlir2MfTpsm9s2mYvmOBmaCoSEutmGtFkTWDTwzlaYZgP0Y
T8tui60rlsmmNQkl6C9QyK0zWFC+C8v+1DJ8CycfKLuC/wAC4L5l6DqNlb7t++Ym78pbXRb3WJjS
BIWmQ6vsaRz9r6Zkp6X2f1td/yAx5we/hTSupv3XuHNv6qC6J0ENW45+C5l7g3uI7W3QwisYhBno
LcthyIdHJkY/sXxGqpPKb8K2+U6b6M5fKM+asvlZTbG3jwKDpxcztZc+jE9jnb80FC8kkr114pI+
QrwilJMtC95KBRGZWEYYjpDQ1wou06CN9hDvb3J0/jcOJz9cSR+1sLuCFbfQR98R5t/kVa5+ynFC
yjmUc5nrTz91qdptBbJqUrngm3BH4u3xdQLdGM7luQjfXuInUCQ0CALVG/yIsLgAuJIsufazEkS6
pC6jjI3+e+FNT2xod7mx27yK4WyJEGoQh3BODc50gASq3EBDW+HN7pvMH1qbcRluynhKewPheBS/
GIirX6Sj/ASuxjyJA/YNwrsFX25efR9KSIbrhbi7ER6LhDZ4u4VArhraMXHiVx6IkYRvEFl5asLp
XHerCN4II3Ys589DAI/goujvUZOHCbo85N1JvjF1j4GV0/s5skHmCPnSSoMMEdQHFoQXpe0UfQuL
4Kf0BpVJ+OlQPYqirYewwXSG7i6bxvoXnBqHsNCI7oD2PA1ouPeW9qlHjiI8izl78Jx23kzcva/m
6bsrhcoY6hTwHIKe0S+Lk3l5dOwDeY8h8DGqKiSZhKaBzT2QCYZ7TE283sCKAwcV1LipqOZbC0Fs
ooyDNAs4Z5J67F8dRz+7VfdV0OEBbWonUQxs1koiSsFK0MSiqnuiQxfu3DM9xs7P6J1UeCtrFInL
OHPC/r2CfwXoxyALw9ZLYOZ47H291WbQp7KAfScYbu3MvwrV3MQs5Ek+0TmjoNQFg31RM6SGU+sf
oURCbbz33gB+qpOqw18E/PJpztk74lPf86g/BLkLErJDQHwpyVuZw9Vj5+l94dCj51NlNrY348EX
PJsNPSJgEUHm4wYy2KN2DXShyC3EncNFNSG9bxD8xWnTpbSYzzgSdt9LHB5pEod20XHqxkJms+9I
TM2QK42Q4JdcTRtUiX8jnqzdkLExyYL9bhbG/Di3/XsENihE0OUfTDgKPsXpNLIWGYMMBgBEZ0qO
9XQb3s7tkGemD3imY7Ls4HI5gRCVhiVKW5hs07gp7rFdodsohvuBI4EDEug/YVHB4zCDyYFqMYyT
5VldClujOYW++0RnuJ0XS46YGG6U1lDp+83rvCwFLIODSMc8UhuqQ5g2ZgRuI7YNSnIsHCA9RVXb
cQI36S3m8Eaj5bE4zo8efs+NMYNMpYVoO+jQx28XC/MHgqC2fuh+Udx3kfiJHgtT9EuuYFLRroaL
iPCd7KWP99r0GSbq8j1YJsxbeoIPtQ8f6x6ILUulxenE+cWoF3Fnp354AP8/ODk97j7kmuK+gk8E
05TZV5W5WzSaEXCj2ic7zrdO66CHGlKNDgn505v8a8ChlCzK9tadmnuE1jfJ0PRYD8IdWUBNnJqc
QhxN7YGEXnuL/+/hXcASseERxYJoNhsHiTaZ9jzMzcRAuT8F5Etr4uq+aj2xgesgT1vaNC+Dlv9N
YDzrxuPUQNsQ1Ei/LIE3dxjkFHNB8D186/o/UtabqJtBxuphE8VsOdLqy9CgYhIZL0HAqHOcBN91
Bhxv4jfvAibmlHV4pD3IYGhR1H7+ZMI6FRzWp7z/NcA5UAp7p9pu07l2R/4zZ0IQkU6Rn7ZDfwf7
ZtYvxSZsqyeub1ChhZ5l2rmOoumSB6c29nfKa9Ku9X4sgdpD27QzffXgGwHMMNm0wJPOhTrl2tl4
ZLqpIU+ugh68qjxduvg1QLtmmvW78BE+0C/wLkFCDuY+P/sbcJF8LlJNnR2LlhiLOH5LnBaWM57W
jn5RSCQFAnWPBUrWVflD48IFVdpN09A3iIy/yPinwRAWeeU52CONoI1P+CJuRz7cwIXhJE0OZN5A
sZMQaTRjWvYHi9Ya/TYMhEG/TjNaLeOhrsus5S1sXGcfkf/uVfhVTmmgFLO/C16pNFRYohLoF6AT
dHx2VJ4BnQuzF+IO3zXWuhJTEwiAZUv6DJr8R1LSLS/lPuhQYwwirIDCbgRGaT46Av5U4FieCmOz
yZg0GNSpx+Iq9P0vFfiiCTYlmJGQipM7UkMNh+l3LJt9ML6E+gXuoJtgLDJAfxl8JYijkGRGCbjO
a7DmQ6/ZuV247aqu3rYdQ4h6Rw52aMMdhYtpNxjj7ZhxbgYlij85j+tbSc9AsxEeA1bJ26GKOJqK
w7Id83GPtG8ME/CH6jqHoxj+TeRgjMhfzj3H2+T9OYCorb/pCHL0iuC7aNR3wabDaLogKav4dkGO
2BQULlAGZ4Xl6B0HjPctP9u8bf0GV1KU5ZJ892tozeZSZ42HO8IDv8NwgxtGAgC6Z3/TsDHVzMeG
LeLllwkYBSwsZJ3C8BVhUscg3CHSZENM02RwLwQQ+TRYVoFi/Aabjnnq/DmCkQc9Mqnb/rtylLh3
XRL/wHvZHNoYl7R0Dj8Ug4RHUajqpnJ89wZ++grmjthgSF06PxFF7yP+yLb8CyuworWSmi0Mxni8
mrbc33thFMJHK2AARUwYZn1foVF5GKxpv4vWsgCtUlXdGW9W26EjcHJjCoNNADCA/kEgZmncTC7y
BK+Udi+U2INVoa9AtXWY2Jni5GU9jAAlfXDKF1c+hXDHfbxpv1DdWGd8Reeb7zYeO05I6TaOgQ3k
N4wJnzv4ah8NEgG+vpAyCMTKlxwf4aYh4ZuPbN3Nxyf4j2T2j516sCrcK3ioJvhQ8gNyw3WVDcLj
e7gZGg2TrkVRblwQVBTCHh8nky7FLRbK40FMbPo6BzReMHpDhrUU0sFk4iybmA7qV+Bhj6KjyGIc
py44F1P+uZtNzoWNvwoY0cLoNLiFB259D+8twSDuy/5L3gSfq/CscYTwQyrZko4cJzTBB+c54N9t
cy384MKrQlY14WGYR+ZRTY5FWe/4UGexcw/CwLWi5Pml+MejXPMFUXGI4jnK56Odqzte3gOXuSTm
7BPPw20AmXqA9qlHlluCBQMZkITIvqOucqXoc+niVi/S2YhTao+QYww1WFmTdMEd5OCRfPyiXihd
rcmCgfRgGG18cjTmpyZ3JNpBsZBy/vbx4S8MFGu4YD+DJyd5To5e3G8W8NhV8D7CDaeHn/PcX6nv
XTjJmibYeh7F3q8kR5SFEsOfrJlODggaVQWmBsk/N2askbmcSdetqjk/VgbAR88K+IYo/x1JEly5
jgvPIl7VWxGci5kPPJ5joe3Oa5b3WVqaKjH8zGs9XHng/9YBh2vN/VT5I3yQgzm1wW8o6XYaZP8z
PW/AfhHu65TCYjl73z71+Nf6e3iHSqcJkNIOrON8q0laViDNIk3ryjB7LrD+49Ncy+8nWpYAkyBv
w8enJ7sATyTI6t4mhPwZPW8vp88hAMPo/O79NULGC+cllinQ9fvYiTd5ViAP9uObdOGxr6X33JUE
Cak1slsa9TB2WMpIu0Fl9nWx3pePT3EeCf91n86Dy1+/fgaEbgoCxMMY/RyWT5P98/FxLwxO0fl8
fx13AfdL5bRAP8uv7igzO2GqJxrbh48Pf+HDXivuZ+Hbhja5PtVoyzBxDzB+tnR1arwfQXQtR+DS
NawGWO6NrI9K3BtLbibnGfKvdriSrnjptq8+aAWsSUUWHLooHjz6qpyvH98Xz/tPnfWPJ7qW8uqh
m/jQzflBOA55dSAq3IAT5BwQQcN3vC3QhoCzdlNp0m5dEOJsgppHf2hUJ7fuhIAP7bH5zmHB2KWw
OJMvQgNbMY0WhPWQVQ/SAEzjeKIHomYpNyPl0VsIFModNJEyxbrEvS2auPpqkS2Q0NHHTk6Q6UjC
EoiHHqt7R9X3AuSDLDjDn8J2XnYYPAvkrkB7CYdctIEhCDFCYoJJHwC2wPstmZh/DoD+bTUzJXZ1
fZHOZd/dtzJuYXgHXDitxTK4GfqQaO3TkTw4nhZPuRt3cEAHzfwe5JaighIPUcYRcAiLTBQdS9vN
33sZiBTqBvcHuGcuRgiQtXLfRr9dcDd26LfXbgo7dbtnUc9BqtHeltREHlyFSReb6XOZ0iwkGQAB
vZsKpjaoNOvHuGdD5s7I41lM1BxQNjO7AWCkO+wAox/BDFdvt/TDtkP9ZxMvCC1U1OkUdj8olzhz
Wf5yKEoqgk4CWIJ2eQsiLCdiB67nBFgW96YnUe7hl/YVTwpNml0z6O6h6PABaKKGIYtynt8Vc8lw
g73q61yjHmIMgJPwriMSNWra6N3A3XMbhbV+786ZRx4T056xEXvbcDI/lrgYfxJWyx0RGvAH5Dk/
zYzNmbegJ9ovtLu1oDo9iKIAl3Vw5Y6xyf9W1HrZaLeH6Qw0SNQipgUMo9I1vpeJ9swoGqJ8Yx2Q
YmQVL6mJUfaLEeG17Rz8iC4u3W/+7IMzB/PhXa6Ax9KeQ8GAOldDXaleK4pUWKKd6LnASwWKw1De
2djXTYYu2Libgl5j44fyfjz6djfCBp7YKXJ3YJySU6+8OQvzZkjinui9sQxtG58GqLJjqii+Dy4c
75hd49eWwipeGhPvQsaxFzRaATFRPSMpnTxbhX8Wq+HJklI+BDn8XXMfIQYiRHNNA091K5QEOx3B
a6OuALoq+xru9XOF2wl5d9N6Grs6LW229OgqBPEDE8MP3IX+OEmNQvYc+HtJfGc7ddJ5hoHB3jfR
HCeaqTyBK6f4hjcQ5CVnBqhmFI5sUjBgXJURIKvS0kCdEFAZPrZ2QhbgCLa74YKfAjoCEKFLUK8I
MDdmRKsqJuD2NUg92gwEba4Kp3iuULI5WcpmQNOJM72reEAFiZHhJe8YO8yIFUa1uay2MbjxL31r
2N3oowpTyZLfm0kB2zGht0L5gO3UQNUOJd3ixqVYFjGwYXdWzADqLOAPzJ2K7mvhV3Xi2FY+ewV3
HiMHarf0zJGtt6Ef0/tphC/IN4N9dQBPSqNI+3fgZoxHxDSCBIjX62QYegkW5aNtMKCPNTQo0MUG
ayXHjgIVg9Js6nGANd3LgcpD571EFlPY76CHnzfDPJF7Xkj5x1dA1oGbGIJBhuvTPT1zemK1JcIW
G6TamXt0eQiKjlgbzY5qd7T15g2qoRp4c2/aBb6qNxKMiq0bYkATeexuIqdrU+XQ8AAwS79drItw
CMudnd+ZJYsm9EPt0iF0p3f1D6R9CHA95PxmMEW/TXE1fHV5ILLIVOqGuaMFEEiIYzmhU1DU3gu2
jf1DxIzd5Q7K0EA6zOi4+bw8gYNcJIh4ztMcFph00egP53X8R4s5/u4BLwd0j1dsC6RyA65Vsx04
HPuJBacAvbST9vVybwH72kUhmGLFgP4veh7xrkDK+86xEF/HeJBJRdVLcW5xFOgWZ4C444OWuUok
RrxfPFg4qjPFkAwRiW5ApwTty4cm6NsSzPV3aL9cVLJd9FW6Du0KYFG3irblQS+6Ax81MHssUcC6
sKhtdYk2FFSyXMS/Gz+c0hjlzO9uI5ydqifUun0n2HJ/ARxUgflYau3tRFcvaV7G7pPQSD1PAwPX
feC0gEYB+IJhJQiBfArz/STBVsj9Onjt+xG0wrYP3wa0RDft2I/fRJHnz2r0mkNe4DZUWvhbANhR
gmiHBmMOKtNjaGi2oJOz90q/ysiEubQjKGcuWLPtLEisoKKA91ERw8GALMFlVQDLCKFuchd/vhTe
fVVJtecj6ozdWPi7xngYqKp5Bpef/0Qs75DJYGo3s9EEgywrT56LhskyDFPiYaHwgO8GUMUQVVm/
buUjH2Z67gq96Lh4JU5c7oF/lDvVFxqo8KBJtO94GWLW6l96ltOud7lJqjr61U0FGgJ1Y9PWM+5Z
od7dADQmkqICbnF2gY9EQRpDeGMHtB9L7ytpgp/o2j7wttsP6BoBVdhWGUQD+DfwNCSITCcHOJTL
neOGY6abUYEkKPhmhnthQ7TXJDGa3jsDciMsoA267ICGfq0gx98G3I1REaVTxgUYIVilGHxIfMha
RXeWEfeWgm6VAr6/o3Prn4ZIPDJQvu60YUjOkMgwIUKgKopZIm2c/nWS6B30tn8ocrRdRBPVYKPG
TzyXLcge/nc2yueq0bugC34oy/8fZ2fSHCmuReFfRISQGLdJjqRnl8t2bQi77AIxSYyS+PXvZK3c
vCIzwpvuCHc0JIOEdO853+ErzGH48jJAxyidQK7ympVjBc+5Qb9pzCY0ZnsgN7Op6zdV4YdbjU81
mj39e9FnH+6oK1C3MNBsTukmTdifgql74E8eaR76e6f0D3DmAAxI8RUqEoy8Cr8I65mfoiXBHsVW
ey9C3CFgq+oIYgLE1VF0SoIiLVcedDJPJbWeG6vsVyZt6qhNjIAKopsiVFHBrQI8A7Wl7pfqzUvS
Shb1+EhuvB5Il9zjt6nlvaCE/KrH4FlT+WJ7gBQk7mg2vDKYAs3ExYlV+Nl4Xbb2mPcjEZjFQky9
N9LR4VvhURTkBYrp/ugBCQagOLIIHzwveSkyJhGQg0afYw04HWapLaQeXdQq9z10CbzRfvBhhoFj
AyWBO+u625ACv1XnI1rjfvhhGF5FzDgVKtQEExYYOCtTg83RFyBka40ie1I0Pkie3F25tXvHK/45
5ohesHzoWHSj7XU7SeBl8mHNLIA83TZAtcxQlCgzLg4YEdhFWNLegemONp+d/SlN8ifIAUuuQxsf
tRGNCuBoT40G/ylT9R5MtGrlTMjwBc4HGX8EqhvaHNxT8wKQxGaDV+5NDiWAr/44nRq4D5ndlWuF
tmgUdgNgueHw2UwBizJQa1YNHEMRl9BbMA132SiVs9YtANSZGH9Kh6iNPaChnHMsWaysaPaYL7AW
zukfF8DdGGaN10qnQBtpOUEjpcXer5OfFQFS1Vet3lhW+mQIzj0MPVl5Vs+jES4wdF+IWo9eAiAX
tBCRjaWgN1CyqhuIQOADuEZy5ACHSYBKcTj4+DlAL0G89KYZGiQVoL/tpB+BM3q32gCNOB8oz4Fg
kRwYCFMUYr9XurTvbPQJY4k+Z1TysEeeEJCpKoSZ0Qhtgew/vVtTNWxsBeImdDwNltccALEWgkXg
DwW1XJweMhg6TjnC7qE6l6bTGz+pxHryAJGD0OQVbT8QcA0+fQbzzUZ32EFwYtxtYjfiE5S9dGNR
l1xhDlZ7ig/HVto5+vw5fezcsVnzYYIRhPbqUyhoxFdgjo4gquEAaVV2PxRvr4SE3L6FkWsNDw7S
strhOeDTTV6myGdvULBtBgbSqp+JR2UV1mMX4EUHlQxUKjt49B2a3fhoMEJYZPg266zDlLr0Kjm1
YgrBt1IF6Qo65WnLEq/coqSPaweI6JQVuwK2972BzHVdNv0jCLfexrHz+wlu4FNV9jqtsNxBdZke
0lMseTKOP5vStlc6H3/x0aDPPnQ2/t8kPEK5mkcu2mSBI2+UQCtAFLcTouuw7eox/bvpfV13wxo1
6QrV5+Q9yHwgblFMXTdpju8hdkpR0VlPAa0faZHhgzNg/A0I9dkAiuiuvEoU+Ef3jmVOebB9DT6S
Kt+l7G40cu1WaUKyDbHaest7xN0zC+QhKxCPnSiOetThGooQABxdZVDxhkDGtNYVz4JkY+XkF0Nr
fStBVzVdMURWAoehW6MNGzZ2uu2w1FuBaoXpttZ5BL0b5FbghrXjCO71ZB8HxrKDC4x4lLrpsHG6
6iME1CTqsZ6PEJ5MMSvaNXBHSI3AdqZGHV4k6O8U4wmPBffgifXsO/jsW5RcybCuNjpAZQZsXnnw
k6TY4RvNAaDyMJFMAEshafIFgD6FTpaLC6AhVAs1YIleg+VLFTT5iZyB/bCTvOmkvgMCEXIBhMRu
KTO3uaNoZCFRBoi+EgxhZfE7OrpQs/ks2Kd9jg+Tcn91FYebz+tM1A/2uJMjflAF6ncMPOS0dbuq
icpqCHYGuMGV7bBybVn+a5o1LHLz6qUXOkQ/mmI6wF51gMxnp90GzLYWgj1bYgPWVSKIbHQadn5t
I6C+Ca4hXfFWkwdkdViEdOVlmDSLmm0HLstoCFSPf5Rh1MEseO+I7tUfW1C6xMBfS/D/dm5SO1FW
iOoONYsxSpgoH8UIshqIeMlqFBDn0EazjazMtC5tj++M9J3DCD3frqRq2EBLpjdDAESLZ9q4J91j
VbSYW936NZnMXQmU+6ofwL4FBzg8+GR8AcLzMdDoY6qxJXeV7GEdZEAvgqmF2KOy1Bvwj629W8vx
gWVQ2MnOOoUZoxlbJljyQQHcr51usnZGoLvlyU69ougPgqTi+G5hNY/BVgGHAxE5JE6y3zHbBX0l
MdveKIMQv/SjHpTa9KfHWyd9cZ1DJfHTgXz6ILH/gjGdy43KNeRu5QAWuIGN1vH4Gpz1n0o4dAUj
SXNvKZk/EuUHaKmTRzOpfJ1ILL5ZgVhxDlrpiltGw7MHsBg3/rgKJD6MNUdiimcX77kGLgB8s1XX
2/7T2Kq7toXvW2pmbzDaflYDYK6UohiRlOgglrnAAXsnOSjjPk+BRLEtU2Co+RxsNyugV7YiPjqP
DZh/Iq3TSPEkFfsycC0H5LqTGEly8PemqkOjPZWBjb2mYz+CxcnuFDPTVSk1vc2J6q+9DAxQkHyh
+sX+1MdLR3rhZAC1wLm3HrSln/jo8xeCsPF9XsMEVU02vyFtm0EPuenzHbfIs0/gh/KKerjSQcmQ
/emVu4Bh22IKS0VwXBa3SPOQV7Xukq3lTuJo077clfiagBVaeDseuMimyhQUs4S6G6DjTgxcv70J
oTnFvq08ha+aElVrdOW2tpWy9eApzHRYRGyD9vRhU0F46qNn/k42gt6rnjB0/7saNQCZQvUw0fxo
VTW77fpTfgWcHPEJZnooSUIQc0RP32KrX49VX+x9K8XW0puwjUE+8TE3sni2yiLB2Of11svQ/E98
pz2C4DytkWaU7auKyZ1rTn31qRx3TpihsJaDpbsKAmdElnkJCL1VDGCdE/kQZNDSIoYtqH9qv+ao
w/DpCqHYwc2EpdEmlWMRNXmXxU09hQ9Bb1hslaLB9jYVz/j+qAg2RwQDTG2WvWla2rfCgTAlCRsF
CRTl8ViDkrqSqgMGFBlV+4bx/uC5DaRNhT8211Nd1vdOHQrg/APvwcbC7oq7GlTHwXMVFnZucUMt
Cl72kPfxOGB7bNzU/szBU7vPLRSsvOBUbAEee+tiWG44CX1MTNziW6/Pg9eEJ2aHibyCHA7FKkcG
oNJ3Ux0bxkHTHnNHulE19snaEWH+vdaQN6vzpg6vaJhQebSgdc0xP+FfNf84X+xdqE97M1tKx4eS
dITJ48Qf0DNWaYW62vcK7HPawTDpKZtOx/bFrQRqxkq3fky9N2e6hHhaKIH/H+9AgJHojGFzNK4V
+1527aD8960bMwcc2CWMxFNvNUfbuTIWUMQ3gbpwz5d+9alV87WvMXVOqK0iiZMuv5qS/jkglzIL
F1pW7qwVw5vG5wCRBfGY8SeVnkze9K5rBmCvAroXkMY7VXDB2r3w6riny/tyGQFE/iYrUQDQbYq9
JHobXeRDkHP+/i/0rdxTv/zL0V23co3CDjjOsbowI1+jHrBmPoGi+fH8GZZ+/6w1Y8QoTJdRMOIQ
UrJKoQryNbsu2fT7W8d3ZuMWGluii3JAZCG2MD5D3ALSjCQwr+cPv3CDnNnIbSiVoaEBKBMpJICt
Cy59TTx7AyZSEgfG/aZUhp1avV8eRAHwae90wgXgDrUKVI5PczA4Phc6xguXMU9yRYOP5Y2BRKBJ
ngP14OcAE5NHXnyvN8lmndUy94N04IDA9wTKyqQBybk3F+QHCy/QPLzVtY1AJvVA455qZKl4kKJr
1Aou3fiFaWIe2woDcw0lu4eAc6+6RU/gIbCKzfl3Z+nQs6Gbd0kPrjMcNKi/PnrIJ7Plpee5dOjZ
uPUHmAlQRqaxb9vQFOLz2THr4/zPXnpXZiNWw+ziGxtqlQ7KY5m/gj8fIO+GvX3v8LMBSwZWpg7B
u+JXvzoHuxX704TdSjmXrGJLL8xsyBbw+cPfZNMYYO8VunMobL+DCHRhQljoZ9PZQGVh6hcmGZw4
tGFC8Mrm11SNP4T2jipBdw/A00uynoVnTGeOtDSQiXECe4rr5K1SHnZo1oVrWHjCdDZc0Z21TBW6
NCZ20m+LDPXDsKLjrT0qd1PxBNui88964WbZsxMRyjR06TnMIv608yaGTKNw19XoYZdAuXnse67Z
v3ijr5Nn16KoO9nyKOSN5TG00tDwGT/PX8PCY7BPr9mXgwc1yn5okspj4EB/j4ozMkgvTBALb6p9
OuWXQxd+2llenjfQ6j+cLFQKRoVRf29BOw+8TME7R3OdN0dlPeeDXjt5hQ3m9766f+2mX345EGct
/F0w+doV6pyi2Pknka514ZYv3ZfZFIHgqxAhWeWETOVyFSQyUuNjqy7NDwvUK/evc/nLjzcdUlV4
MAUHDjUvkNQeioZWmcqo8tHlcIv+dFm1fhm0IUg1qJLhgzNA3y0Dl6MA3fsaHYVgDdZ4jjpzKjad
a/ELH+qFS5/zjBpk4nRNrkg8pdOvsoDNCC6vnZVMl4bk0glms4oqE6u0nZDGJTegHzzWmbcywM9+
a7DMQUSqR0SvNWDubQuyQ3L0b16yS7/83wORzVfCaZPqoTKjhxTo8FYafhRNc2EPtXTo2edUWVQG
UvYibnLcDXYn2guu4gU3PHPpf4f44GdFhp18HVccYhzUoVXsjELtldv2997A+3o1KLTtJ13rbVd2
TgwD46Vg2n/P88ydjaMBmIvRzbs0hutgVaP44ELY6lzB0HT+af+dS/5fwYSS/X+vDkFsFN3eVsaq
PvU1E4ZM2rGrUWEKJ99DjYYNaIrgI4n+SMokjJsKJr59YoX+ETYz80a9IFfHnMHvef4n/fv1ZnPJ
eZ82XUOUU8Ykr1G7NdWP3EwfYYlS/fkTLLwqzuxV4QaN2D4TZRwU4c6vqjuEzl54WRYe11xvDh9i
UflMpbFI9FNKkezUAr0Cfx2XEcza3+Ocs/mOibdEmtYTaRz60ChOPxDPt7PNU2q/f+8OzV4KZMMX
p35eGuvil0vMCo79C/d+4eHON0noFJRKGxw5tD/L5D4UP23nwqv875UKm2+Q0KFJ6y5s0tgTH94E
MyLc6fDEsJzf1MX3Zpn5Lgkkvwof4iqNsdtDIwvJV/C9nL/nS6/ObFUqswyISz9HiWyEhiK3fzVO
T6N8siHMsofxwsdp6SyzbwdYhF4xWnhzysRD0wtSAaIPwrpVwyU0zNIZZgtGC9BEyAiSNO6s5tTq
N1P7jIatu3OwGbmyxzq7BM1dOtPp718WAT2DHhvN9TQm7hHmNoounAFqWqif55/Iwgs1t9cM6I4j
ZKNMY+qkqEIT9TzAnEmSdi/gH5flcOnRL0xI8w1snbQCy/gxi+UkGoQpZklUsPR72d3s/+DPnRSn
mmwaTz5JQV6W9whcbJA9d4m7sTSmZ/Op7PEkgpbxuB6tPQTz2wrUSySDXRhzC4+B0f8+Zm1zwzN8
p2LlIpqpR5tIgWTbp5ADuGsrv2SmWnoIsy+tD60UN0GJ4nmgp8dh6iB9gGSIHL71MrHZlBpwzyoB
neExbf0fcKDdlkkBF9LkXEuXPeICL2ykFi5jvrlVyVg1vo/MQaLf+vZZke7C/HSah/6xUJjvZUOT
m2BMPQ6TOeR6BYH+YUTbMgHdCFs1i7x7XrUD/u/CRLXw1Ocb3NZGeGXf4kvat9ARjSVyAmEbh6dW
XbPG6tbQKmQXTrXw/s5tV8qH7T4ZcMtsP19BmLovm7uaXgoHX7pvp7N+maVSAp0HFlUcPtrhp0uy
qIHgzLE99HghGQ08RO+iQ7bHeqq8cD0L8+LciIWcpVLmvuTgycmT+OIQquaNIfy40sUlSvbSPZuN
+TC0kJ6L3QGsah9Tb0f28O5fJMIuHXw24vOsNuDbtBZInnGP2DW4GTW6aOcH4tIAmY1zAFIADB3x
y+1quB6K4WDG4YK9bumdnY1xaVJ8X1VjHew8zNH5GuS9hUC2OLACNAtNNTymBnFW37qOud2qdhGn
IwJuHYbCbQ88gRa49svv9dKYPVsnwLiNTKA8TONEFQgzDcY21ojK2vlQM1xYry08iHllSSDHweNp
ksWict7Tsk+jMKy/982Yl5MUUmQrr8EQqAO2bvzxSvTVBMqJ2om2zCE/tV/OP4WFV3VeWpIDtL4O
/OSxA5NwngLX0P0YCnPhXV3ae87LS63rQJCH2xRn9CMAXD9sWVRVKrKZvc3S6jp0hh9ZhSTPS07B
pYcyG9fIgQHIxcG3HPScrdtk2MSwP+dv1dKhZ6N67NtEYV/H487jx05V25TwC6/Swoz3F+X6ZY6t
IL4fqdGnQ7cHL/tE7uuWQScLvsSFJ7EwtOcFp6xuCwSpYxFShI8cMRBCHNjwxul7K9iFAf13o/KP
L+y8cATtds8agnuvopf02D0ksb8tfIgHogQNpQ2wKrtsWwKZEAFuFE/7MBojO5IP3R35EX52j84z
ZE5gVsR1POqoepQ7cyTPl7blp5H/r183mxECnUCdn2C4OhT0a46lvdM3v+xU/AZv+U7b2Q1KO/fn
X5WFUTWvQXGPjC6QI1kcwtBTiYep/Sj9S0A9enrh/nUlp7foy9siTg1ZKMRZrEoDGTxJHPTq7AGS
vQFOkX0AFmQEHHd+lZikPlQwjVxzPwWQp8q6p4IoN7LAwIkFKYc7PdYAtJ9oJ9pLx6jzUA2yKH+X
fVJsK5ZnR6P6S92ohZdwDtNGwTN1Xd9LDpWjvRggKnFvjapBUryT7tUAJkvZICz9/DNYWLeQ0zD+
cpcApLbaJMDuh9H2gVcndhtl98S0d4Tmb0U13aVMvTk2mp3nT7gwiOccbwXuXNkKSHJ0i5RPyBvl
L1Y9e6O6MISXXqrZ/OPwAq4z108OPst/5V7yW8EtqWH1P//zlw4/W1d0oTcmtndSFBUBFgAIPZ+y
Ou7C8u388Zeex2xxAfMag/YqtQ6FzQ52SkCKIz0WXU7shOxV9WLfGrVDjvvm/Pn+PV3T/0N6ww7T
Z1RZBycrPu1UvyBP9HtVIDrHeEM8k0/oCuNR6McQ9aWw+eDfq13ROb4bIcJF2Ew2pL51S8AshbUE
MXY2356/Lf9+zDScTR5cwsYE7VMWe7nG53jY2SMsE/JbK0gans76ZdBhIslUbmM5AcsMRcrpgDgJ
F6EMQxo14SV87N8V1v9PgIiP+O9Z7MFpEZKKa3DbGtiezM3WnTqZN1SY3ygwyCPbU+E6I8gWNsL5
9JzpHT2BH1kLtwU8SeHtmFspwlDZYwkZ3qqQgIydv73/ngQAlPvvT/MmCbpsJ6yDwMB/8JyGxRBp
+pDdVuAolQRK8vMnWnqOs9mgg2C49SlUljUgeyeJuKNNFMpLMY5Lh5/NBmE6wPMnKQ5f8gM8rQKC
XcDwm0sBh0vHn80GurFcGC6t5JD07yUMDKK5JZf0OP/+zNA50lvis5XbCT4zWTE8ZimUbgbb4bXi
+p1wFoOpMl4YTH+3E/94E+cgbw9mNJtB6oNSPKtvQQktDlS4zrbBqve2n7C76RJoMUcNJTjssAw1
AOO/ksYuk5XdW+PKtgq21xTC3RQat4OCm/kIT0YBZlyYed+qqdA5DxxKVmcCzzU5yHBa08I+Gq+6
8NVYutfz6QTJDK5AHs0BudPRAJGwVr/d+jNF08ChT+df9aVznN6hL5NKOkheQPFvHVr6B4FmK6d8
b12El0CygarX5vxJFl7IYDan9IQIATteAjhUfR1wlUYwV92PJSjO50+wsBeic+puTlhWdyLlsRX4
2QHrK1DEHA6CCdCdP8OpKm/hWxl+1wIsgVVaN8Hetaru1/mzL93D2XQBnT6cZwybl7a9zxKYpZJ7
O6hXDoN3Ir90iUv3cDZpWAHrcr9AjVDSO36yjDQFbE7iwmD7W07+12CbzxkCDsVBMzSn2ooi7Jf/
gc8HvNxEovsHeuw6cfwdkowBTKRBvUbZ6s0Iq9kgDBb7CiVvLeJj5xk+mGxSUTukNgLFvAfetVeS
A4pIoeBr5SHTrQNjEgCgTuU+FEH+4k4juDm+jhruXDU5/6w8vTag2ZqRuZtwQos+6GEHOf+oFhYu
cxkwTzybFhXCQK1uuJcBuYfm/1IRdOEJzVXAXphB8hza05EriKOxcsEuM9IgIp7/6QuHnwuBJSU2
a0sfwDiBuPDyJfEtGGUufVuXjj7bwaFl2IHIYPnxAFtUEqhbmHk3Wqe78z9+YYjMKTNFoZGbAutm
7IFbCFN2GDx1OtdHWdrsh0l9GAi9ura/N3HOmTM1NstQQ6JGCDp2UXzy1gUzh6/sAn6Qflyfv6SF
1cgcNxMG6L4Fg0gwc376/gN1Yb1Ob6m+sNpbeCBz5EwgTUBy2N8Plbhxyx+lfe+r1/O/fOnQp79/
mfNLZ5wqeLHwXaloCwflND2nLgwOq9zn4YUdycJAm2NnTNuH9VSglyholkVuMOa/U095P89fwdK9
n60EucLnP4HZ4RD4I/qgNP+Rd4NcWyw9wJRzYZO7dJtm03ofAMNOUfI/VEP7WFbZT7cZ3VVr9O/v
XcRsRncIfJW87jy4+syes+FdN/3PkFWPDki/50+x9BRms/qAOjxqtL6M+8Y1644CUl6yS0uHfxd9
6DwpIxyqQWS1C+1LAmIxjH1AOnCHHHJi9bckaxCcB+JjGmV5fYmMtfBI5n4C0BZVQStoV8sM6iZl
bu0QviqY6y58HhYuyT29b19GRt0UYaE7C/qm8ailY94ciExfQEbXx0aAIW6XGczzpiyqC4EmCw9o
rhkgEk57+Nz5ceizO4Dka+T8QjT7rac/l1aHSW5r2YG0FppjB47qMH7zvZrnmDQdm2ifJVVMYWq8
Tu023MsMcTvnf/e/qxl0HmHCBURNHOzmePQNfIG0BJzUmoi9a6tGr6tgzFYic8tf/VCbiLhSXVjK
L3yk5tEmfTsQJ0fmZAz/FjkSC+ksRZLRVyuv4OBrB33wJdjm5y9y6WSnV/zLqwYtrhKNZ3ux8sKD
LP1d6K1txTcAfxwy78JGduH1mkeb1LVqksTLzZExn10DVVdGonXrCxPkwizszWZhaxqlA5YKOWpB
Nly+k/FxMhUsqJfi1pbu0WwGpsLTgMy407ECYLQqsN4BN7hqy7gBGLm2L4zBhbPM7T6FMCSlk4cE
euOdULzhaxYKuGWS3SiPWakvETyXznN6SF+euNtmST/0SFgHfeiZl2M8BN4xVAF80ikajdPT+Rdr
4ZnPPT8Zb313AnE7BvCgXaV2scMbcGFhtXTs2QPBk1Wj8iQQe2NDN0Sm0wokKPtCp+b06v9jDzLX
M1YnV7koGG5QOV0TASwJMbeJdSkLcunHzz6GnmUHYioGUFrgoUNI0rGl1t35e77wy53TTPbl0RJi
CWQu2Tpu+/pJttgAtew6gX76/OGXtrfObHVeuB44JrDgx6nG1onl4y6s2Z/Jr2qkENQ3PUFJIJUh
AWk62FqZdeG8C2+sc/r7l8tCBG/T1MmkY9t687CRyeSj7bwI5EUA47M7f21/Z/V/PHVn9s01kvhA
qhsSN6nfeptEyGk1JiFAcMmkQHI1JYD2XQ2zu6t3OdIK9sZU7lWpBv3DWFUYlVhpxh6K1Csf3mng
1Ud3X4Cx96YIXNRTbdlYkhB633EUepteWvug1F0PdBtENskwsvvUdwEdoEWwKyaoc+3GCtce8lY2
PbO9NTy08HS2CUVSSJPvpc83CPH5bbJQIygkSO+Q6aFRTAaPLonw13yntK5ekNVIdjntx6jpS9Bi
pkYnR2dU6TMJuhA6khDWnqGctj4YgWvfJyeWm/AQJtF4D3XP/GdKPAQKsrZZNQrYd472684mQb7x
kSyEb0YwYjM+IeuYhABCsR6ebYtIvHjoWm0uPJ1/D8m5ZnUAHMmEUuu40ekTonmOjZSPuhE32qnv
z59iaezMlsEuXNQAhOvsmIwO8nCcHdAskYXolfOHXxw7s2EfiIGlZeoPR5mpNc+r/kqkxokAStgC
rX+Y+vLG48Of/JR2Y5f8Us1rYbaZi1k75lkZ0mb4kdvhbeuTO+w8LzyUpUPPZoNeFwDxFb06ljCv
M/I0pvzCkZcG/OkZfRnwwiI69BLMY0lNjy1QKMAtEnfVVwFq1BXj2yrrw9X5B7N0rtPVfTkXB2CL
NZoOx0Q575Vhu0pmoE7Zgq9EWbuRwd73wpmWXrHZQoVbWQksU58dW6SRoEVfyyrygc7akaIB2C+d
hi14UM12yrn7GRCdbKX2011YFJjJbdf60Tlju08rae8J/BsgVzfjU2gHwV0+9BrIlyQY7sIxA0sN
UTDZiDQqZ+RbW9BgY0zhr7zARbfEg8cfbN98rdKiuEsHOm381nH2LgEZBNkCI92VJiiuOAciLwwK
P3Y0Skl8GKqtg+7HkSL1AtD+FrissCkQMOKpwzQ468C31l1Kq5vcstPj5Pp8H0y6WA/g4QJ2k6u9
oaneDlWfb0qdFquy6DRU1p64y8fM2Tq6bLaUj695OQFKxhKBFPoSIDWWiSivmXNodQuWnKorJDQz
AYggCBAEH9QVS8cAeSBDegsfRLtxmqBbixEAXoRFy+0Qcn3hdVl4hnMdbE8yCk4KzYBWae4LzvdF
z24TmXzvCz4XwsKz6ANxh1lIEedNIaNCgZaDalGXXfj9C687m72DvZVRr0box1Ek6b0emysUjYGr
K6unuuICpDQUDM+/7kt3iv53YBGkyYGq52Sg99TPzWTthQXKQ0a/t6dgs/maWkAdpGObHQliw7Yo
6gIiaTXeBT/8wp5iLoX1agIDpnCzIyjt62r4VdY3oMxEEuaSb92duQYWg8lDRQo7biH+gIy0hWPR
Arfm/MH9BcsMSlD/vfmA6PRu0zlJ7Nkgg2w80lp3Yxcm+x71zTvVFUjmnOAa2oKR2vwplTWQQ4fM
s49JyhHYR0ANmhVmRfnJlNEv6Gr0oKZNAmFyg+n5iwHN5xfwM9h01UEBtmjuBci6SQHTkANaG64r
kP3XEueO5Ja/Bc6P7v2mkRuPtfQqnXqkdObCu+sDmx9LvJRPkhWwJkFTfuc7iKZT6F+tGwcwBR88
uLdibAG165H+hlkZsm00BPLNOOr+Z1ZWvQTiE1tmcJWK7iYsXL52jF/tuN2aTZhl1tZxkf2KdVf+
CoGzByBVlWwTOWokSlngkHI6ncSPhbkNSmSJhZYpPxGobN02o23uCNJm4nLg7YY1ZbiarMQ61sZx
7m1rYDYyn8YqFnmKhI6+UTc5KWm+yqp22toqqbaeAVrGQk4hkrGc6soDA+0V5me5I1WV/aGmo1cw
fv7Me3fcdZk50KK7Hg0SoSz489a5NUlkFebZtkEoG2i84EVOIrhJ/e7KA+FnlZDphWoEyZcggAk5
yGhsBN8rolGQCtwxRqNBbKGULKPSIwA/peKqxD4WPNpqb2fTwbjNvnSHQ+VSG7386QP80+tMN09d
W/ItO5m5wOmsQH6HS1LUQLP5LX2sGLIFLICJV23hZLsqC++qEIAvxw9fPKf6TWwXOCOkn8BYSJEf
aPi9VfroR9QVIhzT+mebgwEEHuCRFH4egfNi1rwA4c/1ET4kWo3gGyyNokqa33YldwiH++xT99VL
mzuAbqFHrvoDsUN3hQCqA6UOXXshGSI6Wm99KMBJUs0EUJvCmJ08Fk12iU+bU+g1z5pbJEw669SS
5NaFqhogBIp8F+5ujRa3Bu3OK0y6iFEvHpqhvqsbmayHUuM/54iJGeWVJdgPp3PEQ07cNyQuNOAg
lg1QnzUS50hPtqZm/h/SlrfMAyaSUQXoEgB4cY0QKNxjDkwFENQoGFpRYmoQcUHSXIthQABhj6KS
qQ+MYMJU5ehj0RP+0Sb0V04qHvza+iU8CgCn7K8QJvMWuuWDZjLqnP4pC9KfxeB+9GFXwiHeXdm1
/6FPAgmXtGGUgfG86okzIOmS7LwBLKw6SNDBc8qrRGTp2ob8d9NyOBiEZ/8GizfqHbSv3Yrk2J80
N5A8H1yneLBUvgcM43msAMqyh3abNuF1VU53iGp/BeD4GvF2GjnwY1wjcwfpdsUVy9DzCApCN1CD
tmvEcbM1FlftmmXOTZNm74HrPmiP/pCpc+hc/w5rIRHVhF1DsQSSX2GDVanDw2D8FWDlt7RuHmg/
XSOHMpYJ2ODugNr1FFwzX/9oGgaic4hwoPYamNQnmqOUSSRI45WTxo5X36edBjERW57E2SLK6wOk
MBIhim5LZZOBKEx+VD350+X2S6uBmBSQY0cM9pGVPRbXrS/aPfEbDAQXsSopIrNWTQuC5EDpLUmR
cMbz6apNwmELVHK3BooA8UveYxX4yBar4Y3E+4Q5zd5ATzxtclJ9VFl1RRNyg1cVKWwKKY+T4zyn
VbJOknAbFmmzEjYSBwH6BtvvLjDtixh0s0ZUmLfuJFv7TpphusYyzxEfoine2kzvitZFvCZP16Wr
t2A3kv3Uwnfae0ePmI2bY6fa9wqJo2W1QeHJuXNcBIbBe46gtMxb11hyY3lq9qBH/W5Y+Y44kTFS
csiiwmnfEmY/5Qz0KGSOWJGx9RsEGUhJRDTkqTIAPJA/1auAwFdNUnMLgOZBYqZwshyxMRA/7csE
WRKJSK65DPcMaseDVpW5BggP3QHa3yX/I+3bmtvGuWz/ylS/8xuCBEDg1PQ8kBQlS747jpO8sJzE
4Z3g/fbrz6K/zGmZlsXpPl3dqUo70RaAjY19XasYb0B0Ndq9zj8XGhQoy0HWWY4M/HbjrabLK11K
7PoIepXmoTGNb0mpmQ91Gg3PQNHC+USBbtcGAPFoD+7jLvwxJMO9z41tzAFuhuDuoq38Ly0UBDPr
QC6HgcRLMvzS9PSKB8ZjT0gF5jl/O844q72lbSrODoXP72k2ZB7pUF6G9/oYjRmxk3ICJV2ZZp7o
yVdSaYDDA0UjUgBOxIjHVSUvDdCdb0gEu90E1qaYEGb2bXVTkqlyWRZcBLV0o0CBn7mEIiZFCePb
4vWb5B6A8F/bilx2VPxEj93tMFFAi+rfk7KAjpXpd9FWnwHH+VWnrNxQv92GNH6UCQAq8snYAv8z
AxhLe8OSYaZWZCD4RE6OVeOuwets52XVYbweYL7mWOIARvPaqMPDJMFaF5bTs0/7h1LHyAAqmhdV
Vd9KVRqA+62/GH0JXD9gGAJykn9B0+UFXIrQtsASpksYPa4Dhp9VSe81cfqC9gEBiF9AAYYZVte2
8oVUJvqzQHjNrWibCMCMaf7PGBjmdqfPhKmxeOhYeJdM4V3F8N0CEOxUBZDdCxMA5zFmvw9VWkhn
GprGnVL/JoC2oAgamGBcC78zcHHYU40XfhSAesPmU1tl0x2a2HK7a3Og3NIY+PoUWI9hDwYBimaA
wtPAsqSgV8ByB9nYWHK7JhG0ukC+pNNB7xkZObi8APfaVHhcK5AvQlOzR0NW10GvrlIAvEeVug+L
dAPiiF3aASCviCZg8DFrl2QYDtMYf7Yi9slq+m2WxZpdU7DEAUrNcCpMHQCjj2yAC3CfSaTncYEd
qkcg4WvUdYNhZ7euJgyaVXrvmKRWSIO2oGmewfRjH1QNtSwmD8oDtrkxeBo0wHc3NWCrpe74lrrD
YIxblPQn74b7NNQMzM9qjZMUQDBByezThK5ggNYBUzVUJmg3KbIVeEjCCeNHDdhyS0bAtTaZn4uQ
fFeUH4paPQB7L5k5lV3g7+6MhCPBJbfDgK6hSiJ7FA3MdAKkiPoMEIx+MB10HWi2qU9fwrqB09ii
hqOAccgxMOmQpM02XaGGq1Hj6XVUjsSO/EYABoGZGwPw/rlf/jBGGQFc1iptS2bFC2WkZy4IL6oY
Ol5ED35ceVbPkcxpALTWR9fga/EwjfBkhvxLmVqJG03TVdf0T0VrPJTgzrJ1zb8H76lwOto/gqj2
a2xGvePr6G3nve/2osZBxRlQeY0KxAWlfJ6G+ipHMy0GXC6BwYrxOZAnahEa+32k7zwAJ4Mt2i8Y
KHdJnpd3uU+SA7AIoRwiq7cBcOBvDAv9jCDqgrlskgBnBP48CjBfrv3ITRFmLmYeKvA45Nj3EOSb
vqNrVKGhrmtmrNMqfpJkmImye3R+xIVOdaduI31yQOwJqvQKLv4TqC6A0MFZAv/A70O1HeMpu0tZ
l10ZmKe4T5o8uEIqQj2EJc22icaie0qQOLJBdVj4TqZZFbjQE13eppMonzog4l7qZowkpgmHZZtp
ZnsbU9n/5EkgC0A/Gm3phPDEdqQi1UUKfjvsGJl8frBQE+ztAvDDN+YEQwOq5DS9AAZuzx7MGhO6
DuCY6s+RH0qwYggTIPOT1oEBs4JOuGFDwsTNKQfaiPD97gepp/baBx0F3s+M97cTvukTKxv543xE
9UE8aCyydwHQCUHLm5QHmcb5NR/C5mBkk3ZZ+8OdkWKK+7yY19HBE1no5cRUMclMA8+qOuh3xcWN
KpwbUHRccOXckF2Iu3LILnhn162NUT3bIS8P/OkheXiIt/5K6DgHiKe+wCJwLMwWXYRtXBzydgRG
/QsVlyVijtR/AA6wM4AG4fxKP9hQMucnjtJuMsxTdFsZ+UEYn0ZoUZLsuhA0r5P4hwIW+XzSIHpV
Q1kcGnkVD4jFQPnELhUYOv7ZAua0x9ECQjVicqIocFJJqX4J4JJeN0BXu6EKpixrtWllHR+kUZZD
pmZLaVSXCjWdlH2OEoTBYx59RQm1WMlMf5ARWo6W5kzvAXEO5i2FUDw2KED0+3tEyDcSnKRaRZuV
DfsgXbwk9gMGP9p9MIux74l+1zV0m8Wrg78faO27cVKrJImGXOOezhnBMZfAaI5yuMSEfIMt3I/l
+EWxbiWR+9GRmG+P3ggrUVhW1O97+gm2y7H0Gxn/M2ge43Ui6EivfL8VAad9DuLRHACMdRQVT0YK
6gW76spopaL20QoWybMR3ZEE1CjD3lCJGweXhQYo61Rt/tnVWKTURWgYJFWpQm7oaye1axNvb5t8
AwDN03kBH3z9JeiUz+p0YuGUH1ip7zTQIG1IVVl2Z4BQ/ryEVzt0yg4uspeN1XVFkwzqEA0daPaM
KnMw3IhEMx7Oawv8JLYvueZW6SBc8D04dRhrXpuUwUZyNe60V39hUpkzCCUvkyyl1zSk9cqd/WgD
FueH5CemCYM+O3Q6/cVhoAFGZv3srfb+/PLN13bOU+tfPHga6gtJp0h1qOI2e6hMzq+BPFcWdumP
4z3A6PrOhp9jbuuStIldgeLWyw1DfkV50XhoGJjh4QtV3b5ppQ7sX7gXvSx96pJkNJ8DrqvCbcEC
09khOnZQBwvSbteXpfGoWKLn6MwW5XU/lROaS6vhoagpSCBlFyBmkEbR1E5R6yHQ6rKu3aVFyUFo
nDFgdCOKuiukBcYiq51GuGcjDk3Ag67dJiQSRPO1DlD9Igs9jeaFY6JV7Bu0SXyL0En2uctZ/ZRi
5T99WajPFQz552oCOHrVDGhLBzMS0nyFriMv3w+g2dWyvcm08lIMVnHQx5hdW1NBLyPVZwKA2S0G
cIBBYCEwR60WxLSGbFzGpEmdstdh/pKmHX+UzEz2NVOpk49dfdllFnC/FU9DBGNhWuxMQxsuhB/q
91Ebjp/AgkZcMIhGOynkFxNgyWBQSLqXnITFlWqo3CLwH26zZHqwUv4EOO1ub5m+tIfZoc9DhJd6
YGquEbQXuoQQMLMYrs/zyPGxEfgtYOXLCohd4Ds2vURGKWDr887LYnWd6gyWFOw9tNdANJBXG47x
ND20YGwzHc52EJtXJGFoUpPqwirzwi3BuOOCpdtywo4IVyegZBCG/43z1ACpNok2fqqBjTkBc8QI
VPkNSnIVYNAKbPBkPmm5pexAa65CDodL64C73VDzeqJi3OZx5NtZVpVugEyBMyDosmuYAoyZI/+s
B33rohTVe21ZIrWliZ/5WDB7aNnrArWXqcnRj6tZFMwTEcjfqIWMT8iAzMwaW1khrGLHKgWyAbDM
9UgsXxuhZV7wSNxijLFBl4Dmbzlm5zdgu/mJHpHsW2yFQA4CvsG2APtG75TVIG4ijUwPBqCCt6Ap
BG8B1PR6yqna5RHttroevMRohd0CvP968OlNVvSoPkrtLmxQtYvAlIIMKs23RoCUWcOCZAsAqtDm
VmZta3DjgHQMeiMMBsI8glaeCHwNvNsDCj4FzUgGyL8kuzdrfoXjqB0lRnU1gcw1nT/6SRHtAQmu
YTdmWn1rJTpob8KA7jXVgnpt0P0fSZkFKFDMSDlCG587ffhSa2FxMabCeASEPGqKSOvYeTbIDYqp
qJzi8lEnbknhSESTdxpDDKhXTes0vJNu3aWg52rltAupptlAlEfmmcA4jrSZLmpQRttGyJ/yBGjq
PmjKwIA3fTZVgMSPOQb3Y4ZEjIkBur0JyHfXDLJkW0lF8BpMxC1Z+lQjmN0a8DBBSwIOgRgmCEje
HL+IsMEEFciL0j56UaV/r0lV74DLFgH1OGaA8hLgs88DzC+z4vPol195UvKdX4FyaeAaAimjBrIL
K6yrcZ68RdECucWxHDZVhckLzi3g6DUTyBVQhrDApMDqy6Ek9LNZTiVyQKAcRgo9u1OBSZEUiSfk
roCLbGVj5eVg5sgZihsNr+PSzgqYkEQBxw3aj2JnUnbRlVBVjBqKoN971HjAkwYYdkpIiLKtqjbB
NOZXLcLV57xA9J+nSboPrQ5V3ZSCdZiMWXxXU0DrOBlP0WTWBKTFnTfMbT620m3NqdxpVv8rHICw
phtYc5wEGchVOox40x4MLl0pLqqu0n6MQqY3aZEnm7Hy432PfD7S+APyPE48Yvqc9lWa75gvuuso
BcneTH5Q3PSY3X8YiFEkNigc1TZqhO+axRR+bgbN2gDwrEHHGxjIYI2abUNxniYftJe600Cig0nD
sLZLjCB8yiYDSIlA/tx1zNKeax4OSEIhj/8pq1jB7Q5swqGT16LZmZykxSYUNQpEoCPKLzHLpION
mcnckXBI8UvQ3ZoNR37DtLgVOMqICzA4+T1QXXu4SaCWiwPzBuU6+U23hrUp0A+cVn3xxJotCNvR
dJMfQOV033fJDU20zxHJN1mF0fky35V6ufKen462yHJQtuw0wL7l8FhLhYeSPZo+SBz6FIc6rThM
H0lYxI3RNPLYJ1q3N7LecgK/NBwj6/adHB5FMKxV3z+IIZbwA8hGgiMdtZZDmQ93k1minLY2z/8a
K5zwePTFCsK0A+1pi9Cb31WX0a62uePV9gVM0FdMrQOv/G7aW3uQym0ewv0OjRTJ07ACyfeBO7fE
EshL1GdVx/ODRgbMu+2L/BoUpCsn89GHLwLhEbTymAWGr98Oxn1ttl9E5R/SjP867yrOvYWntm0W
exyvNDWneoCukAHsYaXPwD9mXveAzpAMifmuuRtBQzfxlXGUjxRgEVpopADdpMJOAXcJ70U1oU6a
UuGdX8tHN3IR2AnD6FUYAuGX+GrXc92WwW1PzFt/LDbplNog+9n+M0nG211Lhx4XPVE98mD0IuyA
zaCM4F7P6stcTx5z5M7TSluDaPlIAxbRAhKhmYEeWfSs5GH3XKKW94C533RT1lO4snOnkwhkOdEe
dmVWREE67mVVYKx1b6UlCJICVNp/RJW/O79ps8a+VzWynGsnNZt02vsDRvjEHuQyd5XBUPFVe6am
Ff36SMRCm0XJJZjVWXyY8hj4/iHox3x3Mgs7WwN6JqdPgywn22OCNGmZRfqh+mJ+Ka+nT8m+B6uv
stsvw3N9s5dfMamur8yEnr6dZDmrDgc+BosiiFAHH3leWzcpHFsdbai7KLdibyxCkFOBExrcNWb/
qhJDe3f+tE5fVSIXKi5UNIB7trT2mdleRNzcYVLq+fxHf6RtC4UmgWnQUPZ8H4VfkgMGaDFQix6m
Q938ozYsIhdPM1gAzb5sJ6Ty8xG+Rv5idCSxg3INg/UDHViOr/tNyrIYvv2ed9+6tgm2DZizdpPB
2pUEzwfnvhxan/RGRBHQcA7JpFnbriXVvQku6buiDbpDWqADWTMUCH5BAoemOpm45w/mtAElyyn0
SoJtUjUF3/u0cCgonkdV4xEY7SkCIF+EYW6+1tj6wU0V8/8/encC5OAFWlVCtNFr0F60HW1ALDXZ
E5oy9rzh/ffzSzp5VEws5ysbIpsoC5rukrb35bAf9etKW7FnJ28IPnqxBGvIfAEewu4yH9G6A6Y+
Za6cw0dfev7/R5tjdHBetRFf2iB7GVx27NBYK1fj5L7jS8+LOfpogKHlIsrxpZHRQbcQ8pPOUP+I
9LUCxEefv3iDZd4mGLGpu8s6CxFH3nCRghYQbWcgATt/oq+p1HfvCJawsEw+qSafaaq7TJPCESK8
Lc36h9JRCc9QkkInD42jKzqgEjeA8FL2cMnA5ZkKtwWZdA8Uc0LEtgdVHyGGAzDtuylAB0Vu4aFY
Q7J6LSyd+o4LE2cFWSUsILlcgktx+NKVkrmYY02ByJgzxEl157GBJhvgvCivQJLreVIBXNWY08Y1
07G77tNi+uRLUITNU2qmgxnh9LPBVANeQgvVRYSzSEfQWshP57f1dIc7tnVhNBXNzMwMZ6UzGvnV
p0G6YUWgf2rxdUJMPYMaDFRjmvwGlDVQ1MKD6xExDuTXefkfKM5yDjSMMLRjCSimwcr4RyqUtUPB
0HCttAiRe/XXIH1PPj5MLIcOkzYIUcaEggJc8rufonwOZjWE0uPXXvdBbJmnK5f4I0GLSyx6tDBE
vhwv0VAUolUHdsICeWSuBXdsSJ+KcM2pPmm1saLFle4bzS9a9MRdDmjkpv3wQ4ATEukbjH2QGF0m
yPN4aB9aMaiviHcnVHs5rxfUBtAXANx0KIp2l8H1TWvQdGQc7ORkY8bWdZxJdKBfpMEvwJOv2NoP
pS4uPSY4k7AaxvAAYiUb7U4XuoaLPCF9aKX7AJinoqi3ArMZtXUjKFuxlqfrCNjbxT3W2xIM40mC
Lmgrl5oDfDbi72JjJKCLDbXyKWpZ6faAgojAuzchudOknH4NJOl/BmB3HZGYpFG3i3St36uGaF+R
AUPisex4fy2i4fcQ+H/+GP5P8KJu/7399X//F37/QwFNIQrCZvHb//6kMvz7X/Pf+X9/5u3f+O/t
i7p+zl7q5R9683fwub/lus/N85vfbPImasa79qUa71/qNm1ePx/fcP6T/9sf/sfL66egPPzy5x8/
VJs386cFkcr/+P2ji59//jEPT//n8cf//tn8/f/8w2m/w+f89wf9z59+ea6bP/9A0vdfxKQcJRGD
GRIoWvCt+pfXHwn6L8mIQSzOiMktTFj88R+5qprwzz8M818GnBgqJABJBfr6IL5WGJv+8w8i/yUw
qA/AKG7pnAHT/3++1ptz+euc/iNvs1sV5U395x9vHTvGgOAhBaEMdpbhmVkGXHGP9C2GiLot2ER2
WZfsdK0AvXHlAlVmp4M9Op40uw+/Hm3O729xLPWtbQX1jGVyCcsON4gzBkbOt48/Bsr6spNR4uUF
YEQbSNCLDfAJ+fTzvKC3jst7QYvbKsuYdg0os9BK+znitoaOSWsNyvwVmfQvA/RbiLRMoJNiTdjM
t6vxW5BPD3GZeMbo+FvppSjZgBT+0+QMn+ubEC2Stub6K3X82ZguhEKW0Alhpq6by7nYAej8XIR1
4vVcXWVlfFVgou/85r19MF7X9UbEwp4bLRrdo6hKPLPuUUbIr5JudEpNbcLxkfK788LW1rPYRAN1
9pz7s7AQXZSo4/TxSlbMmLXq3JbNWnnkcloGD60amWUvjezkHizhj/7eDN3gkHvadXDpP/TNBsCW
2SUSzvt00+/oNQa3zi9zEa6/39R504++xIgJCppjcMIrN2Kb3gJM5JDndrIPNpEzemSj9ZtwI1ZO
cuH+/ZZqEFw8TF/BU13sbta0bYlaT+IB+QhlKbTMbzFa2tnUSd3QYxuhXfhe/0Xb+k/aVuz679bK
RTxx4y0d5kyY1IKbu4xUO9+negf74oEoARBK3eMIWlitwWBYYazEqic1CQZNB6YdOvb1hXHJTCuv
/bpNPN4/J/x7rO7PH+HJpRx9/sKmYBfD0Mjx1Ytw7pHMDkx8lW1xiRa/84Le+lG/D+1I0DKE6ZRV
jSYOLWv5t6rKXCsDA3uAF17Xv4LR8WAGa807a3s3//xIO4cwkL6c19YL5kzJDcZc3POLWpOw0ERg
YegZSbAocIrbfoImNLXimq1JWFxz369GmXOsoRuetP4aNf21O3zSMHKDWxiKlJIsYU4iRdAoT6HM
g8f37XU7bcbr1M2cyJFXFtjpbeI01yxxEXmWK8o9b887G3YketaZowNiedNP5gTRRVpYm3LC/AOm
49zSoCu7eHqNHM8L4SasxuKcspyjMRSMPl6q5fedoYChl2wBdreteu0baOa259Vi4U//Vnb+l7zF
qYksG8bUHxKMq7t0b7rBRkOTr6t7+Sa4sVaU8OQVPhK2MMJW3BUThktwgEZg+xhUo9ovBjKtQqy1
DZ4+r7+WtTivzhqkVtTYxgY1daELp8qom4BD/Pz2nTotousUA3WopxKxOK0xVnWBntfE87XawVD7
pQozJ6D53s+oE6i1CsBbr/Hfh3UsbnFYoJnlFoBqEi+sd34SOR1aLxsjtQ2541Ho+gCvknW3oiKn
tvJY6OLQGjCe8wHT4p60vrcaOkequ0hfse3zcSyvFzGFAcca6P7Gcqy1LxmGTXscl951A8h5owu8
M42djxaquZbdV+xTpWO26vzpnVzZkdTZoh1d6rSRQVApSA3ARZZHF+hbt6eGrkg5ZReP17bQETAC
+5kZzDdalBeVkLuO/z1a2t96cbSQhV5gotASPMER+Qj8ldIAXNqt2KW1vVpoQRC2rciAAubR/lkh
HzWWXyexNsS/yD29LkRYpsEQgVmUyeV9MnwikxadH15qVbuBgbhhpr6TyTcyBUBbnqDpSNtpyLf6
0Qpc0/sFwmUhs5cmhUkQob1Vhi5NVKzm8R8TLTGOCH1MzsQAibfjSlsrtr5XiVkW3EEpTV28g7+F
zShY5RfgJ8AIIaiMoPG6e163T4owLYSXloV+kmWAmVdFJLShzDwfOLZ8oOjCiYa/Nxs+HxfWMf8K
EFfC3l9blfAoS+vMC1UInALMiISAkqnNlYf/vdmjOkPSBhIQLABk6u3R1GrSQxGGuYephZ8FA4cg
SHuK0gK6gXCZIa4kJzcCWCIrN/eUSnCOFZqWtHS6tEqYVunjgkW5V5AWziCx/fzKasfN+ZN6/yhS
HY1FGKm1sJVkmfgsMS9qUj3JvZKV3wIzeRRKYIms2mI4aGUe/pRWHMla5ni1aoz8iKW5l+rkWiED
WYB/5fxyTkRa6LoRDDPZkplcX8YBbUXTkDK/9JLP7MvkYiogdrNH4dYurTcKCTtXc5HcyJ7Oyz1x
WBA7/yMNiyLP8VZJ8iFvAWCRFB5KthhR7hyrR3NTvBIbnDgsRomhI+dATGjiQhUnAPhgwqzPvbpM
rzO0X0H/bY1UDz5/Pr+eNUkLD8YPErTKBF3uGVUsbTaE+kZpXbcdiVVtx3CVCemEamBlgBeysDRY
p0XUAwSSlIl2yD2R/Rrz+0x7PL+eE+fz5vNn+UePrZ5EhZpifD6rLbdo+F3GzEODaevzYk44tPSN
nPl7HMkpgYqe0nLKYcdzDBab/Velx1utiDBhyOMLmUT36HnZ0ZZcYRzPk3375f/zG8wne/QN4J+1
YcLG3PMNAIBgOHMso41efWbpFQvltrHuMIDg1JhxG4KX87LXDnGhniCSx6gBqDQ9Nv1MAKki9HZl
f0+q5RzeI/VFBZjF3y6uHhjIuk0daolBJpDNuQX53k6DZ8Sle34ta5KMt5LaHJO0E4UklfpXuY8+
8FxXtwDBusr5Wp39pCxpSUnlnC9eXuvWIMrPepp7sPeDM9XdBW9qpPdIDV64YW025NQpIfsqODAN
OBLNi6tW8V4jUQhpcJF/8LAC1s4aFdypBTEdB2EAXxY804tjEmOEFlwfImhGdk3HMSBNUOhN7GKt
kHwiDUsZ5vtNkxtwQeFqvD0nxOlTXJha4tWbwY0LdIo6hQf6UgdEvrVX3gJj4irenteN00K5gZEN
PDUS8t8KHUiaW4SlyvO/MWmL/XCR7WOXu8ll8ollbrPFBMGKF/J6LG+DFCwUThuBfbQoX+bSZBax
oPCV8irX+kHASPhYJE6y7Zxh0+SufCm2a1HsqVOUeGRQ5oVn+u4UAQfYm62qlNfFKD6p2L/gtY/W
XjN7LPU1B/iEMHgfiPQAcodMx3J5gCDA3IIqlVfnGFO2aH+BJP6j1YrNgHT0Sjhxykuw5ncasxIm
dHTpW8VANbMEup69ZLRHp7rINtNOc1J72gNBwo2vzQ0IOlaSOCfunQWHRBBdohJiLbupOmkE4zQU
hVeD56y1etvI1+7dgi7+1SW2ED/M2QB0H9PlbQBZLGhV/WlWkvDWNGzMINANMLC+UrrRb6JPykX3
nosWsWGN8fzEA4slWfC5TGynWKIaAxyga7sSWP5WBSoXNGEbhrXt82Ll6p0Qg0kpg+gcCinetaQR
zDDyzjILL+sbMI6gjRvOXKuvtSCd0EZcbKSSYVd0HXW6txccTegN7FpVeEYfA9HnhqLGHCtbE+PK
M3NCKd4Imn9+9FrLDqxWcgwrT0v6J6OMHvuS/H1X7o2IhbEKR4KR4AIiEsxzT88Fv2ssZkdiJVx5
vxJmCbxgQszxs/lahzlaSVUkKmddXyC71rnDCPYmtkbscEqERLoMQTIeF0AKvd2sUasaNG4hfpiH
C3j+WEV/P6RkCMD/krB49Y0QQw7KHAHgkIDIFrDcAH04ZP7a2O97Yw7VpboEtBaBsePLykyJOp6B
MZ3KwxzbRl3P5kdcUOSQAfCxoYd6zd7N+vrm8YA8BMlSJxaerHfu9Tiyvi4z6EDv9BtN2ehiaLfZ
VbGZHKQKJWpv7lq2dUF5A1skcE0ROCNYQfQKk/72tMIqZNInkDnuDYc6emIDTmKwi+/jTxR9tSvi
mJscQ1guu9VyZy1lTuajervk2UrAHlmI3NGUulCWGDAARhAMlUev2g3zalALdrb2bXQz93+x2Pcb
/FbaQnGCCdbEDABb1XnyR7YDqZ+TOEgtPxtu5eTOWh34nRmc9/ZocQv7BHi5HJOCkfLQh2tXgBPo
SjvuL1bcnDUpC+MEaB1MYTBjfk3EXX4bHfoX5fBbfzc4hgdqQGRcVpP0J9WG4G4wIS00/y9TR1MH
5xSqA0dgk3Ab+IWY3EII76SHbuPbhq0/wXrJX40Tuf595Z1f8jsLI5DkkQgudMsS9N3zgsG7VGMy
zr2GJZdcBqivNysv2AkReCLhBkjIQJZiGSQpnekkZQ0mtjTgwEyKYx6ladbObu6XW6g/riCSEcw0
LHAJLTSk7qY6FzmvvPiig3fa7HrP8AIn3pdrtuWEluCS41sjiWSid3rhgetaANwwI268CsrPydbf
1zAtZuXEv9rRY3u5V14PfNC/f1THYtmiYVBnUzMNVQSxgbrgRX5AYmQlKfvOC3gNKEyJrhsxO6eL
lRUmDat4DBovDB9D8xY9PF5tYTysXbvOJ3QCrybXpUCyz0Ib/VtTmYoK2F1DCXRT+QW96btGdisj
CbOxXarDsYR5qUevM5IfUkU8bbyJZS9Zw+hjGPa1XREEZ6ALYPcVMPFsAo7l8xfqlHIcy11oO03B
qTllBSA0RLMBVO61NpJNgE7vFe/jlLmH04nrhBw6o7hebxc4oKM/pjEWmMpk3xX+L5IrTBEbADnK
DXAwie6iB8bwZdTmwiGABXaSvLywhP9P9JLhoWW6gSykXDopbQaG7AlzE14G3CaOEEPT4xWPbtEP
+Pq0wqX7S8bitcFQoyECSzV4zotLwwl2U2Rb3rSjtxEe1uh2eAa+1TbdrnWUzKf1TouO5C6MChyW
vi5KXPVQ5U8Drb+kel26+Uz+kIyoJfDw8bz6nHCUDKzURO8jfCX6rlZR8qYPhyRpPOCM/iR2+uB/
qt3kk2/nm8oZD+E/uPFH4pajG8NgVFGr4/ByX93M2AOv+B9j5gHAJ1pR2VPWBV6BDpQO/MeXEZNs
67YsGKs8TPK6vLsR7FLDXC/RV+LOU1cQQQyyB2g5RGi4MC7d1GhJV5uVJ1rugiPpsqwNUJ797RId
jOWxmIWFqQxQj7TpLIb1m3gY7/w4etYBD31eI9ZWszAoMgpEHhUUARMzdsF4ZXZgibbWqiKnFP14
MQvflZR5HmoR1G4o002LEeW0DDzZxTYQFN1pjaLzlCYcS1u8M33Cywxoo4PXDzdaD4gBLdsAr94B
nu3KM3BCkoRTztCZaiLLvjROTQIq+qEHmh7IDJ2ufuA5yNxnoMWVUzrxoEGOkHCndLyfy2yOgWq6
WQ+QEzLN4VntRnTFwVmRsLypVtMkcmogYfQLpGbvDOP7eUU7tVWoLwLrTBc6gv3FoYCgDhCHZTp4
lOwx8+Ra2u2kvg/dp/NiTmgaIkGU3rjOzPddRWkQ9aLqiwZQv4+sKJ0qToFkMLmB/uKzNQ6aE5cH
wtDABIsD51Nf3NFcQ1jBlVZ7XZFsqZU4shVbSswVy3bqbI7FLO5oHMYFEfHr1kWbvLnM/PTvuxXw
ysA2jQfWRIywkFD2oCdslRo8TG0BJr607MAYvLgBlN/54zm5FDxBSAda8NdfM8FHfpPio+pTigoD
AwQHTzcBWSUpnhVp8ahiLX+JmA/tSEQQUOHPnfZeetF/po4GgJmH5FA+doeAuZpD7d41HQ5G02tM
wgMjcS05cFIpjuQvlAL4PyqLYn3whvhbMlwp84fAuOL5bXxfFxNgYUZcJdF3Dv9lGSQAy1cBVALe
OvDIrkGeehE3QnfziXw3ga+bBvEV0lS/SJvJTSkTIK1F9//kGzBJ5842xHfvnkHqRxydlcgHbMeN
9z11Mbu6nTbGbq06cMLVhpS/BC32U4YZzUHp1njALbET4J5o3AJ69F7XfeCK9o6w1pjk3iupSahA
6AU/ghF02r7VID1IEwYymA6t6C04rNodAC9WzNT7jDkSbkiVI3cNc87Y0hwOfl90vkJYzuzOrYHk
4wK/MkXDXvo9tFy0PgLyY2MGO7pybu+1E3IZ+mENtNpjdQuXs+J1bY4JV16pPk8lLFaMFFKwFsOe
2EGYkrljAEllzpejCQNvA2INkEIax3ww9sYm2UfUls+6tHWvcYyd5q5VdE6tDE2WCJnhcWISbPHA
dGYV6GgxQ6IjfVLoRqzSzhXmSvv7eyFzrRR5AEB4EXBKL7YPyDro2itI41l8xrPSL8wwBHasPqw4
me83EE0y6I1FFw4y8ziytyqo2sqMYjW2XmUACCcE4nhW0+RvW/23QuYvcWQpRayqCYEciE4qIGW3
9dzuM3QxuiuTFa1bW868rUeSwJ6iGWGbtJ6moOYy674DEv3lb1ukt8tZGAq/1eqoCKISFim+7bfd
rvW6z4ZdOOhZWdm5U+uZn31AbiFV807XkIGuagHqT68EL5Ei6FXOvq+sxsCWvH3G/v3k/xaxdMhS
K01oAEghrMb0rF3+gOay6P9ydma7cevqtn4iAepF3aqtcrmPnTi5EdLMpZaS2Iik+PRn1NwHG0nZ
SGEv5CZAYtCSSP79+GpR+BWylGsV/xdfCFk0VNJ8D9pUlwgMroGqcTquYPTT17GDXCCfqyuP9N43
OycSkKjDuBRqvZepur1zY775eKTuNryBmHQgSmfL+oN3II8N5KFIDj18SIN6r2hPfbz2zT46ukiB
4t7FzBeaEi8yGmQZxCoJntDHMDFIxoe1l4fGa658uA+2BkwzRBXPuROk8S6Mh0FFEpCLATJnPAFX
Qjkt5gzTrfz7u/zgYf5Y5SKgkqOzSJZg8NhnA+SMU7cYCYTi5tn9P8cFyNb99jgXt2qaKidCok5V
U9c0GbfumlvnWuj+vgEAiTofRKMQA23+OdPz5/3Ae6WNP8LDJXfylt3PVVeNQyEzVe7FUvBXaNH+
353qc1ENpU8MB6KMc7kdIo9QswGnUrUW6kjpf2YM0P39G72vHp+fCi2h52mdAAopF+9OaxazzYOz
qyrpZ345FUpm0fSEuzbNzg8GQtMBgngkOFytFp0NxMX1EaAXBZlWjNLBz7jY7bM16ZAQRNzosK3C
fKujH6To8+G+zSm0xrNrXtoHmSU85bnEiwAPD31p8ntcIIx5+/4/JbFsLvpvzjMpYPRr5Ozgpl05
AR/tGRhgNBif+1Xf95HKwRB3Srwd8yMDzaMqQMmP8yx+5KWX4ykfhLhaJ/qgmgJoyjl5hgsEnsZl
WjQ2dkdktO5Vhzrm8I9nHtrmVqZvoFTMQYWfqm3y2kMiEJqceYdGU65I0QRL4Y7/UbbGvGzx9012
oZtwzl3izzkKQN0TlY5Lh24kxkoh5/957wLariYbUJnrfuD0ZFAhWEtdeOVY4NoN0JvRiiwYy/R4
7Xb9IIcKPxaXOzJvMVykyx6eNFmSIRn5XqHd1VS2mAuwYzBGkTfFonP0zm2FLWUdP28i/292+x+L
X5j+vZ+SmSq2V+qN7Dl9jg7debN/PxdG6/nm+uDov7WKi/NF/h33xXZAsuFyI6g+XKAahceVhZt3
XxeMb4R5cKZLZBvLoIFY+tVMs00USZ+juS75p6+uPfYHpuaP3+HsQvzmVQ1oSt9od96MYVzuqSrj
a6ocHx2yP5a48EPZzOTCW7lXQHFiUj/30P6IorOTR+VWLGEuaweKHNf29Ply+tvLPT/4bw/WeFtC
lvOqslBFAFydk0FA8THOlxr6Zbo2ByhEFgQTR5kpiZ9xIFrQUHLFyfugBoItfR7p/v/f+MIqkTZw
VUvwfnVuChi9rR5rifRBihmdQ/tfBDB/LnexicWu1wiq9ju4g34RkJcetehx+/L3++IDHwwFgDDA
yB0C3PDfY/zbq90gA4o+Q+xbKBKdmV3QZW2Bbjn17TfGPv19rfcDILibkJKHSYeTjJTPxQtko9kC
HuE72imXx7EkR8DMZRlWvMaMzt8X+/Aw/LbWxdsD0y4CexBrbeOh7zAErOgV//Vsrt/tyt9WuPDs
QKGI1TiiBuuRh0UveT9+Nu7XBhOY6bJmmsTZeA2y+/EW/G3NCz8vXgfAHwM81TkKEHnwhagD3Ifi
/AoT53AtCri63oXLQhYPIqGTOp93fgSk44HWP5OnuELFpriG8/t4K/7v7riMcOKdtFB5xfu0/nAa
V1DV0j5vE1H6oCmtibmWlDjvgL98v/TCJVqnnrDJwfkCmGbLgfWYCk+CFJSlSAput5inEcf2Jzc5
wDK//r45zxv9cun4nKjDTCvUKy57FZvRGxT3DHwVSPq7GDg2O1QsJb0yEPLhdQ37i6aLMEbF9NIJ
GxsgjyKG063g1pb2PJjeliCNhYB7HKHHdY6Gm3K9Oo9/tjTvnu+3dS8sEYG0DyQ78XzTsT0kaTUU
zn1SLselSPXxeqrn/c6Jzp2tITKg8fmCvrAPq6ttjKYz5B6b4QckL7dsjEQeAZHghw3yhFvx98/3
wUX254IXF5kJabulLEUxzoylI03WWkifp/Xs3Hb6Ttpvo/3c7v/nHlD4NL8/5sWVBjAtm3YPq04R
EE6rLRYC7t614Ov9sfhzlYtrDcmYEGo4WCXS5g7Qzmpr5kJH5Dkarg3Gv79B/1zq4jYbhiGethlL
2bZuOnBSwGqAYPoK4R+gyrKI6Nt9uUZE/uBOO6+KlhOk69LkXZHOzIiDItqfzz1kIYKCls0xzGze
2Uz/Gqv/IjD5c72LwzAMYbJ7Z2c0rHEYDmifxxS2yYHkPPBsfrrey/7+doH+TYIxHyR2PcSbF5f2
kKSgU/gChgkQNyeacNghPN1cMbAfhLPnZRI0pCLeOMfpuAR+cx06PgO1oHFfO0HJq+Alrns05nUF
9n2t5htdnbP/gZNd88PeW/Y/1704Bl6o3FZI2MCV8HxqTqu5ph72wQv0MV1+HgqEL4++oT+fDChK
EXgj2SvaPtgVfEjndbs6XvnBOcMiyBr+O0r3rilJuZRQ1VBb7R7luQK7wKEe/NmxFssSX/lYH9yQ
fyx28c6QqwE1CtTpioigDEZWRN6UBwNmHeZHdpUic221iytE0r0hs9tsVdJNDzva/XhfgTVdcs/e
RdMVI/fBJfLHo11cIhOKUWbfAIwknsmd+ZeTPiXba+NgeoPxcmZ3+zWhpY+2B9wU9Mug+B7hKvlz
e3SxhBzZDISkBtLEQN9GpWPFQUb8u5X56C2iWdIL/x0QeRfJL0p2bBGtqmaX5S31c9bMYIsCtum6
GUQkr4Q3/9Kx/zTa58QQNiKONDK+70IBtoaqxVRWFU4twBOwp+oIFASyNeP8D9QWkl+tg+Sit5nx
3mFC50KJCMiyOXLSPBr33c084rh9xrczXNy1YyF2Vz+Sbl1v/H2IMegiZOlxOtyHK8QvyD7rb2ht
RBG20RI4o0nVvF9dMEM2/Y+/9CnLPaGTZ1g9H8wQr8lD1flZ3AMqHtpwLj1vvial8tFb//0tXGyn
oEO1uIs1yosb0hbDkOR6SSsnhnC6ItCEnccrI7UfLoipU5ThMLiCdMmfu4klzmS3dMJrD6BpbZGq
QHM/ZFOLafvppJ//vqc+2rpovP3fxS7ugdg2Zlc9sZULMp0HdqwPYahxuqaMeX5J77YSdLvQ2wDr
gIHai2faKBBwHXerLdkLbW+WURRgm2QxMMWs4QV+7Mru/cAoYNAInWzJuZHtXRy7iA3odzeUVYsD
kqjPzXYleP0gsYbj8dsKFxvD+qBLjjFVVU/P5Kewnsdv3BzjcLkz9CimsSBUvxFsyH0GJnG5bTZ9
vzNyCMPPofGQnlgyb5W1iMK7yN8yT0yP6eRe0TL8cDehLRnRPKrV70Js03DXpDxB+/NCwENQJaAV
JdswBWF1xiJyZT99+NpxP0FrD9fUu5GRaVsXoAIdWaXzOmUJBRrD023990173pTvdtNvi1w4UDwh
e9gCvVf1PL6DKAppnXLUz6y7hmT/8HT8tlDw57bdQE9Kpkm4VQQJpYbbTKIkxcP/6nT8tsz5pf7m
OI17O/ebclzcKlMVSoYSSrBXAPsVxqsg0zxkgMFfMSYfNBhg+/626MU1Mxh0jUzYNP9mDiYAnxny
VzrMugLJ6aNzQ3/6JFsAGDr8/eN9UAiAgwPYb4Kmfy98P4ujbdvTkKGRvACV/aGp14qL3D+GD/O9
ues/Xc8W+h8dAvR6YboBbZnvw+vVQo3SePCo0PU3gl/sGuuUnQcCfalQ0/zezS3nZRdNe7nJBPnZ
RfjLVyBcQpsT0IlA4CT2V7e78tF2AUGCL3CfkSYDzgW068wY0ENls0dV4xk300HrF+4QpZ9DNEjl
fZfQx8hfpxegZ33E11ADiTJ3dd3jrLjr1SZdI7+0qc/DMnTt8gKMb9vl+96jNqhdIs3BouXkABnk
fiqgUrJgIGPvoNmvUaCCZI528s4N7AnhjVuu+E9go8SAZLvdFt/bPjxnJMc931q+Z6oVUKWLjLlh
cjYAk/aT98XOfOJZN4AJ35hgAs4Tv65TT2yMsnWn9DtZ4+irixGHO8L5cKAscKoVY7NlO00wHOBu
A386Ds3N6COlPqIoA6QfRnUjKOX7I10Bk1rCEnis5uSyPjh0MtqPrePu0HMLwY/yoPby2nlgABEV
TzkE1yHb5wfR48qiCA0BPt0y2/JkypWr2wP0aRiAMf5Zq75x461IYowf5RNWmW4smDQroNRx97SA
ykOzGThhk9FhsJBhBvkJw2AiI94cfksMCov5nkLqKwfiyM8MUwCbYQjxOFvYDrRft8U+Qu3WizGW
AGlkHJDZDGCoTSNLwECe0UNi5C+0YTn3DQXA0l85qW2nVkxg0PQF+r+QjoU0AThz4h4q0S4QaYt6
kcIOt1TN8wOjoDk5vYqOxIVkOXNW79MuGlX62Ef3Ie2Dl2ULp4IohaKgtN6JoiM3S9pE/pCgjuUp
Pk4OAp5zYBBvL7xW4gg7BsOHiSMOy5Y0RTxsad2kDLtsOWPUHAISEzSeS2U4KL9adCVaFkzeQUi0
QivpVGze3OVI2PxqMJSRN5FMgckU/LEJJSa8gTh7VpY2mXQgwm3R7/Ks172xR4eD6OtG0xubrQPd
ipUAGCSafKTzPzHgV1mUnqNqH4rSZAATpINaA+ohQafKLYoGt+h9z2acJeqtaaJuydE/i4YQCaHm
fNucJBu8Fb+rB8SuGEKAh+M2pMcFtKm4TBSdTdmG6/QraqFTkykxciDfAdO48SVkdNXKp9yoTnb3
mxeBlGXb7bGj4/QIYtDe50uyNrcGWrKfAa0mTm3Rm/WfEaLbGod7Q0piDwcgdVXDUyT3t8B79hqK
2ZQz8w5HgoQlgzv62gb9foOmseHYW/iNpWxFWCeM6UI5dqhVq5bPUco/J3Dlk9xbw/Sb4UN8iFKv
P+zzJG/xMZui7w3/wgCmLxx3ZrXyk/7GONA1h2bsAkJdpzFcLDoAlZldj8MEcJjyvOam6Vdxwiil
ASyZCVzqaSqObtfzsg+68RRN43zjEtZjaHjZSwHcXYHu67keAAmrFYf8duTOPxAY+Bve7ki/YlZm
vxtEzwrph1O+8TEtJuCGoV8+uv9IzAPmfuRgX0ebfW5G6f1KmQbzDoqwlbtK79XsLnhQk1DNkVGZ
gNeSBpVp8YU2KINkKNFuJZvQVuyDXndP/d6WFBCt23AJ+FGZILllkTMdYnDFDxNvoS3TgiSwTHwC
2RgfV8POZGjBpaWOqVOGU2Kw6/T0LHCBvrI1WAC1j0kRJ4EtSNSRjPVpe995PYbrexuUlKTeTeRT
IBZCPX33nHgwte96tARDmbwBBr49CrqL7+FEyaPDOlausfq19Y46Oo3yjwwy1YdVNsmbTs+gDt0j
/ms7/uqO2vxjRwNA6BYgiA+TZa1Zar4CiJa82c0nCOLE10RvU81p7xRdP9pKOFbkfergb41pD6xv
vAe5D7IA2kAWoYyGW8Mj+0bxGDZPaTAWvlWYezRQ4N5HPb4EQNUtmU1Q66CsSWqDek/pYgL/YRu4
fjRdZ35hZr6/i5wIR2QY+kO0EKhGua7O+hGs9BETUkcOC5IHye7Um3W9n6nLYlS5wnD41IzojA3p
vua918ZHf+swY8+9vR4bEpTgpWGfJmKqaIO7kmuP3eI0AoHW0KSQsnczqqmDAIpMt64epxJocHBU
+ngv0YSUFrvuQHJRg87dWeKmnwAfjPU0gbYltyeo437v0cFQLq2joESOyu6p5SF7aJgBbbltoQUc
N1LlPsSVQEub5b2XjMmt4/nQ6aPrWc2hb8PjEDl7tczAqVq84kMKEnxpugBguRlOa+akXvJJekpX
DvpIS2jurXfpOPi3uzLDC/qUKXYxo4WNmCw6Jw0zYbHXiFimOwWmZpESyg4+WNmPmxj6ms1hl/Wc
tDvM/BTtGTUTPYaRXg+Dq7f7PhH950abLvd2Q3OruqjUwJb/nP2tybQXNz/RDBblIuiSe5jIMecO
n+tIRYCZWrrnTjoE+cpAj19mPz6GMUa3jQX9VDdjAxqdIEenQ/JWjOjSIRJdYvQsQj3vPrtf5x20
QtYCmqj1doPMM3slCsGgFpBQwF2RHqi3RCVmKW2mejY9b47jlEug5b3ZTVsQf3SfEsfOwAnF8qld
iYgyoJA7wAMS0Kgt2U1p13TLiYM73ERbchqmNihcJmC6FwfzF3z/YakIMrV6tmpGsConUEoPdF2X
27hP6YNj7VqDYmG+Ax8e5wSwz/s59u0tGPJoG5hN+GVny/qGZDwYV34I9Vt3QcfH6PX1MqDflEbb
ekASGIZ2a5as9+O+sJ0hGTZ56BdEg0EHaTOkNUi7dnAj0BZWqViiD40QNFLkC+4Ymp/1QR8kqixb
YcBND2ASm/EBMFRbIzelABUUjc1YvGOEhSUezvyQNi/zPKxHpjZd0gX1iBh3NzB2djmpWX8S8fAK
Y9h8StJ8D1SFj4J+AbFn8bivdyHSSydA6W/CBmw70v+0O31uN5NP7nQcR1FNgDaqZHHzoeNJGWyd
zIAPQ5sr417yxGJeImrCRHh49NXg5f7eknxcoC1pZ7h4cXdqSAJ2QRxnMZNNJeiAFN0uTR463LkZ
BdvqjeCNRUwkZd/1SWkWGJIJvENh7uBeo+YPPZGiU016t/obKxonSA+h5u3j4tCtmFsqUFSj603q
RAMuiwj56FjBh4jmuYybIKkg+7ajNZfaR2E0atz9HM+PWoW69gklt1wFW+b0PWScV5fVS3huAdst
BXU9VCBgiq6gLrInSNyn5GlRjM83UBMMv7B0H0k5jBOOO7gTPHd0MH8JVpce1zDR5Ug3DDVRKr9B
ey6ETvMQz6WF61gvlk43SWjlm9LjgIYdF5zqzYnxKgMCzlirurXCFJatodGQZhNa4Y7KXf1vPuaa
wVbcTN0zd6oNKIFVAtGhU2vT9osRKzQuoDdXrqA58YI3U3/iuomLhdMoa41jb0kEwi0gpKRsY/yw
62xNsTa8B9cEO7Fa5659iWkTFRF4rJUEQPbQsyBB/pFAdDtt1EPnJ+IWUQnPkG5AfAPVnuW46UEc
R39LKo3uFMQNcr2R/RiXYG50ubCg5yUdklz7kHp3e5A6metTcVwTX9zqSfPDBkuTbQnVdUwAD8pk
E8aPMA/RcTJT92PZd3rfaAEMrRuYzss49gfUPNa9f2oCX5SxomzP1xSd3zJccEhEyLNpGcbc0tDJ
gsVHQvoMc0UIdk6d0AUhD1ieSMH3RZtKCSJsxx79tle5A20b4Cf3fnmDcxujucZg2jWy6qHFLNH9
AB8ko2PY5yMIRLVxhazcaMFoIwrLeEzrfw9aDxtGGqlKit7DsoEbC9cYPdUbYv8vTegkz52BBkpB
BZc3kVnCA6fx+aZj/U/IIKQ1PgqiHZe+iBWjRCRuM+FGOpv0uBeQY3RLsXUrROo6tJUmXICcCoLp
dJJwC46KD6RQ6w7kcODtXh2tNpVZItDQXfYQoa0Sf9wfXeG9+PuY3oRxhCPFiTgF+8R/RM2k32yq
zesS2vWLDFT0jDLGlmOG2s1IF3U6g2J+U4QbHfIN9c8n2XvmFigPiClTGKwY/daf4wBsZZCdnS13
E42ToNGGqFcTHBV0/QuBSYF7JZbx1mDI6ICFaUUdmNMWQ5oQXUBz0aMdArdoEn/NjNX9gSabv5Qj
/P8vMnXSmu3MP7nB1KKdBKNZJ+Y44PbEdDmGcoH8kI9qB4pgi2ZLPswWfOg47cBBHsLt267tT4yI
IgmS9r3zFrE2OmHKbc0R7++wTi2CxsRlyVy0OPAFSA7tf4AcT+Zq61v2YvyNvvCUI5JHXypK3YuT
gpuaap6HcmrvdxGtUD0YNuyrYOtvZ9ZH98x1ZSHddavVFKHo79LlsCYIuxHKyaVcRuL+SI0yJ9FF
Ud3OqZcj8ofnjDmVzGt36B0LhcEJDOkCpoqUAbtBtDWtp8iZFYVmVujchsglI2KbHUCLyE+k2Pkv
C5bdN3fpCW5yAYT3ppBDJHB9IiU9THIrEE4hu17CGKM7QEj+HXf7WHctslOK9sujSmVbdmZB1ohu
vM8CzXU1n1sLilCHpB4x7SizlMVeXyQjVHeAsBXkhEYmUqzKVXeLY70lW9xuUJXLxuVxaHrxpGQ4
WBCjOxnUKLU5B+Vt8ylUEDw4jCtHXxnYtX6hzCLemE0bqDy1+DSuQbvbQJc3kZCuRo6dPFsderUI
kiZHe1FYxBJan0gAx+hMxinJeAc1WwS/wykNuf2JrG6UR9zDr9QhufxzkW6IoXYvySTZkwORbQfU
4wiyeKMM6QqfmP2TEc4cFEwT1FbjwN0zszZQYUndoM3bVqPTlKddjLokW6HjsewRotO0374IBEA9
UirUfWFL6J9WpPjLJqV7W6+oX9Qd4naBymmnHwPI/NfU0LaMjXUzl5joYBuUSBp4HLyYet4+IxPr
1KNY2OcJYzxrBk1T1ubWc1CzCGgLrPKIhVDCQDPg2nleRgTsCfAB2ycbuPIGZ6E9Un1OSuwpZr3X
ibQnPQpxnFbDiygycM+j1q/CKBKFhodXpRuuTkhTuLXa6ddJ9XPthBt7tZEMHxwPunohqPb3S7C8
umYSGBxux3paQG034TScJjGuB2CfEoP4iC2/LA7lcZe++5/FH/WWhU3T/qNT1HmQErBwjYzwf4Cd
EdVDJ4Zy0+FD47Thpza19DBDehStM4lGcyNfXsDqHG4U29Z8QD8B8htzkqHU3xxI3zTYUzHy5uko
63AizmeR0vQfRB0CBbvZe7WJ5CASz6NzFwGy9RzP8VgK0ECmrJtjktu1S370jiUGnyNYPzOA+cC3
TlwzwsJw/83Fbr1TuwDVGq+7hq8S3qz91lRxPIZ3E1yLIl6EqUcj8YXalNzhszlrsadtPBTdOMIM
YaynMpiFmVF8W1lXLKMMP7cCWbZsm9r0OSUNUidJM3S4G6cXLWFpZggnJ8zc0jVyi2hHpOAH63Iz
O2F61406fOzM1L+Cvo4OUK4DXYThHJ1iHceFcZ2kAo5vzWNIG9isnR0J3aA00nd+MslsSoKl3pNd
Zb03gRKMSJDVs1UavvnWmEdPzB66e7edFDxsxsPQE9wijO5f92mHMlU4ocqj5XhQ3bJ/34SGtIuY
99MaIJAFdlih9QLo9kRiQH621nvs1CxLJPiQnrW4hhbuJDcqJvZu7WhQ7JR4wIdFtgRc55snZXI3
c6QzMlS3RBahA+d17F3/RPSOXvooJAJ0DNs1JWo0QWFbb3iN4LHGWQCl2jtm9rGIO5Fm6USCqof7
9ry4Fs7SptFPmqaI7GMOQ68Iepk5oRXA3fHzOq77J6HCpYCbPaPsANOqW4Dm1RxDDZ45SR77vfuA
mSqCd5vex5tb+xR5B+GwtGwwcfRDxfsZZ20SNEP5cT1z3z/Y0J+fQqR4S73OaZn24DHK0fSfMArf
h8jTSPeuVb53Hw0LhJcDJ2bVDHaVgSSbm4jMKARafut0R+uxYIGxEs2YzXCh7yZExshAITEArS0P
kcAOhhRDeFv1BGHbojrvfjTLUjNp+8cOvtCBjoNzZ3w/wLXDZNb52l/hsHBk7zxEW/8xyYijupIu
RVyKqG9ynPRlE71/jCZ31lkqTfe6z136lDaBQqd/bHqMHUjMo649mtaRt2vf+hBxpaBafCWb02Tu
NmsQxuCsdQmz4rjowfw0Szw8Qp5ZoRDbuFkfz0gfcNii0zgvzoFvc1dNwMidtmQxSxZ4voSPDSd2
b9Lu0Exbdwg4PHDS8ka9haM7gljO+ZxBW0ZUc7q2fjkPg/wROp4iOWi7aDfaZpcfe7IuZ88b0jCu
lmkN5X0Q4fEvzZNJBoIShlGQje6RTv0WzO2+Zdwx7v3k2ATi8rgBg1Bilmjv0uDgMe7UOgBCLaPx
YNk5F4YsOBSFvCzt+v2YGmDJC4RDDgRGup5m+7lBCcXLkNZJNCm4UDakuQcG+lM/K/ai3WHVWUsT
doSCenyigUL6BM0jBaart3I2uKeiRIAb20KvM9yi4wJ540/Q2duPexINv7xhN0j2y3D8Bfp7U7C2
Q5Jn8IJcx6bNpkb+Wjq0xy5UMgtdOVfWbesj/eerZs7gkSy54d7wQ6vI4l70vnOYKnw+uArwX3C0
IoaTCXvU/xqmEYWfNYXqE+Y06ZMOBOimEQbVgULjsPBId85tgzJHIkgO31c/oNQ+n6wXk4McBdJu
ojW34GJ4CFanVYY3E7JvN346HAKYcl/bwzyqIt2jX/6TGXn02KFJIOcezL5I+6qjw/OM8O2V+7C2
EM5AFUIgIks3Lzi1DXUy3jMvj3DFzQ7PzJKicuJEt8uKS3GkEpUK13Vyd9pXFBqQ9L7r12BF4aNR
N71e2lw4dCxc3jXV5mnvBrlB/brqzn1OY2hWzywhVbgMEBoi/m5vfamC2kActtybzoVWuxqqdCEx
1LCSVj1BG8UvtiCGCR9hNUGkcp8hY8RvfNzZNVoz3CyOcFq7LnUhDwbJybF1bW36Jrp1U+rmrN3d
anESDB5iMDbrqSc6fBOJUMgNU5VJNQroVK4m0RWFlDw8JHjpuTzvMAqHomjj8BvfEx/ugNxP3N/F
obfbjneoz+2xEN1BHlQVmECJT1YPaSYmiKm02MTZ1C8JJk2GOedushZQTxPwgWyD2sNCiq5F1atL
5fgrDWQHZFHPtkMMBediW4hTDiLav5qG/pDcsjRzEkj8GMs0jrzl/HlCHfzeRQ2TZQAQLafEnZxi
NpjfT9IZCXKkGzPUeZqsaZohD6AjBWNqkb1fwRzP4fd3v6azfLLcg/iToC4vRE9dhMCRf4qt82sk
W1oFydg/wXr1eYJhjk8E4r3PPIiRYEdcmrusgZlmHWSHAEEqemMDpASSIRe6nXPXJN6jFXouQ8hq
VxtLlwJ3OPQGg4iWnS+d3BnTqIQMyVQxEo13qC0tOY9bJIsRn2USBZ6nblziWqkE0eEsIFASBAui
ynb2vyiHj2t2hohhp/hDPmjwBDA3F1dwNZ07YoeuQBqZnatfIAvBp2IyQd4YoUO9LbtfUx+K3zN0
Fo6NpuoENQynkkiHZI3eh5fN7h4yXopBG7PVB26hJ5ExDer1PAWqtnqm1daR9B49N1MdtSHLkBSN
63RUKA1sur8P0+CND9Z+HTu0W2woM1YBpJP8TMPlbzNIH49H4jG39PstPcI8nOfNR8RhnGMWDBky
XQWKE/iMDAMdrbMhfPJUUPZL6h91jLwnDqizW0xb9DQtFjec74JRzA+bXGY4+8w/cNMPJ8rhsiuB
/BoNMCbRr3iXyjppOaRCSBSh5+hhIg06hFcYHi0mXreJbotzYhd5LverCgUtOm0CXPA4/+WEXoDH
TTb8ZUU7zo+wa9sqmrlTRju1N3zs+yFbg0lhhmGnj13oIRvQDjF/Jc7sfhpR4b3RG9PP6bin30cN
4wrKnH/L6TINxe7McWFXKu/YjLSnS9r20AiSFHEY0UyEUAdG+QhWmPbsxzSgYFFJXEX9m9npHh6B
xIO/6KT9sWcyqjsdyBu96+iwE199RTJlvAmGpoHNDeMbJCFljpiuKTp0A8CZE/xbsAN1wOQYlSNK
lJmPb/VtRE4e3Ft3/GT7HofWX0NTCk0GkzeQGCsJ+JWv8EHd8YHFs3xxB8kJgIOIeO/Y1EZLGTJ4
58ViCZpOSEvsW9K0S3iiymoEOAz9DgWEgZk9poMdtnwZZ/3/SDuvHceVbE0/EQF6c0tKlJTeVFZl
1Q1Rlt57Pv35uOfMbIlJiNg1jW50A7uRSxEMs2Kt33g3UWYM0UMdUpBxKk3wp13bsvPboaRspDWm
doo7iOr0RYOGfNUI0tepqKdToY/ifV7r8XNmZeJtXgbmIWwTzK0bUsNEifpdJXKXktonTki+ZQeI
8zx1cvU+Vy7vMnqDNn3j3EEOv49gAMdUPYvGqlLUHXwRZ6G68ey60NEMsVIDkL5GPlVoEaQfCwVM
zy/LU+N5NBnEjoRoRG/U8RCDP4x+C0NvFOnQGkFLhm7EiY34qPY6NqIu7rpejn9zT+ZfjcAUK7vr
q3o/1T7vyLAYvtakY79zqypv/I7HnC2RgTjQFSgdTUV+GKRi4Ck36PfxoEh2aoX70S/7T5HU9k4r
aPSAFaV2mw67IlWPCrviQXRnjrHc78S04aAZc+F5UKXgOVCb6IQaG2/jVo2+yy2a+n7ZabvE68vT
GGm5nQpls096v6ErbuSvvCjbE8lmveeDlSdh9NXaDrWGxm4QBq/UKZRPWWlmf1rV4KLr45h+DRmz
PcURavWNofe5PdBmO4WZltlKI/5IgNg+laVcvs6yw9XBkiIay+gtfBe9bKLqVqHYVQRyQutSU0Em
qo3Pmix8QX1MMiG8CQXDvBNibbpJZlAS+gupJNz0wAHCXW/Qcwy6OaFhBoXhc9FGycwlK7DQjWTr
JDQ91dLYR13hJrcksEVCqBj+uxgIenyASJsbbtxwY9rapEjdTirJn4d6qu9aCL5frbEoPnGi604y
IVjnjkiyg0tM8ebRpEz7k6Wpoe8lcSwEOyZFedHUVKNbPXjii1cLpncbIo32BQlE8SFPQcVU4Ele
MHeFs1RzF5pdK77TquiepywzbzO1mCpHQToreI48+liHsFajkz/1zV0d0XsN8PC11USrdlbci3cI
2In3odo89TmG1mJL765KhI7PapDyB2kQcob6uX9rRh5w4Erj2a9o0hE+7ddMUHC8b4X2VLQmOBqD
ai3UCOtumPgz1H4we2TX49mbypnNX8LXXWabpFmo3yCD48iz5BuaC23kJC1QZ7syxOK3SGeYGncZ
HiBo9bd9DpCFuyWRwVtOvkxpsGxTRxmi96weLO59azAx4miAhMj9DIlJTcdXavOPnvN4QEpdcqIp
U5yh9ElipXGqHr2cZKcYauOdh4exayMgBfZYjeWdWBXfGr/y36dUK/e9gJJyPLAi8zBP9pmv0jRg
n956oVXfdFP5q25DlDassHot2rqkjgTo4KDVdNImSia7UJLNvTSqKCIWg0ahXW1OuQXI2mu7ws17
tNmMsNFv0qwz6NJprMfG721NH0RnkKLo85gX+hdqNTWrzqdpoA+sP7P0nK5UEXcoDbLvRtWDPX9K
OZStGig2kIMw2PNwaB8ATQx3U95LThfFVHapiJD6Gl3y7E1KOR0LepJH7NJkmRq4HMtMD+oBVK49
uXqIlVZOXVPtxuChQIe2ewZEnRho+OjqI7Uui758b9Y0sdPhoef/5oD1j51O7kCPDqr4eZiZIUqc
aPeZnI225pkt6X8xRrf+kKI/NCaUrHtBrGmc1oZrsGOfFAx0XxvAvy+dpBrOMHnApsvss0fB+tOk
hurXto3kHVdldKpCq3nKs8Z8UKvwZ9FkLM7W6m9RKG5e1RgbLCnhxS0pNeyKhoKyOsmik9H7d4Q0
sCjiy3j56HmvuGWQfqYdTC456LpbBTyP7N4nB6B6MP3ISpH/i17owXEqEHTtEFFyqjESvR2L5r0b
inFg6hThvp1ok0rkSrsyKnRaskMd3Ad+IWCYlkyio6SF7ffSn8BkKVWN6n8Hvp14vMuAzfAGQOxW
0C3QAapVVnY0tDp0QckHoGCOe/5X5VhGnVIjSXM7AUn3zPOZklPXZs8aCdbXXtZgWpdeDmCliGRX
S/PuPjR17XGqitaN6/Z9yBGy4CHCi81vv/hiET54oyHespTTQ9mN3Wc2bLebkkj6pCjolPaxPOwr
gLR/VN+qfvqjklG9wcePzDS5qSs9vlXMrOBd5cm/DORBXmI0DOzCq6t71SjkO5NOwEstzYohkNdt
NcbtSpCk+A1vW4PTWS1v6OCkb42ZBDUyG7r3hI9rhRhrT7omsnZexj6vbqqyCt5AhnV2GzGK/ZjT
ubKTsU1TepVtcPAFBDbcMFD66ZALgZDSdKEdxhTmdM8sYN2po2s9UkYAH3eD5afPUpF9CuVUiZwy
SIRjJHjNux/he6/RKej3WTJqt4kUt3/SRg4z0i+reFB9XPgSL0bGL+Ug6fEqOUyI4Ny3YfjQQrVG
XOklC6unICiCQxly5ZByhdYu8nM9vU0QHwbmIAUS/eW6FzkVi97bm6ru/4p6sz/K5dDQBTSaXWTo
0QvrFz8Zo6Px0Pntje8Jpm/TB5b3oz5QPgq77rEpNeulolb9XKcTQvm+FMIWmbJW+Dnqtfkz7hrh
ez9W6bSvLWt8F8pYfGE3TK9tq5Dsm5P3D3TBs/pdC3rpLmsb6QQYQv49pk3wZ6po5O+lOoXTrGVB
Nd7HwajYaaJbrGdR2zVZb9CSLnnqkyDx0O4oUNZKbT1raql9H3ovV+wo40KwEYBC0SIvG/WeAnb8
wPbAGrr3g7sqt8yvpSyC8JAncwYY1dWEu4f2qw6732Cqx50VQOppeHoeQRGoXNpm7DcnQ/aaZ5B5
PS31Ln7zTWAlJnb1hk2pWfqUiL73pQfWUpzC2LScRvb1987Ue9cPo/5X4YmeMyXiXG2FGUxVzpIo
BJQlpxPIkses8/wdpMYsc6EShPYYS0BD1DKfXoMykduZ28d2GsLCvBGb3PpUWDw5qDWEPIcoQZJn
iS2wLezyiugeRO2AMVX67qvab2iC3itucPVTVzXDT9qNZeXSQaSHm3R6+ROfRzZ+yv6E3UeXE111
FdQK72Dra5YD4qi1WN1PfVsd49AD80zjPvlmmGl1mrqGQkLAVphar7gfsCi329SIY1sZmsTVlC7d
WeAIRDvReV+VA/2TXdZawnco7sYWmWENnn0OhF0gjafMkxXY46KrpzxbSEX3ZpHUfwG9R/YQcyle
z3BZZzTuGZy5UjJu4cAXXcO6aWaP7snaAC+vDgPtxFlFD87NUv0KhQ3K2DR3XF0LqDJ52HBmypYU
4Spo2LTo4aI6Y3xgzbWgqfjGteT24o1g+W4RvxftDy1RbH3aovZI6yP6f8GWXGdVb9U6VwmGCgfF
6X0GKTCadsJb8KI4pQu8QvNvtpDR2kfRctDQ/w5xyXgmRZGUyhwlNwC4CZJL91vHEyZZcfVGEgQH
5kv7J6OEeicldXZoMTkyHJXUbh90anKTmRLFYIqpO6FJpts0SGFK+1hgpeh5kQSww3pfk23ZULga
GhKzQZFNt5AszRkakkYjH3MbVOGvJG3/SCpVPjrBXwKB9IZKqLWjB12egqb37sy04H3jyTWN1fh3
J9YyokaTYodj+UMkrd71YQJRPAw8XGaLcobQwazQ2e1dJVsvXj9VO7GIgm/C3BGQ5ETcWJKrePrz
uVyQEnQtFXgp8AVhs7gWRimhnXS3iRsfBqffFdTO+7v6dZvcuaI0MkPaoTlTZcX8cUm7tMZJmBKl
lVz5wCDLB6Gzi9f2t/BS3fonDMgcVPzkO1G2wYbFtu+2GyNf49udx19QiAowg0XkMXD1YN5gyHCs
9v0dk7/BG1jdIWfDXJwqRdcmYiU0zK9OfT2lfPtGBhD+uM5OWImC2pOuwnjDRUNUFowPoOom+OBO
ciceMeDGabhv0LtWpDkpA56FmH/C2fEIfLMpvRFZpynsf7LUb1KBtgItfbzqfWGCH9BnvGKNVz+N
nuMsuleldEM9cI2DwW+wkCmUFVVWl+pPpdC2eobgLtJS/b5SZSp6wS0AtF41bAnkgfcZLA7tmslu
fcUBBEeWvKGUuLJsFOZX103eMqzexUw3ipe3kgdUQSQFDVJPPwl1+znF5zPRtD+VgINSC8RvGMSN
hbRyrisiJDQTsjcf2VzIPFRD2yUUNCWeEpR9jTDkcAEnmWTvU5QJh06Vf15fUyssoouAi5Nhbrvq
k55KbgwkI7WEIynvLmzrb/9/YRYTCpA9SIw6R2s6va2HxhVoYZfNsMGuXdFxYvmeTd9i+TbYJ6kg
CyVXec3uhl116h+qx/AmdwyeT87EWRd/7e6T+2GLJbXGL7+IvGAsFb2mBKLP3qz3POG4qZ59pAEF
p7GrP3fhJ+umehCPW2x9eeWOvIi6ON6syC/GSmC8AEfu2pJa5x4P7goFnl1+sBz5cfqjJOxXVAps
vXVmBY3tQ36F8UbnHZt4DWFEVMUWh5+XWmketBZyft1bVZY2gFagO2gGICd1fRWtHoB4mkGchHrz
QSW/lMe8iRDUJf396gff/0q0YjZMw3lZx1QM/dLL468KYfk2idK4haXcCuBjgEjtfRGllesDWT1n
Z0MkaEIm5+3yjAuzYPBrIIBuG0V3cT4GThAOJytv76XS2GUlOWOXPUoAvpxUo0AW1NOGu8HaXEpo
3YkKAsz8Z3HSTHWaYaxFpaIwsttA1PZCnG7dJjPLdMGFVM5jLA6XXomEseqIMesEG7ld295nUJfq
Gw5XO97Atv91ui9fC8OJ3S1Nv7UjnPeKgSioSo68lJYDs0/tRZnQEBSsgZsCmEMi/dTF8ZTm0r1f
U/hHHCsbuo0zaO1AlTD9RUwOOXIe+5dLKAtj6nsa9IgeZ79+5GUV7kvtsLF+VmdW54JEM0P76LAH
A3sKU1o2rnpfkdOB0g12bWLTpnPNk0IzeAdDJjWOyQMyXLv+FuXp679g6wfM//wsUcgLFaZgozf0
mGh5hVBUStltBO1bIUDLTJtHiv7fr4dcO2cwRJ1FZSCHQhq+DAn0rvLlhsNOGHSaLPQOZ5L+r45e
6PVAK0KJs7w1+0LFJo0ltFi3mk5fMx3IQNTnMjskv2p8o6199kd7yCMbzsD0PLrRMbqBA6ZAZ/x1
PfxaDnAefTHOJql9FeCU5DYWFV8jh4HYmcfWD25Dpf89ttZGwrUSD/1/E71NjnDpQ7JDH6AcBHXs
3SLiDnmZdOElyg5mXNLkrTcW7so3vIi1uKA1xMasVqRh67c/xvbb4JPIGr/iINhdn8OV082AD8jz
mOMcK5LFLuyzIE79ZJBdPT7hRsKreIujvDoSnUUy+0HwBp9n9WwDgHOvglRg1mr5Jhy+il6An8q+
KJSNGVtbjOjWaBwoyMiDdFkEKugWdXncyW7QiJlD8Z8WnyhSU7d8UHR6csJlvT/kYvcFHdoBGJmx
A7T7Peqlb4aoY5kWjY9J3nV2VHfZrhAQfdah5/zFfJ/9yMVxoAZ9Fou+2Lu5nh3zkTeDELb5xpmz
crQaBs8Ca5a9RQZ+sTGwx7CGUTJkt1B/1xb/PobJxq0oz9fe4sq6iLFYoNakq6OvyJxlO3Xcd3d0
HqonGuWv/g1oUbv+FD7pj/WdeYxf+c/XYL91b60PklTKoF6Byv3iXs4UgLO9MsruGJffAV3/rOv6
SywBd/iLL0YBDLQYEhsfzJSSoaIj0lLfDKWT5Kk2BKqNNTEvzOVUwsTEMtik8vkhW4utuDJbSixu
UPilrZv9vuzAMoF4pt6C8xCNpI0xfbyUdBJDXk1oB1h4zsx79mxPYqAkeL6PwH0N7szqxH2cWY/V
NN1WU34QsZ2mOflyfRo/fq45JI4ws5GvxlRehqxTvfWMFgkLU/mq1DKM/J/0y67H+JjK6CgvgY3m
v+jtL1MKEz39obOQYCjSr2HsUYkvKJ6/tdFj4D2FMNmGbuP9+/HTXUT8pzZ3NpFpP5SaESCJkkuH
fGj3uviUQjpMG6D90v766NZm8Gx02mIGjSkG5qoSCxThbduLTj5oD6lobazGjzcCQ5KRMJQNXf2o
uSLRIA6mnjBlDMF38J9DNfwLZ5PLIItjMA0yaTSHOYhkPEi9hoJD6gqTcg+Sfx9bzV5rAHyqpQMy
9raVtm69Fak/4mMgYVF/Rk9Znef67LtJqT5G+N5RqRVURyvp9dVHwwe+UX0WinpfB99K6p6qunFH
fbwLdTY6OjgYV5GgLTXckBeEz4PnhFuNdQpSr3N6Gd/TOHzrEH7e2ORrwSSNMixFIga5rM2UtaiH
g0gaWAFW2Slh90ONW2B/pen2c3/9P69Orlx6jrNynPZBM7uvLLVvAp13fYwckKCCMquJlor9638N
hPubyM1iceh/tJiiZ1wVVaypeBhotqIec6rAkbKR6n3ca1gisvgRi8PP9IMxN308YCRBOsKsfPCm
1Gl1GZrp1jb4eF5dRlnsgmyUlHGCGepSpv8peIYEViP+6jUzRibeeaIPaKdAvTcIw/98llxGXqR9
SoiDRjr4KMCWrqIdu/CLFW1oFq1OoYbNlI7DiYgdw2KLVX0JY80Y3Vik+DmBLbkxM3Vj1X08rBjH
WZBFFuIZah1WEt/JIHcdhsdg02X041V5GWF5UviGVPZFooI2GnJHjvy7VkyRD6src9fU0u9SgQjp
dcKv66v84+a9DLu4oRuvSSsQJSg4A5fQqgQeXLSPZH0XFhtLYaX1cBlqkTf7eSpI6FDgOkvxYZZ0
196tx/p7/WL8iHb+7/iu+mygnZM6+avw5G1E31oliy1gjqVvhaASGGN1YwbD1yAr7qmCutencyvM
Yr1XfVOrw0CYOnuwpluU2Ww/+XQ9xvW1yAl/ueCtCDC0CWTUTVoeu22lvdWVd7oeY20ckB+RAKIa
xvG3yAHKSGlFZcR/obYeTP+PAoQkeb4eYqWtMG9Xk6K+QgXxwyVlYpOa1fmou9qrfOMf64O3M/bC
vXFQMJUId1sabytd04t4y65pGFJbylFZcaM7/Xna/R854/Dec8EHijtW/dtWy1SS+RSXGfdlyMU0
GmE0NXo06JSD2724N1xozXdou9mRnT5u2rGuRAM0Tn9E4hIng5s/6lmykSdtUveDqrnx5+LUPJYH
pAfsdocKB7TATWmuFUk7rmFRwxgECwuDuJfhennQqlbE5q/eewcdbqA97oeTgIOG7MDq3c9mDTz0
jZP5iKyjsh+P5ou+v76IVvbC+W9QFnuhTosO1KMlu53i7dPyaxsru+sRVh6gNH5IBXC5nb2ZlvcL
BK24HJNS+ufYEuwApXZYR3zJYKc8UIJ6ll30hQJbxSBkj0SqAwsg/HL9R6wN8/w3zP/87MtyZaOz
b1W4NVV/AGDdNLq48cBY2fAXo1ysHURs4iwpYTt42I163s9GB/wf/ffT8SLI4rIJw84aFI0ggAp5
Bg5OCMoR9Yvj9dla2+nEMVAvxkwVTcfFygzVIuiMWOmpGUiuT1s9UE9c2864i8iuHIBBX7uv12Ou
zR+JNr0uEjnSucVOT7s69X2l7d3BzF8BND/Ad371NWWjHDLP0OJAkc/DzEfA2UKQLb8N5aTBLt7v
dn6KOktQOW2i7uV8q1cw500fQvHIxZ5GpZu0fLrk8f+t2KmH4qQ6HM+aA4Hfhr1ud2/Jb2HD/XZ1
BnkPzk8lVaWMfjk0ICPpIHZUCMHFRezl8FHNLTLWON1f/1Tz1/8wMPrYEgZvdCOWBR3k56oCoTPK
IJL1GfvxjqeK+E3zrUM/FI+hGbulWEc2D////qKQAV5QfZl7WdwMlyMMzHFUhXn5ezKQj1Th3gmm
+DMCD5+uj3BtKumYgfAQFZS8ly8yeYR3YzYNdTnzO8Q/0H+fp6n77ykxiqY6QBIa8khRL9K5aoQm
4Y98L1+5CYxPsrWxo1YS4ou/v8jYdEg1alFI7KgO65tmrA5d4+8AC+/6oXUEn3pgqm4cUGvn7PmY
FgdH0wqIqbQtE9eHh9ZPuocRzdaNo3aemOX6o0LF09IkufrwgtVlT8fdvuhdK/bTH36IMlkcW8FN
TfXcjU0V4eMoNv9id1kYk6kswNmPdDEyYWY15ZLauTrMwQTyhSredeHhv6+7syDLDMsURg72EiGS
KgnaPaKQfbXXAgYEAkuVN77V6ilvccDzL1pu2hI5KAghOusGTaHmZ/p52qFHcx++RV/w7nEFXMLk
H1v3ytqHOw+4WJFGm1UmvX0qwW1+qMt+Vsjf98BeSknd68XGAbx21J9HW3yxUAhUY8jnCr7mI16l
jt+Tuv0OAfutTHp5YzOvnRhnwdRFHuX31SBKHV/O8+vbtOm/tYN/CFPPd66vkI1BLa/J2OsRc63N
zh3kuwD9qUm794t212+9kTY+1bJhiOCdMhehOreugPBWhR0Z96lhYmLyPG7dlGuHxvncLS6uYlBV
s5tYh/gd1JVLeRogP3L5w8bu2ooz//Ozu1+t9SSBAdm7hpr81GEGFJQXN9bBVozFFUVrovJCgyU+
JJi+CD3If4p7G0FWPw62Mng9U0Pn6XA5EFMJZCiHYNrqBlYUopNigcoNAjjdTddvuTGsjugs2GLW
phSmZAZrxAVlgD2o7z+PCSKx15f1ShB452gIKQYANWN5FHkS9PlYzuiimspDIbSP41i/Xw+xMmmE
UOmFGTSFgapcTlqpyOjMGHVPG+qmzHHpfuSSd1TUfJWtYtfKYXARat7EZwstmEQlHaoAK0mv30fG
91Fo7/zo01+Mhx6qZiF2Brl5MR5UblEUSlOa3FyCuqr/EDRlV6swJnJPQskv2SqCrn0jPOkRDuKp
pFjL1/GAGJMq9wJGetawi9R6H211CrciLOatz3Qr9VNPdstJhqQI2SYeNxba2qc5H8S8Ss4+TTkW
BrRHXjaK1rzCwX3oIo+6baG517/OVpzFVSeHVewZDe/qFOEJmFf5EQD/Y5tpb9fjrNwHHAP/fpTF
JaerWeJ5Yau40Aj7d0A8uiOT+e2QFSxQqynVjXr7/PcWudd5vGWGUjOBQFYm/HQRAiu0b7QQnRxG
sGw5EeI7HrILvZZsXHqrk2nMz0KOfvHDgyNBP7iTJw5uYfgCPfWAdDZM179a32dR5MulEXtlKnXC
oLjwfm7NoTjWSFZd/1orsHWDlOrfkSxOblWEOuPDRKaelX/u99DWZkswbQ8tHgPa8pPvVIetXbU1
e/OuO1vycZUgIQuw2I34ZgcI7V/E0NprGvLe10e3ujao73A0ILiMKcFloFAuW0tNpcFNkPsJZPNN
t1rEC9vql5ZUSDwYuylDPcSyso1NvZbJUjX4N/Li4GhjEV6lGKlU0iQ33fvwbOzqtnPyk+7GO+C/
P6aNpsn6lzwLuThI4HvpAcLDs7ebfig6J3ORSPkN2/QVLwE3/RljJ7yJUVv9lGdBF6cKgo44rqgE
9bWvVi2g1/0mI9hy/TOuziaSRiqnCphU3vmX37FSgkD1dFSjm/f6D76DBxCjBy/cVdg/wzZBAPCk
bmAM144xGYqqqSsgkD6gm7IBYGibI+gQDt+q9K2X0akzn+Mte461FXoW5p9u89lWUFCh7XOV7kIF
P9ePoxsLRdRKfwzVX51owBOP/iSesLs+nyuYZoq7/w7uH+jsWdSwypV6DJnPeq+4yCs/5o6E2/RE
zxAYN54HNjoCzwImJpB17fr2bxz6Ln/B4mhLwyJArJNfoOWfxnKAYTztBQ0Vyji/Va0NZPwKcvwy
2uKQ8+RcHMWcaOKN7NR2E9jRY3rvH3pXu0fmyDapZYu3QrbxQt/6uItzLiBz0DEl4Zw7hUeesgft
IO2jm61H7FobTpG510Rc5SkELOFreei1SoHwCGc4il4n76Z9FkR7Oo5o8x+w196F+CpAz+KrzmfP
Vk9k7Qw4D784A4R8qgVvFqGNxunYh57bt88IKWz5EK51ly6GOU/32aqNjCma0pRuo/4MP2cn9ntD
2sunmV6F0B4i795O2iIdKPOPX6YXMqacMzWPUubSBr5CvVvvaNS6hf6ri5QbRHkwPJCP0YQaKGqz
Iclh2COOECOcbr40A4K5mGF44o+2wmVbf090Bb45etJJ4RTdV0k8BlX5FIpHCYm2okC1n7fSAG8t
tB4LzUfw/OvUP2nJaxdghFGaPyrqwVLw0qc9eofZxlGweszBogTrC5IaBvrlnOaa1BkC2t9uqXTH
3Kx/KGLqhHV9KOA0Xz91VpfJWajFldjHCAGHka+6KeeqA93xJky0hyoo/Y1A87b68MnOAi0uQk8e
UJatPFKaMfzd1/Gd3k0bIVYQo5woZzEWa14Nx7hVBjq2wck8jJ/n1hi2QLJi+28/UfPb+agw2O0P
41O22YJcGx65BWA/PDnoTszzfLYNrAm1znIoh5lgeYeQ2r1n+O71T7UaQp3f8XQDRWOJAqVoj1WC
kAwuIsVO5qHKAdj+eghl7XBUVByAZsyP8aF8qVlNZMhDpuDHbCRHUWwn2P5Nmj7LVl2iwajrvw2k
//CdS2ftcdXkp/RILOFU0k85WvFiepeIXhrsG33oEUrzUJIcp3yPlafe2x0mKZAwRzXbmUZaQO8P
EssNELE4VmFtOYHgRei/6/J7WFkvOgBLVPL9SbKLNE0kRwphtVZiqJ56sW4R/4XkjfxT84LKE9Cz
xpDuNLHMacb2DfiRkST2vzNxDIVavzSz1CwalYvvnMiNr6dBoLg+1DEANzgXDBsfYf4Ty51CfUNE
ywIAFqXry6VU5eagDDXfIFXML0aV3aXj+O53w8ZuWQsz88Gha4AblZZ9oKGfTK+SNYUVG++LKnwq
435n6ubGaFbTGhXQFarbMAsZ0uVwZha9TM8TSM+redBIu7Uv/nPmYWjFgfxo3URH84v/WB4xhXPR
t9x4Sq1tGmgwmCXqsN/R/buM3ssZuIia275Fqabzn+P29/Utsz4+XYFXr9FtEpefK+68xmi8QP3n
nh/38dGPnNB7rw/CHglgNPw+oeZzzPbz0fNqfA/2f3HTo2ANHh+bS+0jLnAygySvZ8xU1NzUHSTu
9scgbNUS9Y+LkiBQ0Ob18pE1lXtD4rUVXtFV6jkpIq4VmvSe+DpV+vH6hK6sy4tIiyS01NJIkQQu
vyBKgYs+C42CfP7pepCVc+4iyCL3zGL/fzN85JLdQfoUVY+C8VzLSHZjV+tPyq5v243Ec17oi33N
k4WypcZGQIJ5kSkFba3gaQOALum0o5y95pnpWMGzTxpiGBube2XZn8davmAQ+P5fDFjgJ5iU/PK0
auP5txVhsbECf6qiPopVNwxT5GI6pwyTjUGsrYSzCfsH9XN2pxrdfEBmTFjGpYIemTmiehu9X18J
K6mkCq9qvlBNS5aXRH0tV6UIwdyRZlMUURPNP6UYekSoFEWVtq8K86FMN3u6qyPj+gLLC2xZ0hdL
YaQKIXQJIETY85TkcUFB20f88RcjgwSozEw50oXFwStGiFJP8ai6QxbfNklmV9KftvwemK9TUDwP
9efr4dbGBMgcZDLNBjKHRbi6yLwimReEOjaf5d7EMCt02vLL9ShrVQfVnDurOpFkuLCXB/okWR6w
AhBz6qG7C5zqUUS3eBc6zV7c4UfXFK6w22o7rD1VCaqyPiRAGqDoLoMimy30It4T8OJmSKWys951
pzx4T+JjeopeoMKpNuL9u42xrq3N87DzHjzbAPXUyVaKFyxjnfuu8o1lq057QDDPQnNx1+2lvfkj
852mtFmuGxt85XtCXmFtcrdRjVzCN+QOuyNJAzY4GwoW3y3vyUJcZ2OEK6cIQbg5GSauKdpi0Qx5
bIQk7CiynuSb5Fe8xy/xxbiPT5Kju0goP+Yb62f+g4tD+CLgPOVnU+qVSmj1Uq/TDvmMUp1ttmQh
WDh1L2n237VqeP2fDW6xy/NSGnAEAQhZhl+UTIdMshuTF8z+dnW6kWWt3GczGpEHI09i6g2LBTrI
denFqkpN9dScpGNzbPYcLptFjbXPBdpLlZCGUNnki0MfAL+BxSFhdNwI67Kmr7xR4VvbamCS/g2x
uP6VOp6PfEL0jv8gprvkKd1T/L5BmWqP2is2TxS/ne09vjW0xQxOCg+UyPBxWsxyB3GqXaBv1IJX
v9HZyBa7mcRJ0HAy4ol4iJ7A6B9bN31qDltWrmsrXFJ4OGB+zvthmW8HChZMnqUNvIdwpIhQsxrK
GzF7s6w7Kxf/XN/AK2khjBSqlgrp58duaZU0BZWSQXPzAOnWAnFtLN4ojCB3UzfF4Xqw1Qk8Czb/
mLO9GyJwK6cBHtwikpo9jhh9jDoLCg8xQCWMrDCoMx88NJOuh11dGWdh5wk/Cwu5rqh7CR9ZLdYG
xPTip5J7fXc9yMpRfzGRi3MpFNW+y3VRgwwmP00l1gzYBomVX6HFGZcoAkfPLcWqjWNjbWhIV2hA
OLlKPziAT/0QTj3kPpfG/fc0PihKtJGErH2zswjLRLQ1MJLHJWRy0a7dT3K0Hw3L1qX6IEp/yg4i
jv9mCT+vz+Va00VjMOCVZIzGP/S8/bbAzLDiVlEwMg7eBRDTv3MHdA8Wv+0u/lUiZO16nrN5Yc+H
xPJ2OQ+8WKEpZqcmKFHtnwZT8I5PyaOxT0/ybto3TnGgmLIx0rX9dx5wsTazqlJSD1dIt7Ls7Cdy
+/lD4AwFRRI7dYp+h7h7CP/Zlo/98S/6eFiJc87ATNYlsszLfcFObEJepSQIVY/mYkAawkvNhEuj
jLaIwYOAs7GAgO3fjPks7uIcDWIxQtWfSVYPMRr72LXv0DpzeOfswl++I70Vb8hyCztvI/DqXJ/F
XWSeAl5BioHho9uVEnKNVJyr74r3BoJr46uu7sqzQItVFCehj6UZzjWNf9D6AWnJdn99DreGslg2
4AxkRIaZQn9Q7JFtCKICg99XTYn+4lw7XySLcy1t0H9Gzw4TbmpmnvWnHD+J8h2eHgcruPPlLdzG
P+fJhx0I5Mk0JP0fZO7lohRQ2xZRbyDevXnDZ9pVt707p0Jb1+zqRzoLtBgYqufILOesft2AX6qP
r4JZvF//Smu0FqQU/x3MfLie3TzpCIDLm0hW53618KX+Pcsq5SfzKN/Gj1sNq9WT+t9g/9S5zoKB
ZQ48TfQmOtXmTX3ojsohOP4VzOB8TMtnBdiqCOsA5i0PVRyAAWto+YMsb4mpzSv4wzqg5og/M1wd
/n05dXJotRnvCu7T6rnVn4T+VQruUmQ+VZSHr3+mDxVAysCopUECNkyyoA8w8DyxrLwfZsLTKfuU
PEm7cM8TrTyUD83jdFvcpqfgiDtfYCcYwd8bp3yjxvkhZ55/AGNFNQHgi/WhshT3htYpKDi45rfJ
Fd77Q+J6v5Rhj+rYTnkTjwgr3VWuvCWF8+Etvoi7vNwLSWjjNIKyoz/3e+zdDkG+Q1Q6dLr9nKSL
klMX++br9elebrx/gtLZpGzCCwQu7+WX1Xo5gXcChNbEa6y3AlsLNhDBWxEW5y/tCaOv9EpxC+8x
6X4P2UZOtPX3F6evDMPIaiNalFjl3UKN/o7V6fN/nyQTuUTkn6BffABKTkOfRLh//g9p17UjOY5s
v0iAvHmVS1dZ3nT3i1Dt5Clvv/4e1mKnVUxucmbuAPPUQEUGFREMhjnHDGPrRKYhjGtRq+giyaLf
wUHujzIMEDsuwBkqUMuBolQ1w+gF3GP6K51XwJDkOT7Tm3h9R5L1IHq9X3T4GKEsPgPQ1taCABIV
r0PwSqEmAjLrIPPTc+FnvhFQdKLorbxLw0bgY7xvRt8ABiZC1UsUhVnFUuMIojQM6v1IsTyZ/Lz+
wT7i3jZgfWi2EcDcJ0pjA48swXGCS8nrTFcN6hC0eCf8vwcLq6d4lhfdSbt5156le+cAaHPBL2AL
PuwvYG4bQD8BKULF2XYBeHBve3h19EBXkgp//h7v1iPoSUPgTroFZv/lEF1+NwmKnSjNUqmmV06C
vYjiKa6jVMINQfcd9aDZjT6Il70lML0sjPzuZT45j4C/96Sd6rY4EO2oBKVfe86hAfGf4Fi4H97R
0Y7DnNMlskSNpwTIlnAqBSCZVxDMLGhHXj959q76OHisY2FXykK5iE2kc3XRo2KBwkQhlB4lAOh7
lOdos9xomaC+wv3IG1lU3c0tbxcTECmpLD0+AyDDA7cn+GV/XVfo4xdffMKNFCZGy+uclM0IKdrT
EDS3+RGfLQTZN+JEmIexrz5eF8jmLjhBdN4wrq3jDOGfjOmCTKExQA9rhisI3Kvq3ehAZVQEVfEa
W2OgacBRF+VmnIPcimQjUZcSDdzDEEltk1Zn1xO1T8frQtMFSRJikCa4+bhaakBHRRkaLy92Q3Ys
a2tVZ6D4KxRIQsvCoa89TZI9FcDrFYgS9DvgnIfXj5Z3yeMOMjHPDXQhXBlMzY9kRucY5kqBoUAr
sAZYzE2PMViK/cHHvjG4mJw8KAAb7V8XzNf2j1z1s6UCNXpAao2ACDKLA0UwBkftASM+u+tiOP79
ST0mUeztHOMJMQ61an5ky+sMluXrAriGsjk/xuOMsojAiVXKIVaaQGGYHqw8DnIRfpdIDcbjxjTL
qh5E8SE4QF1r2dfEEqS5vAtfVYAxRaGzsEzArrZ1Uq53q/5RVSlv1dxVTgt4eTznvbwhj+Nj7oMT
6SVORGI51wEQdpDG04rzJWKobJB67VY4mmWQABSu7/qAZkfdP2OI3K+i4gFoKod5BhuOvu4s0jx0
kxookgofJE0HFjDg+6pRqfpAofkxLPr++uflHTy8Ee0oivd9kfyv/YSucQwzrRW6WfMwx8/XBfDs
ZyuAsZ+1k9GIpBeQAVodM/W0/LCMv6/LYOsBNH5uZTDWgwW0SrcA7Ax2F+XcD1/ivgS9Y39jd0/X
BX1Un5mb4ZMkJreuO51IBnBPwjYcgtGXXHBH7+PACUC/9I6o5mEaMrQOjeArXdQFWA2ZnDtT9SKy
VWgoH9N9fUcREwDTE4xn0cAJ7zWIJAnbD0gXFfliX7dohhykGXATfRfvl3P6YMWufDAea4zwYgEC
ORNBzqSei5dlHwXC6hiNVxcHjN0l+Ccwei46atO49COozZCWf7N36w3dGwDv0FH9gqPdkZ1IHtdy
NuKo927yCQ3kpz04lHDztl9lUDc2GGgAMFsF+gKB5YgkMXd8txhKXwFeCal/D4Kf+/mJ0jEYsWuc
k9fyWfOyI/Y95L2oLsL1vz8amszKJibi5GWmfdAGc6Dg9d51URzq2J0R6CeSw9yz2mKAonaEfjOw
LUYfzCYB5qG95Z7iBUcuOQ5voiv2Ykb5wys2ujF3LCknWwXrGs3TepWC6PprqPjIc0/q1/VBDntQ
D+61I7xmbx3S79c15gb2jXBqyRvTkQqAIRL8wnAEYW9qPsOiXUk+FujDRgnwpQphKsNJtJE2/eUb
JhNK25JU/UCTX5rKWAdgFx7pFki7B7KtF59nTw6LIAkSAZjEBeg1e8xMeM2VuS6SBccMRlRPuSnu
+n15MEP1b4zwiw6Via/YR7JIhCnZ0MBzlS7HOX5UN/2uWk3VxxMHPJsO0IwaQzJFFzU9vSuRx2RC
rJkZtQY6WRCN7aQf/TONPKCnPVbo5Vd+6y1v5uN1A+J5DBDjAJ2BBX/sxTEeg+w7KroFnrlqIOyl
5EPyaTYkQf7GzXu2YhgncTCEDcp1fD191x/IXXY3g6YWKCe4wzzDS4LIs72pEoQD3nfcCmWcg2AE
pl4xnYF+oH5WlQm8l9HjDLLeQk/DFOTxVSwLRHLv5q1Mxj16zKWlJc24+y/Zc3lrhOuhCO37aG8e
xmP8XD0np+qu+y4LPqNQLuMeda+RCHztcIidjYJDGbvkLgl7V9vRKZAhBILIqTjGoSS6UuiXYy12
qzDjLIkGBBSrp355lD0du1kziAu0nbTTT7F4iIia4zVpjH9IWWE3Nki6MeuC/DmIj+rB2mHwHhhc
osDOuyu3ijG3MkhT+6yjEFyWZj6M3UlTdtNgP0bL2gm8g+uDGN4BcQcgqgD08jmIqxlpGgnIlGGs
3NXWwzg+KqXIPngpDf7+XzIYbRTLWHu7hV3aZ+zQPVNQcuPWeFg9zTP3aSg6PF71ArjAf+QxmYZR
DU2a9ZAHBJldehqw2GY9At35UIX9L+delELxA8wfeWyGkStx5jQN5M1fknsVSPZZ2O7XvQMQILQ0
ganw4BxEKG3c+LKRycTOWi862xjp5asHFVFOKHl7U9l7kRFM9a4cRXCi3AR8c6gm9cXNba9jdHDt
MggE8IFXSU8almyqbqcvB9XAA83+Os0g8xpElxLP6TTAKdB1dIC1Xe5lRCaoEEFPktwMQY8lReu2
eF2D1ktD0Xfk3X9bUUw0afqpUhsbXPJZVOzryVawpWE1uojIjRsut3IYl9MzcwEn42jhPgIEXZDc
reYRj3558spf0c0HQP9Dlgfy6rfjQYTRz+s1YecTeFUOiv7orDEXU1y16bzIg4yYCUBdb0r3mGbW
naDbOUGPzU872uXNXoej7kSOyYs1W9HM/aTZA9CqADQSSh1GEhswrvTlrLtWLHoOXzReacK2lcTc
SHrmkKRH7ATCH9g7lpdmhyrpIblVQ8BnSEJnFB4qYzpGUfZOmeNQ9R04bJLRs0pvfGq8xNf96jAq
B/AvYhLIS4VTnlyj3XxOxpi6KEuyhb7Wpj71U+lRLmuBC9K/wF57WBLG2DvCDVI1JtI0YE8GwSGg
B0DunYGRB5zBYWZ/00n2oEgiIGhe0XArjIkyma1WYz45KJb05BSRZXFrtb1r06h1MZlzWoCNGy06
SN/1h3+Wi+p4aWMmEhsY6BEBb4WxmBFLUmNqgedpybDSDe6hQpN9Q7T/zHoAK4Wxk36NFBlkCFNY
4FqImkNsnWvycl0T9ntRGYB0xzAfRiguR0nNdWknjHiiv2qlPxGytWeMPuchAcsxOJMjTBEuRS9Y
jeDpheKZoSNEg7qCtRHwFCr6ogGDrMydXQaOXQBF5CcdTPICY2TN/UM5A7ELyJ24EdhGQTv22pJI
gIZTF+B1p8+2cHiHvVg/JGChAKVyG4LYwQNnarAvisG0EGyq4QTCW1J0vtW0+7kHfkOe3UmS4/+L
L7YRycTFaNBbUDbi9OK5/5nX1o0MRllvUaQva4qGfCoqmbPZJasiY+vWpA1N24KYY15BEdP3d3Lm
QFW59Wo9E42Ic74YVuAcfC8FfB4XPAOkkLLZUe0xVDD6uziR25SC5zkHYBVcVCqAAgGISBtJTL4X
ETKgsYxPVqTukKD2onrEL+7qULspwupFz1x0Oyhlk+11hxIkHOg6Ek/UaOScKn6FA6hEmTbu2Uwl
tiq8+UDrHBb9sQRHtFGe7Aps4ZVobIPjbJ8EMUGEtDXggCPgxE3aQxNnrgMUDLv55whXOFQ6FgAK
FxX8l8zFMjT2VNU2EDRn8Lao9gGsMQJf5uqBVgRyIViHyW7uTNk0AIUXEszFTeLRU2PZVUTza1wh
CBfgXfloADO2vpJMbdYMsFaOjVnKDp+eMgq8X3fgixcAPApTO3+kMJ9ETsBOY3fZhAKRcye/Lt+S
H4lvfk3enG9K4WJ38KHIfRCrXhfLtbiNVOYTrc4y6kOHESx5iQ9EedO03pWy5EHIdMH14Y0g5gGH
LQiQrhjFFJI682XnlyFEPLkYDKEniEE54FzRJuVF2XuMh0yJxn4JBzCfNOTJXupDlWFebopvcuvW
wj67kmCtxPgSJ/FDHX+1O9szrfdc1YPUxCNkdp7mWZT7qDzNtz+L0RybmdEStdjlpVjsFOUiDZzH
9ftwtvbzc/et8coX3Apea7opkFBV+ql32v2EXkEt+NiiX8IEuVwnQNXBbnlItzj9yS721dCKYAcF
QtiX7Go3MpDfsLs5R+W4nxwlCuXR0ILrdsvzyc2hsnU/OnRG7BLfekbHLycReFLLez3yr0u5SMo/
TAqLgbh1KIEv226PUZEqVVAUhilG5wO7HU5VN2FjHcRy5e9smIGWkO4j42FU2vMSfZv078YM4pgu
dtP515j8C2pWW9v8HHr2mwc0sLEHY6Rrvq0C1JvYbtwx1QBO1992inI2J+UgTdVOB4+TwHLYnPrj
HHS6okVZYS/20QGuHFtWgw3JXllL12qBQKOMreuoxrukSbdKWn41jPUGTVqR+1wUzj9EGyrWmmm/
+WKFcZFrc0hnLMDVJspklXUwO5SZqspXs+g2q+8KOXctsz05sfNmYIxZYAG0tbN9urDiGe+NrM5e
HXsCqwaYIg3wi7bnhq64SPkXuRu9YQVwC4psbVwJLJwXmTUbmTAeoQ6wZJk3kyXZUzlWwBjTVsBx
lc9gfvHycWdWuWDU8aIDRFUEk5sJ3i3wegB3/bNV9QNGcAE7jFnHH+pRfi0Osx+fNLBULnemPx6N
AEtKh+5g7oEgLnrP86IFevqyYwDlBNk/c//YaVEAc9XWwhz83wEAz56BNiZiWOAdJSYgUalANxY1
PeYCN6NMQoFZm0OJdIO7ajkY2uLUd5wpmLRaMF11UTr8OE7gcyh4xkAcu9jbKU1fYGdVCzFw2+Ik
iZ+FuQdk6BL7eFVY70R8G1z1/gi0mO5kpmKhDGuGFOTYPsemeWvaTZgX8V1k5QI8Ze7n2ohijFKq
q0gqsgho78MbpWWTVFGyxc2DdFTrDKSNQFBmV5Yl4ChMxqIDAcqdAjpU1Xir4sk69nsHP9nP59Q3
5p0hWMzjn+EfqYybJ2pVDUUJtL0OiO9uNkuNv04NeKws0gZkKq2DIK5onLiyVZNxOsfuJkI6G7lx
SNu8SYgu9kC80ZuDyl/2LWha3q6LFKjI4g5r2ToCAgTUM1XkuLmKRWk7jU7GIqFAYoto27hhG9Dy
GFXDDIShs8Cz2oipQrNDUCF28jL1APJK4l9kjX3QIO2bovbjxvHitvTsmLx2VSaY1eWb0UY+c1Vm
Uz6Mgw75k1cfKE2G7qFOGkqeepjCZG9/F0On8XKSrcpMmIkLPQbVJMB5KjUPuuxetXMgmokyH358
gWfQ6xAFDBZzz1jtZXVU3MXJIdott0WYIn/sQgOrGuqp+CWCL+Rr9UccU04jdtRlDiCVQJKeYcXr
1woQ/xYLfNeN82Li9yNqbrSi/rJJbSpZB5h5BDG0L7/e9PeYOD5Z+z73NF/fRTsrbM76vfxj8ufb
ZI99+315t/6K/W4/valvovKGSGnGekgCEq9ylFBOaXKwjZSuKc8usZ6uK00vNza3AGD1X1+SMZjO
ismYYZwTawyWp1dz50pVDD7qpXcTPfVmrRPU2LjheyOQhojNIYP9rNRBTD2Ha2l4Wim/1UX9b0oL
W6WYG11p53RZkngOsxFYhfVbWX9ZdBHyyP8IL3+OjonXjUqGMqvIHKav5pH46UO+69EpU17F06Hc
dyWK14pjA1JWvagNZVma64WeLWFkmDeV1Z5U6T1tiQuMK7dLJl9KSWBZpa/WA+qJ4P8x7tepdG31
aTB3qfY7rdWHyKgFNwj3W/75VezizWLW01L3yJz0pf6VGsrPvjRE8IwiGcx1Xw9g/mxbnPJ/aMQ6
FO5dun+Wog7iyoC7iP3o13WfEIlkwo2jK33TLohuWo398exnnI2ClJ7r25uDYyKNlC92mc0U7aXc
tcltHKfBog3h/08NqubW0xQioclQ6aEdP/St6lWxqM0hUoMJHnmcyPOi5XOolZ2nYUHQKHYLtgau
68ENUZvDYiJGpBcmqYxkDlt12OeK6jfTowbYp7XW92ZPBJ+G//HRO9FtbA0DGvjzqdmJafZZ283h
MPa9W69r4arK0PvXdbpo7X3cNXhP/lcMEzyKpNXljKQUhWF6bb+mx+I73FYBqgQGM4GAKHoRcDOv
jTwm15udTm9RWkTd5TggpcVCP+XrMm8oS5IWWBg2KQEBbPy8rib/0/2lpc08C9RkXbV1gfOqlXle
iin/FlmF6uYFUW/xIno3QBH+b54HfxRl36xtP5gpKA1wieeLl02PGaLkdaVE385m4sMMCoioB359
aNyVtzoeB+U59aawva3+BugP78NhlUQD0xRGaRz2LTLLeSdZ8gBDIfdx2Xql3Xjm0AelJgjm1OLY
TADtUVAco+pvYobms+FXVu0kygdacw1cRccBddaNnDzk2X1e266V/RCcIg3c1+Qxbm3LLXKBAYB8
ZHXC3roh7YOe5W7VfLEUFCGjb4u6eh2yMWsQdFq4t+lWVcbHMxtQsRMF25KidyW5L1dUZfUDQeel
fdYw91mAcyGx/Xr8EUet37eVl+W/VvMsqbqbL+BhrsZAcBrcz2woNpCrKEwva7akQXMzU1HjSYfi
FtPT53ZY0P+pAbVUy8cBwLJ68SC1P5TisVHesjh1lc7aGUQ+KJlpuelgvwh+Ef3e7PcBNhgo7zFi
oV/QVwG/doqsEk+JVQoxB2y6GEA6yoBYwJDqCETTxO8Rq0BmLzoKkWDGMPJ4zPR+RkPFegJl+e10
7gA88jU+pwf1i45hx7pxJ9kV8ZHRAHhNXcYm8twsSgUIK6Gea7fGnIZAQjk2pL2vNOukOqZLiHOS
2kQVqMu7b7bHzFwEUaPLYzZB23WWBtew2y8NiQQ3KE83C40dB21tzmJ2HWdLT5wUtAsJmAunpl+8
3JEST7ZxoYKTI8qGB2WsHmfHfL1uRbxvuZHMZoipZJsFEFbR25kjTK7fRva6k7J/cYRbIUyKOCX6
ukhlDoKZ2dyBV/FEuvRfvFq2IpiQb1htutqzjcEbkBHkKV4sk9aIwC15prAVwmSFwP9rwWJHxyok
EOPG+7oXkUZwe8wWgHAw3IAoj7Xsz0FelYBomdN2aHJITbf35czTXPUIKpbGdSywEOhPFKF4PsMo
whW5QRHkoWh9mmsUqLWiw0yhWNlYt65TnJoxaOCbeB5dQ0u/1TJQeedZNNrP7Z1YuMoo2qWCUijj
1ADxqnLZgrr2t+J5uF1exu/Rz+TNOg++tKuP+il9ar4LV5g5+jkovYIfyEDxCUClnw9ZmYEA3Beg
nsGvOs/j66x8m2X7n+c5WyEsFaqzDo6SNaBjrbXmlMrSIZpEAAS8ROeTDMaxsBaRFCMaqliBRoFQ
BuaffdDxxNVHd0rcfz66iKQY2QcojlGGl50LSo5ErnNtwdoQutxgsa2mzGunTJCScpwMuKcUlgwV
Apggo1OZSppaxDrY3HLUcpPRd3T/eswTSWBiBYDpmnpYRlAdaaY393kwD5UgBRWJYNyYWMMAKuXp
Y8zLWyPtGTvAQkh9zq3x6aToj9i8HwGroAFBfMA01G/tR/4438SnPOj36SE+ZG/NiFW52VuDcddP
gQHoyZ/XT5HzdPgknTrZRrqWlHExU+k5ELu6JnFb41sdOecqIu40ilAHOOnXJ2lMztGbqbRKcaOF
poEUr8cCUtZ4kmxjYeX7db34nw7bP8BJxnoem8/30YLeApBSw2p5n63nnIjW+Pmq/BHAJBR1qg2a
XqGqX07TjTxoLrZv3KWd35V8d10VroEA1xV9OUsG/gbziZqZdJjDbfG6y+IwjtvfZW3ft0NztCQZ
fBKLdVpz0HYqs+Axyz3CjVzmY2lETaJWwf1hx8uuVkAMsogmCHg3hyNjDpAyy2BOj+0dkKlJl5a+
8Sjm0XjX3hMsa6L9E9pufq8FOnamiLADxLs4kP7TyRGdssswB9rV6oxuFt4lin6TA9F6LFp3Tdvw
+mf7uPWYVBd7zH/EMOe3YnITXw1Q4e2cq291OaiBmRbJPq1n+3fcTd/7qJj3WWSMlVfVJL+p1L7z
9NEsH/SSmDeGlhtBOcyKl1WTtK9beX2RZ7l6vP47eZ95+zOZyzueFQnUT+CEkJsE37ixQaSriR7z
vDCDlWkZozpY6r545cyZ042UeCyUilR5KPVc2i1EMn0llrG0bZvTXrXxELuuGfdi3Uplv0DXd4m1
dhRRN9G9ugavVuQ77wOA8hpAfgZ2IBDIPcuNmsxZrpqddv0IgXPo/KDIwem3fEf2gz++agHa0Jkr
al/wekTOVkcmDiVLW0+liXUKbHQE7X39lKCVP/hzoAXkW3wnWnvg+s5GQybpwnxG1zgxyglxNCd+
mReoLnVDezsTXcQqJxDFPmrkVF3bccFhJunj0r0TVTlhM0iQ3/HaC8A1wqg6sI3oy435ZMayrHFH
sXStEQSWVlsXXruaP83UBlZ3Q1A0jieATjn5frSsj9HD39osejny7EYF2ALwmxRE3ItBgroFQ6jZ
gVXAqh9HpXlLrU5Q4ae2zkYjvHosE0QzSMlYPZdqlCuN1sKLOC48p7YDqylOEUp3RgmSouuOIBLG
GGWdFenSVJheKtLOS6w7Y0hBj/yrL35cl/NhA9e0YsxR1vu+JgaogTA466GB/95oiwdKkhsytIc5
ATCk8wNLR8Wk7a9L5n2xP8eJ+Y/PedMcm4slp9DQtL4oVes1qmheUySByaBRqkx6J4aEfO7vsnU5
den06/+nhPpZiTXW0tWS4cyDbPsZZmQAr+tfF8GNwYj5yF2AeASkBCaHxgtt6jMdMvTdAjSZ/JgD
cHmXH9ZA3w+YQP15XR731Dbi6L9v8tmEzKZTqyD9ix3DWwfVk2dhxk6P5cLoNjJo4NrIiIwCXkZV
+uAUa8L/InD3loearniXVKQTc41hJLpKE9PGUJOTu8X8ameiTi7XXzG/oRv4QubFJE66ZMUgW9Ic
JgUQty39qC+Jn9TxAVP+178P9Xz27DCPbmAEjK5xs+bgjH1kmwmsegWMbE6eBq0FjxDKrMPtKIFW
YhaNnfEyj61AxiA0Kc6IRh1Vt8HUYsn7Kq091OfBaXSv6t+va8fNZ7fSGNNYh3VsFgumMR3HwcNq
V7kv/LRxW8wVuCsAckF9ecA+wRmz/qKVAp6ZYK4c5R48bCyDvUQqY0lTVabjuLCPRotdE9UDgX5c
GQCfRKcEC1D477PpqyMpiL1iRHPysA/4OiV7g7g6GMBLNwWeguE11llbjqJSFl8s5hXBuWPCSJkg
kpMmj8HmCV5NIxjtwQXzj0Azrplgb1RTqXYXjYFm7hU1wtB52OSVgzWanhinUeviOynq8rPdEBsD
zqiHXz/PS73AeKIZ2GgAx5eKm/nzcYKDtbEqyldUNOPsqXL7gJ2v39dlXD4fP8lgK1hduUgNOl+0
BUo3Yvs9RchVhcApnEAPOfp/WAkAEs2+qgDTGBsxJQiVd2uoBgAl9ZPvNM6re2BvP19XipP2fpbG
xER57sEaIEMaULBNw6WEpEmo/wRE2uADtjHMgS709brMyyD5WSRj+/PaTbhcVj10Iv0Wm0VToMyF
m2kTuA+JKlKQaxqb42RSqLFWwYRWgEGvWYCcVOgeBYixfcDDDF6qgm2RNpJF2f0F/BtqdaDN0lAw
wZww9gIZRzMLvScaKN7CXg8wbQMctjqQiO/IwQiKR8OTXaK7JREkU5eXwmep9Cw2F6oBANY6mmU9
jOq1DOd6vIvM8U0pjIdaTTW3S62TPQ+Cz3np8Z+FMqG6rc3JUNZUD025N90uz281eyzARmxlbhFr
wSTjKXDdgvhWuzlexmrNGGx8+oDjTVq/ajw5oIOKK8ZBQznetW4OcAjhJ+X6/0YmY7Z4AisGFpt0
UIOiUu7W/mB79pGiF9p+NXjr46J9NBthV9h1wJyP6F7i+s3mBzCWjHn/AVTP8hpWcrUbE4BqAtrp
Rz7oJaZvRcSTIlOip7ExpdhRE1lLDRBV2RTAqdJGdx3XFy1eijMoaBs3NcpdWvedf/3TUmv5nNd8
siZ2BKOb9DrSVnUNF+WI4dsAJLrekoTXhXDSC0hBEZCuH9uXu4ugSlnSBNNgofKDjkRY+/SbPnkm
AGq0Y/pzOoznxbW+RiLYD77d/pHLPsUtTPSacge52t0EXAVtjyzxPB6rGwSKXXZWDtf15Ma+jTjm
6dMqk02GelzCqlL9cTkM8NLrErg2uZGgfjaTWimUkeT4XEUp3Ssqtj00db3R875wnX4WRBqubWyE
MUE16ZtGdkCuFMpt6/Wz4a7klynNAgvkX8AbMUwURWsii7towOaOPwKrgWKUOoHuAhE1qHe2oDgs
OkAmekoAutRTQCSHBCML0/ReAwpyXSrXEU6RiIyB/pKNR2vFHMtGjJQTSLxm68b78S4NpMflXn4q
gAQ3PS3fNcGKgMjPLhqaaQ+ISoBNYTYix1JC6oIR3PxFnqJ7C0NcbY9hDeAhy3jrifCQOdPscHGU
acD7ijGkCyh722iAexGZc1i2bocRMlCAvWAlQs4CB6lN86ycsyCyAAAruJt4x0wnn2x0GOTLDd4I
M99LN8iwnv4QVSsw/UTMOjw3wIIAcnP0MdB4ZC6ixtB7WV9xD6g99ptAkLmuX+0hF+jBTWEAC4y3
CYBEAeLMWGaaNe2kKQSufSAldgGwLVPNbuKjBQ78pXb0ZQo6KarDcpUDGgSa/bS+zY7qj3kz5kYi
0RfKj678YejIlMBVdD1qcb/RRggTtVDYUIdmcPSQDMqSu6ZTVF6C++LluhhuuMdr5C9lmIA19Yak
VwQ0HpO3hvMN8ZsX63a5L37jAkAsSUSHx/W3rUAmdFkzmbWM5EqoPpTvAAhqjoUvPbandbe2Lmrn
XoHqeZwIU3ruV7PhaRgfwFoaC99gxwlo2yIcqN33X82ufSHxQ7f414+T+9U2Qhjl5sQs4zqOYHsO
YILcWS4cxS0GgRSRKvTfN2FyQaOoa5MVl0zVJuHoKJ4x2ce6w5LqdXX41oGuHR39p50AJsWSyjQZ
1TJT0LPTwsQz3mpsvIH9lvKHNG/klwi8iqcZeDZM4KXrGMlnH8lrEs0a6lJKaEXPzjjt66UMDfCB
CdSiSQWbwVFSM7ivgv1INjwl3azVto3pavlIC5Xp0UYj0toBSfgkAhnlHuFWFpMS55lUKOsyIiWW
wFIev6Pt4EZ6467YP6l6y2/bME7v7ZvGL4DZhf2t67rSL3RNVeYLjp0BcsZ1wrap9mrfFO5cBqCY
bMtza/qpIeqw0Kj0v6WhvPLZMse1Hv6D/Ik5KGCnd17ZAEhad42juY9BPXBdN661KLg6KeYL8MSZ
2KV1vRVNUWeGkpm56qp5xHxT//n0M/7yRgjj0qOlj4WVd4BMLb7NDnGl8p/iiNOHODbMZOgAlCFE
4s+H1uVmmrRAKw/j9jaPK6+sHxLVErgyL4lDNY2iXWDs+QLGaAE5JrBjUK3UquxczvFLT8agTkHK
3iSiOixnGhgabYQxedxQOK052hBmPC1eD2TkEe/fzqvvjO9ga3uJbzpwl8XhcI/MYNoLIaF5URhb
7cClwnYwKolM9lGOQ+OsE8QnB/OIBWtrn4XmvUbrluWhv7VmLwW5zM/rxsi92LZSGUfPHGe14xlS
GxRx4j3xq1caM/MHI3YBnqN49eM8I40UeQHPw7dyGfORgffXT/ShKJP6QNBjz/rES1LFTQrTN2cg
/yFtB+t9cF1fXk3lA5UDWx2aZbFYDaW9VFpJYrTj8gJgEHXW/VZyW/s19N24cyS5eCOZNYtePiKp
TFpUKU7TWz26F7L81UmiBw1o8JEWmIAeVBsiCGe8+GKjSEzbtVCQvY1GM+nKERdtWKqzN7eWO0SH
JhLttPIuI0QAAL2jKAxBrLWuYGav18zAZrmMl5wC0uPcM3ZKkAmpzbjvxq0sxkb1WnMAeoMn9uSp
LZhoFLzu6wDe+DdrjNwT3OjG2KZidPFSS5BHxx0V/5D5k/RRgQKot+uld4UnGlDlecNGQ7Y4Yy4L
idvOmUOlTwJjxu6sUxtoSCO6WuSliFAWiuRWdVVj/OfbYdD0j7LsEK6zaGWpOVC2Vp1nrXywlent
us/xKl7Yn6e0FiYN40yxZEq7JWtX5M5zXLuxUr2DT/TQZj9xCZ5Int6p8PrrEjmhVAE0iK2qmCMA
fBUjMc3TMSsAwhDKFuBKAcrhKIJhBc7slIlJCIxloENIaSgYGymlqpiAtLKGveMaqjf+aH5TRqAi
nL+rP6XZLcA59Vv2zZMYTZer3R/RDpuudBFw3FQwaK0D4MEbX7cLwbXLlYDcGSy6IC29mE2E9atN
Bbi6MGnSY52Cakk0G8sZQAeYH8wBw20Ywb2YyDazio6umu3HC254BTjFrX4E2OyTCRTRAgyatj8f
rQU8U+Rxuqu//Y26M0dL8AtaFIYVlonE/XMGg11FyU4b/ARyYx+dUwbSTorrAOh1rwqzQNy84MQV
POGAKmjQzR7VYATKqV3rE7KMMKm+qusXhGl3qQXOxsvcMVLvQB18OxAuM0KilLJmOVaLLhfuG6D3
Rr5+UA+UnqoM41ARVKJ4OtGHFsBhwBVlq8w9QAAvktoEOvXRClBnK5hLO0yyf4E0gOeV4+DKBoab
A4Lgzx9r6ZsF/OVQCyizra8HK1jI1DvyqoDEYngiZ9GbjnfpAN0Ivo0tCWDfsDGkIiQnk4PBnR4k
BEa4vCS44GhncngSc7nypUGOCu460waawmf1IjuOuzVukXsCmAuZT3s37umClfF7wYC9/++0Axsx
BW2QMWDPfLYFZJSdgTPFca4xAA1WII13ftoH4DRywXjiXw/IHCsByyZeCxryEixDMOJGoqyjOqPz
rznHan1RJzDdiyDqOYNyyEVMB+Uk0AFd3jPgdrUWUuMM88WNdnWYhNgVS90ZXMfL6V9pRIFJQWuo
ORc4PlVRq0sa1ZhlQCO3TXfFqLqd0QhqhfRcmJcpUMxRitTxqTBbwFh9V0cqiTJMGC5oE41AcEYw
c4vlsGpIumYhwBTnufVJHI2YmxKNU8WA7Uk+rCLeS5Fba8GcBOrHvscQtqtXKAcCLMoAqBCRqHbI
Kyx/kk6NaCM97ZrMTCp8v8nL3yNlp1EuxbC3wzmBk4M4OkEb3XMwki9IF3gxE5JRXUNhFLtI7C7I
HJNkskocs3xMvn4AtATVjsaX6pCUbr0TlVc4Nw8mYNDG1jXsBl2U0MuljEluohFiRYs7livgNd6u
OxxfJQMEUCgwo7THJl1oHUtp5UClyUvfKWFZlriRr+3sH4uv7osXUXWe5+G42/6SxzxxyiaeunWF
P6jJ7M5KeeomrIVKIofgGwlY1IFpZdF3MpPadSRKEmIoH0ZyG730fn+oQxCbo8PYTj421nZ/Y2qa
utmFG26EMsopqpqmiwKh2hMqYo+KGwf6fXwzBkrQPIlbLCrN4K7JY9x+WiuV4OoBtp7fvEq4gczf
Y0gnSCqU0yXP9qM9yiDY2+vQD1d7l45tCyIPJ2lHmP5zzkwomMsBAMkqmlp6UR/WafjW2gs8UDL3
7Vz/yIrCw16VyGhFejMRQCmmCfD40Lu4adHDNe8pEc70f6Rd15LkNhL8IkbQk3ilbTfe7My+MNbS
e9B+/SVGd5oeDNWQdKeI08MqthpgoVCoysoEHO1f4OBNsPhhyF2FKjcSXW6HYzPXSFmqqAMozkS8
BtcE6L0UkN14uuoaXfD3npZbpwTiaNga/D/jWP0Y4kheF3nHrihTQyajHDP8a+oeLp99lf14zn2g
hYvBEQ0j258pzpHU9r0NsnGc/QU8NKBHad302Q57KF+aHiY6dzLaJPbPFB5c/ySLU5UOwDq3wq4J
Oxf8D4FCIzpp6FDLn9j88KiVtb7CLtPeR20pYCkUHkbyz3qvesuxFDntVgmPUQey2gegeJ8CuWTP
+hC9GfS0H93eRCb/ddx1vhRWRx2+pEEGGuM6uV+5ogC41db7YJsLEraZZSvwjWzXIYFZHCBkEY6O
1jva4jNkUuJD+1OUhmzcJB+Mcn7cGHolr4SFwxhjKs0CqKNQcGjrK0KiCYSXqPZ8bqcUgBaqcgQb
bAQqtpw+zENQyDCOEnmH0NN+v+y/W8mwyfq8rL0M+XA+9U7B5W3lI3ay84DhdHs3BfAbwDKVURbm
vshNt/YQVlizSMd8A8+V35e5SdJMQ+6dd4tr2ZNnrqsou9nI5EBXCuJwvChw4/ONvGYFwV2xovtl
6o94cTsAOTuatjqzIftpKuJOEFnjoneDx2elSuwCsfaVtDrpelvg2WT0PyRD2l3+XJvbd7YyLmh3
lTJkKYjCAluvnWR4jqXHywa2cpkPe8cV5se2iSFlgr1jE0TFLYbUdVA/FUfAGl2tdSRP5IGiJbHt
PctEG9UoowI6yIHZF26U10jwBUwMGxfBhyVxJc0ZBOczRA+A0Nef6XBrV7FLYpHazFYe8cEKd93E
WdQ2DbvlGH+lUTvsLCUQc0aYcNmDljpWA9RkDAiCD0h258qY5Q7/v6/HkzAn2qiog4SlFnuIl8hX
mVdifBI4JkYq0DxVrugW2P56tkWQYYPqnX9L9xBninuJOeSyOjLAFIYou954J2Ff/7TAV+AwLZlm
+QQLU/OTVHfJ9MOMbsCz5l7eus2FqJg8xdgVSqf8Iz2r+rEyV5jRUnvf9O2tnohmK7cezajbAMaj
Y8IfSQPnIjQbMR1HrCFQoHqYZ/NprPMwQ3eykOpgqNO9lqh3q36wYulZnkuBc2weg3frPF3sqmdo
h83xGjBhwLmrPV0b7zDr/3R5Ize/15kZ7tEQZboyST3MYN7Gr+i6a6TkNprXMFNFciWb3+zMFJcF
KKB9N+qRDMHYU9DjHDNQGV1ezFbp+fyT8RDoFs/kIbJgQi3th7Qfd5k+HTR53BvjU2IdCii+VAAl
l+uYOyVpHCgT7JocWNMB5JXtGkSD4q2yLoho2wtHMiKjf4k6Dxczu7rP7IikK8ZYQOyyZJMcjlks
CfpOmw6DkhUrkwEUw6cGOjErvSos4EvVZ7DZBBEhbqlaApaXzVwO9e0/zXBfsVzTxshamDEcPXGl
l8QtvNqFf1K/Mh1I5h1wfYvilsbckEuXmeiHwdp2SGL5MgR0zUkUtyUU3Anxs+Kkx2TfVo1DGnqV
xVnsQNrCU7XJkSqAIfQbyE26kgaiR/TeJ3XZRyOQm+S+L7/m+R1ynaDqfmUyhg1k6muWvsM0nTMv
rwt5ylXqlQ0ogGh7UojkXfbQjY/0YR3c7uWRXpdG08gBQiJYURV1CXNJV7GVhbS/bGrD6yBQohKm
DmQgh+PCVzPGC0kY7ndQvpZt40jR/WUDW2vRQRusA0+BnjEPtDRnKe8klvzKbXqTA3qAbk/0i5T2
3WU7G+9tyDW92+ETAmAp1KXBe1taI3I9WSYAFfHs4Ap70ntynZgT6Iwa0QTzlqNbgGorYCe2gWDi
l2ehFVeplFLk9izVLjw7uwalYvQQAWtwYPIP8uJlovPFYgHv6Jiug1GUg1GF5uKxPvTTRCy0qDXo
3QcytQevmDGnlct0DLJs+hmpffLPYTcYCGNa8QBdoprKPvRZTrfEJTHzDrr3NM1jaLH3d7EU3UY5
eb78Ibc8EoNn6C4qQJN8KtlayqTHpYIdbdLFLVmuagkugC2XPLfAfsHZSiJ7IbIkqRQT7rdV8bhI
d8sU/xsbrLANJgQkIHxaYJM5ysGGLQfJWntlhjm6wmsrweHd8vm36vkfRvjbPx9J3Q8l4oRaoNa8
KK62PqzS4FoZMMXRN3Nt/0VgOjfI+V0JTTtU8aQ1AJ0gAPV6eZyqCcR5qcDXNn3gffcsLgDWZdxD
P0+hwWCQ7+Co/1mnhmAp6htMmD9ErLsNUgD8T+FhxH1kGH2mx3KAufwYrEwJZCmWbPxR23WReWqc
dzmgH2r9VBgxeWhao/Kmri/uiD7qDinM8TQUtbzHYwfVoalqfFWvFG/J+yaM6ylyCImmgz1mwAkX
xL6xlr66meYR1DgEooCxVOQYj+5kT1azEQ2BPvrZQYH+ZV0U+rsea6g4tWVm7o1oIHcV8BTfoHiw
gLJn7bxJkeMA1WTyXKul5LRkbL25WScHj9T2W6dV2XMJ/rPbvFyGQ6PT8SnS496tx1VHx5S1vOt0
+F2M07ViF6DOGGrVGWrDdMoJk+4Eic8uLzoAqNZW2imj3t6bo/Iot+C7iw2z8rRaX0GxR/HK7+VK
PWZLUwTJkgFnhQkWZIk090q06b6yYUx/sez1CO3JypWyafQx6U48uZRml0ogCCk60p0yVVmPurYC
J4bKxrGSC21fm2oOmQq6vhja0BxrGrdelCbWPrfkL2pljW69yukuX6we+4rjvKYZ6gFDbrvrWFlO
wTQ9LHtcvAqaVc5MQZlXocjuNgpZXDVpGjBSzuvdNMi1M+Vx9XtF+uXPdTU9RFFZBhSdpR9607S6
k9axAoE5rc12CbFKHywOGFOIo8lroxrlQLMfvumKIflSa667WTdQEEWubLv5mps3Sq1r9ylRJS8t
8BPVfrSPHdGoP9IYuGezTv24g/Llsq50Z2sQTKbJYoWjMsvX05SgOl9r0RNBFHhSrG7wDLNovapb
jZCOevfdHOr6Gv7ZG37R4ZlB9FlHgak1dj3q/ycdozbX0kxqhwJw4ekzUlotH5qw7VXNMRpaHYq+
yW+oEdWzq+UxdXR5AaCsLOMf5Sx9a7u0cyIJAq9VDWpsMDrFzmJXKiDOdezaaV0fhsJgmuR6E5JB
Qku0m9QvY5/qu3bBf4ICB2b00zTKnLFR5nAmHUZ8k4Xm1zQhpptEpuwWpBr38FA5cqzJHB7MWTav
1VRKd9SWlsopGxqfhrQ0DthO2627GI9TyAoiX54jt5lr6XmxSsXCoDn5rVVL6cqSmnsDAfN7E+tl
GKVlHgKbBrJZHa/naRm731anQBR4mgrBu2yr5AICWIuAZxwlv0/qbwMdZszkrUjhUDwFZTRe64Ac
tyFx6/oR2TfYAEWFApaq8fHs3CRX5ZmgOFxFBaFBmyTuoCf3q6GDPWrIf0jp8Ihq/XGeK98uRBhT
4Vq5l8tolbJUAl0QZF10HMzR7foXaPR+VeYK8l35vszbAPxZbjG/qtV412qYjKf//KlvgYsJAjtg
fkXZk6vjzkWNyqGk0wC6ZOGk/4LIkeCTbt1J5xbYn59lDVSCxF4qI8wU1fKABH0X01xwn28lJucm
uBRrmo2+0jHNCcrsyCt7G8JTUIUaXy8nWNtWUK3F1WdaqMN8XEgzybNmlBUUGGNfXR5pfdtM/9CE
BXoFcOxbmAVCj+bTKzMrMQSUYsYoQJHOK6TX2TiWoD28vI5Pfsdb4bIESHQsRltDgro6RaHi5YfY
Z7wj/b6DoON0FD0vP4m/8fY4H5vaZgJfEAoAvR+FpZ/60Wslg1bYcegOF1zuKLviu+Qz2MnqZ35s
hhPu3C+z5MT/lFaA/ymcMy6QMQPpOSatkqJxY7tyl0ESbS/bvvN4wtvgvFFPKkBcOoqCRJj8bIIZ
eBrTSe5V7+/Mpb89WS5Z46JXKSn2MljURLP2j4fUumJASHJ1Jz5gfhq3L5tPj1BjlW7nzNckxBBH
NBbIHw1+yVwks2qsuBgHM2j6HU3UsNWuk7UTlGA+tWd4K9xTtbLTJe5xx6E9I7sM9Ni6sd8cyz30
qW9EUIlPBUreGrs2zuLWWqpaDmqZNSCkcOIl25f25KzZaz3fqknhDH13SA07nKraiZNIEDQ/weM5
63ylV1aS0aQJzmiKIRSPPo7ZG1RqCJLeGX9X15pr7hLMpghpL/lwzRvmotxq622mm1Bzs4suzOxg
RaZwOf4InIVw4YeWUhIZQ6MEct79Xqf6IdcVT7ckkfIq8/wLJ4PXLZT1rrO1ecbYUpM5qZZ5bR+5
yTD4Yy+iQxW5JuHiii3NE7FjfC7WKWLdjswbj0yzvPLTwLy/vIHM8y4tjAswSVtMqElhYYVxTyHc
XCbPVhx7if6Sk+9NkfqdKXrAiryCizKSocRdCzbWQEr8Ogc5dCYiRnsDbF5aFRdDIHnWj5BMgIbH
m0Ro4mq76FWDoE3I9N8tH0+RIZT8ard2jhTSEIwNmVv583MZEBSdQbYj2GbRmrlwI1dmN8yRaQQZ
Sb0xw1xOVPiXv6ToKHAxRu/7WiuSYUUT5KauAJBKTkCiepeNfKq1fTzSn8bMFJAvSIWNIz3/MA+6
Oz3FB8jXgMxe9hjmUtqLagSfwFK8RS6IqI2lpPZgvI3Jam7dO+xAqJmj4J3pri6uwuCtfyoiomE+
8tc+hBrfx5iNAQrUUzPcEEtLvaIwvHw0XY0+TeT7oKWii/5ygAGO76M1ItmFJi04h9QjNxDjOBHZ
KXNvaRwdGkhAKXSuKTt5g1H46Nv/+U25gDMPZm3PFLbXH9LNuF+uIsj8Ov0Lg5pQVz8OX/Ivl02K
VstFHa3LV7vrMBo5zRgNM1qnlF7zBGzcjcCQID/VZD7YlFLZo26AbMLL9taPeMeGfIwr+ntliNqd
6HxcPoSo0X78jPlYFIM5jIjdo46Sc3WijRISU5RQiHyTCyfARhEwoSBHiozS7UHpqmlPctEdig7s
GiIpuctXhMbjvRJIqUqQ28LHmizceTsypm4z/NQxyVfTF8j5OiP5fdk/PjX93w49esaYT4HW4afB
TKpVCppMcMnpsLhRqPvTVaP65a/mCA5ozKu/kfmnQXSvf0/uCPWgY3L5F2x+yPcfYHDzKaq5dOBp
wHB+WjwkVeM2SY4pYZE4p8gKF9tAPUVKzegQTQFnGDB6TzPcVSKVY5EVLpJhiHzW5lE3gginrTUf
dBAcZuvj5Q3bvhnOdoyLYK0+axE1cOfSAF74bQjZLAo9tC8KXmLtTfxQfr9sUbQsLmxNa6YNiqRi
WTq9oVrvFWR97EsAeC7b2c6fz1bGfshZ9q50qFIZCm4CBoqrRtf8XbyCOcE3/Nk1X9bn8Xr9mgdC
eCf7+J8uoDOzfOhSAMW3NVy1zGy6wzPWjUMjZI1bkS22VZdMcWELHNF2XaXsVl8x1JD6mZCAfzOI
nC2Gi1h1JK8lhsaRAEEMIZGQfxX7NP/eJ8txNl8ypd+RSBBEhN+Ny4iWqZ6oqrEs8Ca+R7+svuuf
7NfmWDyvroLi4+P4ZJcgiBQJw26nLO+L5dFCujb01kJhuPeTx/KePtRhGjIiJ8UFAbgjQ6lD9AU3
b4Qzk1wk0TKqL7LN1tpeTYjMy9DvDOl2Qt4SG6l3+UQI3MXkAsqctCYd2OOZNqMb0/glJeOXyya2
X0FnC+LCCSAnk271b94/+clr6Ud76gxe+ZOGYvI05n0X/N/kQklHtdJSKdJzdb0i0fcue17l0wqy
yHw9qrnoebKdlJytjQsoBW20MsqxtviZ3MjP67546L5L8Er9pbsvZkcV3WZCi1wsGeVChigEjl9H
mrDWp1d71Y56k2WnMZnCRS13s6KEMki0nMKSLMeiaXOUteJr1YtApCLn4WLNHJMkN1i2ma9PUgLl
ZEnETic6C1ys0eNOq6UEFpL42zCBuVIug675VabHLhpFKBtBlOabzA1qyY094rVuX1V7NoMWh9k3
lq7/89FLLin61GoGub/R9zh2dXvdgjhdKg/x9FNw7ti5unAULC6QzJncmEWPGiCITFUvrzywKYTW
k3LIb/XRqWKUdUWxa/tuAOoKCHtMcfP4jRQ4CrVkmcMYxDttl4dTIIWdcGDpL8Lyux3OL/LOqJlO
qQlGaSBJA2M3f4mvlLDcMxQ44F7HYbcKJks3XRHIAxDPYthH4UEi4zjbhmQDJJKu6smmaMP2oPlc
HdAIORhIEVQ1N4/WmTUuLhdrg6anCg6fQR6A2PeSVnClbn6pMwNcUKbzMsBBkBVHBQbpyFL8GMr+
e0JG048nXG2ZiptnqQ+xJWRlFK2N/flZEoax074Glk4PDMK8v72OW/+y64u+FReVQXMTw0IBeiwb
iurja2UMfpkAdTZgbhsqOpetbefLZ3vJhWQCnH5XJzrYEWSyOhiU8mhVXEdl7mYz2PAWyRlbe8ao
1HzbGUPsg+r/ah2NYyZVYdEn9T+Ee7wFl7Ofw4XlNV5LK57hO936K1GuquTX5fVuXrFnfz93+BYV
c1hqbYO6Ta/20yJjDAylKmlWnCazLbdMSsiAdvG3y1ZFXsOlgJj+6hStBPUYGexdJDkKZHYvW9jO
Mt8XxjM/D9VcW7OeY6bu9+hNK8h2yq8VdWJEMRT7gbRUf4AV1oeokGhaR7C4Nyjm2ZEwplJL5AhH
AodwcQyJzFAaFbkp8/pP9wEou3U8uAGl4oHoedZIEc1AfLEcJkzR2r/Ys069AWzcy3YYZXHJXgr+
zZaCXB0TUKyNzI//G00Crg/WumTDOnXsVIZvPjNVGerYDyY6NiU4TKCiFQt5fFV26j4t9900/zUn
SA3iKBAwzJqepjjADECup7sZwBr2pbghPvUVd3pkt/vgmBAMhTq5BzpstXApCPTKYBC512bIPftB
3H3cN7U5qiYanpbirC/Tc/Vq7AaMhIXAOiF5umo9jPqAy++2OXS/lh35KfgWm9//zD53p/RqPNqQ
/ABHiAekyCMmlzzdcBXZ1WFY9jIfLUBSuZMlenVvejeoVtC6ZtqKPNaxIRJaZjnqvsZNVrgst8qA
5Q+6zB1d6O64Ro0pOPlesNzN9Me0MHEBPCmsczdcBAItkK4gd2S5CBDTD+lTFOR7DXXm7kq7FYFI
+UXamL1XmFiTDa5Ky9K5O0eX7E7COwdivYDauNaiXY9lTf/pGeatcFfNSiLD0lYsip0n+5kE6IIE
zc6AULbh5g/jlXh+5VOyxdvk7hOIzSZtpsHmXLjSA6S6wzLEyNN4BGTspAJ8Y4AuVDhKyN8yf1g1
GKkbPh9GTj5mCRiF6Eg0IsWbCqhLz8fGAEJscYf4VsUlGxFbsLXb3+/dHvvzsxAcRUo6mzJechmA
ZRgaOMl6I7iYP82D8mvifKQpGjKZKmxUhZs/T2CrNY7rF/tVv+3B81LeWneM70LeDUcRgyF/9nnL
nN8kEMujqoLdJHnrZXNFsaUr4I6TiLyAD3K8Ic5ZIqUAZXuLJWK4IxzCcTcE7V7dWfvLp5sP7rwZ
Lgfpl76YmgI+SUbF0eTVBdEMcCFBpdXBZUufHty8KS7xICP+Iaxh3PtQMPBSP7nRX3OITOJb7Wyo
hoi8hA9cnMG3ivqZJ9pLPkJt+7+PKPlqeIrvii/scojd9Zd0i7amYIX8w5c3yF1MqVGotF7wzVib
esXgeXywT1ao4R0lohUUnLI3Hqaztc2ZXifyjLUt+l3Tn6b5WbAWgaO/DaOfGVCBX10BF2f+1+2z
wVlBzqZcV7+Zhh00uq+iaymQGtEOqlyuwe8gFzxwq6eYv2PBYw/ddj8+WK4WYqr8TR9A9MgWeaTK
hZEh7TQpXZm1EybhgvRA/MZnb19cAdAjEPZtRf7BBQ99jusSKjZsdXRf4QT8oYnydy4bkX9w4aOf
rUIpC5iS49W1oi+T3XmXPURkgYsckt1bmrLaePhi/HPoMc4kihiC2MTnvHmdxuB0RB2p7xaniXog
rHNnZvNSqWhk4VNtlXM8PslNpqFX9LhW0Dj3xpdmr6HEQ/xVDuWg9tIbUVNUsHn8OyW25lwiHU5X
AcST9ZwTy738dUS+rbGTdnZ+ezPDI5J1zxneA0W4HMHIck1HcRWm6as7ogasaElcnpGMVE1HCo/r
tccGWht2JooOgitRY7/gbElUSgyjMmABMHKwTuRhB1oroKjC/3PruLBgUZDvGD22LrpKbhWvhSp2
szMfkmu0zMPyu0ivdTtBA08BRNvBIMIDXyPVak2z7aBfZKOh1UZAoFeuMv7Wqyq0p8npoO8rWOF2
mH03yTmHbVdpqUM2Dyk9Kg4exGAeJHf5kezKIHkSkRZsf7Z3Y5xjYAypk2rQX+Oz2QdGMjGAbY2G
/y6TeTfDeYeiQgq+NiHxrEkSZG01d9B2cf+oqcLd284r3i1x/mEoRU0H9Q2NBkYQt4e6axKkIS56
vMGb0BCkaNsH690cd2ssqU3tiGJhUt96OR0dKXkR+IPIBHdb1LJksYuXJS7qobzXvPmIJ+yV7ZDD
H1ev8CrcTi/eF8XdHsuqW4s8qHCKr2BHDSSHsT3lT4yeu/i2+uZR/BDavk7eTXL5Z2Wp0zIbEx5a
qpR6KhDiqNlGSVCl0/IARa/p+fKuCjaVx5hO0VwvuRKDdplO+4oaD40SC2rpIhNcwqkl5mhUFFCe
Prmby+OSvl5egsIzN/1xLf65ZzyYdC1ltKMZlp1lLGxWmuKJzMiARUH3E9Cat8RFCY3UhbJ0WApz
wXhx0G63XjSP8UFCoG4/PzI0MnGtr6QDyYozJI6Y60e0nezPzy6YtF2tLq2IGpjJXQ5iOkXMcyYI
9oSLHZhPMPpCwTKTPbkxD4Nb7KPDEDLK/+waiefV7FoH1WtCUcbxFxnO+6fkwogZI+or7MXQTbVx
1Tdj73eFPARg8UX6i3TRgQzh6BGUNsE9lifeADJXqBPpsQ8x9sG/7FksopwXFT9+bsyiftxqtEzm
zJ4iNZAYRYrsq/XRkDG7ab5oIgHiy6EGahsfTSl9kYN0DfGzSAenT37G0Xd1/nl5OX+Rbv1vdyFr
+NGITeOKTDVykzeWKLfyMIX/RsQS2sH4axKSCogWxfnRNGPGECp6BkgA9qDBCOL1aCaigf+/qLO8
r4rzGbTj7EYljYYnu3SzzF53q+zGI+YeQNr0Y/0N7KlXQEyhuzIyZxbEtm3jIHVXTN1UUfHk4rVN
k76B2KIB41HYO9PTANznQ/XQrD8B/3a0q9lXPYxmpvbXbtqLAtJbgvzJQ9/N83C3RB5iFQOlDGQ7
evnO0HcJK/ODFJ02uKkMfwBdbX6Xh1BGdGLXPFq3moNBVDwdi1+qDMF12VuvBiKsf29GqbMfxgX9
KdbbRkLdNCiXvRW3gS5HO4E3b57OMxPc6TS12a76GrGClWrGk+43tpPdlKHl1vs6kO7QBfeqMGmd
XtCuFRnmzmpZWnj+g3IumKJbrWvd3n7ujSfafslTETj8U5fqLQSdLZI7shZYLSeNvf7R1xi98nql
bv8EGFYc1gQ4asWVIeGXoyILZRlB9Ps0/cLb5o5vX61FU8WwzSTTultwJ12Brjes/OJOJJj2aT6M
t8Ud4hTFWK0jOtolWvSaxUAz90Xmg+4laKTJLaLV07ovqp7sWpm+lp12tdLrBIBWbUoCvHaMHo9H
yYt7Y6/2/U2sJb+aQnqM5AiDTt1LZy6xd9n9Lsc2nVfMSKWlq6IIAXsBslUbTAegcwdQOfeymc1z
ZP0vuOmES0EHiGnJyQozBH99u9wOUXDZwF8U/N8tcBEsRRF1AcLDDIZD8qic2uvqjQA93VdHrXNU
T/8Se6JZMUHKBk21jzcRBaUAhOtqOWiHynB6gumc0sYTsu0GsH8UJ02KHgo7uZnV8TqZs1Xg2mxN
n8Lmn7sKhMdH85NMaFVhwjNoupeqTg/rctIlVOnVo0Z/NFkY01HwHZn/XrLIBSt17aOlK1KkVJW6
x9z2TQqIzrwod7Umqnld9kzQIX1cHOmHqoxVuEwONlzZuKbq41BfCbxmMwae7SAXl2iLafZcgpEe
M/hOeY8Jnav0V/ElTp3qug6qML+ZgNIvb0RXniL6dlxUGkYZzMLsRAwu9YbCaR6NH+pzFdRuAyxe
+5J9a67tXXIgr9WdqHwkOCyI8R/3ts/V/x6W/Ll6XE+MuL90u530rVTZ9bpLPbRV1XvBZl8OAuA5
/mhVMstJyXq8Qw0n/ab/bu/ZWx5ai3c13tkHsIpeCRNx5iSX/JWLO0SSxj6RkFQxWSolUE7lYdzp
TlNg7koFKTx4EC4vUnRAuDDUorSpNTpu89wCZ0MENoaTbV/XtBPYESXBb6Hp7P1UZLKRlmwz9bCG
Smx9QFP1Rt1Xz901xru+Wj8vr0vkr2+37Jm9ISakakfcoq3f7GcwC7O+UhHUv0ooPoDlMUj84sk4
ZEcw3+8FtllUufAV355bZ7YXPTMSkAuwhH/2pLcJrPFo+CREfuSJRhIFcedt48+MmcAfKlmGet1Q
RY4q/RxATm9Md5eXJDgKb+isMyNNY0ntSDVAcDuMOo0P2fJ42cAnfBf36HsLAWcWIikfohlS7gD5
gq7uN5ta0/fZs+6NvnpiyhySAIoq2jcuplhLZ6qZjtIqhIRdS71HxuVKq2gCX+j3XBCpG8PKohJZ
K9L/6+IWHCVeh0Yjiu3PaJX9nwVBcBl8jFmyFstTHGtqQPopdzAi1z8bSkYFX0twGbwdvrOPhYRR
HY0Jzwz5YATajrWqFF/dCdE8gnDId2mBe0trtNTRgd5Ve9VvoBJTuoavY3yyhCy5UCLjcknrE4N+
rLT6BGIhdMaSxYnbq8rYmciRunpy8uq0zJYXm5jfHEWCTJu+ePbc4JyESEY9E9a9KPFyUnInau9s
PC8uHzGREc41zFwvk1GCkTUuwYNzlJRDLT9ftrFdSTpbCXefQKJVynUKYpViLEHNZ8Sv49xe5c26
q6QhkKiMTh0QGnuiS0eU5HfdEBWeZSJ/EfwQwWr5oZJI6bOlZK9FNSQ34wm0TFfFjeSPECwbTmjf
HLM7obtuZmfvi+eFClCjnMuWMQcYTDPgmvVxGfwP1QimabRjHDrZAWgGUZD5i2cc9CWggWICNs35
j1ENg6kzSDi7cJRTdZNVDkCVcuMod/Etvc4DdlhY+QlSl367i66LXRP+jdnYzXQC3LL/+yGcj8Wj
pGsY5sGu31V7oNNPkPPwylD61nvS3fzMZkj7L0QQybfvjjOrnNONMsWMNTs+k9ucym/DdQpeFcuV
vtovBkCGkidKSLed689l8nFpXCOIS2UWHm8WqNLscq/l+7EYd5d9WGSFey6lUZ9WMyMbkFvQNI6/
7XZ0bCDhL1sRfDK+2ipbWptPJaxMzbU+lYEcfVVq6kip7F02tJ3Fv38mvtiqrtl/wYLU0170wuv2
GFO6XaG2Ujr5qbgewxnUKcG/i+pndllyc3ZbzRCwrdcc9dCsx5RJrjsWeAfXGCMMZe1k5h30b6B7
aQfSOAr2lv3NnxLBM8vsC59ZXiqTTkuLvR2kwpMbHP3RoInAyF/E3Hdv5DKZeJzUTJ2BT2h9Nv0L
cpYwf2IKopqPh6DoCaoK1sTFmhUlWbouOOLjy+TTPQPGILDfyd6/meH5oz71vjQuntBck9SI6R+3
E31ai7xxhlwPijIWMBlvR+53O1wEwSAuUaq3Q0DrsOpzt55ydwFMubWrU9PVe8FRYEf3gmPwkJLJ
LuzITlmdFg/Xtp2dDrxndfNNLo6kBllRixORZ25uxui8VAKH2e6n2dDgA1SYQOKBc8uyjiY0m/AJ
9XDy55N2Mo71Vf0Vw1h3jPU4QcNp8KTQPuqYIcR0kSeqcW6fi/cfwHmsEsdjkhcAK1tl9agWqIvL
wK1f3uPt6Plug/NTa42XXiVYZFc/liXeERhprRbiX7ayHdQI+PJA+woMLQ/479dinpLRYDixEWy6
QBTUrgSy+8lrnBkPPnBd/XPY/duxeDfKt491WqZrkyPRIAMoilRfu8GzvXXz2TNdBsZrPeNuOKlO
4xYOa0Ksv+lzca996+5A9i8osYl2gHDXVJup+jhFaNcpmBtmkAfMst+U7nxP/ciZ9vTqb9RJ2Ln/
dH7ONoAFqbPAqmljHINglfGo2SHd69DworeKUz6xZqkcDPtpdOavQKwIIdMsElyyzJX5Gq2iYNPD
1v8BNBp3GmDhnRCxsum9Zwvk7qxqIL1RSniJpIXu2gmCA4i8E9kWHJLNuHdmhosEJJVAVWuYajC3
w7UxaS+VYX7DmEkwy6AaorIwL988+WcGuZPf1CRV7B4frkYpC9rLEIcVoaO3n9xnNviTX0HiWW2w
d+PLAkao9GDeMqBAca0HaE25iqgZyZztkktwl9RcF/Zgr7AHKnZIdplA08VXyDLQsskfRKnndvA+
Wx13VU1ES5NeR7LbvYlU5pj0xlDmLj2kIVDn9+zQkz3TWI3dEkDVfzpF9TH0QDvv48lbjMoqzREe
Exe7sey8dNAFAeWyT1p8l8AeMIRsdDpGIUbppkmn/SJRXy67oIjId12dBFf/lkdCPcpgvL5QA+QV
N6CD3E0lpFvxYu2/SLRDPaj/cfmS2Pxm5zY4D5HmYoaYKjyEPBS3yonWTnk9hfMXptSa4kXafVM6
J73NdsNt7k072ye7y79gK8kHnTQEwlRwjn6SrtTTzIr0bFWDRD0Z4DZNqsyhteZMrahzttmahxIt
ZIRVyIRDz+mjg4B1WTUpwx1NKGBTLwqrIP5qevVJu2/AAKK42W7ZGfvs9O8O/rlpLmjao54sMRJU
cKpQT32GuNtu3MV7Br7rvrIRtMubunUJnZvjgmcFhIxZDQsuvuFgkuigW+Ekf+m7L0rznVYiTa6t
Y4FSF8TrIBNhYms/7quWQ1FnKiHtkNGXOrecub6GZpFD850kenhuXumQpVVUzcIn/CRWqaedlSgU
lxz7hnNghwl49eor4lLf+P33pvXf3sx8FD23yX28yCyibKxwRoZDdDX4a1D9zH0rUHa6hrZ7Bz01
KexvSTiGuYchysfL33LzgECfD1P1APB+qvw1mFiNoKeBA9KO7mLdTpRg+jx1hkUPL1varFaAX/ZP
U1zuorZ5sZQEm0s9JWCPNdAV3rYeICMBtNX2tW8ILqi3h/WnrSUYP4LvoOTFzzJo3cpE12Y1qDBw
bnS9Fxm61w2rp644kF3kWiCSzxXrfkwVQOsGY4+Hq5dMYFO0spdOAeJuoKdBSVyQkTv22LrLQveD
1fhpj7ISUQVIj62QDOIsWYc8BqDG/Cxjp2spwhXFg/Y/pF3XctxKkv0iRAAo2FfYNmw2PSm9IEQZ
eO/x9XuK2r1CF7FdczXzoolgxM2uQmZW2nOCu376Fg4z54nhCWCiEGyvlDLw4EEuNwDjcwCqTc9b
MNoqJa/PwAQhIHzpJwxri16uqj+BwnwUQ1l1YgVUc4KZ/SjBhG6FqukZFQoSzST2HDXjHZF5ckg6
9aTtcYcFRjWm5Fw2Aif12QpR1ydkHNKomEndAq7d69MMJprPr6iLATQccwMcR7s5ErMSxUJ5YFeh
Tbqoxygb2g3YjRx2oBBo3MUFwAbqmJyDbRZU1uKYjCaZZdNcCoiL9oNTIa+IXW2PLMpu7zruSsGW
X18LY9xBo1TjAPw2zdPB3OABpVvxRTM+qljAnPLvolEMnAoOTyDzQAN6Y6z1OgJqYv4VTA320v9U
80cEV1bV8/KLLbe6PhzV0lWeZrQDJk46DXla9Iwc0Q7zxjLr7GSOe45X5UliHuMwTiUS5vhm2ZvS
PACXC1/PzjzTVb/WwytIX/3QFtFB5w5GcMxAZ3xJlYOwAy0PyQue9fMHd6UfeeIeMxk3oKp3xZ36
g7u9SHWCdejra2Wci5b1Td2rkPkbsLW14q/NTvdR1LdDL+J4ks2pobU0xpVoRCsDU4M0DJ08VB5o
CXYmikP8ugb1GNeOxXiUog/jaZhyTF11kasN4120YNQ7qtujLiU3wgTmZxXbAOPU8RwM5yMaTFaT
BX2lxEOte2qIrGpxJKucLGxgJy5oJ08jwFpHDHI6esF5iLZdjaSakqkolACMcTXFqMh6I8CJ0klS
FE/Q9o6cwKO5I1qBvC9JTfvTBa+kMb4mQlAXK8tAvyRQwsDxDnpwROU0awSitcNDdvuISa/JY1xN
UY25NIKgCaFOsW/2omlLmBVNQOe57HQ3/hnhUv3Bre8SN0OtTHKDV3nX1BaWZVzcttP4vB7d5ode
3QDjkMyurIdiBGpNi9GhrLut5MKaqmeOM9p0sSsp9Fes3B4JMhFMxTh3dlPeioslvNbY5++/9M7i
Dl8NT9nJx/Bc+Nxa3KYXXAlmnFFWL6JsEAhevgf+sA9ecrd+DsCjK3qZaSfHzsYMkVO6nPPyxDL+
qG/FpGvRmoReId9zgLv/Ko7WdBSRe0kuABhBDyNYmc9r7fC+JuOZoqUqpokAbaUXBSsFJEQ6HaWe
hz20GUqtLpVxSxjHHRAwoma1SIk35t+SUOK4Ac452OEovcXki0hDqVhIgO2DBm38rUl4e+GbU82g
/fw/Z8PORIHdvQvSDMoP3IBD4sSoNcQ70XBpEaJ3zEMZOnGNuYq6OvB6tLwTMp4nTkAglOoIcCo1
AucTYGMAjoCe2yCVOSd72Mwk18dkvA4Jy2RQQHCGY2Z33Q+yi7wRzLffyX3w1jqGJbmNHxtWZlfO
f1AO5/hYdlQqyWIlC0T42PlQf1NcuqSkWfHTDGSB6gMH57rtbZueiZwVZE26ygLqBXoaRgMNH41M
nb4EWFZ266UrrIwAXCkdQuXlurxtY/hHHhuKg+xUktMEOkSWnyP6pzlqENclbEf7KkHdAWjGkswu
d2iVihI73TikJCnNubTp5l9hlXfy7q+iN5BIEkJMHTg2LFpzFlezsZjI+2mlA9hFhSPpB8HVnhRL
sgUDKPeass/shTd3ufnwrwSzJq8USkDbc5qn3WOadqB9VHSNWhlv339EVrKVj67lMYFGZAZ6B+Jx
zSPnwIcvdtKTfEh3kmg12OfUrMktXMwyIL2nk5F2y/uqWw5ABTEzZukpwTs7ohJghT6qesTnuWJY
ehOCEHqU3TQxeLEcTxDzJpBKIDEKLKLXZofUbP1e/7FokcvR0S0zQLvYwKyNpis6y+0eA/NKCLIP
H0PHdFvffCAPypk+d5VP7oQ9r8uweayVQCZwUScz1OoWdr5kRD7OEeJRYVYBB6eFKSdM3D6bKatA
WJLIJxTGhoD0GYRLaGlG72lTWanGKblvn+WPAOYxaI0C+yPUQZfyUwxuwDBWwbPHm4vYOgYwjegR
UPv6tCMmykqMefmMeJMU1JZayodiVn9d1wOODHYRLAAk1qgPdESnumuwJjnrPOCYT+QctOGyOobK
GG4TjpqUKiNyvd7K9v3LcBPvsn15rE6RL2NJFMM0XuGAFwvPanlIb+p9/9jvi9hurByLWDXndd3K
0dY/h/l2BXCTszkCS1yoJ3ZQp07QOoUC9MUFI2ea4WXdu97wml6bT8JaKvOkg2W6EPKsFz39TPE3
woPiAPwXyC/8qj7vk9K/r2N3NA9VWR1Fb2zelaGyOh6I2Zb2r89C/74SMCaRXCQ0nMwbgAbXb53U
+Jia+3pdMzdr+GsxNHBYiSm1UYxHbdGRe31UJez8ucWadIeG9eh0dhlZSARerwvlHY3JAxZsZKZa
hNingB0sybdxVFHb5E1VbTZ410djXHzYS/mglIPoGUE+22gR4t1O0SioxrteS506Kd5DRXrQFuOU
Rgm6XE28By6DCDbROHP+uyMzyUERoOwEoDRMKOl4z6I+jhyZxKqXzvnoXhe12TlYnZudaR2NoC+M
BFZAJzln4F+70w5zDjgWghXQhB9R3uJkJptxylom434IQIBjYzIRp5wWj05WBh7txSheY/OHKzab
h2tpjHfJy7IMezBhexnKBeCu8bsj0JcQwKdoPQl+CYdG0Ye7Z95yKc/DaKyHGYepV4KYeLmg3WhR
hpgorPYYt3zMxvQoKUlulWZyv4TADiXxBADRdPnG+b5bqcP69IzrEegYmrHA1f82WXSHx4/Yl6KS
NSlGI5cvHIkcZ8d2WmZhboc6hUYFX9VOtSietOA2LpqKRn1qcgdonTZ4QzhKtdmQWh+U8U11nZpo
uCEYJGcAc78JkaMGGBuiQ7uLTSEcpBf9PvYxxZzbOmoXeQJXX9RWygsWOa+ZxjisTCFV3Aqgr6RI
ZhR/BtSnPj/N4PhFjXFYcVKZE1GwPKfqs9UG5UPUE1eKFU6jj/c1GV+kp8pAkgguP4z7c6+S1Fq6
v1n9WH06Nv/TZhO1nqAVvartHjPZfK6qZjdUgdfX8l7HopCdduFJ0OSMlxZyTsdCrTdoF+pm/FG8
RJEJg28CnjMdu1zEHTVf4E66bNYR1kdlnNHSNNJSJXB9w1twX+3jnboD7TOg54L9YKmucE/rtPpL
cavcJAdenMU7LeOPMOdSZ0RvdW8Ii8ohaXqYonb0rts/VW+2Prs+If0RqxihnzFhrjd4vApidCe9
yzV7FuKfjVwLvqhp9S4bpMW5LpPq+jWZTPgjCHk5CvjvetWgWr3yWPadUwK+ISgVgPZiuSfjFdmp
N7kmkfE2KDNFKewcS7Nm/iaJpk+Wejc1kRuT4f364TZ7JesbZRyKEZXhGGQTGBaD2zrubcwW+QMm
GKriV4jeeWJ2qISaXoz/f10y62I09PWJosq6ahBUWg1GX6auHNS8BlW7RBRMSz8Nhmp3KXe2ji0j
fIgB+zxYi7da82CgB/9hkOiYCtEOlUehRynFKR989NNNUkmKCI4DlKtxIpbrHqQf2thqoH4Wk9yR
Yiw1RoNdYMexFoAZLmt20v5sq8RJBm6cxb7DVLSKe8Q/koz6E/MRQ72PlL4HuDtBRmc3++YMKisV
WF5WT/eNGzTZGoVjFp8CEFYo80YkKYY0xjbUPVIb4PoRQDqVBS6pxtd8yDAGTpTnDMAjtqBgtlVS
+69znnG0lzVN+hMwXYR5n83Ev4i6UiBzpHuamog+MRPAeYamYpmaAm54aVZ2Utyk7kRt6br28iQz
rjZNzGBqDQFRZmT6en2gfT+5l1DFPLb101TwNoa2vvD6pIy1ZHqtJEoRAyR7T5Mjckz96SB6mBND
gwTU7JyPy/pZ9mIZP1uiWZt2AvxsqWu+2nUWdgytWnmJwsRvR87hWHfHCmMcbCnUsjpoMNEuH526
aPd4pYHGoR6DhLsMsuUO4HdUg06JSZ/g7qUsjodSgcaQpcgtoR3teFHPgM54MvvMC5Zk14nTA5mw
zAhWd47SbLoIjYhArsa6lSGzc01ons5kKBsMieVPqRh7igks0OWnId/l6a2o/GpI75DYv66qbMj4
cb1ER8VYk0TFZJf85HgsesAJ6ggZAXvmGft0/7HW514Xs+XPtZUYxiJ6s047qYAYtcPSi/yYKF8y
hQdXuKEqeCtAey6DNRC9A8bR5W2TiqJeGF6VieZZKsbKrYc+d6o+DQ+lNi/764f6bOa6rECiKGM+
VIfeXMYbiZFifL4wVa9ElSiq95lyauofsR7bafWGZgXnTfwoKq9ffnyri/MxPjWN66gW1d4ATa0r
mVYGx4laGQWP6LAC+6vu7UizAiuxRIvPP/T/SMckn0LxMj+B4xsJGRtlbA28lRhp8IpzdI5/Tkfa
zQA8lSVh2c1R9/07F0ViQ3cUTG4C34Wg1I5i++U1p10vJGlZo8/sE6++j4+0CZVZ0qGbUSggbnXq
Q4u3T/+pUvBx2Zj3xXdV0IkijDI1LcmzSuwMDwyXDvZMLemVAl+CWhczWtwRmA1VkgzIoYEIatTs
GXtlWXqxRj+jdfU3E1OLr1kBVDWlssYvQCDzckfcRc/zvi4sIeFjg3y+Yv1CPGOeAnYzc2RYtG/U
ZtYCELD+J8ac950re/NTfc7PfIX6bK2XMplHC01ioZ57kG2Y0uS16uPY+YYi+wbwDq+bKX2OLs2G
CjIl3VQ0zfzUU4wHY5hHFVVtOVHdGlggPVfEp160htBuJYPNI4W6z0giYj1r6K3f5Y78Pn1GD8yZ
3NajXAuUBIbLlcI5GptEBmlSSJ0JBnRy7n/Vty0mYDoLo5iULI9yMgt7njVuKqoqa+hlwufBPC6N
cWqGpiwrXKaUi5ahSJZUfWvGX6Fp2LMp2E3Bexbpf/DT11M1Ee8xFtKIyDi9PFO6Sjd73Cy60Eet
7nbDJCgWoZUrHaOGCKrMt79QmJVIpvCQjYki9jU+ZihmPrZRrbqL7OsiPhU/PxTmjwy2YWqWRtfi
3aWLdt3N+NV8LW0dzHvYCrW0HVrdTmpYE6/7sq2mK6mMK9UzTU3TBVLr2TXQN9V3sZvb8p2agUwC
RVe4tuyAnWX3+mk31XQllnEvBPYnISHGQAjwVqrm2Ovn/04A40viUW4MdcK5FjCsa9mzoXGHdrfP
AA4knaD7pumMCIDYAcy0hwg62lY+IP4EMiNt5M9Ov0ec7XG7RDyJ9O+rcobZL3FfUnyx0Q5US8Xu
AFYhR8jM9wAMAdgifxNx8x1Q/xyS/n0lUkGIkS0iFnn1+kkQjoX8JSTPf/Op/oigz8JKRBdKoRJT
tPYsXiw5vsmlgOPvP1W6PmxLk02aa2MNSmG0HIDz5ZLTxZkIq5R4TEPQ54Yu6s97BIT7FORJdHJt
jCy6m6RwiUY2v5umEdWkQTV2ki9POCghKjMoN3gAv/KCIM6tHA1iziE/IUL9PuQ/UlgHUjfJmEYU
iUf6bhzqA8DbMWyp31J6pOh2AGzpb15D4Ut/LDlN043YCK/dnxN+JP+rbyjIfRss4G4CYE61p22b
zhq939wVmc0rr2/q5EoY4zwSsYjqPMV1luZ8GJr8JMby45jWL9f18lOHkb1QxsDHRehrle7MVCUI
HqzhrL5GTvU6HZJvmJ05hG+YL3uVH65L3QyCVodjbDzTsF/wAQ6sG+NrtBTnIujOBLwCXcRHVuDd
JGPdYjuOgUbh9rAMS74Lb5UXu8R0tCcE0tntuBeP2bP5xGVT33zBV2dkLD5MElPP8kLy0srMwWso
33WpGgOfuHwSUyDXSFrLeV03b1XXNA1ZAzJBdmgtD5axrkGc5iVgVteV3YT6Sy3e5pnJs8KNs2Fm
BotsEjJLJO6MqxmGvgFk6Ii8Fhg54kvlWbUtPARPymP2ItkH1S4f21fy47rSbDiYC6GMRSCW1Qsh
QDI9jXez8jBO3LooTwJjC3TQedGA/+glsRW3luw2WNn2R6whPhoY6ZKeAW0iOKnIu86ND3dxMsYc
lkU0jEpTdPDpGr7ogq3BMe28tmJfACwH9WjGe/Ezfr9+n1umj0ReRN3F1DTDYPuG0KACuxYfb5Il
4Lmt9pUXOakPoCzFWiB1OsUeL5LeCsYupDJ20bSB1oiUkIoSs0V2dS4Kq8WThPVuOsDW2QsYAlLL
xET5K+fAW/e8PjBV65UDj2JMX2rBh+jZlb+pN+0pPo0gq6hvVLpX4imvYOTgWOWnQQd42It6CaNV
ukSEpaRYy6OtWxRemryjdGEZ5wY1i+jAO+WWEq/LM4wygRDdnIaEHrI2v+VKZzdhxhtLoabGZCcX
R2K/Ya10U0gxsjqHIjJCYT39VvJlsH7MR97Q3PZX+1NvYr5aLlZNA/Af7Ob06KF1o52jrD4g1C0k
HtLsll9b3x2TdeltkykT5cQKAWiZ3OQC1qli1SpzT8lNzvzcVjhxcYlMwFR1bVRJzYdejEA4SN0S
wBeZVe5rz/zCMzvOyRRaA16pfiYL4xQ2SJnTFstiem9LQmMnM3oi2IsR/jU50W+dxxaugUV1pEDM
A0GSQUwwYkantwN/9MnR+KLtJ3t0gCj/WDxH/z66llFGIoBugZ7obJupweyv2VPkn2Ew0Zr/ISj3
113HplGtBDAKj+UwgZAE5zGkr4VZWEDhc65L2ArfL87AqLkpL0ZY9zgDhWPsT4gZoBGo8L1RJj3B
LXYacq7wbXrRX7qfJOF2yjdKHBfyGd2XJnEZw4CiNJHWnaXsRu+C3sq1yFNLklmjqtyXLW9nYlMt
V/fK2EBfl+kUIhTy4r5BlT/fyT1qf6CLyI3B7fX+y/VL3n7yoCHgOgVoEmDRLs1AqKUyaylo0sfj
k1jjAzkKt8KDhs1tYk9fRdnls45svwArqYxLbgWhnPPqI4kGAmZm0YWCGGAmeYBGZIVmFW/ga1uZ
VhLZmHdU1XqMPvBFZlew1F06WZNo1af+p/kquLUD8HtnuNeO8qss2Rm6g0/Xb3oj6MbO95+LZgxG
riYjaoRA9VBZdxep9dHGcYOctwnG/aCM1ZSiFMtNhA86oDw/PszPPShsjpTGQDiQ5+EkHovTxNEi
qpSfXr/V2RhLUetICDsdi+fqkLnhUHzvxhwrzCrQv9oxss3cX9r3un68fqNbtTNcqSJLgMNCb5fN
75uBDGmUwlaks36uYwQSiYcqFlpX4Zd8L/idz6vFbL68K4lMxJ2EhglbQV2kAlEMkJ+tTj3LiWjN
Na+HtekHQGkha3DesspyApdyFM5JhyvVpZtUeGkDw2o6Za+DFzDuGk7ZbNseMWeERrkO0K+Pv68e
w8Xs2zBXcJOU/830yofYpUNI5JC1VnPgDyFtns6Q0MehkB+Ajbj0OnObx4NIoaTNqAJzGeXXRhK6
3EzmuVB4VQrqwj5pJygJ8BjieBq7eINFW3PsCZa0+gNWbT/m4dRb5bF3IqCFZvbAMYbtMAbQOjrd
hsRLz1igjtG7OR9wOApbSpduE7RTFafeD37hkz3HCDYjz5U0xvaivm2XKoBjo0vT4VHalX5uf09u
ZUd859VvN32YiTwaConzseshrS7FJJ3R6IxaEMqCALgL7w2AtXGOtCVGFdH8UhSTFiGpu1lp45zk
DUhKcYGDJ4HD2cru1N30rt2o6LoBdeIGVCy8aHBTpIxen4aumwEgmkuRtQ58wiJpMSc7CVYo/DKK
CoEuL5/+IA5nVREKj8PJqJt96p2qfV8uMmAzPCEILCMtj/20H1WYNFkSYKENdkR0+M3ZmXVhJ3b4
V7qpRG9ZyEloUwtYfR6Ry11stG6UyBYipB2pJDevm51s1E91g/BI+dFkgmVI82B1pmmnKljpK8MP
xt4yQ+ko6AknFNyKk1RsDWGrDSAzIlvnHOuwN1SK/NJ2vSWmkx2gshMcBfQoZ4AxN7yeyVboqWrE
wKQLmsGf6b0zsVPCyUDoKfRub5QHvQ44OCdbfh5NWEnDSBg8FGvCMaq2czsBlajPgA4T9sisUNgU
ejso/ybgg5LrhqobpgrLutS8NM/lQCCwX0lrokNBsvTBUG6bbNfE3aGRtWTHsa4Nd0hnI9C+wLtJ
8LxcChSUoJ4EDUXbBhsUaGjb4WSl9mDHdxTstPDVH9cFbpjWhTzW11eaAHp7ekDzvdZvQvVl5G1e
bdnVhQzmXS57OcnqHCTec6N+C3SpsOTs1ShvhvY72jV2U7p9nZxmsz20avo6TM0OoAipDNq3Ifyp
qpVipdL3KUN5MG2bfd0vpxbhdir8CBTFMqqbZepsqIutjKYlt4k9lsC7z+NTUsXv7ZDtymHhQX1v
PZHodoKFUZckhACME5wiQAwEtHZpKMeI3MEf2o0I7Pv0u2pMHI+7ZVEakVXAN+G5AonapUoMnSA2
/YxgQ0SkJiaW1r9e1wGeAPr3lUc3RyHQKh01dVJXliH/kBWOVm8KoM+tiXACkSDz5s4V6El7BSWR
ODt0WuqGeuBcP8KWS9BWEph31qzCOe+Qk3qDkT/MYpjYiyw6qYRhVACFct9A3oGYz29mbdMrMpJf
YacdWttLXeBpWXRbhIJacLk9tnz46nQf6dPqA0lNLrezAnEU2iHfGb2TOTOWhV/FL+F+RKQ03KfO
9ExmPznJHGfLOeoHzOBKdqTVc6QIyLObEnjqqvheBDpH/zazovX5GAcxl/HUtPR8wm7y0od8p+/A
1AKAgNYhBvihU6+wee2xDccnr2UyVpUZSVEQKnMY39plN5M71Ow4lsuTQe92dXd6UKI/lCLb6/Kv
I2YV8+iuXh6ua/5mQLs+CPNE5XG1tB3Fxlb8CuDm0y68MTBf9oHJyWer4B2JSZTnrsQsnYFrQ9HF
lV8QFCW9FbqpHd/ofmDpL4FgF+m/JvNG+nrxtRgPMgjp1AKKEM9UFjlNfaf+eyZUVgTjQgSSaiSj
7YUGNEhAoUOPaHjtaws7rrT4EViouad2cshstKN5PBk8K2McShgo/zsaUWqTPfeqVSS88HZbhGZS
dAPEZWx6IAntEkUZxjvkpBYsJc4mS+j+LWzJ70v8I4TR+BGIXsGg4RKV4aYWJkuKYoej79vO8I8I
Rt9DeCRFo0ZlnNoX8ZQfSjvYa6rdAPklPKGzjmIKXYgX2+PIK1Rt3CEG9FWaY2HUCYNTlwYtS4Jc
ITHGfkD/MOpYdSL/3tsSRdFoqU8EBTmbXAHlPgsHvcL4ZlY7ZvNrGL9wrm/jpSTAt0XwTJBsm6w/
12o9T4ocA6KyPzgUC9JcHBHDocfYrm9qryvt+jF45RcVtpw8MZDgg8UQd/jpaEZrVKOcYlTzpfMK
TMDLbuYYd4ONwTt0YCmzGe9rbZWg1iJZyPIOqB4mkEoM7JHKqFJLu8DR7eTbxzqFXdi8NHX7iADz
BNgEYnfMp1+qRzfGQdAJGP0t3iZPdMNd73+Q7ppfyYGOpP4HW41U45icFU2LPyIZrzXJaYOdAhyx
c5zupvOWu/K1AvAVAuj7EjS4NvGXW4zh3mtAp3Ob06LaHIXayFiI+dE5ATAF1maYh1RRAokuAhko
qFC/CQDco4AN0pxOqGNSjTfyu6W/a3GMhzGTWE+mpDG8OUt/5Xq6l0M0RCXijHnHAS3cmt65OBrj
aoSgDLU6x9EyyjbuCbc96FeBl5afighbogMaRIGF7cPYq9/BgBZx5G+8tRfimbcWc51KZpawmEml
pdodGb9NKa/+RmMrRoHoWDwtYhK4BLa2MgILlBhY//moUNHPh5FmLD6jr5e5yVfeyvOGA1UA5Y4B
avyjAvbx0kLMfATdmQH/ZkypK5ijk/LWC7fiIQ3LBSg+EMwJYOrjUgTwaKI8ohktLbFHdn4v6DiQ
YvU3YLPtubUpatPM/a2TW/b+6qLqlxzuFjsTr7H8a4hMZ9Z2uYw5pGr6i7fvQhijEXU3YG84gjDt
pPgCuDDVY+iCH/iGUnu3zuj0TyhNYC/1326G4l2/EMx4tqEWzXoxQFyXqKFVB5FlACr0uiPZMOwL
EYwnG4xYVAiFC4+LX/EsWmq+w2Y+0jfe1iJPEBNrpeGgFlGLMfpc6Dw9vGljYqGrYJUx4fnGDXXH
Vh9KsfDRporRiUtdDAoZXHwxvlf+SwMFZX+fRVYArAhLfpPs7qF7Dh3zx/Vr3HAaFyLpT1rlHFmu
AGR4RgEprzCcLCbhd1HOn6a58q7L2dgdpMjOf87GmDIaLUoa0S5B+gKAmMfp2AEVAjDNHVqEPL7J
rRbIhTBG8ed+HIEzj2+W3WgH8wh0Q/v7hKIYDRz4fANccay6h/rcL7MqwimO6EdG9lDu8d0wfq3a
LVx/7fJAwXifjdX+fhKGPkZBCXupltr/qvS3Kb37m08GiHVsl6KU+Sn2G8pCA/UAUGBUSz7gRQPs
Z3hSfaQER17NQt60spUs+u6s9FCPxqwsTBRp0breS9Dzs3yP/pWvWsb9b8zRwEExK3lf/FlyyAnj
0t8FHzBk+37HwyDl/RbGDIukToiYSJj3keP7aP6OIN6Llh40R5xW3eZXXB2aNT5Q6UpkEDBUXICr
fb7BJ7VF+RvnM2482YDk//MZGcuTwU4lDQsyOdBEPZWHYN97s0ORqSlb71/MqlwIYywPs3g9OLCg
M/JIXCP7hrf3bxz/6jiMsTUziDeSCo5/mAHUXBZ7ocN8Mt4X0fiLsu3FYRgrm4kgBGmEwygYVZHz
vUyOwfQoFbdN9XD9I22qHCq2aByAnAwYdJfqX5a9jj4jaqpB/aOlSAOSZqUCVA4Yv9clfZDlfYpA
DHStkNOJssaSiaRjhTIW3UDQvv4GXQpdZR/caXsFEHuLexO61at2U+5LZz4GwPDxR97O4/Zh//wC
5lp17HAaQwpstaCoHtQk29Xm7GhRtQvH9Pv1026+qKvDMvcKSr1A1DIoCybrrNwMsUf19l9JYAGP
UExLOnT3AWqgKl6Qmqd5Np6vi/goeF/5ZOxAMpgzBfwPn0z2m5v6SKfOwKDp1D7oEHIreZEOUP3s
kPkDrwq0sb+MZ/vPBWrUuaz8clkaTV6MEF3cYGaYwpoVu+gh/VL53HSYoxYsvJEczU2XwTwQiQ/O
7LagCUv96Cz8bzBON5hEProm1YBrd8v44LjIM6kK8ZI2TvZEt/ywqv1RoWww9kkxZ9u9gVoe6J33
vCh5q+BwcbmMZzakKuvKGScOTpQFKvDp2oWJklQSY20rcQO354WY9O26dlzWP7dJORETIunGE014
+ufwBLu30fc6m/xRLZ48xlvXLch2YhW8HvqYYeAvcGtQwYyZL6MoNt83/YmIN2LXIm6/McbRztSf
SkScqG09RTF2dfMtFYI7mbxXWmnpSfQkg/0jyjlPJE/zGIcUohmcKtQlmvKvVArtqDlny2L1JQ/m
hadsjDtCk5JgDpIS5FRPw3ibi3iIFSwHzron6KNrZpktpaFz3X1sRhl/TJjtEaOuJ7YAzKRTiAoq
4aUr68sLSHV4D8tGbWmtzezeapeWBjjecYutS3ob8HK7/JZyNU7vqPH/yv3UTrGE48vgxZ5bu5qA
bswboOEdlfFWSm9kHcaAEbFqP8Jw35vvIpc1hSeDavzKIw6mAEyiDBlTgHUGkttZj5kgBezbKE3m
ezOzahmk6VFt8XamOG+ZzngqeV6GLNBwODCM1BhnETrO4DtPAOOORuTbeqdCgLzIdtCci3Tm6Mhm
poQZZg2Ap1j8/TR0NMf5WEY9vG39K3zo9oBys3VXvQ/OxKYDVdw3ZUsnMRahQP0p9hAbV+l6GMtK
hiMZ1WLhrbZ68Sxoz5L8biRfKxRZwatb649SzbnKzbLSSjBbS67zqV7aAUY3fP9AGrCLc/pM/PJJ
Ov0HxfItL7uWRq9hpZNREYZ5jQYBDRAABUTpPTNLvwd1Aa2U2/LDdY9C/SH7iKzFMWYmm7kgNBQY
Omhiu+tOeQ6OyeQxQ6JLfXk3yvZ1gZvVg7VExujEUBcxF4XvqPjGQTwlAFsEEjVgZPkQBpshz1oW
Y2d138VzTi+ToqdUoAkdcJXRTtwRToItb96jYWDNzASv3ydsk1LKi0ipkJnBlRwWLwCHWXUub7H/
Hu8AxeGktoTl/xTse9UtaFp9wGVhag78PshGjuYXnoPh/RzmGQwwldaWCl6noHgJ2299lLpm8V3r
Fn+cjqrC6V1tpvxYu/7n9MxjODfDIsYiQgOUalyMVIUWmcivIi4csWxd1KVQ7U324lC5oUrsth2s
Mmj3I/5ehIOrdEdxIFY3Dzbm2exYQQ9BBBalBtWPQV4hvtaFZsstAGnCWuDo4/Wb+sQwachB/Xuo
MRpKT8zCvYmdL6dNhUOHn1wJHXonI3ficCtM+XNhaOJcWrmJDRdAb4YEDzkBVsLXWldcoiaOIvIw
J7dt4J9vo4uMhZdZFpKAjgEmaGVgv2WPFQkMjqQeD55pMx1dH4q17KxqAC+NF2G0R2ytDTeE5jW3
2ADxez9yNAf0b/bkFw+ypb1qHfBouH2/rRd9/RMYg+8aTHwlKsiDhjdAX5lWsy+8yEM6fG5+GY8U
p2U+cl8m3sdkH1tFMEAcDqG1OziiC1B/0YrO3a51RK/EAEtm54/x+W/qhuujMuG/MGeCIhBkqyQq
953eP6djcKySgfP8bUUSazFM1D+mMqnIAJakRXsY5gQvL2+miv4X2CcIiFomCMIBvyexkCWSUedV
q8zYsZSDL+0IqP78XFS5Ly61PfGYQbYWTrB4bCKK0FWTdmsvLW8R55IEg4rl3DfTUuzO693mCShN
ngke6+ZbhH9bVHtFp/SSr7xvtnWZuopDAiZe/rz+Fc6xEcZ4sLzGAERZel+3T5zXdcsAdIxIAPFK
lD7vJ4z50EyKEBteiQW923QX31dH4UG3dd/81dnRIfKLE3dxlI6msl9wLZRRxaitC9EYIBRcID7Q
Wu2CfCvaUzkdIvWLHGDqM3RVkWvs1HNdE8uoZqPVkVZWCe0/01o9OEN/Cu5gm+B2ml/V/fWb/ege
MtJ005ABm0DByzACf6k4wDHEFmFQGl6AdGdf/qIt7ymyBFfFFnSHAVUXAK1o90dHSm6lPMj3EifI
2NAe/AJTxoK1hJFyg/EzQ5rVVVyjhVoKlZWHnUXwWv7VKf/IYD7lMhpxVFeQodwPjnnTupTkHSAS
dm03km3eGrjfE90GU94BS/lMEovrTje0yRA/tjTQqoCxMBYa1igXVGKOn+DnDz1Qknsve5B3ocNz
PFtd/gtJ9MJXsXYlV8M4B5DUvXU9YBgpvXu8m6FFnTW43dG09fvwDiic0U458p7Lrf1y7PYhlYFK
ATmLnTAXMrHWIg0zBlgaAIG9U3zpHies2/XAwQaX9136NDzEHs9YP6Fho6ELsWDbwFohhH5iTM4G
PR4EzBZQuDYpteuTBrzr1Ap+gIIdrQSgOML/LW7uja/CE/lRv+eP5p539xt+ii42yqiT65r4CdeQ
4AcKdEHBq6TIWuTJGovYz8b76+q8lbshKkVpnKJ/mYSd1m7a2QxTDcxPdAtn2J8o9Cbx+/2ODyuz
lRBjdUrE9hTKMGg2MHrbGC32P8jH96z2xY/oe+IAcMvtb+ofzT3/Q254gwtxjPLWwSSHxgJxTTVi
T6u1Iu7E2MbLDBF0Zkw1gE/LbpDoUpAVcY+JMXIuvy3fsYWDQmryP6Rd13LcurL9IlYxh1fmCZpR
tqwXliV7M+fMr78L43O2KIh3sM/2g8t2qUpNAI3uRoe13rLESr0Wk5mhpZXW6NcOy0tvaQeQeWRQ
3SBTIWmUZVeBdbf0HWxtyu/q9N2Q7kKO0f6ytTbglcmiAf3AhB1lzmOlK7MyhKFr2nI2Acd/bwTz
PlGLk1iNOxWD59dVcWtJMjwEmvsUYIfT/S+y2LeL0qPbpq2fQdhlIVlscsH7dSFbj2sDUMKKgmIQ
ATiiNi5J0ZAS6rjcGniXJJ/0pk+W7Bb7wmK6340d/CSLemMmIpeA+WwEg9MxuFvs/r7TTYIMQKbn
M7+4K340pwYcZPG364vcUPxPcqmTm+f4P52S8VI6TSqgSzdWGvOPhNAwBO04jb0qko0E61gvhvjj
XJew8fDEFB3Gpcg0HbBdqSdgo3BSJ3ZQiDStjnqc7uV+weQ81+/apLWNCJSGc9rk7nWpxH9TUcwn
qdRrUEBGZAGQJdS+VNrOzgFWzludLNaPnTREZqxFvH9d4lZv5CeRlF3s+CiYpgJWpHUyBRzeZgWO
49AxnM4Bb1DeOf+Q4n0jPPwklzKQYKSJ4HdwhNykPhSK9h4K4+3QGwc9GpxGMu5LhbeAsvLexv0J
nbcnzRDwZJtly+Dhj7nhnOBju7K14rJ9aPro1Ujb01RlJ1HIGNaBuUnEfKxCESGf9XAW4Q8Tw1ze
Ryc8VC5QwEEDkhDASN1sUcUFtCgz2traJfTPCHgLAVEZrviz4EE2om6aIbi9PF4lO92LtwTfJvPT
M2tOe2OZwIcF5htMu6oAxZnShWKcmlSUL32V87PYmjwKZDYxGbzLP6rf2rP2nDLhDTeKcwjzdHLP
QPP11Y8pU9JlCfHM0a47lveFvZj5jVqhu3+xJAsssN+k79eV/us1+yTxkpRZHWc5JEPTT5AoxPeI
bhxDuDGWe0lgbijZsM/3+bMgyopUwI2fgxGCyBtosXMHQQd5iIDRt7L6AyuvyFoXZT56qS+nXoQ4
RWqcYtRnc0orYjZSO0E+y7y+i18tPRaHQWMe/JpoE6G1JS/ruO0CSKvbX+BXM4WElR1jSaBsRFkY
szKqIRptOWN+49qCt0ZOaRj50a++//M6qMutagXK/iqMbqyO3QvXVakpBkr5UgoSiyBq84at94yc
4ErzBrEUElnBnhHEo2RHEtG1ZdzzD50z25nDH4wdKxJgLY8OOpQoEfiO09xFeU/6u3BBg73KePtu
yyDPb9SbVFRwPy9L7xcJyHg4qFatMKooCCdUtk4TMM0ZlnhbIz4EURq+RNykc3gGu4VYZCbStG4W
go3pf1Zs1MzwAMOstGF8CT77ZNH1aYAQTep2PDf5slQ+/JEIulTcI9EkzsmEDZPRfjGB4CATvesi
Nl488Bkfy6DLxLHYZjoZ+YbvIPMk2iFDi0dnEo6ctkB6l+klv6YGPgukDkeMwVTRa9i3NJxsae4t
o43sFsETyEdy+Oq+fsjmzgWfRILh4oyxXqLHlK39tFzKebWiVMtTH2DAIsruoloyS22xZeMoT4I5
YgaYsbtEpb+IA/I/AVJBIz4dy89DpzdTkkp4qM8OCEhcRIThkWxu5U3MYY6v4Si2diWNiuZrDOp2
MZhrXMxkY8APLz1Q9mFQhwRqQN1BTi3DmE79UFisjMRGheKzaCoESTpe4sYY1JnJjvTOCH5zmIF1
l+xZIDwbRmS9Rjqob9pwWgQB+qpLA3+OgGZvanUhP3YLk2Jkw1F+EkXZqyEHXlmmI/EA78w/G1Mk
/Rj6GsCeeLZl92E2ZSyUts278XGAMnU32rHGk8JIZHcc8pdY49DVntsRJ1p1rftKku7aWDgtRXVq
Fca0yobJ/LRW6l5IILdHOgTpX0DuJKbUtjsg3zJc6JZfQ/cyBu4xf4dHNJ0S0PKWr8Ia+tk3birs
C+DaorCEXkOTyw86RpyQjahQIGc5t61LrwiIPQADoWLYifLdcatUA6AgNTduZ24XGCEGk+PZTko1
9kI91G0xSCuHcfXJWdFXH4kPzMvwyLx8gS2t25SfUx61HRRPdUsECpeB1rlENccdmaxi3kCWPEp3
UB4G9NeIzQXPEkhN3HCvOOVRsBI/c/4BsiZLHKUwuZbUi9pD3GgVuwUj7cGuOEwWevwJCD+DoGZL
O9d7SYV4owo6SRG9Wm43FKC714IHrRIZ3d/EQl07L0pJpinkOT6ADNJnABpJf3QjTOOwon3aqBBy
Xg2ZAjxldAX/pmK7MS1ao4/B0qZpAfghb5t6Qq+5aIcR4/lCG0paELkUqyBSSKqwC3Ig2BbZse9H
e9LsxWAlQL48y2gplMsZWxl9AxzaB5sXcTaTn5GV7tEjgcw7ZtAC4IK/R3tkXq7fLVodfgtFJyxg
0kHlQQ9D5+lSDEmSaoCRzs5xHr2VmsS6vtvb9yGDUrkOrLS5sRQaru/oDLfpXX/p/QgeRjvx23NF
kmJv15fFEkl+vjqxLI/lfszBXxbqFoDETGi9yXE/rwuhbSG9d5T+pVNscKKOdRUTyGfT0SzK1DbG
Y6Vhoipl7SJ9qWhplBImVRV1opxjFxsz/qG9t6f5xN8svmorlZWcZBTzjb3s1zvA0+5ZeRHWflK6
OUy51oL4F62teu+kqmxLoXjWO0YSmqWMVOQT5nqbiBmkoEcptGN1yOy4YHWqfnGd1EbSfe16aGC4
vLioowBmIAz/uHFtqreE/gSjI358bnmTSZlDjPjaJtJSqQhoAak7HrmQmj5Ht7G/+J0fuMt+sQCK
4YUuqz67bRv/vnN0d/tUDPrI19jKYvnWBg96GpvoYUVwwJq6YG4n5b1kIQmFQoPOkxEx3ll2SIBg
FgdI2AT4tL8dU4QhLIg3cVNVCPIaMBzQvkC3P4aIfoYeTQ1u/BdmgtNn4T24C/YKYOXCG/2o7kKv
f9HuioNwF93PR8LFHnnBSWVcys1r8fEVdC+kEGpCqSvgQOOrw5S9qMCJnxMWxiL9FLloDpkolyUF
lEB0YXQo+1hSBixVAAhHPZ6LyFWzfRKnthyFVsKk59tUnZU8yqzFfJXKkw55F5BoTGPo3xECOeFN
axM09fIhuSt+sVpBvpR/f68SyS1eQm4SxcnPFntWZ0GbSmCpD+/GMULlGfSACIQMPGPNFtsK1AAS
z7IKr5t6JH6IJT9fOYoxNkC8GKAFpUPRO34s5sfrPmJTQ0CPRxKthOCDvvZyEAbCjP6aTDS1xhnQ
EtE+/wsRyAJhdh2Y/mhv/7yEMMOMt5ZCRCecgJbilkIDIj7euy5l09lJqMzohNqMpyEdtKTrVD0T
NJeA5RnPPB9bieDwTWKJ46/rorYjIbwtQN0mSmCvIZu6OpTayDuxCSXtP1lcsP34+RPhWjc8krLT
bllasG3EVhIpnVelkosMngMVdc3hNbOEfpbFnjpXsxnG41mZc5ShMuAtGvu6So6h1ByLPDZLLncU
GbDmvZ4z9nvzFq6+iHL32jBGWZ9oONUJyMZDYPXicxs+cTzD57LkUJ69kVseLzaca7ycVeUkdOB4
bc5BLTICTeYWU2o6pLqWzRqBjIksXTFJDqd+knJz0azqL95AiWXwjJ0628GP6+q0GTjJgCIBHImG
2g5lWeIKXfScjkGUMRhNAwWIyeGK2prVxdPasyJ4RmM410VubupKJGVVwKgDDGcBm5rpWmgJSf3M
ZYCUSIXFDDWVdV02HcRKGnVduDpeuBwvdgzXa+8gv3iI4X4L4GOrj2Dkk7zq0p+kJlYyMfGivyQ9
L3Z7JZy6OVkqVkszY3dJ/0xhZ2f9Z7xTTdLVSshca1aueFuPZKB4wtYJyhfuQT0X6iUENpDLe9yD
7iluUzv5kwog8PRW9eed+sa2D9s7/CGTvOBXBonTurEVapynNiR2quk/AY96nIZ0X+WBzYWCmero
27muQ5ueSdZ14HoCkeQLDyBfaLrMRTDr7fA0c4kFGkD3uoRNLUUGCSkVwRC+dEdwWabURUwaBqPJ
zkNfFG4aQjMVFH8oiLIx2RKKfVQaiGAGzW7rA5fGfsAd4ry0r69oc89WK6JsTKsrURnJSL2lBnBO
ODSylPfXJWzvGcYIAeKo6l941Ra+BOXRDNLWQeosQy/AzOy3mlOmFeP4v/SuXC4Woj2k2YBL86Uh
Ioy4Gf04WEvRJfdDBuzGmM/O/aKfoHwYNpwttVStQBC9sRwdrelfrq9UojOo9AdQSj9masclSvq7
ljqgV370Jn/Ytdbkq7vYCv18n3u1PTiCQ1j4GrOxIp/gFkhIkgVWfGYhMG6GIKsdoQx52ORak4fw
IC1KHU18LMTbobk3ltzpWMdMTOaX19pKFGXAMd4lhoKBqyEvNzmqJwP8f8TqLmUJoex22XFyq9VI
igvyrwTkFMr0VKqMfvVNy7VaCNHnleUSuSHUwhDBvNjqB20+yoruxBlvG+g6Gb93ydt1pWEtiYpa
2j7txSiBuLlpBKuIs1Mmg6Cs4BTGTd906qt1USZliupOaHjcDi6prK54CdVj3PsjRmqqzMlb0dKY
gOlEva7pBGVcxAmp+DEj5hIDxv0PTHMAmjP6dpniOEV3zBlqxl4q5H6ujk4IhLwfM6iH7IV+6gDY
6ymx46duXz4OXvWk7TC7sbt+fJvWDRia6MaH0/nCBTiGbRRyKa58PWtW32X2EHqCXJpNWjrXJW1a
6g9JdEdIkg3pMJU4PxlhdMTZlc4yoNua//daLvZ1tX2zUeRGgqjT7fldBdzypkcKtTktcmbX4y2a
Dv7Hss9vc/khjzKXciUYmGDCA3YcMrMNeUuJnq/v2Xastdo0ygDWcZ/VUw8N5L1ip7j5fjkMPnrI
dsq+2HO33CND3rY6AFscffagrvhSZMoWnZ8LbOHgql59IuTdKaZ/0U4j2rFdoMSUwtyzco3bqQAM
bfxXLHW3xy6al7D/3fF+SB6z29zHrLVfHdRz+5LvEj+1qyfWyOLmbcPjmYCliSTk+nzbwmrga71G
jKKU5yQ5L2AGyfu/GBu6aUJWQsiGr3QSbAVyn5GVqXf6HtCq1nJoDjpI6shOAmTO/0N5lDlWlURu
whiNw8pZBevmdMhRN1NNEeWY3C08VnHwC5zH5Q6s1kedXC/JRT0MxKOd53uSwmkRMlSHNHVkYLJV
l/5XJPyfWBOXm9ZkJZcyzWh/mOoSrz8XrBaWqqcgJrhjbOWmOfkQQVtjuUtTbl6IObHyzBxya34a
jjyGeszqTcZ4RKTb6fcBxHsthttYV4KhnAqVReKGUZWTAXqTF4Y1yGfQQ1j5wnCpX0YhqNNTKAs2
gsJ3zhUy0nPDnXN/OmBK905FEg4QTvsQM97gsQJcCHB/LW5HiAeFXcqIHxgHSZej2kYdcj7UNbce
X+f0ZyimFuMcGVdQIV+wuoK9NtSRVqNzat7X5mRrh9L6fSmKe8SvTLzm7TBeAxooUpqEFpyy2UrP
SRma4BGA5ZHFFb2nF68LZmkW8F6IgimJngYWm+hHqz1eX+mXCa3fx/khmVpp1fw3Yzfe5c/6vr9v
0VwaeyBBbw4amE01s3HyR8mJUPPA7OkNfGSS2IyP2N5uQ8N0IQ8nQjeq1e2Qt2DmxGt9H/steDFJ
S0v7JCRW9rb4oB9Ez2nkiwcV7byPQQ5DWFmZx8rvkaV+Cd20j6+gNFtfYihVhq+omvxbmLTW3A4/
r69083GyEkGdcy8IWdkrneaqbX1eJvXb0M27Ts1HC7Pnr5mcMUI1YtK+LAlAf4JAXLNIz9/JwSAU
SoQlTeFyixnfwanmCvAj06vEA2IoHANTjXsnU6uGdabE2lwRTZtCYcmQFyXl8HhGk7RokT6lyl2O
PY4X9FYnyRIfp/3iZc/zUX8bfYGx9M2t/lg6bQ1BhsHpVQu61waMp+ibMHt0JE6AXVGWOylO3esH
+2Us7nKPVuIo5SlroajCBskf0RPc8KCgdjei7hrcFj7atO3yXPzqLMDdgJSEhfqy6XRWoimlqgQE
fEgOoYrHD/daIHjVwPlyvOyyNn4N6t4HwCwrh/IFvYBeL7lMKwsZh/041CEST9Gu/wthirMcyLz6
6BktHjzS/a0CQnKw0IEytARSRYb+u+KuuvFZ5fXNS7taPBWRaYFsJGGCzOIg3tY9cmzpy/WT3Qxv
VwKoaEyVgNIQiBCQt7Ezc3/VomgaXGGX4uhdl7TtBVaiqEDMkDpNqdHT6BrzQzu1VlG6OSIGpTjE
Q3rSl+e8V9HKdTaWnpHfZ+0iFZLleZeGfQo7sYDExRQr4Sk0RMW5vj6WECr+0sIMcH7Eyis8Bgp5
LjNhaB+uy2DtIV23r0uASHKkKiTCpGXBuO8aUMfXmVumqj3Ui9VNjVUp6aGtYQwrgbGRIsPs0KW8
aNazplagLnFmJo/5bBq+ttOdfo/svlm4JBugOPItoWDmftU24QrOMhO0WYSwiGPiLW/GhISei3Ay
KUiGf76mYZhoQl3BCodhA+Cwo1I39lKyjN/2oj+kUOoTLW0bFBf16c3O1kBqCtRvT9wlgIJF88Li
NF7mlZjxZjbhbTu4D8mUToV8noVFjQKYLQlmO5vpXx0QNBY8JwzwDYCGAuxIL71bgq8u2rP6C7YV
+m/hNNEM2v/qtkW5ytUxDcn1z4bMeE8wVncJ3lZGVsqbRSt7CEh26OH0Br93650Ihbp+abZN3Mc6
KN8lC1wqyTEuJkYTc5ML0XFrdKCjCBawh2Qpa35k++n+oZSXJ8ZqWVM6dYtAopLe0r3stt4TaN3s
TLpBNI/A7qfv7NHfLx3Tvz3WxyrJaa6kjkkl8h0xP4Z4jJQfnOQOk5PL3yrQKwGb2RYXp8Vg3fWt
/X/igg+plH+aO6VvugIKWpTq+CwbqPAJkSQ7qKmABSY0EAr1XGApALB6qGK5AEBBJoISjx/IjOYE
SCmtz+cDau0RQjUVIblagENGXjrdArpg5E6VZrD6hlkKQd2qaVbztOShd4QkRzhm7uBP30grknZX
P5KSHeZhvFEzr+8Vw4pcSg2rA9LrRO8NAQfUhfldXnLmHN5m1f3Av0pheXtdlrAdNP19LhL1WObr
KOO1hRRfj6o32Zwp+Bqw2ve1Z1jVbIXIlpGZgTiwy2+sEsUX4KuLKho8T0YUCHEopRRSkgIskKzU
8Pl97Y+4BgT6sgdd4z63CiC5m7/ivXFqXd7N0GqWAHIFr597yQRx8y0rIbO5FZinUQi+AcgNqK1Y
qh5jrPWE53TT2Uqs3QKd3RnRD4l+sD3gmZ+NumZdi+3Xwd/bfwkvV2etiRVoCQ1oWHDTPAKv4qZx
ysfS5k02oNml9enrS+RDFuUDVQ5uvqiQc+3c5FE4zk/xfvLbX6lXOfk9eHZtdbecFsAs6Yfil2QO
LrdXkLJkZkov/uDah1BukueLAj4DeYvWSW571AcG0RRswY896S2sgaCoeLhehcntUzvajweWt9zO
3axOmjL06dwEY5As2AnMuXGgINdHM9FNEZRovuAJgGufC7TLT06KPwT0NbhX7+XGWlhp903PufoQ
6smSFHWU88aIeDNAFNb9ahcWmdh2e9BKBGXuJYCJjkOAyGdwAS33l+ZPSIJrN5dEgtndhLhU103K
prNeCaQuddNoA1ehP+1SiZHQuTle5nFYPXDbFdeVHOpBIo9Vqi01Fsbvw+fyR2OLe/Ev5RyqZn1K
ncCuHolO6yi+gsSmOAXn+dg5sgtElmU/PEtARGTfsU2Hsfom6orlkTgHeo0rZnQNgIs0E0UwM+fe
gmVkjOywNIe6Q3KgivPIYZenodhPxW2m9/+mRLNaC+X8WqNYoqGCOUS3oc2JfoVHw3VNYRhc2tGl
DQizuAzaP2u6WUvlTaIG5pwVx0Hsn5Iyzy0hVO3rMhn7Rvu7Zi6DbBKwqsbAywREut8J0e51Gdul
p4+tkyj7InZckRgT/Bqhu5Mt5YB5uMEckL1DngkbabKoCrY7fFcSKUMSpON/KteztbiV3TsKqglw
oZWD+H/+PvgYxEtMwQOonF15xm3Om8WIopup37OKzaxTpQ1O0IxtnOJejlNuaoFq5lJlC0W+ywbg
I+5bMKwztnuz92K1eMrihPIUxy1pICNcUrEv+PIOIP1YJ6tExFoaZXKmGENqmJDGQyd8WapoNxWo
kqZnLnpu58NYs4h7yHd/8ZOrdVHWJE1m0E0suB/t0tdWrJYuHlqDlesV47XOMNkSWfcqCsm4pBfR
dkSSWPq+9XRQQxj7xmOZbNbdoyyKVI7hlIpYTyOrppyIdi/KDJPCMMBfpjS7KFabDv1uY4NUZ9Qs
33MdpexcN5xZDnbXFY9xPjIVMCpQhyFEp5ircvKdQpqOlLp0VCRZrsvZTuZ8KAI9npmI8Zz2GqJE
seUf9Ew5od/qKAx3ctc5WTftS1UfzFECUVBdvyZiyPAErHVSxgW86RGnjBAfDflzvPQOp/VvzSS9
XV8mQz1kynDwaRpIYQrTrMt8YOtqmFnhvDDObDsKXu0lZSzapFs4qYWx0M71D9mZ983uN81A+Aoa
BX8icIe4aLvWN+wII4U1srbopmdiUrM2lbIlIldkTUaSDaNwDpLy0Oq5OReLd31PGRZLpkwIAS5J
lp6kp0FIZyZZf5xIL6GIwrYwPI3Sclen6ft1meR3XjFbMmVNAtRbx4E8KUVucpOuP/FZCmDOCbjo
Sv8sJhHjSL8Atf1+Rv79cKOrO4Zatf3YYCsTmK/CDRDyEeZVVFZIqe7PLAxdz+HEpdZq4mziKDGz
+m6Z3ob21WC2rzD0g67b6HokD2GISzfv0xOXu+lh/FXeNH7jTI4MtPLWVr9VzMkSllQqclE6pYmi
ElvJxU+FkTpj47RyzNhC1puELlxHZc8X4ghHAGQ99Eshk4JqZ+zFO+MOGWCkSf9tBvjj3tOl7LFL
glQj4WwxYyBVMx6LnLOSpnm5rvwMI6ZQ5qVvmxE4D4h+utl4mjrlrMWzf10E6/mqUKYjj40m1SSS
NHhtMzPw6szkPXG2oiP+S0aiL8zKgt2/hI8GdrVR8ALLbdgyxpcwbjrNISQVS5KKU4S3JfeKmVnk
nrl7vY69SI8OExCUr69bYiknZVjiGH1vaYBnO3L3roB1AvfypXvB8ms/ORY7gwxB2epRtStH2qeA
u2ic2OEs/O8eqGheckA61YntZv8vsPcpI6RQwU1aJHKK6SXyceCDsPM9cgodmgbIFFhxFwJqgBUV
MFSNLvGoir6UInkAE162+sKxkVvJN+MO8912iuMWGMlCsr9XDDtd0ynkdlRnA0uMwsMSvcZlZPZz
YktleOC5xq4yZjWZtUTKHJUq8CW5ljhJZIl4IIpED3UNFr/B4jzpKbtRvrPMO+vtRtMPSbOqBzU6
Ot1xv7zoewnsv/ztdGfc4Aq5o4++j+tazVoi+fkq9m7CZEhK8pAX8xyshMhpayCa/EOLSw+JiWGN
2bEc1m+0qqPyILygo0YCcHVu6ccaHEMTIKtZ5ZQvmO7UlVApOyVwhZL0pDZu+L2j6hYyq2gfir3W
TZ3Qid40Dy4aoVVgyQcQL8Hos97FrM2lwh8+UZteujgavq3NOGqsLBlZI6csIZRZatJQF3oOZmkW
w700hsdckFkhDsPS0oijWgWCQIw9kIyCvBceBjs/tcDmilzFGd40Kz/qpQnQvQdW98h2tejDbdJQ
UFySGW1DwtSmuyFPtnRQrDoEZ+1OKA5VNjj6HB6biaWvjCc9jQ5ldEkYBMTUKPXdnIV22qg2MJTA
8WCn8mzlMkCziztxfL9+GVkvLY0yOLHRCl3eY7kE0bA/xXvA3gBbRHVnn4VTy7CmNOSvOrVzVBg9
Lv4ICOMol2/kSM3NGiwYVTrtpgwp2ulPzZtGmRteWIQcI8X/SX0PpnAgvF/Aljh0NwMogFkCiduj
fQYw+HRRA3mDJtMhQgx20jKZ0YU97yW3QgEt3HFe57FszabZXsuhLmHLNVleRpfu6waBQAbmhthr
/N9TsEFiscAMmQIpfx+UrSRHORaGhi5rsatLS8NymlGoAoY7EydvM+hbLZD29qKm4PoRcP7OFtzm
NntP76ufsAGefLt4+bE/8iDUKrzanU6jLTgduk4VVrmCcZh0AMCloo4aLtZMhiwk0PKBHA+90czD
JI7hitLQeAxzwvV1MeMwJ5DhdC+DHX0nQa16K/9sXeOuukcS9el/pUAm3mq9wdJnRyzOYaACa0t3
4Sv3YlDao1I4ABpnmbYtd7GWQ91AcZRDsQHXLhRnsYHjLFjzBOowDW9WyRof8bZLI1NjHR1LX+kI
IB6MYMoT6I9+QxrzErQayI/kmUy66dlN2CxVoXx/LJQNAHSgKsUCx1s+tfUTJ5RmKbwVxnns/Clm
gS9uvQ7W+0r5+izAAKBABjRr7kFdeKdUG0tMXhgOgiWFsjNSnGhztiDnl8VmvAB5P0S/n/69l0wl
NdUHzkvfU1vVULP/F3HienmUvZmHpgjQFYe8Q/mznDtLmRhL29ZLWGmAtgM5jEbOSBrgc8ilDr3k
MmD7A+QlLGzG7m2FMQDD+FsGpRXjELVRAvh+N5h3SYzGsMVOEjO/i+zBLBozM+fILnuEhTlGZlhl
X5ZwSkGmoa56wMoAVCbHSCQfgH6xzk5dZeRmOleHUmAmpojJ+GrHPpZLKQsnz2qoirBj2a7+Idip
U1r6TrYVNPcIv/4BATnrCCkdGdU8xvwlrsDg8lazU60GSJo3GrBlAnPygBwbuqxN3YyYVkdKF/FG
btCbJCeOtxisNkvNVnWMsHU57iA3tdnUJ50DlM4AlKCBySNIwrErG0xX8xQwhHVRjhGaFHA64aF9
isCmopqCJR4rT2W0A217pb9Pk67q6bWQtdmElVZlZZa1ayjgBo1/SNXT9VvCOEUagkEruMyQOZyi
AoDCeD6N4tufCSAfsHpyTmImp0qMXSvVw7g8pnhzXhewOdq0VgpiRVcSsrQvcqWCjwMrwm3+o37u
SjO8TDQsp6YhoOTxT+Gm8sYDK97cts8fh0RZGJ3TtEnmYWGEcbaaWTSzSDEBo7+7vkLWGVG2xMDo
jWA0OKMojH5paeXNvfL8ZyIo4yHLbTnVFcyVIBfHSFDeIzFsGcHIBe7m2gWiLAZKO+OghliH7I1O
86jssp2MWbsSw+qaVe7mJwH5D8JqNTmimbrkco2YaxpuIgCQhA+s0S2GiabLd12CuZMW1CSukrld
iok/KbZaZA6C5TZdWGfIEkaV70AaEwH5B2vvBoQoXGn17VNlHIbSGafAuX6YDLWkK3hypSqyPmMa
v4kVS35O9R8xEll/JoMKYMe2VJKII/ZJ+sWPIwa7wZysMgEKGapPl+lG0KiGgPUhToY7T0eudi7k
3Gdhbyzw2+mDBk5a9/rSGKaXnjet65HnODJbG6NrXVYzR5U6UxCfUdBi3AiWJPLzleUCIGvEVegO
RI36pxzv5+i95H6gKZVxVpvALCsLSRfmRmkuqizGigjqpwqQZukIFtwT1yKI5N3O6it79FmEreQ2
X7ntdGUOA/lTqZY4ukrg7CJ5qMYXNR/MLHlOYSlT6ciVT9cP7tI0eU0kZWBGhZekgpxc68T3qgdq
ih3J3Ad2fSPeBi6hHG9vm5sMXaY8GmpZHRuMO05X62Q5EKq5g0FJpdme0E/aV/d9ALdalvsQHX2M
1W6lrVanShftCm7OGyHDIyt8VvfDwwjYpuY8+cv9ZKW3jRXb5ZFgswHr58SGxt3sq1xLFz/rrjKp
qDyhexg61ewEvCmr26GzQlRAxgy8OvlP6QdmPm4CS3W0c3PDfLaT33/lrOmyns4J4hhkOGvyxASo
xDcNZZfFqm8bb/RZMQbDDNH1vIgLalAHYLElXhBt/6IUDNVlCSAmfWUJ8kzpi0hFypzvx7taAxpU
Vbxf1xfiwq9tGGVslAGRsyZBXaIcXcb5wzjyrsa/6pFmc63b9DrL6mwKBB4oaAM0GThUlIsIm3mM
NDLiPrzkJ9lKwT5IUKhIvRCVQ4sHbLNkqd/+Ac8p+c1flrqSTHZ7tZsTHiYxR4bd0Ur/WN8BGwES
VTP92eFWhMy33rbdWcmjTk+f6yHoiHrUTukTQqvKhRGPn2IHf3UHNDh5844AMtRnzla+czZLP7dD
q9UXUIeLJ1GtygWngQCtf36VdofD4FZ4ky3oc8bltGcMu+JyRm/ojPPng46cgd1Zk2OBUc9ltV5t
5vHBZvf3ydMBK5prQHeJ/SA9EkQ8mq3JjInHwsnf7MZYS6Li1iGY+AwAViR5N9mig0AODcf5kcjS
dqz6BDnGa2pFuZeca9sqkbAsTXnjYsUe0V1YjHfXr+l27uzvzRN5YvZXyhsJURPnGZLmjc1bogUw
GwwF4aVJ2Ba7V0Q89nWBl3fr/7+sL7BtpZr2SpFCIBKtseXrhxj6STqc+TvjgZCHFr1ZeoYDBqST
l51TDy/FQDDrnewjofeoupEzmovEMh+bwdFqHygHg+xaOvca8LyC1wU5xHpfAlTFOIUeeRWoru4P
qQmgDO/6bmwa4pVUymjlulKGiwy3kgjSgV80EBSwKtvME6bMUzAqCtdzME8ACkNApgPnwNPt2UUi
3eMRLrisI2ZcE6AhfdapCYmEJCAvr2wX+vKvCFT2+ll0Q3C7x656f30LN8d8Pi6lyFPGKIlBiqoo
OLlsN+xUR/dEK7LCPQAOACXJ27/BahOHPXjJXCdleKJYL3I5xc7+JpkisArpjYxujNqF4WV0KGx2
Fq3XSRmfPosaNRNgdGewA3ClGVnSm/j9fUYFb/jV3f2D9W2GfCvtpCzQEEjzNHR42Rmx/DoVyREm
ya4U2Z/D0YrEMTG7rAzMoo/dKRcZnZksQ0EjQ/FAOUdmGOsFgzDYmvonEu1lD5U/PkfWckSLzEG2
w7vWJa92Uh8qXcXqnkHoTs76J+DnRpOFps3wvQBd+KzaaK+MlT4m1LgYrxmAYHHT3hFu7FHC5L9w
E0LpCEm26NeYc4KJM5jun2EyLkq5Mtih1le6kkDpimV6EdrWLKqWxbGzHW5/nPzFpqyEiAArnhUZ
QkSPNKekTvWoetj3XbFL/eScg1Uaai6hvFKFLnta9brrAwgTtctDONcSKQjKLWrjcm3r80OSONcN
B0sIZaWWtJ/iSMQas+iHKhyW7CGJGJMsDKdymZJdbWPDxciOkAqxWBzaRfLDqLLaRDDljEWNwloM
bYry3uDGGTwHXfkaqrcCwr7l5c/2i7I/URMU/dzgUPKUpEHAEeEUg+KmmsjqG9p8y6+0j7I7E5/3
XBFdcL9IZjX1yJiV6LNmu1me8XILVscj5EqSyyI8B2nBUtB2J/n6jjwW8tvcxkkxRhFY/uJiXFby
jKTEOAIAaNxs4d+6TIgtPo4Fsxpa0CgsN0E13oOuwhbm5GeaFLw5jstz2rAAmC+ZxisR2KW3afUZ
opEFca1e3NZg/x9pX9YsJ650+4uIQIhBegWqqD2Ptvf2C+G228wziOHX34U7vjZbxS1F+5yXPtHu
cJZEKpXKXLkW+4msObDvhgP7WRyqn8tRP5QPsRc/mkgG06PmNWjurBkhhs+AFscL6lR2bn6gi7v8
XOd+dL+/tz4B6qQ4n7uDP5sLT54hDwUmKeOVaWuVUZt+ZNe67fIjOcZeco1A+54ebT95jTlmGsH5
Ap9kNxYiEvezL5c9f3eafftLpHg0maChcwo45Dr0FObuqtMK2iT9e3drH6E7dJjQpWnv+KvC7nqb
XPpSUojSh6buICO1vmzCoMD48BJY1yv/vRr7rXROKY2KJvRO0zUBzm/Tx5VfAUzKxwyj4IBb+sqj
twaLSyuT4lXP4pwaa5/GDKp79q1mbgwXG4/tt8qfTyu/WA5t5tDDQ/Kk2NQ1k79kWopjNS0Rstbs
VL8WPgp2RwyF0/t1fhK3du+qZsb+P1HGJKBuBq8fCDo+XmYkm8LGBpAOqEsWkNuVHgTPq2PyuKIT
IvXjfN9pftuTXjK5LkRC1rLkmqLoh+lqQN7fLO6anuLA/L2i7MeH7OHbfKyfyydVqWz/JvptXnrS
5Kk2GsYIn43nI7NeBGiKIxVgYB8xRH4bkQ5km9M8hcbr6j72tfaWv4dPzb0NiqLplHgN9fKfox8v
7nQPBsBT6Dkv9o1adpGuVs496fevkI5n3VjL2phYywHtVesLf4WBdaBIyg7DpyIYgibob6rA9p1g
nbTGkP9hQFl4RYb2n/Dlvfiphw+AR08ROs/eRBBNJVtxL+kw400/N+EAobT0KkeC/qP0LR2PZr8W
KIyJkwnhZN1waX8U+YF81k+q2C3vjGxfOt5iSBs0UxbsTDf4NPxSFoVqiXLVTTYhHePMxCDmPMLE
6LW360hoiKHPexoYR/NUmm74rGq/yiHrH4MOtLExgmYyWfhiLoqQjBbkGDvyVNjvJel90Kh8XTQB
9G30zmxVmU3OHmWD0grNstSSaOFYYU4Gd9ahC51rA8oQJkoifTYpayDy0ZUNSnlXP1eVmFmIDM/F
wNYhJ/ccYKoCGUB1teSn3AKg+cePy+HYuGwUjBkfwyNoGBtTxHDVuUXwzYr3uQX3SRYFeme6tRPE
+VvX31lQFNTzElzutsf7G6t7Jk5/HYnaszi435LpQRTpCa9VcKs4Xp5hvs7kLySf3ttQFdH3nfv/
HIHrUkCfxjExMlDPHZM+/A72j9t4VM0LnkFPfn2KlTgEmkZgYZYhbcxZ9Uc67Ep3mPzpdU2CQbt5
Wz8lShjrGVWJbEsKFmlZN5lh4bM7VhL7aVS0YQDdvjkow3aorpuEtoWXzR3PrnialdfhMFqJWxcC
rO+LMTxYtT7fNzpNnnsaYmx4AJH9Q1Ya1c9+yLTHsrBzVC6hZA1mc2gNQomCjw14H+HapRvbYeuS
kIdAC/Yld9M5B85zTMMv4Mjt3y47266vbXZVCku2vaQ8/bXSDMPrcXJos9ibmJLscjdUrJIUq+AP
qJ6lOzCuojFrmgpfTw+muHDTcTpMiMAiK+7bavLpEl6LGGRvADGNpD0lbHJz6xvmob1W/D3n1/qi
n6zpKy+n+05Uj9qct27TQ+7pHZAGfgr15hvmH5/X2q0rDF0h27jvfZvfv56AzQuhtnqdNd1iHqe5
9DBTemB242nh60BvuvAayYVbZctxjr42VGF692xtLK9fcGMZ4kmFGZcDQtBUQIm+rys0cZlRZMFl
Tzirpv1y+o0hyentwln0eJ7pcenA2Wvq96kGtjozsgPTrl4nLX7peH5izXuW3S11+R7m7YMJfUIl
265qxZJPclY3EPbCD0nM1xp1ASZUM9ZnRI7/rBWkq6bjEB3S2h83lTiiLFMIfSFPyWx3+GZ6gzf8
5D+QgLyCNPOw+JA19u3HGmhB8Dsi+Ubmj7C/Jv/Kds3eerllQjcWuw9eJGm9kKmuJw0SWUeBAcw5
bq+Ukw5n1Svc0JQ7lkVNZuL/yhMlk44xxbSoVxhydQ/2odsYsJ/n9dE2p64+uIg63/rPc+h2D6XH
oTPkX3ausyX+so8MAVmYyRwqLVEfw0jr4grUN1O50r+eIOemAOypTEi5gVHYdmU5PUj/qiJIs8gN
K9U1d5Z+EOiNWA7nDK5Bzho1jUNrLYxa1F+zl3lC8dUqvY6NXq5pisN4FpZXSzYxKSRcMeosfy9a
J3mSNg1mLbPkioT6bVdAwi9uj5c/y+6CkLlhsM7WnTOZm0yLxmIa4Bb4IUChA0VpXxVk8mP2+bKh
nY/DDAaJKbTTwCEvn7fOqvLF4FkcgNvCdlMjDoYFoJ7/yYhcHk+iPMt0TJwjXpk3LUF7hy6qd9bq
qNsHDg7SdiFytXuyhA3CgjwOaBUfMU3/kxsUOm/cAZRnMB23DzOFTMne1lGMmFOM1VAdMeJjqOqK
YkymEhadjt2NS3o3qHjJ9ta0tbB6yeaGoVA2b8MWFmyUrqs0cluUz6PqNtazgzYrEo5dYxAbo5Dl
A6WavBzc+0aZsD4OmNP8zKzsccDAkJv3zqeyDo/daP112SnOqjjrFzNBI25zEAwxKuNUppg3mgEU
UDACvw8eQjdEyx1whOaqvI7ArH3Z3M7BhTXTAp05saE7KGXCWVvZeWlYcRAt1fgQZQNuz7kpbueK
DIpS+vmFva7MwDaa2EZ2VkZZeA6G51qDv6OJSW+S2UuPzM8hicwe4pNe+/nfqhff3tfbmpQqKVXc
giFRb5PAEMuPNuvuwqa/DYn54DBI/WHm479vJzcZNcH0CNkVQ04bl6itBtLm2tEyHN+Y86CpPrHW
/M/RCQ9YOKRlQzZtR+k5YUuecp4FPGr8XNziEHv/1S1WC7bFDTg9pNkkt2gT0Jc5WpgFZWf5XDe9
lJObJFENzZ97H8w4JkVeo6/VNSmt0Y2x0bO8z4LUsV0ohIMc9nGp5+Plxax/y8cY+MGKPCU6ZXVq
9omVBaD5fBIkvOnyqkFQn67C0HqPRKW7M9Fes47oigi/tz7cVLhJHNOBpKe0PqftzUxAlDEQceka
pPzLnjVfT5qnyws8q25DgHC9Ef/PjrxCa+X56XKGfbydPZSLQMiUfdMPHUrszVuVH5vX+GTfpF9V
zdQ10so7u7UruUnaTmmSiCQPYiPtv2M23bw3TVO/atti9uM6MnzFQvc2lOkccm1MN0xQ5n8M/U0e
cStuRBzowezVV2DmWDsJd8IDddgrOsgev/rPNRzs7dakFELGcomsrhkQteYZigvRvbm0ePIhKItQ
4S7nVydMIal2mIFzZ8o80Kkeg6fJbuIgMRbjyuK9jne1pkqidvaQONyCUqDBqcVNaQ8LvIWcvEJM
LE3z2DrgY9M+OYmKym7HirEq3tkOlGzPOa3Tbi7sidVJkFJS+tDUFcE4dqgipGZw2Sl2nPCDJSmR
BrdziGxgSgKAFZ9YD54r+0lLyVMS3142tPN5PhiSTnO6JO2QxRYAcnbqch3Udeg7XDZxhoTDSd7a
kBuakIpdsqUecWHFdQX9KfCjCz2rXCcvUawyXzMHOi7M/rYYKCa1+umyecVWyseLh4JD4bFPAlaF
fiIGL6uyk2ahmVMq0iqVJelULWGiTSIBG0tXkkNWD99TmwRQdQUIA1WVy6taHUCKUh/2VKrlJLir
m3bGqmhvBVnrAIeXjS5lznsCVfUOygxeYpSKMohqgaszbZLUpiF1nwxdEiwi9jv9oE2TN5mvoUp9
TbW49Rxu7IicxjyO4JRgpc5cMY3fq16/0uqpQlmJ3nODfacGpJ0vb+l5XvXRTdfVb6zmlYH3Hsfp
XoTwMJkJwF+GGWG7eB6Hkrl2xVTTdIrD94vSf2MxzCmvxkokwezopVtb5FQtVAFYUq1q3euNjX6a
zLqA8nvQddHggvEEHae6uMub0ThYpPqBhE9x3lVeIoWUKZ6jvjdgMQPBilfxDJSNHfs7DfPIBQ30
/+aT8jRkGc01jwBaCEj5MDrJTdxB8qqYH+bpx2X32P1Ytm2hhqPjQSm/YdjEaYp/nQR9lJR+RvO/
eqN6v2xj94JhSIDxPxxvuSnbMS02Z1Jpx7JMrvupuCsj3rgFJ4pItesUGztSpJpyPGhtxP7AySCB
ltXJiU2kdQ0+2W5ncfRGmWr+ZtcrNialgMU4OA0tI9GObR32qAsVJxZ3760WPXcE1fnL+7i62Fl0
5Lq1pvk2vpbkgmCcTWJ9StOgmpDf2z37PnTW/bBAX8BJi7cYxBXe6IRuKFTYqt0vyE3dcEzOYXjd
+c1xY4bG9bCw4Y48fBQzXrrJoWEqsc9dX9xYkQ71PDWLU6Z5GkA/IfMiDT0O579qzP66tTc2pD2M
4o7U9gAbNY1djBQdbQOzC0qk926s/9cMlRtt4QQKr8Gc0sD4ateg0l0wH5F8HQHh6zyM0RwXjEEW
L863xXb/Oz/qukaYRA3ENB1oY0pOmRLmTEWcaccpml/0ZXjrwvzzZVfc83uqm5RaeLPjnSBlpqle
mkmcD0kw4rKsLQM0rGBIw+h9FVdXl03tecXWlHSqc11LdBQpEHiJ9UAN63EOI0W6uLsaqHlZxMAI
L47WR/e2O80ozBlBMJ0tH02Qt6bUHvmY3AD9+ekPVoNiEXNAlIWDJJ0k0sZRYYhGOxrgLajmm3Z8
/wMDNhrnjOPZReXRHNHmjCeMpYFTF4+cFqCD14P/zcT6xbbRoC3GJeMxXunEfqlmfuinWeFfux99
swopV0ILjkCGiqQBSjLf84Z+mqvoD65YtCv+3ajVKTaroDQJlzIe0mCiI0BvvHnmCT01y/RD1L3p
K7ZsPRBy7N5ak757ni+Yq7XDNJjjvgeanGfWj64dtLsmI9VpQG+jBY22qRUuISN9p6YZ+dQR/JBO
3Q8gkJ1DMRv8m1HBTT1MAIefmrBajkZLmuvW6uI7i5b6wUha/T6knKR+32gg90jE9IieK3ozdmOP
V6XJ45t5nDloFabsuRzJ7YAh5a/VUkVHsFnUX0xwrF4ZGrMPkVOl10sy0m906FuvKFnUHFi/OB4b
yrl1bRr/yQW33ST5AmDtXFT6kgZt2hoeA43vrZOZLeTm6gGM7ikX1yXru9idx4E8tSCHPV3+TGf4
sV+h06E6pqg5I3gPf3SKqJlJFuVOGvSY0AHi3O2xVYfGh3hr4fbeeBMRRX6+d1NQxza5jpCAJrYU
e0QVGZ0tkvUw/YxSBNDy0V6CRXcOPTQsRqpY4e7B+m1OTiwFaGcEqew0iECHhuL4j6FQEcCsv/jM
1Tman2vNE7eP5OpJn1ZpNWhpkEIuuQtW4Qb7qO5trn+NbAbVW1xANrqtjjz4MkI2tS3BbxHwOPTm
ubvtqwYCSLF9XaX67PaNofhSe0mQuVb6wYiJW08O3ZFRNLOmwTdIMwV9T16iQjxNQ66Irrs+uLUj
nYJSdGLCeC4UgYCU1jB64nQe3vigUah88beaYmmvJmlsDUouaBJSsRS6f4FFUL3AFnrWscRoNSlP
pj950WPcuejdrPA+ldzgGcPHeuA2tpmESJohuURDzFhgseOBQN29QVTRDu2BeK3L/rK+pYfyDnwV
DM16xffcOwroPnKUJ431NpbuGCeLyogZeRaAjvR5HvXKRRkgVuTsu06D+iBK58idyVmdBrgHCmJT
NACK9yn/ZDRvWfHpctBSmZASJMKHkA4aDkLHgb5kT4yb3pioiL/24hRGff9diJRUCnOJ826EFbpk
gcH4g2jN2zxdbsrRPJp6cbIT4/jfF4YLGt2Nte9w9jZtBr2uMcWRBYP9ZvfdiXIkZioB5j0v2BpZ
/3yTBuhR1VVNVWFNZgz8D3vKalWrac+Eo9u4syFGTM+4C6d0EOmAPk2A/+Y+7JIvpWkpgsZeMNya
kGLGYqHOY86riXK5M8DhTJPlwK07LTuN0KC7/F12jZk6eEKBKXGIHOCJ2c+zSdf8b5je9Czq3aaw
hV9TerKy8aFsmCoxOMMgr2FinTRHwHcMCz3Qj18JL4u+XlLckmuYML3lCvhjz7khNxWYCI7khh+y
W6Boird18Bz/KvPBGVXUSh6IX+dVvnW2P0TKGpPE5KaT4Ie0AHyXodt07ji51Sf8sscoBviYg37s
1ALpsoxud+1c1U8lpLsvf4DVyKUfsX6gjc860zjXadXCZ6PJDzNw22h4TtZvRdMpjuBOJ/jjxkuO
lSYWp2LN9dN0jPyRa4ElKrS4J4O6TdQmbmw1b6lA6zEXj6TpwAE4NodiGA035tqrpos/8fSNJ0iX
1WyFouwTrF0rK9cs/krQw2L6cTa/gYfDv7zPuzfj5mvLuA+K/nMZOli9GbDrPHXFC4BN19a9FRi+
+aX/ah9BwqGe6d3LoLZmpSzUJEY42qvZ6XuuueHdhDGUX8yVq3D37Je5K2pwZhKv9/Kv+d+Lavp1
vTEu+Jc89ti3E/7rtMkCFkLvpKhQ7o+/1Vl+lWdVhKf+7IVGdlXWhjcvk2cU0YPV8ufLe793qzkW
mqUGQHQGcoSPPs7KtAGNLSJa63wqQAfnsJe6+fa/2ZBuzn7U+oFPsFH3mIQhRxuNnA6n+LKV3fAP
xVhrLdxZiJcfVwIxeoPMokNshqDpmISZG7ahArGxGxE2NtbfsIkI0xjNFgdgOKBxmXoizw+Dzeqj
Qarc6+o+UhxClTkpHPdDE5N2wpIiEA5p5n1vBtnAPE7mP6jzA0dpo9FqU8OUJTloToxkrFgWFJPm
5gw8sU3vFhFGYvvG5YlqFnd3Xb/NyTQ/5UIh54W3eUCT+RsmIw+4uqEfGNrEi4WqsKUyJnm4NYUO
sl8HkAOLHZBAJVQ74OlyisTff+CAjoXsgmGuDM/aj85hDVONBCfOg8GxT46AZnM6KVKCXR/fmJCu
CUSrpa0ibFzRipsog+wObxUBYS8BdRwgkvAw1zmR03VUzWqDNwMy6dLh7x1QUt7M2vhoCDu5EaJt
b8Nx/huv2+7l8vbtRqKN4fU7bs+W0YZpbMPZSfUwVwbiXe0OU3W6bGV3eQyy8sQB4oqfPRTKuQKK
QsO9phX3nLRPeTK4aXfTgN/ba53hpiR/8qAFVzHekg7OFnL2jwtD4sutooZJnD1v6TnYZ52HKFly
hXPsvmiBG1rB+RSfT66vRjO4S4cB4BrjbmXF6B/GwU9A3iAOzWv0VleeiupjN21htoNHA6GoQ8ht
LSNBoaUXZR705jN9W7F5oMv5VN5EictYkD5jdlUJtj7/ggz3lYGRB9xawOdJx2yeasYrBxAbnjNk
hQvqKxjPezQxS4BC6c+KJF9yM1Z1oNa/9eNd/dHq+qs23jk6c2rwBFbZMN8kJqvdbsnewLR/3+Hx
5Kalo4LZnJ/1jxYltyFmUs80LwAlatidM8V3JDQOlw+DwoSMrdBz4czggM0DsaTP8VD9SEFvfdnE
+an+sAr5vE2p0U4NwSoyO7227cYFJevBdBaFGYVTyPPfomZZGJv4PJg7cnn4VzMubtZ8sqYOBdZn
TPf7l5e1v3MWag06Eg5Eko/ukOjpwkM+5kE4OyALwWWZv162cEY5iIo5/Py3CSke2lo45qLX8wAi
qUZgHZPr9sSfw1vy1B+oDYxoeZhPQlMFkfPrEmYpNShAM7ZhyYVSfe5mgOdCmHUF0LaxR74UT2OQ
HYrA9I23Vfij4EfVBLPCqlwvrYfJXuiE/Rxy/Vtl2rdjoUGDhzgHEtWlwll2t9YgnFDMkyKAyGt0
IhMTU3UETJHlOn7v11flMWYuBEyF3x+snxDd9PIgHRV29xZpWKilcsCn8ayXnSZf5tHqEC0xO+GW
ifDSCRBBA6FSxWx4pt++Os/WlOQ82mhCP6vssZ+NFd87oF2+Fm3R3Fp2nd/WY5jcJ1ps+YDJvC65
IKeinaNTRJfi1Wax9SUfrDr1orU0npaj87pkGfNbZ0mv9KqKHybhhIrhD9XeSFGdzEXa6WOeB7OO
6WZSPESVc0hE/TKWluIz7IUkwCM4JWvrzpELzOC3nDSW4DOkgs9u1tsnszIy1xCqgay9IAEhDQsj
SrZzrpeetQWb5rHCzETI3x2z8yB8p6oX7lz6Kz7ytxHpS6dLmc8Js7V/GCUSf5xOK4i8P0SPK4+N
A8oBFdZpd10MxQF0H6xz5fUCMxRRA0RGsDinEYRnUWKpopCxc91C1+RfE+ufb65bMG3pWaojCq2z
omu9WnyJ7vqDFrSB9qgStj+vA2ALN8boR2NjbWd2YWA98+Rcz7UJwmvdTwYkGD1Si9qdwi7gM1W4
4U7y9NHsus2bNU5O1vSsysBc9jV6Bkecn770J3o3QdJ9Csyb+aS6tHZ9BbVRnRBM4ZpnLxQoZYhS
q/PiV2xf/M6jvStOwht83W9exi8qPae9pIna6BtRdN3wKJc2NiqbyNTW+YamTU6D2UEMKPaMATRS
BRLEsVG8zs9nPBH1tvakHSU0DxvWIq6P19xds9HUN69GsMKl18q93PNQwAswucEp8lC5hVkXVV20
OmzNwXRcG3DtXwCiuqvsGPdVHrp34rbGpOMwzsJJnQ7GaudkxhhX6pWl3/UZLCe4WxPSt1rScMYA
RJYEEKUFMQ5FA9taenfmneVGuu1FTf6NR5COMqICg2zLIY1by9Pi5kvD4D81xdhedUjrxCda8amO
k+NQTl9Iyl2hqRRud0aC8KE5gjf8an0ySrdF1tPKIaQoAv6y6sZXnv1Og+G2dVEORTH4cia2u/kb
Y1Lqbw1Wp8/DFAWUhI5nzoATRc3rZRu7Kcl2RVK2zzEnXhNwEaPY79ZXK+kHyHgiFD/BfexCeQ25
nhWeRHStCub7QeHf5SE9+RiGao31lsgQFNaaf/kDY7NHFJ1rlD3L5+oYHZUs9ntXPZLLXx1e4CHl
+9dpDTZQFqMXWfX+0FYYXATrSZPMQLHm3eHyxu4Zw1ufWihtMgtgrY+ry6aGG+kAsGLk1N7Y25UL
gi8QKWhH0bequhbdCwoba1zaS9KCldJIV0lNUGBabj+X9gkTLvZBn0T57CAenjLgOTwtE2jzVvro
NazHkM9SOcHCkp8Ah0JPyEnHRwe69yBKBkU1ir/2cFpqKg7GPPcv0FckAbI74k7WDHp10ZePWbSA
vJpBfSKMsarWbEYvEmWd+mIKyy+8MWdoelDoYJTDokB17Ty9oEDDUTpcJyhMSzoeDclsTIeOcVBq
5lUfd34xpg/ZFP/onOyxmNrbxDFU7d6dr4qJVyzUtCxE4F8EHJurswaSHFVMTL0kjN9l8eJlTehl
Y+k3zX9Hkq2gB0wD6hBEA6RPiovt3HVNNBAkBzwFY0SD6quCQ21nMdY6C7U2LXE3y1Ay00iGhZRG
EmgA0IrGfKWFflXGdxkk6y8fhr1ItrW0/vlm24AJasfOHHE/itGn7ZHxSHHcdh8eWxPSGydr6tkU
OSCsg+U2NWhsslMT2I+0xeSEi9a15rWH5oq2YAwCnfPoot5sd+7lZe4G0+2PWHd8s846ngc0m2kS
iOxYXhmH5VTftPV1+gXEPR751D1C8m10lQxFqu2VbqWwNUKLMMSaf7qnoIvO7h0PWx0+EA+zK6fa
F4ni3bR7FW7XKh0/TpLSSA3gNnV76D3HaYUrBvtTwqPTkhhvmKy6K3Ry0Gxxj3+eJp6OrhGr2oV7
b6rtr5DCbNmjjgSQO3acVL4OqW3LgljhrBofvLzDZ8zODaqnoVNihwXDCzrrXDLqf5KW/17KGUfA
FFcA4jWYntJOqAh3p/J1le5EwVj4xuBF79VKy/rlsseq1iXld3yw7QgMw7ilEucqbfrPoCpRTKHv
HgpM75sY26bUPkPAVbQeC7tzMMsB6kEbSoRTd8OR+s/+ijoErewIoqHH2r+8sh3kEe6F32blyk4Z
RzkNKQKCHoR33efpdZUPM66qW3GtH9cS1iqEqCnZ+PYcEs8OPLtRngNOWwrb8QL0AO8xOWhT+zYl
92D6ebEnxdW3bwRoHQxcMCBopNYSESZFbxNG4vp1sQ894pmRK1pzu89EDFD/a0TyjZ6nXd5w7Z/v
1ieHqnOtE7ga3ewWhX2Qn0V+HSifN2umIj8H0MYCIMTCOAIomz6GUNaB74c5sFrX+aGoevpYsf5Z
j5aTNvfuNA+3PBaFN1uO5Xe8H/9kZ0F0YmJM2Ia/SqF0YBQjH5jICcwmcu3ks6N9CWmuOOrrXyKt
0eYrXAzT1iihyIkoUEgcVCM0DqwmvW+zr7m+ePWQ+E4LVhVddRB2HlgfrEmBGtpnlT0mgISiiPa5
hLSqCUJ648hu1Cquv2a/zleGtgwe+TZYSKRbeMnrYaaAkgXNTwa+5mkVQPOyz4S65lf6XdwSsKDy
g/XV+NH+tDrXueuhBBTMD4OvBflhVFce9rf69w+SbmQr6SwWpVj8Gnz4qfdnkDhG/KAd4i8Mt2Pq
NpovQKWuEn7dNYw3OlBbmL09A7fpudYa3OjTACIHEIG03KR+FwnOKS5LVCZUmcdOLvchGZb8tmXW
YrY55l7QPB1vWJNi6hB3SfUznacyCPsWgG7Wtsdyai13hSl7ba03N+jqTl7MiwGjEaVzGI3b2LFc
PohMkQHu/T6CuidGIkyKQTQpLI5aN0QzA3vLuHL8RbreemPVvcY0/k6G1v6T7diaW++9TSJWNYjM
RYTkGYOY/mK4M7oy19oBSKrKbQ8L5ExbD6Cm8aR61e5cqA6mTFYSAKBBzsJXiBKYsTgmxuJDh2GM
ykmuYoisBJcvt30rHN1kjPZhCkT62qFIRLFM8GqjTN2qzoOcq1Ate68rsAgZDCPj4I6Re7o8SjXe
kgLw66Ke3WnoIm8pnRFliOYq1J3TZDX2TS0GRbTaudnwuMKDBz1d0z4DYfPeMSbOxzTIQutIG8Nd
SvBRpJ8v79+uFTDnIUIZ0LiRYSct1dKBhghTCyF+34OmwX4W0d+XjexEAEBNKEIAWuMMpbqPPpj0
5dDOzbqUuH8S4VHr4HVU9/mUu2Xx12Vj5yyleCKCdQLIAqwKZCFS5K2QOYIc3QB6PYN4A4GmE73t
7goPQ0+p173pb2AYeKpeQDjtqcit9nZza1qKsUOylLPWijRYTMDHRExcm4dPRaKKIXsZCXpmmODC
RBqyHjntAUnXyKKWYoCQ8hSaxEMHBpFo6QMu2OizXiNgK+W5j6mB5GSU0RSkVTIfabxgEFrMulfa
/XAqx6VWZA170W37w6RUKQXDY1lnOiY36/qqmp5m9NliiGmFqWKoac+ntoakMGoZ4SRaiq8cjdF1
kURutRAv73M3hWgqALqKRGVNtqTrHBuO8WY4MAW6WUrGxlmrQ2vEmCOgbz+ccakC0tn5Lco8c+FG
uV3elI2BAYbZNG+IPYnjZafeWy1GAyEJD4odkH9IPo0Qk0IFGKs1msrL6tbTzcgzO+1hKT9D21gR
evYeKhgNwpsB+fsK85U2VyzG1Fsd+J6GGJMZi68B/eolB9P0wdE1+EXo0kOe+ahSqyAXe/6ztbzG
+811xSwcIY3Bf5qq/tvRw8UjYAAlGt5j4LZSfNRdY8iuwduCOeMzRjVhD6wbNHzUMdS9cUlu0+FI
usRtB1WBaa9G4NAVTgDmNhvAeCkE9jTtw5yA08oI6isoawUZJEJ5AMYWEMSort7ddaG7jhl0Xcch
kbwl4mGpRZ2ZBmHyZeEnMwE4YtU7Wp4ve+XezQi+m3/trL9j87GsjvZI7XD5jjg5nu5MD44Gmt2p
AIt+s9xPwzK7nZZkh8tm96Isxl8xKUEc0GT/KqdvzBKtRGtch3cuIIwtrQIj7wloqFV4I5UZyRWX
MK/NIsaMHl8abwqj0bNHC0SCSkbm/eO2WZD0vWLWm0xUcI7Ro+ZBd/xudtsVEHEsQUH2lJnQItBP
8d+qw6ZaofT9qiLEe7lBcxDYHde2Xuy28eeMK1JQlRXJ9ZHq2kTT8Ln06as+6e7QE7ecVD6/fg05
QAMzA7oA4EkYotZHX+TZMGt0xteK6gm1zuybXTJFoW/X3cEAivBvmACPSLWGmjiNoPnq7miE64k7
hqG3oJaHtMnPpx5DVarSze7WbSxKtymhBoiRcszSRpm4YYP5BkWqH7Feny4fqN2925iRwn1SlEO6
CLDh8vBhYJ9D8tf/9vdLJ8lOSauDgHOlczhVzexZs4obefd+3KxAOkEDhnUxQ4t8SEzQLDSA6wFv
RFhfdckr74bD5eXsGQM/obli3I1z9ArYt4y6gLJboOmTK+zSzaOv6TB6ywI2/FhFSb8XzLfWVq/c
RLvWiinLshTFJ60B1TPkzqYfufhkFCrlor3ePRL03+uSjhDJllEYJbwtdybwtBvjZ5GZd5nV3Ztj
9KzTbnFBo3maSrxbG4yDukwomT/2PH7zG+QpSX1KyFxPcEWgFt3UeUq7z6GlqOcpvh+TzjGU3DUj
bxKUl2nVYjnD7OZOLQ5hVDAvbxvDj4r/Dq0GUOH33jLpJDs5dHUngN6CbtEnz6lp5Oodf8uYpv2R
d6IVSIBhA2WFdBSgM03mcK3zJIR+L3o889MObcdSkMAqAe8vxya4fB72PfS3RekaKQcgBRsdk59D
a0E7DDl4s1x3+r3Q4ufLlna9A6A6CpEOoA9kzCcd4rbQYyAkeM0xLzyMN/2CMbSBCMUm7i4J6DQM
dYMc/IyCdDTJEtEIM6A1N2qw+dhQ2AAarsqj+1og1F9e1q5DbqxJzlEsc2hZdYYJIA1Zh6vrvelG
pAUEIW+7Yxgl8UtT5+37Zau7OalpGpCbA/QKHQLJU4SlGVk/YzfrcH6ylvGGx/bNIIYTjUN/NKL7
rK0DMxwKAPOKT4DrHeY6VBHn7n7SzY+QnEdjPF7qaAYPQSEeE3t+qXP6qnXT98uL3d1iG8T5qEnt
MMXUWuPMTe3EAYktiD/QB85iSNjy5qlbjK/E6P/kbYHz969B6c4bw6Xr2whvi7ScroeMXBPaeLZl
/JVHwJf8yeJs4/+R9mXNceNKs7+IEVzA7ZVrq7VZsixLfmF4PDZ3cF9//ZfwvWfcjcZpxOhMxDwp
wtUAC4VCVVamxfD4lxw1A03zHGqceJz26QN1yGvbOm9KX9rePm/vqdFKPEf4zQBN/o893l/tHW9l
DfWcRnUPzli+jM30mNj1zfVl/QYB8zkdhtZhBhCjy/FbE3LvZT5jbANk9rMTk3pWXvJ2XQOnTlBK
z7QhUs1SC6xRX1x/o2t9o1EMuO3TUN/sXZMFqbvUbwrtrCincxqDItP1tLkCSydiZDBt5njQE2p6
W6rO4dAmzVNWt/S+UfQFHMCQm0bJjQzgrh+AUbUrC9FUW3T6dH2hovwLE/MuoyYTTAAa1FEAz7OV
KB1df6w+W0smeenKLHBfzIbnDxSc2yiPttY3x6Krt+ukpBJHFNalXHAl4T9UTC+m2LayMGjRO4D2
oMgXpuMde8aAkbL0dfvLBkF1NDlaaaeRJSYXfoLblZF2iQam2mHIwBlTYVJ2+rRaP0p98TTyZJLb
qu5Rw9c8MyWS0VGhTUBv0eABr8PFSFHpmFVXd/hmeuLeZLr54NAkMJfJy9XU27LnxVm/L45sIF34
Hf9Y5dFNE7Y83ZK9iuvk85SrmLOQ9U9EZ9s9scAlRwve1eM2w8KWQP1mH4/9Xn6H40tyBlE8PjXD
OeSGClOaVWsVp1YTN10XamD0XJXtFvNTN8q4SvxfdJ+fmuNeOFOZu4WWskkO69CS0ndRT9eXt0b2
0hHuHiIV+t04AReoSFKMBSSk9Creh6cVXLxK+4Dw8ZHFnBjhXwSbqboYisFkgZK/A1//roxDGtZJ
HaSklKlmCnfuxBg7ByfPD8eYza3tsXM9xl6dZj+sFonV0vpqVU3wgTDIeIYNHRneRWdMN3qSb1pR
x9vmfHXX/O+tlFWshOfnxAT7+8lq7L1bHK2t05hComxuS081/76+CMEkvWO7JyaYi5yY0DpMPSob
MOXtG54wEKkDHfTT7C3vqBsB8hUCA/lbnlyGFxC6HnrNKECD1PsCCTENK9QPwdEZj5Vi3lSkaYHx
tmmgy0bWhHkjcm8VLHIIFBedvbEe8STN4H/Vjdt4+vcKDDoYQXhxIXL6Rd5KFy/sH3M8kXi/4T9Q
xiqR2lRftY0Eu1JGbveh0PpnVTYX+Nq21PVJMaq4If3n0kofi72XwAx/T/NdXFQnNrioR6kxZm6O
nRuDcgfWt89ClC6ZhCKeNPddFqg/Eg+jTw/vYGC4Z0qV151TtpVcGHRzvPETJ69jxYSMNG7JAg/4
2pbdIcJT5mro5oI2BZUy7gh0Ci3yxaFpnIAPNUy1uQl1RfKIFy4Fij8qe57hf24pi9nMo7HPmGrs
tJj001/1PB31dvh6fcdEtVkH82Ig+XJdAwVndpGdHOcpU/KelimYyd82HwxtWkDBk7aTe+h7MezW
dNPHhvsqO82C9AKNUpxiJnXAes/nZpW+6U0yNmmszUUXQegQPec+rDEJQPvl15TPTzktbwE8lmVw
7B/mXNRRUVtH61lH55kfzFuNoc8WVatABDLfMYxMHwI96Y2xXFNUFEhObfHAtHGtmqaFrFncFDcs
UWRhRK38qfG2YPTlSBRRbIZB8Oqo2Fk08biPuc5r0VkuLrMxGF5TICGGT4Pr0wgEP9BnBjJ9Q8sL
ylVoZhykk9rMIy921kK2qAMwzRhFzz+pvnWlStjIowtaP79+plHjm6mX+xZ0M5VfcnZUwRHBxDv8
FokIcAR8z7LBPN8OhDvidPq9UbbAbQw8ZDJJI1Y0vQAzoHxCf1LFhBG3qYlTde06YV1D7+2QLKWR
+zwf+9sx1KP1fruVHQ1BdHHA7WCAzUxDssCf/N4oqdaAxDmm1fdWO+7oOF0/82ID6HoC4qZDlJM7
e2tp5C1m2OvYKkF7lB0tVSZlIvb83/0rJmgC7P65L0CdoKVriVkTKM1uHgkb9AP1z8bR9GdIuMrC
vnBBrgYsDlgJIBzGfSHDyMZdT1BCHrXneaeercl6ZWInODHB5aRkTBfa1BBwgJLX7EH1/FD6o9fc
DXeMpQqAvuAD3wgZPUFxwMCENnfFYKJjQxOQOYGTgMzba/IPZKPA+vyxwBWm9tIk+QQ1x9hQHu31
2chlmbXweOJ+hA+jNox5wHMfUMpq0ZcVE1RVe2+aBwXl/XyTwDFkNphnnNxebj80KODBlfcaKLjs
qMxf1k5iQ8AU5kBWizF56ARaIXxgc/fFdeoc+OIW/P6BAazAD6Xw6eCXuB+tuxVETtBTgCh1cVs8
GSHoXwuv/8huggMYY92qARfnhwF73GhqrsEB0YJHWqPHpbk/7pkiSeHYUeGDOIwgijP82gWEO83U
zdlHHNwyqbYlWKGXSb2iXt5VdTIObbYuj8lK85vr3i48XphMQTLFEu+Ld2U19haZFqxOfRqD/sXy
h59Z0ADxdjO9MGKuWlaSFkaoU4vcgbYTuqa1Qhnmub8B/xXmmDz9xY2bqCde/ShjH5CukIuIxpp2
ZQ2QEjR05kANKwyqomrEJnHVuzEGq8TL9S0VnYw/67uYueu7zZ5TC2oRlv2wqY/6bnqKDPcm2UST
h2nlxOzaHOK1sf60+c7R8uckUHwtduP+2MvJYERxnpXBcG+ZYLvhkW8dmKnASAsvcca7wXYDw83C
67v2m8WD9/9TE1xUHKsqx6w5o0P3G89Aj7X2XpUIEqC6D2HMIkI99XO93M7QvVcPpeqhAvZL1ur/
L77yZ53cfWZa87aZDXRM8lcmRzfEeQdfGd7MpzWkIY1V2USKbGO5w9D0pOy1fsbG0tRjqrW2K2XE
YG+/azvLHQDXaZa+SxYEMGRRWJRf/kTVINKjKlQC2bQL+8EXxtAbZMB7qJryqaHWaUYzTSquzwWj
ILWDCvsRigReQl6VrgppIRMVEVWGAfHH5QDsE+5rPqnqaEqsycUWLr7qY/Ddq0uwXXtZlP+efW80
Tym86XDdXcWewtoHQArhTPB5Fq3BXwFKIkSVY/aih9oBuUkITsOIZSXyREu8Sky6gmhKZwMjnGfS
XMvqJMXkEoldwzcnn3SMVSBwggEKP57aB/0a6NK3hfBYmqj7sGcqSEP5dVY6APV5i3UyJmXG5r2F
ikej+md/x4QNVVCE+u1t5Rk96AV94xWDf/jYW3B9u0XHBE9H8EbjqQyBPm71pWX2TsvGih0ApbcM
JkfJY0MUtU8tcAexIFXdTnOKzpORY/wG86d+rxc/1cz58oGl4AMCpo9K5AW70L5ojbYmGL5JddVr
yXu6/33dgPBuMAlKaCxSA0PHpX/TqAzdOFLAy4rV8Ls0fRrnJqqaQ5I+G9q8+arZRqQ2PIeA4HZX
cGIs2WSTcDvhrUBcQhoVsorn6eG4DgMG67sqRvW98ZytGKOlVZew0cxGkjgJfeOPKb5zUe05VdQW
7DJmXgVuXX8CMuHft2QcEEGhY2gDq0/4fvY01e3Qbqw5Urb0by1Jcm8eFYDnSDdHLnRK4jmZK3/F
tMKLVdg/P/BBMekD0j4A6S3C375DQkD8VuK5rR51nEC9Q3BjGcwWdO/I8CUpoWg/2cgDZPMARbtI
utGLbOzZAHZv2R97lxyWaZcET/bx+Tvi1AL7BSdvB6UtFxBR4YnFijNTXMdTZB/HWBqjRRcfYyhh
dBJoGvJJ0p5AkDftELuGEBP0fhVAl7I9GPFyVx3xtZYPvO7BfYCnMGoIyKW51z04PHqzTmuwbKD0
Wkz0iHrQR74NyMdRYMK0OhD65zvnVHajKx0aGckICQv9Fl1o/7qziQ4ujut/LPB0vfZe0o5qWISb
m3jRGdlNnheQByv6OrhuSfTgObXEbdcyr9o4A18Qb9pLWVV+qWNsPOv9ofxeGDJkltCpT5bFXOXE
5dq8KGrCkFmkUt+avY21sdgk3180DstC3T97xwVeY1at2XZQDSFxf9MdOx+ySG0IGIHzuAXgH/an
W8hLATyRQP9c8t2Eu4khOBxb+N4FOKusFAuXCp6Pu7qBuiUtQrttP7Ua8dOJfh2h3nz96wkrnugG
/WOQz9eXREfjH46ytT60IvY7DHN2PqRmS9+478xQ+bY92jGDFxeNzLboa7qoB7hoFIGWgo/Hi7lN
BqF40jEeO4RENkGAloONrBbUzmzGsfWcVfJ5RScDzJs2k/DF7A9fvwYAAZAPDcKKm4tSpDG81c72
qyG2ZJab7RsXHKGmjLsbcxKaczEP0nTFYLcO0lm1Puqp7hkQOJo1vIDyUPIFmc9fscS3v/YOhMGd
AUv/TzeiitrqCSiREPQ/Ydnc5IPERUUdDyzNBf8gGgBgTeOyOGt2zHmaN8ZGo/rtpz1qHpZ4vrX9
ZIzHV4DADumGMfXryxR8NhdjLToA3DruX94oINc1CAFxCfTqiB5A6Oh1MK2v140ITt+ZES571B0n
RcfExo2mRCPuy936vq3IiDE9lNeujApLcH/CGtNQMdGngtLOeTAriALAwQpr/ZvVe93D8Gy/sTPg
BOY37ZvxtPvTTYOiSgBo/xdwWF5fqwjN62J03GQSP8CF8fcc2arUQreDXd9JvAfGwbkhaHKod/oh
kfio8OOB0ADFWKSykBc7X2mudAqqDpDrw60bJlM466vfSDkjhVYw8cb20r6cI15AcpU4FHOYxBy/
EOCs3a162RRVUs68jFpAfWLOU8PUJVTleE8c8Uwtp75FXp6Vh0SpA1yBkm8jqJjCBuqHmK1Ck+Fi
nMvtm6IgBfSbXapDqmr65LTkqLb6c6ka34Z0vSsdELa0duX1ih6h8HfjEpTV52r2Mbv8kNDypah7
BFJ1Ub1s3aLUwEMBoj3eaKf/Opk5/63cDVKjTqYmEFoEdbxJPafoPqvLKHscXIZTGAEKFRg4BO6L
iSVtIROcGAxGGIWBME+nOHZTekbpYCqeGI1xm3a1AWhjk4UroENekVglxNhS81O1D3qw9aXzYEJG
3aNo/OFWAb35g6YABagkbhl2G8YenaGzvNqsxoiRaz8M4+YczYm6h82x9ANAbfVXtXUW355082as
0vp1WaGsbRjt/LUEusKjQw/q13QN1RHlrfmXiVpQqphfC5JlXo/7/FPXWLrXJGB6Wq1hD9Z5t+Na
N6r7gkIpot9lUG+hq4JWi8lmE1QduNysqjDOma5qBmE3+q3HSLmyp0Tiq2IbDFSCXj6qRdzZNic1
hcoa5sezzgDB/m1m25LoIbYA2W98egggmNx9s64UDfYJHBC5VYN9yW4ekmL5ej0aimzAgTDqx3RZ
L4Djaq/WqbNhhwiEN4Mlm+DJDSY3rlsReTGA1Hj+oSkFTgNur9xdr5d8Bw4XzYFAX29GVQ1a7eDS
79ftXEZCaKMiarCeC3oCfLzVEkcpuwmMClZnvs3zAKxl+3fbK5LrUrRpTJLAAvIBwEK+nJO5tDRS
3cWnX5LbrB7B2CTjnBWtBPxzKBlhpgrT59y3B6VnDkFXzO10bXdYaHZH0ygZZGxUbN/PUyh4KEoc
KLJAwh7H5fx+MvMJ4lSZjZvDgi7uPndtgEHFYzsWh3LK8qDuRxMUo4UDzygliaJghWgTAQvIhsag
6sP5RNbbIP3tIDlmF6qHfrafaUPYVaPkEAnNoLbKpj5MC/TR50vcarubshSdBtQHPQKiryVtgOx5
ue54gnoqunxIqtkABooOfNEKCksgEpqhlzIGWrQ8U0hGPNu+HdOwvR+ol8oVYtgP574dSwhRpcYG
4vxy+4eXjUmnHBZriEpCzRsEd9oeT03+vqnWYU+S526E4MjUR6mePLkqesG62kS6tsbX1y7c4T8/
hC9gZeo0KHZHyzjLocsIkSvdN2nxuTCgbHvdkiCMnC7Z5dx1K81FUwhkGHK7uYX0LCq6WXrfd+qn
aVb/+t9s6ed+g+Sx2BYdb7Sp+VnWkDfJfX2F6nEzyp4Vl3RGcB1QBuKugkLCBcdelZLFMCboSekm
aBgK99FYnW/a7oye7iTPo55lEZj3AmtIHqmZ/Ly+TJbZX3jRiXEW6k4KC3XtWGXdo9s3gbFsrL7s
exm45hLo29cq/2lVstUKneXEHvv7ib3UGceyMTESteU3Cin/qt37IZl+XF+UzAjzo1MjGPJuuw3f
zgIHAZAfvtq/ABIcXLciuAXOvhsXooe9bzvThAyViQRAT3+0o+SaEQeVk83inmVtp1QKxp2Y0hgU
GY3ICFrHAxm8G24RiZokyqSKiDJ/4KIKWdAqgkeUsU2Vx6IFO2a/00dtncJFW8M1XeK6+/cthdMD
gMn888+Fl1pR7h18QhtB754oMQ6fBBR5/VtdlFK7dil3rUWMssGP61cZQMgLvtr/4hDI2M7XAWoT
bRmhnhs7ez36qQ6ZnTXXX64bkTgFWhTnVqZ0cAglTP0sDSrXoyDkhTpXEdh+6cYpmCvl6FhBsQy0
TLjUwHiBFhbYGs5tjlACI3sJ4Z0hxJM5ezCCwYqmGKJoeDib2j3JvS6qujs5nEm4XIyR6BYKLmjL
8qm82Wxqb44L9JigiuN1avv3PCaQxVES2yszvDTwlrwrN+ceXY08Mpf80cmyu8xtHqCqe3N970Ve
pIOjAn0UZJcXoy0D/uVtWnDlmlYBkYTWy0sZ2Fp0xZ2Y4C9TOwEbht3DREGzw1S8OgVYVGY3aDSZ
JI/QEoQYbDRkAIDji5DGqK3uzLgkAU7zZwusPFbvbytoOFZZcVdQcoH/nNjiAnJWmuU8MxEDs1NC
fMzPKlMs1LTQdvt4oP1xNNRIn6z3RK8cT9+opOQk/HAn9rlQvc05HgIuFD5tw4Ja2fhJ6z+QsJ8t
kY/VrWLYio4PV1Zfu+I1Ue7bSdLjla2Ci820T0sFPEqAk6n93+hzqK+ds2sfSMtPPhUPPU7bLSH5
jnV0ydfExgDgWoTVLAlikpUYXCKXVvVuNARGoCTj96bjDZZkr0QpwOkyuFg8JgoBEgZRsiZQEdga
XwcJUSlT7GI7zmdPp1a4WLxXawIuX6a5mlUoOtUUpopPpt4dkTr+BTCJb9D6m6p2WnQ9EsmWxzb4
JMMp9abDIDiiYj1E2U780rlH0uN9xAjqQqoFCjRgCM+NFFpmZ3WqYnXVw+K8NtldYr9fNyFo9rPI
8McGt5C27GdH3UGHDAAImNzu8qMVNHegP0PnxZOPzIiD3h9z3EVmoEbW1puOzFAH28CoKketmz41
avEA3RiZ/on4I/0xxkW9jhbV2KnsKO336eTE0Lzx6lxG9PdfgusfM1xw08g6Z5WiAYNVPew0Amme
bxRPfdoFaa5GefWrBe2Hm3VRAcWV659PtkIu6OFqschQrHBDM3LW2XPGWLG0j7ghiFaRdpgY4uZL
IS3tLWskcJFmBkZ2dn9VRvY2D4Ok0SKMSSBLRLUFQ9rYznNv7+ra0sFDn8e2Ph2y3QJLnoQmR2SB
YAGYXME0Lphjzy1kw26UhYIsqiVaYFPnVhtkYpmiDwKtOwAtUD9XLzIUZamJ3migQxv14l6dloDC
xYtBhmdiLsXHvRMzfJZiToux6ykk23uzuG8gWkDb18ZcQ8u2vNQ4/HsnOzXGfRjXWRa0i7Ampy4D
q/g0p6s31TL0g+jhc2qFuzAsfdrItKMURi3ybE+q39fmF4WWd45b36vJXPjNIrukRNHo1CbnEIA2
VV1qgC5g1S0PfGJepZfBvKEkXkrirMj1Ti1xYZYWZrb1DcqJ+b7FlVHf0k2Lr38m2QZyoTWZ7Hok
BUxgnJ76rZGvQYqK8C0YUDK/yyr10TEUx1sm68d1w7K1cWG23nWIBOcglGj77n3P+iLEIMwuCUKy
T8UF2VK3dzKoYGoi+42CdoqVB+24eVDO+N8Ww0XUqljyqlNwsixl+0oT7VAZygeCtg3BCAOzVkCF
8YXXeWr1Ejc79svKn4y8u5077VtSFtG/XwnDANiAc7iokXM7pow1yEYVE8ULt0Nfqpsm8H6Sfz/u
AnWPEyvcfjFe0QlVEgDJ9Xd7KTxr/Xl9GaKIygiKHNAFQkmEL5FnernMYAIv4wTiJfmsoqXws3Fb
WZ9PEFBPrXDRJzFnCuBEivF4w/1CVTXzstKQHNDf2Cc+auNrgKsTjTvcD9wJ3cFcWVYO9io1zUgt
h+MIsJ63m+px6KAIUxnmjxaTvqFSb8/zLGN6FB3TU+vcMaV6u5ct6EnANdLEkzHEYzvdXP9WMhOc
y0FkU3UTPcftp9hptI4oaS5uJ1PSEXoEGIghKgsEASAZ59d4Pw0NKCAA2LT29KloKKjLR9NfU3r4
wGpO7HAx2860pWl7+ARS5HA2TD+z14+43YkJziMymrmKMZRFvAH+ibreDsDH9UWI4qZ9YoH76hi0
nJLGKaqY6inYZ8MpWcG29Re0XvzrhsRfhaAsY9loMPJjTrNmJ7Xbgd0LcBn0kkB+7e+9clxWV/bo
E+DkEHPQmkMtzPzdzzx3APZPbsAoo5tpk/2R9DqILFowntwo+raHCohvcw+zIJo/TNnurepMno2t
dcNasdQQ4km2j4x9OCiVlX0utYz4i9pA92mqV8l5EG/+Pz+Uf8vn/bhPztIX0DJf47RWg1Fzbldi
HVNLqvXCsjA+uIBkgaHLsCsXo5T6UKizhZAfj03WH2enfiAgV0cnqFf9zGrKz2S0MbRkbh3m7coc
dFZZ6hyABNAkx0a06NMfwt0IyTi7BUAHYLlemm8WoAWr4bzlGQBGCTAh151OFHBObbnnnkB2pzUr
GzlPvaUkItlYe0lW6BIrwhWhMwTOeIeRynIBJx+UzO5sJMCNgm5s8Z1WduCk6mHtZGwwokMEuDFA
gpjTuASK96NjACcOS8v4XBbtsckmj9JZ8oWEu3ZihYsJRtrZs8MeKd1q4NmftCsIp6bo+qdhsf7C
H0+McHeBPTqkUHQYybFpy47S8fBopBF0yGI1lTF/CL/QiTHO5yroHNXjBmO7VvpWP4XUetuybwmk
pa6vSsDhjhyEnTIGCNExucx5HARd96ZzwOcZgcRzjCDtUoF2ob5zIZkF4SpymAbISHXvVZhHMrVB
oXtgRImJ06vmxQO2bQY4e+/S2MQsKzGGHz1pfahFyGgy2HZdfDsGQkeExQAtP4TV2WOp0FTBAPBG
bzoNzETF/txU9H4GW1U+bmG7faSSgbHz/5jkwaRWOznuNoBpsBxGz14UP1lixdGD659P6CcnVriv
13d0AP4ZRKKoSB77qn7I8sm3SytAVUDi/8JvdWKKyygBje0dG9ANlDGM7225kqORWKPXTdsueU8I
jzMbwDVw+YJvhDtpTalOaolkK06GJJjIA7hGPrRtGAcH0AqAKx4wapajOeq9TePV7jNvLOYfm72j
6JCODxCjkulLCAtqqNFgxMNmygw8j8KqV31j1ksdg+qg8Nx8YqDN/JimxdtqGpFtYoJMrZ+XdTsa
aU68zdZnyYqFJwDocDyfAOh0eIxqaytJj5IybtMJP8GoyVuVaDekJ0ezqt5Br0sD6LtKAJ5ClwEE
DJe3wQIMd5u5GGuu0AFEXmO2/uySoG9it/zr+hEQGWEoapgA4OGC773dum41UwSweswxJW56ZvKy
mVV43YrIJzGfhueaBbC2xb/auqHq64yFSVTiXuiuILnNZQ004XsKpTzQ0OAVfQkDa6Y5H0obCKZ5
fDFof9iqNfVMCgxV1hXeNox3ilvdIbz5tprG1xcoGKhElntinLtyAGpSBkiDM2xA/apFRo35oDRk
xDs9DTVwCeSRbLxY5JSnJjn/SPJhSro2A3ZD3/9OZiy2TrpbtXR+TE0BxQOkxB7VbUnVVBQzT6z+
po46aXWstrmtWg9S6aJSbDBapL2XrEC2Ts2xwwiDJNdia+CvHtaRcDAtCtpE/o2sJfu0lNZOwepW
LDdGtT6s5o7JKx1jobPbfi1z8glK1S+2g2Gs659UuNAT0+zvJwuFPo9a9zWgF22ZHIG4WDw3pVFq
ImFujVFyPYid98QaF7XzETj0rsO2muocVA4dvL0mILu3csUj6fApJ8tLDl5mb9ecp2qR2Wf//LV9
5tx3rcAMiS4jQGM3k/22DcZ9435PK/2uJt+vb6vQawGhZpEcAf0CJ4dH125DIDXeywEnU8OsD10f
nZ22npX1P5MyD/OVvl03KvyWf4zyBXKldfTV7A0KlPNAAmMZ/WQmX3TLheCEJjMmDKknxrisIgNM
J6WgbY2XLnGPrrNlUd2azXNJAZS4vi5hv+43mYhLMMcN4OG5k7p5QalioeM5RmB/iXbMjQ9RBy4b
DE5L6XmEuBN0MpBsglqE9SDPrW3WvkDKgnVx3bIOGyAUOn/L2x90I0nYGOZ2AG7Ojfc52wNMYVBP
AyLyYKwtCZw2w2N723+5uMRjc6mXYz7osmES4Xc++YHsHjo5s6UBFDg6PpBPG7735fwFyWrYDvWx
K2Q0CMKPfGKJ23hjMxPbSNE8MrbFH6cvA2YilkTyeQVnxcARwSQJCiiAs3KeZBhdAU1MlLZ6fQWU
ExPQnrlbb1YBLi67fE/1yvJapZJUoUSx6Mysfr6LzeyaUFVkZg0IbenO6B53OmoBWTXql4OGMbla
146AWOR+h2wwGKgmu9wEAensN3Cu1oK2dDSMvortzcluDJOSWy1X3qZ6NnwV4z3hqDcy3UVBlgJ6
IwJVLoQm6wJ+rZqOtRcEmXNbmfFm9g/paEmSc8GyzkxwW5tpdlrZzMSIDLaCMHdp3CMcBnMCarVl
lviP6EuemeN2cTL2hG6gTo+LeanvSdMvN8hgoQS+9LFSqFpUmVR57XVQfrd73wdF3WiSJ7JsU7kj
qWzDWi87VmyCzrZxUbTffl4PgrI95Y6i1XV95fRsTylpHnsnTT+hf4Drelh+7nU3hzVpO0kW9F92
FrJTbKwBZU4u+VLaxUygF0hjyLA7PkWj6HvZTh5EhAK62qDQyfbRK6AQEWoZaNm2XkkkzwPxxv7z
C0wOpllTlXT7njaxnuDq1AAYayVXtSDGwXv+WODCj9WgDgoWqTKu1ixUOyhwq499Jvl6gpANJngD
m4giLq4ybiM7zNuoa7M1IFjONJBHFtFG+p/qXGee1dkS3Knos0F/FxVR5JOwxZcyphJzwHNb0Tgd
ikd9HYqg6Y1bpR8wd2W3wZBSX13Xb1aR3uR0UCTnURDPYd2F/ouJXPZCBJIiamJ4AJ5qTEWobu9l
U3u0IP6YGl5Fwa9n7JLTJ7PI/n5yIVr5uC6pBovKRn2apFFvG+HSK1HWfZ3TPtCtp+uHUeCVZ0vk
PueWra2Nhwk0NjDo5w4PXS5rMQqeBJjAwnOVpTxQUOIs0IIaGWFLojMwNGUVOL0ZNMqjkv/AQQ2q
Nveq9gP58anR3351so9tZXedpcLooLghaBNKz94Vb3PWp3yhfket8Po2Co4eGzNjY7Ggzbjo1hZa
3TpbjURmGlE3rPo76naHcRner5sRwXnP7HD+AcXonSYz1rUdbfuQHsojSAZuMZbToWfyDsXVL/9e
nIrxG4HNCdk/viFfPFJ7mhCtw3hF17qt51bNUSv0O3fqO2zpUHoanrRBVcpWKggzGIJnMB+ghVHE
4W5CMBZ0Ww72v3hFNHZyM5oICAbqJzuRSRiISgEwBc1c8GWiA8Mjl4rFthPdBs5MPUKcYb0jfn1M
j4w+Kh/A26B6AIpLjrngCsTED+M7YxT/wBKcH/NVNZORMLSrWTi+htsqcAvTd/rpoSCpHmRSwS/R
MQd5AfDnKHpfSowpZBrGrIZBByIhxMGztP923TVFJ4DBpgBXsMileNXEaL+qAamLBmQ5XX7kw/2M
WerrRgTLwAcC4hoeyfiNuBtOb1alBFUiHqNok33ZC1qHyd5v/x7KdmaFS/oqZ3Is0pmYcK+3h0xt
Xmcrk+TsAvcGRO73vBJaNRfzbkVu1DqpCeaGtDE2lfetJR4mRLyayKCuoicnQHkoyuAIY3qUn7a0
at3NyeyAuMKchjl0qsE9bhghep9pgrLXhqB2l2q5a3mYt58DTAdATTutwKFmEKgrYxa8SiVZtYAK
wgUmFqVFXN/gvuYfpqyNAMgLVIC23lN/GdES08/KsxMAaPk0f89/1FEeOZIzJ/Id3EOmw6SWwdPC
zuTJlVAWs00KCkBNVu+F19pOHdBUSo8gOAYIWX+scAFawUzoQl0NKYNDj73qvFS0eaW0v7l+EET+
c2qGu1Sbgm77vKRQ4sSZOyZDvwSmadWeOi/bwdqIrEkhtKdBadmE2ihGjLiDZ5K0AQkbsC9DCyDS
MEBNqsHhA/nWZ9DeyEbDZNa4A4jOvmvMmMQHnXyKjEvflwijaLM/zc4d5hcljiH8ZOgbgc5PhQQY
n2OuSgWZysxFlUTNP4/Z3PpAiBq+XchIc0SGwFQG1Asaj2C05TaxdRpIC7MaxFYctvznpvaekTxf
dwyZDW7rnKFx18xCglDSyZ+qx0G5r7uv120Ij6/JYgoGX4CG4kPKvmO6Mung5Mm3Ci8NM+oeICoa
jJ4C4Qv7oCShFUHhCwVuSdjUmF9zdU88BvCRMJ+O+j1fX56Wqc81CsvKoaoi97F8bvbfEsJKuEQu
VPYe+lD5Of4iUR1RX8ZuKdzcE+vMb09CyArYX5XPGZ5w6+M2/pjAQ7q6kmeiKB05WyIXpyCxTfTS
xtjAdqxeatevQ0b3ZnnrEtQv6EzE1ReZTfG6DERjtKXx2OHSEU3PmkVnD8fG2mIDQq3Z1gZ7RYLr
fiOKwAzb8h8z7O8n22eUpMIELlY2WSUeNGDcyKPrFkSB49QCW+iJBagStvuIjBFsP8WD6r5uEAad
tceilIHYhEtBz0o1mSQLOp3nhjZrnQxNYUsZtHDUaJDMsmltwVPQwtQe1Brg7gCbcmspp3kslglV
PbvTE8+m2RcQGQfosqdIr5ajS8AAiC61JBgK0wW4gY502HEBdOTMojRTm421d/+f8TPzmy9ghfLM
IwVdrCWJVqJtdECHAzIIG3T1fJ9WaSpjhwphE3fq8GVLQeCYqv8+L2U8ZYCfAg0BATHOt20AaYfC
zEGED2pwqv2Fpp+/aF+u+51gHWjH2i7KAQiIF5TrqzmulpEAmDnuePp1VdTkMhi/0AQB6xk6v9AG
47+LPYH0CZpWiD2u+dauFQRvk88fWIUNtir0C1VwWHP3U5kVa9NA7CcGBDD1oV5S3XatQyTfXBDC
wZqLLwLCdFQE+Os27dQ5NTRaxYk5RmlpHbr2WW27QLOyIHcfnflY1bJCjiAuQJwD7V68HJC78xSa
jtl3c2ZMGPS1rBulNb+aRnvUM/o8TWVwfRPZ+eBuKJhCkgkgABbJbyJJ+15XWqNDY/Bz1fS+W926
neNdN8LCyzUj3C2/a71BlmqEytlghvhowTbfjumj3q/ekMmINIWb52LnCBiBwArE5ZoDoKe7tuME
rUAfj6YRUrVH/B6H29nM0sP1lYkqfmhV/WONL5PORVKADmNuYiMxPPAOHepUuynrrPDBh1RCE1u/
SyyFUbF+szJ6c9268OOdGOdOwA4ajsbRpgqQBOXQ5Z+UAnqGjS2JscKvd2KF+3rofzcFsdjX6zMw
S0HePjOSx1nbBs/6P9K+bDlOJNr2i4hgJnllKKo0WLJkS5ZfCI+QzJCQDF9/Fo5zW1QWt/K0+6Gj
O6IjtCuTPeUe1uoNrJwRmVffk2io4IAECyRMTkzYzLo2+iQBqVGXqouXaWZYzMULn/NvbbE4vkHq
8PpF7hWq8FIA7hIwo1foGCFAAm9MXUowYkYAAjnNwK7ysDh2Y6bTU5kYhmdk/Ij90s86J8ci7RJP
q5pPsY2tc8eUaNTeN4Ud2nDNyKsu2GhHkKVOePe1kVkND1OjobZP7m0uQ07d889bMasVbVIPmiYM
pENqDewkwCsbxV2hyh59uycxVBRZEJjJBQwUCI1MdMWXOiqrpvFSd7zHRsI3ty4kIXNvShLPoX8E
iYPPnGDLaAG6MZBMjYMOxG8K8NLPaeA8Gff6l8z164NyyiLlDmj1shb5TtqD0dmVKQo5D/AaBcXh
aVbltpHVEaYnjmRUn6FAg6c1Dl6d7U3soBrIZPvUex5uK3P9TZtvV7Rj3nQ9XhVArl+euwRPAL+q
uXObkpSGrV0akr7G3pcE3CBmKgwkPxcsM4M6WsywcMjZHQNSJH7jAMz303Ub3DN6YLYjv8KT/RKd
qsfPpvGMhlPWHSvN9azBxvyiEsxFAxdgSULSXuK4ToqZGh7SRL+IsYNbY80UQylR+5sH9KgdMQR6
TL+pAegjD2l0/Wx7F+igPYBioGVioFeISTrjiVPGVR2lamP5tZWGM+XUA6rT23VBe6qxEqahx4yJ
YUBonKuG3g9dPi4QpOpzYADV10amQicvldL27DkQ6DygwtDTxnaZkKiSVqclwhxyFEC40Cy9X9j8
ev0wl8EVDSv4fxWw2NA6zMSfnyZp+OQWYKGKcnemfqzW7ECUSfe6FcNQHcEkiVo4wMvweYNsahJ/
7LEdf/1HXKjln98AAiQdVPIYLhQ+HXFrp1aZU0fxMCW+ZgzmkcWLBmAe1BKGtMqPXc3/dQK4CsXq
sLYSKKzg2ecHb1K3yOJxBpOvUng8H72x0sNqCpt2DK8f7+IzrpJQ29WA9ALYSdF/6UPGbQMsglFB
jIee09sl6yXKf6GTggjBXVGqkGEY0iZq3fwjrNwIszxrvaSbVI8pjSoRt/vBNicSPliGhmRTMsDf
uxhnm5LuiJ11P29S367uLSKrxkmkEaFNPo5jk6s90O45mLNL0t8u+mtep6D1aDyj/7d++PwmxYqc
nTbzFM9gCtaHZfYSe/kNINoXdywkRR3JFyNCxmc1xCpLUMNGdkEDTXH8eX42lvwoJc278IvCgQQ9
VxczK5tEQXeeWM5piIcZu94MxCgW/fWf9JysdrCJmWXKM72Moedph7qz7pbfMdteS4LKqlpn7xzh
OIL3dXnadY0O1dNidgIGVeKhWlt62JP8iEGH0My0wzI2B6PjknkR2T2uH3RzuirJM3C9Jw2mZvXn
QSW3nWq+Ai1Gon8yvViNYSPGTHodg3YmHjt2jrYc8ToygcVs9E1VNm4tO5HgNKx+ZbCwiyZSW4yj
tZp+aNGDBCyqdBBXJknwFwVAKLNiwqG4rQBKo/1sg0F6KWSULReJ4rluiDOidm7qoI5GHDHbEu8H
4Gy3rnVbJvGR8vybmTVJWOSNbERrXyOBXLryN7poqJ1/Mdq3TlGsTJ9zwrFLoXe/gKIMKC29uMmH
6qNeUccfWIYF5GmUTTjvX+y7bNHknAJxssvhRXr3I637Ay3To1PItmwuFzj+3Oy7nPV3bLSyd3oT
lTm7BcL3dNc9oCvpm6ASrR+LGyl56ZpxXFr4uyzB0LBsbQEbErJWLP/8qH1fZTnRFKU3qcTYLt+k
67nQ/AYYGhD2L/ovVZ9bBcEESmTea1/mcIho7sXBAsB01FfBqiJFA9wzbwOlOoLnJ2YcxSy1r8qk
H9dYVsIzusszKQrPHG9ZK8N42Us6NoLEcZeUmXYFVF3svzuabyaBsRgSTyyTIGSOYCqruZYjgoGE
KoiVxTfGRpIY7qn39hBCkJwXY7DQ2GyiCeuMHlesG3NyHtBuke3Hyc4i2LBmFrFb2FiqzpHIa/1t
48rqc5eT11C17VkEU01KPGJZh+I9cL+9ZLhLfw5P7U0exgH3oANfWuWB/UxD2ayV7AoFy+2wsBkz
upIs9wQFVcfDSIbfOhJwsL0UbXs4wWbVrneXYb2/qla0kDKga1d59nOYeZQmFig5W/50Pdm47DgK
9ykEStDXJVxzoeD8sFJ+pP6i+RneDIEdlCekBg/mEsQf/vXIgCBViJmT3in2siA9pGMedli59eKi
lq3470WU7W0K4RJQ8Yy4I3KcPHMfHadZPIDMV15lssfeMT7URXZkNYPTGJfD9VuVuCdxNahWR1Ri
c2gLwfSYPVl+afa+PkwYJpNozP/n+60jL2gsYAZF+H6Z5gz5aKyh6yP7VofLQQusY/bQrSzgxQET
TyEBAaLEoVzWsf58v3epwvczF1udOXDyI4Dlma9uozihw+v+o6YArqXTNMVnqC0cioJnx0YZjc/D
pH0xu2V8Vuc6fQDIT36Y9Lbwk8oqsRKhqeAq6d6s0abH659i3yW9/1JBCeLUMLJSh0kBEf9OY8oB
a9eSlHb/a/8jQnxYKQTIbWOJT6Bayx0rEPucdelerfCYK6vw+nn2HRH4FlBjQDFPLJsspk1HMtlr
5OtOamUfE52EzKSSkC4TI3iiSp/LXp1MRKUchd1kiW961n5Fn+JfYwj80aT38wj6i0dHqqpdC75j
3Rw8NdHmsC2nArU0UKEaDGX8/3Z/guYqrpqaS4/705c4yKoPgDHy3H8NliQcSlC6KgZjncUdfKTi
uVe+kExi9fsa98+lia0cZqhD6qx/Hzbktygu6TQO3MUKE0s2N72rCBhkxrA2Wm/ow56nrOgEzSVQ
RcACaP0c+L0JzKyZyPo2u0a6ESIEdXWO3TlehZjKnVbd44Uh+eoyAespN4m3OrJkVmdcmDkOvgtY
eoI3xl8o1uYMgsW4BqYM80ovoj57KtGDwYaADNB+97NvRAi2MiXoTDt5UmJD4Da2MTwLPJeUvViT
LMuSXZdgJIVlZSxtYSR9Y/tp80HRsuD6be0+GUCA8o9eCSYCHBy761cVju/TR+ULP2EL6HU4uJF6
R79gRjG8Lk9ydWJE1lqlo5xbCFjuB33s7vXuGKd6VBdfrsuR3Jy4qFbmFl9MDk2GukVDM4auIUPv
/PM3xJfd5ur+UMtulDkjZkcUA2rAQhUc1aZvNofRCszxxCkGmuIjOKOCzMsPbhaU9anPAxofsAQp
udJV2y5+BgBZbGzmg7xNnP/gPHfGCcEVdSpuAK2reDDs4pDX9BfayHfzrEic3qp0l/IwBm1hEQc7
9MJDqVEmG4X0HugHWvuW6gxwTfRDXKhBqlQvTYMlI+dvCrTrUMj/E6mfuw3gW3Xwi3UTjYz6WvKY
k8q3mRP09Ah8RIlJ7KrORpjgaZPeynMF/c2oGiJF7T0NOzHXlfOyk7TGpY2I9SdsNAeVKqeZx6aM
wDfyY9CcW86z+yVzAtcd7qauv7ViLFLW+vzFiUmALhHwQLJXyY/YK0xsf4Tgi22jqg0+AcWinKl2
aEobrHh9PoENqh4iJ3VZ0PECwOJgRwnaBWvRTZtWh4kWMvRv2YULHlvPF4uPOSmixsk8feDe0Hf/
9cZFl93XvJ6aATcOvhPTHDAplU0+MM4DVUUulVqk8/JeDzFgErq0uTc6ephadpTc+b6tviuy4NB5
q/XpsIBdwPK+AO/3DVQlpL4zQZnmYxPj0Ee2W3lqE9DgVtZ23vf0G6UTPH2i2xMYYaDXlPhqFZk+
HnrMr33AhZfhEDTFqYtk1a9Vh674ios++wyo9p6tLrJ2o1Z5qZY6bDNFYrEyKaJH4hxYBTEvo3xa
QH22HIbkZdRkBaLdquHGYAzBC1UFuHKcpSyjDnMd40K+mrP+ocDLC+OKZaiCQghjIEHv8FAz2Xc8
q2URR3ZOwTO5ldu1aU2Rdyz5YzdpYTYnd5kz/byupXsxGkukWN9fm9xAezn3TjHV68pO4J0aKwNR
m1V7mfsGvADsYGWK5H2zZ/uYVyOWCoIiUA0ITogDxAbsRCiJYYDlBYghwPVO7N/Xz7N3bVsZgn+J
q7FLLccFLWdRRzVJHlndvSnlImmBycQI12aSwcrtroaLSR3iTfrwA8zyr6xTX//bcQQf4tDWnasK
nyepbi2nP2rWLQbHZJ5q7UKKlru9NMFbxB0IWY2YlGjBksYr+/7XkBjWoaEkfSjdBbsza3NbzVX2
aNCMe4rVckl1Q6Ib4usqAY5TatkVnqQOsHniWUUNpxwkX213YgBZDFDzHPC2XmzNzG5RxZhYgLan
8/2UpVg35CZm60sAOKUY+2fD7dhjXs3gahsotinJpvYOuRUvfE21VyaOhXHcc9WDahi4SrEs+O0F
na0I4VN2iT1XqgO/ldqpr9C3tWRKx5NCbmMmKyPsGcG7LOwbCr6DLRMpbYa9J6J+0Wb7NBrdE3OY
ZE1CJkbw+IRhGy9F0z6KbdUfUxccX9bB6STf5nIZA3na9jSCxx8bvcHKIW5uOsR4g3kscj7wG/Pk
ll4PYhswkXjxKw3G7z0Qv6K/yYu20gV3b+u1G1dosURdqX9Qsv7jVLHwui+5rhqYiT7/XEq8UEOn
EMHgspyEelX/qY2RCLbMZ8Nf1Oe251k/6ibrXdI+Zo4NS1v6IrTR0syaOgA7gF93s+RcO/phgxkR
GJXYBYX1Cr6YOWlMwVyGPItnj5SCtJItzscyG96u39++HEfXMOltWhfbOgZ6y5RwrQHUr8E9/Kd7
lw6AntEpa7/9N1FCFNN1pipJhyg2G+TZXZRvcRHfjjOTjEau/kbw+7i59xMJN4e3Rpq5FIuLBXU6
4M0TBWN1KsaS9WkKJiP9hDHUG6uRIZ3sueEzuYIfXJapUkEIWEZgAj20bnsAReATWANRISA/GSuf
eDV+YLYBSLiX6xe7YwNnkgX3SGYymL3mlJGqhCZRjtRVMbec+G1teXEpgyPYyyK34sSuPjqMed1B
byLC1F+1opZHraF6lNd6djNNhfWjH1R+sMlUPyVlgoHGhSi3CtW4bMPncg8Lm9KbTy2yJZrFQjB8
goO32lgCna3/lHfxscUdD1ke5NQdPNKCe8euJrwZpq8xt45LRblXpXHltb00w15vWtQ9Q8XUqIb1
Q5BoCQ5CG91u0IDXEAF94yVfhlBV6yfQOzy21eS5zhxOaXbQ1V6yrLtnxFuxgmXhNVi1dbygLTtm
9zQmvm32t7Y+hdf1TCZGsCySt53tNCrWBk0lWobhUNWxpyQk+G9iBENqegbmVAqXZNHYT9SRejyr
HhQAF12Xs97KtY8lmE2ulZXCgb8aVVkcP2ZJ73wGJKXeeS4g1MJCqRuZwu4Z6uY7iY9J8E73K68I
ZjsXUKN0w42pT5+ASHw38Pa+ULL/9r1EDqpWVZOuSDH/RfPkFaA0BlqyFvLAmsjAPCWaIT4slYph
clPlTUQS476Z7Y8tGksewGYTiW7IblDIKJRmLquMwcDahWqRYSz9B7Mx3Xvw56i+DlY5j6Sdfryu
KLseb/vdhCSjAOv8UCy8A5Rfh6zToyGWxyN2GjQPUCKSI8rucv3/mySjy2o1Brd7gyV4Jcza7ph2
8xNgFWQFpR05f3i90f1D7RUcu+dybCUlALZ12mj2eWCh/u93z1bpYYDvh3Lffqqf5yaUsx2uVyUY
3ZlU4SqNuDcKLVvL56OthOrSASXYyv6iDYTtCKQzBuiZAPQq3KHFmqRPJ2x6LDr7qsfjr7hhMp3f
UcUzGYLTBTVZDyoiyEDk5R6v3dQfauU3M7MexfLu0XZ6Sfq5E10cZGkmcnptXVEXTrVwvVycGlN7
nTZ+TzWOsRViPJeLWgcAPCs8tAo7fzGK2GOqKZG94yzPZAunNa1EK4sGAMXqPFhPNB9LwJ4NBIMI
jboUIKuU4qH8SXFFVdked/0AG0PQSFX2Dfa9ovGmp94UVD+HKiCtXwXTsQ2ybz36/Z4yBQBFzA+y
ut9esfHswEIUKnPCpraDzRfLY3MygtpPgxZ7DPOH7AM2wsLx6MgwFfb8jAMC7xV2A0g+F0wsfU5s
jg3cOgJhHL0rqZke0DVRfSAW1QE6qj+VSmn8rtVKAE/FuT+xrg8qANpLfMOekW5/h/hqZHWsGC1+
B6hWjDsMG44vU2/Lhsm0P4+ziy+8Oa/ggjQrK7Fvjh4XByYr5hdjgymPJubm5zDRYuVtmEvjOFTZ
4mtFmc+Bw3PsxjSKfmcnpeYlqlHfa7Ru7phOyh8dp6WPAl9+mnMCh2bPHRaxjcq1/dmd+496UsaB
ORTtl77IMTBi6dWDy1l5UAhJg7zviN+3VRW4OW2/YlNZ8y2AZB+wtuZ6fULIzZRwHQ0Oxbaw2aUW
j2qeThFmgwwgBFt9lKd18x0DyfRnMpjLZ+yQYJ05UXJ0erpYf2tzGxgZuY2X3JhpPXACmTsF2BXX
H+OJNZ/NGASo2mB0r9qcMc8c4ubXGJuvjDZdNM/GEM0OAMAyS2GZZ2GrHBmLV/Ts+zw1X8wsdyev
bgBY4Xdspq9mbafwQ5Y9P/TxVC0hrZcYo0OOUrxgXK93I5fmD1VMTR913jIwURbzSw1UXYD6AnZh
jpIjSpp969XqtNxbJqDc42zpDxgts46Yo0wBC8NqzEDrM4DykF2rnykqsjdaQuefS6GAS6h0tAy8
zgYfOm/klhIQc+GnpkErLOiLVPvi6mhsHoYYfVRs6I/kI9fRl/O6YU5wMkdpJXq9b2ArRBYg1sEw
ID4YOOYS1LLCkrF6M921qp/9IRYwAeHmp+FftDUdeyNMsCKDA5dXtxmseUg/WlZ7vxTO79I2Q+wN
gl3YebqepawO6cKYNuIEY1oyY0zTGMZkxN9oTg99jL245ElrF6j6DEx5TfLq2GsCnh1QiOUzZU1n
FrjNLpiCrLhrDnXkgADFq0/4oLk0M9qNQcDIBwgMdmQvaInsljZUtSAvm60ANgbuFT3Dd2viLw7Y
aSTKshffUczBWh6iOBq3QvgxeEYKmsAJxk5qhn2TUg9UQt+JMuKdzR+Smko+4N5zFjhq7xKFkFNp
Fk9iWpRRH4xhSwErktwATfluCGJPDcZnea65d6NbicITSIvztAH1GMAdHO3G4h22fw1AC7g/HMX2
r6vnbvKy8fWCsujGwrRxydG/GGACztRaHuhx7aPOreEpGVpycNyl/lT0Y/JoK7WscblrHRvxQu6U
ZfBVpYnVPTjgNqoNl2JZld3py3TPlvGlWaBIDEWB64fey7G3gVTImvBXQXDlAImzjIcgxdwgHfVv
8kxJ3zN98KLoLuAbAbMrfEagHvaFg/ZWBJ6uzgNb6Yl35s8k7sN8tH7jzR6ltXFKXPeelNlhSRFA
BseVfOD9pOGfHyE2O0im86FI0CmltPOcBqulrUyHdi1k41JFpHOlqshiWnCpyfw1AWKzz6I0cH3M
xqrKgQ3ReFL/DzsCu7qz8axCS6BjzjxiRQuOPNYtD3nC6JdYeQ4xQv6kaDgpVrfuOge9/3+vPQ7B
liLCBMZ0REgMU1NsbuUJINatT8oUe7GReGMmmxbZ09GtFEFHeyOd7U6lLBpqO2pNp0R+opw4mAiu
n2ZPP7ZyBH8KAxw70nYsUlrDB9BH2MSyN+2f4SsxBm5liB50VN0Bg8NIXLGqQn6XH22fHhnCvOsX
HngjwN3qZ6EbNFEfJYF0QGHPDrfiBTsk6jDqaomW4/RjDE3QVeST1x/HA1jgf9GDrLsi+XAioY+a
z0nPckhTxlvSNoHSADNFViSTCRH6VCy3hiStWRsl8asRHzr1jdt/8bTc3Jqz3urmnedSpzVMDhE5
ZqMW6zSruseKu9L69516cNr9Y07ignGRZjxmPGdYWwUaa8eMk016WTN2z1dshQhhDm09Gicgio1M
ZM3mkt7Tnj5gcJ37dk/vc125KZnl60rnIfgCzjH/wBv9mM+9XyRDWILsynHt2tc07WOjsfF03QZ3
U7btz1s/9+auVVthtFvbShr93JzWhC1F7eAwstC54V9HVTrgL7F6R/AuZdHmRoX3TKTXhUeSxl/q
WeJYdhM1oN4ArxLDLRc4tIM2OnU1FXBgeu3NJtCD7DEYlG8zkE5rzY2uX+FuykSwno48dAdmMasw
WJZXsDq7ul1aMCAWT51+Sk3ZZsT+xb3LEawCDHJx54JkMKqs326deYpstFx2EOG9wAEgNc14N0eZ
c5zZ4jVz5qkgd1uUv5huguG9H0WwiZK4WMtgq6PSf3PrlAGHvGWv1z/LXmqAV6cJaDkCtLeLIVKz
HBrM+a0zMn79Moapr1VeXfsNKprYHdRcv/OVkykjTd7bIjsTK5ytWyFwizJexaqzZxzyMAtsQK58
oDdT6XEfjy8QTaFaVMjwEvZs+Uy0YMtG5Qy0T3HiFQIGM1zxaX5kwRRq38rDeJRS1u2t6qBmAYJ6
EJVYAGwTQgEQwwql6nDUPnALfwpSX0f5z0fr3fB+2KkH7ks/7fw1slZZsLxJPvCqj0JsJwD3MCyA
vQOTQuyITxzUL+D2heHdz36tR84hewDsXUjdU+xhMjmQ8WXsqtRWopBNaDG1WJZDouUtXxw8GHz0
F2pf8bUZRyXUKyEVrLWSg+6EEByUOK4FpBFgUAvf1e6z0sg09FerbvbjzvItNQegK63hb+qbwa2q
A1PtX7ZV40Xq8JMNrEFP7fktoS0ANUsQFtYMRDGN/ZLkY4h92vD6L1x/wOWXeP+Bgk/XurlUUEPC
vAj/PIPeb5ieNfzrupC9AixB1osXDagYAVot+Ccg2ABorKdVlN7Nfkl969j+WgFM6clFZ9DPpZP9
UomCLYM2XJnNBBKLu456GgggfRQZcy/387vy1LmQ+Tdl5rNTCh+7XFFtdAKZAxYmD2poJj4Nldgf
G+Srhg8OE56HMpbLfc3e3K3wBQsMidEJGzkwZVRRatvLsemnYK275qCvX4f+Q/dRlq/uRLSzowoP
gNoyeMFHHBXTcChvul7+N6szZyIEiy0cEFw6JUQ0MaZLMIT+pVn+NSOujrbS5u6EJN9pmiblKWSg
PIR09ePofJRo/v5FWSuyKPBpMMlynqRhsKgBqQa+zggQEk8DQRrcLKC9/LQMrBvdI9+xiSnzdrtC
0XMA1hUgmCzRuxdd4hYdkL0iXnxO9DtTffqbU20ECAmN7rQg54lxb9UXO1LD4WsW5H7hIGwQL/aM
X24w/VXI2IgUXEipzEC/LnEm9C7iyAgM5ieJrxuIyyuTbKwE4608Lu+6x41UwY1QgH0RQ4dUc/aZ
42Wn5DiAgA7oyz+w49KHS1jhZSh3JTK5gitB2TTvBgNyM/Dlpt5yWJewbRsD8nEAbDaeH+3DrKDQ
LUtV993J5sSCO9F1lTv1CMkj0oJhwt7wdFxBIhbfrD285kowp9HvEn3aSfsxH4f5HyT9a+VLsMMs
B9rBVJW4ZscnkR6iKX/PiccmD46sgVrNwfBzYl4WDgjWoUT6qjoXMfBdujjKsZQV6Uc9h/QG0i3T
h2qFuZ/hxoHDQUxffZXJ3P++/xxYHOfgcZbESaW3Uak88+5VHW9LNMGun2vnUbC9VHGQo5yr0aJp
VUVOP4Pe3HzktvbgjO6TkRuyK5SdR7DOrtWL0bLwAR0NTs72QSef/qDAX1B/rqEvm31AGjJfVoeS
HVEwz0FxXeQv+HKVaj8X8HZVqrwBkPOmIKlsAHw/pdioyXoHm/e2XmvqkqPlBAK/Z8fDVBEOWPoD
0P0WQG56QAI5/l1w38gUrJGwtHHYCJnTYSoOqp+7Aeg94Wz1JLAh0raOKEbJvqbMIITonhm1a4C6
4X99bRmyevW1qepRf0T/QitC91TKgtbejMCZvgoB386HxZ1HkE/RFwwCoOI22P7a1wsUXx08G4GF
0VDHaLOlSetv0o8reKCm0QxKalx0MfjaocSS+f8eeX32/e+RpeFFor6mUIx2a+wukNULJPnRmH+Z
6sGoXgvleN0PXGYDwCDEXJDtoPjsmqZgmy6wshVzMjCpVsdPdjXcG1SG9XN5EIjAW90F3TtgzMX+
WhGPbZnFEMG1J95V912TA/MKuK9VHVw/zE5Z+FyUoCVKNy6zMZsNGpVxVLypn4tgus3D+SsN+ZEd
Fv/OPgDdo4vogcuK+OvfPg8U57IFJUn7lpCEDH1Ulm6UNkj0be6b7dfCdUIgM/hK2hyuH3f3271f
rC1oSMsGPU1KC6dd7Edl0H41eikRcem6UWrDBBLg1C0QUItELVZnJ21LUsyOJb2/lCkGF7LxxqnJ
j+tH2cksdHCuu8CYAow/eluCHhZqqxoghQH6X6QdyEt+w49g/vsxBwkeY3E4v/77R4q+opUC1dbG
7VviPkGSrbAORs2jHswRpWZ7pRVJznTpKc9FCDGhByra1GvtEGkJUFZMdOc9ejNYyJfGoPMmYGzJ
c8MdncCxsOqBFTVUFcTGmVHmNDfaYVhd1YrOkyUBDd2nNphAFlx47gvGSVBB8q8fdUdNtlLFSXHN
UIaxbPiA7fjypHRGoNXkQz9PkqeFTIwQeqx6ymlt6ENEqlvQ12Ox624qJenmaqaCGZ8dRXAhPeph
DiXaELn1g1IORw5ExSx7dvPZT4zOK8vhUUtkLdUdFwl2B6j9SsfhoJR4nj1wu1qMuJp4RIzklE+n
IuOBpgMBNpNsI+2EMh2SYGgaNhgvV/CNvCwMfcTadN39VNCQWNgnWs/eRN60uQ0xFeXN7Y+Gv5mA
dIzdh3GRXO9OMRM9TuC9oc5DHODRCE5Lm7Qa1DucR3rev1lJxT3sU3iZ2XxgpA2TKvnR6uQ3ncYT
4B5Tb1DK+4TmMoySHTMBIQBxMCiAsQek2ucXjoE7rTXbhkdqhsn2Qv/AVVuynrKjrGcihHigZmyJ
UWni0Vz9UmI0KF7iWFZA2PEwaIOAKMaAb75kUmWYncr6shkAxaUdGLm13AhEUMfqdj6ow42i/R/2
pHcK4fiA7zLF9j/23wu7TCHTjBb0lFAdzgIT7IdAkbDx1p4/qR4oht1AO133MbufbCNX8KYV+u7j
nKurN0XVHwVajNBIHkV7UejsbKudbrL4hlTObKWQkZ1y53blBCeBUaAWOaO1mwd2jke17Jmya5LG
SiqzLpPYIFs7F5qYLVbP25FH1gNB7aLABCr2WLHhxkNAYUVwpLJUZSebXr/hu0j9XGS8GIvS2BA5
QW/4JyVG3QktlO85iBYt/cY+5KBZ5Jo3fJdFij1Pt5UsxHnWO1ofFzB/TLR6eVd6SD+DgQK1NpFd
rEzUqlCbjwm66CQnDQ5pKuS5RoHG5vrdsFifpriShPpdW9/cp6CbnTIUwCTveOQk4EvpYBy5ad8y
lb78jQ28fzdBP7njJk3RDxy74fRkJ2GKnsh1CbKTCCE2g7d0HBXfZ5macMnmr0oxf9bNWLKvKvs2
gv9VEoyJpSUCXuG6n/q29g3sZJPF8jKbS0Le+ouFgI46p4pgAzogF8vT52qggJeBqAoQUuIELGhg
mz7EmgMMCQUTrvMHp7CP129w3543AgW9o8akqmXaDZjF8oaQHpsDCv0+9Q0U/vFElbMpyk4oaN88
dVYX11C6SiX3jtrcF8DlKHPb7wzjxOJGFnXWEH3tRgUttMYCC/YV5A2WPXpYSPw0NMmpM8vAXnCz
LfsUz863MR3f1LGVzKLuQBnBdW1uV1DQcm5GtZ3wOdW4P3Ru+5NivtprzBH4yaP+WPbLPeAv7oca
owGDdm+MzifS5KeB25FV6jdZTR56RbkfM/j3frzPAAKO/ZFgcM3DdT3YtaTNDxVUnOpmm1UD1CAf
2M1okxNrh6Coki/XxezHrI0cIc/Qm65ujTUe09nrdLSymAeK5do33zA3x8L60b5FVepRInUNSld0
QHx7xm1csmlCHtkm5S3oHg7jaB3Mht7AOwV4Uj2Rxb1z3eVbS+pnw60laiAzMke83WxO8xowJ0C0
Mg4DtmA9IFf5Tu5ZIHL0Eb5MwJPL0oPddOv9qh3hqi3aVIa7Ci1O4FmkR3rDUX7Wszs0GcIYlIuB
NkbXL3o9x5V7FpEiYzPrXKzkDGAnfrLMh6oELrliB5Pm+C7wh0pdtrooUdsLGH6ghS+tDoFYQcEz
rnxc0sVfpvb5+rlkH1CE4c/bZXTx6MfBMMHnHFATSg9JfKO/DcEc2LcjRlUkOis7mRAIylbP27Kt
WdRj344YSHr0ArCBICJfQsnhdsPbu6KIgPyjy42xbvFQZSHwqhqvfhqidV7WswBfFKNNMr8uJtRF
Npi4myNv5K5XsEl5Rrfq08WC3KRNvMFgHq9kgzD7t7jWaBBMDfCWnItIczdOugyRG4wlGK82b/XR
DHltSj7W/klAjAJ+HwKKFMHUwNbWEtZg0pc0mWfjJBo/Xv9IEgmukAPbLEdXx4ait/FdgyWXOJN4
5l0BwCtUsVGKRQZxDDFeqiXVctxURbAbP2Z+AoTm62fY9Q4bEetP2HxvnIGBFB4ievKwAASgyj8t
qhvMY+trjHrzmP5NemiZoMwF7dWKlHwuUE840xh4y6PR0I6a03ht3Qa9jL98Z30HQX4jRsgwpi6e
GVsghuQ3Y442bl55a2DpjDas2m+68VWxdW9yavwjw6DZ90zvwg1BOFBrU71xYESqGq3gyGQIsqBo
IxbUafiHzFY/yHj99nXln3s1hKwmLetEL13IrMbbEamMS2T0Hfvvdgujky6o5zBFKYjAQkDTdtWC
GlOBHeOY14DLcBIGFGUtfUa/EcBI7RSveBLtEVArelTlP9uReCM1vAFQMqB5B5vw8k1vmJSvanUa
F1EONAAW2MDxwBD5lrC4BvMhyGHi0uAfqx7A/EDExSjf0ockJ15fYCmuIk8myilsIlZw3Yz+dFS3
8sF+hGKYY4IsHEMfprgiXWOpCDipeornSDd8bxJ3eraXob2PnRgTQdjGCycAQRdeYi6jEXQT0e/m
EXtuHaaxTpphUl9xaHLDlmX4vtQJuSkrNCFAjaKgtDXb1ILtT+RA63H+ZnRadcdKc/IAXY2KSYVh
Wc+0neHH0v8PaVe2HDeuZL+IESDB9ZVLsSSVNluL5ReGZVvcdxJcvn4Odee2WSgOMd3tB78oopIJ
JBKJXM5RMMcYlAUKW3qgWF6PyWN/SGNEV1kvGnuS+UXnleacB2uQbAHlfYQ2nZI+YgbWfKrBfXLb
jll4IrCII0vG4EhnRXKzmASlXUaCGPnioPPfwPmTqSvHRjGGCHN68TEDBrnHPOqRG/fvJgMWQeil
XrhOUei6YIWNwiTENOYQ+1Y0fdOKKHNIp70NqnKnBqpwafnjDGk4aCZqs2jtuQT1yQPJSrtEj6GW
gnh8VLzSyR3tNvoC7EY3/opGBVFd9qL29SkT2WlAoalUwWzxuWuuyiBqzSGIgVdrFLBXPbaTPMSb
oJMlb5Kz9iYcFOVmkuvue2tlg4P5tPwqnuqUubSou9NYjcSP5rSd7KQhvwxt1l2ZJIlP9KFzoehL
BEZ2QUy9uVKYhQZCK9jLTX70BQggLTVCrNSk3zR5badUFNCKJHDufGadrtdaIh0UCVM17OuM4e59
98GHRJ8rv9KB86x5qgbEkLQYI8LmNc0JGGj0BxCHC5Zq+VDOSenKZ+JeWTJofDyh6FIVFAVMWK4w
RdCT8gl4QDeUDKe4Hp73VdpaNLAHogMXIR7V+NbUKAkRPRp56pMx9LRRld2yUAN3X8iyLrxCqFSp
smGi9neBZ9ePcZo1aRz5ikT9svslAzaPSoPXZ5pTkVawSxeVh2Wb1uKWYGoVLAWqnEySFkUoDjen
7krGi1F5WGZ2xtvCETUsbG2WacoLSh8GyJFsPRdGtZQ2UhnCubLM69rpSpK/pdZXLe0EVrG1U2g9
l9EnjY74CwrniYY1S3VoVeilS6brKp4F27Rl3hYuRR21WRkOjVOlHzPgLwE83O/j9spCSK5HxqGc
Zn/fGvhYFttjLFR9wEED5/VF2zdL+65WlCwCHp8rd2A2/Q4H64/SQpCgevUkGuDZWDjIA34Y5hVA
Ss7nBSuzmVoJIwqondCDGTr5aE+SbTjkMP9Ax050VI/WlSwJtNxYTADbgooaPEQLAQfnpUOQrMNH
48KzqG5XqC1OwbWR/N5fyuVHuIO1FsKXaKS81EGtUUUolTB6V6dEBc9NnoDbNKwl876xZOlA5/G9
sqr2RxOa4Zd9+VtLC3p3ME7IgLXDf+fGz2KdjLGKrUz17rlPrGMYJE/7IrbWES2zYBvFHavIPESK
VZjmkCtYx8lEJ3P1HJM7ilmrfSGXelgLUxTKlct+GbwXrBO1iZoYYWE4qsSRxoaiOpoc94VcbhZc
BIbc8aYCTdEFSaVRFBhlJDVGmCQgG1mvHX1HkRTv3d6RJCD19boXitggNhSDz0VHJVwGgqLPJ9DK
FWZSV1pDVOHG6lKQQV8l8dd9pS63B0qtBCwfsBKga6MupWMd+yPmrxvaOGNQoVlS9P4V6bF8xkoM
2N3HVu2S1I87VtkWONCBhRe97uuyWOv5aTrXhQsgaKN3hpaHqR8E8ktJ6QmU0ACSIL/DvLkG7p/o
pbahFDh7lxeJoqLrhve3QHDVB1JIsa/mw4eJ1Dp6boQI0cqlUmdCuA1KtEQJywKkWMFUvspt+2QV
+THLTABQqQEAWnBP5WWPOZg5ty0Z0SKbQFmMCZTo758xjHFphq4v7MgXRHBDq5qjOgwgPkmGBhPJ
BQBLR1UEdLNhj2dSluVYGcokgTmqMRfCHbWe3anMRjurAU5pKN6+sYgEcZdlJZG+HmdA2Fnx5MlS
9NgY45uejKIn86aRrJaN27+sJLpc1wjOgfvvJOq9oonwcS8jGAs+D3kYJLAUQBRxThyPwG5kpMeS
ZUjBlZmMEefa/OiJ9YYmmS/7y7apDrw5nuD48At00ihU06GtrMQPZMUdY+W3kk8f+yK29fkjgjvG
pQRuyNAYEpBBtOhbzwpPbtAESNPhZkKHm/PvpHGrFxGrnuJOweMp6N5J9KFIud1Y7bVc/116IhNN
Q8tF+N+l48JasEhbjMWYB58bMK8UD1KOQkQpArgQbRAXtyBJlBtl1Cd+OHRwhN3PXFEsgSvYcLSm
grSiiUGwpa2Zk4ELfYi7wsSayToSbpVXdvfEfG/D8boSNUJt6vNHFt+xhhHSngQSZOUxcycdM0qA
dds3gQtM5s+dWcngGjsqxWpmFXxmfiOl6jWb1AGVMYwRoql3cKRATx7C0phP46gALwrpTsAWgMsh
yOXkUAIr4hSE0Xijq3F6jc5aNM4nenNQKtIA8YfdY9ycHfY/WLQmnJOUrCotNTLCp8gRBh9BjWyC
aUuwKpvHEG3AyPIBkBAe7NwTFx2Im9oQTbiUoILWln1r652EAaHRBG12MnUCh7wlD0yjuozOfgqI
5cVhrzy/RGkgx0UA3oqJaY8UQGP2xCTzpPWZfOjQLiwKGkUCl7+vBEZBotdd28KySOlNbW7rUuEU
2rdcDa7292vrrlmrxi0l4B6l3kri3LeGByX43nSHEUhh+zIuX2UW4rg/y8d5Fw0xXDzWXeLH1HQn
s3X6vPMq+TVLo+ucvujj360wLIeGoriEBla0511kOfQZqbOgg6OpAzRejb8zU75J5PKwr9ZGMuBc
zHIWVrvUmNOgxFad+H2gviutcpvq2QQ4RfLWsPLZDJWvgIU/hnntmlP+gWLhE81nAR7G1nkDdqWu
a6hyoYrD+QclqEZc4STxx9JEwN+12tfOiIPXfVW37FH9bA+0FhpUPpyMkVhP0daW+CySPMPM3bY4
Dal0VWuCF/WWOmtB3JJGeFAnZQB3Z5rVNXzfgzEnz/u6bG6bSpdHJaYXVZVfsmS21KZI+9TXwjY6
pr1rFQ9zcc2s+DAZpqMYnd2p2n2oF/cVkRO7G0Sd6htaoo2IIDWGcgUQwzgtNVrGs1LS2M9b/YoG
8c0gi87cxrk+E8G5LDTJJ0pCIEKtjOe+Sd1weIolU5RPFGnCOSoD8YLeqRAzaPRqBFdSFtKX/f3a
EoHsIVgnsVsGMAXOT5nV5s1spUbqWyhTuqBrSt8SORNx4G5YONr4UdaSEQUZlI9UtXAwu6yEx1UX
JO7ZipRjU80KHi9m42VhNgua1zZ84pk8zicWOqlruU7hEyO0fkgAUgrnUnL03Lybl7Q7snEvcyZK
8G9ER8hGaKaFzAqoPPmLU7bCQc7NETxxEr0qlaK2h8a6UtXuNieV4UzE+rq/eVvLimfo0u+38Kfx
faljXMc6Eo5wkQMeAGxOb2StOypJydB6IsIG2rL5tTAu9ig71ZiVNMp9mjR3sySjt5jettIg0Gmj
4GQBO+SPUvTcIuMYE0KTDp9bqL/q4poEIJfqB28AGyYAb11zvOmb6IrGuttJfxeAC1cbpjKQ5kGq
Bwkffty70JQ4ZgVZEgnVk4Z7lGrRXaW27v6+bR06DdkXZK1wJi4iLFIXNarjMnL3rHRI6IZSKwgK
tiTosEBc0ZCBiu35IqZIo5tpTFNf7slzoBe/07YX8W9uWR+ye0CFMJfxI517DMxAGu9ZDmQfYmJ4
81ta68c8aLyQClMhy5Zz+R3o8JckHl6rGCaD5HSu0dBu/DQO9AYB1WynJ+O6QyMZwN6sX/sbtKka
MukomS3PHb7YHwRlB8BbNCHPzHSk4iqoQqfJH4zyeV/O1pn6HG7CkD+QhvnLkmqzStpASX3DkA5F
d2cWzKlFQeiWW1oL4Q6uEgYDaSQIKSUGfgj03iVHw8ToytT5cvZ3mQmWI7SWxh1fLU2aoG5hebFi
yXdmOCvfYkZQWk2EOAbbqwcUGkzlYLyCz9SDJK1Pgh7HKK4GP1deqwDUmbGIKG3zKKHC9r9S+FR9
J2WDxCiWL4OhTe19QwVgaFuXlb4SwJ3VqEXfW7B4gxx1lTEZn1ote5f62mFA5C31+tWQlMO+3V3Y
t45CEWbrDMvApX/BlFaCzTSsVLSH6X310E6jnzXyHSIaz5zox76oi03iRC2fsgrjJzWZjVrVah/5
Fr+oj6NC/aoWBLZb+mAJ1QWQCNNflHNFpjzNgN5GrnQoSvkukwMlQx85bdxOCQFg3NJQVFFefvHM
JUEtfZne09CvvvQtnKtFmNIPdYy4qVuO7sgou1MCKwptvQ3aO0vDJB+YQDqQrSQokQ1MP+wv64bG
MkFhBeBE5gITwh0zq1DUIh6R+8tKDJ+UXaP4NbB7PIP01qFM+tH5B/IM5LHQAIBBJv6NUpbSFCpM
KdF0mjjB+MjS1G3N77roMGyYi0xWcpbTuDKXouzTbGJB6fcocLtZWnQOC+fRK8CRKFDpwi/iWiR4
OmMbAct6MdUDTPkI2O8DBlpZDfziEeMAeXmsyhqTn9L0NQ0KQVR64Uk4gZwjTpQsrwwZifS2KzBl
kEbdHXIcpUDK5gqu1OIsoyiiIUIGr/QHqwLWZqNhZCMs52PEDMPfN4qNQ7CMbCBrg2hGBU7++WbR
uKwrzBoAw5sRywlN6piT+oxVfE7l9Is1h6ENdKM79KKKbpnLpZTR3qii2UJX8GDmW2mmMpX6OQkr
v6hikB518Ch0mJm3r99lLKorKPHA4IkBsErE2ecKNgVStaYFzrbQSrKrrM2uM20+UprcsHg2bjAR
/cPUOsfowh+5CVRqpjaP+59waaT4ggWDDO6NAHB72e3VeQgCrcqAuJ/7Jo1/DXJ9H6TxKaunN1Ut
/NowBI70YlbBRNyJzkPIgmdbOj/O5Y1yN5WaDNQRPXOX6WSt9QHZ+qXDqFueH+L80DmF3wyCcPXS
ZiEVh1BVkQFBlyHnvxuMgMtaURZApMYkX/iaal8qUyRkWzdVXhI5GvoY+ZrqwHAYqhG6MQsd7bPb
2un33x2gCYGOEzr6UTw5eGmm0GslkfNmDQKlcFpwVRaE0SR5S0tVsHKXKexlw1YiOAMxq4L0ag8R
ARojnG+zW8mfo4KGFzYu3hXLKLviToW9wOo7TSFwopf30CIeeR6gHAAsn49gmTrI1kSwc53evJYA
pFVTck/BMM+mQXAaN40E2M8oRKL75OIoyPIcFkXQA4MZXc3IBd6b0iP8zZf9A3fRXPx5AlZiFo1X
J67twhm8yrjpBieb7/r0asEzikGa7TDlMTqOow2CWcEqbpsmgDcAb4/G7QsUh6kqhnQwgKffAb9f
0e3Cpe+xTw0HvNJOY88pmN5zURPkhm9BahMwvMDpRAaBd6JNiZq8OeACxDhJ7Vl9d6tKzWjjSemE
LPbaBFBVgsW96GiFtQI1HBuI8giwRjiHSiIDPBcpUNiNDuTushwdIjK91gV9TyzttzpUN1qWfFWL
7kZtBkGcvbnIa+FcVgjtTYC57yPAXh/R1qu89LOTtzY9zUfMF3wkhWei88wXYUVtGhQekqC4MNHV
fRGq1RVCQGOCWOCSOk1g6y/JAQ9zv3zSXpprNCG7+4u8dU6wq6jQ4fWKai3nwpFvYrE2wIA1o5R9
DfP5GODPgHZcj70gCt0WBfhJdCGCxYN/J0+lhSHUGKQFTX7fzTcSuFnNrhBNkm0aDUz0v1K4fcur
kI5NClRhWT4RNH7F4w8zzhypxnCDMtiRDjqaefKCKBGs5KbFWIivgbuzgCHwHWijUWh1vxAXy+rH
SB+i7lEf8oNZyYdh7t22PRDzuQjB8zKEhzocD+1cOHIp8EiXUZYiIyWG4HGBQUEX5rlDIuDjmQoD
4LJpdKvUkg3i08M4PxXK61A/dAmavrvun/ijlcyL4msiF1YWAmDWfF6igOogv0YukD5P5VXndLeS
GOF16yJZMvYLhBzWmk+eljHJ53jRUvWL3FEc5XlBjlLus1fMWqBGbyNixsi7KcqUbchFnx+GCoDu
uUR6nEfCGUoBJwBk2RwjbXVuF8m3WT9QSdRusHFUcGcBQFSTsZfoIjvfRfj3ONdzBB/92Dvd+JKx
xmWiiaktX3MmhTsqJjAHEafjOo6o07nhcbrL3MA1n/TeHj36o/JFOe+t+ONMImed1dwwVe6gl2YD
qTWqgKxWAgAM3Fxf9V/EsqvC0xzAx03H4K671a72fZ1APJjfz5c1TaJsCBkUlntbMZ0GaMgAW5TA
WeTUAFtEdJcdZgOgCbKj2FLviolbPksk56kA9Df+tbMa72/rdmRdzrACqmYTZ3aD0klTmx2zJazM
D8gcOqhbgvpAdEgpdLsUDO8ExmB0Z/Od+XHV91KSgpXNaDzAExuuVNr5dfPaAZXmKDth7HW+CNJu
04wp6kTIkoPinM87KGbYTHUAmaRNgSSH+Zt3Yj3tb+oSFV/otZKx/H0dgY1FiHEEyGDhS9BcT5nw
JbBcgXsSFi1XEkwS5iwPm8Kfhu+V8SHF39X6NEf3mfqm18+h9q40TyCmFV0nGwEXhk7+LB4XWmqR
HpIWTX1+leF0UuA/3WcufCx4yH6nvmrLA8w0sTHSFbpKLoi9RDvHOSBpCPrGZEA9K7TQxjCUy7TR
iVWRmA1/eqYj54E6PZoxZIXNi/LMzfL5i5m2T4k8vJTR+76ZiBTiPE+EFyyjIySZRm3PyauqP1bR
130ZAlPkZ2ktKQTPI4bKfTO5wgravS4MiZVNW0TqEoaBOQTefaiSqkWyAqPAnPy38ChHNm7a59YF
VGPuJNcitvtNG9TQ37488BGRcqtmgdUQzkptfVKDEE75PnW3NTlN82gr5Of+4m2lTwBl9Zesz/m2
1THrg6wYNaMGb9dt+qU6jMfKm2Jc5AT2LfKGAr0+v2Ulq6qtVqWp3voYIvsRTt8UMBDKZuT1s3qV
WiKggWWVLhzISrNlU1fSdHNCUrZoljTlaEfmYx8CPjDTXNLfqvFXnABHneKn/eXcPFkrmct1sJKZ
F6RK2garycC0OYUfZSPbU/IFT/PDvqBNo18JWv6+EpQxq54Dsggy3svgFAFJd1/A5snVljE4pHsW
uJpzAR1lAYmAiuHT0ogjW5MKy8slkIgandGItmp72f4I4xxS2Vp9UaAnxQ+JZOuAYZTuJsNXDMHr
cmvR0IYFqE6VWIhgOZ0ksKVJoIsF1GMAhpDs0dBDwaptKYLlMkEQDNRzQAydr1pVES1Cf2zhS+3t
SK9y49skfwCCTSBmUxG0IYG+RQNfL5/pz1JdAnsYxOAEebJ8X2I2YH/7RRJ4+1KjjtazDlTcGgdH
dyc5dfclbC/VHx24pWoTwOT1BXTom19FcZwzD2klx6oMb1/OliEvLVv/XavlO1YnZdS1KVMXQw7J
rVTP/mB+BHL4D3KyyBr8kcKZVtNMljb0kKI8Lsi62k36HIZH8ktHak9zGp8OTqv6+5otv8k7uLVM
7tRMY48W/BQyi1E9RCywQdjnGdojYRiyx9z3vjSRRfCXUkgMnWmoR2bShJKB6jRiEoutmG+lEY/T
0oWqbJY9bELu/Ex9NvEqKNrBTrIPiwGpoHkftUdDuupz698ZI58iHVmRD+iZAd9hiOEX8wEdfg5r
P7pJVKm+AI1D6nJpVgBRBfozUdfiMj9GiUYutCaB47CNHsoaMEMqdYaW2ZHykyKgjHQMnPWxHYL1
gWKMo4ieKCN2lQHAI0KXg/6r6QXVqM3X0fqbuJuyCfMUU534pupnDoYa3Y5vskPgtgdw+n70rTe5
CyS9CMRu03xVeanvIaNK+CjHVNEjWjQK7ueqcfFIxJDWm7Uk+/BGbUrBAd30Nn+E8WGONZoVUzJk
wQq5BlzVbUCfZnW8Grr2sH9MNp/3dCWJ2+CYpXUPmnVUYYG76QUfqgfaXId8RWc8dXI3/CpaR6FE
bvtQlUEIHGL72CECBiFKJtegMPCkCZj+BqBqUbIRoMF9NllduJ6VkvTcqUrdpCc9ylB+aOBJlJV2
ZSq21Ya/8hGvpQ51uMpADJSB9DgfMLJheVQebrMWzykLLYzB76KzbvMswVSWKV0HAEkMKt2bKwF6
qHBpuGvMShqDaeg09c0u+RUUhpc17UHvT7Ohu0pMPBYeSAH2A0OzLXKog6C25VQROJfFD+8tFnfT
DehrjJkM25NDzCbOsx0DljJKG1tXfjct5sHSSnDnbfrq1fZwdx5YmIaFp7L0R0C+ABzCVhVRe+1W
3hXYNX8dX75fdEaxU85rWF2Qx0cVvYA9vHSAaYC4BtLInZmcCvJNAe36nA5+XH4fDMMOexFZmuhc
c3dgMvcZHTrcSslY4w2huNVkHamW3eSdCG1x202uNOZuQDK00QRGmKXqJN1btu5U8FmPgftzOmgf
09fYLRz2tu9NBD7yE65iFbwEXZkgUQnTSdPIqeaHbvjQ0uFQNadUFz0plK1X7mpH+c5KkJYPKVAK
SqR35cY1wAPgjrNrvIae5WiGo/RLnctZMrx5Yy+PKdSglsTZjYjmSXBgPj90pXUVBHk4M3xIznrY
DLuRI8VLcWisOPilR6CzL67213kzSERuGa3oYBGi/GsHOIyDSZfAIy9/mclDbrxbohtIJIKzVI1Z
zBhRrfApqOPb2I9DOAIW2vuKbJ58DXVejAYhkX3Rb9ekTTBmeOKQrjoUdXTd0lng/Bczv3BnaLTA
XC1GB5CUP/f9EUauIi2jS6cn8B+OC2MroG4PoizmJRTLEimt5HALxgqNREUEOfK97lPFXcDfC7d+
7kB5f7S+G376oIGeNr6PvynH2BVRYG/u10o8d9pRCmikqJ0rf86YXdeRnXaAmgue/sF+/ZHCH/AZ
XayT2kMKUdPbSs1cNavf90Vsn+uVDC4iyaqMFCEjaMRBSPnWufJhvi+Wkvl1/jv1gD6NjDiO9lK8
UU7kQNxGWIIQLCZ/oqWiNvJSw4U0NIAbBXvm2NtaFgou2s3LYKUoF5U0aIPoowqKTikgVc1cfx4i
k7g9xqsCwnTBURMZKD/EMjZ6gapk2/kpXd5dYMZInwZMJs6A/VKayM5K6Q49j4e2BUu8dbdg4Icy
yBFHw9GT1FGDzB6s4VoDok6uowqSN97+zm/fWGBUR8YS9ckLABotmlk4Fh2+MEHb46xaDg3BK9vN
pziaH+Iq+zmHmjubgUNr6S7rn8xmdkxTPZbmMsolbBLf8k5IWBgAtQCA1MUwhBZQUpjoX/Ixoulo
0SlPMzs3am+cfoYDeAOz3p3RuyhV0m8Jq5J28U0Q/+gkUXy05cLW37HchKsLRjaGTCp1fEc5oAwV
gPZG7d1OG5BvV221qPFto63/k+TgWipnnmaUDCSeJHQTdHHJXADnVw9ZOiWdM5hq4UosJYLHyMax
Q3EUjZNAT8MUOp+3LhO9w3XQ1L4lATrLuJsm6uiyCBbgEgMNnnqt2LLtq+XUMyMIUH4DaUvArmOg
r1FgRKcgq0vi+ZhgQJWUtd2Mk2e2rwIL38oYrEUvK7ASneq0KdDJi2lqFjtF/TyT2qa9hsGXCJ1V
p6IuTsA9cdTQPHbJy77wrTBlaS02yILqg+vwXLbeaVVSM6gd1Uw+ljFyPHHWK/4QKMWtAiQePN7l
zAmLVrSv2yu+Es0ZsKKOeTVRMMrMMhrD5S9R8xPYJ4UCIqnxFNIH2fwpacKS3IY5gWH1j8K8AatW
oRegTfWnx97TviFCXGgLpASobB38mqPG9lCgaVbIH7fl2GFAmNvCGAHaPLldxpR3FxQNopqxzX9Q
SX7U61HBSzd+rKOICG6RLSe1FrZ8zMqk+rbCEKYCpiWrbt08LOye/No3HJEELoICh0E/BS0kkPl+
AF6HlIsqfJuef60EFzxlXTahWwciqhasOZNHkRG0pXd4Aq+z52uCrZvcf9TXpCNoAzggQfvmxdQU
G8Z+LAuIjVL2ZqXaNarfLk2CL/9gAWGHSwcVhkf5Ro0qrcJelyCmB7ZPHX2xwC26L+FyRhY+zUAD
49LRQy75tuZ5YqrOzArsttWV6iG5Ymu39BocbV7oRv6+tC37XgvjdqvKRyPseuijli+9VYLG4Wcm
z7ap/NiXs+Wx1nK4mLahak5prnaYJHXblNy14M8tJnAqTf2xrHNHKltvX+JmmmAlkoc4r5oh14dh
sYiTda849ARuVtMmb4DXeGRfmt/Zs2hmYMtLgbnJMgGAhqYL/tJTqyZgdZjgfaJPh1D9CjA8V6lE
TbVbZ3gthfPArVkFmGvHUrZ0pCdMSwSPeodJiP3lE+nCedwpj3SEStAFZESIEMmAULHO33oqH/6d
oEXdldOz+lSbKgpBPSBSldG0kzH2JiHj8OLZ+LcjCm8Y3JTRHoJ5+nMxwICd8lCFmGYAYXRfs9EB
fIEfmBJ2Sz2oQMzc10sgkB9LDPQJsWic1n6MaA94UDZNEpvkJ4yL2Wkl6ILcPMY6uuNQAdzAqp46
1gQhClsYOX8ZMsWl1UuR/Qz7j32dNkzPwD+MUi2MgMB5OF9EjRS0m2JgKSfVmzGGNqYy7X8ngbOG
KY2acI4gIZNmNyFgQ5J+/zsJi+Gv7I3MtMviERL6oTtKCeAQlfltXwS/G7j+UB79A4fM3bJVa6TV
oM5AoEbh2al60+sT4122Mg+NwAIz48/pf2RhrA1+BzDlhNuSeqiLVLLAkjOA6Kggj3kxOZaIt2ZT
CKaeF749tJnynNNpQK24kpreN9LcqRXNHuq3kmaCvb+4+T51WYnhtiYhcQEEGKBo6+lHqXyb0u8T
UK6jPLIJuy/jH2iRtLX5jlRI8v9dgKT/yEaXDQaiTY3yqOEVas6UVQtxzjAe1PqKdY27bxX804+X
wFmFhj7volUgQVLgfGKTerqBpuSS5K+5rBwwg3s75MQLNZFg/tT+R7BqAdEJD7KLTn5z7EGMpYLd
L626o8kK3aGJmQm0uyh4cFJ4ouUonqdwXqDlm9IePMVbaHO6Cn3XGA5a+tbKyK5EMDDbdvmXZnxb
RQkQ7zHBsCWIDCZfnl7yZjqpaS2wy83jjKbc/10/ysVIdWGowDaAlBoYo8F8q7PcSZXMA2mLQNKF
iWiKhsF8DYVJjMtgt859U4Y6VtaUMvPxsDwQvUGmyjhoKpi2zHdVu5Kme7xFDvtmeREn6Z9CMSYH
nDjMXfBZ1TrsQdEdgkiBFHdjHzpgFUzrm2pMDtVo2VN1ksvEHsOnwHzRSrCMGQBfkL7sf8TFRp5/
A18A0KupqcOBtH7UuFEcHYaOOrNGBTHNxUHgpHC+UkOqSWFVwvzI+C1NVxAk2L8tNTBxi3E0AuQG
hQ8yogRojMMIUlK5rewmuFGaypbMl/212tywlZSLyMLIcqIsUjq3/FFgZMQx1CsMhz8yD6+r0gXg
PsP8gSD5LtDN4HIOgLSUg7LB4hWRcmrS3JfAUZKLunsv7wDs0R/l4I/Pj4Bk9Gi4l1PmM9Yfgbbr
oM5bgciG3BqB6QQI6J04rg56TJ6TIvcVbbqWq0BUvVUgZR0tLmdi9RU8v2QVIV0WSlbnT9fMJV4L
cpvgl+paPuggX+nVv9rQi3nVvte7MdNwvdYgeT3omd0+oojf2tZ35iloiXT1d8uNX/el7u8nAsfz
hTZMBMJGB6HGmHiNPtttMLqAshMciS2XhsKWisOgIhHMn2za1qMeVuAJUuvwKS+RJirvtWa8Shnx
1PF7LVd2Fpb+vm5bB30tdNneVYxXgpwoTnMIDXDrGORt0gSNK/xz9j/28UcrzpOEclDTMYaAPm1v
hjl+MwP1rkhSBN65M0+NW4LoaV+n/+PY/yWTD747M9PT0YSPJNfkJTTskbjJwXRbtwMSyQ/9hple
4AmJwgRLSZe/r5ayUIsRbyW5BWdWeMwrB3kcR7VNu/pS3GkOOYopJv8PF/BH0cVyVyIHo+5mvYdI
1Q+Ppf6pJUNHycSctvh/NAcLV5a74AsmR6QA6AnK64MHAjYn+trXdu43nnZt3oBvOXoUjeFddD9z
FqRyJhqYrYkrJGJ+wswrLUqcVvEb7aoFZA7qMYWH4/QsJYXbR6HbJCIIG8Gu8rTxmVwT8LDkDOT0
gY0mBqfPBCfkImj69KB/baLK2c3Y0prRGNdFWt/pyV36u49P8DSCG/0y6uTEcLaS4Rk2AR+P+flL
4Ae9m6uIWEDqZoET2U/RF9FIR1GUJrIXddF9ZaBlOWutmUFodJocGtu4CHEbHeLbzAaeAmF2H9nW
YItsZmNJ0feCBj6kT2EcPI7JVLGwSGWwRU3Tj1x5aJPfEkNNzXzbdzQXVVuYJuRYqkV0vPU1vpVY
Y7qS6/oAmjy5dozBfK5jejtJgcuiGbjmyTPCn0MyDAeDsJchoacw0cGII3t4oz7UaKDL2+aWGf0T
U+o7xLvfYtV80qL+ENeiSuiGHZ996nL7rHYia0tArVGE5moD+qx6zAEIHEcCnMctI1tL4WOSBL0b
ZVTPLdrcwPB7wLAWuArVq/5g+YWH2baH/Q3Y3Gegc4E3bal58O8NI1XzDOO0uJk7Bn5mCj7hgNxk
YyM7qWm6+8K2vC2SFUDGWZA7Ef9zS4jUGzro6ATqqhgUZwqS9VlM3XoeDz1gsGWQwUt9+sio4c1a
6rIhPsjpLOiR3IhF1t/wuQGrbeytbohA9Q2+sEj7OivqT1yrdjwMIm+xaS5/dP2sXazkhKTSxgI1
EEzTlD9G5gzP87t119ktOAul0NFKRxIyF23pBiMEDQHqoFhmzkNZSqxMVtoiWh8QZPVqXjhBDKKu
ieWRt7+XW4YDtAc0/4M/6JIkqUqlFGP52Momf9OH2yp4KICBKuITuajwLP5hLYZ7pc4TkPYqAw9G
0JaCWyGtUZbLG3YH4EYKd/iQNtZrAFCju6ing9fF4PnWVUl2JWCw3NAhZiVoYlDmtkAq8LK/ApuL
DZ4ToAdgZgq4t+f+gIVBYVYZawFd9QzmEVRRbEmE+7JlRBiw+K8MvlW8abpFNl4oc/dtLK8G49e+
DqLf515AigKsGjCbgPf6Q8oaL+3+rQJc6EGCIjMJgwAWGHZmHWhfuPsqbN2QGDxdEJTATkFQlDvf
B6uFq6l7iNBTtCJP3nCLzgbD7g9DbP9nWDu8F8UCG9a/lvlJoLc63HjM0FLvM0RUzTG3gkM+P1Ro
j9HUrwLlluCeexyuBfEtRVXazHWtgkgnuequJtSx7gOX3jFQUNqaExC0/9hUYBNbXhoyUXQExQ4m
fPi5m6hojXgGmIsf5vDNjurMT+m14QEecjrQ0S2/iprghBK5U17VbFbICF/JDsQJPuRjeps6+Wk6
lYfq9h8kF9bq8WyyrMlUUwKHoZ/1qjdmiTcDU71s9L+fwwD8m6YDlxqdihdgCRPYP8oqwdE1laYG
bX3xYqbSibTKo8BElsXhTOTMRXIvioEFcVfKnxfN4NV35BYNu+MJ1YxXy0uvpOvmd/uk/Y4ehQP3
mw4QCAkUMCq4tnVOMHCimzYmde+D96v3MOueOy2IspAd0t3ZKXRb9lK3Kh1R4+zG4UNZ7Y9cLoow
WWM2svY/pF3XjtvItv0iAsxFvjKJUkvqHOwXwmO3mVMx8+vvqjauWy5pVGdmcIA5Dw14q4o71Q5r
UaTERuL0xq1FZQf4X45mijgHL7pHAwjSNqDgwDvHxdMOmMdDa6OaHekmpszrcBhWQRS5fJhPEezv
J57EMFZJI+oAEeq46/vyvhkZiAlQsds5FGiK4Dg8dWamrh3ROyR7GhTSN+xN4uagmzfAAqvgHZOE
XbfJg38MO/MRwz9v0WY/6+SIdB7k1KTIuIbyJ8m+aCqwoPTHvFQdOvSuClKctL9ZlsQvjcgBt2WE
V/D1kzONODMRYBoB8FlX5TOGYGka7FKZYPI4eGaDYRct0q47JDQcpC9jj/E8Q1DVY7p/LhE0haiv
gxuPx2tBQTHJ2hpIfrP8bprYHJl+VMoXs7YDbH326z+F0fx1xZ/iOAeq6H0ppzVLatfD0P40+mOC
atQMFunrF6leVtdPQZzNN4CMSmrjo3yhBEnmZD/qXaNvgfj1HSuAwLr0qRtjSnnBVhV40gIkoO7k
0j15Sh9FiiX6LZwfmFo17ZQUji/Xyc+6U32qxGGu0mcA1Xj/5tyADAdYG4azABH3pw7HSWNXyzqg
iNEWpV8AdA9znOy9kvYmsMyW/dQPOaZM6B0AbvsHZUJ5NZXjAzFvqjHG9ycTfRjJpLjdgB7LNBMF
g58Ma9fsvyhtKTm6kmCRKh2etWGgN9U0r1gQy2nnJfXYB9ePc8ERnMSms1c3DKwic4H0ZQGI0dTc
kvj9uoCLEf0z+gHP6s/7mts6z+YKrmZy1wAwXqof75SH2VXcBCBFYmiryyciOmuEEIxKcp5aM4a0
zQvkLJOb1F8W33wBd3u4tJ7pSP2D4eaBljmi4oxAqMFlnp0xLysIK5G2APxNW9AdKUWwD5ceQPhU
vw/GoxGZQyqTZYTrampHLpz+CQs5lTOHxCUb2BvFJqEvO2kgmi86KxrCW7KHl0qQusjA1eOsS6Fp
n9RrtQRQVdeeVJTu8sRZyK2c3LVK5S6gTFCofpMNtoeZ3u11BeJtG9JNAiQKGci2AAfmu1uoSCRD
DrsKCt10gEvtV8uPjoamTAXTLHz2BEEEcBcmnlEmy9M4xQFsaBLX6rgEZrnJjNJRozlMVU9JDX/Q
Rfvmly4VcDXgpGAwZQDn59yINM5r0pvlGhRL68rT4JaA561sT1UfVgMz/HjC2EnlS/SHIlX+9Su9
9FACZC7YvQA8aajg/f3TJvtCBfJliZg0uVix3bTULVDT75OPvQhwfTRYfxWZiHIxEJ4I5QKGVI0L
kVZEpnxxFtAZeeUxvqmwd5v9NQAoSQpe9cAMWfUUM6ho0AjOfOH99MeZOS1GdQtQfhFMFBhXXv9U
eRhxDBkSZfeEna5QlJqeM6ezesXncflOFwYtseggIybppjcH/VZ/T/3SBfrtTxOldne3eHr4T3d4
PoI/sgyMiILyAfr853ddFFmSUstA8EfzvOwl5MSHxFK9f3OVlgaMXVAyQYu4q0QFRQKQNSaNsAhr
bRQ0SNCpjAETCaeORfLSm0Ix8Tgzv7M86lMof5/12iRq00CoMln+2keuDD+e90gppszv5eKZqgmM
aXBTmt8PculVKGGm1rw6wMDeDooIFfqyEZ38IM6I5D5v5saEEanJdChruwArnOKPgDasMTIO3jMv
tcr7Cu9k0gCYuhmfujXzc90A4Yz5ryz688fwjZ01yQeMTCLKGoCRjcH/BVJEP7X81LUeAd3kjusG
SPvrj+uawPvmX/r2WxH4hk7Vp1RrLZi0EeXbQf0aaYZjjneY5/rnT2j45E9BLP6ePBzMWqeQRIZN
WdouYq0LmHEwd8oCJyE6DxcCpLQqU8oqwrWV3iZ15WeG9ajrqD1o0fP1qxOoMw/hn6TzhBED9MKs
DFAZWeNhPd81e1Gr4rIb+rw5g9PS2YjK1rLhhqgXbcDAHDupnz2CYnXHduCALwri8VsxkzVzAVes
lU+Ilhiw4hK28Da0yJAMv1nZTxotzthiS1O7bQAjFdWC+H0hBzvVET6iNqlupr2G3qa96KOHB08e
pYvA9V2WgTF8LMAA8pcf/Sr6MVMkaUV/kWpBqgZqJqLTu5Qv4xifIrgwORlDl3atjCLm/eJ3TuHN
4RimLgpuvvo6hNe18GJMPhHGefI2ValUMmFGUd0V2YyxCBPUsTZwQ42lA49JRx5bQwQ6f7ZJ+OE3
PovZPEqgQYYcm/So5Y9vxY9htwYkUELzJ3bTPLZ8PeoB2cSu7Nhbknvpv2uOnIhnbuDEm4xUXs1R
gecuIx9oqi4p7zKldK9f7RnyCXdIwvmsMZazzK7gsxjGbvUj3xlh7GMN0qm3iwdojAAA1RsxaulF
Ff08HOF8WFR1jaz3yHNSEKNW2rhdDPvLPzzaR6rMMEwMgqXGM04iS02HlcqZEUg31r39xraiZkff
YrjdXd6kDWKvGweiRvSZZfBSuUfWQvXWXJhUFuPSMN9J/ohi1eybwRK2oojDm8Yvaeh6EyyUAsiS
y6UGSgqU/CIdiU3eHbuYKh6mMYsHlPurG8qISXKS1O6sLURzZlCa604+6pLXFmhPJaPZ/EWMoo9v
5nWVb/VIosepMocj2G1gV+tqNijZN+W3AZtXQNYulRp3pkTTsbKz4Ufe6+aD0lkYRItKNXb1OcIS
ib2sflVIsjePWemU4DAIUFLDrPKq2mEkq5GTkZw+GammvWN/LNq3tJofs659n6cS5B/dAoTHuo6c
uJPmd7mam/HQDRS7fJKSh6kyaxiUMpb1a19Nsl8RoALYUhMqnQKEIsno/TKJ8iesfkzeNBits6Tf
Ta2h369rF6/AHxdvo84KIDbws1mc3ZRDVlnY4jSCrMBaRnQzmD+vC7j40DsRwFlIg1nwqctSJchr
TLsNT3o8+guhjlp0HhqZm+vSRMfhnM2wYL1PVRIspbUKIL+eslXzr0s4i/H8jXGqCv7ExtCHXAmk
kJmj7hfe+hd9lbemkx21l9pL/OJZehJIFR2MC1RzKy9YsKrW4P/nl/Ik7BMn8lp0h8jPfACqkauK
mGBFUrmIpdqpmZRUM4LIVBywsm3w/4KgeJbZs/sExQU2ZTAJek44IWHMrisy3Qh6D7gB7rTB7MUt
DdvUUVzG7hXfChH+eTxxXiTn2+okT9QymtbA7oi3Gl91JYgbp8swj534be4kKfDHdO/6J7xkCKfn
5GoQuZnYA0Do1iACgzA62Edaj7flavpTkTzGo8DsLvpv7EmCxZeRXZzBfKIIMreZMpuBdWArhmto
uzC4I4rDnhh78wyF+deN/pbGI2D1uZQYzbiugfJYpI7xPQan7nu6628af3VlTw0jh0r+6mP03GW1
6etXe1at48Vzebeat7E65IsZ6JtoMz2UuzG0D1gSUDZ6oBwwpwliqJ1or1J0xR9/P8lsIsAg5UoL
zdXv86P1AqDtLRucbL7ZL3IoqrrzOT5/RE59gKGpZJmCI6oba1cFmLLYdFssCArMkTnI06cEL4Z5
hJMzpflqlvakyUBakjzaxH5WxV4Nm7AzEfCtSBQXGYq0mrCRA4NQdFRTrV2NPnumHKxKtE152fI+
lZMLCuWaZD3IhM1gXF57tPzUPA+a5QsW95x2EpEjn02S8TfIxQd1tHJwbsDwOj8/Kh6jzyEP8RZP
CrcNpLvy9bruX8qcTuz8oxB48sHKniwTQdoTNKhnSjo0Y+o2IMtyhtT2uyrfRp0I+ePyh8OsNwFF
Jv7LnXBIsb8y2Ao+XLTripxNXxN7349P1092KfhgyAmbWkAzZPHhT1Wcs5pUgM0wgxRJVN08x6Oo
THlRMU4kcIphTTXmmBpiBFSenXp4t5D8KcM+075WlmDg73KYO5HFXRpRWq3vO9hvspV/dkcGjaNv
7cPqtltknKG9FTpFFsXOTPlEIp8yqJLZq8xjUHSdZ890Cw9TAk+AvvXKR2EFlvmfa9K4VGG1DWmk
GZgTpp2+W/fdJvKqV3LAksqWbqZXWzBOKFAOvqJDC8PMNQodtKZbK/sKTJf/pHx8JUcb4ma1CxxH
Gqxt1NN9ZMuCI1z2FJ8fiC/bdBoy/8kqlY8nFtio3Lb/OoetJweGa9FNKy5ZXxSJFBh8bRhoxVwu
FygnrUtte7JQA3ikeyl1UEvG4MjgxTqidAP4NWE/65JenErkcq3KSGlV6h304mPwPvfnyMs3DN3c
cMd3SVwMu+QQFWwuA1tBMbWzFhbWQogKgpYlWAFprlmNV2ZgcYrvhrr3gfvmmP3P66pyyR3iWa5i
NRtALXhG/emnyBBHqVWpSMO7bbZu0TFT5b2yvF2XcvnTnYjhzLm3G4DerB8vAOtexngYxrWeLc/Y
KP76nArh1C8ZGFhn/v9hyE+jaXPS9Hg8K8E8vVbWfUkerp9H9O+zv5/ErWq2kibPbD2ga/9TKYqf
oAy7LuFifnZ6BC6AyLlhJrGVKQENsGrp2zdW5qiPxg6QyW5zEAXiy03GkxvjogmSpbGftGgJWh99
Gq8ImtdobyADlcNUVDu/lA2eHo3TuVShcSRN0LlWfSLRdsy3etncGtXk2BhDy5PCn/I1vH6foi/G
KWCdRybVanyxTG9Vx0iDRYqFIF4X3cXJJXJhxO7MbExBEg93Ibv5gxFgXmNnbZUNakHvYvfEfjMf
tU7ukR/0lZeqrRdwFARIraGFeAWqi3lcWgLCPoDOxlK8zwYtuH6RZ8VKliKeSuW8cCVXelPNsK1h
lzypbrQrjwmiM+2dKFC/ry4Se3d+Lp6FKQH7h68dl3PGgAMzhwTrNsGya4+lP4e9g/7oUx2In4QC
bbHYhz6xb1SdMwO4M8h3xuSVNEuAvXHBPV5yvCcJIt+DGIpFslGkNIO6Pvb5LaaonVJ6IsmL4HNd
LBecxGnOVeVLiZd7gjgtF8XNWN0PWrpTsvbOknt/JnS3WtV9jQWrSTEFG1aCBNXgPJjZjpEix3hh
mtqNUjxUIzm00yuZMboHHD3BMQX5osGu++SLdakByIUYKc+yy49NUB8ijJMtnuo0LlrMjkCa6FJ5
D5ao/bzG+Hj6BoSHLrro23TbbdVQNOXM7ojX+VMt4dzWOqdWZGEIJbAJFk5A0WRjACLXRLd3ySOf
iuEclyaDQ1iZ8JYAcoYfhyaIU93ORHqVuo1fvCweSIXfbU9+GE3UPySBKVysSp6I55GQ1giQTqqB
V2exT+6APV3uYj96Wo/mY/Vt8eqgfGy+2pgc+iL4jJfM/FQu58qSerCRKUNpWj//hvkvd0IfCz0t
8FZiEjFzOstJb4XNiUtR4lQq58dsdKd7qn1I/bXNmeI5lW4aLHO26PQo//HxZnLOLFGsuJ0qyMu2
5q66S9zUR/GAhspu9odt4TfvmuhiBc7N5JyO3a3WKKN1FmT7+Ju5S8PpOXlMD9rRPox+0WFjXAah
mvFD8D1FN8t5HDWxsk4roUeMh1THnDJV/TEcAvRG3GpHLV9UcBIpEOd17G5I45K98rNEd8a5elOa
+eH6oQSmaXKuJit1O6pmuJoM41dog4bKRg10oaMRfTHO0WhlMSxTDUczxt8k+UciSc7Y914yCohm
RMdhfz/x0yX4ZYa+/XWcnRbmG20zwG+KXvQCMTwEhZkb8jqvHw46DrXQ9qcAyfpGJObiu+bElnnQ
CdL1WD1XoQCdz2y5CoCuO4K1WHFR9bmVPJFlCeIB4XyHkfSltST4TNYQeWn8M1Fiz1y/X1c5gS7w
rye96Umv6zAjqsVOrBXbdr0DgapbY0PquqTLte/P7ITvfKPsTXNrYKI8a5OHbHPVBkCqWziYVGUv
nefoKIzeovNxbqKlEjHGBcqR7Ju97M775aAobvqs/7AUp0K0Kz36Ho9B/io4Lfs6V6I5v/0nNznC
bARt0TfJHfQSAxtgOzzU2/UgiUtoAm/IVzqrKjP0aIQTNg/F03JMfcmXH0df2rR41Eme4QlOJ3CG
hHMhiZJp+JIfp9MC0x2ek1v9S45YijZ/kFZO8f5fQynhvIlK6WDkzP9KYfey+Mth/QvjuMYx31tv
6zN8MuaNr5/y8iFNxhb+MdjPBVMM4xRqi4nGwNBepGlvF4JdbtG/z/5+4h91sxu7CCyoAfjCnT7f
9csoOMFl1/h5Ak77FXMkVi/jzuzm3iZfcl3d56BpkEK6pu6ovRfxv/SSnyK5MKktdpWAkol5SbNE
fgkOa3+F57fv+xdGAfWfBXJBM7IrVVKHdkXQVN3EJWkg+YaffGMxoO7c4l1UKTybU/ponCifR+SU
X5LGMYlZoj5+L2IfafTPoQWbKpt3sbwaNM+vulMcJRoYOw3Q/P9DG/HS8xj05L81k7MF4PLS3GaR
tdizMw8Hye+dcp+Ecpg8XzeCyx3TT1kft3GipRY2pQubtSzNr8NPJUhDI4TjPmIjLEYeq+zMQL7B
Ih82eZLN8nBdOPt250709zn5ifQ6tQpjRKEjaOVDlD5GCvDs9Qe5uk9zW2Aqf9P3+JSl/mmNNmaC
pe5XH9p4UzwDEK2RR57LbX6HNSY/+Sr0aJdj06dEzr/Q2OwWzOfC/ttt79mOjjFhFyx5NWBtUNcx
4RPQcsFggXDqnmnotXvlPE/cxjbJ8cQMWum1MIeXag0J6MJJBlIT7cuYizypUIk4RwRO4HIkMoy0
8xXEC/JahmnnVHelH221jaW5curoAd4n7oLa0rFwr+vR3+Qen1fNeSW9aHtZZmkAntXoJ9wyDo3s
0VlLTIpZDtAjxwc1FPbdBQ5e5VxTN6+5XqvIeCZ39GqUzqogQ09B98otI5ro3/+rM+SxwqR+wlSR
0qIVGZPBRbKqo1BozuN7DpDgG8A2Ub+dltZvgDxxXAnGuGS7M1y8CBLHbKwSk06WLUKiE94+5670
1BhLm5VQ4hdiO9auCJ6sre7NO0yvBeUT6HOEYYEp1BUN5/cCMk2nUhHLZlBabwM13Lk4zoYi8hnM
J1yTwhUVJF3LJNXoDKh1v2eNscwbHe2rGtQB3gOCx73AGWq8g6pSAM01uMWy3zOiuC6SPFm5w8Sl
a1tUcDTR/XG+SY4rsig1qqJlQjFwBLzMCJuLovxEdCTOD9GqXdrUQIY1dX+RxnTGhFZOXm9k7aVZ
Kl1wJoG/1TgnZINyfgArECKZAbz0fKPGOcDF7xoRZs7FsvlJeObxW1OlAMOqBLtPaqe+qX+aG9sx
9vXB8nRPR18nr/HkUb1FOHsjlMx5nJ62+doV+GzMz9qpMz/qLwvWl1FBz12gQujfq2OpoHzhpoEI
8+JslYvLi3isIHnGOxwYBitKMqzt17mDcdSxBDMDvqz1Zp9BQQegeDFXr3mv1EDk/QTulsekajSj
XTILjyBwTrozQF1a4UKNIHDyLNu1LNdZLMMG6ZsxONPi2N+ZV09gH6/aVwzdFoUjbawbVXaq3Jkc
UWNEkNDrnMORsxxHHKDCCnkAngwUaTRv0/WOVrtuPejRl+tx8yPBuuLg+AWicVymrMqgyXMQbQAg
Oh3mEIWCMcRyfEBvRtcGkK9jhfVtcVCP7V+GeIlWlG7z60RlqsVTbaM7ynQau9W3rOLXfUwEFGzF
jA3Ps2VyBYXO2u1ehTUEgS/k4eNIyrCYe2RLbMIcwADYlRnBanIzvMmYlco9+049pH9dv3mBLvMz
RbVhrxkpMN6WyUGcgyWyKgXhROQreOS4OEkR7H9VKKLNvFWfMTzX1Uh6U3fwQAb0WOzyx7L/H2Co
RAmBzrkpPHvNtV6Yp3jr0fLGDP1umsLEw+I7FlpkyZ1uE1/0bvub1sPvJFDn3m2joY/gA4HxTm6z
n751RyPEKKSnPuVgbPHsnXmT+PYXUbtdaENc9jNMVY+heYgt3nQwxqCfCbFGjcUrE+V5ye2Cds8o
3MjL+lJ66a1om0cQZPkJpMowx0Zm6qtNN006hENc+rh7Rxm+xJUeXNfbi7MMJ7GPn0cCfKzV6b+m
CrsX4OdgnJf62k71GO6DaNZUKI3LiUgWyelQNpiuOtAt1hTelcYnxymQNnTTNTuRPIFV8o1ceSKm
vUgmZhgztIu625G+XL8+gasxuISo16Ylx8QYar7Yvp5j29Prg1wKy3fsWq64db5dm3SgzqhZQm7e
U8xcozS563016D9oXUR2JzoT9/ZalKIHBsKInKSJg1nSw9wgt/GoC954IjGcT5kWpWrmDqFqmbwy
rUGlkDpNVggWgAQJgMH5EKKoSa1MCEbj3DorkdOwrdPMIbn9Q2nqZTOAR7dJFoFVifSOcyHEnMDa
m4zAY+6XcMrSDbX964p3cSjoxG75vqxc6msB9k/MiIPPEi08DwBbW3mfB1MoTBQFn4qncEiNnsSU
la+a9FuTb5roG8ZMnAbPcu04gd4KPGk52db906J+y5VjEt2BVk3wGBBcqcl5jiFOxna0+zVI+l1H
AA1aCwSIah58LzbKczLGHfwuy1uUN6xOedZdW7uGr5QORW1ev4m9GBnMTbETRzvR+ThPYgNKolMI
zGFQ3jp7M9sCTyX699k3PikLLnHX1UukYqYF/FZqYpduMbWi6TGREM51FDrV1TLF/FFbF465kGCN
KkGTUpSL8E1XgviRmSlCSAFeX9XBhMfReJVc4kcgN8bi0q3id4+SV79eNziRDXCOZCRGs84KbGCd
bmLQUirt+yraJxClzjxKytT0lr2AAjto3ozbEdMridu6Y9i22MeKgg1L85oH1dFfJe+HwFEKzsd3
ZTstBgBMBNFRRxzQpLtpLDmr6MknqtryTVllAmN6xqrTRouu4rg1bqrK0R7kx8FLHhTfeqXPIpmi
Wz1rzGq2lEAz2SKYXbhslqTdNGEVsD1e0C+ixkf8Ae/daHRqtDddEe+86Gq52oxBI1lLJNS2pPSh
XvDMxlxeKqxOC9JGvl2r2FIVpdh3D0B/oe+yO93XAdXHwIY9bacH2jcsO6gOq06L4oPA6vld5WzA
bmrJetLl2nhk/J6mQt8sEsE5FlNtSGMleEczFOV+q4VzaG27IN9WRzZjmDyLKgei2+Syk3wybKzn
4kxd/4AtUwerhA6geF1Nz7wFuE3XnYsomvP92c7OE82aUFjrAWvT/DBuxjDfS5sFVO3CvXmRB+U7
s81aGzKgmJB5GQ7q6/GD5LRu7M+KH9dB50W3mktagJC7wuliwWfkp2LTmRazBoD+IJ6eZU32gdXk
C25SJIKruEilXU5VjIz815ZUDrQeOXMk//vs6kEZFP92oOr3M5XHHzXrDsBoPQLSsjPAbrKtgnKz
bsaf7eSwhrfPmux1oI+B6KEocqb8KGySLligy5ET6XPtW8N+ye4swFx9h/JMYdv7lnKXSiYaNXmQ
pKogfxe95fgNbyPPCi2q4HBGlAQWn9Usq1BxVx80L67Ixwh8KI/cibm8ujYLbNZmchdkM5LedPQs
U4Dy+DczQ5/fkvMz65Clg6pHv7ahUTpyB8Rcb0TPSXHVxAFeu2hVTHQwztH02KY1qnyA8xySt0jH
/JikfZ3JLPAwfCHS0ollKthc0UAvCQ5VLn2pJGvAcNKEApj2AvKGG7UEdFa0VePJKad1s/SKY8ix
QEV4W+SFcs8graptjdYDVvRNL1YtN5MKgbkLJPAOZTKKwoqzWQ6qOPEVbWfbiXfdobAvfvr05s5g
cf6knCdtLkYLeRH9TrS7fGnBzLehXSs4yRkSJy+Ie+CYth3LCdBvYE7S9+hez53eWz3Ny8HnU91K
PgYzHpCvoL1Nd82zBSb6XRZS175LfFEu8dGaunZoLmNpcwndHSx7fXQGQH/qDS86wOWiL6Mzsk4s
4N5Gt9zMDkrpAXHrbY++LHOvVevUr9TNH0Fhgci1vf4tBErMe5yojIw2mokJfVpSt+iS2xq5lBUV
Xh8Nt3Kmvo5Z5601GJ2vCxYpATPik8eTaq1kqamNiNnL3+wJjmBUXb2db1YqShb5gsUvNdAtQBQD
rUT9qAKfiLJrUHH2oHcIolHeAst7r8/Z4sTpFJqD7Q8qti2bLBMoOe+Efgm1sBLLsG0Ni3NCwOCs
F83staBBVrXqDtgGPUlEuHdO//3hgz6lcD7IpgpAVUsEjOiw+Bh13mlHwMr6/wOSNbOVc/39lMQ5
Hob9vAwRmEYm19ywPi/KS9BRAsoNvNwFY2GCy7PZQsLJF7NiS4vaLCZBN2rOgpEXbb21ukTgS/mE
lPtENueH8iSps2iClDylSBGxzLSJJkyGZeC8dMEPaaMZawoWSUUn41xSZ64dXtuQ2ejUqfvpre+L
n0o7C4522ax/fy0exnroSgtUXxmB54vxLBtDDbttZSAaCD9roPBXyILJyYeixkQrZdKZVljoAt5h
IgovQO2gPRSggQcjFjqe1K0OopVi0fk47wH8sXrVc5yPYf5juXLza+BZlA6KvhaXu0h93CWgBSeB
VeQvK3oY3lDVvTMCaum6N7wcdD+/F+ctaBeXaalFmFJUtRsjIW+JVn25LuKsCcN/K85XtLI8Lcmc
EEyPNhi/BXTKU7Mdt6weglCIrYFhj+EgzCItXo/euKhve5Za8/I5D1KoZkxpJbFx4OLpY4XaTQ/t
RwNRRWSLjsLhIxZT/95nmTLnRvRkSqNVxa2C7ca11+WekMJJ22YLl7IlevkS98Shhh47napvujQ+
KgNFsJNFOfBF54nAg8EjRTuHOk8iTSkb3WDqOnps3bR/1Y69X2DiKvJHwYe+6NZOhHE2adBkxHsQ
37m3fkjJoc6P9bqjc+/I8vN1lbpoHieSOCs0+6GZMuZAQeQANLXcUWw/zhuBL7toGydSOCPsVXVq
TRk+Bvy8N7WKlcv6H7OrszB6IoIzP9LaaTE0UJTR6AIaZ77cSbfGKG+u35foy3AWCDocox1KWICE
xsygf1HLwZXk2R1I4hjT/XVhl+395FCcvcVAUVYNiq9DPWy5fev3KjIEbJoB31f90gG5gA2rx3cA
3POqw9A7oqbX5eTk8wec9VMAagRmb/wAXY29EVZWr69DuU/L4skukpuBat+NWLPcmcaC5PKyrzkR
zYf2umtmrTAxO7Bttpi1udX9GJh4I3Cc4y/d7RSKvJvAFPheim4aJciycVZbRQuxe52J7CzCQj37
2WcO7eRYzOGdhNtFtmZjVVISVCiKKGwII9Sdyln2GFzdXlcf0YE4LyKrmHruKx0ZhK46ij64SblT
rX9K8/0RE04OxHkQqTRkc5xgEbI0Pi5D9pXORIB+elaA4GVw/oMiF2pLopFAvY/u2XqU5KrbdN/V
IF/BXp4rmtg+qzzyAjlvshp1lxgVsgY288rGbJPHKLQ3tZcGooFI0VfiPIqcF/kwz1A7RaaYcj3a
menYuaCPcVbd5A/EeZK1VUkaFVC73mtfQGKD2mbm6R5rkC5BEpqv4uLUWSmMk8k3T+hKNTtX0Vxb
dnGYfWdpJUspu6fxIHki62UHuGJXfAtFnWo1n+sKnmrDFOR/TSdFbolvm8gdsbNMw6GoZ+7s6a3Y
GkG+U9AdMvfFT1lzTRC+CJkfBErCL7jNJKuTMUdCoGY7NY2ddjScXgSZd/kp8GnKfLMkkbIIDhAu
F4xDxdbaEYz49CH5OjSOWbn9X+A/CYAb/VWRHGnwrzsrkYby/RI9b8xqnfAOlu9HdBYwX/+xW+e3
36kPVNm9HkpbReAhBXkJv96Wt1Y76RFsr88LT1/vcMf/MYzxO201LUuzb+AeJxfzfg/tptykromJ
8ditAQGEAWvBmS6bHbjnwXYPzlHA2P4ZYSYlQlsW//uwhNyP7xPZSV6YQNkpnrEVef3DMf90Znga
2DNkhpdP+HdqtZbaQLoad7jeJDZ1inLfoRsVPZEydiRMlVwXd/GTnYjjghrA7+NuXBIlKGocqIxB
sCnSRPamuHYiZownIbor5cisB0qCYpuGFcAxl2DaNhtbuMBy+VPpWMxj5CP4D/epyKphDTsxkX37
i9tsFa89kIfeYfWf/ln0Ej6bHPzwxyfSuEij6kC013JIo2/ocVHkH8D59cuD2WDyx1ESQAhgtvom
Q6XLu/7RLhv3iWgu/EzLuJTTjHjKpkjWD7n5+3KHpRlE8GqXV47li4ybJQVnn/G3TOjnn5+x0Wix
Ws0Kn7keplJ1sT3jDJXsdETE+HrRO59I4lJVYDfLia4i0eppmNi7Qt6k6sP1G7z8FDiRof55mmRs
hqhucYPRMyveVV73DL4lr/ObfRoqN/Smd2wQFASZrxSMEFK4oH7R8E5+AJe4UnNOFxQ4SFDS9xXr
FHr2dP2IZ5P3f+onLOLPIy6E6EnOHNfk2rcqyJSAD39jYKAWEwh7xc/8YiNtCh91BoELu5xfnpyN
s3gsn2QyAQMgam0gI37oH9mEgPm0wiL6+zJ3/zGpIH9ULqGttZS2lB1Vu9V3bPYi80wJW+SNT18A
y4kNMrDDiazwbOSDl8q5m3QlaROzNDrb58dxW/xQfbS4d+bd1nqi/rEBrxmqK5UPpqXH8i/B12X/
+DVz5LyPNXajim0S9nWNAqPL456VraztuFsfqL9442YGXm22Ew26iIyTcz1U+/9vW2CmJh8OoN6T
SoF1Xn4vfCoQD8jbpJOepDGss/pYZW3d2qU35RYjSxsRsafArX38lJPoNM5zn849RCnjY08AaDk+
VuXkxNYiSiQuPlVPDsW5nBktEUBYqTgUyfemlb8sloahYXvyogQBpE7lPR1by6nHLByWdGMWvS9Q
GvZxrijNh+GeHNYqYjrJKrCgZimbQmMg6V7DpBTefbLVJ/fl0sX6bgZH3mPeKfZDFElrmJEaWAHW
AWBV5U02S5hPqZpVrnZrrs2VIyXV4CwUUzPpHJcbkkerCJRW4Co/3hAnv7oBn+ZgFIgHlPxIs+fS
vhdci+jLcP5qbPQVDXKENrtqtw3Nt2pjuWk2Obm9NdqvYGvcKIsf5QfTLp3rsgXm9JFknJxN0mcD
jgtnS03Zk0bg5mPytBLmKky3rn14zlWN+kiw2PbhLUB4va3AnUEedM+G/08AgetdP9TlV92JqnPO
aZWMuihTheDxkX+b0V+uHpPH3sn3yQrmOQz9B6LpdZGOcG6pjjosQdmoV2qNliMCaDmtHSOfLGEh
7aLDAPioBZpOhZgaF7hn2tYg7m2Z4509+jT/oD+qAKvSx86L7yTwlW1p7EaxcMvr4glP5LK/n2hK
DiatRq0hN07ah6qjT2TKRQueF/3DiQzOEOymtlZJxeMj29ZHsK9thqA59v94D/cjcJ6I4cJ1LJnz
jElr8n+kfVeP3MjS7C8iQG9eadr3eKsXQhpJ9N7z19+o1gcNT4nbqbv7cIA9GEDZVayMysqMjNxo
eg1Bdz+7MyLk5BWLov9Te8Yde3McM3NWfGhoKqc6kux0oMjI1I5xJz3r0z5LZiwlZo+bTbKtPSYD
R9261KHjjreAETitaJYI+DFbW6witzZDW860k9Z9EL67ChWfH4fvZszzYcLNG8jIyIyozEi2kSGS
0m10gmyDW/J5vQqAC3NcsO+3Q25UPluZF99NP+UX7SSPTnKPAhwS8giMI3FD7yf7LH/g4cIqdxeX
Ta0PUR/KG7yjnKaSvlTSyzx2TtdDiQ2K+61G5XWpdXKwkZmxFrQaDoreDpsouWv1xpsmikOyHnov
FsahBAiekamrMAPyWm9Dl3ODyZRo3RN7m0khpg7VCLkahy4McpAxWJaYKhEM1mlwI4cvZYopBuqd
Wu7lhGDlU6Y42MgGCBRkIUw1aTnasWBhIlNthxW6iqvXQbCer3sC4dp8P6IkoxN9HHAyLb/Q3CIf
topSvgtp+Q3U1n2p6ZhglBaoKVJzmdfXaWlsQDp2lpe51mQzbUGyw9MwxwCYTNBeQBfcVnn3rqXz
VhbTwbu+0vVUhvZpkXMHf5BLYWSJk4aJ/z7G+/A7+OtOdlbftXP8Yr75R/GVpEqso/OnVc4ldOTp
4zqFVeNRPyRIjkIqZ/9x6buE+oSbb4tvxDqpneW8o9OMHBNiYbHy9K2ItL1x9GN0aYt760t1Ujz1
W+5YJ+uRNLwOqp9L5b1ECHHDCXhlDIf8KdkFBzbPxP+ooSFDU+XZP/YnuH0a4/ykDE3dT6H0vTEi
LXBl9Pw4pZjlW6VQ4g2xo9TC2I4vopJBC5VoMvHyLn4OHqLYg6ngtqg9jEdHz+6uoSi61Jnh7lu/
FWXD6PEFE+U+iKASZ1Ix0PpV+7l73FUra6JhiND+2ggTtNJSXH3iRyK8dnWyJfZuNTH66XX8K1eM
esgHNoj9p4O0gWTt1t8Ve9Y9QVUuiU3j37gT6EiayBxNtby0+CiiwSaWwlz1ypG7ZGYXx6CwIgUS
CNg01lqgnWYoyBZbln8p9uaupDOg6/f374/EP2TnvpuMNkdOuWl9N1Qqp+7YeCcFFzdG5WTaIWvK
d2KNxFHnn6FNXpVqNcCt6rf8xNpD2p313LkCdArLLfmEoqxxiFE0dVqCCIrDsUW9fh8cVLc6SU5s
s5ZpyqvWH2yLo8hDRm6kUuXDWuNpH4w3CSi+6w+9hwFwUE79l/XFhUEON3JBFMuqxJFkxcxmG50H
JOnpOO8f4qHPg8LhhYG2WxmTpHEw0T8AitU2OATbHuEs5q7vUH3eXz8klKfx4BGkgSJnWNY83xVB
i+D123UD60XFz427JCUXnmb4Y5INPQA3Plm3wYN+0B3JZkN68h0b4Tacig1Lk2nEwtZLDgu7XJyO
ekA+tC1O/+DIh+5lOsebzCl38q1uSw4UmnP7L44lASsyc5LFYufKMq2CsQ17KI2ETnOGNqi6b9xq
n22E0g4PlCOsXp26bGmyYVmqwvdGlnonh80Eg2lV2GLwQy9EO6j/VZ/EpxW+kj8FuZSPLHGMIH2v
HKPt5fAfqUfjej1sYYf7ZoUsl5KSsm920A/VYQbPo7WFs4BhovmZJDetnv2FNe5j5fiTIbJVaY8Z
RkcNZzbEfH4YwdwfnoCQd9THWnfuhUUugIRIWTiBwQ6LmBLvY2pFfpuh2ZIpv0x7OvVN2mM7sDiO
pjKpkinA9ypPdOqnEj1YTGHR2jKOwl9oJ60e/8X6uDtAlnt9gEwHu1VFaEnCz91+Z1zAS/HyLTXH
lIHTH5f4whx3CUx9XGEmBswxzkeD7E/tqX/x9l5nwS3s8Ng/Y24apHsYlIhOu6+27e7v0J9aEAf+
iSoVXYOKPirP7R5SqjAT7uQj9ZAhQINvdYww41ZNWLydz3el9dQab1HpEbC/Git+7hnfg1QWg1FG
GQIeP+pCbw5npHEzqCzpndjYCcYU2a0igdVRWoUd6lHjoAmDqusR28l3KUWmlIiShO1kQiemIu7G
4Fg3xzbt3bn2Sv29nKnmrvWX6WLdHKiEqlVO8QCb40f3U3ks94iTHYFND9oKiZ1+Te7+RhWI+KJ8
z2Nq5sY4+ojMlcS0jfi9KUrbmsixzwRi8q1GutBLRZYLKOFDvkrTHqAGgaanyBnqfStcpk0KJEni
ovZ4xcv5JseprssyZK8OIcQwCTvB/Y3elWzLhiU50dOw9S/lAe3G+mIi+IsP+sNwlPa9x0rG02vg
UlpI68Hn4htzuDM2bV/O7A2ZnoKHZLeZj5Yj3xb7dwTWznAkQ2vq63L4k0m9qpU+7InbyWHKo/HG
BAqh4mY3J+hOOsmtSrTvkOeYg6JmrAVTs4ARF70yKJx72TZ/FZ41dM3nHp58d8ZjeKCWKhM3iMlc
enFj1UKCKcVsqep2qpzmYTjHt3GLfuEsdKvYTiFxpTkJpoyG94arn5EBtXZNaNPHjjjqfP+S0Mlz
0IjsCSq239UicH1B/kFg5Oqj8PMc8d1LViQ34sQ4HdHL4Ileii/rH1j/zYRJHi7rZJzPJWpPCSky
SEVaFgdTvWkmUdzAtLArbrQjy7lOG+sg2+iqI12YtMbFPT64OHI24qtqt/NGxnRc8e4ysASD4ukh
8es0h8W2clGP1aiSGlaw1r+xJ5RxZMwqPKSeuzOLtvTbwR1fpHN5SG7Nm2JHfNTVdMzCOnPmxQnG
221ASzZ2VsQUERaUQBkZHBbT7Q/iBjPOwa7Iz6NgE2ZXS8ILsxwmaWYYtrIKf5Uxk7dEEr0/sDAP
x4d8fBNwxLPWAs3KozhrkGdudjqS9qL+oELw+PqCVn3DAJFWxLhqS+UZr3jp+L0Vgs+bi/VrNBSq
E5X1KZKQ2FaQ9C1E3S3MzrludB3ZLcU0dI0NM+QjBnPyC0MKkLFXbqUNumnZ3FAL8atwP76EO+ja
bSgxttXNXFjkHDEo+zTJMUh9M6g5+pZSJ7SOlkBk7tgF8ccVujDC+V+BuSJSLKBM2kEowFGK2ZtL
4XVocmhayIaH0QHERq6i58Ig54KmOBeN0WAfxQytB3XtTBrRkEVZ4NzM9/NQF0cUxEyps/XoJMlv
//EscB5l9KM5hlPGKqXyz+EmBlkekQ5kDkevdVpQ2KnnIXUUuGveF8cSRdMEaXBEinoY2fmYOmlA
ABS1cczxFvgkRpGmqGmJ451Ht7XYeLIWfL2+ddRCuEs8n2U1l4MUlf9m2Aatq0bZJuyIYW3EOvgL
uk36XFEqnOlRbt8yRYWQ7Sz/RxtcPiKJIkEtKtZUMDynxpM+vvynjeJvYaubkDJtQbiPptKdM4wv
6hvltRV0gwCA1Uvp0x95kvbcjmKcBoDsyBxOaKW59S1gwKw7bVh419dEfRf298X5wnyyxND9GDmH
dqztucj2Xd4/X7exHiYu1sNO4MLI2PYCNLDx8Vl/DqOK1id2zVqYOppemlpGB3wApJ7zm/BYHmqQ
tydiS6l1cvAgaI08zykAqC/fkwitmYNMXIEX5sIV2OYv2jzOFC1iBd3Oqd06ssPv6ld2I/0aUTM8
jV7hBPczGlFUBxelG9ntccycCjMYJHu2WT5EuB9829zMz9ktxsMhHjin59CjEneEw1scpqSVNFqC
hG8ejZEbCYGtQyxmrCjpc2rLOVwxGyVJzR4AWRaCaEt9FIJKSvXdX1+LwdPGzdT/P35AbOSvgyLY
cjXugiAjXP+6Rxp8zbyWjAEvdmDkENxrYJmF6EmvLGfQCQ7CejT821VQCfxfV2lVvevykFWevPhJ
/soaUBKnu2eawao7vYEG+f3ybH3NviUb6j23HvkvrHORR9+EudrFl0u0fGJiSKUHLUKnxUM5IAc6
XT8fBk8gr5qo0QR2Y/tJlduN6tuVRQ2GJqDHEDnoiZtWF4YGRtADj4KCb7d7Fb08gQ1K/g3bVcwk
8ubcq+60CuMxQq9+KA/9mX5VXQ/qDJEDoCSdkL0WwRWbMTRQEl/GuHQ1NXHbtthWmkREdJQ19vcF
4kpoCu8iERGdHPSunjQ3cwLGTG6ltiYo2zzr/lsIaYgcpgR+6qe1CWdXyx9VdxuZP67fIdSCODBR
5jKK2xnfMSlCu/BPc4ZxF9rLIEluUZZE0EUY4yvn2qRFo8oIhENXO31zHNuPbD6U0WtDvmHY7/7n
S8Pga+dBL+ddlSNmMerYFbTU7up7w9oYpgqMuakGDIyg1LouFNJrNjmMCaEn3SUNvlW7SZFCYOp5
jLAS7vWthPf+8DKekCxzk+ceikizU96ob0jU29XJQEA9uM2mN9zuBCYBCUAEJPB190mMq3moLby8
9ReMiPHnf0dg+0Q4vsrehYqRBCHO0YDUXAdF/+0vMf/BLe4wj4YeFU9h6qXyuXDFYEjVmE2nRxWp
d4PjsGUdMhaqZLUDAgvVObyaWFisj4OZqowmfy4RhPxKLGD6+WF2MOoIK6Nqtuup3oUtDmS6YRZ7
I0RYV6Ovtv3oXdGb9/EFU313+sEoXqGr3TANAB/BHZtQU0AQEhOXAsciJSHXndZQJFlTDFNUOYQY
azMeYwEAG/r6QcKAqdhAy1oKZu5Qf4lEk4gI1gOP3+Z4hfuhqRNFnOG4yqQ9VV15m8uYWBOqI4FF
6y7xaYd71ASiVDRFBDuzaR0Gyysbn1BIWo9tPi1wcAAFJgMD9BByaMGzEqMlGgrEA0bpRtRMpnWs
+zTERRdaZNR+3wJWY3Qr4+G0K07hMT5QJIk/RLAv/G/r0w7b0oXHKch4TYGBLdMea9mVPYxceGTZ
gM7FsMNh3zusdSmD5CpVwaK+FRds5Mag+03JvpWEtr42GRAoTlTNijLCeXiXR5GuFSBQ63W9T3RM
Vo+puXTUieAcO53nLtU1XBCgn58slOHKfv7I0tkr58i9fq9Tq+HiBtkXVF+vWWAdBqeuSneZrv6r
JuTFeeCQQc87YzJVwdiEWfB9aHvIRUrVw/V1rFedP43w2ivxrJu6KQgiEhz5z9CPXgddUx1J9EGS
VsunQJ8rO5VqTGpMdcgiGphoQ/wC5qd/Xuu/jz2vcG9NQwg9JPRaq1/Sk7llIxbKXY3J6t5fMciY
t14zx8PGBHHFdMRNitRX8xLs0JD8ajX2AF2r6qnaRI8Uf4AAeF7bvkmTMU4HPOFjdQY9p3cMM3Sz
UrCtES3YnbIh9pNAeH7IeKor2aRPl6yFfIgeoiMYy47ltF5zajAjkVFrKbb7Jdy7tqkcggym1CgF
49cz7gKTTo/uoy3mMnrJ7b/LAnweFw5H6hzyjbFiipuiButvjB5KTEwfq8fru8j899qCOCixarUo
mgbxCCZ/+LZlYHx1MdzOun8bgdjrDVbsTMlAgAqBXzoHKnGBZyXeVwhiO8lwrL576kvlhxwmm1S1
qAzEeiP0wvM5eOmLdhxR8MXAAKvx8rH0MqhP5krqtH5mx0nsGBKG5kFuv1L8Ld6iu8Qs903z3hqp
K2mVF5TPKkSdI1LMgnAYngeGLIg/KSK2ASKsG0W9NObFkAgpveRp2ACpDs2+RRBKnax/CHl/Hy2D
i1mQwaiN0gA0NN7oFg/Q44HMnXrL2gGDENoB14/YOnfw8wPwIi+RqJpF9SvmtSzb+mC5RUZFM7ZV
56RfJY+NesyoSJu4ufiSlxYmYqWzjhtojN+g07b9HkHqy4DoitGdoOfnpg7FgSOciVd8iTM8TP0W
hA5JKxyjgUZ+MDt9njtj0+8kiLyM/b/SglvsLQdIk1V2oxQDBM0qPIt9vjViKjVLxWu8rktjaGah
pbDBhPFFTLVsHoKdONvZPZvhZxyS2m1O0Am+x0CWAeyC/fXzQ4SlvObLbEGksJwRgqhoZ5Dywk5a
2Inuguyxn26T0dxZKRWSUDY5hNI7LfM7Hw/dMUSFzwCrKu6q56QU8R+NZadae+rF8jax6nl7fbXU
FcPTyUSl7WMlDABXmcf4ToFX7nQ2KrFwQ3J4FXGH8rwyaFvnWiPBSSJfTu0k9G+kwChtoZ7/2yOG
LwXHWijHQYbQG8IQXxAfbxJTcssucQpVJUI94tvxWvlhWRjKCDH3C2Wg2jLBGaZrRsEatXXca2mq
QaWyIniFKGleA9UQ1GZoPTjKCkO5xVtJrv06q1nNbJrNQze8JrXg5ckLceaI0JQnhWlpZGVKhDPH
si5MjtO6kffdhtE/q1eBCtyIyNTkIhtVDXozqACT6lbZTKM9Hv0TmxpZYF645aaJTfW/U5vIBTlD
EGtZ1QNBZDVr7VjMd3Mj/xwthYhr1vAfJQ5DRWu4pKNF738/1qj7tTygy2zT6cEhNeaTrkPPQcq+
Bnr3UAyxM2fS8/VPt3bLLU1yQBX0mNwXg86+UY23IviqBZRYIGWAedviAFZqMIgd6+XvN43phLLb
n7otzuBRDDz1Y3KVF5luDVzLki1WxXc5ZEomhMqMlId46PfNfegKTrLv9uNz7lA5gctH4SPgpS0u
GIprTWpTBTsofwleJif+Pt1EnvWgPun7+ZB/ndx41z8Lrk5QAteCv6VZ7nlWWnUwhWkP4RFNP5oC
cgRo7Afiz9lbpKl3RhX/t5NyqcQsPmScWFkUqFinWEZ2bT75AcEhWeXHL5fEYVVvFUqRs+Y8jPRG
kMcE5wRHferQSuGy5nEq3FotHi0NMr9fLMnyxXDoTJzNxoOu5Av6ASdHeGu+Sm59y5pJzZN2P95H
e4xdKuzuLr+Xv6V048ManC1/BQ9nrW/VfSD+Co/GfQo52WSbHhu0hl3iaYG4Slfj6aVBDmamWa9U
fWAu+dH8DL8jgeGiSb93lIP2U4PuD+OpUYnrtUsVJUDJVAFuEAfmtlrw9dCKWlAeWM8KEzpQoB4l
7ygu/RramGyCiKarrPuZ28t5nno/Dk2ECaNmV/65IhVXVh8/SxP87om1MUVhauLQYN4Se4uUx3k7
uCIqJhFZMVk9o0tzHED3EtovzSQwN3mEp7U9Qv809HxHv8wmhWCOl+3BrAahUX4soV0rbMWnhKTF
rWa/lr+CQ/Fy6HRJF0ITrRDVjYK5Vsq22Re3tEwpOwc8mi4M8W/aOqyFwrKwu70kOZG8ryETp1sf
//+X3tIIB9mC2CEaqmCkbEpbyn7MZEC0hs5LCxw6g+wv5m1cmOCIN152ww697DUORjynRxWM1/yh
2rRnjCfeXl8ZO9/Xto8LKvMwN+WApULbKTrEsvlkTfqNzJ51mNpz3RR1JvjXahoW4wRNaHPTCSc9
vE+sV714g0yvnZcJXq81RulodqTVznW71NZySGIV9VDMemKC0XTS21vNCOxAdeN8AHny8bqpNdBa
fkUOTcZ6moYowFeM9/OJgdZ4MMBeooZzrIYQSzscpLTlKDSlj51M92y4hPSt3bUe+5+K8bmRa7ki
iom5Q14Ea2H70i6HLZJgprJYZeYmSVG77PfV2XzSwekvbxiUkTJ7BDjzL9PU8stCiwDO5tm/H27Y
PLd6J6FtooI0G+OeU7fB6k23WCD/PDUK1FKEHAssQkc8pE+CzVQiME/ji39KTs2pv5l21HAcAsH4
l6oqBeKAoBoIltd3YSxsdD/ZWpblXj+bq1mV5do4iIksJRWh/G7izRU/YVojmtgvoyeqH+a7+Dg7
yd141l/jB0j4Hv/N23Vpm4OZLoMSfV9ijbpw6lIcHvngm0/EAgks49ubVE3ocxNa4yjztafxkd18
v0ar4z3uyCc2KbJ+po6MTBxSPlAZ5jDqMylnyN15/iGHlkl0HM7STsHJEZzKFe5Ft3nUMauPRUrJ
Rtiz9OP1tVNniAOeVpzDQlHxI4byI+jRG60LjqbdXTeySq9ffkUOdoRQqEetwGUxpaoT6KjvG8cB
4+RLpOaSd71G01r7AF6fXcpPqqW7enEjDpTGFnWNmBwIlZrgB1MVY8MD9JLpESZg57Ys3InRXVgX
ztiJtlEdLZNYPbXFXEQzdVFgaD6uEVPpbKXahPr73BNsP+Is8aRosHsLsS5hQ0XGUUvRfJ4RFlaF
aBffkG9aQhHXMqsSJ4XNo2Dzz1gTYLypX4dtdK/vWVF89pBZ3WSu/C0MHEobZLUzbfkDOBgSCqno
C4VFHO70s5psH1q0Tv0Omsi7uoe36MfmKXOTR4n4fquvRbzNNEPSZfSkyNwHlCKzrowE71EtH7fo
PI6dIO++Sj2aEisJbYlmJG97v4vtXhcOTZFMdjnmqu2XKo5ZG34QzrSWclj8HIV14C7ekpEuJ50l
AY7HTb0vDowEFO0lB/2AdLzA4PXPKO/30hUufpVao8IjzsADzrLVeZ+jlZyNuDNvEyhWQ0+EVrxf
D7o+LXJfOdGFNsl7OClGIocGNHryzJ7GH1X8koXUvETqy/ISieA1ipGZImAt36IKCcXZzZDCMTwB
7ZzQonfaLYX6pEnmyYuvB9JkUVQZ1td4jL6t7cZjeVTtzmV62NOR7OdcR4bP/eSC2DqehqyzEAr5
zzO6khU3CJzE+fBTMKlYCyndJrYey35a5K4Uy9IxDUQA56ObBclthaDAFAEo1snWjzpvz6kg3ndF
tivCjkjrrA6NXHoGd82ETZorVYC9HZx8D9V9u9qCk64cs121VfftofY6DQ27yD44xe30rdkpkAkU
9tFrkNsGlfugDjJ32zR6MqiKOLKUz+T1+/a2eU4lO9ywtjIkIyMnu41uW+QJqXaif7jnPj8Ah1dK
p6dzFQEgqg6S4AhIZ2tbV6Ezie9xl7hFe9STLzp5QTDcuYIVf+gx6qUcRAV2X9jNm2hXPjWg7SVb
kDyPLJqZISUmobUVMSK+yV5/IGBx/Zr9vWqVg6piHkorMNAu3r5phZ019riPoEU0H1QBVNP5BTpt
jprZM/Fyu0i7XFs2B1iFr5ptk2DZrVvjXmzw1ojO/W0BioeE9MW4azas5iid03trX3jlD+3p+sqJ
g6ZyIXI+akKN/gh4uD9B1dVoHibMrg2a2pu18oQps8TJXo+WPzeaQ7A4U+PKMGBvkNDB8M0aLEcp
v0+a5F1f12oHw8KdVQ664tgMxwAykRDX9reKW+d2+Ig0rd17BhR2+qO8b71un7lD46AN1fc6ighF
YKfKIVkkhZi7J1qsFDhv6iqxzVGyry+S+ngcZLVJ3WujisAtV39k5mALWFodO5362oPgcN3WP4Th
n1+Og6TKj3qxSeAimJN204rxudLro5LhaEbSQa9bC5SyMLT1phYcP8eM7EYaofCNMdO5elTyjpIX
+ocM5+cP4pBqruIBVV18YXxrDAuN3cpA73RSfbFG3MBz5ybCcM6azosEdKxqwlZozXtiUwjY4um3
Ewg3fdDgCyjRaZ5ArdNvpvzYJHcxpkEbw32byLYWETElcUdqHFiNYyC32QzQwNE+KDt1P2ymU02K
YckEKGocOAEQtaRlN2Lj+VsBLx4k/S/TihEwQvNoZ6KCis6V87AZwDSJ74djgDTQiBFRRBGJcmaN
QykhkwIpbrHNTHivu2GkchX3g3lnOahGSwiAsqfCnXaaO76JO6qGRd2JGgdaSRJmtZiiElFl6kdY
SI5mCKrTV91gm0G7CYK2c3St/BZBKFVTilfikLF9vnJJaByUCZlS5p3JLolNDqbEuJP3lyHqNlS7
yH5iAlM0DraETE+Q0oBXiQ30lyWQbXU064M1YVU37bi9vjSGGddWxgGYr0PcKoD7bkz0BUWy+c3C
AOrAis51heGkQrytI+Xjusl/eIr+hg2Nw7E5hQz+xLynO6SYKVMctEc2sqfbsrxJD20Y61B6wnlA
TJ25E63Lws7qtTVzsOWbxpxCdp3Rz7WNtiu2yi4DS6xAp+ZO3iHIoJLtq1SbxVXIc4Jbs6plfcYn
nSCQ1kD5BiNtULWDJCz9ziYAkWf/zpWqSoLBMKO6azDHyc/dqgnc1LxJw+9jvDME0xYUjbicqOCd
H8NYK2ke5AIu28GZN8Zbhs+pbLRTXNrpBtWMIrEtjEhK9uLJ2DZ38b2211+DRxMECaTGqLTjP+Rz
fx8xniI8zEKiZRZ+DYveIQiB7p7HonUHME2yzWA3O+gIgkFG9U0SEQfPFDbjSJSqmuVxmudc7Ows
pq474uzqHBLViTCLTYzorfHQ2NI7F3K3Fz1lPTIIbC4ZyUSm1sTBkQoVilll3so4nPrXrrIzvEBn
RzugQ2SXuPkPKqlJWeQwCSolSaYxkdAcmt92LmDgldkSrE0iCuaZwRqIW5oa4XkHQZTYUfwktNUi
HZFTbO60vHm5DnnUijjEUVQRc4MgD7Bph3ETaeFP0UqJkOQfakO/jzxfEE38SeuE0EfPSeoMHlPx
m7/19iw6BZrtHRPUiNLJStxW8hfp/fryqOiA5/mi1NZPQX05I2hF8eZjj8pU5oWb4PnSbeNmrvWe
3MrHANNSqamfRJDEs36VNDA7uDuohcGbAg5sixxqnpPsbuIb8jTfHsJ75twCwwVZv5MH0Ft861up
yT+LRDuicWVfBJqdtePGzLPzlIS7qJh34RC4gToQlzb1U9jf/ycJlfS4v/BT/AHdodpsy6NKmKAS
XQYHNGKVWvqo4JOygK+6YdwPRt5GutSWXhDhPVw/QtRbguf+aoXq5yaDGRE6xN1N+di+mm6D4be7
+FB9I8daETjKc33DOG3ioYO5fsOcpXEgBueprrGF0NMu3VJJHeqMciHPmPsqBpEgU1lgGnhYzm4Y
YFCYSc5ApOxwQONLY6aP02UXa3b3QsUQ4lnTbRWh+wfd+1tjn91SSVH2j16Jp/jiqTRnORp2cesx
6SwJ+6ihT4Wm7FBmuEdXrgj6PGm4+qaDeZB27TFBNZguqVFmuDdXrpmDobTYwl/qpIKnbNW/MEOF
KLz2IxR/c6tjB35wMNVto0NwjA1IRqhUsGm7aMiINtXuupcRtx5fKU3nQkhlkyXMmydfkV2liO0K
qkWQ5CDiwdVmmEXIy5dHVd9ItdRiveXoOQnfMbxLE+3kOS1d4QbZRKSvjR8K1NtNO0IoRmqlEhDJ
U39joVKQ0MTuNjUsNYnn59SUM2ozuTAlLVtrlGcUtKRY/ggy4UcagXc1Z+Wxaavn6x+O3E4OQJQ6
qAdFhjHWPG68yV5yn8uOf6e7rLysPDMmBsK/O5CaqXCMCu15cUexUwdE04hezC+XYafesDMdK3VA
MHPQrFR+D9/9LRv1xTrULHGvYIjPI8Q0UPWmeW6Ee/KlUjNSKg3j41j5zDzkm373ix9IliuJA8TX
S+VsVoSG3X8RBouhpRHyjspN653CXQ3HdCgMldlpuQKivKbUECZxZ/26kMwDo4JZsp3hfRzsRkRU
CWZjs8odBuycyq/TyX8d9uM2exJddfcX3YcM4679GHZ7LgIMMdYFKaoRYESGW+8ztDPpbvbW1xjO
lHrWnuIXUfGjxQU0cl5HXRXAHoQo9pXXRqBLNlu92PS26qqAQ8bhKJHaUo/To0AqBlDeZXHBztjI
gVxHYC2yPBv0/HaQvz7nkN1mSDVfIoLaxVPHmd8JvybiEIuBzGKnR8saB1FjOIWHKmZnb1k6L991
LrtzzBsqUqfCOl6bavBloa+Rloesf7n/pVpquhVGPiD18RfeSsQjvMKUNsTodcyQtzPabidZkadN
iWfm++u7yMDv2nFlmLHYRMUcBjOXsIlCabK6vS1PB9/YVX6Hl51XlIJz3d4/cBn+760libzYFAo1
KsgEiHiyl+RGdfQfCer44mC3tlKDWQthi62G//dMQfH1gwrDXAzU13UEIg4cpX8zWcBwBB+72WT3
1k3kYNguhIuqEClJ9UFEP831RV8FKJjm4qJey1W1bPG+HOT56wQmZaUJTme+VGlx6LH269aup8xg
joOgvCqqRmxYFRR5uSC6n9DfXc77cXwaFAjUV3fjkLrl/FiVb9ctX0+6wzIHRihum1KUYY8HvKN/
VQR9F0Lg5wIh+038KngMkXSMqYvc8Dwco9duF37pdlT70lXfwe/gQElv5KSIUpzqStx3feflUuQE
MSGVeD0MhRUOgIaiUwyfERpaN9+rGHS0Y6LC2tZTC4wUTtx0+0LksK56KyxycZPWR6MMohBm4kF7
PNZPmZRsDWjtFoqDoZdbqyBFdqmjywVPpVS0Us3ey9LtxL7oOXSGc/UseIkTfq32mqN+i27zMxVt
k97K4VJmWH0hshhCP7NySf2Ix18LbZgcAxYEMBnEN+ax2WMMQcfCoYaBEau+1FQWqFgqmBqX9KmK
gsj3snwT4sbuzUM4e2pCTUWlvPXy94UtRRN9MYI+7yU8jSCzEm0LEC+R4N6SmYKrkZkkXjIJS1uK
KdRRCVsgctv5E0ZHog5WbC0ntSWnuZNfKdSlDHJQZJXZaEEy0tyEElhGXQby4et1zFl9SsjMFzD5
Bgw1ziVGQ24NPcB9Io1IDd706X2gJU6vE6X/9QO5sMM5Qie1chkKqCCr2+TBwr0xPnU/hBvV7dxm
Hx/ZA6J4bO8jOsKiVsi5AuofcaizDCG4difI4TBZ3u6dvV2mfQLiOph/7rCjeu7W2R2/F6zwF3Vj
SmmvSfh03UVwFO8VT9+zFEV+zNCw2yC806FoJu6G3RTY81/0qawnthY/gb+yGykrahbYD86ESb6q
kxxM1IsHt7bTw797tiyscbd0jrkcXcFyMfK23mPcwqFwOowfvBTTxJ1wsvZkCLvqHguTnHs0WhY1
A4u+cgyHn/eMOWM5TG2MBe3ysTuSJYnVG2RhkbuhA7VoQ3VAKMLC9fbOeIW62IOWIfxiLQLtVnCV
3IHag0MXD9ejg4Vt7la2TFUxZUZwVLf6ob9TNvNJemJqefF7hlkLkRPeZE9oXsUVWt6UD5lboaaJ
X0Qd7fV8/+KHcBe3X1Zt12BCCjbhPBa2/DP9DrF1z79jHJviZEKus85d8UgWM6nvzYHVHIilbDBS
gn8eT+B83zJlWwRpo3fzNXEFlzpg1NfmQEuRrElSDXxtU57Qfaw42vjRm3diAw1f9UYkN5Y55B+v
icXGclDlayV0ahj/jjksSDQ2UyiTDuKJ+c913Gf/1BVT/BXdRnE6iwW89Veu8dfgIFpBYP3V97kk
/noee2VqLcaE6g69q2xyzLaZIAADVUc2bbnBuD/ihUQBL39Jj8kQClGIQxK9JF/7DejHzvQT1e9L
U2d79DfTRrtvTtp21uzkLvXi+5BgvFPAe9mURZzQGCV6zFguPN6XyGGwsHZE8z9LJPxFyoSh3LVP
yWGS1OWmgH42ECnO+mF8hF6v032YICGzAC/dpsQGrz9BF5+UwyEVA5IKScDqKvDoD9oGGU509ZSP
mFxnuuZjsZ9OY+J2R927fmTZv/vnOlVVReesZeh8AVroC9+XfdhVJssezcQr1afGVwgr6z7/aYUD
t1Y1wy4y0K2QmvMuHxFHFufEh+Br84gkmZ2ZBbGf66D2aZADNSn8f6Rdx5LcurL8IkbQmy1ts914
jdkwZOm959e/ROteDQfD09A7d6GVIqYaYKFQqMrKbDK0nckcZjVD+QBV+JqxJJYFKoy1Sw+CHnIz
6/ONhiEs1FRZb+ZtH3xfBBW52gaz2q2GbGd4mR3JHsAJcWpQS5ptlEtRqPWYZ2w7Vv6xSDed9dHg
8mVCrDR63MHpUweUZ06GgH5m5V0X9u44fVUiV1B5+7obbpcMxXfLVFrVxbO0YKiDvDhGB8hHK4vM
qbKzzmoiMynA624pDvptdig6KuA2ogW+YAMccY/Xf8g/hJn3H0JlXIbWh0nZYPos8gnXHnmIDJAi
JGiMvyCRZXxiugutc1UYcz28CGAWJ96NPwmfJWnKSl8JFo01o7g95bbaZuLVqyA6d1ocxBP6Dr+L
IRXKslJr8SexNtWfRCwWFWkbMo9O7JKaZXRob9TnFvxNjNPzD+nO+zaTuLT6IVlUJ3xC5pdakBVF
FYStwPmHsQAo+lmjz3kl4A0FyvKseLcNPVztABWKZmC3pLLGjpPOS+cLO5XYdLI9qwXA9CQqBilV
ovUp6TyG5wFTxNNu8XKfJNGkCsO6oZnWqHgUgF8+Ssn84u/KMxE7ggb1DRHtzDxjd/2UMIIfPdE7
RHygc5hEgiwX/uWGWWNa8LqJ7RcmgOuGAkFV/tMw0FgGKUDemNUfzwZ/SLXbApSyM88w8w8X77sd
6kTIKNRpISnqQILlVABBCLGoHZjt7GaHAsS+9KP8bxBtm7A+8d0s5f96IlWpREbMiXQG2uy75jL2
/Rfqo9sx/d0S5fCFVE5LTIoRwYlQ8OiYvLmQfNuhzTzV2+Hs3Rbl8sOUhUZRoB1BaC4r1HIIU7Rw
RlroJGbyxqrk/MOt8W6Pcvq21aQ0HXBDSqZxU32X71tHA9Pao+KOJzKJp6VgPLYi1SzOJID/RZ5I
roPP+dP7L6DuaKMrhGogAZxcF4Ldn7pd/aKaBJfYH1jhe1OKRH/3GnqoZ1DFMlFD3M+EAQtA0FN3
CPfi7XcM1HfmPJrzzSV+Ho1zao3fO2e2O4IhPJTPojf+Kg9EELZxs7fAaWx05eRdtFdua4fJ1Ey+
85Vdoad/hN6oNFUk1HuQhM3wO2Pdyd+SG5X0VCaL/KwWyAHOFGSbVVDcZk5ZbRJ9gwfxf+Iu6bb2
4IGv7wml0PBc3HYYBNL9ahdDl3I+Dm/dSd/xz9JosTKp7ZfgH7egp4AGrVamcL58qM6HTrlH7hg2
uGUzSEq6oGuyCuowiTpvCp/IIKtAATAOHiCGueP0c7c8Nq3BuK63MN6GIcmiKgmCwSv00K2aCjxX
F+SZcJOeo2P0OPjlW+z1YBttDuWLgMxBv0GzDnTw42HUTMG/fhtsDcusfwA9ZluonTBzKuJlE0Dl
R9dKewzlb2o/76dB9LKCe+nkalem9YOmqQ56/btyyW09jl65wmA9RUlwptzbgIS4iAo4+kkyPaQy
9VoQZ+Ruio7yPkIjIN/FEAFaQlCTGvvE7PAwZc4RbBXlP1ilUuRITxa+LlAob8fxzliSB74Lb5uU
xzhfHJ7CWS7Meizf5B68mvxQO1Emvl7/ChtuoKNJqWqiKhtwN5W6S1SgQmOxudRSBhv80BOghAba
lvlb7oXwBlIkxBP24czdEepEFlP0Z3eHeRE/QJTxAzTaC/lQjzhxRm5eTCG0FlLBsIwZ5J5Jq8pe
MojV/fX1biUHH7yO2vIgH0ZJGS7RPf+Kbpr6U3luQbbktODV5ECZchSPxRu7LLmRX32wS4WwQdPq
3/CgSUN+MElWm/QMxPTlxHxyYjivJvAyD51FcpevMnBZmmOh7ZAwEoS/fB4t0oHuPcgkO5UDyYPG
B6Hd3sBSBZT19disUfdA4P56mVN2WYk5uaqv/Rw6DxvaQDMCNPXw9hrMLO5OWjh7Cei/2x6aWnxt
1iFYgK9/4M2DLMOpoPwkI9Wjvm8yB8a4yPDnYAaZSSSYdXsqA93+36xQX9PohLocU8KaoklHXp8h
wxAoh1SdGBPX2xFitRzqkyZLHeoZIdohIF/ObM0FHGWaJzkzk3Bq671hGAp2TTR0XYQQ6Ef3GWRQ
LCgGjgYpTrRWvNcfQZF5Jmpv8441ryaRLfrkHSpYH3hS10RV+KO1NgzbTCD3aflruQUbt09e5jpu
Vsze7ANAmcUH8Ufhck6HXn7tJ+aeALsqq99Jt8G5wgCdYbMq55uHFOz/ogiRaRlUFB9/06w1+dxy
JBi2i8XNwPeoNaOg/DngaZhqEXlF14n+CQ1rDmZoUZZZhUdQdF9WP0Xldo57W8Vg8XUP3aoofzBE
JdJJIOd62pBSk5ve5181twTDXDODE0oCIT6bpJ61MGrvJHHS9GSGPZXjrW4MzaBuHVluTH6IfMba
Ng/5+ybSeGYZFO3lVMLWbPXOuFhja3ZkjCkAUArsyIPVtiD2YauGbLVn15tKM0JlRpHlHYdz3zrp
mWgfVz73svjkTVTbszup5uBpe/XwF6QDm765WjMVcoI8a4G3gekGkYDoDYyYxiMs5oTTuLr7V6qp
H9ZKHdAAeh9LTajMNONrIz3VaoLc/pnxJckf+RQFVqui7oi07iWJJ+F6UTpLj0rLlQuvHcFTtAv0
b3JzbFTRxhC1rvlhxELWbLzYsUJFNhBgEYbo+fc87wKI2pEt5XJT96Laduvz/JSPvpjyplozCHQ3
nlAwpxsSj+l9Q6LbHbLBQ2IhwNFfxvowj9VtLQuPnCQdxrp9QuQxrOubu30i3+1Re9tO6OkXEez1
y82QL26NDEsWXiMm9Jm1MHJcV3lHMol9VYf/zTswh8I77V0I7M7oqi/gsEHZD6Sv6PBfX9/2hUVu
KlUDr/EnUemuAnpA5vGCkG4wwb6L97GXH4mGFgDATIDEZsxZGaPO34gcRlp0GCtavwIzUar7msbK
XrbT05UV6tCVIgiS+qjGOySGR6rYS2FAWPuueMoeV6UrHvid4bNe96y1UZ6STLOyCDys8tIjLkFT
qs563zJuJJYRykuiQqxRWIE7isDumUGS92YvC8dFwuA0wzE2PX+1i+T/Vw4JXBU/iW1Lept54of3
ZBA+cudX9UF/WMAehYSXYIVZw6XbT9qVXerxXvONUNQC9nFwQ0zXpXfdTv7RODqKR/hsj6HLnHvf
jJ8ri9Qtzwfxki4FLGag8CCMw2T0c7Kqr7+bqKzW+2ZKvzJHXfIqX0qNwiFFHGMR/GA6EB1ReCqS
MUc7LjmAOUtGdyllHHSG59ATBVGf1aRZjZuoFz2tLHdx8lVisndsr+1PCeDS31g5zZDgaSimWFs7
Ac6v39bCrabvF+Epnp+TjPWC2HbRd2vUh1OiVkCTFjGzzoTM4njjMA9JAeIz4PF4lsYoa2nUZ0tU
MSkVFRfdDOa6zCgt4HRH9VcMRaggsfTw9fr5I3/u06X+Xky51HhXOxmXcloGItZGaoWEbPW3fgCr
VrzV+FmXTy61jZWdqQ7FnAsRUdS7CXVw4zy6xbnYs5nhtx3wz8e6YClWhkLoYlQjIcopxZO03AfL
syqzKlCbl+hq06jI3ypiNfATNq11iPBC7Mh7GWzQuRV68XFwjF+FU1kYHGZx8Gzhiz/sIhX8l6T5
Dza/dXhMDIG/BGEksiGZDAhcaGVvmcfSkSF/8pqDUFdBl2r6KEQ4anr9vet+8tOX6w64hQH7sCbq
AsC0SMcrCjyDbKZi95fRDfKAJggw43nZxV5rA4hmpa7ocqACzt0IImH/poX34XdQF0JXpOiXKpee
0ALyO1K0Tk+LB4ELu/BYLKAsD6JCilgCEdKJOOVimFpc/yULKlMZX8fCZhKObqGHPiyMiihyBDGS
TMQGVyCfg6OWXrBPDxme69BstMLX6IazWhvEtb+inbrrD/Nd2DFu+a3O9/o30AVkUamFRCF9PsIS
0nrDoQWfeXDbe0DMWhIAlUQ6En1ZgAwyB3JmJb6xfmZ1yBi+LFEFJ4RVrWv5y7VhL0QTvqgZ1x/j
qrhUUlbRh4tKEaEJe112up2riS0KEz7sV7F9vn5sWAGVLiCmuPnbiDQWSeBWDpP5W2xD3LGEnFib
RsWcWZklReoBWpiC5K0o5J2YsRocrF2jYkwlTcFSLoinaRjeNb10w3PRN5SiT0OR7hj7RnL/K/FM
osKNkvJLkChokio3oyM6y05zUh8EHH+FMGEcc7pDpGd6JcghMQbCb6tPA7eUCnsoq2deGU/dxP9k
rI71sai4UgaYtylm7GTnDpdhQyLCUtuxRzQKMoezuUeGRda3o6KLqoPTP03g8R2GSAkiW9nF4A0F
D56HLh8q1s0pOzEBe9u59J9bnm7FdpW0aDKBSUdHoug4QSVu2BEeoGgxh1PmMVHSjI2le6qTkVVB
S7jpZK88VzGuh8xNTzJKdENsZbv2Zt4xnygMV5XJ/6+CiTLKzQIXIsjsxod0ufQt9Yj+nmhrqRPb
LGEWhrPSXdOsH4vCgJSBK4t3jZCYk9CZDQQFJLm1ZYmVQ7E2lPz/anEZL/FhSIYJEL9ajOk789fI
6p8Cwl4M2vh+nzjgoeZ+XHdXhrfSZaQgbft2iEhlQA9MTsx2Wg95JD4PzWmZWCGataFUqDHGOMvE
ERtK8BiEQ0Z6FkA15xkO96R4KO2a0V2LYalhZNxCjBxYJj9stbd8UInocRCc2fCkYoZxzjRTr2bn
+l5uocjWl7pMBRsIH/XhOOHoy3eQcgWvbPCD90NfCM32haRNnL9IZvO9YMKtWBtLxZxRDhZ9JjFH
KAazn3RI4BVm14GCGrnNxMJCMZ5ICnUMxY5rNXUC3KqKp9RKRDU8tkDPWyMn57lZq0EPTxrLUzKr
i7O0ehaYjI1mfE+aLzCIlqgbCZ5W9Opd4QNGb5EJ9vFVNgnX9XRCssRwoa0R+vXHpUkCxWAZwxhS
AG6FaZ/SRFMbcTZ7lK3CjezqMJ9KDyVK1GfA9HKhQ4nuB2u0FUupTQ6jnNe3YHMHDFEF0gLNnk9C
RkoSoUyEWOguCSa7+ZcRaRUPIdjrVraTqpUZ6sTmcdk0EYeNRiVqR9BEBNAjQcyVJcy0vR5VEHgo
JgFdTu631QmVjDjJlQLrqQtoH8ulpbSl1XANa0Gbvmu826GiLD+LAmQ4G5TNS3P+kjsL0BsVgAqm
YSD318F6nbvJ0/ytPnCJmYHNimdwXW4/WVe/gOzEaqWd2IkZmJax0l+TDagM5rWMUwyhVdifbREE
qxCH61hKoNvlvZVZ6ks2ZcmBtYSYdZYXyQU3yin4oZx4F+BaaMiKTI6U7XLwyiIVdPsEnKz8Rdrg
Ceclv08PRBkkdHS7dSNI2VjNubyJfrIIu7abhyu7VBROy1IzOAOpELC8eD13PuKwXe1SwHj/hoRg
C/UH3ZR3l6KCbxklqt4QnlqCFSfNLT700ZMBUJxgXo0n7m22MydSwWdXWaq0S55YlU2GU9MEkFGD
p+SiXHIxAu/qwFryNxRJLNelyR+NeBynFuVE13hov2S3RMQGoEYn9Ilcm+ymNrszu921fN9dmvlR
ieciTSIUBkZL3qt33I10LB4iWz9Cjy/5VaA6rYHpknT5K4UR8rd7NCvbVFCKizLo299iCrqHpPqB
DFa3LufVr2zqmc38b2WMikyDUskZBoHx5kPfKRvNLGcGP+L5n556KxNU6NHLgdfiGH4CicF2370E
d7IF6pm77ls8mdUhxpkszuUtH5k8kxeVEeBprFYpKMlYVjglcnTqpG+99qNn9Si386/V+qiIA0gG
Zv95bOHwPbqdMC1an0ev9FSMESzO7M6imeyyHfvTsc4fFXHysCtavcTaMp9A+LsdoSj7d9jpdaSh
QS5lIRTKQIhem5cA/TWIs34jzx8Aap5Zb63tItn7XtKzN3Eqd/lMvpdO5j+1m/S+OhpQPwoPhM82
tuLBnDBjfB6+cHfAWWKK4C/gzJuvk9WPoOpTecwXeUamm0W180Dq66l95i+xtlMrXGMLtBq6dN+E
+ZuacM9xDyg5N1h16g+cKYJ4M5hYmKbNRHv1g6jUVxWbsQsm/KBSLB1Db2w0ARV+tKfgbBT3/yr5
+nOx0CijOegmvSfhh0xb98AWQaLiiGa0zXrMM/yXltBDa1OLejJdSLI86UDuD+CVPFaOx4hwNOmj
HmgNp/PYPD7ifwzqkppzvXiMTSNf4EqMo5ke+bBoy4zc/uNlHB55DvAtw553JafwWL3nLfWz9Ymk
EVGqwA31EqGe1dizQxof4mhGqBI8Tz8M/nL/a3ezrQbmEFoi3ka5OXU2Y8WsbaWiT9X0MpCDWLFi
Zr5+WtziNgWaoPiFwS0gGDCXx9hjlkEq4Zk1ECJNpAMC+gwzykXT+HfQmvdzRoOkwiDQf/ODDi6Z
NYSSFII6+MkkC4oO37TK1B6v7yJjTZ/AUX0x5UjMcbCD3JKayUzV1P7fTFCxYwbJ/ZiQJlkhqkAL
d9YgPVy3wEp9adbHqOr6PouxVxzYOCHnMx2Us36MY0wOqW7lBQ4r2WZtG/n/1WMmqNVxTsmzra2+
ydWrxoqBGxBvQA5XjkClLHJX50FDRkC1i/IemUMG64TXh+hGxU/BkTy1Q1TkiFDkMzzjljXkwoiN
NNWjIi5ZKxKoZ/Kfuz31CSCCNZ7HSI90KnVZcqkecJkB+qvGrgoBZI23wrxxrjsI4z6lRe6yJQ0H
dYSVKDkmNZREyq9Zf5/2LNDDP2TOmJVTVVEwFLq7XYzg5wwXGPr9Jmrx2jSs74T/NnZZpZCtCRv4
yLsx6mAFAwIgP5KyGyIg0hJXeYm/Bl7vxT876ElPDgn/IGPJ0EXTb2qfwEv+AuS4/Qnffwb1WuhT
bUY/HxnT4EquuCcw5NpLTzGKQATVVZzZpLX/8Dp6t0mdv3KMorAnc/ozyBzB7AjmG9khdHHQ77jL
zr/RZJirumPlh9uJ0Lth6lwKRqMEA0F09ulDpqm49LwSGJpBsxWJMRqwUXkDJB51IUEHKYAK3PHH
ICMvsjIEpLPXOpLLHUcLylX5s+b3EPKCzIKNWmeO8ol0MM5daPYuobkF6GBvfAm+jQdWIXCjJvbx
51D37ZAXcjmTSgo3P8j8IU9UM801Z4nOadZabWjYnOh1OZNn7HNm89Eude3GYAD/jWnt98UxBjYl
9sJjD8xwbkcO6/t+jhQfjNElBXUR4qwn7Z0Zw2mdYPPcXSQFVs/MoBiromsKwJS3EVehwriE0iGT
FLfJesjQNRiakpyqCF4w8+Q2yeAKAaDZnXLO1Wx3PSp+vsQ+rpWKH02U/acLno6BLSclpvtfrlvY
iIcfTVCxoWgx5Y6ZAVA6xsuer38lysnIzvnwOgPnMHGPU/YwCIMp9gAQK18Zxj9DhT8ap4JEHSvt
IgvICgiDtvYtAjWLcZdBa40F4vgcAWFIkESM5AkYhzKoVaq5OnQhAe1W8pdQwvxn+FSwpPM2P9bK
BrWYtNCaLMFUicvPpVl2hdMEOcMfNn1/ZYKKbUus1qUqI6nH2I8vcU5+OzwVgs7Iorc36314jXrb
1lmbNgYZXovqu06YXB6k/trEWMrGpAr5JO9WKN8G0XCyCMTxCJ1d4BH193hfuYE/nvjaqveJm1uQ
E3dSkNHGjyB1yqA/KJqRMx5KO8UwvTkfpAREW0wAHGv9lLMsYd9lARlHaNz4vNjLY+zo/rIzUGDj
X8QjqKb1examiWWTcp6hbiYtN2BTmZ6XJMS4nmjVMuO8bZROPu455T9tUWGSTYeVzq6OOvgO0mfj
AVojINC5yT3+VjvLD8OXxjG85AxCBBA+p8/Xj/xGTRo/4X00kYYXGWkcNIKOt0b+a7pJ/MEm3Vbt
uf/JJ6Z8U+yWvSiBwwyM/T+Iyuf//zX10Tzl2/PQcWMmwXzXPurSj7J5uL6+jW7GRwOUW6OVAfbs
BiEt8qNHgCwc4fAbPNwOaOH8VS1q86JabSnlr5KyYAwSzJAXlSWi0hUCrv/7rIC6wLq+wM0otzJG
OerYiUpcdYBGV/KvSX+extfrf387iVkZoHw04oD9WkBo7EbT/MAb9aEUdVuYRXs0Im/Oe4eDKitG
HL1WlUyGbbJTH0s0Hz8eib+rR+MSiKhB8xeCPcGNkLcFt6RnSoYfulP/jdUduaDYrtmj8sfFaKVW
LeCNrRPdlhCo9/rdfJ9/0Z3BlffhoUAfQ7eLXXSe9qod7zkrep72hYnu4+Ih+TAzpzixNEJYX1j/
uAkDpmyakgDjlOCpN/YjCw/H+vtUthgVWRqLKfn7yv2cfY1zRkrD+Ps04GhOc1nKUpxAPbOLoTI5
6GBd95PNa/jdRWUqiCxcOClRAdBGXc4mb+hWX4OOPug9Nenc66ZY8YRGFs3DxIs6oVkidDUYob9J
UDsh9EOy295UVnJiIS83emkfDgENLgrw2k/GAXnvrJhQ/XuVQDOZWp2THbjT5Ain4m5ksg1toE4/
GqXCijobOdeTBE25gUA6NNpt6dsEflsNQ/PcffYsPhbPEJtEu9KQ7eZN86tT4lU/mdTFjAhAo46i
JZGWeUR4K476nnsGsNiSTQVFZ0KrCWESxguSFe1orVZZE6Bu2sKV4lm2ByM/NVFhT1HjI/PXzY7X
zKXVnKKPBbNICoZzkfByJfzQ4CN9ERZVnfGl0x7jj4Fq67puA76yF8TaaYaWMaS7nX6szg0VWfRy
FNSMTOk2IPESHoojRmid4BWqat4A+r7CXPa/qTEIL23ktcAVMxU1GZelTEUfMW4EeYmx5tYZIS9R
E8ITcwEl4+AVHgtSsV0geF8xTYBRScIyGAncSfSiW0iUYXBp2teyqd8GoxV73M/JEizZBWIeg1OB
ZYAJQr2PerveyV52Yi6eLO7KB6f1W2MlLLNmwc+RHnrcOP05PRNYQOJq99lhcJpz7td+DybZglma
ZwUyGpvFjVy/9CT3LDOzOw6PySsSfid+6kzlTsbkWmD+xfD95gNztf/kuK8u9FEVK14iM5SFCr3F
Ya/ngdlCQKT+IQ4QT1d4O1Mqq1Qbxg3BOFk0JCuJyq6JCQFH2t73k3au6v3CJ54u53aHcVzGHcHw
aYVKmWRuiZSMpBHqXYWB/+mgPS1ADBGvMnzW/cC4XmmZVn5IUiMgWxr3jdVCPiPjGetheSmVFYl9
r1ZygTAR+YSXaNj1rrYXd8x3Hss5qHDUc2VaLi1Ow6VA6XFODwhZY3YQC7v+gVhbRsWcpFhA2lhh
QYmeWQ3aXqVoX7fACjR0VazXQLUjDHC4JAZdX3kmMzHivnTG2RQtyQbpv8X77bH4pXlAegMSw7vi
RdlF/Bsdnc3X7Puxo0tncqQlQSUhyA5u4wtHQiGgOco9CqCefDAQ3dgoDlbaQsNxdE6ZFoUAAvVp
9kbOMNtCdXItcKHE4nRc76p5+DgU6tFQ08EEKvHEl63bx8V3Pooe4i57uv5JmD+Iij3hJAZCrFwy
t8mebtS79H70cm98Vd5UQPy7u9QNnOs2N7hqSBolKRc6bh0MIB/jHceVXJn18LTgjTxgxqeGN8Fo
4PajlT+Fb80OYlVPMrBCoBMzWygVAHd2U34L3eU1MGx+x3cmZOlZJduN7t/Hn0WdtEEx4ljGvMOF
vXMA1i7BSFPohHjDSI6IYYDd9X3Y6H5/NEiduMJoDKSUeMipp/LL/AUG0XeodtMdBKwrk79VTuEt
wCkHcbaVW+XHdetkNZ9v2f9+BKgbfPwIQ9ONwsghp8tSMNHHtzVmlfXjJPght0vzu+vGNoby1ktF
Y/ujtbZcIm3RCIIcsi2gvN9xZvpVckklTXRqK/BRtcJZ5w8CpjxCC2J0r2SQn6WwxFo0uaNWN+1Q
Snkwkjl0lZtmN+U7ELWCgc9u1ewbF6IRkjXG8KyGYBq8vgEbZD5kAzRegsAz+LZU6vZTS4wiKS3G
E8hUovgTSLh7zSn9EsM7bLkyspufvq0kGbxKuDYR4j4uM401TehaeLJwEwFoDeIXh3dI71c7EQie
bIaPxNWGfXIPxS4PfBuMI77t2mATglIM+OwkWh5nmTVR7ruOvJQAIH0DD9M+QJB38rvUIy3FrkVV
QP+uDgA+cfbAEijavMtW5qkSSaktld7JI+p3aR1bXaW31jh+Z3zSzfRpZYQKY0EpLeChwS5PAFlg
nEbEyAlBj0IL/k5A4xYziI2HbhYyKtb2stZHhaqmy4Ye1LfI3H5lj8G+nyz4rm6P7pRBSlg48abI
Q0f7+oK3D/FqwVS8Erhm4eoQHzUCZ/vyoL8FVmNnj8gad5qB4VajNYU71EpuCcwEz9BnY5eD+BeA
K0butYFUxGl6/yWXB+vqHMdDJCVahvV3L8sL2HiO0BN7ymtT9rNf1Rdjn1dgw4xd4wfHeApvFlVW
hqmT1QzQlayIX4N/zBpVyarKH3HSm63wP37iS0tstUQ9GTB4t2CJk1t/gSQtaCzSU7Ab7cCUnNxl
k5xsNMM/biqVCsxSks9zjLVJ4nCjSMNrn6Oaki6TGbQ8ECKB4Ql5shtqyZ1CqNLVylHPo6dEUtFE
+plmmtcLvBMq3ClQ/wUi4uOPIyditR2iUg6dEWI7pJvmOKHRMZjFLvuqXN6kLE8nwfhT/Fx9ZfL/
K2NRHqKWESDnxgPJSoebok5NuZ8YdwI5LtesUEHK4EN5Kkfsd+JPR8gkgbladrM9K80QNy+91Wqo
OMUrXD8P/81rih85mAUCv3gOXpub4VF2xp/Cs/5KboXJIVOr3Gtz6h+k1CzuQBWe3rCCFyN2Xdxw
tblLKEx1mvaIXc1PPT9KGWs4fLtbrAg8IXMzFJ6ufEZcOixpNZAKjgAsCZGMzK3fsxrF079LG1fW
qJwizURZz9uLtQUDq0TFiKSNmhPcqO7MVPrb7k2t7FHHVNWB5WhK2FNPvYO2mIq0McKARuhcRHZK
fwDlPORdoQJONKVZhXfm7lInEVxM9aQqsF8cp2P1QO5z0e1dwtDH2fz99Ttn01lWi6VO4ixnRRPJ
cBZ+yKw8LUxh8q9b2C5urkxQxzDominPiQnCgdHdgoHZJ5jw9IH1lN/MF1aGqHM4F1WvyIQhaFar
+z6Qn2NxDK24WkpT4IS9Ummsa5K1e1SaMAv9LKQ5uJAGsjZwUJg5Rql1G1odzRf0+V7+DZYfcVqR
FUJWJUkyTaOopsHQztyEC/ICuk692BddcccqVmwX6t7t0BlAZvQADqtozGfHSjSbxwJAJvE27OH7
2Tna5a7hM7PKzWthZZO6/McsVbsBxGMuV5+a+XsW3vCyx/DGbSf5s3/0td9NmYqrF+saXJzt7lGu
zeQh9hpH2y+NmT8qXzoPoCwnO7KazpvXxGp1VFwp5kZpuRpvI7Q1/akSzLECTpjnTUxKWiBwnbvb
62tlbScVSEpuHBKJh8FofqiWLwsQfsw7dvtRv1oVFUD6eJ55vsKhI2pk4s/4LrdUoF6hPeJyr5VX
P19f0wbg9oP/X6b6VrcbDwJ5WRXJId9HyMy1Q/1U2NpzcRPe6T5oE+zkrFidJQvW/NCd4sJk0Wuw
dpWKMqnKNQnPw0mbyTDn9HYZIInIFlogt9qn5GW1r1RoEQZRnzmSnhJyWqLDWp5UiEEbgKiGTIjq
dmq6ska9PLqoDTCti10Nv6JU91j9aO+Ikp1sAjl5j5Q0RYkoh1Ro6rKC9sYY5ocPShNaGYJkBDxh
uxn3vbMcSbNbfQ2OA0rXvG14pFYx7sCBdt2Ptuty7yumEcBBC5jYQkSMm5foEZoqVrmfvqmP2lvs
t1go+JRfZcZdy/CcS2Ns5brGKIeVTI5Klh7l9q3rjkL84/qyti+kP9HtAkVemRiDaimGRtRcEbQl
8qjYGOi/boG1CCqoSLyQZomBzwX5obMca1Y+tjfCGLLiNMsO+f/VSrSsr9tZw2blM0rZ6X0E5cjs
ZnquHOOuak18NzRiWZMjmy8GBRoquoAKjkaPy7TS2PMNAXty4eykleS3S5c5U7/EpjaCb3DUcmj9
ZWhOq4wPt/nuXVmmjnsvggAzmlDr0KqbIkl2Sgna3bpzDRY33j+kl+9rpI66nKkd10kILKKXn4sf
oCNzw2N03/ugcNr/K5zQ+7LoOZllaqUiaPAEK6LkLpyXF3Vovl53yO1axcoGlTV0PVQYxBYLSnxo
70IWqT3lp8EMXMWTL9Pj444/cz5radsluJVdEsFXHloOaiVxxENHS/WyY34GySy0K/bpqXKIIlOT
Ypyzji94xYopmbF9Pv58RnqURqiyKtY6rFpu3Dpu7Gm5GQem1Ptmc2y1Ruq0J+OYjmMNNGsJkKbT
Z+X8xEvtL1XXFnsOjdLmAzGxOkGdnZrnYjsXe+kX4/uSvOjzTfhnpQa1z2CdqfOa8MEnfoaJ2dZa
dtEN4b+V3emNjSzfxie8r5lGCc9VIhuFSiIPFI1EM7yvcEgghGIDcwUd9NhXztFX3WzO8rf+wO1q
3WQPa2xnqe9rpvZ9mqo6bTKcm2ZpnEUJj3MqQdWt4r+ohjhZeTgwnjKMyGdQ4VYaow6ExjBI2Mmg
6eSlPlFgYdUmtjuUKu50WcBLTaCRNZOkwKH4y2NwxOBcuieCThhNxL0fAtq0+OEbKbOSex8wuOf0
Vt8B6+u2fgekz3XH2jxBq59CvUuFUdPiusM7WzC+aupeEF57VjVzO8tY2aCSxblamkxRsFyiwHwp
MnoE79AcCPXVbE/e/MwaN9q8SVYmqZtElFu1awgtojSq5pw/GyrmqLjHEkq81/dv02VWhqiLJJWH
OQ0XoqajDLtMRHuxFcx2rsyg4ME+/D0RvST/ft3mdjHh3SgNpUnDri+MERs674F9xyhwBlxmshN3
LE/dvidXlqhrpQ4MDiKjcI/57vdTOz+l6OOhiFei9v7vqlwrc1SUi4QqVQcCd2idTLQVV9hxkHSX
PP4lveVtthbS9gN/ZZCE3dX1pUdSVM8L1tfZizscBTsDT1B4Qt59M9tEfoyV/m7v6Htg1akY040z
KmuElld6GGwSZQJb9Jc956GZwaQU3z56K2vU8dbjAPNahMBclcvTNMoeJ7cvfBHtpijkzVlfbE2Z
JnNYQr9IuMccgsqVlLiLJkWOsZQOn/QM5BtzA6hoAEZuzGWJ5M6+CzygAE6dGfs8gZugys4SAfmH
l/mfO4Qepgxa4GtlYi0Cvj7wCjfcp1bgxuCZIdUbJoiR3ElX7mmdigctxgv5OMe9qcfV9EVeNID5
QiH05FSRjmoi/cpHBZpPoly+qlLA7+JKqiwgYsr9qKT3DSaOn4VpZua7m/Hw3Q9oguu8mqVIJFep
Yi4vBfiwiKCEcq9ZnNX8av3arSzDj79dj1ObsXFllAoek6qn0WBgLzLkpIQ7XwEJII+y0nUzjCuM
Bpg1eVWIU4toaADYlie9xYUvUqqZ/5sV6txWmtFr3CCBUHSoXS1+zatpVwiMxt922rWKR9R5rYxy
SUpS5k/8xp1cQiCS2RNGwRzF+0myAx3lj9H+upxG3gR3gcPKB7aLIKtfQB1PTtXHPEXfl5QG7wBN
teXUGW5qa9rxPuG+kr7WN+BoeGILWDGDMXVpl/OYN5KMxbe/BFe28n24B4WJT/S6CSUn+6W7/XpZ
LZY6reD2TitDg8UsBjaMkAFCg6TzUX5xVaitAI3qGX5xRp3eHXesOaftKt67dRqo1vTiKPfkch1e
Kn/wBcwF5/9H2nUt141j2y9iFTOIV6YTlGVLlv3CcmrmnPn1d0HuaVMQ7kGP52Gqpspd2gfgxs57
rZv1Dq2qBsSe2ZENxK4nBWQMxcn6qPjStU6hsdr9AO6BOnnUT1qFAQZkThgv7z5iBPnUv2CyPZgO
/+bITHneWcedQM6/652qxw5zt1o6hb35KTd+aNbN0F2niSwzlYniPHu+OWpHJhh+Y5jQo+/bzYtT
urnGCJSasgZ7eBZJCzYyoVzG0m3NOscsgainiXxItvSx0tfvSpraHm2yJtSKofYv2yXZN+TsUqr+
R4UVA5TMFhpy6SahsZEYWJszSi2+WRqNOFW0VG4Ut4FC/DqVTdPI7o79+y4Um0wMZPcRdEMxvzrt
aRvui+qbhWA6f7l8Y7LjcGZmTqsmG1jjtho11x4nt42+tqskRhcLMTGUpKEza73GJbvTWBnZVrVj
BXK6gqjqaakSdyue/+Qkv4Vw6jYpxWRtKWw1uKuvNCf+ZLaVZ6VJK/F94rkyYD7+5zSckk1xVnaY
cUaDFAkHo8lllQctWG7kTAjCSGUnilM2teo12udMDUqMeiyhuYat8wWLbsHlu/t/XO3vM3H6RnQn
Wi2WRGHh7CMLxJM7G2X3/KkBszJmQ+F5tgBR6qfxKgso3DGggS7/BPHT/f0LOEW0tnlCoxYhxTa2
N8SsfyrxJom2hSHY7jY5B5fkFrV6hz3dqL43pv4utWuQxWdl4lZW+rNy4hslJzc0ck7/09n4hkay
jTUAi3G7dfcDG/seLWvJB5S8ML53sSy5HhUlFMWI7+3quh8+jvrx8iHE2cPv6+ObFXpLo6pmpoKR
32wnhlL1HYWnj7/ASWQ7kBJ94PsWaawjYmbZr7o03qxeR/pXyXmElczdeXiDUWfJNsw4j3qOzsYx
P2zgPPxXYaRMEmcxNG1T64zVo1+B/kEsP72ujslXF2RqwNkLHexrMYCGETEnWVAplttFSVAtjeSt
igvsu6vjzMVkKX2CRghaPgxAtHCtFDMxzd12XD9HlVufqiB5cGLXelLlVRgWh70Pm/4xFK+zVztn
kjTp2I4RnAnAUk+vBCogmqIH7CZ59bfLKiK7Ts5grFbRzzoLm5Y0AWxMGTTDdTUNH/8nKfzmOwaX
ncicoIfmOrp6/GG0bLeRccBIbB/Pm9Fa3a8J1tedFrY7w6osxVk2JCKOW/75OK/gDruPMy/JqFQ6
SixDY3iOGprF4ibqhiHvDhg4kthFnJ4BSZqYDDmA8uWjbEGJuqdM3U/RoQO6a32T/gQl1jU5qD6g
M8ExQ3wbmAGyaUWhcdoJ5t5Ziwg9LTToYLFGrooxwjbxLiuFuDLk6KoKnChTBT/H2wiQpEAe1Ezm
rG6Gax30kwyXaQ3Lex3z27KBRfGD3knjbGGVbXmaMXjy2aufAeU8YM0cIHaYWB/BDhnEwKgKGGKm
4suQHMXh1E40Zxz7RZ2qtodo84D67bEGoxqD7AYPrrS+L54s2Mnivptt1JkRt8jx+iC+BeOTZ33a
cgA8s2Xe7La5BSR58UXO7clil3cmayeWM5fj2BpmGkNsXk++Vp0skECYR/NzMn1TzU2iOULd3Anj
AilnMDDg+pp26SChVsbuEPXJ82XtFFqTnQzOMCJSSsyGVkaYtb2nkMJLBrTgAH+kmr271M1fTWP6
RLaWLC7g/hbL1whmmvc6QHnZ5+uu+1tAWgDalSlM75cnejavVYb8cvmoYiOzE8rVBRaS2mRV8RBB
HLfOwNDfMPrOiKV+tQCHYMhP5UcD9dp/8TiEHmgnXH9rBeJaTzAIgyho+Z6VXvloIXhg+EuZZ37E
Tsn9fIpQDwNSzg/JqSVf2ObMzxqb+dL0uGo2bDR/3e7sQ/k4gecXdRnHZHYhzB7zzM1HF5Sx8khG
vPi/OzlnkYZhrtZZgVecPS2cb5tTd8qvmvv8IQVtAUhGAAkFtFBX96fn/t5R3Qpwpf+CCJhZhAtP
l18iSklu5BpWW8LE/k7rpz52/Mx5UZaPkvsWhoi743KWqSQOiOZV3HcGbojE0666Y3kCnNifua6d
IM4WDWq9JMREHRqkgX5UA1Ehkw7BCkM0xwLXGrWJQ/hspCrmUrdYgf2VDDtYjqY7BD1IxXNfWqIV
f6DfsrgX4uiYPmoAXoSpLXK3Blhdpxg+B4EJg2epfySNR/6Cy5RPqbE//F4zfgvmXgixxizTgCsL
v7UGM2b3PzDydAb4aoKu5ShjaRJbgt/iuPeQ1wi6dBuKOOdohZMZgIKr5mFWW5UYPPaHLp2L88dK
v1To2iDoHZuGujElP82iCC+ru+wwnLb3SU7rrEFCrKjGuTK7g0aix7KQEXHKxHC6npmpXm8RxOR9
17tA0zA9oFOjnUpNWbwm3BEwDd0k1NAtw+GbSn1cK6lhswjqzHYS4mOWYedySWAv2aLH5vWn9D45
OsfivH6Qd4tF9novnvNSmLed7EInIJrCEpdrrTZGNa3xQ2+s94k9eCOrg8WVPfsb/Xn5WwrrAnvR
3AsEbJfZ56y6MYXkBSgDIPHqfeOseSxSlQNNiR48qBWpZgGvT3+HrYkemqbXzLgkXXXYqHZjk+qJ
ZsXnUZtk1Mayt8DFUhFwAH6xFG1l5BVo9dNo/aNwDQAqGgZgiMr3SLXYQOuzZbXRenb77Cmf7D96
0P9I4DWTYpIQ9Up40hR4lBNxrVHG5SbM+iDg7zNQTvnmPIvjpIPuO33hzjas/fCTph/a9TYyjxJt
EzvK37I4bZs2PaL9CFmMuaC5c8Dk0dyqxziUFaDE/TDw02kEuoa5YO7j61nTLw6GoOGSl2vnxjmw
RvHyrTtOQB9cvMitsCjO9i7lXEkiHVepRWBIQCjvvK6F7tLoTrPMX/QoRTM9l611LurtqlWq0xDr
Uo4N5qjeGfydMM4YW3pfmqh0sEjLPjQg95xvnHvs+/v9x+3mX8S0wi+4k8dZ5bRZLUcHm3WoWGD1
6Jr8Ro8IhSsbvGylDzHZAgUdMLA43SpmJmtdCw31/m65z+osZqcnNQKg5YUeF5jq/Eiu9GAEJi5s
F/bxMWau3WS9u6auem1KcbPFnd3d+bnkCesCJNMG7Juo5/yYBvbn5jh+3zyXKdSDAuAZiYURZ72/
BfIFpszK6NwaOPHgRw/K98RwMROLagLjGLE8lvcuSHpl80sSHeYrTrGdWb/cAtV7VwHOcAKA8LIx
XWl7SVwr2R2QswnqbI+w0zggPNB3xo6LrgUQo35Bc8k61Uw/LjwXnrUVzGYZSRkSmGnEvlGsXmec
0rlzs+kKM6meltr+ZZMndEK707F/3xmDIV+XddYQ+dllemdiIMnQC0lnRDxEt5PBBX20LXWiMCQa
hgSOYDY6qSdAJYQZNpGD/+04nLlZ69nqZhZfFpMaON14O6rb+bIIoT/anYazMGpWDX08riREneLQ
Ll+jUvUHCwiRtlcOg+x5yaRxBqUaOzNzZhyox7oKfVFcgHtgO+ZzC6Br3e+AjccmV+NQWjmTGG6D
MyRKmtMqZqhdQ6iFatAf4jMWMO4Yn2DxMB7r4+VbFesh1Rzq2AYw8tnP2elhnza9nic4ZzUuYV2v
N2O3SUSIiy30twxO14nlzInKVhFQ4YG5YpvE0wQY2swfVDe9bqGS9Wd2of+isSDyS5qqA64dbUbV
4sGJ+mxIMlNHHLtGmN3vgUsfKQeLto0LEtAPbT59A37LVVnXXlXJoNJFxhJEgqqtOViipjr3KZfY
ULOSdbvs+hvVALzb3qvGl3WRxOqvXTPeeGkaMEooQa6CddG339BacqpVNZJWUCc/G0csOwbF4MVX
aYCCyplx025nQN+gmJVgM/cRuco3+1aGfidSpP2P4D6yrlYbakvQ26ylrtED+l6TDa8LS4UG+gI2
VnaAJs0ftLMNqpQWFMm5iQ54Gy5jLIfLC/vrzsWSAtCtbIlhEzr2vUzuXFNkFJmVsvcIGEMlhdq2
GCmMbxgqp+o3ZxhTWflDCBCyl8kZ7r4ik2p3UNoK7JCH6GEInQMOiwcD3jevv008zFowqkYkL+nn
5kE7ACNWA5pF7CsyJyIq++x/C2fZ2wxwEfOA32IeFiwoakdWpBsCNFXlWNwio2s4pkFAsACwcIMz
8VFam4M6Qpb2IX3WinB9tiAu9TZveFbQMB7dxWNTrcq9dIpWkmrzGVtW6iXwGxEvL/CVK3CAn+cv
cYAA1m2vWTqgv2hBEZjfAM2ZfZF1noTZtqU6KlGJScm7ntdI1Crfkte66OS3j79g8GwEjxh8cVNf
ttsqlgc8IeLYRDPe5adKk2ig60C6jWHZMD5q7oZOefTBcX/hgFCZEomMg2XqpqGayCdtvuBaV1Gu
JxSPiEXHI+Dpco8ctgBMy5h5HK+kTlRg9UH24hCqOmzr9NWQ7Lwamm/dBJZcluVh7gXvJsdkLuMS
kz1VkXl4I4l7Hn3XmERl7hpEcKHy0oEJJD4P0FNn9DAKDD4gWagqsoJvRHKvRBnz1s6BrhlWKfnm
OMqxWoBJldinuqvvVPKXotlXK3GOi9Wdy3nyhxGbxTT148EMKtofLgcQIu9uMUAu9m0JYLI47xON
xt8TJOYhwtZL5lvXoCK+0zM3PfQ+o7KtHgByWp3lhHGiHMEyKMiHsWVELZvHd6VRvVYmu4r13J0Y
CBqwZQOGc5egSyy9eIE/t5C8G4Ztmlh9481TXuW5pVrw53oU5LdWWAbMwxKPfEm+mi/dLch1AOtq
+ZILFjwey3EsuHdHNQFGxnmDNLZTVFWhYoyuPD0yqD9gLN5TdFTtcEY30JdWSdif5CIKCwGLjuKV
pTPKm7cRhV6rWzcbuFfVcumdcy7P0zfzvnyhN1PAIonqoXiSkQWIjgmKZxvbYhTn5PsLukqNNarh
3IvlA7GenFr6/QSuzKIA0yCGaSAi4wl8pr6ISApa8tCq6u2zTjo3SW5KW9n8uSmm2zgdjJM2aAk2
cm3AUs89sNfzWjZnIzzn7ldwmcXaRZWTNfgVcUfcji5ePUhm7Nlf4L/e/pxc3KnYVpcvI+LBXgeB
a6Q0R2dW7xa0qZs1vaOa7sU6GIr+QE0pfLejoY5ra3ykndk6CEgX6MzsDambfW4fgEMaRCHGDKIX
8xqYx0/aj8syhVdp400QHSE+HshbNbWjkjbpiqtUTOyHxTcUacVlCaJQzIKBQeqAKVcNqvNWRNHq
XWSz8Ke6poj98nN5g6DzQ7+49KpAwoRYEGTrz2yVavgyxUBTbkFA7NyCyUASiQoPu/sl7N93Pq3o
p6WM2Sx9otw5zRfkVJKziqypDVPuUERfcJ78Cyyc0Zhy1sCZvS0Eys1rpKtic8kADYtsp0XkOW0L
hg32hdjvs5Ytr/623VjZeolvDZg1BgnR+taheCQ/5bUrgVF7I5C7wGpaYmSh0Bba9J49Zl4TZV6W
rOFllZGJYf+++07JUsHyvE5t2oA0mG+N9GFopd+K6R33xt8chos7gDDXjVXMIkYsVxUeFqvuos8Y
63ESV8vP1rnGOodh+JePJv1mXOiRTIna2kxDBn8xvBRoDYwtp7qaX9L78WSiVS91RQK1f3NQzlzq
pDFSq2GtYCU5kaE5VG160DMT5awCtWQrxf+plysHyDokK6/AintFI3rTb+NzEtve5QsQZAlvfgxn
cNoWOSmAhOFBUPps0upK76cjMcDW4KRBuRZhUbTXkyqx50KNAgabhcBZRYLPeWMjLe1lKtmt547r
1ACXK+/b5tPlo4m/7U4KV2/dsGyO/N5kO8zlsxamV/GX+DCGv/aXu0MSyPZXRENitrWTyNnWZFCb
uWHp3npme4vL8fsQAOQKtIiyMF18g8gqUQgyVcI7CvQbB52MrB9XhHmc+rWJBcVtk2iHID7Eef6R
wnNVK3HZEsLS9m35C31B35mOk76GjrYFkm8lyG/eSOI0orUru9FMfCs2XlfdpQfyYMPtzK6MdpQ9
6HdmZnckTikI7aNZsWEzx4YubqeSG9CFfTNiCpCC/s5SZKou9kE7gZxOOJhQ2soKd8gAA3Svd6u7
JKTIFrWg/iDLu2Wn4zzC7KSZprAFidT8qCnf4zIKV+dMshcti2SmU/bJOLcwKkOCIW4Y7DhVP0x5
4kWp9aOzzdNUlr6mIYDRFerX/Xpd0fRwWV+ENhS52SuinIXMhXNJmo49PBbEFF3rNeoD3VaZRjJF
eKcoOxHcVSbzQrM6W9l3mwPTYzBy+SFGu6FiFG4Sg/gaifDSbISaJkomJtI+9mF3PtYu83jE1hss
4svqZfc0HG9aoMHYn7fj+BPkiQx14dq8XnIU6JKgv5LBKYpycHv/A3ivZCRKSlqmOc8MhzvKgzR2
M+Ccl9cTamMLMOl9sJpJlEj0HZGM6Y6JXNt0+DIKMNFWfTVwyRncTww8pvbnZUURtcftvQQurGjb
1WycCRLYHD6jMCnQJrcRCKZP2yG/xqSkX4btfX0Xh7I7FfnWvWjum9JObauUeYMM3WoG+WDhzXdS
egZRV+zNEblPt1VOOzg9jrhaUTiPoarfWOkd6EIU+4GosV+hUxaPkosVAaK8kcpFDgWZs2EYINVy
Va9PQRmrIv28JxTLuP0BXN+3xTNWctGiH33aetbZDGdEwnrofANL2FHmewUpIn6OgxEIxmqNnPvt
A9Lj+m/Akq2Y75YKfaWmPKM5/1Otu7Ah+iOpDYkREpp2G7U4qiHBgFjuCtSsL2lu4gqGcAutMA+G
q+UBw6cnhpsuhWQRvpXf0nhnbJFIKYYN0rKTfU48+ikJu6P9obhlc4PVUxTIOgVCgWj1UOpgtETl
jaxSJbGuMTxXc3qaldbTChkmm2jKwbYxOKJZKGFYQITnvlq6rGY0byz8noPuvnzcTmmwfLLvq+Pw
V/o6u3LsQtTH/fSTcpJZH2G8thfPBQP1aPXZyGbCHLMNomr6UumjlxaNr87KUdVUrH9OPon0oO42
V4ltSRVZaCB2p+e8WNuDctVgq9XdgsmOqvETjISWoNVePlnJeapyf7U/Suwh88rvHA2b1gEcL5BY
X1csdo5mtKN+Q3Mbz/ZuDmoNNcb6kCLhhybF96BltUPG4tdUkkhSKJY9EQsFVaLxmXia6lmnLDhq
YjTBhLVMq/zmZF8lhxMagZ0U7nsa8TZBZV+fyHqYwkJ3lxCbX0F2NyUojbm2v3hNDooo++pfdGaZ
PeeulrUfEJJjQI6VGt8qc7ktBhDjoMz2l4weiOGxCkB5Ts+l1x3nl8m+sv5KrnRGsO1KDi4I1DHB
rBk21g1RfuDBdUGisVp9XRjwcupf/SPDfU6xbsCGG0fgwgPRF7jw0vKjIAKEVEc3AFyKTi2PidVY
qTmgvQ/U99A+j8De6sGQU/ybsrjgpaCKo1EsM+loK/Faa66k18YSkrQPSNNXKxxioLYy6AP1B1qG
jps90xWY12isAXMIcNOys4p/AFCYTZNZQ36HKymJpcRqZoRkvjJS/bAVuUeHa0WNvUa5Q9bnYRVB
8lVFH5Wiu4TNMQoTyb8ZrSr1rLIAqt/n1KOR9hBt+qdtG77GZXK6rEACU++orOpomYip35XHGycq
QHIDq+Cs0W0/d8HkzLJ6qsAEvJHBPc5liM2BzIsRljYQ6iq/0U9pLqMDEHkUNBVslDhRFkdHgwu6
NidpkmbVMB7kgd4kTTzrM6Oz14MiJKWrorgRbIy07tjeN18jkEHIUjCRU3FUS0XfCCV/LP2xe9hZ
2JZiZLxgv8A8NEDnWMD/1Xz9NWQso7sQaIiDZ8e6VURD34hzIDZRSmrk1Agxpn7GqAv4Xby+1R9S
skl0UdRgfSOKadDuVFM1xVEfGzBpKAMc0BMM0POMjuSJNXWREh1b6l/WSVHoDpEo3qIRZxmETw70
su0zs+kojFp2v3oT2LIP3XVxXzVu/wWAqiD0HDHJpgD6BI2qg7RQJ77d3/LZv++O3KgEZIPYJ8du
I3kpH2mYfkl8crs8JLern342j81P+1aTvERRIuYYKCMbJnje1XeZIIbCOg1ZLaJl5J1qcbSSQw7e
gNcw+pxHbt64eJ+5HMhNZAP2grk0AsFZWyUrvvDW+ubDr8VKxVMoqsp/zxHPR0U2ASMTyuzu7o7b
eUxob0LolKtBrXZBLS0sM7vCueXdheJhvhVBl77uZsLONV91J/Yg7esR9Jnf2eBFcZDNn4nKjm/k
cWEAjNOWRrGJI6GKrT044IbfrtTTFgXa5MNFKQeM2fn04+XXcvkiUVV9e8oxLvu2mHHKYm0QrrZ+
IhtJFpuAfzTTUjlrEy2lpdIY1ga856fedNUWE/RujokSNuq2Kl5Ve8b95WOJID9wmxQWjiJTeFch
mNXIHueyoKGZ1Dnw9SulAC3eFl8ttVVcO0pshKMeRUfq6PZRMXI2nr3YQ+/GpYUaRlNSb2m28pDX
dvOslktTumuhOKeOtp27mik6++s2/hgKvXq0DVPx4aGsm8uHEE0UvDkEb0maYYlsJ6OYWwU814aw
MA0SX1E9IFMwpnP9OJoI1UCx4seyRSmR291fIOcQbVNZLbI4+GrJQc0RH2LXrLVKidkS2srdZ+KM
h8rs2bpB6a18fehWAhqEI+3L0XV6XeKKxJr+WyM4k1EmzqaSGAcq+7DErGzSSUfRmSa/Nxn/iOBT
7X6O+yjSlV+JvfkXoyBMwmRwtUP0vXtYj6nsI4nqfw6id6LaWKMnOj9zom/K0DtRxIIG/A/kH8Rt
O9BlxwHIHsMG3BV3LKRn9ZPldtUDlZzlQa6okvTmV7Cr31njxtmqJW5SO2xBO0LGJCij2O2tp6q3
XdvAsmLbeCrJXFCcSj6qIHODZBuscBTYuu/KN2luaxi4Xig+6vqsVvZBN+ID0YbGA1VJ7Bqxcjtq
2SLJSoWqtJPKGc1o1klpR7BoGPT8a6CAlkqXD5ffvvBh7ERwRlPJRxpri4KPuiQvCWAkk0X1E6c5
t/p8vCxKHDrsZHGfr+0NZxlLyAJuwNFp3bUOxifA3/QY8Y5KL8O4xJc0lFXexA5vJ5YLeJO1c5Sy
gFg2zoMOBybF/BaAGq9djvEj2vrFLAU9FCTbbxSGM6mxavdlryE4Q5iIsXlbjUJlUawrfeyzu9FA
2TMZlvRP9IUAUQulah2PlLOlSqnWVrdpVjgas7+QPkj75E9EoIqApgYWq8CB+vYJIqFocs1WorAb
O+RJSQXIynUi4WVVETqF31JeDcHuoSupStNlSKOw7NrJ7cmC2ba4epgMLMFcliRWyp0oLhxa7dlZ
kDwo4dAH5W3vNneZAoaO+FBfV7arfV1uUgCFlJKGivBl76RyL9uigz0NlRmFmnqfGrd9LsHXE0GR
OMZOAPeuq9qJkMRmCpS+u6a1m19ld+VPx3CBI209aB6mr74nQfFTq7z00+UrlZ2Ne+ak2RxiNrhR
E9uylCIfWH5cliCqbL85Hfek0yJT9dJCO+GV6t7vDwuAv1u/v27DONQkMZ5MGbmn3Nm0LKcYrypV
7pXE8PpJ8c1YtsEqNMS7D8a93VF3qmKqIhyp1YMe9OmpTV0lIccOpe3L1ycTxQVDWGXtF73FG1bi
ws3Ub01iu3UBkFBZiio0grszccYiIohUpkG1wnrNDmT7FCm53wFlopzP2FT/g0NRrPliphtFOL6s
YXWKAkqmVgmjyQrq/MccLYe6Bi0xiKguS2K/+l30tZPE6UM+THpV1oUSqp21fh6GjZyyIumORZo0
T6RUN3+gHYIQayb3kY5Y4bJ44fPaiecUZVE2o6QFDjoR4qpgvdaeLgsQVohQokKxGO0qR+cbK2m1
9tawdAqr1nprAOjau+pYnzBdfSUbjBfFVaajI3dSUTjVXnO6naGvLDtX1KpRwrS+KvvH1rii9eT1
yhGIr+dokTQ0xNIoxvBRSrQdfnp5qKtyaHVIK0ryfTIwA5NHha+O9bGjSriujhdPm8TSC8MPdKfQ
ynBMzbH5RYdJ1VqjRA0BlpgW3oKVjiKcsGRxYFi8qokdrOxGVuQT6chO5rtldb0jzVJDZmOPB7Ku
h2w+XVYS0dMGBCkWq1H4xqYBZ4ErbUw3EzPwoZN9omDuqU2MoPaJGwEToqlljTihSloatq0sgokv
oEO8DTumQutqUiDyt9zVUzAXuh3N04o5STChScJUkZJYqFpidw3i3u08RbTKoq6FuQdz0OpZ/XTQ
q/GxU7rcB/5buKj27OqJLVm2FDmZvVTOaVqxbSizmkWhSdbFH6bss5PVL1O0yKr2Qt+5l8R9OX0s
yrIbcJWTGXSnKiwPZuNS0A8ugTm5cmoS2ck4c1mMJqogXY2krZh+jnbzMamV3LXV8tNljZQejDOM
m6m3Wafiw+mNde7n+jmv4sQjURW7oMo8WcZ6a+XYH8uGm24ajkQrrrqskZgY0Zo47KaNViKInt/z
pXe600RKMihh/ZdzMPyuchtEW2OInUAPLLkBRmD7j9k58qTDoqJHv5fMXTT80FLbLcy23dw71eh2
i6wMIPJ8tq5iGAavHkg53CuMW3QPpwoS0HL7UQOmOER7yDNH5P/K1B6nBdgzQzLcqkonw1cQadFe
NPc+2nZKp7SF11OtyTWKGzV13FT9dlmFhDe4Ox/3NMohnzPdZI6vxPR8lXv1KGsAiUUQHSOROtwr
P5MRKZ06DxFEWE4XGKRTfQM9/uDyOd6ZMNh+wOdgqhwQDegIci9hHTqb5M2shFrzEIFT1FlvC+Ve
B9saLQ0PyFWSgPLdx2HysCLKqiM6AjBOLyzHXgFrOyphrmKUdASLnPI5yRr/8qmEUqiJLRmsPJjg
L3zrA7Ihs7SpxakG1QxI9JJbulvlshxadHcGIkgWRxrquwGEom2zVpnZ+7X6oB8q12hvIvWlpSAs
pornKLrk8t55UlzeXiD7QbsQqE3Hwu7Zs0WQkN5bwHgI48ymD/k0b0GT59rN1C2xpOT7LgXghHKR
+UrndAMruRJiJiBIiod+rrw2/zrUT5e/2Tt1hxzGSIUuMQLKd34btIxVZRo91L2+M8bEteL/um37
KgEmlziGYAtmsjTTnnro3uCctE7xsuYeME0S1RNdlwWVg9EzWZOdqebuG41b0xi0gurFSv3cTlV/
kxOQxwNZ75DkxofLdyYUhokFHWkyRqf5YYLGzpQhV3GirMvKUMWgvYcgGWCsqdb6A+Ccwj+Qh9AK
9U1Ujd5toWjVUGkWsxYNVvri2HNq6lsUm4vl8U8E2TZib8NmC/pvbzEro9TuuxVmycyODimA9uas
B2p1Qa+oPy7LEikeARYANptZk5sfdrH0ok4AwqaEztR524K+s6xrIjJHewlcCQftUZrRDBLG1T41
dD058wQUk/n28kHEYkxN07Ag+L7gNkxmRXQKMY1jBxF5btIlKDDWcVmKSOdAzGmZuC8DS4icx6gw
6JYkBYGCL5ubxNiuqlEYyr/oUSbRNvGH+S2JM3dEmZUa24AKmCsBL6hiZq+LgXf1B8cBQwF2VDX4
QN5VEJQOsfBoIVCpDmky3dhKSIsuzFKZtxAZbwIaTNYVwMgan1HW2GCs17YjYdObQd6P7rB9c/La
bS3NI4kklRReHRYp8YUwA2PwQz4G7ZNoRg8wVMfsWlnmI2h9Hv/7i3NUNDJ1xwFkF2/o1kZP5m7F
eRA7o0V5ji0/NwyvKv57+ijYbTYLhmk0NjXFW7kcJRcVzPIEw6ndCc2A8WY5WrcDY2YDbjH4VO4R
Kz8uskxSpOiO5ZiYf6MIWvihDQPkWFs+wb0vWT6GVtaRYJgK6x4rata1Nlnk4fKFir7ZXh77PTvP
sQKIZXVQ+Q9jTPvp6vRAxlryzUQWAv6PSbHRm+KjciWO4jE3IKKYr/Kldp3tXt2+/8ExsKtITegd
ZrC4KrkTL3nbmbAPanOv1Z+c5PPlvy/8LBj7xKQexoUQKby9plix0yxBohg6JKmfM6fUXdQMgV4d
jalvY/BC4oreJ4tM/agNzAJsslKDtxALAFywOgtF74PF1/w0MGeXeAtSNGAW/JTRIjGj9qZk+CqN
2ogdCJYv+TniOqX5ps8UK0NYXev1+BQtgL4jetDZqj+jdIKyx+nyjQq1ArOm/xHJuafeAoS11sDw
NT3xc0Ifuy3/WZWKbHJWdDSKSJkis8ZkJ28BU6A+DMYCU6sO3/VUPelR2M+5l8W2n9Cjkv7XEPy4
SqpCFW3sB8PCc5oSNWthaAs+nFY+qc2XvviRKJ9soMxFCfhVSjvI8m///U3uJXIeq4yLYsr7GssZ
QFXQbLRIDeOUpxK/+KpxvI7sxXDRkd7ORMkTGMTZU+7SYx40ALM4LOclGLwOsKOhrAclenM7ga+j
ijvTlAAzf1NVnKtZgN7e/1iq7dhHT1ndBpcvUOQkKf4a8neMucDav33cc15O5tjjk41D6g95fiiV
m7b/YABtUkr5JFJ7iidNYKNQpOBjTEsbkzxWYQyJ3V5RYwu6fDjaSSuJyoR3hwFOFMk1rAbxNrcs
2xjoMQUJ8R9c91N3o6vRbR1Ph3LNZahWYs0ALsTr4AFiM07ltWRsMmcaoBln8qL51hVjFMBoDsou
bCjHkfgTgctyVIDUmBrM4nvYzLZDjp106OlGrWesKwxx5F5WCMFHeiOB3e5O8wal3Op5w4EKrQWY
4VeF3BJLNronE8LdGlWqeWhTHKOIwKltoBWZX9W5bLpAIIVijJZBuWGzFt7r7VHqocnsuBkJxm+U
O2Qxczuf8rjyL1/Ye1QEjK4BzUfTgKTDlhQ440ArQrE6iRvrfPNMUxcoM5HtKaqrPKon5y7DxGcG
VWCE2ZY7Xg1tON3on/4ddOP7MRz2Y7CMZ0C5KX2nj6RDSF1T/BhafrEbUNAt3+DYXVtrXVTpfKTR
gNgogkJaf3w/hvQqGYkK3CgCYT48TY1ZTamJ2+4D0Dk+jYf0ofeiU1y78cfh7AyHDYCybGqyATpE
5Tlf+rNs4k94esNAMgb/o1poE7z94r0xVAi3bIwYO3CmTroGWfZijxi976wwytevcwzUMltRw0KJ
JWZHZAoANPJbOPdyjEGdnHEGQDWbvrUxy5LUJ8cfAoZWCKQswCPKyABFCr6XyD0jtY7sth0gEey+
Hmau3CgFsat0DdnArXHe783BOCdrFJW9bnUZH6IO3gEQINozVnKio7ZYrVdoE7Cy8hmNirUpk97N
oyj2W0CFHzEQnN0480pPvRJtsukQgZl/86u4ZzepfV/nDWyIvnUfWqO4Vqvufi6zx6HAlPflN/7/
KBaAz1GCQZTNV1EbPUclWFeUsEvz/lOT5YWPOqAWZOOGjpcBKMG86gdPnRPn0aSgrQcStYzIUHzg
37+B+YadZU4LfezGAl87K4EgZT7pzt1WfhuJbJ5OFH9TWBDbgTUDoRZPzFPr02xEaxYf1jjLr9pt
0n5GZV3dOJvd3lhTptyQZbC93FD6x7Vr/o+6K1uOHLeyv+Lod3q4ASQnxn7gksxMZaq0lWp5YUgq
iSvAff36OVC3rRSTk3TbTxPhcLhcJV0CuLi46zmqH/ZlfZuxSHaHeJD9y3t/PpYBw4JhDMxlw7Kh
T3QW38TcqGsjx7obDNq/KW7pdFvrK5g1SeLwrQa7om8Euth4RZk9/FDD1cH/5eNHDtMCqpeOj5hd
tFZh8JG6KPS1sO6ZjcDF9ED4VFzFlaZfQfulbW5O/cHiFnJ0pSbdkxD/c0ULF687UNzE2CPASeeF
1hCOFcjneeiTuCjv9Lwu3FENtBvT7Fb7Ac/ms8Smn8iaKVtSSCrJU6FsYOtQAfUT+9o7aNxaOfy8
Bg9JyJog1rOQOEG24bNak5YPag0SBpDu0X2ngZI9cDsMYw1Pzc/0hgAT708DYMwkqp8lAkMsNLs8
MDaGNH1phvAwyPFGHtf2cMFX+7QwYVZP7isiabNOZWwhyTaTNDgGXetLWt272SllILDQJJgrzMB2
bipdy7UNFLZd4fHSUa1d45iNzZ21I1vSQ8x5oUqGdxa9IbPboHGtD6IyBjJlER7LLLNl3h3qP111
F6d0ImX26pQVj8GinmDClYIpRkUKIK18q/x52bosGdVTKbNXJIv7IpJCsZZ62BZZvY+ZeqVLwxXv
+7fLohb14WNBc24nPepUfcym0J/64j6wFMeK1gZIVk5mDjtG43DM9VYO/arRpxeONPveiMvJTRUj
9C6v5rw58/P50NktGmRNL1keAW+Mbul+2pVgGbN0n6TAe6wbj3ugDS/s8H5tnPJ8IkIIpigCos2V
iHm92b3SioyMGtDlRXoIA7puozhlcgOGs12V2d11tDed5JA46rWZ3q61zS3qC9ChKXCrFEDzzaxV
G1Z12zQhiE5z2thkyrfxFHm0be0oCYZ/w+DjFf6nsNkWW1rPWYcx2g0a590KzIw8tXX56+WDPEdM
Fvt5ImVmpxpLwsOHhrWNiQLxg/S9AFwJkIQxkdt+7/bFlX4jyF0CO7EZuswkzZYewtVO8MXLcfIR
M0s2VA3KvSleARahK7VuQ26D4XOlkWfRlThd6kx1mk4CvxCKBZviu5jtbr9awmSGhiMQJGtQugSV
K5g9lafyPgZwXdWvnOjiMuHCocCB+sdZeFaxMSm1BJdmjNQvIQlsDPJvLp/nmoiZ3TRqWWsmkAD6
WqNVVyGPEfHII8L4/0zMzHAmVB6QWRxDP9PKH1MsHcIp/fM1FbTq/HOzzNn0XYecNEulEsMcY6C8
KnlaO+gkTceVM1kM3E7lzO40zbqoqcWhEBtTduEt5oJkN9h1TuclwEMZnMhbhY8QmjaPqTB0Lzp1
kJg4AznmY2GmtApCHwQh1svkCvCK6J4/o/0qfpg8umVfTGav5boXg/RTscK8nfgkSoN5uIFxoLb6
QCbC9N0O/JDcJrJNvgma73GjA1jN7vz4x7ibvmKiMlwFXF4yoaffMHMf0grEGX1mhH4YJ2RrRYCd
Qb9W6chqHnomGZn35zUVmJj4jwbw+/Mauoke6tjAVjfy/WReT+Hbv/H7TQBKIeuButy7ep3sqXim
ykLF75eHwG35ppZ657KEJWUBVIJhIR4T08wzBY1rjqQcSkl+hEEqYop8+ktJ11rPF6MccL4DBRvQ
nufjww3LkjRE9O7r4AuPAFU6KI8BB2rCE4dNTkhrW/m4ieuVay7Oe34VMOKnoBsFSMJnY5rMbNqy
6+LIB48ZuB8ZB9pGBD5xO5SLzh4HEOwaeT7sLu/p4q0/FTu7CloiT0pUYrVoM24fBfNRZtqMOCbo
JaKrSbctd60Ncsk0n4qcaf7Ax0QbGzB2YKTzXjL7jZSNDyvLOg/ckHpTdVVBRy46E+YJ/SKsIlJH
uF2B2gA9QMuvuZZtc8AzRrqChK7qSxG9mhT5tRzXMP8WMgefhc/2VOm6Xm5a7GmYtw/FQB77UN23
IeLHILMDtb4rA2QHI+NghtKPRFbcUCtXJkLO9/jzJ8z2WC/iCk4a9rgy24MyWDdVQbcre3yusUIG
WgrAvGBYZwmSbqQYCQFjtp/FNnskpRtfg2XSjTbkmoMtZ3QERUllZ7emYa+9HMvr+5At/v7E2kwD
ILkiJYp8jd5l8tOQs7XncFmDPiTMnKQBRcO8yLGDptwSYCRUP81B/TWSyS6VZKuDTaPI6+NQDse8
N+5WtnZxebDTeBYB1XKW7MnMoK8yQWqTge3B6R8x4OBad9O13Npsp3jqVmf2GiL/uXnFcaKrHFBc
BIWCeV0KszV63RHI1Gnm9tLbqNabYZVSfnFlBFEzjDjAxuYEKCZXSQcLG/kJ/cWTvTLeXt66xVUQ
9P2jGc48hwFU0KlDdI7fz9ItNXq7AgUW2EcuC1l4I7BXJ1Jm3mVqGsnQyQQ5KLv3ml12H/viXJLb
tSTNuZcAQahKvr8K8AFnUQnRaqNmPfQ81Kzi2ODlOYA2YXSKIkcnfEPWpl0Wtw+vOBKMVFPOhiep
2ZF4QjzrR9WXThGnJHuN+m1l+5YsB9rr0DEGggs4DLO7JakFUIOnLPIb0CyLedd09Kv7xrRTaave
pDt9I2+V5CrUty1Yjx9WpC+p4Kn0mXluuBFZUcJgGwWFq5MF8P9Euk290QLP6F1+J6j+yK8VscI9
+fzAo8/zZNEzkzwOEStGE4uW92STudM3/YbcIme7TV7X6uZLp4jUAJh5LUEtOE9N1VHHwp5AVBuH
lsNHkYknrWXX5hpqgVD0s0XBaUHmEizAYBv6bIdbzuJIK/EG0Ewj6LPX+TYLMaQRNLnuRNJkuinS
B0cu1fKa57K4SKAfIxEspt7nxQjGSF1XslCiTfsmCKQKNKsoTrEdHMvP0MPiqQ389jWksEXtQdID
LeNo25Pn48VaBJI2pLbxuNPxW65NP3m5But+DtkhWoI/ZLybn5PXbQBvbRhH0FDdj+/IvfEl+lWD
ZodbQBOVXuGSogdoDx7yG2T5qyf0IDmIT1Y8iEUbh9SjIFVC99vZe8CaYmgshv2NqWnr6CYJqweU
C5naOSzoHdb/0s07dDO4l+/J0v6CTRqeBTA30EUz0yjNKtEik2PtRk/cQpft4E/TUmF3LQDMoX9Q
Uy1kbj/rLKuBWNCMWJhhMZcOkasWKxmWxTWIIT50AAnmg1lWYESVDGjkwoqqrt7L6CFdy6As+piA
lfyHiDnAxiCHKXgrOKCN2iH1pRSQ6KgnU80psli9VssWHVxJSbec0djRAD7pmk3DNkoTWUdWxtXL
5VNbeqdOP2cWmzFc/KrjLexAoBtuJFncDtXUSbvJG8YiXXE9l96PU2nq5xOkfUX5mGPxCUtuAxOU
WMAp90FOu2Elcr11suYNLtgazH6qyPPLQPM869VmidWEcRZEPg9RXhse41D1OIlWlrWwiZACvwII
rGhCmpsWM9ElLaMqQsDwOPHqOiteQBd3aNfUc3E1KOKiSk/h7c0b4uqgq9F8l8d+WptXrLulSuJg
PGYlNbYsBcMBIJVCV/i8DQ6ti1QPSRv7oRQ6WnObxV/yLFuxFmtCZo5Yl+kgGQmK2C84uFuycuoR
oQdXzTitTM0tXGlk2ZEPAMQ0cPHm1eC0rdUyruvYN63aGWht2WrSr9Wcz1YD/BqMraHVWFOEEz6z
G1VbG1auGY3fKdTRpgNQt5zUWBmsOS+XfZYyNx3KaADdzoKUosSkqgkCXLCoqdJ1SZ4V+pSqaKau
XtPmOkWHuJk/BNO3UF97vM+iK/ENeD7BKER1FDHETpy8cGkaZ/HUBlhpxOxMmRwgY6Fb4HvRv5RF
7Ub82dS8MFtrqhUb+MldeRcLdwH3S1QexWediA0U2MmhYZ2fSgfMQeTFLU8LhyrIskQ7q5/suM42
ly3jmeK8izQw+INkxHmpJKlVXGVDanw9NVoF+9yx+7Kv8pUn5zyR8y4HbgniKpTyDPEdJ0tDPJDl
Uptg3EcDg4lr7svbaAO8I+Z1BIOzuTtu/3QQPhM5O0SdVQPXMDPrC1o1Xpn3ZZi9Xt69pQMTjXgW
rAiGZOYmUY3zkXVdW/pyHdR+YgTTrgsTYOMME8+v6rRV3HaM+r0eKtNuVKzkT1e6sMaTD5i7Yko6
koLypvTrQrMHLXI0Pm3UGjlyBJeX17p0+09Fzd9QAH31igxRkVz4k4wuG6ncNkqyYsnOXPbZimaP
J+lylGArXD0rPwK7xgG4u2cFzbZCg5gqs63ertyAxXXhiosGbBm9I7NL14dAWuFCTVh4K6mjDeQc
O05XhJzP34tlnUiZ7R6AO8HPm+Fqm6z/3laKa/Sao8iT05mBTUoDzX69E/BgUzT9JlXVX5cPb/H+
ncqfbWvbYPym67DKZtO5MTAfwcem3k9OAU5su7xf555bMiymKAthgnYhod9aaLm1JlL6ktZ4Vvsa
amvUNssH9yFhtqQwZZWVtkbpj1pnkyD0SAk86K70V7ZO/J65VT5dySzJQSd4c+hiLH0rsk1fAVhO
eqSFLQg+6Ld/gZh+8QYA6h6EfehCwwjtZ1MZkZ4kEUlhtx6pP6ICWvv0pkYiBwy1wDZ02AOSew4K
T6L8OjjTj8vrPXPzhKYiaH2fYhIB1mfxstkZUqBjuXo+3pEchfop8ypd3UjB2ji8uqgkFHqpAxIP
ALezVyELwqwoa9wKiXd+F/dPE/hU7SpPvCTOXsOcuGNcvA0F3Q0q0rdW+ahW2r1ltl6gTVdTI3ky
Oh7HLN1NbeWFBqltvS98rSZukOl2Zw17a+zdyxu0aPRPPlro5clTxpAuL5iE82mjAfO44j17VozN
aNzBJbGjIt0MhNuXZS7q+olMcWgnMguJNRPsBzYpqW5Dtd/XZfhQAt1+Rc7y4X8cyCy8LRNZR+MQ
1obsMRDxTbD4TuNhqhu/7uMVD3zx8AHrAnZVcBydURzllHOO6LT0S3ABa4qvm2vJkMVd+5AwdyUD
RQmZFEKVE8y7k2w7joqjScqax7poIE7EzG6M0qOqibRd6RcvTW6jlgN2Hlu/j38BXwWDeMbusi4s
ntGJOPE5J7oQJBFSHgpWpZHIjpNfQZm5pgTcv7U5hvNODGEK0CqOaUlkCc4aarlFc2NE5R05lvaV
F8oL6cCtEoLFM5eeSZg/9HJ6lCpoPdTla1bWu8oYfsRV7lpB7RhJ6pQTiDPQtJUldKsOw7HTZO/y
bpwF27NvnJmQbqx7Grb4RkOu7FovXCku7IFcIcPoj+nDZWHLCgUQZTGAjeGO2fXoAzCbJgVUNqXd
RpkyO62pk9C1afk1MbOwcaqtKe0jiKk74Jjlagw6hTp5Vev6zzbWYfMwJk9U9KqiTDbPNSlh1mHY
IMV6+vJ7EGf+FBeemioPeaTdXd66Ja09FTWzYEqPKRKLZhBFuBtKv/Lgyyi9SUjg/2dyZkcU5Jwk
PIYcuXhNZdmOqsbpU9lBwnl7WdLSO326otkpVXoyAfEAm0cV5kla7nT5EY3VpMeM1pTb2eqs9JLB
PBUoHqaTi8/JkPA6wNKSCgTKttRYJWrwIdoNLi9s5ai0mQMC1Scs1rCwsXlOssIOEIDS6T5eHWNa
WZA2M5xFaAXjFGJBSP7ZbLph7coRLRgHDLkgAY9sOFqx1dkR9fDaTJAedn6t6LYWP3WA1emC0kfS
Vh6sP9sAgqrkqbDZ8ag0Q6pPLxFI4PlXm2Ng7SSdrJzNeUfnZynzw0kZsYgU552fg/ogssHK5NW2
4AOZynsAg6Pshnx7EjqBvLK8hcPC8sB1LxMx+j8foutRodEB8wntC0AEEucbna+NyqyJmB1XC+DL
WO9xPvrwFNDDEL9dVuwFu/ppCbMT0nsqm62O3182YBJRJ6etZK9c5aUUAcEsYMD7+05dh+ZBdMt8
vqdQ5gl49FAEKQQhoPDfJa9M0J5JX1CEBc+3vmJbxXdfEjhbl8FiVlMQe/qcyXYtmfZojVdtE37n
NL9mIWjtMvUZ07ErYpeCSiwUlwskWcBvn0+TDQmwVBhQcHzgEd8pB8UWVDjD7eSUO/3Aj8rN5eNb
sEufxM2eED0Ppj4soYEpm5wRkAdy8qgMuGt1tfKInFeXxC1DPALucnQDIIT9fITdEIHtN8COlg16
pc2w2I9xfKW0iqeN+W0X57c0q90gVvyIrbXCLWVAPwmfrbMZWR6bDfSn9vTKNjZY8FcLk6SYt6hA
xSFvA6des/mLV+NkwbNnU5FGXptqg/wApqZNRbFLQ7OVNZf/Pat+rqkf+zq7Gpz0ZgCkiM5PdvG2
Up0JPY2G3Rd28xZt6bYA11kMcviOOxZx1vjal/XnQ/jsmmgYRItDCWssMNBqjQjcLOZLffktVena
4Nvl/UQh9rMCNTkqWf2IhWba2yC19pTcgzRmxSSfV2Lf1ZRo4NjFfPgZCAM6yABlPeECNm51CB6N
b8pVgAZR00/AK2l5FMRJ/QETb1fELXdKbaNlcC0a+T+MwMc3CKN+4pUQMAul44Bv0H12LT/VTu4Y
d8E9vys3aER3iXvZCCxv7Ie42c0crEwzWc1bPyHA+VIzDI+rTwi8by+LWV3W7BKWnVRTOrAWiXE0
HA+uiaqaAy6Mt3yHehEcr3+DXXh2mrM72KKLS+KYYvPL7H4aiE3ISw04Eq4iBjDuOz4CEjfwRvmm
1LYrq1VxSOf38mNXZ/dyyojWdiUOMcpt474Aa1zyBYC8Jrqr1X+BFnT5EAWCH3pl0VA6WymdOJfS
pOp8opVOkpUOV7ZqGHmXV7UmZbaoKmxRLW0gJZ2+JlrsBOkPHOiaQ7b82n+sZWZVurGSUiWAtTbu
oxvNLe5DdUMP+kv4y7yKvOSrvMqbtCJxntbAfHuSDFHR+T1G1T3pO9kCZ4DZ/A11qodqX/h07aFf
dMxQ8PvjvIyZo46EQz8BAQAS9+Xj5MK/Tb6IAcDOKyzwmqSbf6OR5f0yfIgUGntiVrIB8OuKBtc9
lr7lbeJUaFS4rB7LrvTJqsQ+n4hIxgj1GzQG+KjQ91593X/l3SYtNpYnQEO6a5DxpqXXfptW/Jjz
7oj3tSGfIgCHztFsYlBTq80EP3R6kQGZvFW2klMBFoW57Q5xw/Wa47R8ET7kzfYSdZugUAcR90jf
ZOMg1c9x/3h5M5c15EPEbC+bKSyQ0YZvFqevchDZSvjnZ9lmuzZ7aNo4tcoM081+CUiNJ/Ux3afH
7Ire823n8Tu+r/zMNx4uL2vZZfhYltjZExUxrdQcZYwO+IDdi/foGAycnhW6W8hqZYdjvIaJt6oa
s2cnSlJVKWUcFag9vBEIBQjtNv0N22levFmDYlhb3cwMx00OfDHJKv2Q9U4TS1tCjIOB7tR+0lfK
eku5RAG8Zlgm5hZQap6ZkF4pGlLquM9V5pjH8Brt5tt8sGXJbgy78UB81jkGDAoipH3cwAtcp9Ba
3tyTb5jdg26KSBOOMGNjhFtX+wUYfyYI1zc5uOgzB2bmsvosXrwTgbNbkSkyMzWRf6jaeF81gxdV
j3EnrySg16TMLsbEaK1lyQgp5C2IXzLru7IGqSmeyjP/4GQhs3tQaNXQjJLw28ldAHy5dt9Xmj9K
X6MeGPok3Fzet0VrQoE8idlNgUI4U0wSFKka6nBHqhGMfOS7XP64LED8gvP1fAiYuQbSRAv0FUJA
SUc3pB4vHjRQyBq54sl8d1nW4i07WczMQTAVbhQkh6xsvKdS5EYAYFakRy00Vh60lV17v4Inxipt
x0HLYggKhttKZ04P0rH/aClzGIA+SfnErLzF2CKz7KlJ3CKoE4dSQIr02VqBdzkQRucu0DwUdMW8
Q4WfLEjJ2xaQJAjYYkN7TtTwNo/ixDW0cUMYdwnr3phVbspa8eO4O6YNhpDaPH4oOgrEcl1bQ11a
3N+Tz5lpJVoHWWKEPeLycnIasPAG3y9v76JWngiYaWVSNwAA5x2qfA2xdfqVsWdNuWbVg1atASIt
2gxBciTwAgVo4OeHLWvDPB+trPUrTAmMfK8amOfiq20Pa2Jmz5nVkWasM0RrYgw85y5329IGTys6
f36C/ltzKgcI4VHuKL8ub+XyWX2sb3ZWUSpFHIhPrT8ywC0kiZ3m5sp1W7KJKvpGNDRFgj/dmG2h
hVkOcIuLIIYFPpXrEs2t9RFjTdtIAoxfIt1qqbmW/11SETzK6MIDFNw5blrYdBWvJ/hZxXRTmr0d
Z6HbaxbwovYaQB7eN/G/Xob/Dl/zm98NYv33/8GfX/JirOIQM7Sf//j3L8Urv2+q19fm+FT8j/jR
f/7T2b88xi9VXudvzfxfffoh/P4/5LtPzdOnP3i8iZvxtn2txrvXus2adwH4UvEv/9W//Mvr+295
GIvXv/32kregU8VvC+Oc//bHX+1+/e03gI2d6JP4/X/85fUTw8/dxzx8KvLq9exnXp/q5m+/4V36
KyC8AI+Hwih6z2Xodf/6+99ofxXagIopukoBkQk/h+dVE+GH/qoDsBWAXyhHIJEOFuPf/lLn7e9/
hSK4Bmwy8d9QWlRC/rH2T6f0cWp/4S27wUBgU//tNwQRn543fJYBWBiBzwlIXQFgOXN0WBoTNFFL
HI7cdB1g9KGrchvot6NfdJKXG2nmWCDI3NCqKO0hQxv7YBb3Zj5d1aYOfKDcnjRElRJxhpo7uda6
rYVMS0jQghJLbpPpG8yAcT+sACuRZ29cAlTZUBIn6kpXGgLN1ge6SYykcDqaHXJD305K5hUxgrgQ
wMhJaZi2mREf+VdHA8lvTSAqZsS2JLuupo3Sp3ellHo9uIFYdQ8Qd/DiMsy4gSTYCFSHAcrbjiRM
JjNzV1fP6Gi5HiUzduCY2yzsXB6+JNSU7JTgHTQyB30k1GZpuEHHwabR7ypTvdUC4N9zsk0AQ6ga
rSs+VXxMWVJg3kneRJoj0KOd2iSCUdNDI7FDMMowNU4AMJKRAeF50P2O67eEFN9plt9zC0VhwMm6
eqrZTc9vxO+SMKFn1NnPDkOOpfxkGszjYDVOLeU2DICtPD43JSqIID4FpKrL42uCTiNufB3jXajd
NVLjIuNly81dU7lkpM6gGjuZMiePyHbQ7zQS7LNoWyrTlRoFD3Kqcb8ExzAoJfRsN0amTQCWioZ1
bpe6vhWna7Y3TZj4eaBvWWC6CQvdqWpNNx/RucDV5ntcgVu75Ico6cCi2hc/6vY5l59T7JSkAMUr
7VxUiGWLOZRRB18pvlwGUYcCtih0BDi6pG9Jkt+ApO1mHO/E/yWORvzg2Ol+KOu+Umee+BhJU8Ai
SndNGf6iCblF78B38e87CcA1uvQ9lZhDyuYYIUyXEjBUMpzpJAeemah2IzqEU4XbY4ChmvYZnSbb
EeB+yOo7sXyXtXc8v5Ohe+IgxiHwhELIOfTAAJ/tgxUTH9lVnwLgPEmjK3FPVL11ezT0GC3d6FCH
vi59A6MuBtkJjWklNPkM0GHmNG2PqXwQsxSxg2KIR2GQibWj1S8hvuLEl1TuKF3m0Vq1I8BaC30P
K+5wGTIqaBi3WZV5qqE7RqHaU3cXttxhKUFsxG4ahV7zpDuWLf+pT+xQB3TbDsaDEkdXY9m4unFl
Je27TqRluMl76IQxPJZm6gn9GFl2RAESPfYADmUewEO9qgp8+L1XYYaTj/AjBka4x1zay1LmM5RV
QCi1oQ07TCbXbK0ZjjBcaGfp7CYAbLqJtXLjukmJTyqcClZpBYHXpuZGnJo40bgJvFLV/F7idg/j
UdaSN6rdUdyYogVxJM7BsjAtnsluhywLjEZnGrtMoptcYQcrkryhiDYjpuswAbhDoaPF5WhVoT/m
DtMU912C/49bbiW3R0qZp+jSC7Og73FBnFyXPNz9MsfVpoA/g+7gj/nEnLS908bWnfLoCjD6QOO7
HtNuxwx2qCpzl+jlJsYgmWNOrezE1MhxGWjvpOlooUzI7DZFCQ/+38+gLVofVMmHpN7CMv/CvEIE
1GXtAJq7Q8jy0Wd5jmn1IHIzi9E9x89YgFNADjeiqNcDMELNYpfRCC6sUm2UKJjsos6cLG+jjaLm
1wkYFZ0qMlTHwhiJ24UF/itwJAWAUUFRfFHNoLHNhmwBefvcTdquUDJqv//bQIlr5F7ih5inN5Ge
YpzPqqKN2o/HWrXuOFM02zRL4pIe8y9hrB5zpaIurKFDxpE7DWABWwv9w/2QUDQR6zdoLmbwRdVt
V7MRHasxxp4Mw2NF1rrGwEIb43XIPWKR79/ZkH0ZyAzrVHHE5WQrjHKn7/gb5YzbmaQeM6WPtxKJ
jqEc/EAyn7taVI+goaUYjiB4btp2bwpYTGuiYiyI+6oUW25cRT/AHOEnUh5vyj5467sJJKSaKvkx
l7ZdVms2o/1zBmyVDaBpBgcPkZvUCOusERZYaqcXZWoQ603ht7HDmxbWzO0JV73Y5KWnEUgDQW1R
Ir0T6dsc+JdZFW/yNHthlbJjWupMHDMAWejlbDjIseEaLMOWXAVlspPUacW/nKUr/njF0Z2DpgJU
IOEWfPbRpZhg0E7vc6Tt0F5YwuTCghig5DNgTSau3mYjt43uGRONbmAEngSC2xOv5w/P4tSTmEVg
v38CWs0ECjZKkgaZlbHkOu7acDJzH51g1y1QJaKU2JgR2fZS+hPTKLf6pOCRrdwQl0JcbZ5K/ojL
Ch9gpSJDRJz8EbP/41swFidocjCdPY8l6lDnZkxzf0B58N2Y4p0d0+Kmb4gztuGmjHHhTdhAupfi
+wy4WlN6ANDOo66yQ6ISXFfTIeBqQeNsbu6s/NfI8aL3m76A8VAUW49eKqL5tJe8rEj9oN8XmXFd
UnM3KPo1qIf2pvatUfRtNdAdKsOJrZraMaSZQ/RnSTU2FE9GDc1XR93B6IiHThq/Bm79BBJRsFFy
dHNRzGjp+rM2oF3D2gvXIAy4jYDv3ZdYOT6y5AiKWXOg6wqw1TluusZoZ2RtmvsKUL+YVeyLACQb
bWFuIlR63t0puB9Z8JQWv4QbNADpaEp0jPVX6jHVkicM5D8mTL2VBCedFA2PfXZb9KGC4lSPaQMQ
NpRW/gq8CipnNubev9QTYB7xvsLqGkl5g1jPoGmH7h7jOm51XwhJ1MSR2UMn80g4e5ktPAPxpoWT
tO/wjk9j5omXWOi5PkmeUuto5+L3aWc+YKdZARyab01m7iI8lgPMFkpMO0xYOWO4Mzr+s8ejQmvY
pw4/j3eqUOkGaMk7roRXRRdeJX3gVYPuxDHdmhmIk/FnIw2vZPNJqEGCJywZ7iocHHpUbaXHfPJo
7LrsuZ86t2qfQw3eCxB5cvjoNKFOr9z1wmfGa24AeP9dlXDyQZAdehPNkX2OnuX0TSp0593TU6R9
pe3DgV5bdX9dwuhkk0fS9hBKw3ao6GBXmHdD+6UDLFevTrO3XvYmS9s2o75NRrjQA4J2usMA+3hs
WIC6IAEBhC6q2sZD38AymMkbCH8bL1Z1KJjl69P0KPzgElka4YwMgG6QYuYB3gqE9dyu4Ny1IIzA
8yt2isB9N/R9Z9auQflzzdihqfmPnEwelDefyLVkkk3I1mLqz+Ht73ccFGwyWrZgb6G4n00e+i7q
jJEx9/tglG1ugcWgA599TDMPnxNJ8fPlG6ItGRUBoCoCeLgy72XgkxQTB6Bp1Ml57gu3Dv3oV0lU
bPtwsHUgg3bFN+xLnz1PgFoXJxn4bfhdjjpXH+BFBjjO6hmagkldb6DBuzs3JPpW2OU2lOCgwstT
9c2AOmrC/Pp7qQ8YCKo8tJdc93XvFKHuCsEpkL9UjWHcTUfTXeeuLHJpVy0ENlQDfIaGYfjPu9pb
oZzqLR4SXB4RcQyj7tOudfNGBDu4Hz3fZMVgC84azMx7kcWuVAIeFgQp0bNtWvwG2NluH9zJVXbI
4EGnA3QF5vfdyBV3wqiJCCpLaw9D/MUY7AeA/srkqOr1bjDJTvxtNOAZK3T/8ureU1XzdwEYnsDH
h53DPKdY/ckRaoUU854MeBeS7LnO4cjoO5PIHjBmgPof0V2uB3v4s7aBQAsXCArcklctVb7oDHFB
ApswSl5QMBfc4nYHkOISJlzc+nwQptu4Kkq2ufzR7w/n+UdTAuNMAbU/x5jQslKj4O3BR8NwiBBv
kDoXsEsoL+mYpFftkQMslHXupLiBVNqFkR40Bc0/lnGtGbiF2TVoL9BgCM6N5Hsb44lq6dH8Ug3P
8dcAwPMxNntCpJXosGD1XZsyT7yPIpYHNs0xqKLHHGZ3nBSMSeC95h7FOEVGEYBO2jYyEELjn8oR
2nBiQJdCSUMF/19ONmNefxfv1eUdmaGe/X71LcAhCb4zPMTz3HJGpyDVWJb7YhdEOCDcchWnQBTV
Fu9rkzqYzIJD3/fEqSrVTjLuiIhULFHOf/TJV/GemxG39Y46LWK2lU8U5ZqzQ0O9VgeqP9yyeWMf
KQokmxR8YjHQ93AEfpODHRdhoYhBC+yiiIEAh3VIYv67n4aYUyNXw/CzxBG+pwMIHAWYfAnQOQiS
BgPhYZh5l7/1Xes/fytYZgBcC6AGtHVgcPvzrQBbCu+CCbdCA05Wo93ldesxnKgB1vkcr0UfjltV
7p0Yc0ym5AGU3daC9igSGhiu1fvU1cq1KZYFd1JQ3+hUE9AUBgCwPn9UX6qBNFYEWo9HGwt3xM4x
A+2RSB+EIfNEvA1tFYbzMBX5DS3DK6mna5MnYvFnm3PyHbO6XKmGAysVuJLpBHIzVju6SVAERRLG
vMN59phoyJMX4YJwCicA76VQRBMgqjVoBWtPq1I7tXRH6Fsbt241/czTA6sV/Psv8XCELmPO/3no
e7cZ9wV9FnfJTJGAKWq0FEbOWBvXAGr3xBUUi+2g0h1c6pa0j++K8EcO9Q8ffpa0nf3x7w85w3/m
adlPqdz/T8lbHRb+v/6RHz3L3TpPI3vif9nV2RP/VZ8mcMXP/Z6/lQzrrwagygXrDjCtwT+GdPDv
CVzJRJ4WgMn/y9x1dbeto9tfxFkkwfrKoi5LslzzwuXYCQGCJFhAguCvv1vOmTmOkonXufflvnjZ
imOwoHxlF3QeL5qPPhp3f1dw8b+AF0HJHykOhK8uDPh/V3DDf6GVArsU9FTg4gMfuH9SwX2XEfl7
ggIWYsK8EPIHJpRjTNT5r1avpxGGaNqZC2XqLTRKsRl3IPv0sA+wND34qr5jKPcAAVseO0t+CXSx
qSg8KIWoAWluDY2CDDxYoaSan615PuSzo+K+VzsDov8pKOXdwciHPDabci87e60DxDtdUNyQkdMI
fnmb2YYujyP7WBsmigdtdBGojevBRmzUDAIfhw+zpkiGjQCFA8+lMYAmTkxCNsYAIqOr35coJtmD
2ri9vHeVI9cjR120yGD27sojn+R67o94T3e2D+yLDUMOXy9rDFMW3frDJPhrGXxMZfFCPyz59ycK
41PwzGDBBWGv6yjBCFnTWUZgLtwGXcuSJFPXxab8jE//Dl27enOQ3AZ5ElIM0IG8Dihzf6ygVwjz
inHA5l4HcxUpb36BHcDlBeHsyvYBo7GUPvJ4VTw5QG61Ltsra0jzwV8DkZQowxxRDXO/yaCbo07V
a9rqnTmT8KZpVJ+wwDkZnpFMjoI0Rm188bh+cGiXZJAM8O16AQofyrBolER9k0PEoN+SeXzKSHeb
laigUAj9AWlfoOxavtmOABi+H76NeQ23TJkNgIJQHAojS5Bw8UjbxsFEaYqaaKPlIF7CJcpEVa6F
gYdLYnv2Nghx7qRdoSJqjU00Cp5U9uvE3RRezmuPWV6khmoDMlI0T2tRtvSTOkX4iz4ylhwoHuC9
QbgBp921PJztGsja0S9bWISqiJAegRUoH7X/wgb3SVGFR59X7JQxtB0nPp/KmWyMuVlmYJsnkzne
ZoH7Yht5atnVM8kcOxoNhs255fdkxDcO9V5wXq5gJHrW6hjqER4C86IU5bKH1R/lNybMmbqhWkCB
9GxM9uPs9k7kN9mSjt5zTucFaYWJopgrF2S2w6gh9kvlwvJkGg4lOFd1iZhm9IrjkPEyEnVwzmuR
TnP4jOvc+x2HXlb5xPIgkhNFO6TelgMKmN50AwJfncJjbDmLcuGV3RbygLgnsSeqH1Nh4fJx3GVx
M7tZXCBQMYMJWuokslvbvmwZbFk6KikNpEEDRwrfpVqB9Jv1Kw85ABS00n5yaFTqFmLhjTPECtJB
3C6duCphn0OgyOyyDFxyAl1aLiHd4iypheaAifDNPtPR2psc+dE0bvwu2/Pm1DTzqhxfLLkQpbEb
6+ZhKPwTHt925pgtDd+MObo2jbU0LbhBqilxcl6gIok6ql61nvFlzvtdGd6bbpeI4qWzdryRqTY2
kPpamhmKLdWaEpVCOv4wFGEkveJmqJZ5f54NelONb3xmq8rZ27Nau0O7C+Wu7EAZrr/mxi7zw5g7
+2YyEnP2U4Wyjj+ZC7MVm0CcrOKUywrKT0vP+Bb6RRwULOWti/LjdziLLiFft0WiEhM+fJWIGUKP
n4kht2Jsljprb3trgOIMypqIW3VHIubce+WMuitLaL4fTB27BcQAcrS6RJAoIC0at1ogMVuUlRFN
npMYpR37M4F2Rr4ZGnft5A1eyTezrpZBO6TQGYAxHpokhsC0yFJVihg+wjGOvXVnVIvCa1EYsFe1
o5eueMxotrBqONjPAXomw5Y5OqXypTfa2O/8eDDR0zOMxNLoFKnyEek7amfFsh5RhTZFbEh7MUH2
ORtVbE3nQdEIoNjI9aoNXAHOA+JxGyDqobxhxbhQBOExKBWgVVRqKVA1avj3EOKn9qXfALUV2N5R
/GEOkABfMOyOowtCZ7uYewHrHBG5ZDGXVcTNPPKtdWHBcwD73CDXWqLTH2BnC1cGfrcYWESqjYlP
hwyJQ4alMkQlGoh5tgZzIxJtmGYPefPoI6fVX/WN0F8NvR1xSfMabdsob7fC7yITl9uBbZ6JiFgM
qBfsYHM0QRPalSuOVoaFb0e5cjsvGjyEiYBz4nc9XFUXripcIAT9IkaW5DIo/pgiS4bztMGn+AWO
IVRPo9k+qtpAs+0RSg1ba8r2xCpjO4NHmX6CjVg8oyHgB91GZc232XpsUB0H0XEvGQpzSMVz+6Wk
MqXq3un72PU3dlZiP45M877XVdRcjFnYXuhxAT3XuLeyZIa2NBVYCEYcNsfRQFvSWRfyNBdl0ts8
8gf8AUiXeg7eGluRtosceBgFmXUTWqj8h0rci048KPeNuDe2EdrQ5H4KsRBo/dAOF1ng7aBPtF4Z
k4RcvIwtdTfrtJ3fsmxL2ocuXFC0JrUhoyY4SQ+O0HZxNMnRslYz7deZG656r1i3IUpAl+bO8OTn
4bZXNGVFOuRTSoJ6G+YKve0wou0hnF8pBJDc4LERahW0l45CA3U4suJGkEeNlpEc6lUz4oXNz9o5
dHkbt8Pd5KPbneWRqrylbL2lGvuFVwwoQDoR1c8wdPlC+WOWvZkQk+35mupX13htsntRfvXUK6U6
sdkQzyEcnpBysdJHtgyQNDPQ2dk05s5qMSkrEdFeJHYXJChSsqLbWFm1tLMvYOGuWqCBIeA82u1R
Tg9APicoLGXku5h8FrUdYE81hh7ORb1EGQzpvYeS5bQcbQHGs5OUWRjP2anzecpGOwnKMxCrW8tF
UKGqFa2/oWDA9Vc7f7Krr74FgTwGhSUPqw+ckLoDnSIzopEXKyB28CiwSCYwHAqcInWaDV8YyxMa
bBV1QfUWsI6YY5vCMK0Jo86T6QjXa89+yAo4Ez4aLuRf8xKSsLJMfN3HKP+I/EW6IgZCOAksf9ui
cdkCAeAHCx7UD7let803dMWwPK3I884zXtQQ7pS5pSWarmj1y0e37kBKahdWdzTa4F75Ywz/pthH
UFE32GPCQMRd0K3GWWQxiruZhtukCWhR7bQxn59GcSxKiJ3QMjaUjgMzRVcOdc8tSI2RmVVRYe3Q
gUS0BlRotQPmPKLQPsa0sYbTWDkoCzNQzb5PrYimAi92TPIC2ikK94zaClcbBY8rs/1uIJ7i7k4G
j7m5oZOGb94j43cM2rzU3AcQWi5BFi7qKSJNFdnNnJhuWo7NHtZ30TSRpFskCBZ7UGJxBDQe8nZ0
vs1mUWcHTp7hTpC09akst3o61e2w0Or2IjA8eiwquqfGD1YKAYnNjJeq0wlqS8+uKN+GixTkbWXe
VThb3MKPyvowZ3stDZyUbxMs76oCYjvfmnqEiYuTGpbRpoH006YusO8VS+016MpuWW/EFTAFFX+h
uP0cS5MUR4ugAoqgw+Z3gjsrSby1WZ6sli2lYywncUsV/mSrFmV+pggpPNKlLrFTid0cWICnYKrS
ELp4pjHsbGAYUIau6zICpzaZq3Kb+/nKGO2lmO780U35jPQmvGOY89NQJYWPfsVM8DqAJ+uNpO+W
VU9TATgCEf7Kkl/ByIwqYCgCxmOwz1KG5nZRmukw7lWAGpuzCscm5d2xbycc32fDm1eWj4TJPVa+
fWwAJZwte2VbgL4Gd9NUbLjpbHoud+hR4qlXC9V+r7H2oFwUUTTo1Yvl7JzCjyFBEY3Vg0BMRmhk
5o9ei82OTKigPhiFSqhEWfS2wTupbYUoeSOqtd30UYNXD4HsmIwqYVhtnrzptYoqXKanYfvtqUQ1
m8CBrijQNq7T7Ed67yNCUkClcB8xOhA1XnfTBM6MJADQhR7VBwKTEA2UNdbdbDwJzBi7xEpTZ0r2
XJ/cbFezJ9f/YkwHjZ6V25KUGHdGAM1b99yrHOF7fvbn4oYBQTS3Q2xPAzAdb0bjIvphRzEYd1K1
qROknr1kbob+KqwF/WONxYsAavBZit67yA+quS/dINHtscdvUe+BQAgdsF9kLUNqhzeCnufSWHjV
WfvtC/47TIyfQ+88lWgLkBBVswztl0XYwTuJzeuZOU+9/6UO6bMRVEmFOnWsmGXE+aUcOHNEdkw/
DY4LJBNYGYns2wMT8slTE3AowkUJtjr0LeyTYZlHvPHVMrvnygcosnWH2FFaJJ5Tba2xeCjolAMy
gZMBZnJohYwhWmD+oWzUPi/pOaByAfj7vgUzWyNipPE8Q7tnfmq6G7MCdCR/mj03yrlOTHLgxr7o
7+EcAJCShXQ0ngGGadvEMoCU6IMVYAnfbT6yWFJ4TWCLNrF1o/7KjWd/VotBt5ugt9YUqBu/mAGp
AgWv4g9Oa3ybgUeK0KlyIrNCsOUXwTpg2Pf1rWaYt9Wtljt7JPdh32zcqb93lFx67rzLicSuDTfE
QBxhVl2a6p4MNAHWJ+20RAMYp3XZDmurchczmjRI3VNnUwt7bYkc/T2RVr464/184kBwae/+nFgj
w3PgMAdonY2W9HXNLjBCBxhtB6C1HN3wKQ7QVrSg4wsBx0+Kp58NdemqfugoQLyzEIWFoWZan4qZ
RU2LKN14sfti8eeqxM/tp0tVAjcF8SgXGjjQxrs2jSC1ydqmK5xFNgyxMb9p442SLrJHbMLuBbiF
4wsR058H/cWc6XrUqzLs1JQeeiYY1dyEOFn2FydMd8uX7YUlmopFFslYHOXyc1bXL5yrH0PDqwgK
KqifXQusk6rKDNvil4hyjAKV7bIZHfCyODAOL9YeDDq3Q6yHNWuPlwBua1nFuvAp0N4IgdQ/1c+7
XA5afJhVkCFyAM78+U0HENCD1UOFFp1ALYwsBzhv5+MmK+7+/Mh/7sP/eM8fxgmvcBRhBjEc7gA2
aaHdTIeXWj//eYBfy1s/3Uh4VTCE/LqRGSVuxCC3qt1R624qP6ma/25VfLyHq1mDKhIEHC/QT588
TIwtZ+zWCAaX9nz753v53aL4ONDVSkccMIWzxBzRRp3weU4tuL9HNAB6QldmUg0uFoiZIrH587i/
cH6vZkN4te7z2QS9LMdD7BL1na2gS5JYy4s3rJl08Bf6p+yg6+Eu7/TDNmNNWCEoSzgLCLfGKhu2
BOhSpmT859v6/XsDfwKSvSYYnFf90abSIugd5izC+mDXSPv6W4ToSf8Zz+W3NTgYXpuQIQbP6xfr
y0KHAWheeHxQZFmJ+pXJ274qo6Lo0IFsloPo06Lc6H6KQmuTey9h5SZs0jAAQaoIXJwTwpvzUg29
zfJdawCyczLHTybx5WavTxHQSSAvjIa4A6Htn595pcqSsBbXOODMpSOPibEzrC9uoyM6fyJ6+ts1
+WGsq7b7jH1H9wRjle1dU50agXDL/mTO/natfBjjagOrMzkID9nJYoAkISFQ3qr2mdiXHooV5Kmt
7/rPVudvTw/0zmAgDSyB/YsVkFlVjgMVDGdR78bX/rtxgMJJXB6y52Y7vCJxsqM8LlL/WH7J0j/P
5F9kOd5XjAs/F8itOj/6Lx9XTMFyLJVuwAxblkdIx65evYgfndVn5pm/HwijAUOPOyTkapqY41xU
JJc4pmJrMR7YBv5my2Hd3X820juI75cJiUcJw2KoOPjXErI0R8HfCzBS/gLU8oJvwKRKVYwgGL3k
xF+199mawfJLzqn/0KDudAP9j0+e6293iL+v4f1pfNiIRmOuSTHhGgTybt+DovJkRSiTXho9D39+
hb9dEx+Gujqn0D4QTVaM2IzmV09Bcwwo4dxK/jzIb0/bD4NcnVSDUwiY0V3uB+Vowz1V7sufB/j9
VvdhhKsjSlg2xIQ9jNDBImROaNzuqz1y3jXfgT+xBT52Nz2Uqbkt437jncIVM6Nu8eeLuGrx/xVU
fLiIq+MKeYs0kIRdJml2Ahh5KddAbiSwBAOPVm7J0lhCb/mf2+K9r8IP417e8Yfp0oPcmzc+bh7c
BztBGQh2tomfAuq4nr4HTyIBl/Zb8L85xT4MepnDHweFJ2tg5bhZe95D0jF1rWwpJTJQXh4+ea6X
6fGHJXndKhQBpaUU788VNZ6t4FGWOJEXWXG27fafOatdgSJ+fY1Xx8RkOLTJp95ZcHIiChg+U97U
3pMeb7KxjeoBST1xjGiAWHA25g9WhoJFDgj08Pbn+/7dLgCPZw+NcRCUEBH//ISFVI4GZw7egv4a
NUMl5kg0RZwVpz+P89swy7+4XKDCg5znenOllJAJHQ7Edxt2m2/bmCavTmQjW405aN+fKnT87n1+
HO/qAYOSw+sgnHBjifdDT8lL+kShPYDxjOR/E9Z9HO7qSFZzCclvoREnU7Yh/K4SFYCbd39+iL/b
4j4M4lwlFFQVjd8YuKfZMWLqNjENPzkULk/lehV8HOFqOvCZeNSzMAInd2P2XYJGUBI/8tSzYM0K
+qPRn+/odyfDx/GuNm0+F7rLJ4znGdaGlidVQ/dYfSa98dldXW3c4OC7FgcxauEe0FKM+5P1Va7A
w1qytVibCfgr5yw2l3TZPv7fbu9qs1aTM3Uz4IcLb4TUva3RJnVXEI755Cn+Np74+BivNmeYcQEr
meExBvsRfdoU9xiPW5SGNmDWxRTnLo4HK7aT/KnftUee1Mt/6tJ1OR/8C+jcQi5wAXz9vJHMDS07
erlVH7wact/368Y5vz/Nf4Rq+q+QpZ+ATX/kr17G+w+d9f8JM9VGrPnf0U139IVdgE0fcU3II/4N
bLJM91/Q5wzAVILoOkFQ+W9cU+j/iziuZ0NEGr908fD8D6zJNv8FSB7cHxDtwnWFuFh6f8Ga8NeA
1AOyx79YyLuAPv4TWJNzWV1/7ykANL2XfVBnwfUBHoO/9tMhbjZDE86TIcGQLuH8xVQOjKo248zg
4gY0lhtImt5OVl0cXFkOG98iQERUHdjbc+Y9zKiW5rzZCN6YXyYZpLNphwvmjnStDCODDkXPVuYw
3kvGrB0k781doDuA6ecinhv/QhwZFNSm4U/Pz4r7450tKxNlqM4xAXeaglWnRALXomlf2I3YcNT5
CbX7A3b0HZZvcebwtFsw7uQrZqlPssX30tfPDwe5MzSBIHQAaKR3LbDp8oaONVq4K6EKthu8YdrX
6HxL09i3dByifLbGjTMW+sjA7JX2DLRGDrAklzksBJyLQ28nq2XXcqhPF6E+Uz8rFq6SMBJ+v8+i
ANw8UEG+7/oOsJXRget0rRrQJqYC6G5DnevcLhL9/l0vPtubrgJWTC44AQDeC7FIF6A7CB38/Pp9
MQ7+OFzICzO++N7Y7EhBV02TGXCUYI9W4DTP0CLbCjTQYxSjR3BIaQMgSjsnBkD4ezeouqUxBjCB
UZ69ZeFnPsG/vAXY1SMqgbUl6mmmjaLJz9fIw1DbdUuBig05sKF+1Ub9NPQHAa3kXVMaBMQfefBG
Vu1b3Eyc2Ra91ZV86QgM0DrXHi6EVj9qL78aanoMvDa8HzmaSV0wLnpdlmnBAcoIS3D6IIas0e81
27UAKRJkEiuaYEuXBjocANMonU9ir3d52I+TDLfnYG+GuQC5IBWvNUIajsxaQ9VgaRQC1q5m0ZOl
rCyRdB1Dz3hA8xMaF2g+QYzutq4ncmPWs7t3K9OESBt1U9hXzWvbRPQkp/FNF1a17TQsM3q7gnqj
xIz1ZchvjRL2nMLjaEHbBKQcgHg4KBV7PRbeFjwiAZV8KcIts3l9zBmoFB92xeOPO/oI97OCH57R
f9/rJbDGMQQkOehiqK+H/tWrpApMRBJAKreTsGlQifYRcApwORuzCDc1QHCjO53pBcwIhI8fZb5+
qDjNI95Wa4/yMHLA7wm7ceWY6sIOs2BHYod9KtEUF8JUwE9depajfrAt74k6Eo8txzNSbbDoOxfs
0cqs4Q0DCmLLYEzHqO9HEPc8V0qa667J0ZUPgHbSgR+BPgY5cTgLJABP+4vRNxGkyiBxDLvYg2h0
Cw58AQTPhXIcot3LxvaRsqOGw00yUeOQw+oqArYxJWUDxWunfnNF86XwByBrwsMwzugtt3TnW4Km
WYeOc9a0aP2C9bfzJxfcXlvTKNOQei6qtlgYknYRo6xMLswNvyzdRcjyIx0xtFv1b6E0Dlk9g8Sk
0M923jwiaBJOj4bW+W6sjBXzlXNw56MlxtjKeL+gPdcQeTCaCJQpsgyodZyMTX5LauOgINJtt+Bu
DBo4HWZXUK/F0O6UoQEagsohQvQ97SwqN34uYMTujQI2fw1KeBVbdt0EjI2PqUc6ews/yagXHpZt
bqIjTmdwK/IWeI8azKyRmfGIbac2invWjyB0gbYzhOieQ6mDUSuMIBQIQbhCiZh2LxmMWhhDH61m
frMAmhAMYHOPfQkkCAPQs/ArDHAWg/gG8MgFgQNRgkm3iW0Nj1CFN2MxovvqNOFrOaEGWgL018Fz
FrwiTDnei1Xh1/cBXIPiTAzQCu4MsJZd8/tE+gez6eyVkXdxA4152DKrNs49QHMDtzABEgU4QdcP
xWBGZeMAs6TQM/dXTTscvcBHM3BAR9Aphheqwo3HCahJuxq1iN5JQBGG80wuIPSeYwoHLNv7dQDm
r7IXjr5MeugxAlD0xe7h5+uRceuXKL+bcAX1YNIJY+o6olC/jTvo/RYFrNRDWAhaxl0PilFqNRCr
zwzynIEZGjNgDOHfLeOcnrQGtxdUBaAyHfFF53MiRs2AiMmnleCjnVodp7HXduAMTY9orzpT/+o4
kOpCS+ixRaM3G7ovzJG7DmIMiWT1fWvlX8ToP3R6XiOqSEHyqhaNAIKhketWNF9zDn5lNQ2PeWmC
uSeDlac9lgA14URuGaZtaHAgOAyVmBwMF17JAI1YTHUC3G0WDmnd4xCQ9bStWEGBI8tuKK5gM01b
i81Qq/DMuzJHd3TMcgmGsQOAq9VFgQhjOKaPKy1x+SHNeZxhWa4mmZqsuSmEXy97G/vD4M1PQcnl
nVc9FMiUEyvr8PJKEA7Dp9pgj67jQs4VwUjkNTjke+8Vm+u0mId8H4r6KI2sTQsV6lvfKldtI9wH
h01gq879kolcptAT8l+qvclM+nUAjCQd+tnfMOz6O7CINsXkGUDD5PZBSrCJrM7sV3VmmMe2t3Xc
16Z718OWEZu2GQ+57EB87VxEQd6dddmIsG8YZ4ehhgeGrf9mAlpTegX72k6nrINSE7rrdMNJ4z25
5m3t2HAkZba1DRwxx6Ei3tPIJmT/BRe7zBqdh8FVkUbZFz6QrFnmuTesmhL8z5w11vOMmA4NKHrX
aniTEynaeMp989ls0ZztO7u9KWaj3PZZsNJQjjwEF1xdFnYn3QBPFxj9Y19LSFd0aMW33ILQgmPe
+rR14kn1YPRnWx++iTfUVv3BcNG7hwPwPU48AAAvT09b+iUErfLggMR3DOvJRRzKHuZwap7LnPRR
rqR69o0idUG5fVW+f8F+sR3X3MSGoPnGVeBJQ5XbPvUBeGd4d0DfSWj8TZ2x5pn1FSjPTc2oe6fc
av9+WnoD8DFjPvOoByHLy7pmMxpDt9PK6XbQCyGFQghnO7ca2++570eSVgAQNVwkrrgYXHK/umtJ
X5w63qVQfOGLYba8VDkBYB0OuEGmfS+CYD14YlprA1IApDfDR6nYrYMe3DfD8leq6TNgQkEK9u0K
YTqCNFBdPbKfCW2WgTWJlT2UHfCGmPror2BaO5l3nAGUWo1Fn8eYcjjkKK/ueGA9BI1Fv7rM0lGg
/ekIuUC+y0UI3hk0qEF49cU+zGy0ibAzRCYkLVQz+Y+IAHelj92UVX5zknUt4OzjcPS0HHMpcbot
hlDHg13VL7q3yzQAgmITDrK4qw3j9v3zoJ9HqHYMdtLSfIiUmfUHp2z6g2IltFAYBdYvnPHyuVvu
fCOEvw+RYCdAcaQLGihGZJ08qstnLeKBjcnIYzATFZeNCNOizYOb8vLl/TuIF3DifPigmwESw/4A
VZKZBZGgjb2QIisOrTn/9WUOK6TrNjxq3v/BsrkBpm85pW0ADx7Md72zna4dIhFC1IPJfPv+mcTy
//Gvf//oVm0SlqrZG+ECLRPr6Jc4bjtNrGMjCaToNfCyBXdMqC6qDrHAkPCCB0nLkK9XhTUs66YG
ggrRAXwW27Pf1hIckH4HATbgnasSFSChVB63eQ4AsJjEQUGaDYRym51CAQRwW8Ejlwug+TqrOzUG
ziR9WSpTWPxIQfy2ovteGnvokjbPBjf3fK5RBeSYiGbGi1T5AFjjwcM3zC0t6IYM6Qhg0xcYqYFd
O1f+ne2oyBr1AHhpA0kgM6jvnUsIMdZHy7mHVlV/clx3vilokSAvAXEaeG4RmMX+x0+FCupVhUhA
VgM2CwN1ky0LbG9tSBz7gJrDlkgAYQ38fkyobrdYNWWJqkYZQmuk65IgE+32/cv7P1uX3wm6tt/k
zYQjD4fbWF0Qw3geOeXsVWQdGWKExcdicB8V2H9bVRQ+YpruG8ghwaEV9UoIzz1nGpR5Fy7AQHnh
0dlhTu7toIt4rvMz1w78lucfO5Fw9HTMwOZb1L6T76HTX6duBbauPXr2vQkeJdytwTAMKY99QoDR
z1vyCiR+0mgO2dQiAG2+RogbtonkXURtjnnGwRh17eIWNQYTmGXJ13nY2WnWTnZSThXKZpN/r7wc
pNp66LYlTKP23XAPqBPY6L1RdrEH0NCZiItihVFDeslo8vR9u8kE+4b4F2nfYHlLUbRn0YTdLpjd
pSjz/kRBEtxkLo6IoiRFSiuFFJ1rUGT1XEOYRLTj2uzlvdPJ+Sik+c2x2u/jQPhBj+wikORkN4EC
LHHqQ0D/OYSbxoaYGxGK8gyn7i95UYiVA3LMyhvJWaJi9mQ0RCVOZ91C9spOpmYUN24Fo+D3sVuL
AHQtAHvNTa9GtKyGx5ofxDTm0FxzRgTlQXGrssKMmhKZw/uPY17d//jvpK6tlF+eWe/PQzrlIRCe
gzcivix0WtJG7FnP3pC4QSz+8hPIwnPKJmCxhWHC711WiNNlGW5IMBkL2XGSVPUgIT9Y3ZrW4O1k
K7e9Fcwj4O9WtQYrw9MTg/nDm2tm8xJqNJA5cAt2BIRiAvMgBZCDHkeXABjH2L5zRiu1xTDewfwX
nXgHgPK8yYKbHH35H8lgW4WQSyPem5OhgO6VCPpg1mElHU6Lm9PEvOm2l/nau5wPBfH4X0/OrBTb
KTQAYhtAh4OlTaDhxBovBuwYz0abygUt3pW1cyNl4NzQunp9P1DHsKoz4O9ReZ4Ctq5diFU1rWoe
nHI69hUEXpyxLnY5X2NTB48J3zi1BT0Obq44myJINar70Sj6fYdFGcHhqgf9p8xWQBkBlFDXi2Ck
wBcjyvclpfv3L65THMFAwGzzLehA4yoRqGPxudQ8sA4+c85QVmvdui8FsAW4r4Avx2EGxnOwui01
ke3uOdRdNwMS6HXfhm+G7DZ0eOqAnn+GdlO5cimAnn7bvZWtdg/zVGSpC4Txus70GTF9uS+dkgMv
ae7e3z+3ze+22qPXZgMr7+obAsIakrQyea+UIIojkTnIiJe8ffYtplcWbZy0kBVFtaEG786Z3IU9
UQJ5LztbgEHDk5D53QlxB6DfvXLX7z++T8/3z6zZcNYkhGpEW2bTOiMGupsz7xF3TOMj5OTwTKbw
qakWk6rlBqo0kBBQDbkXWNM/fuyEvGisoIKvYBDcZ6q8+913yOTv3ar2t+9nMBlAmwhp228nPHab
0VNuib2bN2accwAu3Tak5+ZALsEXVy40VDqA7DWi0y30b8Hzh7QRnMM1hN4NcpzCi4IykvLItKFB
JwzfuZ+MGlBlNjr3SvRN3Feg3bx/9/6v+x97c9nycGmREZztAuSRH7OfN3xCO34WCypqmKlUBTz+
GsdFCHIppukRUPZ24CwtoVoBNbKqMlO1ZBWCjLIjeJc5tXa1WT0qqKmtiLT9fdX0/n6UfF4LUu59
SkYZmboAdaAeXh2cFaDbIxXe21C0G0xxY7UoldoO+AQ2b8XN+2f20AUbDnOAXrerqdD/w9J5LceN
JFH0ixABb15h2rHpKVLkC4IUJRS8KbjC1+8BZx92YhSzoulGV2XevPdk/463ruTjNGaInG19QBjU
42nXETeDFoQZfx6WOR4Co+6bB8cvaRlmupCOtjmSMFivhTbLJ3Zvf9ASL5dqkMhxAUHO0snuqhSO
havu0mn5/z/yFM7Vj+RDPWHf6o76+yP5NNtQHFeoOAEV9/PKWRXXsiyOeo5velvUR9PpDc4fTrgd
S/HYjMuIGdb3Y0oB/0InXtRu+9ZWuXZX4mTV60GGWunrt8rJMfi3TpMogRC46l59yArbIMsjKh4O
nN/aise3XliKtYAfPGmotXeeKRmFtAQVzB2rxe73Xh4KXeRxNQbbCyslHvvyMZDyu6yVe8MuBAFr
xp4vbUOQKdsZICvtYaE6/QK5UNw2bmrsxAjr1DELCSspKE4Wr71WtmiS/6S1srU4rbctuK9SZwA5
PTthb+rV3Ybuh3i1Hvql7U7FpHm/7fnvXDf5S+OL+83ozWNdDuUB9BgBw1FyTRpchaDX/OW20aBr
jT/S7eIXODU1OFWZLnhDTXsfi++9fLa2d3Ol3/gFnq/KGBtiUIJM4V4rZF7r4b4sHgan8rkHlyw2
lnk5NL2pPiqSA3i2LuXYOr+KYc2TjSSKPhqk48Qsb7u/utZmX8gHgCrm8brAxKUvTWdSi2yjWtJR
fHEJbrEv8XD3eZP4+3GjjVoV6xX0k47ncQSrM1O6tXwg5/1HLdf5+T812hRx07hsr/LL4mGz24Fj
CB21NluTaT+5tMWE9yc7LeHtMX/xdv5lwaPz3CzVkTLUuNiDTltvEcYppyI9C19y3f28WvqyLdcB
3F3pmOr5p+rUN79mcRax1roEGmUMVLQjJvonxiFzNJjVdihmo4h/Hoi0aT5+XsCFJaXXZgyMcDGK
5iJqfG3/Xb9bXkmwjvj5PQgwdd3PCWuEgECaRXXO+9lNb0qBPcLwSMjmqzwXphvcZqv/2uBUQdJf
v3RLk09GpezrpKkn4WdzZA0zC172TtYxtPZSb/6/ef/ThgwZlkKacYAEcQlS3vkpHc4zGYi7Va++
UwMdbhMG2wx+3qYf9fq/Rydt14ZLHlv8z5caTBIOYvLTU4a16wPwZRCvwdhGtrnq76OrkfwgzFLN
Yrp3AkD4rle+GWkQ1xChn9PWepoXMRx1oHeHkuD4mxqLG6F8ag8teKnT7WIuVUFYY1lubGvRXlO7
uXfrtHqcXV0lAVCKUMq2vLGbbkHvKIa38l+pGsGFiGjclsVXL9LiIjJpJ1lb+9G6K68/vQUSlIL+
NiWLX3GKNlptHTvzrXVpFhfD7Z8CORSnqs5eGk6Ug7akzkV5DE+ygV9LNu5lURvbufd/a3xvO0Mt
/P+/abDfyIBtaVLp6F99qYantS6qKOWtPc76BDVubyCt/f6hl6vJUy0qr37l1v7NM7UkquuYZEhi
lcxv5GUZXXUNpiXjM9voy2uQpcZ5hMWDuvlJnGl7ctJ8OFernUcNRxAxYAK2P7+nW495ZFWgF0W/
/voZF1hO/vBzBf38Yyn5TmPd3W7sw0Jgt67Z5q7HXKLQLs1EC+541l0/Qp9yG+1g/vT+nvNAlrOi
i6Fd8RmKHQbP86+59K1ztbH7r5HOPQioAUWn+eBVtO61mYSuMh3CP6Jw30ldgxotAnHdCvKmS7WE
xX7IWzwRB1YnhB4Ttf96vmkWFQBLzEE5SD/EXA3RoPAPfRCAxMwI/WQ0Eq9EJJuSqUpTd1astV7x
/3/LDGA0AMySzjPXS11oW9JxGX3AeaZHEfMXyxPenTz3T7lv/YP3px+6Qsir3tFGoUXd1RXpRkR4
jQV5a2Qrch+wZC5EwuvQKGzKKlW/dTbx09z3yXdPu7rvBSLObePSVoNLRGitw+DgFfUQo3d6rKmi
ubOJLV7t5SVbhpvNml455D69QisjriGkG12cwPE++SlPeeqhsjYzqQXXGCPnJOwBgXPRg7DaFC3f
CuHTzTO4tn0TGxaNqMiyd+YnKhwDEc219ak1A4sEVHoud0HDWlALraz6s9nNxbDL2DerAmzTtLGB
shLs8N0Ss2JZWqeJ+WZghNqKk96QswukS2PFjCi0ydLB2Tp6gQTlyJ9C0GX3q6YInCKJcntnFUAk
YqF6RyaJ66wAW2kguOWkObv0b8dPm/Q6RLhVL0JItjgbBj8aKpHfNDoJuEAIpgLr82J190OlFRfC
4Vo6p/Ravhk7e3AbYIS2dCyqao+6zyrgsgr4mnmGgQ+ZQkxlRhOJeMtuu9gFLXHisf10dAobUvtG
PH4bujTPk5MfRim9m8oIya+3EUUggQK/T4x0Ok6pgSZVeuVB6UdQsnUCeTHjXpQLEj/KSuGlUZ0N
M+XGFPJ0i/P6XSkdDyjTkTXHk+kNb2qPPqY88eEAiNspTigsr2Qw003vI2eakHHL7WnKPGou0/9F
n5DH8wZs0q9csnB1c5hAjoX+LH95DPz0YNXultxj/pD6EUviLRCV/SUvvUjZPQGb/Ium9yPF+Xqc
rc9a40bSC/dq+4GE4+aOTEL8iLZrTtL9tlKqeINYwMspVwY5zXkI6uq1Z7AQ6kPwe0CkOY4q/XLI
M9pOjsgNETPMB2M9bXZ2Jcr1Z1VyY/X2eAwgmMdc/MapMrs8rJH6GzHcWZ1OelSZBxMvGb+IAeOG
Mb4IvOygZ92rlN0hy4is2aZ93ogC+q917gANrCvyYgWRQM2gbsqo4QL2stJ1fytiwmptZTyr/up0
9ZvlbjfKVO8Ica0hHoh2rbFhs6M2U+VrWk9fRj6rWPPkZ2GLXyAI+jD3nPTgayZ8zgnCbF1Xh1w3
Lr2Rvxdrqo6W2pjU8dLXMpXENufbmd3dzLSelfi7f1YmLkRSVhAtrfI3R2Ya523hA1LOj+Qr0PbH
f1nlMRqS/VnM6nPJu79jtpSRFozM5XwYatMIG8rMyMunTXDb+gtxdT9ngrcWYH450NxaHQt4BtOc
2y8zY/twNafEGbp3HdDkSGyL861/K4ahC41yeLLr4OzPWfGsmi72nOC9T3G1trr+WNttDl34n9se
vM7L0Dwhp66OU+4VaAHptnrXFSWRX1iHtEy6ImXxitE8u0MeUgwR8aqaLU5pXIw2fXY0SPxpxkWl
9n25ubtrMaL+1bN3nImG8aEV/jFbiK3KKr9xgYicLHM7B3bz6We9sZvPOUUym+X01uDFrkjPpt/1
R7Oqn+jfm2Ss2AtUKtrzFSXnwMvDwNNzssS27ZgLajwaY/2Hj3cWMhKhQx+nECHZjSoP1d1bq7Ph
2O/n0cw+V63s6YNxa2h9vvBiAAmHGbBpemL0u7TCgCry0k8gXEusyQ6lw6n/zKb0Ytnqv8eF5OOg
WJe6B4KRnV+F1mQR+w9O9updTVScWObFu1m65UU0zafUYUlUKwti4Byo5nsyh5KxAaEBjhoGZWYH
MwVwZTCul8E0qZvkLE+zjh4+WQcrYwKGWmTToOYnKr1f+mWu2HhuZvV5atgxJZkYhdugBdG4DBmD
pGahsC/uRQeuNrM4mPJyhhi2T+fQJaGkL88pY6WYIN5xW2tCsvJpdbhFO9s8lnpJVp47GWRnYdoI
t+pFseiE9GYLifDPnBcpT6fNPsC+v8+GXIIDmFyWGpXRoO/c5noZrrJYbRYGOvlxDiwvsayJx2BR
7n0R3BuD/U+HGg/Q2eGVgbSgTRpIoKZ/qaV1boE4wjLkt6bdvNtJ67otAR20345ffJB5a95XjO97
0wxTpFSXJlMqkcWsQWPdk+/C+eVkckL3bCDJVH0SLAuqANoxUcskdbVfXCQqHowZ9sFIBzPIU9d2
2uMyMIDxS510UJ4Tsq3893w1tbiHFdBqTIY9wpVeX3wsYuyBtAODmXUgI6OwP1i9AW5Bp+ThU7G6
RI9JAqduJk7tprTQWebimAXMJBldLgOr8kzCKunMz0Fld9dpgBQ3NrItJmz7IAM3bxT1HxchUvbg
vfvNVpGHWL1O+esAeFD4LKDNpPc+FKYMBys9BnSRG5I4I2yDpOdSor5Zf51tTPw1g17QuCXkGLzm
mo8UO3UPGcalyA7u8mrRr6IyQWcX2H66wDn2XjqeeGDO26zFQz7IG93p/WQcyTeP/alTenBTaXjW
QSHdq3U8blyByMbyAZ3tzE8/RWJLzYOc26TQRHvYuvXvZMhknv2rVYIkomkUcamluKLt4mrxLhdT
EFPqGsc5m0ksB511keqjyBghY96+DfjR9bnMTkM1R5q1+KGBDTisFSiJxemu49huB+GsJ68pg7gS
gNP68aPmgEzZNR9ZXsVkJAB9k9XmJc+qLvb7eaXMfrShhSSD596AjhaHsRuuC0PFZB0r8NSbHbUr
kNltAgetlct3YcaL0FB08iEsGne6Lk4RMcT+YCI6HofB3UJrCg6y6PrQCip1rnXmTJleHLa+eFjN
QIW6TWa2GNxTFszIGvpXW1kzUj3q3FYxZTXndTpZNTgHGbzKjRciH4qvRqJPGHhlSnJtrtaaxFhl
Rb+9QI7oH2trfSg2IvZBClZdaAX8x6zm/fVUMi3G9wKq9BDM+jUodlKCzP/qqfFQarp2tFrm1cTx
i8QeU1qcnWXc629rQDlgKx5VzU7kptsYcSj5Bka3/orRYuvte5VrG+MUeSdF6cbFNHDodooLVs8j
rd8MfOCc+zURYpAyxrvdiDO3enrq8+3glJT+Ha0wSJfuhYzLtd0CI/KpBom6U9rA02Q8QnTPUhBS
NPzdTOpizfzOuvLTN62KopaSwi9QiBSN0ly0dphuZXoAo3WQdP0sxdNfu0Vn1UKQX7MJQnswexCb
ZvLsSi+bo9utE9sNfm2dsT41Lyh0r2rdbo3DmI3U/anzOAqYzi7dtK1MblBg9tg1Pn0g65yU8qZQ
CHvepB/9AdUfsndt6AYgafPXEHSAFOyCEtPk6MVWVYVVxlPUYrVzgDfXv02tfslyFZVjqZ0d8Qf/
0Bs1/WOrAU5wriybNiKyd7AQdoZD1Hjpmzk3w7GrFPh+Ft9Ke7Sisc7flTu7QHPc4NJq62Pm0Hq4
bA6Aqy9iVKjW58rR4SomBFaLOB3mFn5+Gzfl+qkM45AHFrSYfJMhmXHmiBN/bNIyGvG5kR6f2LxD
p1EsSxByRZ4oSilfdflUVemNltXvVXevj+O7hg4HonYbaQ/A1laOicBCM2rtZU3LeXuURjseKo9I
1BjMLDOA2Fh7IwXG4DOmYGdisEhsSwTQspLnoMgk8ZCy6E+m/PJJ9SbskKlubnsiOiA3OkFcHFQK
Q9t9SGZdTHuDO1BkR9dLaVo66L/SK84QvV4QVFxYS9I/a67zbjKxjUqmQfFqKCKF+m/dqsdknNf7
TtVluNarw6tX0V64Ng/I7Cci5xrJLSIGnXgxuWT36wbF1HlqeJRO/cIDiSz624VhcbDSxT0VTvs0
CJvtkLOrIpdFCbPztJrOHG2TqE/coeygbeJWV/cF25M0Z2lvV3e+rkaq3zstdR3NSaQMEwVnYxdE
OoEUQPhiAtx580mwDweu/2hGzWiPNB3zrVWj08/Dm6FSHjRcTJ24CbAEhr1aYPcrtlYYULgbjwuB
idE2EtOyoPANcnwbbTd2pP+Vm8F7nWEn8YrgnOLpjEQVDIxzl5Mz5F0U5BDaDfgazWx9TVtwU25j
inKq6Da16pLVv1HXrFtLzjyDGSMovN6UAsbR4jS9dcb+1gnutSHtLqNp/3P6l5Kq9TQQGuQGhF7d
pOhAk6sOvenI89JvedTXl9zXYy/z8TGZpoZ+vxy0YvVgtEmoGlp2nZrp2waCGeafZQvoiSNoiZ3O
eFXOxBKLU+vfuPm/KWgT6U0wX9AlpTg3C09jacEK8ijG/kmXl3b1omF+ViZhthl3q8xOeCEjpU6F
+Y1ec8QRkehrfnD930b9EdvjK/PcrwIiunRf/EpEgNUiD0NRegnGLqxXwLKY1fj4uKxvMzOerRZE
N/tPFdwgT48qtPfxdV82QNqV+4oaJjD/9UOJV+9XAIGiWZ6LAWEEq1exuFHPGLhLxyjQoHFnViwM
DK2M3VD5wwJD7jBzOWrfvVJAQP6xmiWxhQNPR0YbIJ5V32KL4UKqcvpz9k9t+4S4Zf1fGRkQ2kbj
1YSJNPMFVwxiW40Zy6aq5+vv04Ly2Rw/e1dGjQQDu72zfy1pqLF0gY+JEsp49K3HevnyxMwWmnuw
6PZjL/8U/L4aLKIxfem0l0q9OfAapwXToWSo7KHQT+ydcfVY8mNpm4j7rYsN9gExDo7Fw2AZscPF
wwCxsotDQ7IIh0NkYCTLB3Z+s7dC1mXU0qjYhRVL1sosxoZLllELJLhy/faQqVKPbhOfIgCddVij
QtWRxZSyYYeqj/a3lZGUX2xvCEuJBVeYjIshhyxOMqVzZGcB3kMiVQzS46J7NO6H+t3GoiYmB89a
FbeuTPiJYc6DtcciSTIrWnFTT/BakGQR+3TGozf7d99fXF9+bnyrJqtixdB1tb5v1PKnSWk9288c
p0H5uNz2dDGBe0+l321vW/DFwyZweuZbG1b631z9mtn5uko0e5hAM4tzanxNgHXiYHqjRg3HDfQI
zDZsKIfNKCMAURFmpgiuis7/+uqt8Gien/NccRU/lsVvD/lC8NiaYEOU4yUef8sL/pDnDZccENrw
UMnfDvCMPqUO8Mi4g1swUUnavo8UKhT2w9joh3MXrCeTZUud1MKg9iLmHWDNubLAtJUpnI/qebJB
4U2h38D3WvxDjRqjUQOPs0IJIusChCaYn5nMJprO4gjru0VcmqUVzcEXl+u9nVqRK7ZIDd4dALSa
k2LVnVhxRndwXNQ/ljiH+weoRnfr5Sv+6ffWfe/ogVb4PKwsCde2CUcu5sx8CfqXmedKaxFNaC2o
uvXliZlnVLLms+NkKfr3chqiDGu7KJkG0iHyqQwsukGu/EnX46WHefbz6RK0AwtpRq2L9r/qwprq
KtShlAVExkfZH3zCauD6iyeGPmGvIVi4IY6CxORJGrfnquMw0JaoZyvAGID50RhEjxt9efdusUwL
0ZLbKM3vbA3jjChDU7QJkPrE8FEjtwPbJvYHFYtUQJNqI2URH4pK5M9Z947mERgK/uSAzRc55K/s
BCF9518BDn8QLrjn79aQ0RQEoRzu9t8/ADBTpL/07nX/bDjWGpe2iqUY4H+fU+CNSiuiagtCYZOO
wpowMfOZRbLw8K9MahYDyCHrnrHpUJC7MfPeOGcjTTdSsq0lJr02QpaK7XRGF0M+wmidtSY2jDZW
uCranRZJqY8FN2Shw8F3vMjBOihxHwwwtXZVIwX75LMUIjuXRod+mb7taLKS4kXT3kccxviQwsKH
ts2zvVRj3EGdlRoR3H0bk8X36uOKo0iZuDhSjGjLF2dV77JElyq3N+9b9ERrJWL9sexbhAiGLOP7
ONxoSKp2hhvIo4HbFG4jRDowTHpuRPsLp5XIAzR4No6ETALSZgGUnQFmo/HYtjlZdICvLen7KT13
yx2YtelzThF0A3Hbz/1JLkiAucGbbDdfvtde5j64UVkOvYk331SHsvhn/tJggdVAozp+WIeXPLPY
jrt9s2Ir7n0+6xyudt3ddBP8OwZZ+6fNtlOsZlhLSz8Uf7wOp2xEkZ+k3nDXtC7qrIqdbOebuIkv
s9hXENIDKrXVi0cTBZqgN66Mxm+SuOLPk17i4ZUROz4ih1vf5h0s69dN9LEIunOjce3UrzopBxf0
Tl27KCslA8Q7k6kdP2tjbJFvQYOjphMc/jWU3akyjq01nyZv4aJRKNqIKFU8ULXVQ5YIrD3MXqOA
JkEDPpUvxqvD9m9Kum4HJfUMM6qvHq+l/9JjY6/nx8Vm8zmrVHNowtlHz7lk8a7HVmFjlFSxz80j
efeKlPnoTk5kBcHHOLwt8r0TVIBMB0XPSOrMyN55vW1XeHrDAyezx8IqB/6OsNewy50oXT5d2pIM
OE9Np7ZyaFYDkL3vTvMX5OrslHXzpR8+lvyvapMufSlHcdtKPzSNgzX905a/QjCf4APNzbk44Lew
pOt3lYOrAk/t0u/fFQoT9v8ycpvnieHuipt93fZqeExQktE4jSD+eQg5VdsKqLOaYIZSm43w64rh
0On7e9VEOkVOCZDTxzXAuAlw3DL2/zAKHtYU/IatuEn10zwwikSgqsLJr+L9V9OxtfhUMSp9bmcM
5/17Axc9HLpEFFSNGyjz24Ne0hIggvMm4lEPqCh3Qulr3surHHu0pXz9YzgoQU2QnfQRxU0FoZcH
yX6ktJhHJfqzRcXRl9vBLh5brwsHmWxDEKagKxyLCaA5HAauvK5hDZfqkyqtb7fxvVcwiLm2918v
d7pDP7xBE0Su6Labsbo3GcRSOzEIIfbQetwL91PzB/5jqNM+jkwf9gO1RgHIqof9Uem0SFIwd7lI
QOeDjWShvfA4+ekLeKY8CyypwIuQZZfNKG50vYqtXZOsy2/Ztefc+L31/euk4Ck7qIgp5vy7mVVm
2vSwG21EMqefnfVP196YrO3FDc/Nkvjwuxn1YxPoKeCceFT1qbMjY+8Htm+pp7QoPIY5CO8F6JPT
4UDRj1WbghAYpo6JeBqbiPpt+wf8ISXKya6OnUijtAdPqqj67Gej+1yQ8kfRhxEuadRTcLE1bQZg
bWe+Mrk9erBK82x7BfmfcQywB+sw8DE1lRuXDOYb+69dUsBvAUZhjTEQh1DmJ7anTrZx+/OwFCxe
cHibecPKfmCXN7SXeGrvRhrcZntbiFnsL3zKIpy2cEOPWzi1usgZ5FG0rEvgRdsf3LIZeAi918yg
gl7CPw2FRVeqaNjcw5o7YelrJ9PitoTvm/Pslc1XoSPamAoJqn5x3PlvSnAqtAxzjRviSHy4qSwA
EWhzuGjFwRd/ymlK9tM+K265svcP9aAzJcj+Cfk2z5cuOBnaL5kZxCVg/HBfLQMPsr+PBx8OmfLD
KX92KZlaSs11XGlCKIR4fAlDJYLuwmZpgm18FP6T4Rm/kcook/iQnO0+dk2CPN2xH/lhkCIMxFGS
dTV/oZrXmLv6WGzfBapvR1lWlS9iwfP4Ll1yucVtaj/zXyEaTu1NXpxbjqA0RQ/Zaz4u6YWSxOGQ
QF1xKer3C084/4LNfOx/sNTb+oaXg6mgeRZbj5tchnYj4756ajvOBaq7PVRnV8CVEG1BBoUM/qLK
eGmBOvkvS3dgy97+jHYsCy2Q9tHzuNqZEXnPRbUkPw9q4J7xgkqAeMyYDY9yy3G1sC/uBhwwgn0w
xSAr3piCoaXBS2XAjMT0jDsG+4dpPU+qwzN2qnP/lXxLA7nGdd5YQd9M/4zlUPfGwXODoxbIg+kw
03kYmY34Z+TK237Io/0lGTsZC4euAmNNFog732By+M+0X9QG0TP1g7jxzGj/VXkUeDr2Y38/wVw+
X/2WJfqnYygUKzzvbDnJ5l+L/hj400F2f9bmQ5L01BZw2lt13HivGw+O4oKHMTjUfFAU52ZJa79Q
sQIMTnUX2HaRpMRaHX+OCUwke9MlGK+5FLND/qv2SMbdEosISTNR/38v8iYrIOXFNqDlkZZW218I
IjH7e7x/GCXHqtv/ldwJOQ/1zKBXFL/0jZWrf0rtubXUTT2yZMKK9xM0l4zN7b9aA1g63yKQsYR3
MrqwLJkMO27qOXxtBFx5bg9RfM7mU2+ACqFK6qbtXE+0F0xFRr5JmRMK4dNswa4Mio92+fr56Iwm
7zyRqs13Lxu/V9bdBWPK5fhrtrjJWbSJK9k3rht/1QjWeL99FzoXz4CyzpWzTDbH+kiPOcKV7vDs
3I2s2/C+B9qvhd91HR79kbwDdZMzOiEjsZ+/03C1LejRTHsQqE9G87KiAubIi4K5kUivs7cmo/y9
f7+GXR77xU19GKuRyBBfdv/hs4mNi7ykFl/XqmiuBemjgbHdEs0TFTAP+H4OiJ6dnCU9vldzUgLA
FXmC8Bvtt8d+owgxUyJ/i6GPXOodbhMI93xk+b/svb8JldDFhTGmf2Z/X/IxxNjgI7geHCQ9kHC2
FJ88AJ0ZpNdWLfFTvRbRhM1jbYJwmj7w++QnrfKedLCwN8SujlZn7HI1L6nN0eVNwLy722DdWFNv
3zTZuyvTiM2MNyANzk5ZPusFfQ+GFWPi2c/S4UGWxg3POkxHXA10+ZNToPJWh2XQuYMRAIwabb84
VBObv3T/NK9oTqbGO0j8zGc/jPWYG/lBn+vzPFWXVaXHihcajnXimS4LU/A4yfwomTAEPCFtKi/u
BRj6pRM8Z/YrNjSEioJ8L2MMwJPYGUAgayopJvUxF4xQnED7g9/gVqRPhhInX3bx0lYvnq/dbs3E
+mIuPyqDXSmY82tdAxOejjpzyM5hA8UQHIoKwwI2NJKZPXouB9pZbd2b8dvPggcU/G/RG7fpUr6i
Wr4JGVtp87INw6M5jg+IgM+mFTw6gqOdefqhafo4n7a7jbca7+BRt/PD/iZOxKh1FC9SVRFTOJ4l
Q/OOmbkTUgXseT66u4VLb65B+lJX3YvpxK3t4reZLzqh9TwQp95S7J0bkxqL4ypwoBj9qfjOfQV3
MHhMC0aPeOraajpov9eCGd6aEzQvzsj4CeK6j9cYrAJmsy7OSo39v+JiYtnPecillR4oE57V6j7V
2/iKrmrI6ZKyMthlHiUscR1t1kfZNSXvetDMFbM5I0oC9GyO7TUySvR0h772bzyjvnM399To2CLt
i+kEj7WBip7ipJYejSpRzvlRFtmrzw/C7Jdmm1WmixZxC7CAllO4nBPF/EBO4tGTOZMN/1FnbVIw
9K+sgIKf3KDCkKqOPaHzutOfMIh9lCjMGySODn9YVT5Ogf2Xif1paMt7jAxlA2m8M29r9VLvqNx2
pU3TJvfoBv5nic7S8bEub/HXX/RG/nFYB1iz+EtowUNQwc7WNlVEQ1ZeiTUiHRZd7G4TA6Hh1Pj0
A351t1KWmOwNbW3vgBGHNG1MsiXM5up+6GSX1Lb5YJXVHfDdaKInX2easnk1S55X93lyZdhbVxXM
cc1QLNu6U++rOzbunib2oblk7zsy+rnp42j+aqYHc2XAX2+HlJ6GyPkxlTWFcYi0m2genAIcs03Z
nCtjve4HSzb2RyJbiBVPAzVNjdu7hsJLTjvOw3kWkQdk37SRSxwwsv0UW7VKUvPDRyOTWBxz+1mo
K36eKFh9Kr+y+fb3Dox5KSal1uNOsuZor4Rr501rDIre/KnOqC3sDWfzGu/f0cGBPHvf3nSzdygC
e9Kwm6jUxHT/fUvRlxf71alZFOvhPxlcFmVT/i6AYtPTQucxOMdh+56rF2LWSX+rk9kSbK83XHmW
zrJvF0FtOg4mcIiaLoj8ULnm14LNCKPRXKc+Zev2gzC+YUUwk8l2yYYJ0Yvn5lHt0AW15kls9rmu
gizOtIAJEdqcnWERap+mdUpYtfPHEHc4dUJzfbSIyWwZu0w4B6elilNTstv8loE6K1eDWFZA2y37
nKVAyPPljN52DPLllQT9sRpe/CWPBrtIxrw8GdaKQ14eZqt4chp5P1vDKXAkyO5P18HIBaXd8N1n
xyJOauX+Udve7CE/OXZ/p5vwYKgcs/lop1RpVso0nocTv/7IV2CVRTI2774/nDe9Oeea/VAF03Vf
mZkCuOBl+Uu0J6z84YFZ9LfPShBQvQejDu6Wabu1fKZS/bEo+Zyv3Dk+hbR1trQpqrj5U4ZvB6u6
73p7PpqWG8R28K9p34RXXAMtvbaSGf/Swi5IGWYuFkLX8FazHrW03qj5IsMx2CDJVqD5oV7ee9w5
qHk13hbsW7ifSk1dl3U4GRIZCNqzzeCTI4SWUCaDiiqQzxOUKT5BSGGG4twYX0TRJWvzarI1eHLM
c2ZrpzL7FkXLJg4cB717lb1jJqtuXnoxnBtI1QjqOkt6Ax87l3BP4yYemzY9GxurzYEjPiy2+Wfr
n+2CvigorSff1N7tkoUD23Lr3ZHvf8v4zJnNZ2MSLJ3tu8nbHhgaAtZnEUr6rZinrewVt9vy1DEH
tDFw/4+j81huHNmC6BchArYAbEkC9FYSJfUGITOC976+/h28iJmYRfeo1RSJqps386Sq2LdyUFeD
+S9XfnRDYmTCnD99sEl1VbotMD4WpNqr5P9tHivFPHfVC1Hd22J0c3XGfItVrMP+G51TqTt6Jf76
lpZrnV0oD8K+82u8gv/vswaH0o+4Z9NDisPQSVNfU7F+a+oXCcilCW9G/C5pbTFNRA9ImrAoNhoT
SYLYUZ6hkbvUILAdQywMlo5nT1TtU9iLFaJbO7diTlAcvsGCrXubNRdLk2Jkr8YyLxntf7JUfK2e
uNRiuuGh1XH1suVb0vsUmvBOwIMGmewcEjlvCVYLBVKUOEO8xFLVdEcNM58YuQdOtOAWqDFuvBLy
rU656WJpyhOHMLdLKHPmgrwrRpJ43da2PJm9WhRSBtqwLbtwkxmehZGz4aFi1CR0/8yc+1xIos/K
9hjyPb0yN8sXdEW0bPHJ+esc6Qw8qz5Vjur4aVREQUb1IkINBY8Qa6+saTjdEzs5Yh0lscGrWJf3
PlB3aj3xFGn8spInmSd+wANnlNWaJMUuHK+1NnpNaqz7nhSCYW/4yohgdAq70xexwn2RWeuuw7I4
hM0xaM13a4oPCnePzMYvILaBy8kUZ/AQECQkFrgysj/ZI/MI9Gpr+ulgE+ixeZOtJM08HIoo8cfU
PVtlftOMiLQqxJSZymem47Bt3xwxvgVu5E2NfY6i/h5n8kVvyttc6K8ilxeFEyMazBO5rkuli2tK
jNQQ4VdTKD9RTvmR6myxcNWkNEu43jFDuuhTTnUimFN1ELgy0Hn3csS2PUAzIwIfxvdmjDBivMhO
3OkMOg/jgPMsXJPx9ONi8sYo3PmW22xJYnopdh7p9s9ECf8SeiYk2QAMycflnWGZX3rYbDJkpZr/
4gZfK+oqHcu9Zdi7jh/R8gZZjm1jWMSaYqPbWIeL8ORM6smeh59mjt7ysEJAsY01C6jT0Kt0XM6H
qY5fJeXEa7ukZjkVdLjyvJN4pamX8WoKEgKHbQurzvdxdtmG0xJQ4QBpIu2F++1HOHRf8DGZZNrw
QYOUFwbtvKadGulHkSFR2NKb54PlstCr6nWmyiNm2CfGUN5fSksjQqVhgZ3ITbXvYtbJhOIsYEki
7mwJ4mk7s/gqljb7qd9yid1YSncBEuDPjkkfLQ/5pLgu76wq0U9JN19ykbCGjXaTrW3SOrv3Y7Wf
bMZ5xXxR2pD8enmwe0pP1Ok+TNlLHVDd69b7to3oDK5XjcU0xATMYPHqlFQHx7B2K0YlzaKtAvW6
gEpj6GhOyaZ1l2UVPqSirVSE+m896lRUj/Atg4qUyZItBh0LIZAP1Lblx7Oc+IVyTHpSF1n63huE
MQZxmgxPickIDyoOi2GrjNNRZaKNUuNoT3+hLH7RrPySn5eZTG8yjHxwHSfbSH8RDfNZnihfvywf
P31m2xTM3TVSsNKk1s4ZzXtE3xIe8EtahvvYpSwEzTTTL1Wp4rtu391ZvIepRs9W7HGMP5VKvPM1
V0kb52vc7ltThYYwTTsjta8k+44tEH0+o2aDi8DNGKhKpf9LtWxfTiPBzD14Ji7RxqNQB3oMksNS
1Lx8z4nyastwl7JJ1Z+o2Xuj58Ep7daLPsQYI/Tl+BsAHzJHNgR5XHcHvWYjx495njcTFmozozHB
tg+uNE+EJ09QsE+h2MzqfMAksBOTfm7c7qAaCdSEeeMXbuANnMyE5vGTRaeoUGm4qvZGVDyzcjhx
Y+WpPW7aXpnYywYnmyVJzL4ECswxm6kaYEVK1+pqgFqitHulxKzTqEQV3rj8TwzOWm38N2Y5PIFA
O7k2LVXRSKGgQvrEWNuR/uPWVDtIvb+0C9OkNN/HUf5/FeY25QEWxwWgw74V7t5NHnPg7nNsvFIY
h47bUhR8l1p2M0333pWzl1ea1/c2rhDsLmwWLJPGFwf/mRp5WVdclCre563FuzR/6riG8+glFzFP
GPVA9vnBLuGAwrSd0/+MNnh19eImaf5J9Oag2NNBBB1lbyb2b/chonhJwYXbYKJ+o/QrxXyUYfzI
LPM01dol1FRIBiNPEeWcjelLys+iCx0sjC9qJTaN5Zz1fr427qLV5Rxn2T7MKaVS8ijx5rbmwk6v
RthEAU+x9r6AhdKoMYg14CImcX0NDbpnusLeMLvfE5EcRZMdLXIns+i+pGKf6vQZE1khNHq1W/Fb
jp/9VH7NHXbeNvwgMXesZ3GxLOdZl8Y3kffvLP9Q+3LvZMElq+RbPqavK9liILNszLKFbf9juB4y
Krvj6K+YiS3kWMGpQXH/lDj8VKdmT/B0O7Q95/DEik13CZCYxzSlsyLGwimP8XJqdOoPl/d7k/W3
QLNfjDh/TxmkyHrtYCbh6HJoB3QfYL7olxuyvU1Xutv/zHRMLPZKiXMjBRI1ymNeOneXQF9SOhg2
5EK4WbbO9phzhOhU17ifhCRw3Kde148ny+IKNq4o7MQmO3F+N4mLyhAhzWQkFRaq1VpSeU6sluIE
zEMzEufaMNkVzaxWRVGy8m40zcuM8C/DgSwGt2ZD6iDc4ERfT5rBniGEYmSf1FC7Job0ukah57u5
JwUlddGnEyqvI05/g4YjO4/2wxSf65kGYrzT4HaQr9uEvcaYXjBPrvJM/pcKlcq8Ge9EWxVkNHaE
7ijSq/P3rolfWQNJe8I/MpMtSxAJeEysbR2fx7K/I25+MSMyEhz4yVAc3Krmr4J0bARVgOdkvhXK
Rkrnwv/6mhX6LtTql15J2Dt0LYsv+6xl/R3zJw3TZfNaaPa5GI2/OTrMZGf1wNU2MAL+zQYPhArd
0Wimy2i6D2wGn1ZG8NmsH3bPuK6E4pA78aEQ3cnOmqtKQgZ38Us2Wd9Zd5kSnr9ue551+9al1M9Y
brtJXevP0rG0YeJc2+Qhwsj8KmLTo9ls72j2O8nLZp2Y5mdbpHdDZM/ZwJw4lYwkYyv+Jo4SNbN1
j+//UXfZh83qjIzQaR7EMxLjISwV0rLpveQpXdfgtILqTKJwA8XkomrhrevbP4oy/1Pi+kiZjddP
8TfRcUq9EN1WS+lQGTfrgWBIGj3VqG1OZh+fyqT9NIEG+VaU3+dhZFUcziue9Lw04Xzkof0S5eTP
WkJ/XZ//kcT9sa1/DT7sVvBpKFET2H5A4MlYHjf6duQtU2X6bk7xk8zFxzjx5pjF12jhWZgzjFB8
jsvO/dBUnIfcJixz3oMZ5BEoxGvv6KfWbH/CEbRUXi6PZrIe0hloKDDKr+Vn3EY7URW7oj4A9SCC
1m7mUNlGZrargvqEH/oadOGH3hSffY7OoRqP3Ir/04rgxhZyHZPVJq4cmqFXXCeaewRUo0Fu6fzB
/RrSb9xJi460kPgBIJR5crady2dPC61dKUBuVbLg7TT7dqp/UDSLgswsr7HEQSG8Vc4yIn+ls/Ug
s4lKzuY304E62rLJN4LvNajfNC1+qLj8S07athF/ia3/Kwr9PoE8sLEAyXK4ms2MsyTGAIAhcAMF
o17nZfHXSPrzDHfyR2LMbJTeFJAeq164T4fbIY5ynktu8w4a7UrZTxUEUDUQbpLyj2rNVdw3b2Nv
vaalfbeqBR6AuVjPGJWwjX1NCVWBBsFhrL27YIQIgsF/nu1DSqV8IKJdY3UHzs5rqidfSOjo3YJG
LXG1eAwUhrZPG/dL0qe5NsuHlalYwHXoBIHzlbAs1FzroObtM7XGZ2tFn72qAF26KnpwDmTOvNs9
J5GdXS5fcaLcjboiVEpgYnDNu5x3bL6A7Z1L+lcdTAwpNoSsb3zAkO+YoO5R/6ZohAQd6ylnzMJl
iGM1dg5JNB4bp96VLc5BNdqqMrvWkbqfjpKZtaBIJzC1p4uOXIXilnUTVX7l8F2r02ujHGU9HtXh
Ux0HqJtR9hGhPbFcnXAcs5Z1CbWZQtl1mJL7Odt3Q7gy3fm/MRivLAHfcX4f52o+s3P1IAYw/3Zw
jKZ+lQfFCbV5s4r1ZUB8SmndsmLadHSQ6zUfSZw9/exczVCcGvkwSufNLsoXMlJ4VrLuv1aAWWZH
bPb6SQ3mE5SRsx5a/kiOuiq0/Wx/5aV6CDIaCux0RxsG6wTaR3tghiaWl+4rzDsfTXaDjISpqfaU
XO5q1LiwGT1jdndqUvqWdYRLxrQwXSpKbMHJwFTrdjLA2NU63kyBONyDrT2djHp4VQf7EEEDM2VD
DHq4YPa76yFv1tz2SuiKZYR8FlOMF2LzSWS7L8lZaDGoG3XeaHfyk36XZuehQi0sQvvNCCN+YO7O
NPpt6XIiB22GNM9D2taHVbin/I5SvT2b+L2WECxRypc66y9R1bGSa7e6qWwi1fEDtT+nanOP7fYa
uy78sR5OauIVT2Fa7a2NH/bgXnOEQ8xKbp5ve50XbrZeo8G9GxB92oWykI/XtGmenLV8fM/RI9CN
YxwoZ2HUvEeKFx6W21RGJ4g7n1JxPSG5JoXRZ9H8WixY61H31FbFXSeIgaH3E38SUfY91+k2idmO
EKXAsBIh6TVsx9vASPlJDFccnruJPj/GxNPayMf76I4H1+aWEqmsNBx/otYxEDiPesRt/AwdNs8s
np+VUZ4TZXrw9MFZ6r7xKq30LjnbfXsJpfvaDQaKV3nUkoNZ1Wc88PjcGjIS0SVz1ooxYZWo8DhS
rIVF5rvO0uNgTvtQyGsho7O8ayZRKTytw1yehwxxsxx/6vhfW1hsxf9TAi8Gl7iCneOuZMEHvFJ2
monXoY7Jo8AwZEJA4PELzThZ2bsrcBsyR7MyyLezEm9GEuuwYL5jYaXbrEC16EkP+fSUM8k52Wud
0idEtIXMMSvniZezDModCShezW00ph6w0i17eT9Q5NZOU4zn0wYcymYW/VbT7mQpNoXTrk0FGnSE
fD0kXk3coaekjxpAnL+stWB8nLLaPrVDh37I/ThokYlk30Y+/MpLIkrgl06hr83ZWfPwtbYZ6xUQ
BhunKn2jSjDEoJjuahIaszb9F5L83gx4p82IS2du7rSpeRHOtCzTfKIOu7DnKu1eI8ufJ+NoJs65
JqHott0FjuK2J5UrdDxO+OvLimx2VGMcan+6Ci1icD2Du4tTcKpOHUaf9ewYN7UxfhNIUvH4yinR
rERVYdo2PyvR4ZmSHWcAXq/RS63+1CTWXQUQqrG/zOzh0IvuSGmNVY5+o2jHYTJxznD5GlKwTGju
y6/Dg9iV4XRknbCnvBnDkJcP/JoyRWc+skZBvGrCrKFkoZ+1JFegwXyXMdvNrMLR27HjIp76UVjl
97AknDJfc4N1QcgsckEyOqN1wbR4szoBPiSihQnTPbDMNGVDEn3MVT2vByO+gnnemPFis1ReOOGF
P2DoJx42KvqubXVf8NGGKLARnH5F378K+pNFfcGtehKZxb/uxSg0Aq5NR6MbaEoIvTR7k5RC/kBQ
R5vETGBZ80FW+lvqJtyoyL+x7+ABZn7Hyr9pEC5TOwW9Ds8gyhqXAufYXheqGu0B5PK1p5qOrTVo
tk3Mafgw+uq0qD2ECiJC5pQhttVtlMp1KuaHEZRYv/QzeZutBcMnpVwoC7YFW0Bj0vy6NY+h2VzE
0EOjImdNAiDyDbV/M1K9XQOZPGvQkLezNl75VtaMfjuZya2Zp0iW8ma7yWkcjF3W5JdqAaIlOFyL
b/a422XOdjTCk4ZxmoYt0cTtWEdbiBPnLmj9uXlaAFcCvkeR0bws2otFndGYz9eY39awHzR45ZqY
QpfQpMWW/Bj3rAmhJR+/1ab5wF8q6Kie9oZTvRA15Z2fxxs/mdI9bcvrsZXMV0AFAmyPhUlmcg5v
JNcRMf+GrCHCXcY3nhpnrs4B3jnrmBvWvqvsveisM5hna77aaXONI9qMJSvKtrNhuRKKIlBShJov
0wNRzTFT8LHpXg5LdWyNgzsUOz3PtqZT+8xYzIu/DWeZMY47W5i7KEu3kaNtk1zhvRXjdxUMG9Oa
tclB1dETsKqwgjhTfbrVQqoGq/mVFNo2cP4TUCX5jPuK1A9j6vxM0HHsPr7o5JR613qb8a9KJ4Bc
b3Nlym9ZEz/ijic8BijTJhS4OI+CAh2fZ/vejKerwe5Og4jV9TdCsltJlRzf73hLBwCv8fTZV+VN
MRH8zMUjemkkPrsWyTFi+IMYoqGIZ1vAEfy5CQJhZFrfJp6Aqbg6WXft3mUD69uiAjUR063SQ/Ci
ENUoS7fycl2SHQ9OcfNvAS5qofAgn3thOu6TNvDMQD3S2ftodrrbvqsGB0FU0l7eAzgF64odEcWE
/CDDslt/UcqBOJ2wwgtV/COdio8rGosPSp9xb09OQJCqOM9kn7Fsu4QDWT2o7Yvdtf9AYX33RfIk
8nZKp/ScJDR7h2j7JIAq1puVcnS44yVNSVwt4kLTbeqhXafh0tTIxr7EIs6yrUJsxGszwrxDWXR1
nyiC02yCHCs2P/lWV70S6xAwN9QjckdXyLGbZMggZYmdgZMRRDNadfUa4WmucEvlkqNfzfZgztYc
K0zaALtCr4u6vUWHsmJnuxl9WWTJgTZX8wKM1VOb6mRxtlXDrzp1a0Mddm4M2BX7yICr0c7R4rhW
RlDoymkDGsLT2lumf1fhEzwzCj1HojCILkKX7EkWdPnijtiQHOQujAuQPUmaZZSp8NITJmMrS0Ux
l8CY35wJLkhZiOwQLlnRC6GU9qiZTNrjaSxIpTYkiIR+KPvPLmiOWOJ6LuShHfRgN6J+L1zaHGiu
azzL7p4kgGMfocPUZp61tMhk+afeni3wmF10F324rtyPzqLOjmCEg2N9qSCrR9efCcZTQkcwzNgg
ekRL1sN3RLjrTG701R0CPh5OKLhmcgDHAUowuyCsHpuIRbdrvDfjF1DsFazGfRVEF6MBs6Vn6lYr
GRJMJiK2dMA2zaD3AtrD1i4cNtMQazMiktDgl9xYpqHiWIbDVYcEI5zvAc+8EOCTVSy3CEjWYlgd
v9gSbke4JWKYL1lps/rWDdYGqzH5l/bbHr+GIyk5BhgpKZKNnM5v58azHWqZh3cjirZ2H36tpkNW
RKuZmI/7n6lfjE5wJpyEBWsSwJeb0lhKn9g0835nTVh9tX22SXSGuOZlbtgzqh9A+QoDegp4xBTv
CDQwtd9EvlJ1HmUsV+zR2y4ZHMKnhNIgkryKJONyX+MeVEv27qNuAn9k7+h6prasq1B8EwRP9PXQ
xDXenwzTeI8zjWP8MA7zqaqrm+wH5vQGSUpi+6KtfKXOya3K+hCUdnaJ+j7zMpP8W2afCFtsxEQw
qlfwT1u1uVOivZw0Lyl6wkuUmWFWRrz3O/VfoRdYlQCvr4mlnmM53PrJLLaw8zn1WfVJi7SCmKbW
q5wRa54kIKEEn7n105W/U+Z4qqvsRrXeLhW9TY/Du0KGbS8s7f5RXqvyf6uhvNux/ZYKntBTxThI
fvagSqoSXKBvG1tNDpVOeVTlblOgs/C7QYXrofMlOx1bfqSlHIn6StOdF92W9xpvvIIDC7PdwEyB
PjY6us9D0y9r/exW0XMxvxgWIUV2DzqRJ0hckeLc9ARBOXEmAgQiQqJMyfkpbOyL5qnyd6upo1hZ
acAzEZIGdYAsMg5afMmUP1LBn06dP+IWjRq9/73HJdHp7amnQ5HPJFXRCCZjor2Vr2Nw6KxDiLhk
FYcGpJndHIfFS8GaeJRejv1c4T0JYhKla8JuaaU9aVOER4XUtZm3uzZK/qIBdnYbSWUNkGtY1+qz
hrpOWetRWTx7AH9GOnbDp6hDnNltv2tScWztnzzEcA8cIo/ZZPDkmVXg7jBy+pzbXLCO+OT7lcmV
zPhugjuSOd7/bMBATxdkzxUZ3v5tBhfVqZ9hygelTqaVch/K39RienS5BybFfqiZmkCkd9K3gS5F
bFxHFtoE1dK30vqMqXVTKpwkuFYHdltPQ5+urq5di47zutVQuCoWb2t3gaEMUGEKrXz7wWEdQi8d
wo+Yp6WrjrvMr8v0Id1NSBZKsfhtbwXuSp7ITg/+fMbiXCNRmtxE9ei3hH6sFT9iuDj5PR1Idv6S
U6YO+ZNuDctka3XulLdga2I9jLp76DIwvoLEGCuSBOh0WcUWkiHrlfckm+1+b/XiEGGwX3X6MSFH
IDVgRZgOTRaeoxmAD+kvnTsf9IiHOGyewJHbtuo+EiQdL+7TDytv/tTwZjtjsRaJxbYXNz7QccBb
69o0Dk3GCp0RZhHiA1INAzW4pMvm+UMhWaqRn21DSpJZ/9sOcn3MCzw22Yuixse6JB0XBx+OHf5X
WLXl82g9wOw+9rY4jI37VgZxhhEbpC/3UK17ONqvUNG//LwOMMgbANH0q6qTH4vBwnMfyYkUlVNG
LW1A0AWGFUaWWKxUja6SEJ91l/0qLENSbkRO/LTw2yQ5yIMaS2Mc28eBkQswmwa8X0ntVWo077P8
iWJnk5jLBOkgDcgetAfWaUcluWl3jXH4kgUuZkgdp3oxZlLpsVGjG5wctcOgyGpeg/4e2i37yij5
KRz1P02q/xI32wMJiLxiRHuopnPgx6X5h9CB9MS4YbjBw8hZ39VZVW8KXOFhU2zN0jrnC2YcMiBh
5mwetwGTecP33TTfhqF5M1uPgkVdsbKw2eMa4UHwh+tis5ApLf2uMc1plbe4uzg5n4wbLVEl8J9C
Ac49UxVnrZP0K4XaWd6c/lk6C4wFuRiMpT/oN954RhDgpepyXB1NuG3HT3JWVrGVNamPAcwyrWQD
7GemGa7Gb2n+LUb+4SYxxWRvaCSHM4J1V2vICXVYq+SJrX6ZE20CVaSXPe+vdx0ofXUUNl4GAtFV
dpekYpPxN+8/i3wv7yLlecJyyFl1I4PLiaFi1TofVfyVkfhQ72YXA0ajXx58CpgggtneEvY2upWu
H3FvZwhZP139sSSqzJBBpDNouH8fp2If6sNbn7RfZh7+AN/xRzs9ToQhzzLfmsOODC5dBhZt8P2f
Ot6HYj/jMs3tk8IOMv102u2DiDkLdm6SjVf5HTYEt5XY2kHAcXUB1wNAryhWpbXJhg+7x9YNS59E
RhK3TJj9Y5o5ux6mcldLeKcPy9h3/6eUsiby2duRj0f+EJuRrW7Qbaz+L0epxHcA1SW36PnV/smI
qSR+GVjliQRGTK5ebTbtCt4WiXqoW78Tg1camOtsaP3M0TyJGFtE6NxKcKSJyKuqbWu8xPLQDxsz
OQ4pDkwiSmZhAps6hgOzuXFmPx0jAB45DtbGQdg7SZbmyL04HDH+cMR351n9mAFk1QnWfHIj+R+m
9pU0Yvqra0iI70YiHzHX5Da5WPYFonAbsSYqjqw1F+otZjITIfviZ9a5SHYOkO10X0bbGS9yuRqh
hUc+ydkJEZwKnrfwN3mE5/S+hB8IZCUNgtzWcjdB20PLCjlMwN4TGEWvdDrz6nTc3tbrRryrzj/b
OKjBNamJ0xJe2EiA1XoK7iAHuYuBabS9CZlsQSSdbcJJApyHnUQ3kKb86bQhBOOmrE+CRyHHRqXR
YaOu4Zqv4xoqb/WSjbe6xqx7TNSXufxLEJzqL7VmrixAx1/6cjuWv9TZVKq1ytzl7OGGgLk8Td5N
nE6quiM3OuLWUIyTwnmdGsQ4u8PgfiX5v2FJQpnzNuTrSQyAlXZxg7MVb8iIM/tcYi5xo7xLh1SD
toV8avFNvlbGU8129nBJ+n1f/WXd2VV/nOhQtS+TPCnuvq4ukDVXCQYGaT6i7K0Qz9a5Ge2Lahyx
Pl1r9RoWL0rypZh/Di7Y+jqSWqptH3v0R8udMOh+mvJfqh46TkWd/W04fU/qTx0R7eat9U+vf10C
aANwye61wNLieGLcS3HO3H8uKyc1+zY0RKme8OueMQGz+mkxliP/rirnEXbfYfM71J+Ut20s55co
H1L5wm8jd3Gy+Y3GRII1v4vgXchPRzsv36KG8cLw+5EP2q/xTsrYUU5ipprI90OLaPC2znZ6dHfC
My9PbnwWE5zQG99qiQjV30ZilprYtd1jUr6j9qCL14nSNhsLJoEOHugdx/qjrH/G7MpYqs0X1/7m
NOvSN0I6a4VVL1kCs/ob0WfwE7juNW7n1cjxzQp57n5Kio80HqSzzSUPW7kbfNXS8CecKPIUmX9d
+PQB0g351tiacBoSbgijungy4OeUB4IZQ/U6la+wzljl/oZdhmk/XfXmK69e0F8HjdwAh8MgEHjO
NREYDARBtnPFWdt1/KKCnIOCjRfRWROONnH9Y1ddR+lXXbPcY+ah7GNVEleUSyiAi3Bjcq+Mym0/
3JuJQcRFukvXvfHT4CZvv01SkoIpN/toYQHH95ZM7Ox+hPalr9+q5DWc9hrpa34qk/llKx86Fvca
NyD+f79AT84xSTrhTvZ0vZgNrAuY2EUHK68FOWOzTzulLi6ThzV8TBggGMiQTIgLKM+Q62idUyXL
Dp0XfyBvXEw1Rj8GC26GwTTtu8KHBLAyneGv4tgs0e9a96aq3w6kp1rCyHSI1SKNkyIfnzkZrRiF
0uix3Q7Gup4cEjv43wua3RMYXkSWzADLLmC/Aj963P6VAb8M26qpdqZzwoGbqCfAD0CtUTBjqiem
wMvZSPUMCvNkr7Kx3eL43ugyxsFf7YAQ+yqxlES7qDMrEeI4NiUBX514jkQbJePHJCriougb8EU3
mflgr7PWTM+dLzwa9rEEl8WKbuTuFpEOIkrFA0WSBoY6Xo4s93XAx9gKFUGtxF9cHJbsR/Pr1Cej
ZDLkrzahBOBKsMLPGmwi71qFWJIqvWbgucUNS+ag56+N/Rf9Drr2LutPd7iMvKyJfiNSJNfcDe6p
yYgof0ysrvY4fMv+qGTlBqfZJUJV0iw8BBHrZaZmi1e0SyfcE5ekQkKLKAAjG96AKUvDrekmh4Rh
I4wLP1Wa/QyNCgbBxrKjdeU0XuK+Yc9aA5aNdCp83pQZLj1LDps7bLr0KE3E1gxzpY3vUNE2UZYd
NNSiBDuxXdF7EJyozPaDpmGSgZwN9+uSB+EaxrXnCKblCXtnuJY4e13C2LPUN1V5UvU3KV5EvSxF
QzqRNK7wsAYTnBIkjUbr2Fe/wmE3zPNuVAzEIeJANZlJLBhGTlgMT0UxYtLXdIDvnx131LQl99XE
9JUy6RG30yoADxy9Kt4w1yS+xx+ggV0abcHD0fRmm3iaiM5FqmK+lVd+jf6dad8I6APNyJVg3rHW
IoileTawRmKnEBE/qA0kUBL6KTEcNUfsF7AKkkPJ8Ql60uFpNBHgArIeZPZ6cnDE2rVnt/dZ1/A7
6Vs7bL8Lo14DWTkkCVNvAZwgZUKMYLFGZNmktRnn2B/iEaVh9i1sTHY7rJc2F0Qwgna42bsIpdZT
lc5XaQKaaV6ozXoXVH/DgNZIflKFKs0gphm/7MXWEgUI7JufasNxKsj3CXaAPWmkwGXBwsq6XLbj
CKi6uQ1M5xZWT6UxSFISWrRJVCqON8E0xfLhPASEj+XrGYwBaZ9BVELgUpkMbTg3DlSB9lWPWdIM
587atdObqG7GFG1aJiBDZl7aaV48x15br43Z2hgc2rIlPa+9u8xwS4oAbJdamfeGTpq4+Rg0eprS
7wjLLXo8dJl0LYnYueT5Sxi3LtbYXh6qNPL4vvXgpXaCdQ1kLAzXTtPvsen7OGNvLindqUFUNFLm
zdqPMnYZ3BdveoYFLB82ZcW1Vn71yrOzY1YhBCAxmyKVMO/UK8A2KzW9ATzjmCW6Oqk+Ycou4mlA
40sCi3XcNPn80gaEz7kbwVA/Ddq0DcrAq61kT5k3lieLKTb0K+nsjJmONDCd4/zlTA4edVZgX+GM
jey89Exq4BE1buatnb7JLjv0/0VIxyM8HSt/nYeTSfTOsh8O8KjGeSy+OANMwUxwSK3+I7WwwWXK
Z1elJSFfOxV3yM2kvCnZ1ap29B5qUC+INSucIZ4kNl4iGVrqBOEJbGmG4Y8QBVSglQ4FZPkqQB3S
GCdXbq6qKN0PI78lmRRunnx60ebj+t/I5Bb1pPnYySvti5td5/bZiH1tvghc2ya4mvZuiiMhI5Ef
Y8Bosuax6ppIwJXnm+Jlrr6ajmejrWxaDjNFMHzgXB0aDyVz0B7QPzh1dL+Yn7nzgauaq/s1WDKP
PaVeXGEb+prK/Gv5T5J8pvqxy89Vd3SGz7FknEJ9MBGn9dRagO6bOqEnxYJnvEzw8Sp8hHD08kbb
Wt180pxHLj5z486KAFQPXBFWhTJZYCj4xYlEUinH81E90wG03qLl/RvrD2PQYXP+j6TzWm4cWbbo
FyEC3rySIOhJ0ci+IEgZeO/x9bOqJ+JO3Jk+LYmCqcrK3HttkjSmt84ETZtQmrbSMkJ9RSMbBWBA
HhrKLJs9VqA+9ACYB43AjP/v3HwnRsRE1EGLcArsVQ3qDrrqmiiu5KsaH411SBHR28oHn8ycRQfv
lpQYXXqoNtj+IEKES/IxPaLzYv+p2Oqi6ug/QFK2y70kneXsJmm8OA0/p5hcuYbWPgsvDwQ0cDEa
JGLxPNFYCcaFXT9TpDdN/+i0T1Rb+5KCQ+/POeTJ0jzrzY+oKys6G5lurMIGw6C/ZU+92gAMhAY5
CIxVEWOF525MiPec9iUcvnhQuM2l9lC7e4iMTQWiH6f+ouy/k+zqlLeA+qTFnzBEL6a0DTH6DiA9
laYBn4SFH5RI12zJ3SFXhBjBPqLhRvuWhtkt4A80+Z1nT/xxGA5gjhAghrc+tXA/cPq3L7NYUvpV
pFZA1hiEn1XzxdHXRAFBRwbxqszj0q93heJ1IPzoIKCt3NBzdZobkmNjPCBU59wgh5eyQ5buaeY1
Js5MPln2VlfTM8A6Mi0tTsG6M+JislgzVkX/eVVk7ZiOB9m56hUpNs80fZ/0l5iFpuUpaQfUKSle
ENa/hN8sX4Fyc6O5ZIWjJo1NsDCsloi6Zz99xOCnhk2VBS+MWgEGL6zEx1j142Rw4MK9gWnG4Vtk
9Hwy+yVj4SmRomZmx7kucIfjyNynoE2a4PXjzMHhiTOmWaTcDOD3+K4UAkN1zfL80HRnxk56wMz7
ViO7EzPAjv7AzG82JxaOX4VaT1/ZyfSDk+oG65bJP7OjjiNQRQ9mXFsiJyj5rs1HhclYT2lTs+wQ
a1in5TIqaTv5SOE06zesc9QEOKoTg/n5OQOr459qlXYZI2qxz6C15yiusmP85CSSTxSeMp8/wgUI
1Yh1kO2RNofjrM3mTSYQKArYZEvstBNA/CrCbQbAgldCVUvXmMhiW6i0WYxWtIH5vJG/LBIZLVAL
A9unu0ISovoZQcCXcbpLCptqKDHfFo0XWnVUPjPZCcZBjS5ih4hJDprwstVwewwdiA02AxvpvOhV
YoEThecOrhmVIG4RzvXgsrB/85ayxNfmuaVtr1f7qhfG7+9CpYfKBapkdelTUbQVAgf2W/E35gfR
O8u2+/Br+Hu4DApOwjTozxNv70ilHiavqMOZ81WFvoxkddeDX61joaf4Ixym4jlJ62o9S5uCe+TP
8S3LFACxlNPZL/+HXl1WlDMyc8cVj49d/XX1X6DfS/+VFrcjszwUP5G68WYEjPEfQrFC/UwTUkhY
vutv/tsmmkH9VGRoL0QlzQ8mHAhj39TGi6KLhCg92BbKh0UjOmIB5w9qZ8OXJeTyNSsCJeb4EE1f
qvKJT2eKb6X0VednwwIM+ypp5J8kt2y6NtjNJNGX3PIVA6toSldjyFYTSqYsgH8eGpyrDnwWvvVE
UcRn62h0jjSQ5+CHCLyFhS+e71TbZ2eyDxnEG3prtfpskJcqwNjTGOil8h5wZYfmYEUUwfoqhLpE
dV3JYirXIeiFCoJxAQ+szOGw5qd5GRCgbqTFMWsbTXuFbUO5+E2slGZLdJ1XDVDVYp3ou27kHkL/
MbnhAsAjrqqhPCf9rkcMFdn5oCguZ/ORqXuDX5mpKoCQMDyJK8oAYkMoi0ugs6ArUev11luW/A3w
kyIVPUJV036i8y592TnfBfMVyC9xASfRow87jAHOQtTdVEq4oLADT6zu49qNCNMVdxNdREH1j7OZ
Ur5ZQft3udYN3VB6nX2A584C3q1dG34KKMyUZB3yh1wdMoXewk7bi+exRZXSKsxk+EGFdtGH1+oq
iKR9cAq6Kz+CzydqVa6e2kZs/vlGN6qVOmInbx6a0dJSC2i5mTzt+LyabwV7vRzSRyL8B70vT+Rb
g+0ZKRYcigQwjGzJC5JcJtSK2tZ28k1TUySjUlER4PSc+Bk3gC/h0kvADjNaQ04K28YDymFlX07S
uDkDzFGY0NkhVZqdA4/GFNy9ov/urav4L7FPU1PQVcM8ru91KkjtYvtvQbibtUeODTGYH8KZTEaZ
nLjVCMSSbtdMHWprN5hMotixrIs/fhR49XX5t0QJ3k304eTexUbAabvn19x4UbzGl+UMX7P/AdnX
EfUNu4ZtsnDBMNrS80t0jIvfKicIrJWx/qXRQ7cGBGH2r9T/OHRaSkodINILsczyOCXDk7vDy8lr
m0YrT5TqsAe3BalwmnMHuyM34Bkw/Yx3rdvzzKndp9bsfUTQ94kA4xCr3Vi1KzMyiV3Zm0hunGbb
WHviYBdo91xR89eHAIqWpnNCZZ0qDckzWQjp9S7+zdCGK977xmfpNllfR8+etFVsQGZaU+UinqHR
9SdKE714qqKuqs8FZw+xhMfMZLDT/itAJmp2MA7cklo8F6jJ9I6ll8dWCrBj88bkhuS6Icdb8B42
kq+hWd5TEp/E9bAIObA/0u5j9hJ522iXcr4JSx9i5xzmAOKxXkwsmDF/E/0kFzdDPzto8+OUA4p7
D81zkfxETCF8Cx6in7mZ/vmlFn+iHpcEz6LvgXo+8YcvUu1tsD5aE70qs3h6kHy3osRlkgOc4QCO
7gOB3MY3mYhjUIibmuW8XoJbexT+W8kgpZ94dZOfdn4rMsY39R9mPc4IpyL4c1RSD87GwF3hLwYc
X8oURS0ExKcZXpzkNRCneJBMWrDuqr1jPuz4bzbDZU0g7dREbmgnSxacXaAeC6bZwD97n+RgRosM
KtAPLhTjNy2OKspsyandktAmSodx/MsasXSxp5ucjLZT/UoLgp0T7VV7c/q/xHwvZtyytFTFtFCB
c8CErttnyUpTHzZCeNS+GNncBm+zzEgBkTBVP6BA3UAPcgQwlHVn3WHEzWA4/+rNP/YlQQ9S91Si
FBaCRljMn5N+Em0XjV2Bdy5Jf8qE0GXralFnkyrD0wElT6N/RDgR9qpYRksHjSFzICIChps7Jqb0
vTS6UKOKdk/5rDscCgpbeoPU5jTSlrSflv49ClUwWDy/Vd1EvYf8ahZYwOGdQ6IrEUKjmI03Bg/a
XS3ijwahXMqZDkFBTTJU7yCSwrUjcZCNObk01os6XIVjVW1HZI0rP36X7HNNHR2xWlmTp9iiPdKE
0nKccxiQeKmsaRFrqCfQLTiZ0Jr8caAiF/WsqdH7JG/pkH52zkppGadxMq7CcNHEILsGlMQ3vTsn
BaG69Gv+/kEtQpu4Ag9LNwE8Q/XA6oI0ROBeJPrqgqqSL55q8cxKb9BvrWQtpfTYYnjm+uqCDkS/
heScWXnvVdcvX+L8wjQ5AEQ0NZwzOHsxUEAUwzj2abdPllBV4QVi6M71hLjAujzhJvaTHeNO5r8t
wwoECFyjgIF/q//aEH464rg1889TwNPG8P4KTvhUjjNDGbX8wyEUlPuG29hr0IK+JOevCCfmZpxV
3yHjONkBdkJfZ0ufbIaJk4c/Bm4yz/gs1WWBwDlm67K0K/aYVWew5osyr/owq7dI+wzzV7ICeejN
4je1vnEgpDwg4tLN/qsnAkSm6TV1YlYovgl+fZXujwCM80c69AzxOMkMBMsBFF55l0uKWVD3crHv
lVNGDSsb9/pFZx3RLgVNLHFpjOZCorUkPRLrXVxoQAHy9CV+Zii9dlS3fGmo/3J1xC3gkvNvLUDY
+dwx1m8JTyVth2eLJwfwfTB9VuQ3tXSXJoYXgJs4I8UGg4hXhL7/7jL/2tLzqh6ZeVJhZNjFIVJv
uUX24udAohv5XeCQyYcHlarpXkK5bRBlooYvXfhLSrZa/TX9FzoglGNLq3+LAE3kXNhOu+r6TXCs
bP5eRsjPKaF2aebXKLzE/bQvMv3C8aagHYVh1NH3I8BsAwdnvCcOyav1ei2eXQ4SYNuQ1vHvJmeM
nnYwtDNXJpuNaKFV1w4rQ37Wyd03Tp0qslfEa1lHDPZhlrSeSqUpm5xCra0hJH0sFQTS8AvG1Uzw
HaSQYE/5NZk1lRlZo4RXI4SMISpGxUFnG7FQCFElEmoGsax25YExNr9uFJ0U6zJbl3B86RNEfWAF
x2siadzDvdHeyF1m6cNInjEjoYqAS0hH22x+KgFWYdRU0mWDd0JLk8KEEUr9xidhusOX80JK9lVt
Eegy7WyQd3q5zSCRapsa1reYvuFlZysrnS9JfbF91j00riDJ3sImIbQNMMxCkQ9QYvrpZ0BVDksD
rcmWu4C2lI1zoeQKM+hHaAQeeNhG8hBhLkPjNQ++YYUwgo4yqDpoo9gCbHsZTT7EQFJ0qdQ4pS4m
Ohl0aYam2U+5haKd6IiuQDYcbgIRY8U0c2LLCGjpZfRzPojXXhoG6VHMJMWjH+IvFe82bm7E3aS4
pj+2KC+4HgVMqbDBFi6fmEeXGp230O24vIg4uNCMCvzsaWivXKGFNf2IO+UMZMNCi6jRhkrEqzEw
QVO8hVFiBtGi1B/ADReRQ/gO4Tj1i7hyI3Vf5BjcRs63YtSjIpKrKI81go4wsQVouJTKBItKuzST
yZu4DRZuR3BKcX+yRoo4rnSKnDnij0klWxAG32k0cEj3APgWwXfpeaF1toG2ufBK8r5ozicpxEsy
0pbi3RLrc5lddJ+PEAOvo1amaURrAMkQTwv8tsY5iHVG/DixebQGKsPVwLLKw1723EUVePz0N3Iu
yfU3bbqJ7UzKSdY1aC1eTWsvHiKulMIuaHJUQYDn2tOZHCT2cCgmDL9GYYAib1dlxq85Z3oGNLD7
lpImg0AZZLsGckPSnn32g2qHJGWRok2QW9kt2LnkJvFmikzFN13F5Iu3BI3DGuYjIAgjODngDrRC
2wGK1NkgQuNyrthJ6vHt33OW494KIJPzbicxWyYkwrFAOeMjDYm+q2ATTj+hAYn+I2teFX7nXCaV
kdd4Vr6zS2VTDaMKELdPbFzikirJvbdhHjAkYaPN1evA00i2EbV7Dig3ZC0LVn1YAnyGL965tlm5
YippIlDh1eFRZBoQF/hzEZWxIZY8n33/wcuEbGvZtPhH2xtX3aazMfN3FFoAthW7LQ+EX4E3uYuV
nFV59L98BpzSjVBTUK1hfwwvRf8ycvsTUqRC6beNXvoQpO7CQFNZfPjxj/zbRH8a6jqdM2adfDnh
qz18J9bdnrdWeO3Cow3sM3W+i+gY8YVduWet14fSlYCchaAJTiCCxZaY0yIEpJy0B1XGWQ6LjBMP
cnds9vQIZPJ1DjzU47jXPgTQeeCb2WxPyIhprHxUVOt4fNGmanzYLVDdkzYfyqhcJMpHxKmmAf/Y
cW/xzPJp+GaZz/IQHcUYZuD7BPYHpJHWRo7d0vxEOvOS44ITX8J177AqJTYWIS+2/rQYpaH5M7Nv
8luxXGlYnljheuKxOA2Cr2LWyHhzOUte3O5MhRjsPdG94KGecg0z9jLTnFD83p2g5rcgIsC2+hEE
I7dC938ZWzSxA10lFgFeOxbK/+s6spqIkEesTLMLJGn1iCtKvmZfle/RdObWzVR1gb8fUpgj6JlY
VA2t3lnIyJVTTuk2TQ89eW8SPJJQUHAUy3zvdgSVTKmRTRsiY2rrZaTIaVOTjeY76Os1wJ2SGE7U
JRLrPxZWumkiYl7ARMuzErIzwG2eelw5E5N0DrKwHMP9bLw5OQ0dhnnFCibbaK7F1UvFmihiXuoj
106m6SSjmxgJ/+Iw0mIe38aMTSx7ZzhrOACEkMrz1ryMxMW8jHQap2Wgf0QEoJp7cDGhhLT/UJeF
uJMjMxqfHnlenePmnqDBUyBXS2DMzWReNSH9KZXMNoszBxWObe0jstc0CVuvkiinaDiG8xtL/WhF
J0H/GOEX3qdkP08Y8ajKoOPpMxDL8R7g4MxBAHeE4hSLpH+GxhUYVTrtBQ2N6kgkCgXXKLupsrTA
9YBmUXN7g8kUbW7xMRnwc85kbKO8EOC01yrIw4YfAHugiwqEqp+ISOd54XCbMbqaNkJ8XrejayO/
drAahPV7zDw/ZAab0b7WynrBUNBZkvTBzpisskZfaLZ8kBMGo/Qy10kkdlgspneZeA7jUE6/Nl19
pbsZCgAivpfFgaxOzsTJutELxBQ5OwTx0472fmRvwodsPfATZyhGaAYEEwgqDTW97rLSJ1+NcyS0
eYFHsVGRnFwz7d1nXlfRh1MDxlQ9bQ2HWLFd2HaVO1XlJitUME4b8GtL8Q+GGBeZsmtWd6V+g3PS
NBetuToioqyUWMAeU/YY6i9RptMPvUeaDWakRqfPCksz9X0gXk4BsvwR07L0beDWLZ33/FI6l9E4
2tGL+MrIxkOMOtSaCp7/abrHOOplLXvYFicBP3qJ/2SFL6WPz86JEwj+Im6uunoq89Hg8Dia1PIJ
eg5aGCgSGQj8NTg1JOyHGifAAtYBST0F6hRk/9G0c6o1zwuPfk4Plqly6jzT5sgTNfzit2VkgwdX
N1l8Gc7nB135IfEYYTayBj1Cd10ww9uH/WudIAe+acJldyzlR9LTBxbdZpsNi1wotHRDQBW4HSVX
8dfinpIpBdB+aWRHwdtvt2lOnlvzBviAD/PPcXEWrrUe9VzrsNXS6sEhgNcet9MXJy87/m7tCwUo
qy98fhS/Q/EAcxTqS4hyLWpXzgz20xE6Jrfj6vK0KuM3hRlnw2sxryOWtbHD8/zGL1zC/Na3zLn4
zsq/F4fXlaVCCfVVmQGiZdCVR+ghpq8Jj3m7L0Ms8SXkjhshLEZ9CKUP64QTf6mTS0e2M5K1a8iY
SQ3RqHKaVudpBd6xpVEsx/JitGE4c3VEUVPrtKpp0lCa9Mpr3f/4KC8nVqCm207p1a6/kC4zkbJc
5ctSE89s1iEvRtt3dAbgD9M+1RCl28N7a2RLtUHRN8Mzedo9pyRnb2GzFoaMvHtHJDsV15yBk4oY
yUiO4iENZsslF8IdnJ9Of8dRyTbiEJyJqKlPL+Yc7m39WjlnVbklXP2i3RXOQ2+P4j8iVJNJf6F+
kNpXtLZhAGHP9M8cqzO2iCp5tYrT0EIjPjJaXwwcsRXwoEX01vVnSSbP7a2ubtH0QYzY4leMQ1Uf
5WTx2qQP0/nLlJuTOMsmwseg76fuaDeDG1a3svqW4y+lehb+lb9W88UhBwhgjIBGFvPVD/fwLcT3
yZxrXLx1gBhlmGvTskJpk7MCox0n38vw95p1l4YIA8zHIAH/21lIExDl41AM32JjJ55wyzoxeYZB
wpflE6RmtuLoserqu9ZeDZOhWfGDYHFYUwMVG4xharjrjY2cvrTEj/K57PYs5eKxjqbtoOxHbQuS
q0WULWkc353PIdy0wUtNs33+yFVuddQuOtFua/Y27l9MY6Yt89J3rIFkWfSS0h61kSZ3WVDh1zKS
rKh4DSk3kpsR/yiIpeL85tTfM5zZxPj+Z9rQv/XoICXZOurn+diHKQtS13s9GAvyg9N92hWRB+JG
6h8tbypDrykVEWYArBKq3JiNKXCYrYx9hNzav80UpRNikcJuV8bEoLxDM8UZxiFJ1rk5Jlwy/gsb
LEvS4DUCX/J0cNZrm4jhTtoSh+ojZ0wz11CfKTuqNHGGQGs2OpdmPKr+z4iGzoQtV6N0BA2PdJru
K6NhR99Y9qaZt759sutvuXoBbLDiXE9oQM1ALXYd+qn4j2r108rxkf6O0H9JyMzg0/dU1O2mQp8o
8/xikQe6EPOCy3g72xIPbUpuC/KV4ooCrRTBd/PFL66Wdi4Qh4lnXoaWVzYv8giv8m6Mf6gvo/6z
IufNavV1idY1tD/Ry/bxrZiY5Se3Uf/axozz6wnBSc5wUQFsKkWrAWfYYL8VxVkpfni6zegNGJkr
wYrDSJeEBtArMggVlDzQx9ECAUoDzCtRyEtI0STOaRnxRuX4p3ZnmCU0Ril4hNiW1d4ka0PhyqXk
1ER9zsVgzMcvGfMB6ojQsW3ucCrnd42oxBTzKBvQzjX/GxiSMXwZkJvzgYgIRtB8rlF9tkjRBdcp
Qdo2/wt2QSjEpEMwWyg3CrroBal16uvkU+G01wG5cwU6rdFAMTDEVW3gk3za3AYo6CzXg/RNH2If
5Z90MWxo8wQTrbuwCD2W1hH7POJ59p7E7j3q2GFVRKvRJ/rQGrWT1kCMKOL3OuhXZbHPqotvIwCg
/Bq5gYsSKbhfXrDJ8yLz6qG5HaI/dgxIrW7cFZuo+bIY5osbMSjJV+prmDHEGVDjmP5TDqZXgxZO
QXsy56J1ibCI47LUiRXgp1NcgIwcCiWvNgPPyrflhAKMcC2FLAshbHeIa4259kOG4X+8lc6pHL58
5r0dXGv888uQsxO+uZQ5N/mzWADjVVol27yXvNkK1zps+5re+YD8x36pchF18w/QYaWxF0bvDau3
wkNbxd8swZ+jdkz85j2zpC3fyRN3n+dyhEtCfhw86njVJN/At+T+6VktbTNOo2O/CrXnkGUI3LaW
ieJgR68nNf58igh5cM4c746Kru1nJV2pGW3e7oLzI0EIrARw00Zv0oGyGW7X02GXkpVTz1TnZ0rE
soE7GKRbU1ddHYWpHdcg9IONzjnPmaxtDaOvwDokRnucZGDEWQtQxruJYPAa4nBSIcbiT8HeMEPs
38TFknQqqcE5lB3YglUDJpTeF4N+yVU7dlJTchGSMAAkqqLrlhavJ0+peEE02guZhpMua3Zp9Cku
ikgfCDn3MwCmsmRs/Mgpz73WeXKBOoq+CBAhXUbb/gjmuyK1iFNpLZadZ1rvBk1wmw4G/wownAXk
iX7pJG7GkFCCqOEmanXy1vTfOq1e9KZcInWQMWrhPucMF+Les7KShyUigERZ2rK8NBSsMK/EXuJi
odXKCJ5CR6+JbCmZm3ERIQjSw5johiIY+JaQ3csaQYJ2fa01ZHC0zUlSv44sZJRbnbXDBMzjXjGp
FD9iYD6liUWApKWYYAhYIhZXOay4Ej1BxzU0Bdv2rCCk0FQWjMOqJfS9flW3L2Lx6OJg6039Z4gZ
1VI34p1ReIXskMe5DzcSZy8DKBLpBdUnmZYwHX9KuidyrW9qldIiCtYQNCAmIPaCrZpkoJro4gtp
rLirPUNbAYGHYEhsPGdhdalW6FYYzZf6sivn5UgJ6hjfDv4nu2WMP+CqJg6D+STJmh0RZTtMTEqI
KLcIlJfqTRxx1JnduuOMq2SaK9Z3nK6YL/6a6o3bbpd/Brd8RrtJi2Jp+qBWK3Z1zK88G5VxzyjP
6sk6t/654V3O6lcFbXemBOS8QKozsj3YMcwP+ICzHYECkI6wkGC1tLghWTBw+IMSl+JILF7icDoN
fvsD3jmX+jfwZ0uOBEdgh05T0fObpNc5iRFOs5zWrtQ6bjcRzFkxJpZnxNQOS/cpIKdOO4hfwikG
tkg0WzTIes73lP8ic5CRfVtvNZL5opipA9fFphTCf41tmc4hL3+BQgiBijGqt4mhJeFLIROaSS1W
qXlNuUsUBkfGvL32ypbGgj/wCmGxydj3LB08+rQbgJyPnjLcxLw2oZ9vfasQlGrnbCCI0mcJndMV
Qjm9JgszJv2mKnGzJGAKmI6ebrxEWbGK2CxsSFvsnlL47MLdAMuz9P8tF+KBqINZnFjFYJt3Go5b
sLXzddsUB6euX9T2GZMwmU3sA9+w0OsbCr9I/aLB4jObFu5wFCUcwQPepo82l/GVzrDl/5rgrk6v
kXzuU2z/I5UxhyRC+LJm8CwOwEzIRayR1haeSv+4wFqhitYn/1M5D4uy3M3qq9CzD+gJoP+uUDaI
37b4VJDDKBU0kUMU/4lltqF1Sb8qQ+wwx1er+DCNO4UKzMNFBn5r/q0hStjQdDv6MMSuhNPfEH6I
pTLHnzNn4lYnCFgnjp3Q0V2d/hRarmV0mgTyoy49Ph3u3esUfSj8wgJqGE6QM7iyOFPV4E7QXl+K
6uuuSydiRRY6Kv8WV0hNJ7Op/mLy6euSrR815mCeWMVKg+0KUVHMGVUi9I0hFHcHfB+pBI8KU2cV
QNa2F30L7Bdtjax+xubDwDHGD5lYqMSqOSZnZb7OsBUJ14jgnBSSOF6fxQsmfoD4RYay3E6asRLP
bmRcuCEZHXC1ANmuAHSzNlpNRzLzeOcyqltaw1orLpteoTk6zMY1Sm8I7zvlw8g8GuZxfOXfYxlo
anbw5hjVfoBVSr1G9H/Fj18OCJHEra3TV/GodTpTG3RJTguQiWc0tX5zAkhR4ifcNwuwnHniYcDL
wmejOWFwT/hV+QhK+RmTm5phveDQzz88dGydvvwh9ln+TUlxx7+K37InGhq+/oqHTFa+uE/izgYG
x2CexqxGv8El8WyGz+nMKBMNJr/LQzxo/F0uC581Rr5MXSfHnHUQT1CZMrCLqdxM+JZEc3H06kN0
WpJt3ZuM1bi24fl0ybGf2XNR7E0ESGA8reyINHWFnDAGBcQNW9EZb/BC18tNkw+XEJRPGpChO6GS
7gF7hDMGJeejV1vizt78KdlEtX8iyOQjaGpm/CE6Srx82qucM7bNy11idjd6ngaLUzFNBicOMq5Q
aknox+Yb63qv6SfY7us61Taz1W3E41IoyoZotSHGslUXQIoFSjAcsSobBW4gkjLbUXrYvi6t1DBE
/JVjKp07hoQ/CqeIGvKapTnLoibvV0FwYjKqfegFFGCga0rYLzOieMWebUHrH+LXkumM6ZBQ2ulc
lhqwtQ+4Fdm/Da8dxriXDgSScsDyYRLYFRGs03p+3sdmZEFSDr3sc6Ig7xW7KAeVzVjM5zlDuNfL
nDzaJV1Zn9abo+Q7CbVzz0xa7L2jqXjZqK3JWt2mbbSlRTHi0yfRdV+F80FXa+ofEaI9c/Qa0DdQ
9CBYqUuSweGMhgojJVYzPPQrsZ2X56DAQIjutxB1f3tDI4SzJ6ieUmZKaK3H77pKfgigY/ShEeHR
cgSbJU3ZTYWzcmb5BVHSNZKLD0WpkO3PXqVbPwnUmwWRpYVn4wNw8ol+fpFhF2x3YOgQpvoVhy6C
y/voJx2pffLef9oa2oEe8Da7LbNJ3GmtWWXnsvaZmdL7VZP8ZMic/kxUAoFN23eGmN7iQE3wCoBJ
QbJmtqRzp+QrmBImSO4PRWv+DTrLqtFx+8AayplDRNvDuR1GxiSsEDdzCtUNgB5s2DZDtipHJuNb
/kRya+9JERZyBMaks1T0F53xZzJenM70ytByqyE5hufQAqLTgb5OkNYzgq0laE78Yzj/j48sngGA
YgQR1QjRDXxqu54ZmmVSGTOACp+SiQxiRvTuS5zkiHcY2EAAQACFPcKD5pQsgN4TdB4kghQAWLGg
8unduGxJTQtndo+GRy5rcdUirCpKN06r7cDIRUfSM7de3SgA88n4BYJfpYD8a2eHjYRkXsyXVb8p
4TZnDIqKXVQyJA4bvIHMSxzzVDfDlVnqGK8iGQd8FHH0QLQ/4AzhBWvp2/7UaGXiEGtW26S/8cDj
Lflgto34tZdw3kvR2ilw2xbNgzTLFaxLeKqCLr5qi5borP4+TsKOEx+6OnnJg+EjYTfuOnnPaA/b
mbqdVO5oWVnHgEPnUEU3DjjXQuzLUorRowAxnCnlEm8dPB0Z1aCUfY4jPU3dsr9VicFR066miG6h
pm6lKvXChGg6eQayy4FLqaUDcU5M+2zlpvTP6p9EL1z7ifaRNNIlIfVX7TlxF699mMH1s+n5WNt8
4nwDXx45NKVvVBu4nbJ81yooUuRxD0QOUoxakBNfJB7pYRCjmDIG9WhupUy6Gr5z1m15Z8jOjzLK
YsbxLmVjvZxqfd4aLQ5SHc8H7W0mnBRxVorjRyWuGDEqP85B9iSjMNtIPdpqp8uqTa/Nv0rljR0+
jZ5WyjlTqqWKCzizgmo9BSgbAsqKQIl9dnGFaSnYHRhDCOqUtN7YcGA0uqLwHRR3TPSnozUXa2oU
Vy7pEI0BDMKg30ww6JYFRAxeX3Z6vF2hREMFEIT+75Q1j2G3kX2KqRYASN2t9LreWkmREjKJXnUe
gWLLemsRqpN85ICA6NiuTIngJFunkxv3B8k3jlqnjhu/umkJ2JhCd24VmTWwWpObkpnEpGSVmyjc
+l7JwUDRlCEjkAOi33rBSCuIIF2kMdHIlL2cLqkMpcFyEre3RyzAWbLOHJGpR5fBiEkvL4v5ZKXl
zsrhEaABb7Evkc/iduA8MCthvZk4dFHr4Kavce0vNdW5JDQDjd4MVkog/VZx+NtRTwdyPew7eZxW
ppN0y29nJlVOcTS6eDXCY/MAcKbBDc65Xh4VdA5TCPBLJUJjVr1Iniqv9OffzqRJHWktQG2KzSVB
WvfMYVqG+7gD0RPZHnhyAGARSnkc9Mh6eMHBWOm0D6jjBzYcfYTZBqndqH4Lc3rUUtsdLStadbH9
TWrKX8IMbcoKZ200v3nRvTXmlEAurq9Mvj0eFSKbQBXkFR3Z7IV1d6/0Bo3wbth0Vb2P2n7tl4Qm
OVZwz5tDb0/PVsAl0xkG8yQq0ZHyTgXTaZmGz6lYOYS9EAEbxm8zmzYHCXGqk82CvROB+0ypP7Xy
PRytEB9hMHu16qhrW+qYmdklnJPmuzUC2R2cTl5YNUPxJP1EYvsyafxBOISATGjjBQbYuqJrDr7P
GLH/8kNW+KjiaGQLb1BqBTzNhRx6mTLjL+DjtcoH/aFkbSGUc2zCW3J5p8LTWAVsYKZS61tLRV6W
Kvlapv/QVkOOkCEPT3BlD9JcSZ4NX5BYckp7oSSKcjGi0d9N3xT/hevhNc20fm3m3phFuDv0/reK
6mfUM1vW7ShCukcoOnIVzBLNIe3UwhtSfdfmpkfE+EpiQXNnBCpSLXtBphP1ofbbTGGHyjG6H4ag
2XV0RI8JEo5A8INhl5ee3CKKMibtVDEMLIrg2E149JX0vRn7wU2aGMg/BkvETcz91TneVhOqnBDN
ZdECBQokkQ3ran1QrkMpoHO3hHogu1oaTsjqCq9vcMEoQ89+N6egwmi6gZT9iAsNwAMvy3po6fzU
IcbvLMEaoLKhR0h2w17ZZPBfvC6tT43OEEMCsVoNzbWsp61tSrAaEmYRU3uNAzgHykBez2gepdAB
5G5cGj+CDmC2+r3AIoTNAZKHVKIqqAd/U4m2ETcDQx5snZkeRjiV7yXJyWYbvfZOsxt8TPRJi/Wr
q1R8X6XGiIMvB1egQMkzcACrIVrg4dI5tbwNU4ixMm9BPwOBTAyrXyO7ConD3eiwZVIbM5dvYgcf
c/MYSWXhdq2pUa/TSTAbFI09btSIFyDqjMxVGlLN63jbEM7C1JwBWFCEiBm4QhyxGFGA2tbnHidU
gq9STfqHb0wbu23f4woiCVQQqnOfVJaO4nDUt4oRq2u/zqiiLKSmDsRud5zppllqdo/x0m17/B0W
simnSRvI3jCpY+k/os5kOVImXaJPhBkQEMBWyllKpeZpg5UmxgCCMeDp7+Hvxd20VXdXlbIyyRg+
dz/+LsppPHf+t0IiWMfhORPIoHQfDFS+NXfyVGmhD7wZwDMpZqr5LjSOa3atkzxEGPc2KrAfbQf3
u1qq/RzTeFHOwd74H07CQ+svjCV7B22GdEezdPeB5754STKilPk/gxsHDDUor2rxvPVRRiQ4dN+W
sQHVl1OIMYdMj7I1YDm/dN78GSQY1Bu3f+xKJiXMIjiVJNz0JwB1sY2NMB0RDaqJEVqc5W85r4fb
GE68aiofx1Fu4tWjHqTBXSy1fVOOwDSWHsA6aVoQRdt0RcN5YmUSEvXksvLudLjmpvqiIuvsu9xv
Z2dhDM1Yp0w44nPCxRrk3ErTgsQQGPsmOD6QEZiiBiGrTV7YmyglwxPriVvqsHpRFdxLgMmAlGhr
Z/RoHO6UczPElE3Qu4W01XfNciiyf7Wh0W3gsjyE/GbbH0G6uMlTmXBepISEVF4Q/OZFEhzigghb
vpphw2jf9xEejgGvUaIPU2l3ez5ezIoGvpXNIxG7q0CXL/nBGtqApHn7mBs0qnS9D2d0Yc8BBFvP
M3cUXsY02WJGVrHZ6aR8Yr1c9jnnS3/6DwSUujShjyc5zdWuVVGMObRaM6K62Wp75BSwROFV53DF
zpt1OBRDhkmX4aLXjk8/HSivc4lSxXlEHLbf5rHxt6qNOFpnwju4oqTcfWIm54Vby+BxKeIXk4cr
+CRl4CCqw+TMVNi0Qm1GpzsVtXUZDAfoCHbvoWIMg9Wn2TTrdL1hcpq2V2gdMFocCxNjXu6qgGtu
P9KKOlXhrSAHmYZZsrE7+d1I+sD7oOFsjHkgkXJvu3iLQM6euwSVyZJPfaQRtGb2Xn+kFIw6EUZP
afEYScYDARX29hptE1nNwkN/PNWRdR7fpxwAmbtqygAaltxmdbWmKzfEhDPQCRjNgxmBZhnijItl
7+fBclEDhmHng8qT1P+0ytkR88Dgl/C7E/Y04juE4NogMuBcwk1nL2BRPYA/InpocguDIXNqX+TB
FQmXWZBBsrP62ZmOoUqI4RZmnSPrN2+OAS3YPgQzNS0bOSusm9WntLkGlnJmLNOefIExusAbu9MG
Fp9eBuY7/gdgo8fZ0HJbRzrddST3sJjSh1r3IMxp66W5aZxluWXD3JUOS5dKw+M4QybLOyJbteD7
G+e3XbL8FRUDV18yj9XW0Wk4QqRV/GVrJk4MiwFCyUfRIa03I/6smDFTmsYAr9nOA/j2dedyF1US
6GzxR8/Tc9xy7QyalH3AJlcofVCE+XPs9kcbGLijEH7csUaGcq21cTm/VFNAYpqJ1xVLCFdO/DO9
76xp2/zLqlFwjWS8jZpZdhRyEP63mc/vhzzDlic/nUQM28bLGT8LMCQIzFedxASUFCu2YUabB2h2
dDirNREwMHvqOfIFkMDs6ZfBNU2TWm+nTNxhkzkLEF/TuEYruJpwLM1DoAVuBGRZbJvEn7YS4v51
689n1Q0JveLzjyfCV08uIa2WJO6cdrmtmoXOed8DSRh47wA3ky3dfX9hQFTfZFJvtT5houvUuXBo
TxAJPOOm5frIAyRSPGMS9qPXjHsAFOcpi+8FgZe2gHgIU2/ZWL66ZRDUsPiIE8BwzjojkYjRzjG7
edjsopq1oisBqfclvUzmdTLzssX1/5S4DQvXhI8kyH7dHo4qnm03i05dlXdbMJWUZlTFh/JwZvTi
jlVy2io9PC/99O1mzk6GFvuk6PfN4tNmVMNu7RTPDYDB99aGzNMs6LQ2LE0Wa/wCNOBgGOFtUT1z
5ca3DhEro7LmGI1neooN43lrNdqGLZNpC6/GyASlrfxl6xeEiXW6xoieemehqklBSzFc40Ynh35s
3UfjSnhtO1zeZUU3R3CjWNE5shMXqdlvqZpgvUcbaofqPl5d0UI996h1yrXMKRjr9oq9iYNrwbgq
YVSzvqRRCwJYIVaePkVFi3xirH6xBeqJPJ8Hj00YPbrVQFirQ44pmGs5Ewm6sii4bNOU6DgBcgCE
rdY6qNB5a7J2MxT66MLJ8MP0EqV8OVSrLnWGFYF+nLtSzW+DllCzLoOsGNiUefw24LvQqQKRkbV8
sYZjQcvg6PLB5S1hQTHJF28JtyIZ37oK31NhMYsEuHrlRC34cP6QdANg75b1nSBXMgT8njSXUHeZ
GPKNA2E7uH/4TG6qKPgrbHI6KSM5SvpeO+qCN2nlf9VFfA/fmUB/y/i/YyFzR/usCrzURn/5AaIL
zgSZqZcWxWzpkHMavj7lxEy+wP0Dq4cwCsHgOqdlvveZafvQyZS+C2bG6fYYX0YmNeAgcvjf0Y9V
hvdke8kYhKsBHnWs1fO+wuVpc8909J/I2ISE5KBcHnQa5puxTp6TGYee471F5qOOpxOldkwPQrbH
WlCx0CQshXH5ouap30+4GI7tSDrCwweB26n4NBoKmpczwhvBzAUBL9tNaacyIRxAD+rfnUcazUKT
9JeZyiHFJpOysdsMBIdK/5i+IZ3TZR+ZPNOfQYVQnH32pj9gdD5aXDWHzvuACIO5B7jXHCkiJ8gT
M0xdm69iKrDnjY1zKRzrS6BlphGWxrjoPrHzhGR/oA/jtzO+D5N7wqpM1BykSeeiDgRpA6Zwdmwa
Rpgpcunbrt066KnUYyy48nGNGQv2n2h/E1k9+8l8NczFdxMwmQxSVqc0jItd0ETnYnDn3YhYPur4
sxM5scR++BsS7OwW9G7t9ySjHYuzKvnPKwZjh7qR4/WingIlQcpWxC6S99jndxAqRIIO6+c4A8+i
2hJpmF6GfNOIXOxkwyQucPNXX31zF7x0qwDixdjZYfUx4xzERuCai5JDwP+DS4RBGFT3q36gTETQ
mbwk4bL5mQt9P3Cw3jSJc1FFA25uKk5lmp6VUDeTXYM7bfVjDlu7Uhz0kkrsmrG/JBJ7u84iuAPt
fNvVDP/QEpS3AH2vbogsNR4T/AQ+59gM14MMuCYkAD7nmLF/HNwmTXqJeaExxkWrNefaEAfN2f9T
oBCbBGtbFVLep6IEj2KdP0jOz6QimNel7V3psagMZcEibZxLmtRv5YrHKYFPVewCPcLQSH1CN7W/
Cxf4XBLj8x0d8aHI32jOV8IVaws12kygkA18GpxEdzdH9i6TELxsxtVqfF9yk5FJYZ9zdq7EMev1
wBNpK8GziSJVTODXjWvuW5vOlgYOW4oxVlbqcfHlhxUhm7ppTK5SzluTT/d2MdzrlBWybR0LihmO
NJi9bpjtAsw26zyLeC3PZdVyhvXjnmWzJ2w53fAewPkkGWKP2TunoUtVMrVkW3uOh5AonAEOZ1Oj
Z4bhJuMAPWb20VtenXlFk4QpFxXOJKS8LTZ2+OHoi2VByFWXLzAj7jnCPPiZYVodcCmZp2NX+y9G
t7QfBjeu414yq7/PZvx7lmif1dyfG6v6YjL+4PY3KipfYt1SSxF5m5JRT8M5EkvzNKxt3+LQa7Pr
Nca13t0tbfWzvoyIwVir5J8MOFYLy9tm2fRvacZzNIwH7sTAj5bnClK7N8NVtZ16t/j+tnIL5kDp
d2QZ7KmAwDBcN6XPRc0FO109Gta2uXgwtTgyvZywWTe1n17VY/jcpdnZGnquGHH/xu9LrXmXd/jS
Sv+Fd/wlZ+ZrLAbGTQcWWijK4CnzumZyvsNw/GEsjwl5jDjvQvQpTG/eeqYevoJ3ZfLlFKZI/Drs
DK74FifGUXa012BUVMl8GCu+prYR9xYtVle0fg23lbu+OLvNr/0hOmsSNlgqGPImjDjDnJk37gpp
gs84Sji1ZtNvVVZfzhDSRZ5kFxsrwULfBKRO1dHl1Slx7bt0G4z+ezCCrNexf/JoPXWo1u6BW5u4
eYtGJvYuuWf6a+Wym+PpJVb1fZabw2i4hPQkOKa2ebcnGxCqeM9BFtV28j3ljBHo8wSHiSHYQvmo
UzJq2B1EbT6bhe+j3Z1tN8XXzCKjp9Rs4yBBEQQ7HIL1E0yEQAtfOTOLlWN9Rtrb5hPFx+EAfbtj
CsfeJrcZyFIbjwFr4rEL8aFJ+ZOm1qPKgdf1rnfK1cIBpUB5taaP/97wMcLcj7524ByObyyvaMNY
l4sWPyQeJ38cNm4ZvLQYPiuKXwP7kA1/S9sRGSKYqMtngkU5hGFGpPQIkpxxCRjdzcN4TFiJN9a0
3LYpFcQFFjBBmimnC+W/Hzyp7LMw6cvIBeuqwbgT0lDSf7sDpOwIpbDHVelApbRD0ARekz/YzcJE
ZXIV5vbm5KrqcYDEmLnBIRkR8o1g76bXlWs8N3LgM8q2v2JNiF8pgduKWJnfIhpoYW6jFZ6Wah8f
m1EP9ZqkjguOgSlaYFCygi5gFYGXcVyc7+MBsz8H1HMKkHOOtLpuIuvFyrOF8R3OX1KxYw7Sdp6P
S9tcvLVsLEix8nio8/9NOKZefdhevE1TcefHLUO7wT2jY32BDOevrt87lDQ1DAFRCjTrycYMZMoZ
2yj7Vvea+CNya5C8hqvI1QpI9WAEIMXeBxQTFqHB+gYPJI2HmyqTh0Hiw9HSHHUiH7CGFDtuJcKP
fpOOL0ytsd2FofdttQh8zAheCq4u17i96Y9+GMVwTldzgmqxLwmR35GPbVsiyiaInxoLDc7XXKDS
+KfLl2oDMFPKl4zsZ6vNAeHsrBXaMHHBqWzBpFTmrXrupMQJSDSF8Nim6eBo+iBRnRrfDKBtggD4
o6yyeqik1IdgtTNUD5Od3VJ47+fe2TPh17Q6jY23sHd82tSqwn/jiaY7KJ95YCtTPVOMPcCBGPfU
BufPdqo3Te+8aF8B723wrPh1c/IhPzZpRV8jPO7rYnKeG+1MN1LCuoKXMG+E4tDG1xuMaZ2Jk8DW
xZR1/BiH5hgCyN4SrcALVovo6ObqenEXGybDBJZl5GClbO/P7Xl70s51gO8jY0bzTTv3BMCyRhLi
FIeihJMnpn+ZzcwDJtxvMz+Dg2SazzDrWor+TxbUdtJOt9fLU89Uh5KutLvpkCa1++NbBrxzgt5p
Vjtj1vxqcLUroflu6rg9lNzJA14HpiQHoUQh6gtm8uF/o+b07DW9PmSL8+x2hqCFRj9oLyzLn26Z
clpsv9IUoEHHdrbtmX5f96X12S3EtKziFHk0Fo0hh9MlfYpx9+Hcj2+lMPJqCFkuuJevVaT7slwd
aSUaqewteAPxH5XhSKlk2mbDTDOZ0MfighG1bE/QB/yN7aNazq71NPft3ehra89m/pADHksD/2Lp
dtw6lvW5jFiIsQ34HLRpFNcB1/XgjCuT7HalqaamomI6T8J/Ch0F/mAabqMQmbZryZhxbMGdFSV3
y2TvrGA9U1AUAB2BjSMJgNhlpEM5WVxX1WCOQSXONaXpCZrwgU+gsLkqejQC9YjjcQAco3IG7Ht9
RmFndgjkuGfFJPsRtFspcEBkdvwXNFhBSLeUe8fi7tTOzsG3aZTxOrpXco8RlqcDnDHLTTSAkk9n
sDegT22eKn5G0a4nJJtAexcSdC8+qtz5bYRb0uoxHQzsXYqP4VTWEhMWWtlptunz4dSHl95uNtUa
jPNQuRkKekz/YCTZ3YDg4Cy3hj0DChUEsAZtOlPnoQesNqN42XnPSIN9JkdM68Jenjmmn3QYViA0
sQwqH86/7T73PX1Moi0fLBsBRCQXITkvBS4HftvHcgxTeznBSbi3JwOqzAk6zE/ZXzcbDHTcDUWN
N9h3L2OAU0y4VB50wEdmpZ6KOvuqHXvvy4rBkgrAE7ORkogPs0OMQmfR+JNkpB+h5kGjK9xLCC7L
xtZXz87tsCRfoivvumaiiBVo/UI8FGIf0saSW99eSmADD35HtDGYPUbL+X0/8HgtbUo9BGWvGSgN
klF4j7X0/oQNEi/De8D1BDp2e7QSnmRZ1va+CdObkV4zWg5gdVjdnYlHvLoIti6QFoZUCg5w+mFV
nE7rTjOtrYja5SU1LZ6p34qWBpkuY+drQ6TFxMI8gfcJi2l7AbL/3IUWZxJK/Ta5Bw2jTu87tliq
rUDgWwKGgmw+cEOwdjJmoTo62xjPfx9s/y5YLuMwpPQlaFpU0kc3aOHiMP3m7DJuPQRCStycg+5i
h5opfYlLtbChmSOwU1J1PZSV5aawGBWsMKO8F5jZS39G47W+Y2ewGUkQFlE0moSQKCRuOqWQDTK/
L4/hDM3GSpBE58x3QA80j0NM5G/BZnuVg6LZSPZwEAMcdEbsrbkg+laZztuNcXphdvLkaxqboXbp
8CVbYVJQNJYtfUdbg3pNdHCkBGLSJMmj8kMlbryLtcCcgXujjbp4ZwDwN2bC6inBJ/eT7MgTFteT
ZbE0zuEe7hb8MCe+MWV9V3ZYT90g+GSiDlggKTj3kH1n+IxE5Ndhc92123ryb6n9S6kl5bWm8E7T
mTRUk6li1+f6UbpYMhNuHHlm4TUPbpvGwUoUMTOIUDKmQj24IVko3DT/6rbN8UJbN/O0vOAzfRgW
7VzqeNd3sLUr2fzNY3LBwc6CPbwjoz84U3+ZjY+5DOrCPnR7rEFT/JKLld6X5KeRwOVECWWcto/1
FAFWyOOjuwaUmms0OxLR2hFXyuafX9fjDxB5BmOo9zJq1+yC8XgOLBJPhCSjJIp26LQ3SN+CLrB2
H2FE8sLwlTrhTbrS0Dw8rqy0u2rwEVkX688N9T8RcKCmbWM7ZOLguN3LyB61Gb3+MhJ+DluG/1M3
eRu3dSAqJb8FXctjlv3rBXRH9kbiKUmPvU//5Ohpvs5PpgMobRewYZriG4WOd8P7DUqFiy/QKEHL
P9vGg2hxS8fhk2fZJhpn/eDHKHf085Sh+fGdZNp7dvrmAPPrU+vVbnR55At+vYw15qeJj1Boa9zJ
aO1SqnCCE93baT/77uz+oYJEHbLLk4Fm1OPYfoCfJ4C2V0eCqJr7OcISbzuergTNkyy8IDbLFL6k
3lEUVHtqdEOwTtyWs9Y84Xm6hpsbcdNG/usWPho2vA6ZvZkjdh3Yp+gtpz/ufK9W6CGAWh9LYR5Z
cgjSxkg1s+jwMDHDcfnhJbYYmcScTEL9K6X1j62TbIv73S7+tOsdj2+FCy3BH94rBgjKafFvWkNA
Bh1hyhcb6Q8vXr/sZYTMGScfTtw9jx5XtoCVAfAIrsms/O10+Tsq3qiWSp/1xv/SVuVnHGafL3XA
E005GqO2sfloM0m6Yg3RqnXoQ+5sk0gCd969bvhytZSEksA/MyCCa9zmLAdj/owc82zTxepHlFBR
37anBDfZSaES2hTif17DI5PU0Z9EuOdjUSfOxSKyQLBO3OhEmHOdYW/nkbiXZdgyqwf2xdbuDBU3
CQu8uRLLMQlJLI1qivDeycO83oI0c7jAbz4lncOoZ6SJUSL240L8Kl4LgQSbCy0azDWWpdwwlLur
8kBtmLGQPHHaVWot3qcIISSekYObwVx6Gx3eD9kfhR28ODFy07wimaws/HM8YrJ+RkupN4D43bfB
/CRh7aUD5oJ5CVGmHlIuoTsrZpOIvPyfayMYLU32sYSrmSsjjRfNaquy4hZeIJN1vipVtHypcDwi
VD21E9BVb8QFHuinoKvvIpFVJGY1lZD2T8waNjki2y6y0KCjO1TTCO9v1/DcZofBiYOT+s6c9EMM
s3WVB6tEgCZ4lagFDuY1dZp3SwHH0WWIyzCeYWo9vquY2gKGYCwJz0HIcz43DOgSjhBFjMwxNnJ1
TUQ7PIMXLn57regPxYbK8BCZbYlJPwDhkqOlWSW58II8M4i9jJygmKJJfCmTwmjHvGcagHNyMttl
nQN1UE0rFBQ+6rEiwKCBxJFmG5gQkAdyPwp8oDg+PrPCwe7YUZ+h+w+Kfb+jdQdKxUIZVLrc6PKz
RKMC4cveGDAZBroClu4wGWIcZNGm61pPLyMVJYlw8GaE5V2c3MRe4GBVJpTpud0+Jxfp8Lcgi/hk
OInZdKH4FdmxLfFnuAWjcNv1j17YT7S1P848nMzceLE5HKuYTdUJFJMmij/9tLtvE7hc1JVx1HBI
r3C2zGbFsSd1v2ouXnxpBlzji0puuyrgM+gwAEul5HVoEboKlHlohD3Bx/bcXd1z3EqgrWkORTFq
71ytgix0ipS1BPS5S+sBB0lOqyeR89lZwYTNK7s1USp3k/m2RcB6kq/jT8HBMJIWurq/Rki98qUR
00e7GDKC4Xwd0ie5GQ1g8BKvCR5Ajo4U4UC9zMCBGnynoutvqyJLtrNbvdH9uJFYa66Ht7Ts36qA
rahpgI8NSXszS8SaJE3sba8HZzciOvOso7XrYA6uo5R2wILmZIwYar8ErtyO682Ja6EduwFDXmbu
mN03XRF4h7qlPx4cGQ3FrtqwWvGj2/Za1KDPelzJLUMbjqY8VBH5OLgzamoe/Tyg/Tm5T9MaqAB4
17ptvuVaEBD54GryV8r3ltsIi2TpcgPJIyJ/i1Wf5hxLy+Dj9bYtpu1e7ZL/TN7bnqpbQybXldZj
R+aWqsNlh9bXb3rvLmzgNExz8o+ZyKsf/SzjmDKpxxxHF/UI9TbiSBdb94GNOAcq/VGI/sW228eJ
KuqrKkCQdOPxY100PBJ61EYET2WeX2Sivq3U/llyjiGiQNBCTurBGRNkcYktxW/OyKCspPY2zqYX
V+a4+/R80KX+Ke2g2laCKGJbfg4h7vZq5UBY4RRtCr9671aelXC7L5+hLg46OuuRgSXW0y6s3pwg
7cByPHYLOURy5S+OCQxHqOKYmn8O63BWjQ9SdlR3e6d4ncm3bv0vVnwlWk++jmsjfGaFBD+5keR+
cEq6N9cHXwiFIKB2kznTKrMhffYUyDX5bQEF116oOI68FQRlfylXn/IKUdeNEa1CPiPbBsTKV7G/
dnlM7Wqv7PyuENaOySfDlhHukV+XB7ZsVqUMhHpJ/4UHxkBErEqdU/4zRGtMp1a2A7IrQeZXYxcF
/R9AEEWBjUlL1kTYrwB4oGEoWe1TGEGz6g9zSJpy7opyy5zfHyzy+s4mHetvT8Edq51kl2t8YMFg
gzC0iS9U4xONkYQyZPgYT/17F05csm0gsQ69XVnApYMn0QmBCejeVtsKz4uhiYeR6V/Tq11Rjc2W
KxFnbaH7qxFFG2yK4N3KvsE7pVepDaRlbttDFzgci7Az5NU/t2sf5Cgex8z66cpwr5iQbB2JFFc3
4+si4cHnJLeuu2n69hfr87//MqU+PtGWhnBDKbjvTkR3vebew71iXAQ0kTW3teDKX8zsZvjW3ybs
7XJ0IqwzGpcvL61IymDPeRyxvqSamfiIJcIvLF2bnFCxFAHXEQZOxqNmZPZRCrl2oEGJ5ctC0cSn
BSgtal/bobl3u+536VH31xfqNeCY6cX79DkibBaPddaq4m1Ui3Pbod6T07BCm5G2tl+dIOlZVpJz
2eNp47m/y9YXbHvhgWwF95XY4U/Ts1og0ZfuKY37V2qrU3qbtNq6PlCrYNxQ2Uj4dHmqPXgbmsga
eS9zUmBLZprVtjpzHlPuEPA2j6SYQEtgYd00ntgLv77DVPcruTleyYnXkAclwMHmppxh2gbTxjHs
ypzCcZWs3MvGe4XeTRLQni5hi24COcYkn9WcLFvjie+R3MxSOQtFjZDRejO8yWjZJipkw2WIZ8Wd
2Lt6vo3bADIl0rSdcK+0dIN31CP8HLvxDZOt9MqA2y2pAEfOQDxm76ImY8Tu2l3bLi8zDumHt1GZ
p4aunyIeNiO1s3BIE1QYtpNg4WrLuQj2b+XfanHt2it7s8fJHSc1QmXOlBYhUeysxP2LBB3mIWwW
a0i9HZrlw0S96RAhJPp0GzFOcKDvkD/pvOyVuVB2qylnqJznRYz4m3rz5NdyM8Sl2EctuSC3UMR0
E2+fVHR1y4bWZL842ZUpr1eUhceKTvLRUvtouUjLnzYzV3b4ALCxSkaMpqjwEWZ8ylHGYdjzqjem
ETN0lDWqsXy29UT5kaSbRA3rBHn9pBRNzRPBBVJAKJQW/oHWMpQQOeOftfawzLnYtgZtp64/RFgf
Y7slbU5zQ9Lz6pKZ4Z8p8Q0kVCRbbcw4PvUXnJDcPrFy7mkbDryOZNHCnCqycnG92GDNRp63PqMo
z2UZoA37Q3jxSEcKCsnAe+8E/Rs5RntTWBxdiGevrJSvxleXOV/0xh5EfFyQOy09s0ibP7xKX2ml
GXub9LBCnTwaxGM7olZHM4PLOXJZvE6THLX2SK9b5HbFNGyY5+JXxGZ1rVP4Sm21/Eum0N85ExgX
b/pt7Kk5JLiIanvxIdPrI0MmcuIBlW4VpiI8Re1Xh4515SxRtWNNHy18dSIBAZH8JBii0xLNOZth
qhOiueEXZ6ZUuNBmgHNhddc027YAFZx6A205Hpu2ZyJsPgBjNMc9soAbryZhEGtlIa+tZqPS4dNm
ep9h2L2KVump6+pnUf31Q+WjVhd/RQqBGS/gLkoMnd0QpIN2DVtljvdfb+FgFsIXfJOoQG6mbSa4
qkTsYuxQFO3ELxOTUbpU9kP2IoYQ1kLoPRF1b0DZbQdyxHz++VupqyfuJbhheReo9TBzsHZI7tq5
hi7pZ7u5AehGrAGf7ODcZin+aN+wljc+52HJ1J2z1g5OOE9mFNwrx9kaTRFXBhEdqAwjXNt5WZRN
fEkBnBHiwcxr/LeJbPq0ibgk/U1V1Xj9srch42axxL+V23F+oPhKWJCxSv0mkYa55U4UAfT1NxPS
r3pcHaSuzbi0PymyADsM3EOJBzxbCQ6jQbDnOt7EvB1zicKFPhFOfD8TrgNY7QGZ0khHCAt90Fky
8rmFxagqzy5lXg9bN8rc64DbA9e1qaKotnMe9eT+KHItDNxncG9Lpu+FLIODvYjwSjY2LQydT4VA
JPR9a5WPVk7YTtboVRWdCGHWwOHWZMvVzKIzs+LIGVFZu9ULo/RpMxZjuB+SSN62cfbPkcFrO4bD
c7IgV/She3Hjenzuh6Lg64WDFwfjkZvg+IaydzP0Vs+kS2ZPORZdt5xH3svJ4aWRkN20dJpo1907
RWA+7ZCOxLJjRKJy54PAfvswBYN39Gnc4qF1j51HG0Ih8+7ig+Tkgr0GLBZa8k62BEiyDPkPfPC7
qOJnV/PyExkUpa3vcxsL8De8JHJch179YxQawMxlNndwAOhrE1bvb6p40oRBcWkRS2jIUTLrDlB6
nTD9igtAk1T26kf+Yf9MLe8j146P6FJIUnkenJBO89sa9+9tOs8f9bjQwqDh9M5VHsmTBQppCpPz
f//heMl7N3q4L2I7xuoq++Scua1N2xIH8nRJ0Ewiz4e7GFhMMu1hQWZ7d6awIwkj532sGOvgSGdg
46iEdAHaZp7V29RXVH+M0+/INOFgLSKh1kEGnCAHmu+0Q5c0/1PhWtbedsonbaL8pjWquKl8BtRY
REu+iZAc2kPsLOQ4Bm/vOeZO+XV9iqnNrGaZ58xnkmbn2na1CbRF2pZJ2IMbuJClsszdhfS8byyo
vltPzuNdWUX0jDkITqaltK6fDMbSVKwnjv8+Gk4YzZ5HKdgNuPePniPyre5kIpg92jFWozq+aRK9
xsW468+RaT4o44YFxJ/bWZhK7+K5JwpI3uS6CPr1t5Q4syU6etDh1rCTIvuqJFK5N3u7/73pi+vN
N/95ZEQQFHcRKC5/TudD05N2Nqp7aCt1PRXueCqmIOeaGaXnyac/6L9feWt7qSkA740gyz9mx7oa
iyx+JTBMWbSwkxtnkuuGBEmECT6IgSADdF5k48EpubA13mzuhfbMPR8NkXI+gL1P1y0zez9ghy7e
2ZhyYGjW8mAvMj5kHnQHxPNd4oRcUFsMubOmwYPGqep59qPkWT3qdUPr3N7BJAUZfYGlqIOKadzw
5iRGC+6QOyf0GgwgrIXR+iQmblrcdCT028Gu75IJM7lqc+9ot9hXpwKjeM/B6yR6hVGFwl0N13V+
7b2Kitj/Pbtqzaasf1VBWvHQRN5TIgtzhrMp9nJ9crGt5Lezn1t3pWlfsUbP97nqsnMQFqgTYs6+
JhQWCHb4djAB1gf4/u1NZTI0m/XvnUfarRSxkoljaky2PwYOU/D6szzd/e+7byW4UDMHHxKT4Zxl
DYyaldDY899LpLmZ1ho8PmfHTRoKWkbexRojUAJlRJXu/DYnqHCNoaEuwg/TkRc5//cgtv7aSeA5
6sC3ecTlafIjOhTDJLnQ2ekNxdaqqx8r71nl7dR7/v9fVUmBaWV91/hCmG2acHKUbt0fpk7/BAAo
tkoRRnT4V0ZECG7Za6t7P2z19UK485C2CWg75xsRw1BW36gbRdOHqP3ukrru03+fEe2mK3eIyUOX
FvXtYsPdhRhxtNLG+RgDwMOlzTUywwLo9Tc8ETXBUwDh+Us+tt42GgM+Ly8PsSwSxnbtyn82/YJq
4fkcoBgZgPfzxFuq3GsJAObSjhB+RYp2KPSpzePuogZOH2GkHwipPHJQl/e1DPoXzRU0VQ11sy16
s49CZ/y5vfVDu7xtsCljEtphTfaxD8z6SWbtQVvNVxZF87u2KU5soum1YcnfZl3CoP//qDuz5bix
c0u/iqOuG3WwMePEsSOaCeRMZnIQKekGQZEU5nnG0/cHquwiU2zlcXVfdDs8RFkUkUBu7OH/1/pW
MsQ7XQUqn2h1dG3a5ZXS2bYrZC+/pv6JN4DMKcev56dBENZKl/3qtQC/mHSjv8QjC5Cws+LVgAro
puqt66oT26LAppmowthwZEecFffFQzp894IJimI+k/71W9+z9VtDsziw6NFXYxgIdZQ4AvtNeWUJ
TPyaBvFMa/aqrkiHjDnTlaKcnv5sFW41ke29gugw2qdkFxexfPQngKTmNKnAPfNujrItryh3cCIR
pVksQ+Wpz9RgM1SYlQoDr2LnZ71j2CqkJXMIlrLpj19nFPREX3yVWxlGS1zUylilBA4SWkkatLhU
BUFG6VA+YPXLt+wYONroyPMjSrK3KeCii05Ko2d6B6txCLZVUxifStS1ACNU5djH7fWsTnXjricH
FFfAErhJtenI4XNfX4teicO9N07yvpfkgXYN3D6/Chg0nWbfhI6E92iZ9VZ8Ra1KWo6VHhLLDmc5
AfYpqlFeFokKGM/vzR1kFdT2U5VuG4otW3VETBPcyZTJlnFqgFYv+3Jj6ma1yooMQ0VG0IQ+q8uK
IV7RK9TXU2xZru6DdcFAdtkKDjdRIJjmMQ9GVkTwW2dvw1QZdlZEQaAfGJxZdxhQNjoKAin8JxnF
eSJuXhETiBelKxVjj67CwfXx8wVZuk4G+unY/xZyIu/hlEurpunl9TRNB1WGBVLJ6DZDmqUuGmZe
pt7fRT2RocK0zUVZkQtUN43vDgr+LQO3WSRVRzO26f4gwSXDkTT6pl0H6NqnRNxUftVsTGxnvR4n
ezRc9jpmHQUwWhprtOr6Kgjxe7Cihmt6DHurDLq15RPol9LC0pIKLo2SzlBo9NF5F2zjpjDXijdt
86FiU5taHIXg4bcWMGTPm1cn75tUpUARSuzUaVu7U6nDtbH9lWLY+oWNFd7ManPdJPKXTAHWV0Kq
LbzCWkwWAkFbCTaByquBM6XEcRCvUwZjFvniMhw6A850SU6xQppwIe+Y23LOZciLMil8TFmh9Bpd
lCXY1nd1ujIYlICOGrHK54DALPxCHwyUk6ziUcJwOUrqbZtKX8N5/htr9dgxiVNYLQ9jbFwGIw19
OZAnR+3ke5Vq1QJ1+qz9MmNivvYoj4d7Pg5dQdQ6eaW4o5UpQKe0o5mNW8s3tpxq6MBo/NJhBv1j
jqFShGAQV4+2xHPg+IEGSYApN8N5Y6bS91wCPIzBHGJgnzRuTjbW0KAEVcNkZ0udv4XX9qVgo444
2sM23SB7LPLMkacRU/H0fRCp6b5eltVpGZqYVhDtXsoKVrJwqoMriwccQiI3+mmZmz3HdtpOC1kb
aOGVRLyiLNa8qNrZOkEfCsZGSy5vSlJ62fDO+czVc0W53kx0qmookQpDwkrNj+l6YF00cWpuJmEh
by0/a7l3aET/7PWYSOva+GpzcIstfcc32pCmF6/FoCL/Nsd7K6BFKuIerl5XbsJGhiA1dyubVFCv
RRFcUQhudDjSUYf7oMHmw2kf2nEDomxAfbHwZwKqIYq9ZVnBqtNl8D+0R9ymQQur0qCo1ZgqZ5E6
HOiBNMy/tCmH+2EOU08TYjRluBWLJtzavUwbTgNtkRU4ZvJopSbQfgIySnz/JjWGZj+EWuHQxtlr
eXbVmETrEHlJuLE0Ot10SFMk/pUYtwVt1xWhKfejomxfP0g8QbfNIEpes3GRL71MQA8AMC4LSh9s
0MMEcz8l2cRR6u7ajHnKklXdqj6agLTsrjHjJw727G0WD/eisAaQTyBlcZESRTHKt5E6fqkZxE4z
+1bI3gPKSUEMiWH8pWzZGxmMQj0m8zEIrsdc7r8YEYKX7CnSqQJ2sYBGMWFUNuRNDNuoyad7Y2S9
DC8tQWZHHRTwZUYAQszE8+r7mU4AdeFZs01M1AF2wK4BYlabqykEUaL12DU0yb5vqwTOAZMa4nla
ISWCjaANruGgfNMqilpDRx4ELuEvmW5iEkvF0RjlT4aEDJWDFBWfPPmK2NFwa/OrTnhhxu4AFAMF
IYJPltSiLHqiOgJoi6J6GHCWkCKKt6TBuOVa8qqnGieJP+qPQZ4dY7N+fX6WDnYtDsulreI8q7nX
uCgpSJGzl9F3eX3J8qq8pocCl3AiS26WxdqBvMkydM06ACVqsd6NT+2oMcKXQuMMQczfXVHF0T7R
OINouYzYjxzI3/72H//4r6fhP/2X/Jhjjcmzv2VteszDrKn//puwfvtb8eP/3jz//Tei3w2FxqGl
yEK3ZWHKgj9/erwhBmL+6f/BAUaHsBPj4ZOKbQFgCTbunIUchbdtTkGSXWy/7DE6+EOLlX/8bFHp
fW4n89AqZfowyYXn4u0mi1Ty1F3kdXByQ/rJv/6YivHzx8RAr7E06YZtoD9+/zEFxnl0mSXuDV/0
biFG3Dk+pLoEBPGyNdrh0ggUmkRBQuHT4738GjT+mjzO2SzbDUd/sL75QRhuf+x/szED0QxMV9CV
C4gpupJ0v76mG3RRYp+7FQoERCWkKvq63a8Hobhn7kj96Y7Yx8mcPnXIAbZsznf85sErpR16zZB1
q7Zusr0ONmBF+a5btJOBWWc3ADbGx+vXB7mgdjiRWrbSsEVeWsj4qnY57hoG28Ko5fS6SfxgPc0y
eUyu26Jiy1cOlX5rFmG5+fXHVufx8H68qMI2BKdojSabbZ2MF9pYldIG2GgyRt4VQVfiwpe6vaeb
c5JZ2xKm0FafAqPfKnIyXeeKcV8NGVszPfvmSaJ06L95e+yjr0iggtJi68hQXzRd6i9zrQ92ZaYt
A4NvIzDZlOgpYjm7N+5f95NJR35D76+F1IpPooRD4nG8/vUtip/Hmm5YBu+CYtlY7kzz/TczhulU
TGNbrX6cMNGzhZFKvsml0o/ihr8FdIFS87Ec62zD5mBcNDZHuNEn/RBFC+hvjnVZIj7RbT3z0fSf
nj7DX1F1XdYUVdNl+f1Hy3KacL0qV6vXwxbu6XhDSabeBko7qyljdYccCd6ylq9pjbeOoRafh8rM
EaEk3iKxwtJFCTbXKn79wdSfR7NumphjeVr8r20q7z+Yb9hCtE3UrIYeWIosohpUK6x+4m10Tt6T
Rx7xOPWclXNFjGv27kg25AslJ54LZBmW7jgkzF6zp0dT0JtOcMGPGWENr6c0dGXVvlCqCQ5BnhFm
kYJWjxWgZ+pwjGwl29RR0zoRO396rIn5rGmHkaozfunhMjASefl6u//xbtqsX6fRp7wYq9APmpN/
/MddnvLv/5r/zr9+5v3f+MdlSJZ8nX9vfvlTq5f86jF9qU9/6N1v5up/fDrnsXl89w/Et4fNeN2+
VOPNSw119J/T//yT/90//NvL629BsPXy99+e8jZr5t/mh3n22x9/NC8XOi8FX6+F6pwmjqHxnb8Z
J/P1/vjh+Yb+/tsiCYvipWpYgjZgmbPns7/r5bFu/v6bJGT7d2EzzeigfXShGwyn/uVff8TQN1Ty
MWxNaDJvb8ZoCVit5N+Zm0zZZghaqiLPc1edt3/8EUNT0WTeTtUSqmb99s+n9Mci+ePr/d8smub7
WfCnx2CdTBE2B3uArRqVl3QX0I02xUsKTFEDAi0hShPjVQwggQbVnMwKwHMpZ2BQHXYS1gzL3yZA
LWadL9FLbh6vzSfMexoxEcZNWR4N72qyV1SrNUzI04PV7iPzOWRnmo3iImyeSu1aaHvPv+u8TeA7
Ppr8mKzyxzC45XgrtVc430tlV1P5sPZadOzqXcx/7xC/TeGhHkhFyBaJtxMknynhVYWTzRynxdRc
mezh0aTJ8TczI+/wprfv9fCQSy8xFvVWu6qQ0dK7BfPFafkyjY5at4Fj1nk7PXcxBg4g3ugZluyZ
1kq1CfpHBcHD3GFEq7aI2hvimwP1bpI3Uvwgpq9dTM7GpVev02ZjjDvEfxW/p6f1t46SlW7vDQE+
MLm34d0hVKJnEh+GcWWEECMPgb1nKxAluxqoXLBVQWt2R0zanFMCAgLhN+fLBHyH3C3V6GgSfaKC
7FpX02dH99f4dud/I87RHoLhuo3vCrqlUrRL08tMv6q027K+9ZLLCI6pThigG1js2rCwsCjjcVmN
xhZfLt1SJb4s8McVqzI4/N+aZf4fnBp4Q/+17/xpIvifTC5++/g3poC/XTxW39rnx7dTAX/3jxff
EL8bOpsuwzYhCOu8/v968Q3ld15bRbE0XdMt25q3gP988c3f2UcJ2bIA/Cngtlg2//niG7/bqqLY
lmHIyjwr/Dvv/fvVl4mD1gahzqphWLAmbGP+8zdbtkG11HiKVBhB/deCo51q3drVpzcP5oMNufJ+
Q/7jIqqiKux1ddVil/X+Ir2XF9pkchHJ/GaX+FTV7oA/7EITFAsBoJmC3SAVWHwlYlsre5/DRkzc
fCqR4YNPSKiriPSgEHQ4oKsYdoo5csLCCNuk3zjsXSSot0y2aOpdVQxn9k7zvPfn7vCnD6+f7E8k
RSWxL+fDWwQRRhP26gapIDi8zK/wRFU/1uF3y/Db08tHX8ibZ6WfbEajnhMBitPe0RBltFTMglJ1
a9RNv/5OTg5J/7wtw2BhUUyDb+b9d1LCOpwAZPYOKD77iU16uRUP7Yra5zMuPHuBaGQjFhkw7UUX
u/X6r1xelYVQOZ/NK+L7ywv8V5kPUsDBA+EqC7FPltJNc0gcAugXhDDfgajDALnCxH3uzj/6QjWL
447BnpMG+MmdY5vCIlJw5zjB98GCcBYalBflCvytK76r991leUTTsRZnzhk84w+GkgagU9bQZ1ry
6UFjzCWjm0BhOYpMbgDF1cS8sSOELf2ngrptUXxFJUII5kA846Fgd8upkwATSqfl4BhRtRrgM2Hf
jbV7M2fUv1JUYG+Kb0K9iiimaZisexlnLTEkaiJvItYwKrKbHGk5kKB92uUPcqHw+oiN0aYbD7x4
mWDax+Y7xANMkQyd0W3U3JpzyUE5qvE1dRIiCS23kLqNHbZ0XXOXzPp5bc2zkWpTuQjNYN3r6BwR
Q9WFuElTnLgdYNnMd6MAKb1PpkKfbTErIoVt73G5VbtOm/k3avtNn7xjqKKLweozbAd92NW0g3KW
54JhaYvnGqlzB49pxiJiLJvNHjGlxLBW0dgFSJexyRUotml2pqgDzKbZWD1aZXgKpmQvQosIhQGp
fetjTkYho/MNcL7fZKj2EH0DuwLJTLtDIFebPTZ4WKitNpTzCiw0jxaWBRtZuvJd1x+N5FbiZays
xmEzMXBIajrM3kSuxUQlgdAzlBdBEjO1Ino+7qBWoIDUJYXd2dgOXkmsBEZc+y4NQEdk0kqSxm2E
yNYDNVsaFj493FY6paDYXoVUDnFRX5jSLkfe1duXAwliEakesn6dzG0Cqk8YXdzZPK4BjeuURx+W
2Vjrzhi2NNdKeOsapJQvdFpXoBh5nC9RqSyNmrRUYazsMYe+WQI3AbrufyuAkQHut1GY6bK50k0F
tmZ1qxHiDvGKtoKbyrCJ/QWvLxY28o9goVSic7PiiyW0qyglcS+lWI3LXc2A6RAqmRrXJkjIcWDT
Ve9MBC9ZQ8ykwTz+NW28y0ghp4WvS1Zuc6VcxAXnq+zeCEhfJK/Gf0ZFuRARaaXi6wwqL2UKzUpN
E6K8aPOnLgOiiEXSe+6Q2kjInjp1loJ4bt3dTgb0E012WmpyZW+iu3yhTotHOP88jgAFqoNZzbFz
8GMoEdqTeZdC+UNi7WNntos5H7teBVrugIzHdwI+F6KaVeFAEh2ezRJ4SjYLthzfnpwCg5jovhjB
J09/GWkI4Ivy5I701eRimCM0KCsEMxYFGb5ovyuZ4WjSxh6mh75nUUGuDEmBqcBaiqi4GooHNdUW
uQ4YwypWEqo7NTNXlrhknOmEzwhFmh3Ii2jAUDO7atmNDiZtZQR2LR+pwlhm2FD8OkzqRT6iWKfa
1VU0lGWOprK20OPeiczOLeRki8Dkxp4COv3KOvCPstgVApRxT9UeJApAwUKvF16huIWtb9Wk2KRG
vFNSFXx8sNOi4EpUtxn70bwtcakedRPJxCChv0PxC3FBA8RCHvUY3jbp1yncB4axmCbvC4lOThYc
M8qsPc4N2+42eo3iLy0v6owUenwvAeGAHQrTKEnYkcYrOHPLqjFJVo6XaRO5pkzaxY4dgmI2uxJi
J4d1xwiuJp+kEszsVYGZXjpYk9ikwKdb/cnwPicJaqdPOqhg/O4gyFDJk2NsqHvJLkAYE6Qod59S
zIA2Axg32qLL2F43qH315Ui6aNdc+yk1eYUuiyeeqNjRzDSuUouZAjA1oJ/yUPvPjbfUJXE1G4vx
WaAV2Si2dpDR0jS8tDKe6gooY2p9rgXwbOZhlaJ5equl6Hlmd8MhhhBVSIeq9twJvWLtxYCFV1YF
axclTD2iq/SnK408bDCVr+qxIlu1nbXs6FjghVvQJTmg314q8bgN45rsOQ3kLO0B/0orSQa/1uTr
ctg00LerL/2ENr+bVnRUwG7huEMk3oRIkjM6MRSBy8xbJrFMdAXNWCRutpyAmALW0mZA6cXCznME
Yw9RQppm3rtNQNY6rRpZUmihTkcZ/GzE8y0GGndhtp6ML0OP35UvMUImWBZ3oNkWkf9g8hfTDOEY
1EMd8EcWC4Ds4cbM+2ubSvpFbvnfojx1pD5d9siLlWIng61DB4unvLwQ9C77qZsWuUnGDSKlLMHa
J9Y0C+h71MxlEEg0g+Qqo3VNX0EgiSlZG6alPkDII4y8Hjcj0GNcScDmgssKR0RguKiHWt6wEQxO
mMWgxgULtLG2BnXXNOFNoxYLuOnYPhTFxLv6VceaJNvQai10cjc2cXE58jrfwmAvgrnT6Pr2S4im
DgDIpZzeJPK4zNRiqXbSvlfvY7hj0tCvDTtd+4q5kudEao55AwdANBHbyKCTgSRV64Vj0mOfkpuy
Dlw9x8RpRDSTiXjJLjWFiCYNNa/+RWEmretVTbBmm12iFQKHbEPAS+c1Vd/oOU4pSzqOJZMdyQ5B
Me4t7P4T0Ni+wZ7JFHOBAetSw2jq19GKnIf1YEUrxWcgA4jXtI3/3WofKvmrn0TOYOHawW8/4ETt
jGyNDtTpzeC217uDV9ePMhhe+EWLmHa/HqJfVC+1mKY+i5+Ng0Mo2yz7BlMDni4yk4HJBUWOH9/5
2S4ghjLIvggzcZOefBVTuon1ZFdqR8UDU1eMW+hSSxVBSKaRHUDqw+gL2Pd7rwW+DRmjJkc8km4i
dCOyct2Od/nwpHTwsUd5LUfJpgs7vnJ1Lcd39XigzhuZ4EWZ9VEAoPQ/DMohmtiLZTYRQ1fo0Gjp
fJF0lhqfmU3f6vltj2nGC57KYjzKIMEG+VIXKRY4H/1zCREcev74iY+4jttoZ+TJt1KtD0XxBObi
ua1IzZwk1xDyNq/ZkTBHNjQQg+RGY2qtiN9s0vCqSMZv/hy/Y+NXQgPkkv64wgvtqnMeJGpY/E3L
QR6PqfpFsa5j/brrdzH+dOjSe22Qr0RnuxE5iKIwnSHI1iwHK+R1F3gfb7SUDAYAJmChtxoMfIO9
p6IcK/TPRftV0rsb2DV8aWC8ga0oow5indUelu7cwgNU4US9Buc0dQt2nBOonhh3bcMnbWEdN9pT
67F3gKlSsV/rCQcdWH8MdQRMRJs47tkQEN6YQmAzywPo50uDy0XpVYL9qU4PCjvGGJcFekdCWKwN
RFc2dWBpTBvg33jAMrWi5s0+6GXCqiV8eV3Rn2NFhx2499uGgk6H7aF1Srl0W158PPc4IW9TdYsU
CwLYIZJJWM8eRnVyZ9hJZYIT1KZPma4vPVoUKpkudooM0YfrAdiohgbfDt5Gpi/pxS8xK2WrkODq
PVaQ7UNNuJ5CkWngFFl8RvvnGpF8YfByZYG6kOxL0ZYrKHmOx/xpe89qejTzI9MXKDAiA5cdALvK
2+sVSOXg0wRmK8ueprZix81UbGF46ffC/DbGn0kWvgROfu7c9L4e/uPEqMuWaWmqBthCOTk3oeIP
2yn2ejbqnaMsgkX5ktLQge5+UWzDZXB55oh47nrzaepNaaKV7SqDUDlfL7zSFixCrvdcuPZKdUGW
L9OHX19vLkKcnvMNYSH01mWkiKddQzUhn2qwY5A8m2aDgHTTL7WltjPPnALF+zrrj8cIeEHVKdka
pj0Xdt7ellDrqYoSAlfQ0F2G2k6vpl1RXrEaekV8DIEUoPq+GGp7Xkb2v77H11P9Tzf55uJzn+jN
M+0lD7OgxDPttwiug2eJOcwhn+MTOLELezUQ7IVtbGHszp+7Pzr8vr3vk+GTFBGC3pD7HhvLUZjz
R4C7yG5g0DqlATZM35652flmfnWzJwNommEehcnNqhetC+xiYSzAP16BZsPFJDsYx91sYZ0pF31U
v3l7mye1Lrhyuamn3GZTXk+EXnBmK27O3Jjy0Y0h2GKwKjJkkfnNefstWirNKWiCTuNgeF/Pev6L
akdq6zIj2veiPPNmfHhLeMmp4Nka+6KTkhSA79YQDYldrU5mGb5zMDMb2bs7c1cfvoBvLjPf9Zu7
stRgKlXct2ywkqNiFEd7lLcxcC8RPzaEV9UEkvdIKChWj0h7J4Bx82qMKcstAAlFHPN98np8RKmq
8X/4CE6euN3YhgxoBKQamLLyMY2RF557Oc895hM9AIyGvtdC7l8YEDLuW383SH9t5FD5sqHbqbJ8
Mjolv7ZHO2eSk7fpFbK5tXfkkLAM1tVXRGV/5VWYa8o/LiZOKqeljfx4arjYkKQLfUgdg3SUpjgz
p72uOz+95m8uczI8kyHMG0PjbaDQsQSTf4yejQXVo8Chj79OnMgxNt2mvJZuLIeIbY7YS4KTUSeu
Yyc8KGcesfLx1/jnXZ8M42L2Tco1dw2x5iq90lb4G1nQd7R95qyn5/Eq3Xa79DOyEzpmpGoASL+P
tsUNRQp5fW4VVeZR86unczJy9cGULUp8g9Mv2KVvKBLRN3Oyu2k/uhixNqmbr+xF41ITwr55YZNR
EjrlgeLCxZn3e77Srz7JyfgmidL2IvE6a/Vu9gXsdLrAo7kIbvTHYuE7+vNfuSCNDdWmyqyhLH0/
oVRBA5isSv649WO7guLkQHvfQvRF8HT2DrX5q/3pDv+84GmroO2pj+YmdxiSguFRd1FGxSlH5VOc
Rzu43m7CzhjECXzp0AlHSpLqi05yj1CRoWIDBU+9b6r2StUTF+aTm0bQ+WhtpJoPU9hzMmw0Ta0f
VRKyPFQ+MSLQinOwwB8o9/uE39K+QMCiGUJquB/grg6maxD0K73gtxvaKpfJ3uz81ZknPa/dP924
qZqChhW9bevkSZtmEeVBkQ6U1BN7BUcdq9Un8WBQtLocYRNeNItipd6bg4PCz/31xc9c2z6ZZYyC
EoHw+JYbo4EYU7kNsTNDXK2icBvB//r11cSHr7dJK4+iLnGE+sn7VA5kMeQ4+Bxxa8KOgPC/UVwq
gWiI51x1kn+UZeKGB/XLmQt/OLjeXPjk9RkqSm4YYeZnnF4hIbZ3w7p0kItlDkSwxdkOzYcTh2XS
mrTpPmKHef/2dJ2C2haLidMixXGaDX2SVb3sl96axOstUOdtdGYYzaPkp1H05oon+zVyHv9YnLRV
talXP3bg8MnOXEZ8+CTfXOdktPrxmIDvZ8R0S8iqIHIvpMUTDopFd52QOnHuch9uQ/+8nHEyQLFf
5cMQ8cV1S/pNxQWoHheJ9LpdcpRZiE/y/P2tzu1DPz5nvLnsybKoKITAKSPfH2I7MNz6KiDzZM49
i+GPSGzyG1yRKZG+LfyAnBnkr4zXN9efv4U32zkJChZWXa5P6NRiclAbBBdPYiWtCDK8VTe/vtrH
m4A3Vzt5Le0pg7UYz3d7bbjZHsGYU6/EjjRpDqrV3l/DgnGhQYCEhWCwsB68C4PljgQbWGbnV4Jf
j2Tj5F2tNZm9l8KnSdMdCaEXfnf/6/v9cBpi5Zb5D9o55bRvLw8pKK+51Eda8jJeq7v4MtldEFa7
YALa9bvv4njmivMwPX07317x5OjYTloGboIrVtpTWcl7mWqKFUur3IPhTsStIX+rCLnXozO3eqKT
/XFgfnvhk4nIHFGy0c2gqjkVy8obr31CNghFofm/J/lm62nVtkRB3bWgj2LklSY8DHU+VFNpEREA
BGNHOdhF6bAo6CBlBsmbPolxGH5rdSP3Jhi/BotncmZn+rrB/emRCc3mqEZfSz4tKbRdEliFxSOT
t5TRt+Fq3mmDPnC8M2ug8tHUaaK5pWxhzGe0edV687KZfptrYdnOWx3zgLqfZem5X6V01L0N0ECn
3k+uuoqP1r5ets7rerzArLfOl9kqv/Wds+Lmj+ZYC90Kn0nlY5022asMcWxYT/MRtWc30BznAk75
4jnjkRiztXwweA99jJ9s/MQxvIWCfHNmwBofTLxIZCzkyBQAgWKdzIAkhChVXoDzpT16hUt6HRbi
2AwQVKZJ/56XiDrpHCgaSffo4IH3qWX0iWyV4xQHl+OEWZMuDRUaU9JgRrLlwv2ftQ8mnlcsJtda
bVFoNO7gVLmQfhzE3A9S0VEPxGlOlvTBbvunJDO3slLd0o5Y0pnczuGFqkm4k21cQhNyaQgTVYOL
CpoZaFN12/jqrsWmZRvpSgK3p5neJyqkNNnUDcQyKvB8p4oExzUxbRqd6VUYSXcJOSwBhFgZ6fHQ
zfVKGWy0ou0yktEuSE7IXTK5vkhg2hVQ4l1sO6rpf89t5baoVBeYFmWZOz/82jbwh3PIWwaYzrm/
JgHvqCVpX0b0toK72T3eYRcyx4MoDg2mywuv1YCnqk9Ybuor38b/NXbyha+qOx2nmYWgeRqg3sDk
a7RmlcH8SXIDLLGHzuwpBhaeNKDHTIWXslr1DdozgkwmHYYUFWAidDX1a5LBlFdCxIlp7V3bcf4p
Tw0XGCKkTrIrwN8QRhLSHuhy5UujxMiJkvyaKDdXwwI0TnRPDWyryITj9qJIyxu5wdRtGUR2ZZV6
n3vNVvWwUzMUhpZEe6CengEYWDdkgIMKDZLEIj4vInkAZU6ck5TXfhLGQ+dj9GG7rWTFasqAciLS
bYkbJn5J2VdpsvOD8hhFGi6j8YVa9tGstJdc1Z8yQ/ruFRDQ2tC+SxLVtQP/8cz4P93A2QqiMjoE
slDZl/9UJbIGQuzCoBgc+xYVvZtvy8vAKR1zlT7PG0agF+f2xvML9Xa+44qGLBS8zTgvLM042VgF
vgXcDJ4vXTjs+xxsR8M+lP0dw8dAzUIJCfcwgg14nzXw+X//fhHEKXSfUNaoiMrfz4Fx2up9p3SD
o9/WjxllzIuBNJXFE1yxcjPe0QJrnencqjgvPj/d8p8XNU82d1Q+Uolg4cHBcrupQdeS07JIb+hd
u5I7D33T8e+me2XdPkBaO3PH86bmVxc/meCatq0Ca75447TfSXNwpnXzMKOSL6QVOtjd2TPIB0Pq
7SM+lcST+VB13cQjhlREMOVicMyluMhfyACfoQ+9Uy7DA83GX9/nx1elisQ5ZHaWnGwAChEjp4q5
aoQouDYflebhr1zAxm6DHoyt2cnIkYNGTyeIwE4y7UyKNUN71pP04ThRuQP+pViwBt4PzrY1RrIp
uERFyXa24bve0dszIFmWBxcW+QKO9+VfqLq8vpOYP1B5IiTn7Xh/YbvHmzV1CjuDbXwVrsU6XjwZ
h8FVFxUbkXOnjg+/qj+vdloBGbtEJlmUq0XqS6cD09eufv1VnThZqOUoGks5ZW+A9lA5xMmDlNhy
yFVTjs7YdTsK4Q79zQUBhY6IPtccMbpRWeIrPZgoruJy7yPUJH/shs7+rR2rFz3K8NdP9Ic14fjj
fTtxSpz843/TFXEoXrLbpnp5aS4fi/8PrBEIk998OT8poO8eyRAL6+bxnZ/i9S/9kD6b+u9CJ39N
MPR4tYy5VPrD8mCYv6uqqsxFOaFSMrIZR38InzXxu4wLyGKsQrZh48Zn+EP4rBq/A14SeLUovPzw
SfwbjocTVTIUcI1PQAGH7bKqWq+GjLd7ZjUNSOvTFHuVpRr4ZTMem41Wdsl+8E35Sa4zwJYSgWkO
dnCfIQZCLujL7FhNorwnRGxwfbOOQKukBQCRMgdga5bRJulDDAJFE3eEKxTh8HlsleiBH+8PJtBu
ZC+l/AU9kfR9CoS6sUeButHvoeL4fnLmXHByAuEe54LRrGfVVKYd5fVs9eZcUEbxhF24DdeB0nzv
JRqqm5BkRiSGnWIDxZIqNx0l4Spt4mEObslc1AnwCs+chObKzZ8LFR/D0jVVMLNyPsHLcurxCkNA
KPhpjZVO6P1C14lt6pp+PRrmszlAsRCt/Vj4+bm7Bz53emFk96qYm0oKGyFUv+9nP08pZZPMH7Eq
S1ssI83wHhhbZrsjQ8KjRgu0EVmPqY/IXg2UnKoOcgBSZvJUo+MCtSyr16019StrsM17G1rQLXkO
hr5QMBMfA1zdSw1P5XUD5ngvEzRxacV2irFE1ysEEHkUtYTiNdl9KpHIhyclHdZtXyDTDYIO3pSG
fMpLg+qboYFUHlJfXQpOVY9DorCtnZpKt10V6uCiQszMKj+Az9/GgnSshd4Y0roDJbFrYxuTK+Hp
VrrG+UX6CzSHfN1nKfTVWmnTa61BN1uZNpuU3vMxgHQWY1lHMezpQ3MjwdUciBBoJ4AsogyeMoyO
D1lPUr3XwBCNREKzreeF2WiNz7RupQWIynzCEjnAahIQBHXzk9R39Wct6VEcxclEbioqXWRqsQcl
3QSfDpFZaaebbOSwIkqtwxtsK2SA97Fb5TP+w4OVguin61dk7oIHyvH4jFacE4qLbdVOBijaMXJo
q+glt1Yb+QBJB9SZmCr5ntD7+KoI/W7FFl7byK2pc5hrB/JfW2M1NMOw7cw4/BTwx8/hGOakCqsY
6vpcar+NbQro2vPFbpRb7bLr/G7pdcQee6WmXaRdS5qc3vmfmpxoULWD9nWR93K8CYGRbKu+9x9Y
sirQRo2IbhglBMxKPnU3bfAJa8oK7IrQ7f1bvxupvoVFWD+qQv+uqIXn+FkMA0rKlHWRZNEyTTKy
Zcw0Q+YNLw/OZfPVz+vwQLSIQhyHDCVNmk+Mg2ZueuruwCoZYk5CzOlTrDXmdW2O43dgFnq8yKTA
vCaw12OsKSAaTDasDlbjbo98dSi3Ze+bX824AYRuegb43hDa5oXKC+qqqpcuoRwFm7SXxKJRO29f
+WBzY1n2N+jrk11WSPml70f+faOFyXfD/1/sncdy5EjWZp8IbQ7AHWIbWjAoI0gmNzAyBTTg0OLp
50TV2G+V7Jqk/fvZtVl3VTQjABf3fvecFvQUAlEkQYCmvw/KmBCGkaS7d6J2ugLPSkHYYDaxgMFl
e8MM430YUe49eMBlCXA75Z1TeOVdJAFIAVHTZHoxXQ/HKjHr05BbJUZkuvrLXITyJhn4T4Z22lMW
CvkWxwUCW2wU1XeLdffBqRMJVM5o1AE4Dqrk1HNeJZfysw+5Y90anvs+Tj4UwTCjLTaZefwaqik9
Atqbb8xUBD+iv0iMZmNAPiHHepwLeFuyzKsfDCNTZsnsPD/gQjYPRqXKu8Yc8lcbvcQ279wah7EH
h3tI1EFPujyNPBvHsp+QMxRuuMyUy1id9mKBjra2vRsjHcSjtqMXrD3harZHFwwQf1w7EV5DbVB0
R97g8UeXlvZjUbYjFqzA+i5V0p3ASo07Hgt/bbjW+GxPTN6pVtiHQnI1X1Rj1t40WSLulGUCHe7T
KiTVHViY3pMy/THZ3Y0w0/G7n5HUOw2RLz4YQfLeXDePoeW5pEKykRnnyXQ+fCkYlUhwIluNGJj+
u1K5Ij8jtWkkYfVGwLm6qwOZf8vQe0SrIOLBDMCFILAdDehTHfirb1TE/TUDQNUuh7CHQc/KR3Rt
g88Y34D4LJ/LX65fAi6FIsDpOB2v8w0jhZ5F4hQ2KrC6zxa9dMJtj+jm2E5Ntm+wJh0JWlu7HIHY
XjHk/MKiAubOjfJtPc3jHSxriTZRuLc56Qrc0Y5gxga6PEWxFm0iw4CB8QQoiaF/PCbIRnS1bxnH
3wBnqB5G4atXlIPjY91Sgl3A4/GOtC30GqdE/H0eourG0aV/sDU2XmL16r6RuDM4z/gb7DnmgzB7
FlNnhKhw1egeAVr16863ppNvWMFT3Az5OzhUjXdJ4d8za6B7Zp3Wb42v07Vd8D9aOjmglmsJ036c
Z/1sOjC/uwRiKUH8drgIr092hiBgCsOyeB3SkZF8VopzIEt4cTUa7mWTKbtd2YadnlUxMvmlYoek
to9RZg9CVL+WnBAwo/TOQ0XYeF2PIGmvfulxj5iu2IvIzTdWHIfbtpntn7pV1osHMmmg1+DOu6LE
UhjViyYOvBd3IPZrjiK460qcCIyF8gcQcRJglfRI9BO4TvsgVB9T1pobiH94o15RUSPWTvwCAB40
ZPzFMpE4xM2xeWl1NoI1iR0W8LIF5mfNQ8kcY5LWv0iStyfe3OEaHmfLgkkQrHP7ir9VVW3cBVNV
vKKVjM58WfTiRayWbCDV49BSI6zm1rh1O+eK6po7awdjpt9ygLQRx42gQagcGwc11N4RlSeuIScS
3qbwG3eDOKH60fsSCy9cyBWtVnJcyGKGeyZG8XhbczAdZrbAg+fk2T5shHqzRrN7SbopOmfVjGqG
FZAsr1nsCEhf53BKb5PzJt1VTtycrXFuAZ235ZWCJ+zO2MUCWNQi9CsPQU05/rLZjd/sIJbvhuxA
1vZOZR164ow/KNKN93GQdlQ1y0jeYqh46w0hn5kjMO/GNG7X8KWbU68td2XMhoCnWxnme2m79OaV
QdSwmEkJNClT7tUY3lL6jzg2BsWhphMBfMkrLcBpUXky/GHc1lXn3WJ/J0/awO7qTMPfqTEzf2kN
ub0NE4qXftcbv3I/rw9hQVgy0J0VbRVQ/WHrw+vd1irvoVoJjNS6z1CSJXbU7swwqL5lLuAd8tus
c1AK5uApa5GRIMYwtsBXQL2mDQpOZuC7Y4vDgYe9fAnlQOojE1VyBr9f/yKqG38IO2Gsr/DcOdsO
qSfe63piJn+UXYKjh7a9aDJOJtruxo0zacAJbZbfsmbg8hGdPqQ2cRKjbQLsZCJ8j60m/9ZH4YBk
Uk8rdqzxti1YPXDQDu7OEYOx0SnkqzJpx9cEwi1nQDPiZTPHrW3kmCtraQbPeBlIMrHhP+bQz48Y
mpBl+okbXWrpYe9xHCCAc27NP8F1WTs5XdEvvatux3TIQcDHXnrKexbT0jJQ9Lix9TOPFQQZt/J+
dCFOUISBAbNcRJGrMJpe0skKz92QcZ510/BGtoO37kTCwqyHKUv2wk2jm3pU2HVLEEJDiHbPH53h
Ns+uAOmcPLwbqnCppTndtEGSXjg0NUdbaPODFazZNFVZHMJQTgcLr/NR9n53Byh/fpONkIxz2P68
k4SLw6WlsvikK2hAoGglA3Fdo/WTMbGAxiPyblu32W3Cwe80jF67Uwwa3U0Vx2PcnLX3E8cZhsMc
ntrewRu4YWAACZJZpIehseqD72rnbjYTsbHKcF56Mw4pK7dAXyAa56zuJzs0tt1j4brwbEDW6ncD
MfhKQmJYN6ZLPe9q6mjLFvgEwyhLlh/1OFVVe+sHJf1cxUw6zFHA25Ubb330ZEs0IkxIqH76RRyd
8HxsZOUPlkD7PtK28UQ2XB6GMBrWYV8Pd1VruttM9S1R5rlhgsWZzHPZzjPCpUr1eEcm5d4bwqhg
Z5YZnvgwfYU81ncbGNPuqeOl2OBcCldx3nY8auCjo50rwtm7E26ZL2mZhEeIW1C05yTxS1hHV9Y0
B9YWDaoq427pRb796MRZ+IofmITK5PvZXaWmYsRRMOY/0OiaJAM4pED8mq7YolJIce5d6a6iRPYE
MSJ1lzWTREA6lJLgPswjtRo0e4PJHrXRFqcCk+jG3r4SlevJ4vwkG3dl9lZ6W6SqZbLeNV88ZLv3
nJCBqwSMLp7AGkfyRvZJcmtGOtik/VxsoUk0r1Zu2N+NWCCmruNpbxpV+zGmefB9sLT1oTkaPMQe
D31bx8WbSnT9yNgWND3P8KGXOyydelNl8fjs+kAgVypL61vcIBxYrMH0Tkkg+++9VTtgzaWH8Lpg
mOCuSaLsA/fkdFRzb3ir3g85o9YzQBgliyxYmXHRblMdONZtIdBaQEgIHfLwV+QcNLwqYdQptA3m
T7pKFER6zPiAAi7suHCE/n1Z1MxyJf54iRLLO1OkYI+s7A7naAcAtud3f6rqBPsscp1kV/eh/+xU
qbtuYS5uktbiSOy2fopkfZ7dV5C8DlobNwKnbxsdMgvoyrs+6+kZzx5H1i4bl9lUDFtm8dRPzjTF
RRp9t81g1hygQSugZn0AEJW1N/8Rml2zHwszuBt0Ip8NtvA71ZgcV+ccegvrp79D9YvJwNTavjTo
cxh7qOb4rDOmD9nF2UF7K1arWfP4g6bldytMjGyVdPFraVU/VVl2nS8MxEspihDhhzZOceGM3wuz
z37EGu1EDOTNg5AVWredLoZ74mBuwMhHwaQOvsTqGKio/wYUOzqbXpXem1plt9bUGvusQrrG4Ioa
MdIgfWQAtNH90U+FgabtZBiMJif9qhNWucxT8FkoxWb4/XO6n0zdbKtulxt5/90WfcdwSSBuU0e7
R2YrsgL0n5pwrtbGIegasc3Kqbs14ME/iAr8OkJ6YyEgTy1ReY0rfEf2yVZjfW50pS+TWQm58Is5
f59RL3JzsxlVwNARbOA2Z3qJ/0xtvdBw2Osit7NWpVtXT7Mp6TN6ZoosrgqOPfC3Y1zJemMVPCiD
b5gHTrFMPBUO3FFuVji5+lSOx6Jh+oLXeVQraB9MjzQ5P7odozICbvsUlkEorhzB7qxL0rU1o8xb
9ofmWQ2KTvyA5CibAMPaSRi9BzOKlBO+Mhd9Rhhjxab+HYLJT16zeirWkV/VqyijEsNXHzOB2/Oz
LNrCAb+9cEJ3YPRiBjI5WcqyV8E8zel18BDJEkz5INnrfKCukOgA9B+oHL8AWXoF39Uus8OlSr5X
lUc/wimi6OjgmeNpFWx5XRbSp2g0Z5lEF79yq9EbNvruwrmApx7f8TdgxLa7ghiLS74KGY/h50+N
U2GFLH9W2TaLhusWkBiJ6xob4B6AJhk8wbRFmgl91w/c7LgbIkVLsytmbNJe/suBKbpNw76/cEMD
JQdZollz7beXeDWaPYaPajWE5ngALMyNl9//R1M47h1AXXTtiU+FpvXb89zgylm0g5E+e7hraT3O
3LMXWR4VDygyuZ4RUn7wm7z4YU4mo/R2Mr1mXTO+qMyc1kZnoFKcEpAiLqXwHb7n6D0X+IQnWO4P
lQGzWkVhhL7RtWnZe3a2dn2zOWPdVMmi9zjSm/iZ96VhNj+wnocfasC4tK71rNadM0SHsmrr76OI
sk1v1NGvqrjqC/sWnwcOIBdtk3Sbljt6w6JjDSWR2CyC/8ast/2QuzpfcwAGiRJpgapv5EUAIKzm
S0bqwVlG7jBguB/7hmJ/1MLQsnrP2LOspTujMVlqEeU9QgrzGB5361XmhcVbHnvN25Rbww2E7Pkk
EuplQF7QWCU3ccE0D4Jj9FNFYL960Tw8KzoPy4GaFkLOYLxpeOfftcPt2ZIUhagERV2FtQH6VwL+
+H6uQkEt0Sj5rwjEPEHHZz0J+6baG40eEfhU6cmGF3/14uZlewX7MQCUC99+iv16nplDrPHdw95q
145vYPkxvWbfzW2+Y1SZgFqe+hs8AMyCZhMgvz63oqts0q4ZnhqneAfYud3w4uBw5UzFwC6rv7EX
cNVe+df3WGkR87V5UzC22eRbfiYN4qy3N1FkjpQb+u6j8aL4vrINA86+m1g/rNIJ11E6RLceKqEG
0cHsP+OWLy6DPQ5nkLjZr9Cwx01Lhf8hYt94ZORh2tn1aC7d3hT3TtFS2U6b9rHOr6ICFXjjM038
YJsQ8d/nhc1wuQz8jVsPzlPUMEXuB3P33sqeWVHKjbw+MxRYJ8AdxgTzGNzmJdjFfprVG6axK4nW
kfNdZ6fiCXuSeAmSLpBLWVn9LmqFdZiHguqWKfM3x65JYCWBxeFfutc3yDAAESeFVJtGKlzQZdJf
75gjM7IjQnSY8Mo/RHOKDccvpul6d2dwlCW+emq7NssYohejhT44vfJmKW+g07LAk9nkDO7Svpi3
zIvnb16QGPgYGDz1ck5kyBPcQ5tNelf1LjHAaq5H5jhN9TJG3J2Bcnp3FcBr6P3X16/2p2Ire51w
MOP4/9FmrcByxM3peinH2hs0jHKbildCZqN2F8ii5x/91YTHpTxe97ADD14RgGOFsjDmT0LiyPH8
GiEj5/hdHjVo8vyJaIbThBTnvNB0VsHgKJQuRXd1eOjmcZbMjHaptI8uXP9drux62xYM7rHNdWrl
XetRYzFgLg8hjr9b3I4fUp0O944mKMG5t8bvorpqZeZpeEA4mHFCZrr+JAzAeUujbtPVQFX2mBlN
fYP2gmcguOZBIqOXj5T+8Hm6MOOg+VYpm7kdi0trcyMixYJnxEfuic85JNJtpT4McHeik1ML17jX
mYBjYoKbsR9Aa/OChpKiP5PXJqOFeESRgjoKCzXKC2Iklc/OvAzb0QoOvNP2uAS2yizuUBgQNn2j
nu4zqirEWVwJUh3XWB7ynhkTnl7pjuajQf7qCPF03tpp4L42heDUM8iQ+qCIMQaVaRzvpejbXdJW
wKriRFC08orpVoV9+66tnNqGUUTlc4YfbzNoKDdTaNmvJhEhteisCnZ6C82K+Q25N9UE1MoOSyJJ
filaDx6ywpfcI639wb1mPBn0Cl5trg3uPusi+5eV2sFPI0zybTxB6NJdYmxGDuJk5ooIsEYT+AxI
5aP3yIlXMiOtbZPh0brOYVE26SO3yXHTEDdZmuj7vpulRaHb4P9Klc3TY5hW5cYeXPk4Uka4CFeV
FNnAPjAHh9MWFMetMIMrAissdl1eGhuROwjtIYztUiD4L9BuoidZMcGdopN4a21rOogxyHlmXEQX
qSidpdZ+dk9Pcr6yypl51zgUKe6Lbi14rbCjpTAGFyofawqaBTUoiM7xuoqGeFcUqXNPa1Gk69B2
/e9DrLJ9VKfFpZgMLMyVMH6FvWKc3CuHkzuE8zZEYrQX4Rivh9k1f+SUKhlMZs58TSOlP+gu9/Zt
0uFbanulbsRktAclKKGUZuztWDMgfTQ8R1kgAMCiH4ExE07tJqmleK19HdAISYpvtq6ao+Fm2Zor
1nTy8ji54wX2zlDQxWPkdd3DlFjmKeG3O5Rd3D91MaV8COQuooaC/QZEawtkw45YEhbzRCSJ/Ckh
tzCu7cfUrjB9WYF8L8tyIHnVmhdHdj5bDJXmdDJ8GNmiOw7TgDkymYcGKZnP5cMvOoolJOux6MXh
B71K6q9gWrwIREkbrNKocx6YOZ+wwjr2uxvmOK+yvCWWFWj30ews6iqZGao9pQTzXmJbucfQoU+U
E8oTiGIbkXGWznvZt+465p9cAoZlGtzpnEvTNPlbZ6gJ1biLBGVB+aMlqlVYl5G9Y60Y9ljaoCJ/
hdPkQGGcsRpPQl3iwQ53KH6aD0+W+tq90aswp5cQhm19kJxpbsturk92Nsyr0ovTezAUxX0PEvan
1VjzuTJhnbhpYMMzt+HT6bjWG+FUnEdCKzPWSqLUjEmAPeZUb5ajEVZL6An5moiu3itDw0XIRymO
qqDezhfqB0fJcs9oZerd66a19i2lyGMme6ACPeHEzo6TtVZ63Cch/pMU3c63SNXIVWl9oScTzmGY
ouSAFCK9wJvCDRk08ibWIQrpyA2MFzn11iv/GM1bmdfZfjQRy0q3DFhfbWtleGX8rS3j7HbmVyAR
GEKentECFJOeb3I9OAurNrrz1JTGtooDC+IzDk9qml63cPXIwDkzdlwmMjd4TuIxOjUR7BB2+tp5
Ek7W380R3YgrS6B8d2YuL8AQhyfTrtpwYTtdYMNlsQFaFHYKNiasBwDjY9wixvPB195Uccqjh/MY
yrNQEnaqNThrUWoVENlyFQyHdGKWGgrIbdQHdARC2De7yMUUNnvSW3PWDD7Gwve5kytSeQ7LwFkw
RYvXs9ANheQs3E8ettWJ+OIHq3t5UydTdvZAkr90vQd7pYm9ivKrAc1oorz95I1GxQjZSNV6Weel
+qFiOLwLNSfzrd33UAam3BjvOLqHezeouVFx8VFoeicpvzPhG6x10LH1/v+sSTtdMZymSwTk/03b
e34v2Pm7fxL2/von/g6agPD8j8Wy7RD8o6TnX6N/fwdNuBf854pYBjAGYJm4kPU/QRPDtP8Dq9gl
oHLFkF1RzP+TNDEs/oXcLbmBCgh7kF7l/way91co6R/5B8Wn8OTazJUrOgXe5/moybDSrq768ULj
e2OvslUombfmvdu0W2OfnKLtP76c/xtJ+idEzuPP+mfg4u8PdGyHjwPuRuTi99wDSJ8JV1szXvDm
UcVMrQ8v9w50kBk2E/066uJ9IhPGzwX7U3urlfcomQnBnJbWxKDlo64rSs0GW0CWwfiKt2ac3QiH
niOrIgUw9DGAM0rZP2XAIZaCkeBNzGZJIbdN17Ns7sseZJ8XxMcqslmJQqgzuHVPdtF9kzUlZmFE
P3XZfrPALy+0W8DpjBN/28R+sfR9xNF1t1MKUzG3zzOAYgThyn0IfOf7XCFGiiUYMF+hNPRQyha5
daBLMXJpdBuK3ry1mpzoMkAFhFTcoQAVWUwvmRCm6phOUW1W+IvZGDidgkbikgBgqrzl6H3q3Rqi
T/GMVWqt6SgsJ41koc2QiaWa6IxknHXRUcNB3ETNxBy/R3Z5T13hi9ij+fvEhXP9EXlyCe86PMY+
Pabff8Qusa2on9RwiX3rOYGUYdgVFaN4NTdP5Rjvi56fogm2DTyNPz8/BLM+Pz4mYwQ89p7yPPH5
kx03qbSZGf0lJB6DhYANfKze/vwZn/NX/HlMlvEpksAwCVrn0zOKoruPaY/1l+zqIsZccMJcsG7h
ppY+lg/eF1pbyqK+PXyj0/yThu9O+dMve0ifEq4oC7b5x5HTm4P4DEcJED8/hXhmOnwfkHbwANrh
R+nkallpvLTVhAqDqPcDfpRThAj1z38Pq8Vv3xnsXtjBgPSVFORWPo9g5OaYZzUNn3M5mGsllhEC
0j9/wu/zDLzLnz7h0wQO8o7eoWZlncmd0f/216IIfqbhcMlM9+nPH/VpRu767LlkxklymmAGlPP5
r6FqJ20b1vpl/D6s7Zv4wKDGnq7RDS2erfvFH/ZpfOXvT3OvOTVwo45jfQ7gFmNo6DD1ykuQIRTR
tWktG24lG6A+yakpKtypHVTEHLcqdwxobwnZKjIqxAQ3DYCyyJq29BVv60rf4zx/GDqJWE8eNKdK
S8Bf6rvygRpgd0d5KV3TiORQACPRo79yjFHoLMvA3vz5K/z8PFy/Qb46kM3MpgOW//T21kQXkj6d
yos0D20foG0Mv8y3/Z4q/ut747dx+ZUgwgrv83vql15u5rqtLnncJSs0IPd5DenQkc3ObJL7NgwU
4+4OIw+Fsza86U7o9Llzpcmlb5oXKrRuDJ3iaaRPSgElWdaV69AHDdw13ekHRUtXj8FDSGyhNK70
42oQi1oFSDvVRMu3uZQV500anEjLWOQrfSy69rkw/ZduNAVcPLlNhjRauhMlHg7U7hLDExWXorxw
3TpaQVzutKXLfTjnD07eng3hnbQL64g5AkXtsyX/VjTxIo91sxgZvF3nFQ740Mi9TUg5nJ2nW2c5
9ZsO/taaxm67HBy0TrjJV6mL+kk3N9SMuZB4t1nr/+yzhoELTu1RHB3jWbcr1eaAlLPq1Wljc4t8
4LVLayTDPnUdyE6UHuZkAOlmEONJOMUqCaUQ5wapHdq3Ttl8n1P5kRnXinMfBbA7p29z0/VHk8Ph
Mo0n72BosqS2z1gNIy2/GsuBXzhPOJMb31j2fvCaji8ZBwLVoWdKXywjDtDDAmHCWndrsEkPPARb
1YXVjurnmoEUdZsjaV12QHDLRdVQriTos8ixR5eMYEDSzB5kZT/WdoVdyRoeJ0ccbd3sOOvWx3Rw
Se+N1jN0hvtYi2Fr1TZfVxgG64R75zZNw52OknLnDfKeCza62yR5rWoHGbThLEPCBseswOHdmj3L
MA3DoqdSU87GO8JDIia4/zgk5F/Nev/LluiyGV5ZyaZNdvjzS1UgW/dyZy4v5Cd2+SFaARM+NHux
877KmV9fz9+PbNeDE5Rldj+ieJ8BtWqQc9emFTXPJSLqx2EbrqlZn6+zJPkmQjL3+OflghPlnz/w
0+oeJwjBuT4WF2tbw2ZI1wDr1tY9D9UCSOIV1P3V1KDp/Pcx0b1+Y/CnWX2FbX2Kxw5xafpN56Ro
WV1xiuK82yhio89928K1y4Zh2bAB+3YX7kJSPyurJ2PlACJoyg1FSaLRKWiPURnivm28Fy8vv1nk
OYj/CffkGi5K4mx6cJLw1KrxpJOghYDB74sKu14kzEQsKTN4RMgk+C/XwvRkgT2w0fB6EUt0MZAm
8oqfXV0/Jal1o6OSQD8gKE3rRCDGhQ+WqS3+nl/F9Uroe4x8Ymh9SGSgF7Rjq4ObJjTTjPIwSF1v
UksFb8HcPFJIeQn1oNYD6Y5908bfMyvCrk7IQtdPoWrfMd5zfHWGYNH1abFOEgRzYD/zJWDMu7J1
/UUfk1CIKmPYhX3xOOb2Cr3kAd1luqmHoD75onrxocvPXbzMk+BA+GhXx/kmT/KYZlK9kx2Yu7GL
gIM5hgvysDUW8UBioQ0QYY/eE+3HBE6vdrgXiwvKTlQ2vOG9q+lmFOuKQg7pgF4tpN2jZivyU8qo
VeeON44AslpLC7dg4pWnqk6Z9yblWQ3dQ1i4akGR6kFBA91aLSNhY9uDGpw25TAm5LeIiyNM4Hed
3QOlkIANlzSy12BN7DUexHa2vqF0wXVqVFRqR3ft6HgfdPYx7tKl19GizhPjW+oibxpU/eE72HPI
BiZ7r0qiJd48Lj4lGCwQxvMhawmDtZ4Hgz5yK0LV3kdilb8yT7+G1x2lyrPHQJjdU6DDZkeb3V+N
zvga28jBpgSM1dTX5CP5YxZJZQQ7O7NeckMRua2iKN1FmfE8N2P4xfb+30dkZgd8Ss/M87hUfT6d
XjOOJnS//fhimWJvF/kmTMobPOFffMynMf6/tnhOMYiiqZRycfy84pVZJ7JycOMLwZkl5NhFspKg
yZyN+BqM8N9/E8uqxXCSYG21aJyyRP1jWqAfyPIaqRFeuIvthrfukl/ik7iP9xjdb50dQ2zHsvzi
7Pcvd+PfPtT+NEGXB2E7VKgbL8062F5pNOnWX7IObZ0NWsSd+GJhv/4N/1zXr4qNax2AIgFHM05O
v/+NrdMWnF1y+0xc6yG0xE7luIjxEJIG1smP1ik/OiP/4qT2rx/K6BqHaUkD7/P931DNmHZNbJ/N
2Hqa3ByT66PP4aGkQpR3qIs7/xbR9OKLLeXzHnb9W9nFGP5gaIDZi+vv/Y/fc54HxJGlNM+pt+xX
3iHbRBu5DzbtGgZCtgCRsv3zJ1pXH8nnr1cBgoFg75qMfXweNxNzl6nGU9yCQFJXMv3VVREYZ5Xp
RV5fOw6KPi23zh1uk2dNx43jypKSDoXeMvxgfK2E/pxDZe+mHTFptIqZjdTS+kbsLV+RenTJZPnV
Km0R5E0AtuUQb1yjie95ovNFwRa2m3pNCy5h2bS1OJF7Og75fIpoqa9rQq1gIsmHxgxHLPseb3xa
ojmBRm6sZM4ZvevSdtGSe99QKL6VIYTPwXuc7H6TVd7JSUvNpiZIOCl4kZ2dXLLCW/u4a2MbEoIj
w6fBiBT97uKZcyTdqC7fMXr4ymO3JICxZ6AaMx41bRE3mJ+a8A1lMbl07O6hoeBytjbuwUrSgcvE
0Zrlg+9mcj1QbgXiqsRRtsFWjh01jdRwOPMFbnbuif0tQYXD7UbwEeat3CfauifaV2/yNPdXFp5c
eL4WSna2JBJh8NY7IjZEgdU2bq37mdlBBk6qfi1wcPUB0Na4svSrtCBkqGtZSI/+uEaT95h0hIqy
pjrryFBPXVU8u5kOtkw8ybWJiWkxB+KnVQumYQF0loW6yZFfkc7r/FUPlAkRsrPksY/W7TBRs25M
epZO/ayiuLl3Rvkccva/b8ZsY6oZ+7QMuyUW9w2/WLex0lyQ7rPEpue4/GtIzWxviaYFwNq5aypQ
iniqsbLL8i7zi2BhtLX3hqmXcZKUEG4yDHJbzcHJ9Nq3ioDCRqj4ZJUE+cI++hkFw+tsyx91YH8o
VbyWnj0fiphWlRcMPYxV481wi0vptt2mdcwTlcOVN9HUuLaF6ZO8WnUsFpWDuCVx5dqR9mko0mTF
6MwrGTY480qrS+nMJ13yvSblvCIXunVn9C8B9sGCJ3WFJQ8YfdrYxBaJeMlSsuyGhyrvcUMPKXcH
Ye0jo5NP2o03Sl6593Owo4+DtkEWO02XaFl77pG2UPlIje3diRk1sA2tV7KYUbp7w4IJHnNpl/Fl
rqqnsYP9aPpXnqlz403JHVnfTZ+LNfb2kgc1I7Mtq5ui0fsqOAiJZRehve0+0W9ZYspDLun475Uy
LYr3IoEZayar1m/4Kso23k+5eTvZwHqZqci/2D8+TXj9XRRhIFRehwklpbLf1zgZzjORjYIFh1tK
1htLp/M28XAkznMfty8dI/1/XuP+qzTydxmGrcOWyrPYS37/RL8epGsbpXUubtobuR53IXO845oE
EFTSrwZqP827/nfR59M5QxVUAVOCwOd2xbzagfEPtYo26dL6Dk9uUd0Bmg+ZAFp9VUL+fB25/pUe
7VyIqGSp4b3+/lemsF4sq/HMcxxwzq7r4Idj6OMXX+W/fwiFeekynyzd6/3kHxuUCfsz7AfHPDN5
t+nvm1vCNZyw1/U6PYMCX1TVl+aR6zXq0/7vCMifHAAIL1Gt+/0jsz6qYqdhTwzKbFcMvyxiV0ly
E/VflAP/5bn87XM+XedIBodsyXyOqpFY1DEmWfynXAViA9ySvrdInv752/xcDOIXo5Nhob10uNMh
D/r9LyNwzgpgz+a5KiyiLmRP+8rc16gRIOHcTN3/jlf515P52+d9+vEo5JmGF5jmuSlsZvJwgYRd
gYY3Pf/57/p8Kv3r72JM93oP51Tw+RTT12Lwe4h658n61thwG+FWpV/DFP7ljOZIU7gQz3yT8eNP
L5ruuiRt0E6fvaEnoja5H05s4VYQ2j9YM//JtzCiGtN05rZG8SeleSBy7H+TKhAPuCs7mPADdEur
JGlkBsRdujC/CZDGf3Ga/AR/+vub50yHYlPaFOk/1yZGhxGwmfDyWRwER5qFWHc/vVX45qzU1jjQ
JIiOX1dE/u2B5rrD/C7eQ5Lzn14cetPl5MLxP1v44a+x2mZbTnJck/uEhKdxYyantky/oED/y69y
Hfl2uZdwB/ovdVQh0UgUJQH465UkP3j78kZukoPa//kZ+7dFHUQTJ3OeMdv9rxP6OPT0YuzMPM9j
0hzaIqyIzUzDZpypWcqw1MuE2Cz5qOmbKa/GaotNUrXVmlmZb3/+//Ivi6Jrqitq12cQSn4uvaci
6wJL8LznBeUBLuRj/cUd6BMt7a8HiI/4P5ydaW/bXJptfxGBw5n8KpKaPMeyHecLkdgx53nmr+/F
9MVtWxKsrn5RKBQqVTnidIbn2XttimjUfggQE0dTRaTNOuW/ZJl32aV1e/0eNcwr5PptsAmARwnH
uhldhRJUcEMA3rxvP9hNZzvhxp4gZuWCPfzMF25qVP2RuNm8XcfklpkyejHk/Ywv56+GkLEGH6OO
F84mJydp5hFGMek1sdKQDHz0Ak8xgF1FFPMhwL9Kxu5tG4sbALWouEXzno3sQiF2/Yml8G3Kktqd
U+3390/2pMa3/ATKBix0YkmgOj58mggJyEO2poP2MHlser2+cSRnfEiuZ8dYT1sdQH1zYVk4e92f
Bz2ap5MQi5JR/xu03nWb5Kb6OcNsz1z6pxem6pPD/HKBliDMkv+gW4Qvf12DZgRW/kCyxWECeIBv
QrrV8pw9qhCvjRyNnN0SRtYj5F/CuJEbmrBmhEx6bo3ryJTqC9d+Zkn88nOWOe3T/iKLKeLqkjkd
aPBuQvmlGF6UcpfySaM7+/7Znh1Kpu3HKZ+e7XEp1a7UEoUJq0NbjFeG2jyhY0QRl98hcbmJLRr+
//F4lKYJLRULJ0NoR58wdgHMfUM/HZRJRhQeZaVjTFrhUOl6xRIzuaIxFef7Mc/snSzBvMRz5XRP
dNrX2xmkcj1iN5tIuwwsV/KbyJnMjjAtgtURoV/a0JxZcSzmfp1pCrUcpo2vw0FCm20tLqaD31d3
FhYODJ9luSmF6cldeRdoYMT6Dvvl91d5ZslBRsLHuRBK2CEeNe6EriBcoqrJktPu8nW7XYIA6k13
4YU5Nxl8GWdZBz69nKld5LiSGcfndQSwOj1FHpxsBAar5fssXoGR/ofpA/9mfm7n8n4qGgGSx2VL
FMpBxBcxHvTV4E2eQYgDbvWdsVb+XBrr3CpjEXO3pPzRCaUF+vUCIZsYUQsP+2AoCKXbNluXIcQ1
KSdXLSQAYzWo3Y7q6rq0fbTYMzLA0v9DM1FdqwG+mEwqiMjGYBCkBRZcLXaCnHY/1ujaFaZdrSdk
eJaor21ztMmWF8ZdW6fVPu0KUjRqub3wYpx7/ReEk0YaNJm7x5+4GXbIbmNdHKSY2JRMPKe1OJgz
iSdZGr98/xKem7Xp51IKQ5/EP8clQxUVuIG8VxymIEbcGEz3A7UQRaKfF9Rqcdu1tGyzmsA4hPBU
h1pwijVRYxd+xrlvEAmRjG6OuY118+sz7PuejJu2EYewbarVOPlX6UgrEeUguVxVSk0gaBK07UPI
A1bmVa4k5Zaw5cdIGv+Ce7hCeQ1QwEA/GXeW+gQOMMYZpISXNnBndk0wHklvF0hlOP8cvWxDpFLg
S/T50Hjqz9nN3ehX5gyvo6P9rDmZSzjuLsyGZz/gT0Mek6fxCg1BHzPkwIYJyqfmzds3hF0kUYG2
TFzx51L/819D/+j0+vkqj894YSEwW/vmfOhTq7uf0Erhz1UiT2QVchct3iuYCWhM+5bHAaV8NMsA
AKosf9BclK+agWgzaEevOJmh3/r5gfae5SJSvYGsgFIUoIuTTDhUQxtpkakEqIoFrZtK/tG1tttl
KCXMIb0fJeiN/hjfU8S6pUoL2tPkp3z/7p1/ouz9CKalN77Qoz7Pj7XCCRpfz3wYSY7u3hnzwgBH
bPx/kyEfMh/X0l1RTnorfNBWU2bzeKj6BTRSZfM6VPPiIbPjcNfM7dbUOxLCui5aAcKmYZeoT/Nc
JE9WHGM09wMcB1FlE+NVR27Xc0iJhLWjmPhqBP3sVl2yyYcchyR57etBsdUNRbBLXP3j2wQIy6Jh
g8CQlgbr1tFGYK7NQMr1mIuICke3FsVBfWmpOm4kHI+hfH0UcOijohhTZnIje6zkbJVJmFOy59aE
hNnUqyHlMEgWRzW9KHBUKXzc1PlwIc/leF3+9yMUEJLgxBSZdOSvPwJTGn/SS8Ohq9qVhkIMgd5q
XrylQpD4UVKIjb1inC68JZDd+Ys/f3TLwPxkG7KkzEbrpAWn9J0WD8pwyHEnVUnZo4bAIql2Ag88
dkaaCqajlhQMBP4FSdE+5qXfG85l5Ba5yAggz5ftp2w7Yox/GmWfXeej2m1qna7CBHCnjEuI1QQW
PChDe6glmqS+YXC35c6lbYv1OTYLrxu6yJvLnMjuTGHVU2cA/0MqPHMyyl1k2zAmYi3zkjIkkzXx
f4Vasi1AITtZNXm6HxmuOgXjzkolfZ9lYlhhxPybCD13ylkmJIcyy8qaA3ll+nHskc8LFkgDRGRG
8nNL+Y+vAFgZxfR3puCD2RWPVi17cpYNHm2ayC0NbXL8Kv4w82rY4o80d1U3fsht9BrGLR0uDBsq
sniX8K5b7OgJcRNssJTkQaowCgayGvyohYbeqCM5wDCv7LpAaJ222GgVXQdJZP/E6fZcp750LfQw
dLmInxibYm+G9Zf6NnHuQwW7FiytUliy29fpxpLHYhU34nfQs0lO4K04SYUrJTEtthZhGq6aMLe3
U6jfz37RuIMuXQU+MWdc3DYLWFgFttmsknjjGrWgDkRAV2Kr5MaKxilDbknl6/SMYA44Sdi6COnz
ha5+o8rVutAJ9BxDb7L0q9wWr76l0vXvmErWZNHeGaXc3RajJVZ4sW60LvoJZuQjxLuOfzmRIepM
u1LG5WRIU7uazKG6m6FPvOtGpXnCjpilCX5dBVlzCOXkPsbK8f0sfHw25+VHesqZbsn9Yoo82oRH
aTiHVWj1hwALryMXQHrwiIOUSF6/H+jMPMZOx7LZaQjm/OPOIb7QcITA0h8GE6fH4EyXCbFnZhCu
AKk3tQ+V8+nRijIonSI3ttoe2gp+h1EakSvP/dOgZT8r1aCj0aDQmsvuiqDZ7Hpa4ofN2Y88hGtE
7trm22wOrAL6YOI70pbJPxnuU15PxFrk235/P07O0lj/qLuDpiJOSpDSfnQOGYPRztO+7/5tL9Q1
W3Unu0FqsdL31jrcKxeKQsc7vWU4TbXYQgFpALF4tI7ord74NDuaAzqTq0wzCsfs+rtexWDe1NKD
jDAIw5mx+z9c5aKWXQ4KCgjzo/crYXUtlMBqOJAYG/mavF2aG0tEV3tbb2z3ktRUPn0HdPF5vOU2
fDp1NZhiZ0XTEQHWhVhF3UB+px3SpUtherB29Zy4b+SaPL9O9PjgEzGuYlPNV/hszSvfLMxVaA3t
npbm4EZUEhf6AHQGP5a3fa1KF1af4zMHT2VxLuBM41+UjY5WXhjRA0qbtjqQIXjN534YA+OXqkr7
tNcufOmny5wh2BNRGkOvShn86EmA5KlwftnJwa4flB7Aaormx4LVA6g7rr3vn/vptGJwOVTada5Q
pWF29BimHBkWyI0DbSYUhJOrIQ2Lsdx8Pww18ZPFW+fO8XpZhqkAoDwaaDJDXVRTXh/seCABqF/8
fIH4i3sN6Ijpo9CK4TxawfWQVfraHkm69O3QJjnXdsUMc6bX/RfKdh8Q1f+M+E/vYkRPMBL8NbuR
zq2HkJRQ9vxz2H3A+yQQMbB+mCM3sA4NEp5m9B1yrgNOCU0iaWVh7JSUwO9msv+GlBn2/jT9zW1J
PwTQeLwktn1iMBNksdLvNm6gwWUB1GP7r6lEH0Sj5V6nRPWTNAb0yrruR2yN4Rpkw6MmodATvv+z
L/reGbqJsO74va8G7aaVYneeUFAbWZm4RjHEIFNCcxP4Ru/GhlUSi1vMV6k9BxthyC/gAXB3x2i9
kbFagYAZluz1eLqLcus9GOO1n0DeU9iRW/7s+UnyWOf6ldXPHzpf86qrkojtoUr87WRfmwpc/G4h
zFviYKBM9v07Jje2AkHiRPk0bGXEyk4V5kBQ4KSsolYnWNiM79Se1qOw/WyjiqC5GmK9Xc9DD3jO
yjVP6uVknctkpMttc8MKTBRuRuhqGOg2J/LhLmfxXqKYzZUwFKYUDRiVWv4UDb5sYZjZcxQmpTfo
QIT1jOTw2kwfKfw4hlVL/P+GH7E5qaggSNSOTdg1yIlWeh3R7FbLfiOBy1xpWD8WpJS/1iAU+Gkd
uh0boH1n+dabaITYKQpozQsv9fLRf92Q8snQoqIJs0zaxx2CKBp6jf1jyVl38Pip63ht7HSSMVMv
/3spxe3MB0STCVU+rQiFGehoXYhZ80TJP4d45+/lbb3VN7L3vxCfnbsoFjwehYZv6QTfPo1+A9kq
Lf8td//iRTdAGlfTmrjPdXNhrju3uKqfRjvmtiehMpQhXwPLTu/aPzkWh6voCeTSRkE7Ahn7Ihz/
dH+jfxnx6D6Wfd4kXZyXlBWH56VEETroQXIi3wlx6g44Feh8/GehphRsmFw/X+Zy0z+tdkpsZb6E
FYFOYbAlgOFqeXjt5lKp76RadTzO0SwLi8hSOpOL0+/8TbdBxIddxNzTY1hf0piddD//eyzeSUSK
gniRo3UKf7dVdjUvit3xObrzIdnn5io6AN9CBQvWvNsq7Qo4/ev3n91/v+rH3x2LMfI2bHUm9piv
dzMMyzCQ5ro8REKV3ElKPlIfOuNglI8CE0aR22iytEZ3q57NEn2NX0Qd/Eiy9MWsi4jmhx7dZvqw
TufwutTFH5hZJHHPj2Nl7Xp/4XrMxGHYoQ7ySbXXHEag2w1MOHoz3AH9Qo0NiW0MdtAQr00ZgzUL
C5CDBJe1LKSbplMfJT+8pjUdOuWEE7YK9IdMMRfF/xMQo4h2NhOsFdcm2eAJKi4RGLAxqltfKn82
ZSKoyTa3euXvmsy4w/Nx7QflwzxZnLiF8KqptFcIr1+YCjXXl7FK+P19OrWeas2aQ4XjtmrkPZrr
F8mSN5E6J1dSld0nRnrorOJaBjK5imzpQxs5hubyzD0pkVaZz5nQ/vqRfiW1UgQSr/ldVsB2Wiu6
Tho7o2hVPUyQf+M4exYcb1fovh4KNb3JKoVw955gFSv6NaTJTTc3twBTHVsdSPHGgl0I+WoEBto3
xn0o9D/9NPwpENFU+ux7AZqxFLagW/bS46wq5TqcTb4TOZM5+s61Q3Z4wVlOvdeymFg9VS+JIR/h
xgkFqJKkP+m5fNsN5ICbpTzvrAbphcjVpxSOiq4mmWsmADzCGnyyhYskLAtU9CFAJhKNwpVsRtrK
AldpQty4KVTJMYMG3QB0IzWkkKcBavaqVn/K7REBt6b9jIXszgkpd3EfdGt/Rg+JueQ9MrRtBNov
kjKsYUJ57fLkaihBVQgdpzZ8kdYuJbdIatjCmRw5aaBk6zoLUrcpI/EogSZ1mwYtpo5f7jrHKodn
p7lRi1F4sYZ8e+xp/HbCeMxj+d9xGnV8wabZNkPDS5PqkFtSvDE6+W85W7HnayalAKOYCH4xQAjb
iY+vy7S9Ke6vtVQlyx4RXeuCKQYLq07FroRk6Mxyam19osN2UqW+THECLpv1eiH70QyZ0+ukQGwG
qiUlv1zpL4gNzkzRYOCZWTRE0MZJPTAuG5IDFISNvUUWvCWoeDepdEmxdqI1YAL7sqc/WgmmsJjU
1i+rQ9VZlM1QuMvIPnm5NSLUY8dvpgR8ZHqo5+CDA2fqGFr48P1cdmZR//ITjubreSynHiATEs7p
JR2YLFR4hR05URbxRNm2a5WtdZlGf/b+fjrMLH/+aTWqcgrJUV5VB0S092ocPmu+yvTV4cHD1+AV
Q4Vdz/IfEhwSK5Wyttbmv0Q+/5Ir/dm07P9QdnD8HI6m817NaUkIfo49TE5Q/vblHE7shWP82Wvm
yGkpQqeXc7xaRV0UWjr1sIOpKNtJMq+gC114mP9KvEfrks7hhg7poqA4MWu2fSESkDTVv/0gJtd5
x6GEBNzgAb+dKz+r++4A6Gbr35Jm5MHy0trVJQXNmfLBl9+wHGQ/PduyZ60u5LgCD9Xe61K7lUqz
XiGZejIye6kKRg8aycnfv8bnTscsxouAUKUtdywcCaIc4KFvlIdCGp9mxRcrrbJ6DhCIO9rA/X6w
0yOrjrT9/w92vGVMu9iCkWWzQW06DilCfRd1u7Oxm1za3y9f39HzNBROrbhKeGGoOn+9l7HdQ21a
vhM/fqlo0PhR7eqNuNHbeJOoslPgR++ZQScmjaKVlmLyyo/CC9f7bztz8jNIxqBihrTWOj5mGBQb
+1zyy0Meh4DvgtJTEOM3Iv5TFcVbaULSylSnzM0HsEu7LI08CeYkeSA/O82/yvPHyg6upHqgYpiN
eByGXSSUtZ6YLNDSurFGQOMWmvjk7/cP6sxbQYcbvT87X5Rcx5LgoawVpZet8hB23TaMu1VkgW7N
8tsWuMj3Q515J74MdbS/7jtdTrOIdwKQjofARAO/WIj37wfRzrwOOASwR0MEUE9ORmxgbAxnLZv4
dty1/n1UGReOQ+fu2KcRjl/tqqjCQq84UJaaByvP7fP32WY7fUkyijzx9FpMiox0VDAdIoY62rxr
uYGDHq71AUj8r8EobDcs5x9mgdMvSXDQsjzcZ5r5oCDy0Gew5E0ChHqWEy8emr9aHtpwHxUv6uq7
aGB7jGtkduYZ7RaU0Yc88BWnDW2JSsAIXa1or/xZh6qaS39kP3wyOwu7sgTJoV2KD12Z1uCIjU0v
TRQs/BAxu9luyiFe2xLOkCaLK2r+6YBLD1NGnuFTLmOiIvXuXtcgZSn2daOnfBvZeJ8p0rvVSNHV
WMmkINhssS2lvAELdK1adbgh9wVNfB9QakaeDwc9XGXy9JDw7V1rTQH5XEyma/RV6yI/MB2oYbkz
dWSmqVG4tTjDEdyur4DR/BgjAFTs4VsXXrhw1LR+Si19wGVgxq6EIcQJB4Wt/DT/Afh2J431XT2M
NFjGNNpqUHPdaJ6ekWbYW0q+tTMHg8vMFlz5Y/eYL39JFiMVm2zNnbom28l2/yjLysvcQtsBGCmB
lI2doi/qdbckx85llYFLpRBmG2ie8IgDgoPxM4MeNHxOPsQUcsZN8ld0APdNY7YLnjZ02j6mKQSm
rcr0h8Fq77Ow8j0hor9mTF2Fhud7LoHnIPGpW41InteDqhUuZfq/oB73Tdtke4Wi4Q0OlyfiK2j4
J/JLncWFU7cRkXfU+e/Dor6t8zLdFXiUHV+RD3KuCbcCRO9atfoL/glJJY1ypQSyjLM1Gbas2Ful
Y74YE6JMNOD+c9cL6kLGQ1v6KW2pOHwCc6dsqZpbThZaaIVRJnWRSK8y0EKA6owXs8c0WccN7UK7
YhKKmDDLtpFWdc8C3c/CNZeh5zq6H9X2DyW+wzhj6FHS/JeRJtupzO/zUGx54i+aGTHdS9NP5FKP
gSnf6om/JQXkjZzNh0qOn8yhe8MdHzl0lzqnqgaadZVpgR5MEdtVVbNSq2g/AYgHHZ/Cx5BQqIUS
nEXLfikJnGAjL/2IkhRGPkR6dsFO2ND6KjMV0XNrId/wFyiTNa8MQGJuUprQLUfjhsSGzrWT3G1F
+CMaUKBUgx9tKps6YJYTIEPhH5S8su4AjdpTs8dY8GDM1ntdKlcwsW5puBKdU7Wg5uGnKqBthdon
O/5tU8/U3bNqLq8rnc/FnPmmg6HdJvhmNv04/i6MjofhcxxLKUi2Dd6jaZp+ZzrlxLL/JQYacUCn
Jrcl1oTgncFYS9CM3SpLeA0BNUtqVt6JvLjx7clclYnUbix8eiB19Z06Sy5GloGuW3YrUYsjpiDZ
RrV+lVBzIRTHUsHNgC8dqgiddzTA+g2lVVX7gA1tBd5t07jhEIzXBWTie9BV102d3MIv3qZR9hGq
SuxZc86p0B5VbhvQ5zXati2UwuRaLcN5FS5RBOH0GknT4vdxmWKiaxIdSHyPLNODDq5smqmfNopf
7TGj2g6Qv03f2B6GrJtJJNfUQ+l2hkzrccupIlVr2ZHt2HIMqek4zvsfhh5rm7mTt7ISwMsK6kNc
t9SlMk5zlMQ1wHYEWRHeNNBDndTfc4oR16fyq8fcnzQT3WYwjZ0f9Rajt7tupAYqSPyhyaA5Ujtb
Ht2NYmuSW/CkTEOzZdp5zQj0WXWT1W3NLLmxI7GBPgFNccbyqbb3CP7931JHY62PqtKZG4JDfThz
8Lyy9qb24wy7Mi7jRq8foXA82pK4zzgebpEtamv0UbYTIA5bZUH+QyeBwumn8kNFIcTht8UJqcmO
DZ2b94APvTR4IUblMerIhlP4r9wYeN0qUqD/2mqAS3AM7zvotugSZrY8MCPlptyTjFA5fmTvCVc5
qDXOlbILmdgW84WZxk9Taj+XoifvZlCVVR63hpsGZghpoh49XZU29gzmtC3i98InHyQKHxJwmS++
4ucrG9L2iui69xgu9SDyei37zCpDPN0nsYalrn+TWMW8sRnkddWpv3R/zl0Cth6lNPkjaoVyQ6I3
hGd0EbX76lcihnldjkTbhiYhFkIaHjD070LTuElHed0QTEKwbKE4Rl2O61nOqxUI4b1PkkqKb56A
qFtWih+W7eOztG/zLi8vbHpPT6RLQwiTM2AHLA3Hela9bVgSVT05yEPutfO0U7v0iZAi5rJX0h/A
dL4wb13YWZ0ogDgCftmOHHUDB2YJEapNcVDjfk29xklL0M21OntapO2ItoFMpezjNHroouwxQZEZ
RfF94k9Y9TrZKzSiIuBVVf1mERNM8huYzvUQZzf06DFXqtqdDqj3++3gufoBP5r+NRpyNPzHToyq
y2gqVBV7qI30xgwp/9FebSfqwY+AA3BSZ7hwwDxXcqVGxDEA9friSzjetSVzqPc6O9C2pCeUW7jt
l2Zwi0jDQnphbUhC8OCWbrqpdXwJJDkTxJARNWDYLJvy5sIdOHNAgjdLQ1RHxy9TUfh6QJpsGdVF
G7DtHiJPpvA7GcltMQUbAxrM4kLCTuCUEm/NAEfa3Jq1sZ3L4sLp8+yDABJCGdrGFUOz/uvPCBUp
y+VhLg410QZNqz6zIyKZnJ6Sn2yiGZD0JLly+YMUpH1MtVUU8oV34czGfcEQ2BRzzKW/udyoT6du
OR5h0U52Sl+NPLOqQZT0TOw2dcjd97f8zEEH3bCNvxge2AIc+joQHOE2aAGZHoK4up5N3LKzzROW
L8wCtLX5i74eOrHNgQSDa4Sci17Q14FQkQ1DgX6KZQjPcI1b3ynT9eLpVPK1DKcS2Y1/rargRlMd
Xn9ULOwLKauv2ah/ZPlsrQAKPzWD2rNhsJYdkGTvoyTpr6mHmj/qthyY79g/JBVoyGykMSgbuG+r
BM4kS5ct7+mruGY/yR5gnXEz2VW6iYOaHRFRDrk037bGiB4ks+8pze6SHugI2rsbTWLpoAe6k0gA
3Fpa/uTnUuESLkIF1ojrdTz3ymoKSuLZyxCWZ8imM1Yk5aeRUsQGRgthdSxl9WEAT79WYpqofgWA
tawkgMvF8KPXIaLH8SjterN9rhqgxEoEzKOHGv9ECE26NWZoTTRSV8mIK7UNn20QV15tLM50Myec
Mpt1UpvEX7p6z4Y932ZzvtWN26BVVTINy57jmPgB5s6iiavGG/qiaz/uX2zjOlaudRsaTbSOWBJZ
jw3T2hCW9NHUGsCg6KEd6SqX/TZG9dTX9sVXY5lkjt8MIHjL5478D6HC1zcjRYmUT2zkqTA5IQ/3
jf7nChTTDewSTN8UEqld7nEgb1NHPXz/+p9WtxZtBAoVJFCw2Y+PrcBT2dYMYXoYZFIZgj/h6G8L
80mhNRyScz1P/5fl8POARwsTxXQlwOOXHhIiy/o/skbPHKQxwbYj5IM8mFHtTt73F3k6mXwVgCxz
wKfJpMfoWycknh4CpfIKuVx1gA6BztH9vmhrPq0DfB1r+S2fxuJcm1SQzRIKJy9jnXsgeMii1Ndp
Z3hWn9yqIUIzS/WJ72EW8DV/DTbuVhp3NPy331/2mWmcrYdBUCrIu2X3sfzWT79lLufEJlQrObAC
TqhKI6dEck/C607un/Rpvur85KpCrxn25V+1yF9JerjwG869XybadVNQZgNMeTS9DhOUDlpNyUFq
qhsTxfw8Tg5zAV9h6Whd8DZk0YUZ/UwLHK0XCBuAWlSWThZ1qQqznk7MvzSsdSrNd3KqbmW9f0lV
6b0fh+u+SW9bvfJq2dobwHlDNeNAm3cXXrsTqBeXRmEAkTcbDPKd1aP3zpB7yZ7lIT5oSr/vVWSh
ldk8leDxJbnfyl3xNpT4L7uAju+F+36i4WdsFhtO7oioVV09rhX62dBKZjAkh3DXu5MHW2pPE7df
9Y61goD0lD5d0vCf2eh+GfGoZEhUZYv6rk/+2YuaDcKN/52e4p+a8Wi+1MAiIEHD6Yme5WglzQNV
rpOJHbU+BY9WNpIDKm7I6HzgVEc6ktmvFCXbm0r6TB5C6uSVMa/Sql9DbPbq1t6nseTlhPPJKTrg
MWHZknz/LR9kZ4rmXV9Wb1SQyM4gMGyVEQYYd82iB6q2E9kxgDatN2mMI0cPNWWpObAiZutomgdg
VvZNGUSb0oASjcTJI3UA8Kfe/YiC+dCO4iZoYoFJPt3S7N4z9z6HZUtmcais/TDFudAgvjTN3q0h
qoN/Mh3QIBs/IJeLpTtcmwj4V72PnD+astxR+rxz1aq6t5VYXhVqxok7iLeRiYmcmLDYAWnWYryS
H5G93c1SjhG0te7jsCNJLZ9uwq4F01Fj2E+0+lEaqCzBH51WbaUdyh5rsK02AGJVAn57X3lQVVGu
mzh7lOM2cpArkYNnbpO6ec8T69cUBz8Hv49QHmuKQ8rlb17sCpJefyCykK5oq477oCL+jdgbqgJq
C91htg52pfyln3qgB1Ft1ZxaWBB3nO2L7LG2jY82LC03B2hWypbkccwyfoxW8JN0vXVZz17B/ryM
zfy6V2LTG/qc/50pFu4t6rs4vbbybAu39LeodFrW1CNWeW3casL+4Pejtxqi8Zapa/LCqvF3U9nH
XlsVMZTF+jGFtAA/m4OwTRjFGE8ZJPMOWRT++QeCK0Pk0cZPBFmeb6vrykfVTCLtw5BZ4KwMjYjH
RuwmfwkjBsu2UuqO4MLMQiigdU6hTqT+WMV2bJs3W1gPamX4G7NoHiRUrBvBPVtJBSexyXgv0hxl
ns0kBf4/9CLR/A6LGa2u2QcOkV7PFS2HFNOOUwWGsS1N+05NlBvkMbe+IVNWEwclhmyXUw0AelK9
VSS7XNjgnvv6VTQWGOkXBsWxiSGdIDgEbZQgyMHy9r//+s9so5Fr46nGtUAD6XicqCFFK0fTDDZk
8RZWWLttb1hzo+4uzaHnLomZk1MQEhCm8KPpu8s4M0ZSyDqyq/FL9lfdutm1F9lSZ3YMrI8oYFGm
WriBjrd/oqmNBMj7Y1RjMxN3CXWSCxuB5Zd+nTFNAUYGMTIi6NOHUwuQTphswgMyw7XiVZv6hQrp
wr3V1ouwKHJjIIaXRj3d10Ihh7Vi0+3jxHN8iqShRzZX69uPtTLqTpupW6PO443QEanUVJsInxQo
zFNla0LvwepLmJu9RIgPCUAfa271bVPFD3ZW3BspqSvEXvQX9gqnj3jBpGNYN7BZmicH3YbbQlmO
HLCinV4JPlvLlFvHVnOQzvCdmqmjNO3euET++OcQPXog+v874kMqOHmLSUg0wiL19UffmgkBYaB1
njLhmqV4HmpCkuv2kYSi3J3JyixXvtyFlGST2rFggbsa/hrCGAISGWKi/dqGInZj/zJ6nBSjVt6O
KjWbQZ+RquZvNXu/JQ73ShvCzINKt7cJo5t17UcTyrqTMoeTT95uSF0o3DoKfxX1iB8gdNjJwnOT
6TsZSuWKiX6KNVq+S2mAOI7lKGia8R89CGWnRs0jmdFbPvvXRqLkTjbVA03V8HeU0UbBSPMDwC7z
pNXv6lZ/6DApuySfwDWrg32sB0RsCPSuTWz9JqOC/OnIhHNZ+6Oj55Tosbz8tpPwVxMYt6UoAzf0
28GhgfmCuuzRKKvbbKp2k2ZW21GVrIOida9TTeKHFrqDXdtkyNv7OpA/2AUKjySIm5jFYzWFAnQu
URnB+DuzxaYl1Y/qNwGhkm1SJ0QrEnbUtIfYq4YI0NtCgax7pElmOY4XKh5ndmy4EyBJYeEAU6gd
IwaauEySzGDbaj4aD/5m8RPvqr9ggjdiTRcj8TrqnpvvZ4bTk5G5qG1B9y9VMBqXX08IWV3QpVci
xszMdNWF00EejZ2Qkt6Vu+nv94OdqbZxFIBkhRcD7yOZBl9Hqztyvci8ig7DPK0DnaCyqfvd2T5O
g4ken/0uD8O2jkH4xgqNJJ2UStk1alJy8+Y+6C7VmLRjDr1Gi4Zq28LXYp5nn/z19/DdZ9Cg7eCg
S6zPuEyvchJyHpXAHwl9bcCqtvMjyW/11TTNqod4/PeQqCo6N5VoQCikGLeqfFNXjc0us55/K5XV
rok5vpNSIAnQftnnJFYN+c8ynC6SNMdqApymrdB2DTmGNyi6yWaNKAj5WlwRmQ0xNJ+TyNUqE51d
TgSaTOCKh7QLbWCJdnuf9Z30rLURjb7KxVo0X3gPT1+J5aZQkaYAKJ825QlLK5UqDcNDYo47JY4T
1yyC1zw1By+00Mt9/06crkyMZsi8ZWh8cCAeLX4yPaEhFDwChZ7pqsv6m0hWEhpzjff9QGcOY19H
Wk6qnw7DuRZPXLAVHPwba6+/WDtSq9bWS+Be8q2evyQdGgtPBUjA8uefBsqyqB2NQAoO2ILobF03
RD2I/ML57tIgR2UGlS7RqHV+cKj4dIog5ETJ8xkuVIfOHKWXm/Y/13L0ePJ5TmRQhqR47yx9Xd9D
9nRML7xtn8vbulkll0XQyynx68r4dcSjx6T48UjrkhdiIaeZFuKJleS8TWzwJOqY7iUTwOnmi+FQ
2CFS09A/H9e/5H40y6mUg0Or3BOeAh9Sdy+8eOeuCHIo+zv2kaeYLwnPtUJqX3Ag1TLaTmRs3Vul
pjsh+PVtV0C/rEJxJaI8ep7HrLwKBzE67JgsR6toOX7/a8593SZuOAIqOD6fNBgCdShGmnjBISx7
qruq/quN5/dhCP/08iWH5dm3B8QCSTMoAc0TKhCYhz5GLiI9Ynp05muWLzit7aq4pm/tiKvqgtjn
jAVuKeH/z3jLk/j05elD1/0XaVe23DiOZX+lo97Zw32Z6J4Hrtotm7bTzheGnWlz30EQ5NfPoau6
0qJkcaom6qEiQ5mCABIXF/eeRS8oxqPu+IS6G6wnBTt2IOu9Qit/Y0CN2Rnc0eF3zWZYLQ0vXXzQ
n4afHSdNEad60uqcn2Br7jjYrtpUUpgjpwy0Dz3i7QwWTKtoRJEdRE637Dp1kmbtbaAX+lUcUfR7
64NRKhQJVC87cgn9PqMARD3EBVOEs9MKgrPlGkJuD10IrHUE01UY7mkStiLSxo2kASRYptKm5aTU
NkoJoGieqC/VGKULgftMv3E6PD8v9rSzPi32wEdBhNobFvuH7smWsR1XfA+jP5taxWNlkkNuA66U
QDVuIZJfCn2fB57FV44SgYCWAVh7dQsp2BLoAAk25H95n4BcB+QpLgZIjubls8HgCxikBZwf5ulL
27WPHRxi4QFEAalq76+PdX5P0jGWCpTpVK49uzqrbZTXGVU4v9bCElaNujmW3femhmW8BMP2khkL
G+XCCgpIMXkg7yB3rs8LaGQwaEo1xvkRSpIZ9yxTw4yCx+uzupDPQuQIt36YDaiaon1Eh08vSFdC
Mjkx8mn35y+SC5gW4Fc4PYijlyaUeB/CZS7ShS0ISR7Q5TEeGsjz/mmIQlGnJSHnKzeiBd6GbMIW
coIKY5eYlcctPLkL0VRAxQNSc1P7EO/J6R5olRY+36Ma+KVQrGghqtZYgu3C4vymIfoSJnPaUbOj
8WS02ZlfF2qoqJwQ+FIWQR51eIqFvyqOik2NISDBaMj69NRmISxs5bAVaynwqcR2cqW5Zaou7KxL
gQN9LohCCJNxGOh+p4uGGisn9+IQ+MNt+/672cWQgKNoor2uedF2WBk78Xt48zeO+s/jzlVtghq2
DXiYgS9Q+V4l/EqUoFh6/aW/+Ih+zW0uY5MPUpAbcF70i/K7kG7G4vX691/cVJ8Wz5g2wKdNpfWj
kobwpfenSwFQPRYOVTtRPEO1mYNKIwHDD0rLS2n6paP8ZPFmLwZcbTkxCPDQJteQiZlZW3CM2Y5W
ZTKv8pZA95ci1OdpTuv8aZq0mi4mLYZj7aZon0uFs4Tg7vpaXti8MMITdRT2UOE900Vts85gWUSw
eeGEKXXbUarWMBS1GCww/s5I6qR8Oekqz3EtY1iXRddgJAaIm2n0kAOM6PiiAtJV1+OiLuKFxUM7
F0w1dJ6gSj2/ZsPMByGrrgI/2Ec71QNE3AQliwOyDPpr4VEA7dQ4LqksnFfSgGkAyxVGV1NnZl69
EMq8l7SBBv7IhW8ap74kk9lRU6IOr8PdGLhY+p7DAAvguHohCl+aL8II2It4iupZFK5jOdQUEiOg
FO+cfNPVt6Gw8K5c2nfoJEIjDTV/NH6UWaRPObGgUFEwfMHPIjtcGdgABPjP5xY0cxOqbBAPXdx1
kMM4D/kixHAgCjS1byEZdboPcrXSR2gFGr6Bd9XJJshxBQ4WnL4Dx+hGBjxn/Z2vDGYrkMM0dRBx
3VAOIb8yQAq96KD6QoJYd7UUnHVBhpYWl3GblMXPJayxgHaCIVYANKoL/UPQ/tK0dqSGNHteQelt
BOgcrsX8rsU1yYSEcGxGqXxM2uKddrA+1GNAR6ihbGS1eeo47h4q/2+0FW5aygFFmL9DXhZ6PW3l
gE1wzLkGWS1AkwFw5YrG7Vkq+QmMXN2+N2B2Xx5bXkjtBpdm9Cp2PZfd9lJsIS+SLRSxgC1psmhX
yAW/T8SsNIdR/Q6lhYMIrUMw4kH+kcRAcGAFuxeFBJjEOBRDkxZC+JojlnghH8EMQxU5J1TIO5p3
L3AZe05oYKAG2r1Eskrv4ZEsm5HIXogChFwsJlDkNwIQYRWw9KrckGyhEZCOixpwmL0A11oUBKNI
6j0YRkKuOGCpi47L9whSkgkitR2S7KhRCEiOKXT+6dCsYtBe+k7SrDIvGBQ38hYC9RXwMVDLT4QE
yqkcuPlMgSVNl/Z+GmcCSK65vIdozriqwlA+AO0j78ISxd4CFnGKXKEpydgRxbKbvBzgNJKTx0an
1A5CgOiICHkEmYXlLulLyPoCi+oMTPnJqdkPTWmpLUkwUotEKtudqg6rUFYPg0iBdx+HG9qSrTyM
R0WKw1vgpg+4fxybGhKocP+6qQNt08EsiTTCQQI6+FaNJW1NdLTUlYB7GVpY+WSG39L2EeJIUH5M
FGLqefUaN/V7SEbI0UJVLG4fKzICyhQYP/Iobsw4bF75CmVfSIHcwL1tG1fkQQPNwRpZG9lVMspu
IMNgTdJgydtBqbqv8W72VJzw7A3w7Kgx4/Isg0BbD8CyNopghnwCQWCtXBeF9kaMsnQ0ULvcmgaS
M8hDeCsiknqoVNmClAPQHNV4lUpHZlBAqxOqeGKK9ikUWMZXAKGryMKVTV/xycAOdQYwflZAQ4FB
XC4fSt1rU+Bj+xYXuQ7Y2HtCRwQNAXhjqASPbzCIHI6D0bc4sSm8H/v0uTJ6uEZoWe8FXMBZkgAH
ThGwoFUp94YNaio1i1BQt2M9ajaITQSuzTo6JU3+vWFKu+ojAdfbkgESLKkl83JDgQG5XHcQepJ7
i4mBZjd9w29UNErtXhUzqxJ1FPmDFPVXmKmRVTFib4DI2Jtgzt6kRuR3GY81y+qpn5rlrqZmipUg
xbENmBM4ethmVj0CRhMIcm/GCsaWq1ZFCyJ7Q1VvpTKwtSGXpiMuBfDgpnwH9YtSOw5t9V5oVeyk
pEJ3ABV+i0X6AxRC1ui0HijpbhPgf2FJ/KgIzSP8GGAb1UYUXmEktWDtHlsM/QQT2lqAM+uNBqsT
thkCthOb3DBhUvXClNhBFxFxMYCRV6DUGD8ZIdsBikBQqzfiMBZmgpYKPC1A3QYoDp71CJ59oK2G
vHk0GFZIhBw5Yg/QKtCIhLxAMqBkIkBLrImDVSvnd4khvXZ0gFQO6jW2LMkULWEqvgh99QawMt2n
fDeumozo3/Ehuh2K0XujZJSPkWGsw5EYR5qDSRjXsF8dx+yQDKVgd6M8vgIV+I3Lx2pTKzXwOoba
rXDD79ehHj8kPXAIagCfjVxiFVagg7ADoV4gqt9S0tsRRNVwCeHuYL0BhHbDYCcT1gZk0xTNLUKx
u8+iRHTga925vBjKx0BEmUICJsGbQKHHjAoanp6ivEtdSr2OFrUTlVrpAWjCNiwuQmIB05w9NSLh
nFSXOr8aFNETWwOA7yhLoOgmQ0y0/1llaEoHI4/Wzqi7AOHDhavVXQNyd2Zc5Q/yoMdW06ewIYxB
x+8FnGiq0t4MQnnT8tzRaGDVXY8Mem0oYaybAhACSkSbJPwWoRAbQBjhZdPGfxhS/2D/Hb6Vx99v
VZ+Nhs8TeegPQz8RgG00gBVpVobktQYMADEP/FaQ1nVRHlFkWSjhnl/7T4eY3YOAbK95lSFNE5C/
K1p8l/O8NtGgnoOR080BLJzraejCnD7aIZ+S6kqtC6NQCuTw1RuM4Erp4fr3n+dhJxOaX76RO/Ul
ZGpxN6G1jedpqoDBQFbq/zeKeJoSVTVqbDGEQP1Mf63E0eJTyApTfmGU6fme3rUxF01HSWaq/uAV
OB2ljjTgnwnyPaiD3eVQMbBasZsM7x+jpgUplev3utYtvXXnSfTkfAAqroLD5ly+XilU0ELK0fCl
pnwKa+XYFjDdA6jkMLk6gSrLUTOKQVUSpF5amPGFsQX45kE+Hogq6cx7IWyMWue4SPcJl+5S7DlL
JfqzztHIClMg41UBdxcZVvVSPCwIYF7IrlEMwCIjhUf3E+Ybp6vNDzAAVuNO87W0AmlOyokp4iA3
cfg9Ug0uvTmBUU8bqJ4edvUdkBSGI0YiqJVqYfjIxowfQJ9JS5WK6VU6eQkAoFPg3ywDRwirmLlG
2VCrqVazcvSJq3uCnW8oMWNPupVdeTV8035ef7HP4Zqz4WZ3bOiUwR9Bw3B1VblxZkDgcRvIWzGJ
QVs8dFNLPtKsPlfMQoZ6ULIkG3sWH2bjT59/ig9qDUemMMD4cQ0d5PskOV6f4JkxtgwcPyToAAcR
p6br/GLKAUxNIBQ0+kMXSBYaqdwIF/I8lemt3Aw/25bBjGsoQ9NQaG91BVXWYci7oOrFAMNFpVmi
+WnmOSWrrN8wXebWLGD7dAikLWR8iWXAhMBLlTr/FjR5fCjFVNkUuU4tGEmDR6FCoXOo44VpXWhr
T1UEAIRQu8XuncuoZqGetoPI6X423bYt/lF0Wi9xkaRYGbMnweT/Q6Xz/PQ4HXT2sGpDLaHEiUHl
2+hecjtP5czMza3yB4NKc2PSfeFxO/lbu3CIXCrfncx2diUNDR36MjUGRvZ6H69gSu/xvclW1JRN
KOab48MAZTVTs6+/PBdiBCaMaIzKJOypzlC9sBXjaFMKOipQUFx76Ty6kk0cnpb0AWDSjkt93PP9
KICDA4wpuCFIFSEoc7ofKqScAciUqMt3oKQpVZ+7UoSbp1IX2S34h4UJL13DI0UK1YmyKzYK7POc
tu0HM+/Vnwvzv3i6QvEXzCJoYZw103jw/MvBUAI/ydBN0+rb9lDYbEWgilE9FiZzwMjY/sz+cgzE
IohTc57XwV45qwi3rAsjnaDgSAwgEnUZMFewBSEsRwWQ1HOAguD4CvBWIh8ozkmzTmpPUEhpx7Db
XFiCc+zf9FtQ2VdRYgIve3ZMoB6RdwaYIH6xS46Vy7YEBS32CGCjtVTwvLjan/K/WeNbb8hQ4KYa
+GlfuUCxmw0LoaEiLy3vtE1PjhiUwYH5QekMqjygfc1ivpbrURzUVPP722JdoHVml3vOygD0hFJo
abOHeFEpdGnI6fNPYT5FJt1oLZnIpfqurLoNEFx/WYDmdFazncNrNdpP4aD5MO2wmRQAJ0NXgF17
Cy/E5akgYYE0PjTC5y9EHxVST/pK8wEYzmQrgqC7g/u+XT5BloPAua7mINS21Ei4IAo3Te/XsLMU
dCih1jWKLR4a6aHK1ieJ1RndPZKIR0lGMIz54k4KJGj+1IGX8vU3re0XDp3z4jV+ggjrKHBKEQ7n
oNFBBm68kABcVHogtMdDw4B3Vkc30GP7+iJf2AmYKjrHaBcC3ztvFvK1XNcizj6f6K8ZON2tdsfG
p+tjXGgvTCkBcBgqZoVO2mwbqJzeqG2aaX6yjleh5JZe7Cnfg5vwmT2gu/BcLHkcXJgVNB+xbqDJ
CqiSz97QrAb0dGwk1YdDE8T2OKvVkGPo3d/Y31NBHMV4MLSBjZ7FETZKkT4KRPRznI0AEY8rDh7A
FaDE1JFgjSRu/7pkIZpY6LYiRE716jM8MQS4eVYXg+BPCpCjLZjlm2yXa8mJ3aX+5/lOEAVMDQpN
+L8OJu0sIutxK5eKMkq+WFUyBB4onNrG4bbWy+AAO7W3Rs7gIEETccs6bVhD8UyGwwlZ2AxnDxOj
Q2lZMoBXm65rs1+B+3sUyGMh+mVCVqEawSSQn2QJAW5ceJ5nAedjJF3HNhAvtOpDYMh0xgrJr+mO
73K36NKF/OryXP4cQeJPo/NQl3BDpzlWFC1lcPZjK82bB4mBrn99z53dcKepaGijQXMF6Me5CFKX
jz0A47HkK3pT2BLr4FrVo0om1KEdwvnQSiD83GjNwl3vLHBhWPAE8M5M4IOzrpsspxDJkXrRl9UA
EiQwZosDszYoJJZE9/oML9w3MBZOVjwuuKMBYHG6lm0sayyPUtFXwOThShX2roaSbDux3491z9lp
DT3FYdRhT8TqFyns72ieDFbVAnTWKsImC/Q3WAEXfpvH+poI0gB7nwES+LX82uat4JGmgmwIABwW
StTAwAig++gC1TYsjbIDhCgjS4jIwkX90huCy8bkW4NC/1kibPSQYMxpJvpMgexpa7wXuNeZfSHf
X1++31HoJ8kJnpUMSjT2tjAlXrOoDMF4uMnVkujD2+A5HKNww6XBo85nhVeKcJlGNvbEFzB0hoNy
bBm5bg1iuW5q0HsCTn5tAkjc0KxYowqpwdCCHjm9gtZkJ6WePkRAuhZQ9EGt3su4sLIYlylm1JOt
niGWAMN2z7dtC4YPraFVFEIqskitqooCa+DVHioS3TctQrU6QzvFIkK5T1LUbGGnFVhNWKxbQ95S
sXzQ6nithwOKCSm8LYzKuC3z1O07pkJ7os4dFZo3KBnr39Mayo4c6tlWonIH6MjkDpFy1YJTF0hX
fL3TUtg8aCiJmkM7/hQr5S7ojNugpauYhQc070BmLlhsJg0X2Wk+birZ8FK5ukNf9Gei8y4fGyGc
HaRwF8BxGgWMwYLI/rGFuaQitk9k0Lc05l6NPPhG+B4XqlyA2XBZriAOmcI3oH0Nefqsh8ZKl0DM
RfPBhgIfv9LK6HYwAm8scqAkob1YAfnWjahwp4YYeUmBDCyM4/emqf2wUfINWOZTPX5wBL1h4DyL
Fs93z1mCHk1uqD/QAswtAi12nQa4b7fRFpA0doAsz5YMcQmprnS8LRv5sQJle9tzbbJpoHtkdmkd
OdjTwDbmaEkKXGkVAtl1I6HO9XfzUhzWUCeCjRnuhMo8bQ5gHlrAY1fw1Voys/w2MpYuABdGmK47
U5IHwPpZYh7ySsVDKp33U4I+UquXL3xdLCLQ59k/kh6kHxIwZhqwofO6V5noBlMCFYNUjyKtTKN8
+MvrdDLALFOtKwwswAPIh63Vuow1V8yShQPr0kJ9nsMsSEBtmg8q5D5+NqDBIsrMjrHBFg6rpUGm
zz/dWUa8XRpVA94v5WcG9xmM+v8cYYq6n0aAcjyB0CNWSu37XcsYUGOBriwM8pHuzSIqngcMmg3Q
jc4NQcVAQQe9U3gUT3Rv9KO1+C5bmY2m5jfoQBkvyKHc0o0g57WwYaaff2XguRBeXKroJ4AG5g+D
U/HSkxgJz/y4cO07x9hP77MoIdcVUTU5cyKtE51AGnnkfSV6aInk5vGbWKHP1j6OdFWg7w/OOVly
rzu/PMzqlrP0ryjLUkfXdcSiNmtjq7wyYqprMCYn2XjZRNf/rxfBwJYBjBpMRyDlwGqfZxahTHLk
mJ0PexRcPcl0iRDAzylZzVx4k8FbPs04CO6Nj12YyR6a9OKugAWHBZkpBYp4siOqJTIMWS/A54yW
uNhnFoUgSPMQEjcEA2riqLrOmkv5GENYL2TE72qO2nwtZDbstDr0cFUFTe/qOw//bKQu0P0QYITC
OIgP03gdA4OXVAEEMIGJ4htocBsJXata6HIiSs5DqpoCx5WrkM/tCnJ2TYxrJ+ue68n1UM0gW1LD
PHhp15znjDKsbXG/B2cIAPp5M4aUtKfhkBM/F9AvbniQkmkVOmmMfdLVVpEY76gWbUIuASQyv83z
9AkKnVDRMuQjnwkJCNbDQYzp618NrvhZeM1BQkcEP+MOlAkcTEidEL+I4fykrsRmyUzkHNEung4x
JfGfolIQFWpXImPGqx147D55yuzSa7+DJ2nhSVjjS+EUqamvkk3hLZU5PnqcpzEDg4PBAuw+qKno
DZ8OniF1qanBt34mdpChTAx+m+rxT16p34UOdBBNCY56DknrrA1RBcXJEhQD8CQ6bJR6LQJPRIgO
itLueZtAlcYWYTEVMWesIe0IHzENGnw5Z1ERGXWcUWbLLN8LFBCKVu82JRRyTECx3uoKqoegT3iR
OhmUVZzPqe1PTh+ZK4oBW1UD/5dPNHnS68LVGU15CEjM4oma80KYQnPIrwN9i6zXLbmlVul5NRsP
9vMYs4OZC9NMGAuMMVksFveCXVuRzVnwXtloG5C0V8b99Zf1Y8fPn+bnEaXTp6l3UZLwUdXiVRqc
dJXd3NTm6Ao2BEgjM7KBakL5XnEKn67G29RTPNTVN1XqRN/RjeM97rgolTK9P9d+0exQz2lI+TzH
GhC7d2RP3fAvBY7C1ELovgUCzFas8qbwljoJZ43OaenR2DegNYZ+55zyM4xBVNVj0vpBDLvTKmnv
iDDCr8CoiUkjFc4cvQRtphpqCtBkWcpklOnJns0apTuwCwCWPENnllBlG6As1vgBBaejV7VvNSTI
gB1SpZUmwViiBypDZVJlchSWAUNE3sUmuTOiBLRYnf+RJN1R48lTVyWD2zQs2wCYydaNJIVurKVe
K46ofxRAruCS4PJ6sm96vrEZ6CdN3Lkh7hQcGMG8CiV4GAH8RBfbrqp+hyaWowNhF6UonNbqVgub
dxZKd3KuvWIdgRzMyS3H8bUb88pBhC6ibeTRXS0AAtfqgEoRfbwFwFN0e0L9HGfG0jFwngROeFYo
tUEQTIdS0iweEb3gSR0IDeix2lM7mimYPTHiYHSXHvkdBQx56VW5tE0lSDIhEIArMWkbnG4aOYZu
CK4Zjc97rUN2cMSdGHCGhdcFbkBrqGW7f4z5XyfQk/Z//oU//yiroYlDOMye/vF/9vGPpmzLd/Kv
6Z/9+ddmf+umeit80ry9kf1LNf+bJ/8Q3//H+PYLeTn5g1OQmAy33Vsz3L21XUY+BgFIZvqb/9cP
//H28S33Q/X2799+oNVFpm8L47L47Y+P1j///Ru6SJ9i1vT9f3x4eMnx7+5f4v7l/B+8vbTk37+h
RfJPlDUV+Fxh+04Xst/+0b99fCIo/4TvGfQgkHlqk1r6b/8ocDpEGFD9J+DIBtCh2OtQ/Jgazm0J
dTB8xP8TVXMDTxVYZdA3oI30n4kff9+tvz+Ty2ihWR2Um2rXMkjN86OChhAl4Rkv7KqdcMN2+jFf
iUcYf6lb8sAtlLNOw+WvMWYVQTlseBalobBTb7tD9Gj2Lvf8aZ3/mM5nsNMsb//zqz88xj6lF5qR
xhwHX8ydtNPugh39Vu5Kl38N3+UFDz5w8E7C3q8hZhlM3ysaQa+E3+nAldzqwFw6QSHXXhnSwjaU
HmT+uDOMDZEZeE8R7MQ0PdRWdRm0q4yEhd10GrBxLBO9DPnnQY3GHWSMVaeWavh2CCgOFUJE7RDU
P4fGAgregKy4sHxRTRTyCgvSpAbU66C1R5UI4j8MHqIkhZZwknGaJ6tK5wEYq62aFCh1AYJnbpxC
qk6Pg+BbCtmbdZSw5HsSQYwXNizBAxtquLTAq1Qdb0eQO92xMQKHQwnIymuI5gLym5oB8D1rcE3k
FVc2iUv6AhSNRp0aw6BQG7BpsfgBSrpVggZSEJF83QcsdHWwQfd5GVRQMGqHh4z16RZFwMo3ciqZ
MQMqCKrixMPPZFPLuX3r4KLjBImce00Cjz6oCUO0LwoLacXpResRwkSH57Rqp8IczZErpG28WiLR
GJvcqQAxArCvUje6EOeexpejPTQDHMjCuN/KDWipcmropqKEuBaUFRLOADJm4wC/t0ZO5ZdEosGB
j0To08aQdoC8YuYQuAaukqqDzTyUWC2jhlQSzlcwAgkXbAhoAvaYJNpCWXl6jX6dqr9er+m1+/QG
d3Kpdd2AN1jexyvVRvNNgtFVugQHO70+//r66Wby6esJHEFhvY2vF7UKNuRvA+Q3DQjWXt9/pxnJ
r2+fRv307ULQ0aCBqvoOl8N6aC2lvmlkOLlWz5kkmJK2LQhdGOr0KvVrqFmuZQSFEpUcXA4ge91b
YURFayBhA5HclFuVVCb29Sl99TxmWSYEwGrFgOrZDtq+4jYmr0mvK15Vi5BgjpRxG/aVZGUtW6LY
fPWAZnl033C4BKftuMtUODZ3sl2Et3n2dH0yX8bH2fE/qM0ILcsQ1GVY9XQihM3llQ4JSVl9D2Gm
U68RD2BQfX20r6Yyi/MthIInPNSw45LKkgyInfSO0a+vf/nHiXRho8wLAgI0UAUBYuI7ySR2ur2h
LrcbwB1TDtCZXEOyyYytfN3ZuGs5vBPiNsC7zDrUtuEZt7XrA7y8HhwfGjCHDXSzzG67dL59Me+P
Ls6nXaDzXdElLX4Z6PFwvDoYk5o9cCXXJ/7Fi/9RKPn07WyApvQISe8d3/5AI9YuYaTYsacyYv71
AWZwoT+3ljiLEW2HxLjtqnGne+EKDR8TGGbLmOz2NiibuNdHEae34NLzm8UKGipZpBsYRfVgRPdY
rBvw6UurWgW+8QDyKaxzK1QNoz3OovVSMfyrDSDOwkao81Vb4ADfsbhD5ed5gHJQexSbQ4XGJM+1
LjxBbW2JS/ZVOiXOooeqIaMMaDnuCMtkF6bFrQefaMPMkpyDnZihbin8TU2jrULPiLPgGyy+Qg+a
8P3d9WX+6l2chZOwoDASazBfIiYuF4jQUdN2OZO9618/LdulhziLJwHELps2Y+Ou71PHgNqvsCTD
9vFELn31LHqk2N8V7BhEEIMa+acE2gqU8KQGxhxFgI6UQd1YblGGIUizmoSJGy2SoIPe1N06on1p
AYvemHIdJ5bQQv0YslSxC2JT6sZ5Sx34EsDjQRWIE0Ob2IkavbiTe8bTXaAn0hIU+Yvl+aiGfdqr
Y86pOgmxPGol2jpTTBKEC+ffDL745y4VZnko07OukJtm3A2b/gDtBUtxwIi0mhU0Ipx37idmu1kS
EfiAP1x4GPPysKHHGUxUcW7oXryFlCS/z7bCKt12sVUcBQw5vsBFdcce1G9k3/vQiFldf8G+OH4/
Zv9pBVum91ESYeAyMryJroKOX67CARQMf168KeSFm8MXUfUDEvtpnBi6UaUGxSMoZhehU+iM2GqQ
qOsqqdhGQKPVvj6fL/bjx/380zgICHxQNNmw04EsYWL+ToL20MTVQvb41dfP4k1jJLIC+4hh13e7
Hoy/jDvI6Hhe/+0zXZBfr9wsmBg9LbOw0Idd7oCk6ejPP9p1b68FU310oU+6TdzMBH3a0VeFeeQh
iSDaPwQLJqZ295q+JtYiwPyLs+Mj3H5eRVoRgw+0YdeKz1Cjper3BHRJjmyhVg4M521W+RTEx+vT
/mpNZ4Go4DRkTRBb2g08bxcdfdWT8NAO+YKGxVdH0lxVsA55KYFjGdIF9NMt7mVCUuW2+E3FuXd9
Bl/FUn4WK0RgTMecqsMu2k1Vn/6u3dceSI3FNoGUjLFXn+pjsoLUqNWZopc/KrZkhq5wvD78Fwv4
cZP+9LRQ0OCLbEAUjEP9fshx+dN5O87lhWbdV18/S1cUdYxgNKsMu6zKQKubsPW0FJ/B/GgW3oCv
Xvw5cLrQ4PoNnNawa1xYETmJNSHRFEDCgQKxJ91O9IoszgxQdM5hpwvt9bVqe+k6Bua12iCNgYxB
9veOXH6WwVChVYZMKMadjP6u3eeaZDcJxNz+3rOaBZCwyDIcsngZdXKXw8q2DK0sWQL8fHE9nNNP
1JwaeTNywk7QIbSvgdz7zlCBJN1RbF/VBur6S0LpMyrDn6FqXufMJdjKBTqG0j1cz8Fv11wI4lnS
Bj5XN6ldbOCuuBDSP5K5C4cjPwsQcmfoSdFhrPhA1vJGsbP7aqdv4HyD//J7MDo92dQ24TFdh/eV
xW2NRQj05RWFgOzphZtyVTYWFEOrG2U3bj80M1bjfskN7ov8Ff3X0++Hol8EtBK+HyYB5J752op+
495UwxT2KYeb09956c4AYHBgU2UmYpQqflCBRir7LeWXlEwuZxDwRz+dAujBjEZ5iDxSvI+T15a+
SLqbUdTaVdj/FHfXp/DVg5iC06cYlwasAFoLU5BqwK1iTw8GEEO3OdMs2m5BykDHb8ln4auxZhFA
VMUuawWMNUpvcXfD1B0nGkB33GiJR0Gw5hZBv1Maf/5my3MiUJhC95/JAR6/8cK3bzoNocKKg388
Bso+N16FHMGv5S2YJC2E2o/09dKQ4ulCxnATJpWKydVslUvrKtsHwi20qxPBTSkcx0KoU3YmT3Mg
zQ5DCKMjt5TWAlnzyqoGmvv64/ziUEar/vRnoLKX9eK0p6Wb4KGyuxdhNTxP3ONDshBpv3qKs6gh
9nwHgRWMoN8K9j3YgDeBmTlLPckvrtdnokRaw7GwmSJDsgbcC85m28xjLl1LdruHlXUG2boIVtgb
aCZDQCVjVv56femky+cx7CNPly5ooEpkpBh5yMzwED9CSfyusiF74w2rCpjx0c1fsqOwVU3yyO3V
I6DxD8DsPRqbwIwOE7usd8O95tXr0l9ajln/6z/ngazPyqqkMAa4eOFHGT68w8Am7w6qhaoGjoMn
HmByBOdFue2vXh59FnLQdiv5coqaLZT44ediGXfVIzqhEAXeL7EZZpjgXzOaRRyIhXFqzjAIRcc7
3xiQwS69zK3cwgYSy4YDG/qIwxpyF3a9I1a0Jx6/VY6D9z1zqofrz/rLmc5DUdiotOnxIyQ3XfHO
m+ZRx/C49dLZOsOZ/ZrlLB+BvtUfsY64tTnNC0rstn4P4w9o1AgWrAZtzv0ZLezJ6W24EHz0WfAR
DMZCeXpwfe5X7FHl/CEIzDbYRsN6YcUuXzTPKKMRlxZ9NeVA4WP50t/BX/Kd7SBO4PM/ynvOa10A
rPzs7fpoHyW7SxOaBRn4LAx6I2M0ESpX6ub+brTArDPvACJD5iq4N6ml3oRw0BDt3G6dxxB6pEvQ
rS8WU5sC36cjMQGZYzQajJ2a8KpFWxs6eQsJg/TFKmqzGEMGCGur03tH3KY0YYvo6rhsQkADgDlo
gt9ldmuFLpSILWUluYLZOAn2xVE1mxfRLt3A5G+UPduiIszM0uYXMsGPNuOF5Z439GUpHgkQxNOe
5J3CZbvuEQYlG8EcdxV4QDCOBywEGPLUaR8Fk5rsvdwFN52b75hDvBV8ONeirXmii5u7A3fTdegu
sWnE6R2+9NtmQWnMYBkkT1lD44YruuuczoP8jpNCTosH7sDYN4f4KD81VraPPPDSrdi9/hJ+9axm
garK4khPGiRgWs6vhCr+Hisw7C1TW6LG0/UhZvCyP8OENotDELgpgDnB5DoLzkQ3YGy6vQOB8YfQ
+YZChMc82eUBRWq3S1vrizuhPOcScJHQaimPIcFeX5dm5D0KWNjOoTa0UXG0RG7ujOabgG5Da1eO
DrXG2iH2A3MqT7DadWT6C5P/IsPVZlGrQo2zHCT8EuEGhVhHhXhpdVNbgs1Mcd2Cr92vtdv6WO2T
/fURvxpwlhwFYtny0RRVUBE0jfquI8DFV25Qvk4mpg3MWK6P89WpPQf58lIVUDY91tLsnfyQbkpr
rdw6op05/tLG+OoMm1vTRx38//6Xs+9akpTngnwiReAFt9gqyna1nbkhenpmAGGFh6ffpHdjo4e/
KSK+27qQCpmjY/JkiiUmSYxzQc9iDh01MHt1+wSCJrXyGNNb0mylEtb8W21huSBwksbioGPtPsjb
9AScbSOZ1W/mlu8dilSXMrOhJwtRzcd+r/zirxsrubJl2sL/AZwd/ZXzGans7Db+newSdz+aLaII
dBoEa8H1BsE+u9o4IvPl/sbaaAtro0IEpgkpFY9EvenVz1i48n6L3mFt7IVBmSaWx1CEwBIywMsl
CNOT5x4sZveXam30hSkRULChZaPigQbsRQTJK83+VJDuuz/6WkStLRyahrCEVh0WBhRemWZKp/BW
uslJeRTewJAmvtyfZiW40BYmYRj6CuQQGi7OmIJeq6qRlm2ktynXKsvQQw8+yIxYhWjqwDamXPM1
lk2LAVXzTGCYk79QiGif23Pwwk/sksBxs9unalcfJz/egw7tb72TdqUvuaHX2s1zBMf0/md/lgW+
O3YLf0eO2TSRFkej/6vawQmRj/zGriw3J2+m4vgr++WtOkcP2u3+hCtv21JuAs0u0E6CRMRR0h7T
+tygkBz8jo3YuT/8SmoJfdH/+lBRTlMA33FaLt1jcWvmtayf00tvZ/vpr+GHj7nX4RAdCidB3x5C
LH4pn4vd/dlXbsISLl1JBVf7VIGTlUEuQTdjHrnplne4FqCqCwvBe8BThwLHRfMkv9nHTmHV5pxH
nZBDjd7f34Xd5EzO7AeVG/7ZJzHUN8djSXoJSrtw7AZ8EdbyGLEjujUjdIghSA0P0jX7yRUTOTqr
vwivwSv1Gx3P2ku8V2+Q8Zh1dAHognZHjD8Zn4a/8gsaQEofrE2q3b8CZwuZ9IetssDa4i/MUMGg
4TJS/FXU25zkKd54CNaGXZgftStQa2gwLKW/RA6lHvqRg731/oFZQLP/vxv2CRX+4vKHFGLk/adx
+4hv0lncAxCsmmwPvbXAyZ9Anao9qSf9opjhMwgtTThGSEOcOTxhpzkVLvGIzzZKYWuho7rwUiaD
RAqvccBGB0gqHKsIyHSImHhoE7H/yFZ9gfKYyzcuy0qJVFEXpoeMca0PqCgfqRk7MXzqCdoAaGN1
NftaQqEQNWfTsDUfdH1Ofgo3jrQ8n4dvjrSyiLLSsVYIHbGhrV9++hKSsIvRY32G8Gp8MG4Q+fLE
g/RDeiKn+Eps5aH6qA/Rz/IBsQb4TzUXWp7CW+Nnp+oyOMFB2apQr9hGZWG7NNK0UIlr8JCiOhGF
lcnx5AHDamqNtnHg5qG++/ilV5NPkTwOIiwUFLG8uIcKKqqf3CyoXIO3NK8vvZqpb4KmGBvbLM4X
5bspF2ar1CJBbPsazvaHokDAxia/wsysHhtfar3sQwisqXeKjdu65i0o8zX+cqESodSjKZgQUA7c
hm6JPYKFjoBhWRQfJH4skltkvBYZs+Tp+f4dXjEQysLugApgKkqCGeW+dEpu+EWp70ttMxG34pko
CwM09EWW1iPWr3JnGc9kx+D9NLvuF3GU/Qe7zYFR6kkH8tRsJnPXvmnhDSlZH1U55JaOijc69Xk4
iAf2GPqRDQFpF/p36Jk/5N799VupPP0PY38apf1UUmAgQQn/FIbSS9nKfzhFJajjjzzKz2pfe6Ie
nZWeO2E63bKaOWHVoNt7vDGqXO7/j7XbtzBHGSDJSjvK+Oby3MZuV/9Al6RZoyvp/vgrdmeJtJay
hiVtgDWl5FfXvYBN0ro/8Hx3v7lgS6LKoYPONiclIgekhTm3CHvUjRdD8js2buzRitmYUfz/3Cpi
1CEd8N/bMTOjCKzXMlg/2U3kEPsA3NjI0g0DtWYuPhNYXy7w1BCNBQVOA/LOl+Kd+/1z+ECd9F1/
m166n8nr/UVby+58JuO/zAOumxrcGlg1xQOe5Jju0cRp6/aE1o7O0VCfhg/cmSD2PpTP6S6xBehE
3Z967cB/vkxfpu7IoGVihKmrK+ikOoCDkPoKf9Jbvht86UN+1xuIgW1D+NZ2b2FBxCoemDp/KsRZ
LqC7dSawhsEzRbpjdEsvtn9QC/y7zlamfW2+hfUw2njsgxHzQWp1b5hPjcmPW3DsteSDvHBSFJ20
IFnD4A2q1OMZFNEm24FKAa7C/e1Zu6cLO6BNEjTno9kckbMO9FnXbeFi1jyeJQI3VoqmD2ez2rmF
P+yqS+ZzH+INLjl3h+7QgMCtv6CV04l8UAX3B8Y3btUnd8w3NmKJsFW7um+A0hOP2JA39EEIJjBp
E6ipVOgQ7aZyR6CPgiLXjqCDoLzlyDeWZvgjBMlG64wH2am5zRvUo8YU7D0WteOLfL2/3msh6BKf
S3sGpYIeCw49cNHVLH2PiBBsLTfjnB+MB8nuTp2X2dUWQH3Nz/2Mx7/cP16Vlc6hW3MsXqZj8lO2
IRSVuvQ0ecEjJH6MPajEtXPjxT8yd+Mb58Pz3fov3JIRXmcyS+UcuRM8JLt5t2NgK4ZT/x/t2RKn
yxNpSNBzIsKSIV/ePzR7kHy8DpC9So6V0+zK3WhXluqnaBjud4JHn/5rPnCJ2aUx7Xs++1wqFBKL
p8ILgeJWzfIwMD86RBvhycq9/DTkX3Ytz0IjEypE9hr0sru5eyHdSL2teFhLCqsIHMJKECMiIDqx
tLZxuypxuv4pgDgMuGnMIacmNKz/41FY2BclDMJxnK0jiOoQvofgCZX2QJZ5+u3+DCvO2/9gaNH7
08t6jjq51DsQP7CTgptDsQVqXLs+SxxtytEEBZkEXB9nqp3ujV4kP7k1oDZL9tND9AKiyHMdm+V7
sXF7Vt6Tzz/yZedHtUNiWWBzXMp9MTdVR0WB/s9WSmotZvg0TF/GV0g3ieAfntvrkpv8GqHaVaJj
HabH/H1/S1bO7hIsm5JEGBQd5nfs9dckKhx0uz/cH3p2wb6xLEt8rNAlCrgdQiTUVLP/mz52fpBa
3cbNWLPNn17al6UR0b+FVmkiHKfLcAneuz1w4ulVe+5vod/3pugNCaR5TTZZ2q/737NyGT97LL7M
GGjhIOgJZuxadMmZoADofPANxVZx3VInXLsgCxeC6WIakRJLVjvDr/QQbb3va+Mub3aUJpBbwbgx
dJlSozWN5FUeNvZ5bSuWqNdSAHFVOehQLoyRgMuf9Ae05AVH46GzgqPoEy93sgt5CjYqxmu3YgmB
HQepKQnBfHy8xFLsqMrbkKL3TczA8vRQavuO/NaT3FTGDVjqykleol5FaepiFRLNMzTiWblWJ6jh
evcP1erHLJIQBOLHGZQxhGN4Hl/YtXiRUc8Bmdv0nlzKrUnWPmDxyKeVAR7/PBWP0V5x+DM90Ldh
n/gSaPA5cncKM6MDv6T9TodXWW64divGcYlupSGbWkHAqjX7OY/zLHrprv0F7ez7K7f2TYvYYQw6
Ngg93ApIYqEHXrUCw1R+tXRj+BXDuAS4UiLXRpmO8FrAqowWXTNRN8L5tVLoEtBaqBPnSY9XA0JD
4i/11KNjjUHxPnoIoEXhQoLiCATTRh1l5eoLi6s/NjnthBpPyBxaAZSyu7/63w8Lcal/424j4L1u
kAB3EA3BzfgyktSMwUpxf/TPmOl/3w6QMf47PLjUK6NPKN4Ov0TxXUVPQuw3T/mVHgAI8NWH3C4v
NZAohQkgIWDZmhvbEeApbDe96IfaaU2636xvfJ+AQdP+v/8G+Xu9RzsGkgxAoeSu4EteghRX8ASu
1COy3tboQDvWj87art+1O/D62oatAHeh/ri/HmurvTASQa90fTZnOQhUu8FpZ6baTxEQyvujf39R
oU/57+eVPUQrOCmQ2DDlIzmDktAk1y1Fu7W/Pt+vL6+m1qapOnAMzsMHVUpMiKHZMpgR7//1743A
/9Dbj0QjlUEGeJTVB7ATJq+edGXXT3sj/Y8HXfr3//cB8PnQzIXtjzOz0I5N+kogNnH/76+t/OK9
T8ZuKrQcg1OiOyMt3gkwAz3oBHJdt7W4OkyGuOEwrTSO/F85ty8b0RAayAXFUrEjWghddDkXN+oa
wAtVh94dzPIJ7gFyTNp1+Atq4/f4UjOreqmv9z91BdcDrvx/F3IIB4iftr14HFzhpX1pz5AEPqN+
BF4fyH/5xJY/NOBp8hukiDe+ecUzAZ3Gv3NqtQG+ljmtMeN51EPhUxcOwiFG3QhilD+EQ/PQeFt0
disVXnAO/zubRLkBDgmYWtF96Vw47afmiXvsFp9A+3YM9sUx2hX7zEUGpfJCi53FTYzw96+VvISp
FoxC25nhgY+NwI0rAerL6cZztTb0wjoEqliUaWYIRyl/DOSPtNg6/Ct3V19YhpK3AYUggXgMeht1
l9GwmvYWMhOdgfeP3Gfa5JtXRF+4CFkJHTcJAmtH0Vaep730LCTQ3A2u8uvslyJxA3jrCOipsmM4
/z6bN8X7mSNi2ApJVy74EoVKVAiXgFNYOUZTbnVFeC7T0mIwg1IenkAdetSn2/2PXXmjZjqZr3Y2
C1T0C6r4Vt4OWMyi3Td14jZl7/IsjjdWdO0sLJyJVuCN2mRwipLmuQHhbD183P/3K26wvESYaiXp
ZTGOxaPwAsmQXYPs0ODUnZme8Kb/t3duiTQtaq2lddsgsa4lpZ0FzE46fprq/lEu61sVNJbWbdNq
Slj4bw7fEkDa5mD7bea0F2SAHtRYs8q22lFjgPhack6jUDKTMONmmFQXcRw9TmI3G4wNa/t9rCrT
hcOQ1pOhliVKc4IFSir/T+fnfucx7/5urRyDme/o61nrpZJoDamQVhteCXnLo8f74674CkvoZyEP
0diHc6awPDXTb6MYTY093R97JT0PNqZ///SkMUnNFQRaPdurgZ09d77siw4SCAPcnY1J5sG+2/T5
MHx5ZNsBQhLQ1Jzz6J1LTQhz7sVdtmdu4CLxZFy3JFDWVmpx21kuCpmgJNhf0Hgn2Q9aRabQb4S7
KxUoeYnVNIqwFnCEMHplihexNZGGVuAoZLtqDzDEAflap0XUtctfAHH0oejpJU+bYI8Vm7kEcUrQ
N4mUIkIWD+zJFvwU5SU/6McYTZhzJtywYm9ywOUMTtofdMPBXvMUllhO8FhGuLA40um+cwOv9roj
FIQOmaPbqqe7YmrqH+OR/sdzssRwjqOAfEKO+wmpqIvuJ6cA6YoruaWmaAmvxnXceBVWzskSuxn3
XIH4Ew49YT/lDjx5qFm2W3mYFQu3ZOmvUy4VEKnGa1DqzBIm6cya8BnEtF4zKFCrRIkykG2VoGuz
Bqp4qo4BbsZ/u2nawnsIqpqrE0NcMRM01rf2lJ3+NFg9kDPsulO04UGuvKpLiGeWpkYMhjDEoUJ6
gMamVQ/ILbfGI820/caXrC3jwmb0igCpDA1z6J7i4zb7gE+YR+IV6G7Y0i7/1A75xjAtEZ1SAbJg
OiN48v2sADZPApLak/RDsYFo8gSI3B+kPfXCx9Rjz/RK9pFhjvCOja3PnH2E7/7B/PsX0wggBarn
82e2gLPXFsSXUcVGt5a1ZXxXXqUlgJNyCr4xCWmVRoZkcXPW6cYlWknYQN/g379eQS1ZpwMWj+xq
M/jcpczqfDR/oCl8tBMQgd4/CyvP9hKmOZEpNWQJhrepnRnuYU6IxuNr9ZC93p9gxedeIjXVIMjC
hGICza9BFzk9DKf/BjEF7/2/i8QrSYnjAkN30l9V+9vS3lKHjcOzYsbUxWVXi6IjyYixi9RPkWXq
+J+IP/+3JVn4Bd2kQE+7wdhCDI49/TxAEFaSUeQ2nBYw/vuTrIBH5CWcMjKyho8iZuHlockuhQhg
IflgynMAbJQWnqXCL6WnbNxRdEvXydvGtCu2RV34CWMQhxmIvpH9e+xscijOkhM/eKKnqiaw0879
WdZ2Z3Gzq0gjsdAjKgg7zcsy1dH19hj1W6nGFRu8hEWSnNJQMhCAZmPoNGrym1PFzWm7Hwxlqw9h
5V4sAY5GzKAbV2GOoaztKH3vI92UNcAuo3MPTeX/tE7KPPkXC5jHetbR+b0s6U4hwMaRKw22vmBl
E5SFx99OSRqIJb4gH3KnNn4TVHoideupX/Frl+DFnHekMWbjjT48rzxC8vggnzsLTXcOQAmImu+v
0Ir9WyIWiaFJTaZjms5t3xXgfGdIsXDcqoOsObZLxGLAaKeIc1gkjWZ0DR+hcXJJfM2mb9l79yq9
0Qr9DdCUPYlWalhiZUIeM4Uy+8YBWDtl8y39cgBisUxBOoPpE9ZbIvfj7jTNmrL6rWQb6f4V53lJ
+pqCaLOP4vkL0SPKz3hlLR21Suv+/qxU2KFf9O8X1FP4/yI/PTEj0Ou/5K7+CGpLR+/N1p78xqJP
oC1AZ9dW/nWlywoSpv9O2U7RVBQBPHOpt8EQGu9E0CKYqWBKzIQOsCvtKmZrYJPykiuZzdq4u/+x
K6AoeQlflPJGiAsJMw8f6IJJK1sE+iayJAdS5JfUJRZ7QTM2vtQ4JU8JOEng0ThbrsAKAB9aKP9+
txGHxpiAHAIlkPBngd2cXMUKQFr6GO4Ce/yReOOpPQEIaANzn9/Iw1SZDPkSdtDcYgcKWW5Gf+6v
xFp2Zgl9DCNYWkmG5eohApm73WF6qF3ZKr3a3+IaWN3n2bB9uRyVqCR6pAJslZ2Nt7zDalrdEbfx
JQD/fHrgx8BVHcUNABBDe8nGdVmxmkvAo5RPtcAghHfUY+kvaYCy0kfwoJX5x/2VW3m7ltqBI3LC
UaFh4YxLhBap+riFTVtL53/2sn5ZrqQHUR5TEP/kR+kd6VPcjNfmA7Imglkeuys/xc84ok7sQXH+
KFW7NLZSX/0hHceNpVtxt5dwR1YrdcU0oIWE4rcWStbUbqEV1oLx/9GZqyceVRBxRe81Wh9YB9Uz
K/gtXGltTv40muEHKMLq197vfW0rObjm5C8hkAMlQjDO5695y144EOVgUf7QbNkO9o0DdQl3s7Nt
JRJaQh67UhYnPqAw3t4IevRN6g14SfMTh03biFtXzvUSudjqYydOcSMfNc6zXYYOX4i+KNQUu4xv
vNVrCbUlWFHnGsiSRJzA8B1kJMTpLLAihtazuFXhXzPAn8HslzPO22yM2pYLR/oY3lhpsqf+r/Iy
PHAwwyKnDUGvGMxmo5+fejuFLq2dn7bIwdcWcBFxJAqrsmCGfLTGOWU/murD2JIcX7EJS1BiLQ4s
nZRWOKZiZE4CGkBK8HhD1ibf6ntdcQKWgETKaBVC7Q6lPn4ZFEsYnsADa0Is0KqCs8Ye7tu2FW9m
CU4kXCnjVodt6zTNzManlioWSR9jdH5Rat+fY8XIfHYcfjkB+ZQKQz4D0iE7bTb9ZPJyq+th5e8v
wYhKBiYnIeAyIrKS/NT0sYciOgvdMK8gaZOSzCszY4viesWxXSITi0Ckg26Au7WbiBUFutt17z1e
amMfq3Pn3G81Up37S7YC4odExL8PaV+DqBmChtMxqG49uILQeFG27wRlNfAoGMcs2Ae1XRm5mSq+
dIQesBspW3oYK2f706J/2a+goZnRjh0IFhGPWKrSUzMc1dINiyRweCZtHL21F2IJW4wFOeYD1KKP
5BD40l+I1Bxjn1qjm56rnfhQPEF56JE9b6zo2u4tjEFsgPAr78Bv3FrhTgDrW++UAJVCdNvSQDgU
vSPtCIrMyurNjXO/5nEt4Y2FGOhiAFHPY8Ymf2jTS6iiyxI2yQQJsKN22QE5Q8DtpOplGpsPjaj/
CcwM8dx/T49Ok2aicj8dqSx3ZxU76g5BH2z51N8HkpBT/nf4PgJjbxhx+YD8AAnsdjJmWfoqpI0J
f1fbQfKIUadWI0HHD1ovmGkiN7CRQtUcNQQkz0j79g89eJX3URFzVAeghbaHGGjzniVGoJtDHAKT
qVHS/FDicUzAyJxC+73oNObkkAILNoK5tZTO59Z9OeskpjxpVPArCoiIIVxzE3e5jbzgC99HwAGR
jUz32pVahFyQeico7ALL2MiRGWpPY8NAUn8lUNK5f7xXDOESvsk6QuigghEza9+nYl8wzerUSwu3
K0UD1f05Vj5iCdmEYhVNQjR4Qurh0A1/ivwixqcy+HN/9DVXZAnQhExlI4QDE46jWAL9Wz8kE/69
yp1Wia2gYY4Rtw8BGf5kY/94f861L5p//7L7egXufRFa8sdClqFsblg6WnCHqDHTRty4iivPuDD7
Jl+mmMqmHKDQjqQUPMXUDffarr5uRT5r/39h09iYQ4Bkhhq3zQcLNagy7RLD68hG4LMG9xFmA/Dl
z4+abBRpPd+OB81nP3QPdYWTuIeml98d0kt2QrRMQKiT/VYOWyHJZ2z8vzUGcOH+O2lXJoCn5NCO
nC7R8WJnfjBT0pm/7Jd6l8xKYSDAF8xXYgHS+RvJHr83H1sbdAhebIXe39D6AEfqCQngLejgZ6L1
u3+02MNIJ1JNaCgfi6kk6NzLtIMS1wm4r43kVkwEr+IAM5hw2UJ6GO46iNczwy5afpwK1Q4N9ScR
mGyn0QiKy2ZWMmRIRnRaQm1W8GdRntN9DVRTxEr14wwYOEMo0O2i1UC+M+kxyLsHlXYNeDJjcIMl
0SHpkjcjY7tYk205HL2hDZ0yaP9mKWTmK2PkJq+hiKfGfWyGWYWm1ibbEW1UTbkLmTWVxkkGOwaB
TtmpnLS/UcCpxXNpK0smKiurBmGtf/cRkl2h3jQSzAVI960JzZx7iGOjN4xO3PiVq5WWm5C5BB9f
0iEugA6eXlkyk9gNKj0VmJ2H9kanMbuWs0QMRz4MAnI5UzsfesLD5I1xHqCDhrZa5rQRGGadQo+Q
z8qNobNi1hqNKcsJ+ixFqcZXBrnRlQ661EDsU0vj48SbzM3qEAlEivBqjCIQ3pJ8uLacSYOdSNC4
MSkZJAmcNgrrb0E6kp2BoX6AWVSEAnxkvHXJJHjFpEoe9KFYaEIDpfqjpiGHsIYkfCAbDQhMiQMA
RRQgeOwc0+cumfpScKpUHG5REoAdKgbRtMxgsIcxMagXR3X7CpiOIjmsK6Jdg/9CrFLO2z+ixEji
lFMYq+aI8syrLBbNY8+T6DaQQraNpg4hezhFJ5UNot0q4ns0aS2KxmyCeGY0BnieQYwqmywahhue
DPGXkrOMWpnOcLuKKJkeqaEX9FAWYXsbwZDfmmoftGeFpEiioiG9uHZAVAL/Zih4W+R8QF4tB2m2
1TIxdMjIe0uD3LvNNOAaOh4LbqEFIP+HKLSEViG46q4CrRarywiBpx7qvlEPkq3pKRr4DT6YcQ4y
W7kdA2cooIfTx4rm1IpaPmhJL4FCJsvLzA0Fhnp7RGJRMqlBQiTRKiF9bzsCdzWvDCiEQ447qnME
mHkB7SbFqMcDh9yDW+ijEFmtlGFCxFnJb13IxYOMt80T4X84HF0i5tDWmSfwnv0I2kS5NnpbPqYQ
3bYImHX+tEjtPeT5JEHiDjkTlmXKWS47+VVuUxnqk03UXmiMlQhjLthjIwv7okezV66ltaukYumy
oEqh+NMFt6yFRrbRF8oef4ZBqhK31xjo6Gpi24GKgxbckYMwdksCiFs9IYPSBhOUFAXIv5kRC7gt
RHzayw0Fk67AAQdNR+ksQBX7AuWr/kGK6/bKowCsnmJcWyBdgSOiJtrF6FsOuCgX0tug1/lLGqjK
fgQ1OM5IQZwJivU4F6BcrMKh/aAQI7uMJAGFhSiiCzDLqPEKHevESgPODxVO9VXM9eKcxtDRKhKq
nvK4JlYS0sQtkikqzLBMAFWFMbQKFS4KVergPBgRPyh9V5kpV5oDx4ZYAKl1HoeO8RGt4CCz5Ti9
TkiVAl1IDVcsKRhRVwjin70uvMZZMb2kLBESqyF1CZOpVDFItND3eWJomvD0Voa21tS3kGGvk9Sk
kiTtAlknbiz3zbVJhry0jGiqG9eo0IYkIjFdFeFT0soUVhoN4hLEDqLR5hPoLQvtPezSzuIU1QU2
PrZqs6tqCB8HiRVwQICTwJIHcXRz6JCZamBwk1I2PYosaO26NUZHEPTQzcTci8Jox9vGYupQWWOZ
/5xwqh0YZtATN+FOqdQIXL7NX9T8ZUtokC2rs1OkyYXbQkLUyrkwYO3V7o+e9gMCRAlXtWKGif2w
srhoS7PIG9iXhnhan1VmlQx/c7WoIC40lU41qhdK0wdB0xmM5GizSLP7jtt1jZRwXlt5PFpy3Vzi
SYdgmga5d8DXO1+pgLjSJktJ2CWNimPYDMc46l6oCCEIqvRvcQv1kYHwXdIjsR2HEDNkPQfnQVW+
VWQMkPSJIa02lGZcVmaRSmcAPOuXrqMzW0fY7OogkF8TnZykchRNLmtOC6LhaUTiECKVYlt0blRQ
J8mgAzsMlg4bmkTshE8+VKkMeRy5N+M0PAeC8KMYBARdQbnrwvYpISAZYoBUJpp4KHh+IGHtdxy3
WM9f5uc41UI3MJTBiXoh9zIhQJoyFvG408CpcBMtKOW5HDmyouq8Sm5wznVFu7Khnxy8cAesi+yl
rHJjUjpSavikS3fQeHEAhnL0Nr6yKvILnJi4zp1RU301BL/jFJ6rvD+PMbgvQ8EWhlh2wqjdsQr9
rmCwNKtY7G08sadS7gdQK0eaWTRkMDtaC2ZQswSMKwE/l0OAvmbkDixEe/tUB9DKEC8S1LhMEk4e
bDE6vzULeLNdVic+Lyuk4ut9UOomOHK9mlefWm6u3hnn0Ugam9HAzXRYgR7Ac6jvGkctSRJPbrOr
ok1XDnb/ySzkpDTHQX1BO4xq8bb+NU48Pyddj0akVitB4BCD+9/oFPKE/BguaVvsdEU/Ci3jFh6R
CEgPNC3FaVqZbSuOBzVpgNWSCNxZfXzM66Iyo74xALZVFXsuI78ZA4KCEmBxUy4Y84Qh2JM4cjp9
5N7QK5ktiNIhJ8kOpJCjTRPc+qCWARpEIn8OJrkdGeRARwp/bqplj3LtQWykGzUCu8xykCaok89p
Ebnt3BUTdO0b5eMPQYA/FXdVa+V9fMpAnll0qQNpvvhZFjLqg4QDJMtVPZlK2Scgwuse4jB5nEie
uBR7Qk1ZVHaThr5GZMVqV0hwZWljgOOqHFGzBB//KVBTSLlUdfMupZrhQqHZU+LSSaUQ/NBSIFlE
TPDasax+1mgxPPNp8tJgcEMipD+IQlpPRSLMirggWqD3B2NHp6Co1cEJkIuKXxMR9epQUj/qGkx6
subRrtvXff4aKPQUk3BXjRM+ogMXh2qwaBdRSPzh2DlZWbs8CIgf5/ke7qjoJbo4nINGfIz66Czn
GsBpBeP7UgkChP9MsXRS4cZQKM7B6ZWqxklrSfQZaelvKNiWkDyT6x0es32X66aGucUsu04D68ys
zFAHzCpXGyHNFDQRbPXoKJH2UgTyRdeGzDIA40r08mXUNGsolQ85Uz/CHrjsMoLicysGvVX1yMeG
esBMjUYPLJqelDx1R4k5UOCo92pTo/koNLrURBewqcewwDiDSR4SL1Jr0HLIQu8MUj04ldaHtiqL
mVP0mWznY8wcJlI08rwC7frRTdNJ6Ppz1bV2nmRuanBUcZL2Q4iYn47BmQTlYUqLk4iPNWrRqdlw
C0Rkf+ABPqrEiK1oxKMwwS8RKth69e9YyPwUaoodRMFoj6HcID8OCN4Q78FYSPZCYKR7+LPKXgbk
OGcjd+s2E+ywMPgJbkhoN2L1Wx2Aim4lmzHVLVgoOURQb2NJnKJuRpNWeflY6LV6lVlhl1pyIplx
0IZpHynwVnU04upgwc3r5zZuAbLNe6tDnG4qjcQPSVNDG7MHfiPsyjkXdJUn8qRMkRcIvTW2pTNV
mhOMnaOPtWswHpuS1p/Axa1ABRI9GzV0ISv1SSEN20eV9qSk0hHrlcIYtV6SG3Y0MDujmRPLhjtx
EGiPvdMUsCBw3eFtDKYo9zWArcBhGDSEAhHUPQVDs8SEeVODP4sdvUGQCsZE6Gqz639VZU53MZQr
TVoHsk9rEQ34EZrQMrBgneHtXZSitKq4PshZ8lCR/mjkcgN9SXoGybEVFgPOswiHFjktOO1gToJT
EJhGI/7sSO1RyNVDItSfoLrZtdxOcmR4RtZ/jEOBTjLG36YibbxoJFdxoM+tAJRo2Beu0XQ2ZCvs
rJWtPAwt4CJttYYoh0GsqREduYNoXhj9niB/aGlijDR3PZ3LqPylEYyF+OHCBA3FbJG5iqz7etIk
ZigrrR1IaFMpAVBISuUPrbEmgzISn4zMGzL6u1b4S5Zwv0rVHx1Nz3oMLYlQLk1d7JwuqeGw1pGp
tPzCkEsaJzDxdIgU0xpY5daIrP/D2XUtyY1j2V+Z6HfOkgBBs7EzDzTpKrO81QuiVIYEvQFJEF+/
JxW9uxJbWbnRERPRI5WKBgQuLu49hnr9xp1onAvrCar9h6IzAB+giV4ZXjevZ6A7V7XKk1Dk6VU3
VyKq3Z5uvdT5ThVRwB/AwdQhOALX/q3d1QQ5kW3DTDq9zk196XrsYDnWYZKQtE0qBy9XyZhbsFLy
mbVrYORKja4JmsK+JnkCp7gssiR21Zp8a9h0MFR+KGlzM40VXBthhD5/7zBZSklv0vGjpED/AcBD
6Tcp3oDkvamsV8Y/DD7qoGH+wTeNLWlBsKo+htG7qgz+WHfle1Y0sLnM4W6UiavEsQpAi2fwn9Ia
scdEmb4nt2PbzpEzWsc9kCQsshPnO2whusupNdAAZznxQHQes1v7uL+35bfcOBrNtnFbWbE2zXVq
4PxamDdwq90ZaKVX8vgLjhX4iXnpFu+oqD6Kxjx4s4oUFe9E9zeixBkb4CepUM7s5vemAlCtlnEp
nGuWuzBXU/k6x+GD+/BOmi25m6i5A/sTAM7S2VSjGSleRK5sV3jUUMkknoUdgXa+ss38ym7pRvXt
2q5cSKPO/hoHvG1RI7WDi1ZzQYucrdUsJ+DfMF3JtNNjFuSZDrTXy3DsunVdPboTLHeT20kn1SHz
sFBNlEjw5a+EWR/SPI8Tk68oGK8wA4EQmId+Zw2NQEvVAW+rddUgETIekMlupMXgLE5vIaAI/KaV
x/kwv1tcIddy4pGJbzOS+SlxL4kCIZfqNSveXfynMmjICvqCzQ0HsqT8RvnwXg7spdPDo+PTR2Bc
Q2qQ+wrw+Sjrhp3DUXqo2xtoUk1JE9o8vUqy+bqWPDCcwQwtiZQrTbEkKsSP9tHB/lzTz87OHkjq
3ZllGmSyirLmcUQPtBw/7e65Hx76hgA89jT51ywTscGe5/E9ZzJQHXwWyX3XwXrBA0k2BxwADtuQ
LhMPWZIGLWJJ08ywbvdXswaiXQ4fqaZvifAOU/UKubjdnNGdN76D+3xpNV3E5vTgkuK19o0ZzQd3
n8/VpQLyGkxx7zv8dutVMsGRF99rmqHvZV/mCSkj14IfOc7/fXchHHdj2QQmWPb3hH5qZ1OM8r7O
H0RFnjsYOAiGwgbO9yOs9aSH03jvRwy/b5q31L8x8P/YcNVZeYggvXUkxKFqscaJACO4cymLYY8G
7+QBLZE68GvzxlPQAR2caqv0HCWjpAhHACpBcGRMk7jWl/V825PDBBZQB9ouBj9JASCSO1iDhS3k
LvtPg9/X5IY3VQTphCiBGlFWX/STva1HPBvUBpL+3hV2WNBmW7butu/dIJteilS/WnUa8A5ZGrs+
vtzoY2Ms49m8QxMpGgtv03Wf7thBf1ViyQsST2q88nDyS4+SFThc2YXeM80O+YS6Ghxxi9F/YL4b
eRkyWI4qM/2eGtNbjq1ZVRz/5H0EJlY4ZTSDmSp6ULMgodSBFm0aU9D61RP66Bd5cbBxblSWxMoA
pKJUkYMOoIf2oNsW0TCKm4qWO6PXyMQKrEYY0Vj5TndV1JrZKmUvte+HTaeMkOkn0/5kZbXvvemi
7/q7Ye6DLlWQ41TGhhO5Ja77OqLmg9CyUpN7OTJM60IHBk5ujYIlmYRUm/1iFXjSCe7C7rMQb7XN
Y5Oy+xqM+FY28QxvKV4Aqtzxp3IU90kG1Sdl7LlhPVsSB83uUZWvtSsOBDr06exEkj7wBhOJJ5g9
KZJuUd/Bn/2CopHUF3KftORxFvM3GK76TbsC8TmW9s5o6+eMk2FFcUhPJEcFkWHOMcrDcrDWZQKg
E78ZpY30AjoXAYpijygswtTXZuGcyHd84Ms6K9ywMpgREsuJq1FiGqTOuNdw9d6h3JsGUo1BN3fR
YM5QDxl2Mv0gA74YS9LHChOGQykW1RsJBWw6bh0snmzQUer1oUaeUMDk20G9Ziwx1O4QtAU6+7yA
rYB1OZVHJx8R21OB4ifEe+Yu6CsdFOPlcRJ5RhsRWAkRXUdK4bEAkPeca4fAjhs575jOMSs9cEY9
ippFtXI8Hk71dGMYDUCq+5ReZlUdzxz1s6FE0jIENUNOTs11nrubKnmFje3aVXlcs2u3bFBXMEPT
+lA0Ozi+WLdVs/FH70HC6XYSKja6MrKh/cQg3JqQg8Hx/TsZ2uNb5vjXsgB6n73iDIsqQXVgRoe8
Nq3QTUbeLibAc1s43RltyEoHpbASBGIXQQ6BrhdwM0/Mdo1FcqjJLs3fj2UcoAUn1B02rmcBxLdt
3D7ySBFa5XWfXnGs7N7bAv0LUUegP+EynpvYmSZMEJG9qWp+8BLobrv+p9k1d8oEW2IcAhSndsrr
XnMYUPkYVfQcoT+Cw67szAccjMoIjUG4atHywk14h3OEGCJa0GeNAr2qr1p89mGCUhSWMlzij3+c
qhS1fbIRdfcoS4mPn74blcDChuVp1j4aw9VQQV2+4wwSodklrFoPCg7TIYC5K+EXINy8WwynU6t9
bEwrloXhBElixNKYd4mt2kBSpO153V0YPO83Y/MusnkHV5Y4p9UlgKih4OKmtHP4iaBBxyt6B8Gm
l7To957po9iSs8iBk3XvwTyJOeOB5M6+qaZkW3WQJBgn29vYlvnCbN3GeV09eWVioO9666Te1mZ5
3A4mcl8IqqnNeDR5rHHSCeo+DTPzxnKHV3Mw33hdv7TI3QOPVfdqmuxbYvpAeF6P7W5ELReK4Gs3
3yqjiPlRjh59gHZDGhW6zj28HbcecOEGr9aJhFZLUpnBPDkrzOkHC/rbCuU7qJoHbm6Zq9zvyXNS
Mh8FhcE2yCrXmrHtSHAgDX0YEEJlQQjvs2wGR+6RFY9Xbe9O17MYUZB2U1Y8eXmbvgrbQCFFVJIG
pMdhg+dGs/K0JC++glR+YhhPLk3pQ2XOpgw8V/Aa2EYTgaavSPx1M/JUL3opKYI31aioTujhBmb4
XT+pAL0LgBJupgAh8wwo4dizqos5qavt+7/+MIiFlrqD4+uyE13DzssnTO1Vd9+OB7O7Ed45QMeR
kPDXa6MO82vHp7VTcy4osS5QJoH4sUlJd5hJir6IYHV6bU01CoQDIDQTypSwkUAMs9sPT0P2M2wt
ePOGX4/k79+RLIVHWsQpNHMtFLnFvkxvCOJMT85BBn6PIyFLHZFOUkc7rstQR5w4Kthuu52gavxs
Sm4hNUGnAa03i93i0ANFEVlk73/vpRa93qFPsgLYd2A/UfCCVUFLA51pPyxrszozN0692qLdW5lH
lEVhQObAHPmqpdigxsGj+74zEwHbpVFdCrdwQs4QScZRnINJ/76NTfxFp1B1XkFy3cz7QZfOEKg8
m2NM0eaOp8K4Gmh3DpR6HKvfTdDjxP2pn21KnZvM6ek+Ycmukvoe+LHHrz/PqbFbrKuqqqbZHVzz
QiaNc+d2eX+Fo1NmRUnq5Ddj7ycPALogCvvzDE6xlOfYjSeE+8lSk8M0NHxZqpleSKy1QDb1XeMA
GFb39N3vxu1wFGzDTK37ald3cHMcSrgM5cm7KItVmVQ43fklMIUTOnn6cWrNN5qa5Sbz+zPaEye+
7lJRY0DLMjMrozo4gzNsHKdU60xMyLDEbMeNZ6ozSIsTq95b4Ab4BJ6nm/v1Idd0DKaeXKB18m6Y
w9PXX/gHd/k3s8c73vin2UNmq6310ThJr/wV3aB+Hsj9kQAJSb+1Edx7QLrbobNDrgu3IR+VjMAA
1L5ZOQAiwyUNRBSYl0Uo7m7AvQlS4IyqYIJ0hQhthPpXCr9fuS5C0AOuULq6LNYoRe55AJXYdO0d
OTrrYTNcoI+wggvDGVDPCe1W4i3iiuMhtXFqvBU4uCFOSGuyNm9UJOJMghw+RSJ0Y2eLLgwsyuxI
gi758fIA1ccVstMLpwzOCfafoKUQbxF9hB5ypY8PMoX2WkY+qI3HIXIgwYtC2wrNolX68PWn/AGE
+92nXEScbvLRxzjeix+Mu2r7PYuu57cxtMIqPrfR/h6RRbxFrPElivYdmd099+V6aPNLnTcfhSrW
2tcbzaozm+6p2yziTjt1VQ+JcxeUMTsmONoHvkaGSM0+zhN5R7vinEHmqUFbynsYes5NZ9J631oq
tCc7tOeHMkdA8V20nV9MFKAHvrawNxQl1NDUmcj6ewQVWSp+DDVakjhAToC2ORG2hdBAzdcfob2f
QnMGB92ysv5e4rCU+6DmzOyiAEbURclJm690hk+ffvt60p2IT0s5j2amlBSoP4ED1V+OLUzwbIJq
mHduIZ8ap0V4ct3SQ341wLe8q42tzjsG8oNQ6nvbejbqQsn8DQUuEisH2AHTFdkLQFZJ7ABvhPob
Cqe2RdpVK1MraDx0g5FMQse70CxSo/YiSTr1AimCaYWMjl2VAIpEPAepo7FrM3Lk0G41m5Jd4aXm
Ba0rtUJJVx+StvJebNI6YHxAGOtJUCeJhPbdfWEI+xPm1igB6ZmZt26b1Z9fD/WJoVgqJnhux5qu
JWqfWLu8imsYeRlQor5AD9bRZ5KlE7nEUjhBja6nwchX+zH/BhxrjrPZ1w9/6sKLgGyWSmH4cGFV
g/SX38n5/usLn9iInUWAHUDGKVF1UXsHKtt0NVuRw4NKnXnsE9N7aXHV9dAex7FD7dP+XvZwaXvT
ycfXD34ixi0lZXAc7LRNUsAQOxfQoh3UlKMc8qQ1fzBycmbtn0BrE3cxPKJjDmSMcRdWSjQMlSfm
NepJcj0ptz84TZpf8jlN9mAtz2gsAXMARmMVZti2/l4GszQOpEjiRqkctZ/dHk36+SLvy01Tjmcu
f+L7u4sdyXAAUTNVMu+N9oAmPlErz1+j0/X1Rzrx/Zd6M/3I7VrRUUHFD6oEuRHM3iEBju/rq5+Y
Aks9GaAP7EoxhdU2uUfsnf8NLIU1uNJXTDcrmtdPX9/nBAqZLDVkaFenmmgTi2RGMXvI0DukDjxZ
TXaBbvt+pPSSixbgOw5jSRtlra/ve2L0lloyVTmrxOdY9Jze8P4qGXZd9vb1pU8Fw8Vnd+xBJdlx
2fsyLE0YQsSooVW3nh2invr1LU49/SIJSUue6BGor71NQLdH93CchsCbz0TzE1dfaoLIvCsbxcr6
YPYz/15hfzm4pUyu2FTaZ4b/xPRaioOkKOPP2q7qg+QpSNDSste2nMp1YvgvZoa6dON256oTp6bY
UiDEGYa66CZAUoHSyC/NBw0oJVAaN+qBBucsVU6N2TEG/HRWaVD0aoD0yg66TZIaDU8uotaCIkam
GnGOEHDyTY53/+kunNhWkSUyO7BiDGh/U4hHV10Y6Pjn/XPi6aileUjrMySKExvjUkCkLY3CtrsS
9Wjh5Q+jTMc9d+10+7fmMFuE/6ICrrCoOnwVflkM15KiVHlGeeHUxyC/DlPTmmlTkgIPnk4hoevS
VRGaYV8/94nCww/49U/fYHKZNMAIBfrtkQETmgVsjlCJSgC5BsCyOrPCT91lscIZ0Mki0bjLWIQV
kG/vqg8hyz5wUHXC8ePrVzk1n5YqIbNnyXEucJesDrouAuKgR4HLDqQTDMaODyCz/L33WWqF5ELm
4L4e5xI8BXmQYU9BubpHfwRp+VnO/YkddykWMlipHp22KA9DB1lbvevQGQDkpyfnSKKnbrBY5q41
p12ZlyUCIuqt6kC6KVD2zh/PpIwn9o6/SIZkU0/JZJUHG3s5SrcxNK7za7NFi/3Mxn5iUS/VQmwJ
iDO09jBE8jEFaGVSZ6LFqXxuqRNSORNnwL+Xh/kGxNwSfpwfZbMiUwCAkShCoGW6+sz2ceozLBY4
BGCaoTJwqzpLrW1ZiHjIBUQWgP/Gias+M2dPhBF7sZHrYoTA5mRkhwTdQ8O/meh7Pdx9vfROrO+l
Jgg8J6dMp21+yADEB3oSh74kyElAVdQCoXiOpnbiFZY6ICwFnWFyNRzmyGPS7l2xHe0z+eeJb7AU
+kityu4cMeDSKsWGanUQHDBAcCkuWUUevx6lUyWQpZ4H1E1h7pMJaK7JbgZ4CEjDW8uoQFRJUhHK
uixDDQrkpvfrLB6wy8cDl3qdS8/YWMk4nXnXE4tmKeWhs9YATL4pDnJqA11+uvOZI8KpRbP0LevT
ufDaoiwOzQDwGdjFgLsBWxcMb/y5rwOlw/EsrQq7329qcEvZDtaPQOBVbXHQRIaD+2o4F9I7s/hP
zbPFZj5A71unjp8fPA25fDSM2+w1nc4txBNRcSnbMRR2ZzQVro5cal2r14Fec+Oz9161cqIUtfav
Z9upGb1Y73MCozOLieLQVXXAjPveLnBiA95an9s+Ts2jxa7O0SdumUqLQ2vZbw3mEwRJVl8//ImM
eqnEkULDyO/AHz/ot/He+t588mf/XM36xGMvtTfQAh8hsZdh+gNBH8BB+Kk469Z06rmPf/9TOgXc
SJW4AoM+fNqx3mSPziq9+XpITnzPpdYGzQbDqAvg/bMpQabvowEKRQQ/SFUpA63OuYGdGp3jmvjp
DcxC5MAGYnQK/y3Xl4Tff/34J2b9DxGbn65btdqAmzC+KBCefX0BC4Vrv7poXuUZuZNT11+sWX/o
WeUlGHkfuI57CEOB3+ACsYAqZndmRZ3QhwHN59exGZtapJAIxNdlcLnpXxvItfY0oN9omLx4m5DH
0HX/erhO7KhLZQ1IK/85kUxMJOPS2bPP5uBH5w54p77yYumy2qqrNKtAHmEkkNnNZN59/dwnYAiQ
FP11jLjfw6q+r4sDLlxfUshlsaisw6EJus/53uZRBiv3p+TvHV+WohpGPalJzHiPHP2kx+7euDWv
ABSHcurfvMFiQQPgMyEzwA0QRLW3HS4deC935la/njP2ODlixwX/08rIW8Py6PFbJK/qrXrLP+3P
/sa4FSyU1tp7kwfr5cy3Oc7T3+yZS8mM0gIAAM1eBOrPXIcghYkLLBR6S+wY2lDdLv0YNl/f6sT8
+rGCfnonSPhJa06s/ND2fZB6dgDOwtdXPjlci4WODZLMxTEJTI2cB4SVycZp/fal7ys/ZnNrraoS
LQpHghtc2IWMx6obLgT4mjuA52t4tOlzdg8nYs6PPO+nt7Sdvpa0Ob4lGCDgYjwnDwxNV2D2z22x
p860PzKtn27Rm5Nj9w722OrNKEKgBwsvKJ7Im3vDn3FC/3pMT+Q7P27+0038tnZNM0Vcc/2rnO/7
HEDN7pyN/ImLL7UlyrSnxzoLOPUJFFL8b6UbwzXo7z35UlTCsg028mNENlMQ7pKxhgMcT8ydUxj9
mVuc2HeXwhK16ZZAyoz5QYs9z8dorLuwgs3ZdM624cRaMRfr364mNfMKSbMhAbd8kuf88U7kIkvt
iNKEWh/ac1jtN5ysxZp0kXot776eMqdS/aW1l2oFMzyAJg4YCnU/Xpfw9UkC50p+66/Gb/33M7c5
bki/CVkm/TU4Fkf+Z5PjJYASrnUMjPEI2vZ3aq1FE/h2ACr613c6sZbNY8z8aQ0owX0uON5HFSsU
cYGjT4b1xAPx1pxLPE8t5iVEr/OhXpNR3EOnEVgEkLYvQK1XsdutoEkzpQHg+l+/zak5tdjfCdjh
tiwxbPPxFF5dGu3fKkZaS5BeWfHaBoEWTaZhb+CUnBvAOD5//dC/jxTWEngHtktu6HxQeyv/ZiJ3
a+UmmR5/XPs/3tR/Jh/QMfyBUez//V/48xv4651IUrn447/v6xL/+6/j7/zvv/n1N/59EG9d3def
cvmvfvklXPjPG0ev8vWXP8SVFBKsio9uvv3oh0L+uAEe8fgv/78//MfHj6vcz83Hv/54q4cKZYHb
jwSCF3/8+aMjGpMcixX/8fP1//zh5WuJ37sfurz8ABpZvv711z5ee/mvPxznn47nU9OzHIeZ8IVC
CJo+jj9h5J+27fuu6wGKyJh37J5UNdwX/vWHTf7pwjvJAbvCgzsbeGF//KOvh+OPKPunRXycPiAB
bjsezEH+5+l++UD/98H+UYHyWwMg2+OWP7Au/7f2XZM6FiPAm/q+zRxmLdXyMgOQ/Y5b/SolWKHh
BMkCVMWkA++5wKa+tqBdr9Cm6HolJeRZ8XdXvDdzN6hrexYxWIol4O4Db6AFAP9seeg8Cz6ntPUV
vcrhjQeqHgUrm3t5AolBu7f9x6lvpjrmJp3Hg699eww4hgLMXBMdyhvXGqGfECjVoprZjOYElTPh
cVJ/+K2W/aqgzD/i5Qy+UfncyNuxFqTfQQ0H4nX+DM2uu9zWBqqinbQzHoGxhzZhNsjeDiztN3BY
olluTK9l7TAJIkNdUT8Pu8Zwq2shgZff9L0lTcDvygxVWw5px/nOTKfO2LSw19VXwItM45q0FtjP
oiR+8dh7BVp3WnhmGoGQ0OrVXKdm1ga5Bld0l2MeyCt3bKUDMlI/SzT6THGbwGK82YPGh621qbkp
P9xMCX/rAIvPdmAoWHA/BU/2iMme22oD3YtpglFU1lcQRGmnFCSkooSKZzqCBEGdBnyu2a5COnNo
eTMQyaHmqudWbQtF3Apc3yR7z5NJDVWoBtwjW9vMaNQDg/raMfYzszYhUYHiTxIySyu01+BdnpWg
rjQ53GLG1ODFDmOjMvDyeTJZQW/aZaGe8tGwpjaWzjiIdQmVkgQE2VHzVYNiPt+7oyHyXV6oNomm
Rvj2K2d6YPe9AfaKDIwBhoRxUlq2D3mgGkSqCqDdMhwwa0Ekk35H4gHcbPYdijpmuZNWkuN0LslR
N2YQBmLxXFWXtdC5vepMZamt3+aomBQDqAN3zdxKSDU6Vj1Bp9OYxmDuscCedA7jLTRbHcchXpyI
bvI2EGfhbOO1JtLZtMl6QM/YaIr3MZlHA0mv6+8b0zXuIDxRb/lYUvFZokUson7sZHMQdW7SSzOD
TFU4gMotQiVwXWSXXTGt+zSDreAA2eEydIfSv2mVaZZb26k5uxxSrsFdJUMNiQiS8yf07OttkUJs
NGLwjnZhC2/noD9nOYWSATH7ygJroMVxoze6ZLosWN1kUSHFdFvkltM9i0z04y1HMj/fUDNN8iFu
CkelkBPyj7oawvRRfgcHb4gMXvbTxqodhU5kB/RQfVckGbvrZjpXj02W0b4Bj4Jw6CXNXnpJfFXC
odeuDX87p31r7mrMueoiaXCJzWgzT63rpIKGyQAIo7uavAkGf+Os+VGaAzyxQPFGv47C8LbMJoUF
8RYfzNXEASkh4KjepqEuZycJTded61WaDLpazQPOIEGe2vqplCYIQZBm6RWIBGb5NOfCu2At99xt
ARWQamv7WuO8mthtJQ8c3VV41upcdh0IxIPrrhyIK5Rr2walJaZFP0MhVttCbjKeNTCjl6QYt8Ia
LeiJlLZbx75bGTLyOj8FBUeMrryE5M3IgxSE8R70FJ/4QPd5UlFjlY6GL/Gmmoztigk1XhCSsXSl
aY+yxpBnm9LUkNNGINKQ+u6dauNgVh3t0zv7UAwDv/HAZdhXlZNhMWAIQ5HyZKU6X9+MxCNumDkV
bdFsMNJ9Mnjjg0dM+zCMvipiKfiMdZFDvGISwzhzdOf8QlwOrW2DCuO4piqiyS8AHoPa85EocYWO
DJ7lomFeI+cLD5+k965oCqrsd2hnUujuScCWDwXLOfS7bHge2AFONuhdQ/8tRwQ3PFLR2C1N9Okw
j7vrmlcFiRLbLLZ9Bq7KKi8cExwRDNmIQOxQaGARF+bOBgI56cz+CtQkc+PIWW4Kj7G3xvbZDGyp
3UIyyOBi9t8sf4CeYdc4bQfqGwg+vBfknpRjeUtgGwMZZsdE8qeKQX4bExBeIug8oP/WpkUKRwjI
A/AomRrwsBjYU+TahMbldUVEf51pLBXsb2b6kKLXec9HQMIRPNNknVp2/wxNYb1p8m5U+GZeW0G1
qeqf7cns07vWZY1/Zzm8eJ9avEPMh1ofCJ3c5w70dANzA7T5wIPR6fA2t3k9XxmND7EeWTqJ/nBa
u7/mblGmLwj4/KnpBcQE5taFLIzj6q4HHXhILzWxjyMPVeBvDW3MMqaiA4kDeoI+trg8szYMcqtI
rQWETIKynapy66uZONtm6MitFs2gAxACJwT9ipEjcTUz9hO39RQpbUDzpx+gO4M8uRnXdprTYSXK
3o4mlvkPTVaRd6o8iOGM1AdUnSJwbcy2c58Hg8lnz8vBl/+xgkeekls/s+RdN/Fu7yvwkbgDEY/O
BWcrSFMFvn+DrvVzm03VCtubPvBWNFeA7XU1JjT3dp2F9LrElgsmlDu7q9lp5QcAjwCaNHP55pcF
zHyZOXxjrXJ3UPHr762eGltgaiEYkUFZNrJoP9/gB4AZwmRo3U4+vyMi7++8CdjAUCmuNrStxkPb
pP77kLv2oawrxFKu56P6hm7MG3Dqoehbj+gshQkbZ6TNyjC+E940DaIeQegIKq/0cLjwHXD/WD5h
fqUO954wFhP2SFbIbA91MAgS1WXXhMQDu20wwMFOoW+GHpi00mhGIccIhrka77qSzq9eX9h45Zl9
F9R25BpRsPyUEze6jYbgjxEZRUeQGTg+1JogJ1FghiUE6CGLetBEMyYkZlE9QpAHqiQOgjKd/Uqs
kWVgfxHazvZ8kOqi5TXWKmslnKTSGuIMsVWVSRfRRjT3INX7U8zMjLAA1taI2rAXNWHWMHr6GYBm
BwRBasK72cmNCjYIanAh/uBl5MFDYwRyf85cPEmEz7uy8Wuo4hbWd8+WADrRNG3noPRzxm6oD67s
HHQZs4cNaf3J2E3tpMz7JjccF9kTdJaaFxC6W+ikwG6SqE+euvOTZfPqqRrmxoQ6C8hgUdXB3xA8
PpUALYtZm4FpxpupWtc4xFgPqXmEDAl3AuuMaDpTGGFWCnjZXDMO3mbi0gtIHztJrAWR9nZifEQB
rPOFlFFC9TheqCLF3wUQUJqdEtXDcTyyoSdLjW9TYjVyrVOe9nHCenlszoHSvyoLyJDD2Lqs+Z0h
SDfAK5LmOagdanYeLClw1Ot6B1R0L83Tu3KWA7QiLAcSN/ZoF0+uYZkJxEIrl64x9rP68AUf+1hA
QHa+NoRnGVGntC1jVvS2eztn3OOR1wsfxhu2FmbEoFziPE8elgCotlDzHiZd7iEqQOrNXPpzd5UQ
q+zDInfG/EJX2i43yiJ1++bPvi03FgpMLHDmuZ112IGqzd4JKQTb1xMUkONkqK0PWVc2AJ+VOdRh
rTI/26ADCxX5DD9Mb9sGGmARpM+Qimorz8lq9r3KCGxoVRTrAvJZMGqBzVn10ktliDs3Ua3nhT7p
M+z08ihPnoUyt3sCv0pzSrKo1i5pAJUuIFykTSKwGU9ISWJzon4X92Am5nc5UZW7dnq77C8d33ah
NQCBulilo989MZXzYW2PVuvf19QZEYOK0UI0SJ3yGlKBBRJhPPpTbg42llPJsITeWqdIym2eyZJt
XMijeAekA5Z1mcy5hPkA0mOoOmWArZwpxf5aZHDBeTIJpb5jYv3BBvwvbfmZWzrzkJ1CUiYGXxzf
88wdfi1h/eUOS3yB05AWelW4Q+aPvnwqtSpurWwa3R2HbkcW5lQrGmZHVcjXn87Kf55Gfzl9/lJ3
+nFn27KYj7MnLDStpTF2ghMEk67txY1pY7HEpVesBvdMz+o3Awh0vENNnKV9nJyPNamfak+QVENZ
o2Ig6VDuQL0zaxEtklqcI64trN/wNrg+sV2kZTiwg5y9KDVyt/LmglEadxFYyVcHsVHREOsIejmb
bIUEKrBu5zdxTyFkDZPaNVgTURqfU3Jf+HvgMSDz6fseDvMuhd3m8n1zg7lGW00s7uG+8b1I7OSJ
uHzsnvxE9D5WN/SoPCizPHi0acAugIjAYJX1hlm5fhDMadGzgnrhXZcNtn/VzwmKXJ00IVPTMKt7
UTUnZ+po1q8tkx+PDE4R1iGlDA/sLwpqoLOXDvIVKEnGVh0Q9HbhcXVlhVbchWJ1zoHiLxOCEceC
8pvreBgqtiSjJbNse2AP/P9m702W60aybdt/ue2LMNQOdHdNkCIpkio7MIWkQF3DAQe+/o4txTlJ
QqK2JXrP7HUyLBUKANtrX2uuMfeGPRQ3sunb/ZiCZPrz2F7EbvlRvIbwjkmMxtIZGcuYJ4qdaXYH
fy/iWt1ADDLvlbTVqUl9FhinCN3PtuqswBw0/W/ksmNQYGD0we4jccmP6WXM799P4SILkocglLXU
37DMpxZsW+CThZ5bG6rJkQrOlWZ7nDK5L1yI8v7an+efzlJl8Pt563Im1O7cFa1yeJ+rjKMVpQNw
vHmmJNyPjlhz5tumFxSQ2WI49nMhOfNN4Y6rA9lLaYpLZQ+/LHB8DqEt3/VNzz2HgV+uAJmdZ+Yc
+/6emnfx1DpJfyUyu/zQz2V0Xcdzcp/hiHJJvvibtwrHNEx+PkNNLBs90Yc8dB0X4saoR4ckxO9R
eKaDLhMGWRfF3RtWdugQfx52vwzu83ahG57umI4hfplKU+xEWsnCuu91SAtTSeVgjhj0zy85L5nP
Y4Y/9iTdo5SalcZ2l+4nkV+nrh2yY+CsSUkwQEAuXZDgtOqhMeN3ZV4Xm3IuL7XoooyWcezqhBdt
y7AsJrC+TCOUHlAla8I4ENTofrgZb/2v9ra9a47Rd/HO3ZRfkntnW9zJD9Wj+HRp2Tgv34sfbdsm
LWsYuq/7Sx36IF3NoCSKKNX8Oe0fqbTaqubasv0LPbhIYPz8lbbjO77rMXxo4JfDNdHMfAY06O9t
TKmsE4CJDWTbY0uF6Z+78be/yHXPQWQi1GJpAxT3cxeOPVDdimwTlM6QC0SVaEFedvKo0na+IIn7
IU9YNuF5jAsWe3b7pTlBK+bG0U3GjXgc9+a+OWpb7b3K3paP3r1za+N6TNUgu2PyaIT/ALH58899
qfb42a7P374QT7iEfmKz5e35VXLCv+k4HYClXncXWvW3/ffsPcvdzKamuu3k+T04UlcbeaQcijCG
be+t/XQCuvbnn/VDWLBsVbRItg43ghDAknrQV5NN5EX3OHfYR+NgYOdVbftrd+feQWfaZjttd0kt
/+sKTzDKOvci25xrg3l7OUZ117GkXaes8G+KW3tfHetTdBU/ONt4T2n0hV/4y/bl6iRBLOG5Hjuq
tZT/o7XTikaHi+jljyEbKtemTai+/rkZf13TDMgQ2MAx8RiZyz0LkuacptGsQX8EkAgxG4pMHoJ+
JKFYhxuriS7pOH/9WQY5Ht12+YfO/5y/6NnBdMJMMurGNjoAbtxpG9ivsDK5ehwSXG+9TfdN+odo
Jy/Mgt/8Tk+3OaRCn3RILC1WlzGfvNAXfXRwiyAOA+p3Nk4tb1TpU/2s73M/3v25YX8zHwzPp+98
2wQr4i8Ts8Ib/DCUaXxImXfWdXHsN+eZl7695Gr5m5lgWgxLznY6y4u/1HPIOI7C0c3jQ7/Tt3n6
cD5Jir1Wb53s5FAshnmg3IxbomgXfuI5Uf5yCpouyTiSaQxQ015OQTGKkXwp4dluH9/Pu26T7MMr
70YczV31CLX4wv67kOecl7KX71sMnTgGjs1GHx3Mt9mtczBOxfZrkbBN6Lt0r+3qC134y1Fm8brF
ypnkyQhUnNd5sbmpSzBErnMw09taiifp/HdVu8sf5ywxOIykIjUpWztoUNKI5O/C9OHP/XUe4693
l7MckakpY0X5WHQY6u7J0aa7epw+/PkVv05uesjhrHnOqgrG48vJXdkWJgfksQ5jbQbJlG5dZAml
7PZ/fs1CLflvYz17j/nyPRLwtmYQ4mLIR+VR34qD9neyJ76NUUqxIwNhbqaT/+3HW/9Nt9//bKpF
Yn/xf19P4r9I/N/V38vHvv3+vX/zpf7/Qrr/XAf0err/3fz39+zXZP/5P/qZ7BfWX2d8kyvodm7i
7vmI82+y3/nrfCt3dNv4qQKgp/4n2e/85bADCN/gJMbx8lxc/D/JfvGXQbyU5ZNrG0QoNon/Itv/
ch6TGMCqiaOr7rKH8oX+eRl7tuP0Xex6sZVDGKdOdpNqPUBussjHSEzZvuxM8wn1s7x/1kL/jpXn
QZ7F+n9+K7oHWxi80cODZHnMRBHui9QWycmVBSX+zeAbzW7uXUKEhZHBa2PVTrDDaKqbzDKxytFy
8mFQ83JcMi58y3na/Wfm//wWk2MLNGjWabGshCbvRYC71NMTYPZjUllQ8wHOJd0/0WyO27gP34TT
eO2X0b1nUIc0Fk9//gDvxzXh5RcgAyXqLnRuEg7np5d9kLQTVGCnq45kTcZ30uluwkJdTbmWk/RV
XZeeBsduZrrIUm9BN4T5NQYdzrekqsnFNBNKAWHIKQbeqqavbQ9R/fPQ1uaHiKqT8ZSks+W+A/pc
qYOtqRk+suuU7anXW7yTMuwzhsDJXGneELjOj7GybyG9ig/ERcnbDwTiy0MvHHuTS6cW28p0qvE6
KwCHwnBXn0pbZzetJzyPjdwHtQjsKr0qC9/CpFqR493IaLbrXVmlxIS1bIQq55ejdpzDLCO/4Brq
a9F4jrmfzPxKTolx1XcQ9E9F07ln+8wK2namZQk+bNJ1myvhdlA78T/H/mYydClAbqMm2xpJjFTA
SygHv9JEhffPENkfCpG2CCCta8WZJj2MGuGAfYKTnQ9R0E1OGICUlLPJsrqzRdRsp2JojkajTd/n
pu67K9gzNuBjORjZbvLrKL+XSuvgoma9iYBkcP6B3FnhfpaTb7vmL493o9U7xjbE4p4Y+OTaH1U8
sfzGnkxF4As5irvYKVqfGHaGG0tdlZr9ydSHYt/N9fixzbt4PI5WZZDg4Eqoq1OeDdHf0idI86Zp
RDeRfvGBLXqZk2JCZFrtvmdge5wVp0JtZzXW8lQUcfmWxEZJsibBnec6Yvt5Cv1KYmOTFtHG0Gan
I8Uu4ysDzlwExPbMHFRmAgA3Jm1THkWc4OFRN6V4wMbItU5gDtzipisLS+yytjG+4nwi3+VzOemH
qND8eutViH229Tg4+rZVpWeJjZ67HToTHJNu4M0bJak9w72zR29K7Y1lJ1j/eEV8JpeU6Uf0PH72
JcKypHvM80limCSJA2PXREqtbKRzIATd47s8OmO+n+Kqfsh6u3Z2ppuWnwVLHef0tM61ve22SJJY
T6xhYyeUfkk37DUIyKVRP5luLjYl+cLwqibzMmyL/EzjQW9V4nI6RKa3pYbcwvam0yZMoAFTfbTB
bsdgltMq2hsSMXJg0ipPo6+VOGVKrTW3RcEcRxGCO++VnWIDAVjYz5rHJEqj6WDVrQXW3W0q1pXc
HtmPcw8oaRQV+pXeWxy8jTzSkEiZXrY1ujFDBF9YXrgfC8MI96mAe7xpuRJNn1IZu93NyOx4p2lt
+lnZRdbfqNn3812Smt5TU4bj+75yrUff0VVza1ejAT8SLF1QxYlj7kZUtdmnEYRxuidjJLdS2uHw
NFgNpFwuWDGGv23s+acCWOUbBPOe2kYpYnDW4bRzH/u5urP6KldXlgnB8gBqjyfpCF9EwIbGoIQQ
L4tr7jsdjEeh7E0kyhEQqQnYmMhXHZpPIdClryBG6/i6bfEs2hZNDkVV+BYIwGbq0VoZsQ+fPCdt
5rSeukIHNToHnLry4pRVaZmw+LTl1xl5C260emi1NG4ikw3iPvluSvmP9pwe5aPfn+HIlZHO5VWC
EEl/aiIGDUoKXT0MbSE2eY4A482YoHXZo/mZH2zVj0QmiyhzN0kbi3AHow39TuZUA9xvJzSJ4fua
/O7rhdPumjY27qrBLPyT1ouc8hERtV/1wZbZkUpK/7MB9/9LpJLMfkJh5tzpSmAZpNdhdoQC17xt
8h4cR+8iE9iThfc/CquN31GjaBW7kEy6sVV6D+hikl14rceaY9+W2C99QdNs+Vs1ieKrsHL/bWWI
Dtsy3Y/xmcF3BiquUF8w7Kj7jQjLBqsSapo6r4Otquz+iB5Re0LcZd5rpQ66O7Zj6MUeS8i2slIy
xJaD7dbGxp13m0St+81Wpb23UzN2A4ckZHtso1TJt/DkFaYJdTbOb9owRApn15Ranjpy+dTSu11y
V46SLEeF48xoNP2hy1z+VjkhBdt2LnKTTUpsuLy15vMwaNwRmUc8q2Pm5PWdRslms6nq2soRCOm+
xU8kh7cxFeNsV/p9lOzyKpq7I/4HWOz0jmrGPWql8C5O9fbGU9l9Wgozu9Et60pJtqd9ZdvJseXz
PrNeR3c+vPdykzRzfHIQG1DMXsq3sO+3Pejnvh5ddr3cNT5kbV9+rL0MtrLDwLp2hxZfC2dIqqc0
sjB6MkMtvcKxCdvkuNTuksEc2HJzo2HciG4G8y8N76GXdQdvU6tOVVR9yUZN3PoG4pInFHSoxUwE
iJzjvUq+O7tc3LMSVtRgdDrYSjmGmcHkiD39iIVKDDPaRXh31MaJqmBTm6Yc0R9KAHCek7ydlBWT
rMyEKXFt6FP9gI5Hs/fYYXDPZ/6iKRnqEEAXh5FbP0J35ORsVZjSxcV0rVXSSvaOPZIbanWsQa/5
hi4OcASRe0O17aY2DPh4Xmbu/LGpH+ZMueFVY0zqwW9k0l57Xptx9wEN3h9sAvBz4EX9g55nufxU
5dVMMrlsvfAaD5y8uzIZYeXembXqo1Q6rvSpNqmTBAU37Gajcd6g+CTq23SUotZE8eqdVWpXQzJY
887IjVm/HVA8fUcEpRfXMqmUhyDGcLqD2+JWdchSPxpZZYzxezphsXeT61EenYbB0+TOlJxc2bnb
Zr7l4HPndsI7kTVzT/1kmRPGV0C5qbwl1zzkVpDB/W5o2UT5t6UvdKCpfZ71JNtU+L5InTk8RYY7
RBCFDevajrV5fsQ4TbzJKUi+LcJ6uCsbzBbuxza7ShEJlHsrMrFDx5J92s5U2xNMz0Pu2m2fATJ0
jGbegjUSHJDHj3qVTIjzO6pD0WoMsYf6oxpzzLMIDPbbpE5iC/lH+GbSTe0xrboRlkw2RTsPczNz
m8D3HK8wpQKWnHWafxsqkHAn38IdiB19JB/kziLPbpTbggKfWvOgBPbC29L0S0SGTeMfcY8Dld4b
+Xwvo8SnKsGPLTDACCERv7n6+Leh98mDFwmKdkyW1A+6T3oR5pyBipKZIhv/wbL6tt91omNmhO1g
3Y6Zb31KY1tiydCb3s5IuEhg1WbJbyik8TuxmWwV3RQXXxDmPHLosjWqUXr/o5GVtrfxvK42thV5
zzN0To0ltG941lkzap9HEeUV4I3C6XfCk9iK2Mov7zXMS/G9Nyy5CX2uQSe9ROGxbW0W0e2QmBFE
aVk6f5N1SHqY5yxBcwoO2eMIPvL3/Z1b9vmT3jbOB0FLIghg3bjJin6gXElk7dl7z2s/G63df9Qp
04HBN/qApxtyrBQ2chnCRCGZrXfD2HlHsoLovUaziONdp6pp3ullA0Re5FYfb8YB97vH2BkUMkyF
gE3dD6afNP1VBEyG5VrpVuc+JP0Q+cm+VnNsT8fYLVtcUAwWcW2vtziqFgAuBEVxLHpOJ7Fp850G
gyN0lkW6mZHYdeArcxPOXF+p0N2d9Tm4Y+Kz5NgRbPM+dve2Nru1dwAk7+p9gAPUGFuHpvdqq3iI
WkinxSExE0clZ/umasT3APEb4XDdGVr51q8NNW8m4eaY5eR24nAOauU4pvUDDrNmAfNbojUoT5oV
zm0dDNwFY4lYUWHgdmv0nMTju8G1Cg+DiKlMxXScPZStRPqUVuNLuyvmQcfaxfwpxOySSHY3hqD+
/z41kqIH959lQOHN2u9vJ012M4NiMOeNGggqblpKSEDxGGfZJ5LNdOQCo3k7M621737vYqV3loiO
2HA717ZD7pKGQT/qWKNBeWw5ZZ8MLeRUajDLA6SUHhdcGwFV8YSY/ixHdS1g4ud/ePXNaNjTe71K
0bfHrbrhAi12QyfTJzeZMPyipE6/QvLdgUDxRWPuY1Tm/qFCU+GBUbB21ZRQP18mzUmbxDhxVMAb
b5tNlva9Z4PHjC8O26BX9vylzmFX4YqFIHdiZ3rSuma47nwr+0DQwW+OZObTcCOsJFRHUQ6+vJGd
xBVv5Ix3r34IfBOQ/ty2jNAheMBlyLzDGiB5KzRiq81PgTDLYGE/RCwu8NHD7LFKuJpy/PmpKnYn
DEhceOrGNkZj9q6acxFuanQvJse4Nj76UcaeHzmji8mOMVh6/1l3UFs+ZNlZzhzahX7Xciw4GxWe
Bc9dbXPe50YmOeCrxpzFAfenQjti3Wle5Xh7AbzELontBs0eiMqkKQ8AjcMPxQ+VNXX8CQyKwvto
/VBgdxjIRldOh3hYSijYe8OZcSltx6k9QNlvnWN7RrVv+zns3kqbY8EBPW3ln1Bo1cA//IqoPYag
JUtTM94M/Tjp38YWL9E+nq+cZhrxekA7Ljm8BSLWpqs5maQG0+OsMPeimhqCmBv8qe7jRAYF+YH0
5GIvYB+cRtjiMbZK/E2hRLY5HoMTy/p3a4ZLjlb6h6y9H2oqqkbpGu+mzLFDbmJlD/VJskc0aHzu
J8W5984Zqi49gMwLsytKE8MEFbTf4J5RjJwS2PjGel87dRxz/5jy+sBs7bN9MVg5sXtccR4wUOjE
Af1/I3asKk53XTSAsuYf0v2IC4H/Jvwh6Q9jZMGHsuMHcerlUBJVISR3v4Zb4s+TnyI8R7lJbrx3
ps/90M4f3B+lAtWPsoHRRqJ4sKuiR0FvOQZJZo42p2a0apzScrdpOJTPXqXBi2FxzbjXZq7mIi9z
ROKnjC1MsTmBVHI+JprM2I1+1C5gOBSF23Yq4n/6stS+N7i7goxXumcPh27wu0/YPqpoL4YUB4BI
6uVj1wPgRjbR65669n+WSEQ/6iVgn/XRF9xv3Y6z87mcYvy3tsJrbL/cikIUb/GLc3Fc+FGMwR10
TK+x7tl67vn+U9kb3vuljDMD80tJ3AHTprnQ8J9IUvEPmdk6uhoAcqhjwy5b/qgIcThTYhDqFRxF
ow6d5EM3JFyuZVnPf6c29k47tlz0/TU8xYgNNEtwi1KRsneGDL9UGgZXUVjEyFH1Ivsa+qnZBlmt
0SXRnLrVfZzGLbr5QRfqVBujO1619sh9YWxQf9wJbJWwPmuT+NHOdH/aVaF0yUGQ8kq7gIoW7XNJ
VIuFJgz1Q4sA+t3/7QvsEz0pkxMHaE+/9j1JHcAYKvPG7meM3ObCxll1vo75FgpBY0vLr/4cgPsB
t3gRf/N8/CoYKg4lT1yKzjHSZzHQNGv8tqIU4mT1fvz2XMP8wN0kajAoA3+9U16pE4cyhiTHS8Qv
iYuyQ6Du55b5d2lHb0gdaDeyzT0GroYjV6jluTgqLOTHBww9ga62I/vihuuJnu9bqIvpnmkFGdFB
gyuJFKnmZqySKwstzrtysiVVLtZQfs84CRn7uu2p7f/xm///cP3/QePyrPvP1X8vqvPeJ9/78kvx
op7v/F/8jNUj4/gLtbzhkFLm8I+u9n9i9YZu/oV2ySWIT7ic9CyD5N9YvWn9xW7kMIj+86/+jdV7
f6EzpI7LxnvHd3DiMP+bWP3LHNVPEwjywsvxSRpgYlusVBCWLiGFL9pknZ61wW8C8q89+SwHeTby
VeIaLbYbYxD341dkyF+1Jvq87tGLoHadKi2sMOjGZFPMnC2Nh8wqhgtZz9e++/znz76bWezD5uYg
Jpy42KmquMuz0LqgMXjt4YuUiF9rmTdiSRI4Qt5wGc22c+4PPycgma7fV1m+9nDyOs+/3HO7nDJF
vhz6M8ZpCOX3eDytKUM+j5RFilHhiKI3ZjcEFciGTer53BwnwuTrunShyYySOO09OjFgbRz2bt1y
Wc84v6x6+tIYgfLExA0xPw8wCQ08D3MpQOV/fvRLocP/TqClyGjMkIeE2TQEuVnp5mmgeLc7ziYL
/5ceK1C1lVN4JtiEg3Ztl2cq6p/f+0pnL+UcJuFLdO9hH6iWFXwwOZjmclrXXkv6uZuH2BiGdh+4
Q5LcF0XRvGmdS3i21758sTDUmfScxMQwC4ubN2GrVwEeFOpCTftrD18sDZ6T63hLcFHUCuU/pHks
nzStWLekeYvNXHlzShZEyQAfp++xU+4MDuCrunOpEjbNAoeiwpKBMmo/fOvMJbIxCkXGC+yb19pl
oanwOB2nhR/LwGr0/ohWgESUjC9h0F55+tIPw2cgirSvaZhee9Phl9apS9zJ1x59/vNny7EhDVkS
MpNYMIvJ3eDqVd7bcz+sa5el1USnObqQTSMDGdUpEUPPPk2GcNZNUm+xIkeAG2Kd8GbQnGsKuxLg
Pb5vb9cNmcWCXNdzREiHTyfLGdm7OKtTFICWkX358/PP8/E/R9j/rGyLJTkWpCdrnRXGxPSKOF8+
hoG0iuKBLBphntBJ9Aun5Vf6eEl1V/psiY5CpoDi0/Ta4Ex8KCbC9X/+Ha89fbHnJl4/uxF506Cs
wcscmzRJ7lQi5pUb41lO8XyEjijcxk7/EZs6l42nYtj0jfy67uMXnZxrGNlwYeqDmoKGT5pmTB/r
2TAvbF6vNc2ii3t/SJMpo4vrWMrt6FM4npTNBUXGSxnI/46fJajdzJupxnO1C9LWGf9pcgcb9noW
99rUmCnlYeGUYadrOetaaskG1xHbTkXbt0Gj+W+or+43XJvereqFpRjbjqIonsXUBnnaUMetKKFU
u3WPXuwpfdqR4NRUG8xl9wG56F7DCXPdoxcbLbmsarQSvhojjzdFnx/T1l63EzqLbdaJwTOEDq7B
Vm1+G7PpxtTGdV+9xO6Pbk29jM1eog9ofFX8D0rZS6L3V8b7kq3fEmUv+5FzTY7RKSCUJ9usH1c1
9tJohMxj2ta110Ncjm9Sfbiaiui47tGLxqZSr+TZGAGQz5w3hdQ+Oe10CWT0WpOc//zZ/hoLn3pj
8FJBL3W4WEYGR2E06w/rPn2x9kojzFWfRl3gt0cEqxuzyrbrnrxYdR0zpQwbJ5pAQ+iRdeMuTC7V
tr3WJIs1tzSEZZJXbYMyF3dSJe8qz1jZlYsFVxEd0NJ65qt7DRa/7j4Rn1l5JXAWXTmLPtNknrSB
kTmk0oFbVCubZKmJT3w9nA3SO0Ekqi++0T80VOWu25+dRU/W7aS0KqrbQMU20gQII0cZy2y/apyc
4zHPx3dtmm7cKBrFcpotDPCdxJR13aMXnTlQJtsWZdYGTl2KnSu0b76Y/1n17CX/3nFFjuaF4U1x
EuqB6m1aXapzeGV4L4H31RhWbuZFbUDb4Cj3nbTyup5cQu5ry3M679zW5KERJ30lWrCuF+3FVuZ1
Iiqjms0dJ/hvsYwhmYyXuHSvtcdieZ1GRe2pVbWBqahN7Av5PTQuuYm89uzFlPRsCMJNToRaTOax
F8Y+y4d1S8kSau+SgCakmLdBNer3BLg/hgXx3j+PvnOz/uboby+npIdJTC3Y3hVwIH0jmzyLMNEt
mu9FAaVzZ6deu+7CvkRKehlsnBR3IMSLUZ/t9Nz3D30cqks8zNd6YDH/p9IuFMrYNhgm9cbpzM/C
dB7+3EqvPXox/8keTrXqzumH2p3IMVW4PGq2sW4yLSvxo67Se9UbbBV+eeV63d00dOvip8ta0REE
WuoXbHAzaCX0kWO26QpZXxg8rzTLkoxfIW4rVKg1wWRMe3y/N1aYr1sGlrT7wneMaE7YhmoBG0T5
drvRKvP9qu5cAu85CMnOlayLHkCITj1yyNqte/K5pZ6dsTp/1jK/5cltbW2b2oFk9F9RB/73jmUt
zleRPmgeJfa0tYtdbu+Kpyqfowsj8LwA/mYVWMLtdRLikavGLgiNJkPcVwPZeyhdzITeh9IR71Y1
zhL7OlZge1TfNYFXzP6mSFjfXYBNqx5uLWa/31L5DWKjDSC1nDK33zYQS9Y9ejH7zTjnhC/8JkiH
Zjeo8jRwCF316CUxP+tYdJElNYHefet09MjpuiG+xOXrMyq+auab7a64Ae52SmpAC+s+Wrwc5LZM
IcdUgqYuY4GACKBjlq48fy6B+aU9jlWH40YgwAydGlzxdpCozHVb6Q/UxrP5Kf3ERxBLe3ul2ObS
gqKYrezKxdTXzEGNcUWLKy89yEbbJSpcFzVbojRp3B5WHXO/L51jn1s3BvesdX1pvuzLrLPcUUE9
CzxsLNLukRqfle2xmJDGGEkRNzR1N5q72vMOZaqt23d+lPM/68Wz7MDSE9rDKibIQP6GyO66Ry9B
+DrqHFY/pwlknu0Unk0CsfKqpl5S7xu7RM85MUAs9gZp5jfTcMnH7DzGfrN+/7BXftYgSTo2ZeqC
A9Xm1HywLQn5CgrduuF3Tmc/39QMsnPC9GzWEgsXeqMVT51/KQZ0XjN+9+WLI7lQXQy7jqinGBDd
HGx4Zm8mZViUtSvhfxvmaVLI1cEtrVu8loz7dg7jTJYFc8k1dqPd/R0aYCbW9fBij87CZmqqaUTt
0s7pfg49fzO36cqIwo/S+Wed3EhDc1svaQLI40HhNVc5rmXrPnwxV6fUoCrf5tGVVG/10nz0E/eC
K89rQ3OxeRZt4hsyM2jvuQHwjny20A6rvnrJeE9aW3c06mICQFY2zNGsA/ViOevWr2XdfmuIJqSW
pgmQXoutEs600dOVgb5lsZ4tZ6VEzCisOi+gnrLeuKq4VD3+SpMvIe9c9jNzmNlCfWiV5g5kZmug
Aq6qS/yb116wGOeymEw7LTjIcXXZNolF8dklpsZrj17sRyCShTunjEQxZFsyFvd9M6xbxpaV08jf
qJ6C0kWzNNepandkBNfdVpaV5Z1uwmTsGYmdpu98NzpEZfF2xSCHxuG/XHwVuHYz0os2GFGPbqM6
r6tNnZvl13WPP4sdni0qKWoMJ8wntBJAoh5U7KhTN3vO93VPX5wUPTP0izhtOBOl5nfgoR81z1sV
A6VhFrvSRKGvKY0cBHYXfnG19rYDSLtmPeTZi10piXM8ahxGYd76342s2dYm5bzr2uQ88p+1uD6A
LbZdOhShJGAcX/n1tFPgcYeVI2YxOxHMj5RVsHBlCSJNbEKPQ3fJV/i305OGWUzPRLPyyaD8MnC7
8XYuwiu7cS/AfF579GIPAmaeA9SMOGVo5ofW8QI5XDqan+fKL4cMvnqxB8UW0t2wbttAtl1Y3RZ9
qdoTqDrGSyGNoYfiOzvv06EXKSivuifFbnXdsO6HLSVJyA2s3MurJkjG5p9MUO9iiWaVmgoaymL+
aiCB+qE7J0d6CpzL2riKZ3vVXYyHL6evr42+2fZNUDTT+9Ly3nM8+7hqFixVMKmFnh9rSxZj0LH/
DAklYnNbaZcCGq8MpqVMZZi7yeoayTFeAPnUOT1SPLNKZkCzLGZw2NVhk2EdHExdfA8M9lOsgzZf
1y6LyQvePY7LmsHiee5JhuW7uTfXRJD47MXcddH14RIQsxhbJcDSCOfF7mHdVy/mbq/BgM7gsqEa
ASoeAknfDHJVjITvXszeEsU0VMnz6VEvOWmoTdFdcjl6ZZiIxebaIYinVI7bXqI7H81BQBKX62b9
UrXny5IqEQNMwRjZkBfGYjuVgBJWtfdStZcT6UaFJTg+mtF9W4RvusxbE6UH3rbYVnO76yrK+Jpg
LiDQU1RHzbKh/73uuxf7KucYu5zPV2Dfrz7nflPIrYFqatque/xiYtpqcsRYEnLoVfg2AT4djsaa
w+OZafdy104a02iN87nUNix703ZWvhEXCX2vDcPFzLSN0LUHix27s/AugvvznRK+VRENvnwxNxst
6qVFbWlAfd4D7I83ZZ2tHCuLmSnn3sDvkEerNgkoP7/vu2jdirKUFFEWO7hEcOvA78P3pgK5NVgr
H73cMkeqkHpKzQJIGvDKu/cljlibVSNwKTtRHYwNSzLrnaH9xhpw0xTlurP0UnbSmZSq+S1zvlfJ
0dWi68Kr11ykAcovpmWVdJ5QPUFAUIZ77AJu5Vg9rmuQxZRUc9enqZHVgZ7231QrbqG4rNwr3cWc
7D3lJP7MZ9v+EMyRdousfGU/mi+nu9ZTC+55zEiKod+KOn7wfe20rkUW89Grqf6eLRZYS+rvYlu/
md2V89FdzMfKH3SI8kUdiEZ/1+galg1mvfLUs1Td9Qp/h+y8oZm2c5haHt6P5qqUAjUwiznpOFVT
pKBggqzyNAx5DP+jJsZu3WHTWZxjqSu1hd2yL1C4eFQjVHUyoqt601lsl4WFcdQQNXWgtOjT4OmP
pZavESzTJotZOThqoLKXLcd0OkqeS6xxo2GK1835pYTIxpOgH2IAAaOG964spb+pO3fdGF+KiDg/
GFaSOnXgShCsvf/Ug3ha1+CLmRmzNMVJx7V/pCpym+K9N7ltuG7aLyVEQpqpF40Mw3qm1N72M7lx
i36/7ssXs1No+VBBGiZIr+J9B+Gi8Ix1nbnUEKUUMk1aS0DO6SjWJj+HOYSOCmrVhy9lRGPYA/PF
ozUIM1wuHOXfN023MtSyVBJBBHa6MGI5lNKi9CRLN0mCc9a6L1/MTjcx61mX9Kfq1CHCDqONunUb
m72cnVlGLXvCKcK1Y5gAwn00omGNagO86WLTjHAdcB3JjScd8U/Px2LeQ+G4RL1+5bS5lBMluQaN
ourqAELRZtTjr85oXNo3zw37m0jLUk406mGazzG6MInD83tWMPmgjCoKQk63xb6PwvpSTOe1X7HY
Rn1l2mFc23UQhs1RTMNTaqRrUhY0/2KijkXcu8U5vK01cbHpYxntNNVY68bkUu0T546YQ/aNIG6c
G0e3INGtffRiF0UCQV1zTuGbqqx0g/3Qt2Qo4nXL11LsEyq7c3uhOFy0+b7Thvsp8tctX0uxT2mn
jd3biH2G1sTHSc/7rTY568IeS7HPLIZe8yoaRc/TG29ub/M4XXcpXCKPiWxrTtn452BNCtCn6q4r
c12dJJ6B1ssjKDZHEpk5q67sZQqspbn/f5ydWa+kuLKFfxESZvDwCmQm7KHmXdML6uqqAsxgRhv4
9Xflufehy919StcPRzpqtbxpp+0Ih1d86wTGz3ERWlF09k8At3yJNgcWorqn3gW+94fTmWsLcQCL
8sKJ4kCPItRq4DxH0gXvx44fbu3NDrgg3db3IBrCj7FdXzSLX5w+3Nbi4O4dhgH1xoepEe/1yIrJ
TB/dhrY3ZhAEA/SsM87BIRmISlvN3balbZkgOd4pzwhPTx2Qec/c+HBSN7VjgcxW4wi4yRm/M+PD
FoB9AhvR1WOf3ObECqD73FPVezhP5AqvTwD4PLk7zokVP7t1QlPlWqFAuzKV7nVDkmqdHJeJtS+J
r9p9DbC+td99gd/jU1RFbnHfdnaZD5+Xh4firwCpT4z9O9icut1TAitcBpOcAsjWkAmxuvsW1n18
CRSMU91+S2tXknIxAo2+uNPyk1x7Nr06gJtwiw62JAfN6EHUa2T8VfBWBPUtWjrHka1tyaJNwDEU
53c7gXA7LqtJqALT0mlSbFGOqMjRziMWCvgst0Gfj0A33dyGpr/GhrIzk5wZFsoZyyscF9+KVnx2
G9ralmCwUmidodcQUv3c9/Y6CMeani296RWcqkONA5bJcbzCJOS8tXOvc7cPt/ZlBe6WEgOeN2AQ
9ERG72Hsqg9uQ1vRshE1pIIT1BrA5ycUpEfgeB2/2tqXpa8lg00qvhqUyE6g/FZ3bqHyP/jsvzw0
IwYPwbljkVSU5iizP5a+2xFoK/nRGFANo4cf8mjWL70gY9Y1UeX22bZKWBCu1nHAdj9rH9zQ7ikC
Xfe//473es8/3E5swRDKhR2avfAOfE5ALH/tITH9CobtMl993cZnLoAyfXPAKmj+zX/L/SD5+x+E
mvzXfbqYc2CoVbQPCv8Rddo0VfW0V7N4hMPsBH2L7tQ7NFuUwPpR1TkdxjDk+PWPBlMfEODbkMeo
VX6OgEO/uxNP0m3F2roovCDAC7LBj4+b0xuwb58VUU5fLmxVVC0oZIalGB8GxUHfksHXLh4Xt+PY
VkWVADIFJ8GLAoN1Vjd0r0J2uL2D+NbRg/C3lWrBdy/LnPkLoIkiHBz1IoD//KIXYeBDdfGM+V63
5uegw5d1Am/rv2+I+6H+9/X5NweVqq6FMXWkHka/TruBzu90KOknoOrdApUtjEJXC0zsdzYiXR/C
JFrVH1LL35WO/nk7Q9fx68ygSNIcB0H9v2cBljgYcj/GRgVDWpV8rdOqnbw3pVJupx4eon/9c005
z1JpSKVCuXwiR/DMttWp1ItHul+HXoFWq8B9HB9OsOETr587YOW1U38Rx/vOr6MDldiUC1blw2Bo
+LMGNBO6JgO29X9fRPes+u+LCIXqX4eHdRnedVC8fzji7Xjxy11+Cef+d24//zb6/Z//JYqF3URn
RgZMjaGqCIgnE9VL88bt262dC7Dn3oHqeX+vWwa8qgmQuIPF/Cbe/Nu3W1v3BEC2XyPcnmq9o7kr
fuOF2unI4TajSaCYYeBGgZqsIQBJrhFw6zAZP38T4S3v0f9rN8KasTL6IYa54tAI9WC2lbQYuT1e
rRBeNGC1ar0knG3qAwrN0zvQyv2XQcJjF6lRz75zIOQf6zVk8jrAwfZxjioPlqDhtCcx8oa3zdqq
Ly3vAHueGn//vnogG14R6JfyiSAdf9QevLATPeryrjPfnTTOCMXWaTFMYHr25BweznB6nKfxWSrh
VGKCMufXNdrsRkdw+hUF8sIfNewLlPL+dFqgtpCpE2qYYeguiih4hmB9Pp1CLZytfv1kwKsAE54x
brV3Ka+xgrrmN0nPv6x6G7SjS9LQBRfCwpc1f3uPVu9xveq/uk2ItacGtR2iAtC9mCdwKEGgHpvv
biNbqTipWni8VyOmGj5ee/nIe6e+dyw9azOV0oyClkoUw3LxfHinb0592Ej1rEUNcr4f7AtGjsPx
ciz8yUCW5jQdtoDJwPJj2hSGJkJeQ8CMUVh2C3e2fAmI3gh9Nlh8Q7xVaVXhGZmfvbm4fbi1G+MD
ZOYAlu9FW50k8/XwRsNAxG1xMyvYyXI7B/jHY5F4c8LiKxWDWxi10UhV3YXLjgaygg1hFvMpMfKD
24RYQS4+5yDuyIBfspUpmBcwl//iNrK1GeXdmUcvihawaLoTbBcYyQylm+KA28qlaAUClfWSQWTs
LxmQrnVy1vvvwK3/ckzZjk0Qi5ewaptpIeO4eWRxXF8GYLR/E0D/ZXRbv7TDKxveMCMtBFzjnwPV
lR+mCUYRTvNuk3NgLxFEy07jgps+0TG5TjJwHNpKReXcmf3UOi6Ir7NAfW3m0+niyG0BUwPxMoDj
Ky3WeUxU+X06HTNQW78UlZsfgj+DkVcxZlVE3kkCkLzbXN9/4b8koMB9wdOnjOICzvWvy3N/Xozb
GzK3BUwHsP8TqeK48Cfgitep7BOjqGPaT63NWQ0UXgeniYs+Dt8fq3wzL/E7tzmxQyVHi4jfYmjk
JsVMqof5d0aw/7ZvrFBptBw5ZBIxDu+jycmybXnZ1W7yPG5rmOaASQKlS1zgXKmvzPPXDGYwtZPk
938d2v6yUpZDhovusXU0AOFACz7Eq5uyi9sKJmMgWoyHLS5GuEOUnkibyO2gsgVMVTRJAlZ8XByE
9xcuN/8C+3U3oTJcCn/dPCPzRNluGJ2beLx0qglTH1mWW8i0NUweiqdLYLAM0bf0pDb5SZ2R29XN
VjCtEcyLlh67ftm4/APXK2ZSs0hvcTtVbI3BUY8xGsbPvRDKz+sFzkBd75a42QKDs/TaaC73vYBD
2JmYQ3xAb6HbGW7zRIZzJrwi217AB6++jG01XdeSKadqEcz6fl0t7Wom4EQJfs9xrG8hbor5vBLH
hW6dWWfNaePD7KpoALWS5bCmEbxrHFeidWzxTkN7EWBwVU1RQiB3S02kqdvotrxLTFRJQnhcmEoC
4xJNpQddyt0NzvEPWKUtdKMyvAvOUdGfY6bPGQYlwi1htvVdnSJ88lUHu5GyTGE/V4QmcFvoNirq
gPLcoPHELxqNNtRdpnUg3LIgW901Ao4Hs/rKLyZvej8G3Yep95zURdwWd/VDfXds0mcR9MFH4D/A
noP5mFNctqVdNNTjyk5+FOB16+RsxCfD9rduYwfW5uxnfU4wWITNU9kFKAA1+sPS9k6QAdQjrO05
wHU0CCXDqbXRZzrAxVL4brcUW7mEfkgBTJnciw0ODHDVusCOye0Yt5VLVBiyIHCaYhhRFMPLYwtz
h+iz04zbyiVF8VzkN8IUaIiGCih+VptT6zzntnKpDGCbci7eVqConbGlLloWuR3itm5pG7ttaXSt
iwYOo1EUJF78xm0+rBWoAJ3bGSm3QtL9Inl51eUPt5GtxQdTk7FWW7RhhRjzDr7bcQ7XKeG2K22f
4k6FPbxl/K3QBK42NWgFl9A4kQQ4t1VL6PAPg0bqrehMnPUxea4ce57AOPx1x1MZwVRFVboYw+3V
sqkMSjS3Q9BWLcEdtIriSeli6pcugWdE4XX8p9OPaWuWJrNPcHylW1HHrDCzl8GlzO0MtPFBXGjY
jTZYgXsE4kEHm7Br7cMN1u3DrZtmvEuywhVxg/As1BcPbelJJdbfWVX/y83Khgj1kwQi2N+3ohm8
d6c016al39w+3NqYDNSDPfblVhCvLcpgeMvP7qPb0NbOPCL0PTXxuhVATb0pA/ExGNz0+NymCAHl
qTdcIbZibLtbZ46cuUFPOLclS4usj914+Oou8KsEXqGPVcf+dJoRGyNEOgnHazJuRUA/V76BXWPj
lvTYgiV4Dq4xpwIjoyX+7LfbFP8O80NxZPzDG6GNEAqGLoIph9kKOGof4sL6mTUXDdveLxUehWnC
lkg61plI/OuxBWdI31diw2EeNo8BsJkrTLzd5t7aoXKLRA3qwVqIdkxL9BT48/95Kv3/LF2wZKwi
bXnC7jVQ0Voc0pQvsNRt4N/OnIgtGN3aoTA8ZwhC3lqEfe0nYAezxxBWkG4hn1iblNVabhL24EU9
3AEKImurxu3EtUVMoR9xE4LjXZiV3kKxwDyQuuVutopJ4Z0SNHZvKc4FLnFzmY8tc7v02Bqms8Uj
WGjqtaBfub6EynFYqzbL6C7F2DVrQbSXxkzCfLh8cVrZtqpHMInTD+WNYvMYaC0yB+PndyqTf4k8
tqwnjHbt1x1mo2Fr+Wiwi3KPysUtatq6nn6no4FP0VLMMn4JD94ng1g2tw1vK3vgajX5UMrDDNWD
Pmubm5cR3nVu91db2QOdAVxQJVkKLvqrZCyXe+xWirRZR3XNZKOrfi1O0r2H510W353P3ZaKVevw
9hBWDzBxKnod/CSSfFUbcasXwtLv17Obrnzmslvh3Kx+xHubtaLJXL6a2eoduFBPQbliskt1ppAz
XME2cYqb/zF1++sLgTmOYJzvC7rqF9iQbu18ifm6/OZwvW/uv4dOZqt3hDeQjYHKgNApwwcDxfIf
09jHFTR9zQRPTW+pSBJOwB87/b7MFi2aZYdnLii2Re95czar2c9o54T3xnu1FZz9A5YDehmXoq78
Mxn5NsHRlDjpMJiwwnO/TpHHNXy/B+8cryOVY8aGfnC6szBhRejWW/eezlibsFPynzrCkALMbuRg
TIwVoWt0m9dQos6FIPDnq/v+c7x2TnwyDG4F6HgIQGsPprlQgr0a5Numou/dtpV1GFT7tEZo9pmL
sNWJEeH3tlZO5Q94Bf96FsCodp8HiaFnhf4nnMQJNdvvGhX/OSYxWyRrOqKac4zmghCAcDr/aV2U
U0Bithoo5CE3elNzwQ+e+fAhHnq3F3Fmq4GM8MFMivq5aFR5PccfgV+6nWG2HsjfOXjYPqCSJAgz
kANSvrrds5itB6JnE9QeWEzF3A7JJvaEj4NTQsRspNHRqxbtSedUwB64+szN3rw5/Sr45rS2ubVr
hKp5CWOsqagAY4m7Mul3t5SI2Yogvh71sLUY2vB6zdpjkykbx91tBdqqILUpD0BYjD4ReYNFcQ4Z
de40J7YqCAy/qhJVB7vlPlgzuCUNeb1Bcus2upXgjvd+s/AcqoJADYRU7i0f3R70mM01akwfN6W/
S0hVYMGelENnPvbL3QvZ7dOtwIbjpCyXGuPDm5tk09l+3bzOrYLIbG1QVPMQLHwvzvUiHuCinTCQ
A92+O/z1lK2b/px11LBcefBkD3bYG3SAG7kNbgW1AzCSzRsjmkdLmJxQHlHitjdtbZC/NtE0NY3O
p0ZHV15X5209uHZLFm1tEMSRM6viSuetR5+8ur4IPToVsZktDFJ8IfGKInYOz0eT+LN4DsrG7aGQ
2bqgzpglgLRT5818fJhhR5LAdtst72c220h4PaoSy31StgoWcowXoHu7fvm9cPQX7UQI2yt4gIst
FxXIrDwwNMX3OxURmK0P6stae93OMHhZvgfD5lNp3HJCamWccz8OyzGEOve6MSWyzphmbhvTFgeR
ejq82gQbboV1pgMOfdAfTrvSFgZtM+l1RA+d+7H80nn91bSz43xYIRNB8phrZXQeT/vjqJurON0w
gMyGG414xgvqetK5ln15FZVHEh2pwOnCzGxlEPxFiMQTh87nnWWTL1/K061hmNlsI923qKtMm87X
lTwHVQWKb0DcnteZLQxCeqy7YdNYgPH0SgimUG2e3Y4qWxrEBr9RU93q3Cxnij90C5l2Wye2LmiZ
/TZuWvyYZ+97CQvUxYtPt1Iq+5ssSMtynPxO52rBM8fRnvQCovx3p81jC4Ng86DjDf3Iudqn29nT
BJPkFnVs+YvPV4U6OYZmcZt2S5OOlZOFCWc22KicyTGxFkPv+3kV+g7ZEI4/pXUDnLfJB2EcOweO
rmuiBvnC/Vm6JRC28mVCW1Q874POB+mncbhdBuqYU9lUIxn7lSb4Xy5M+ROPV2k90R9Oa8TWvDSR
kOewYuOEZ3RVvtIJR7XdcUqsSDn0xzJLWeu8V/J90H5THnOS5UOy/WsMngYlgkVhskN/R0yIb9W0
umXHtujFBxdWSYPJbhYAb7r6hr4et8uOrXlREWhgBE/JMGQfEgprDQq+htvvaKWvM8FOaXup86o5
s5YV66jcgrutdukCrQLteVu+1/AW3+oEjsVOzxrMVhb603xM/oDTr7pb1zYc3c6nm4cJZ7a2UFSS
tqTCdwsxf+vO+L3uDuk227a2kHW+B508xq7Dp43w1D9Px5Gta2VH6pP6uCjk23gkR/lj5J+cFogt
/1mrmsbrjgUCPU0GJXdiusktGNjiH3+k9bwMfMunPaaAgUCQt7aL5zh69OtWr3lLq+2ebi+EbBnE
KZ8i3e2O0x3+Ovj9gs3MjE9fwuM27sfNKDcUHdxZfx2asCDYGQzQcrzwTom6o2NE5bgpbXLR0rAS
xY1wy+eoFenWn9PbXZjlN9nUfzAX/1DIt2VAYj1xXVL+kvsomvq5f9Sz96oexVamMdFd+b6TRHK8
Qs6mvoHZMMP4JjZ6vs1iV/LW+X0TJf4h9vZVfe6TaeCM2UWOpUWbPRN3iFfadEs+khLMOUJ+wpfs
m9M2seEzuvXisocLYX6O/ZcoriQqxU42U5zZKg6twqhmQbvkfGnypuNNQiY3WRizZRzn2U8thw48
3/UYJNOkjwRUS+62TWwhh/KrZj9Jc5/xtk0YC+8Nsqcb/YPZYo5NT2pZJ8z5hr2YVKRU6crjn04/
qC3n2GSpQarGp5dx/dlfTRHO3s1taCsJ0UFz1joq8d1BlUV7mAvm1vHFbP7M2q+9oQuWSkBUlMLc
h6Qn3A6dvtvW4ZU6pkhA9iUnXfgYyz0DGc4tWbB1eFz7fJZiwdDCBImJvaIFqsEtEthKvKavYt14
Zslbf7vsEn8AxGY3zByzpXi0Cre6L+clr4ahz2J99Bcj5tAtX7XVeGXJ/B6aufslkk24evSRqdBT
vpZuN5vACpJS9nVL/AFfj1+2aORUP4nVUMe7jS3I24SpYLqLTTTpF3DQnttNuhUzbC2Rb8YubrBE
8nJVX9RevcFv8Juj/L4N/yGI2UIibWhQcd6hKiWi4RF0oeFhE+Hho690YV+dtpItJyJohPNXP8aR
PjCemGH5s9SjY0n6b4KiBsav3RhgvcfyFixf9oG77SRbT4To7qGBFCP74qhSGfqpD4sTt2BhK4qq
dSTjcGLwmk3P5dTh6WVyezW3qUh0b5WK0TWd02j0sp62r72qdCw82LqinkbB7Jtwybu7hgB931/7
pnXMYm1h0Rqac27GaMkP2TxHc5/Oa+e2hWxVUTmBLcNCgjVYNQ0KpXWZAuXmZELImS0rqudQnYpg
Vvi45kMdZrjTuz3Q2aIiqjzZexAV5aLpbiUdUt5TJ70Ss0VFvtobegDbBocwD30UOqkbx7cFmxMU
7wvvAOfAMtlJAsUGp061bmoLigI6T+3sYWANC6hnrxJNskjqhjeitqhIio37YbAtOSt7U2XrOA1V
MtYj+u5cjkJqg4EC0D05uIT3X3NMx3h7CUO3Hl76N11RPE5HMyFh6fY+yIJ6z80maqfjitoyn2lm
IzyYkbL0XXQzq0hq4TstcGqLfDzSocWpw9Bhxx5QQsnq0cmrEkpn6+JaAi5y6lBjgXuifm7LHnPe
4WnU7bcMfr273mXbwHv6Qx6FFXmova2+9nzlTpuT2hKfs4/ETKYJozd14yeqW1Sf7n01ufEpqE0E
ir1jkHE3Dnk59F0y4T4xHpVTxKe21Kdfg3kq22nJt/lMoN16bJv6xWnWbTVbLRexTKSfcrhgbldT
x2fq+XAOcBvdqiwdqA+ucyf2vBEogMfqDZWrU1imtozoDL14bsdzz/XuNRnIVPNlV75b2k9tJRG0
vktN52PPVcc/Vij7JkO8O8VOamuJyhbGBiSYjhyOfgsgUDq4LaJ1I7BQW040B9GMF9dyz3t2rH0C
TUfYp2I6zA+nn9R2eprJSBT8Nsecr/6edUOrknOo3VBA1FYs1YMC9HHHgvEwIZuRFzr9ToFyX3N/
T82pLVdSLdmaXWPB4FlX/xRYPNGlGsz8p5qiDtwu4MrlR+9k/eJ0L6W2iOnc/fFgwt9zur7zFg8Y
Kcff2BYwnUNfRRCK7nncbsm6dckau7kfUFvA5B0R2Occs1Sb5bVk5EYc7XeojTVix+n1a0P2HBcY
4BTV2SXN7FZyobZ+qYpKsOWXec/LqGlfUJnytuSYg/B39QsS/+c7/2EB/Y1t1E/ABrRizAd0EUcf
4IBcP2iqvfipXtH1/w7gNDJ+WKq2acLkONtF/bFTEx4Am5Zjp/ukwZvaMCWoU6rzAaY4APbsZ1XP
70lP4+mRzN3WPMx6OtZXy1E14tL6aCYuVoDC5mzogngrjpUa/hzBLoJchjKs+kzHFRgSSRmL6nPk
xQFPuxMHTNaVk5qzJaZw8QyF15l8bVDqehMFmxdf29WPqtuOxwrzCrlPhIeQP8zIo/SMj32/4D30
QfdB9BGp2vYt8tX6HH8c3w6X+h2KWvVS8esCTfWfG/7qkcbwJqE5SHtgKIXc5z89vHr2iWyr7onz
of8UDQ2rruGhIvWeyED/PHeA2wB17acQTiwwqijUHsb9dzKceF+Lva5XeS2ZPD/Kse7268qpd1wh
+NznAs1SHX/0FqGn57iPh/ArAOzHlocwdWhSTlf5slRHXKVlDPFjuhE1dkVfmWp+1YPleXygxxI3
WavQSpi2lRhoCg+EuLyu5CyXh7sBep35Q3tEr/GW3ZhElIEnvh34AeYCNNwNLpydCOWnRu6lX3gm
5izbab32V077oEpFiJeIC2W799rEZx1dAD04eBpCV0IykJdVlB1NM7wzgZTqUtXbEL1VoDngm9Zh
uOPPFPfTqVo6nuyrHNqrD8JO+Lqtg7lLJ3Ds8R52ahBUpzBWa7IrQs+UtQZtBibaKi8VA1Nrdu7Q
vqe+WQn47lNJAYoikVI3LiDrS6ZInB/NApFYIkM+eqnx2ypKzmNj7RWYa19c+mWrZMr3efu0dR0B
ebP2zXYLY+qxHye4WWEeliOpbnRZz4fzGIcv2xjCcgg3w7NO+Cqnp3LyzAPzSwZ2OBQ7VXpOY/AH
/t4Cvi/r9APqDCNNgGocl8+b5EuboKrMRN7Ei6/BQQpQyN8jbLNkHUK6vdlEdJR1sgSVPgE13RDd
PGPq7mGpADCG/c55limLdvUyYimrzISML5d5DCDajTq/bNKA12117col2jMCKf8fRla7TjxfKbiC
DHIrM+63Qn+Ytoh9QtmirLPRxGJO+tKU5rbgH3f5xsP1TJpuivhrPFzQJQGU2ahb2XP8/6neWVwn
Hp26tUta4IX2bN62+vhMDlFDRQjyvlQ/WCNmkflNv4VPHaCVP4Kz2f2bx739zxkGLl+Pqg0+ED60
FBWTxpvflVV7+sDbUHM+xrUBITmV0TySy1oGNHpj+iP2r1vVd0NxbGWgbrVh7ZQs8aZfT3rrhiv2
W7ilKp7H76aJUHcsAfDectgYefLmHbr6JCgayMfNjybAJueevZhYeQ+txj9JGjBl2Kd15H03XkC1
7FR7MYuOurcNLbvhJ94SCb0AahPwDUrmMqQP+xqC6ZwMuorrIW3xKDWGCfXD5kjxH3vMr0bqR/o2
eVHAn0Yz3peAxyocW9VY4efCrbR8jya6hrxvN68Z4J26lGRKxqlCDY/KfnwZiO833/kU9tX3BR4Y
U+bPJRL8pulo/9gAHr4XAyVn9/qcJf3Y7a0Xpq2vTXydVb0tr3DaensaNZuiV7zbsiAB/LHtX9C8
EoqXSpHygY9QFaAhu1yqh5Hu9Ge3BT20wxEbzPMwDEgngl4vn2gsNpi/1Zv8uXZ6faPqvWRJP2Jn
eelyBm3//sR9XiYRjdg3ciIRSQCJM2HWIGWbbv6IheF7tOavdlFW/q31tqm6SGSLXjpxVoUXhka3
Klt446mkZkvsXaTnmT/owIepUO2ZhSeOk8TgyfU+x+8CoRGQOHLYuoySujywcebXZ7VcxmZ523qz
OC9yi/mXO/e7fDJLi3IXrzq0oADg4L8m6r5kRL+O4YMXcaZIFqLn5uN0xKjgEbqIP2YSskceKvNM
Z0+qB8GaPrzFcN0IrhE2xvqMoPnQH2M6AU657c2zMLRBn4uMzmdOh+kJhTZkBPhT6/O6KjImBxtK
eVUtM3VyRChkJ9i54itAoscrUUcdS0Fn/hLISXyPxVR9C0Z/HN6OrDmHxJs4CoxHRCAhlUjuJtIi
moLjCSrcUQKnGMCpq+2ab5HmVx2128Mw+NMFtf06A2JnuKi1vDX7nke+VFlc41VrYeFtDomfCHK8
Lvt9TsLy7BMBbl1Sgz6FRSvfIgfZkg5Nwum2eyY5gUtoBYM6QkJ6ZrxeP8sgeN5Jm8Vs/lwaT18D
Hx+4waspg5P608nmA1XGlnvZCue5rOy1SGvlaZEQIP5uewU01y2ke/lD+ksxxkOTBEvdX0kZchT6
qjBBEPVx1PMF76ZoCQX1YJ5SAYPCDYuaVzic4n1/AG0vSGAQ9aGNcLvxEAcQDIeXg3s4LatJJBF+
5hT6DpJE5HgmR3kjcn8WevYvQPLvMHnt63RlbZMei/+qo9sXzCO9TKBK5iiyfauj8ryEockguS0z
dfRlVk5S3zic2NKw7PBYePbv2TasSaQ3YIv3u2Fd29FrO6DHkh9DNkXjZRj0ZSLRmG40uEVj/TR5
KAxukVnSqt5NRunxthvmsb02u/clgq9W0lbt46rPZ1KVKinJ8qJMyx8WyudLZejPttGvjpriUD/j
pG7ZdBvjuX+nTBRdFj7vF9Wfnxd4XMIbRSucUoO3EsxyOSNho2EzXY+Djgnfa50GXe2l0Ti9q1jJ
cg5Dtazs9ncRulyAf+rSsA7GBK6kUI3vd+vn+tBZROGGNFeqz4Jp4Jh1mB9Hi48T4cTTBP4dPDDP
Qxe/USZmCEtVpkgVtLhm+e/XkX4+O9J9uB/GqWL+lMGFXl4OdKS9rjg5/zRj+ekM+zCfjf+k8KCe
3FOZNFSNAkgi+lDX4Qsho0zWMMJVaBNPHdpkn/xxOmWyC499ZYH5JNn80Qvr6yiPy6zRgU5peT7P
ftdd/Gp6r3YZ5KcUImlQjpgTImKBuuSCg6g6X4Smb+DO9LhE3e0/yozQFx+3U80XtFk/RSOrnhib
uicGDv/rHrekFz0NYRpG4FZXIOdlUzDUSa15mAEdPI5JfZ5nUvbLE+HIiThj4glR3mSz6eKs6kiZ
CiRygL/1fap2P/eWeUuXITQJMR1CMu/qNl3rfvnB23N9fR5RkyNxEe8XZIiI+bsxb+QaFPpU5qab
NsYWlsejiKMPJablgjaX6rHbjpQhhX0da9kkaNsZXu1nfwEMZR+SZfTWq1ZemTfIRV7HHmWXfVb8
T123CibO5S1GG+iriLZxSrn6xCFMSoEieURmgN3QkCUBWq67IDMrE7k27fOqBE98HMWJEMNbYFr3
j2Xfsc+DBm86GATcm1fpJ3NXI5lYgqfdVH9Onn+pwQNMWm2CKFn0cjyiaJev8xk+kB6oj22n7/1+
jV8ZTt9s6zxg5SmRQDw8J15jvsYop+aBhHsp74P9bbkEWWOqJd2O7efdcuvH1okAgFRaJXtM+mxi
qmiqw09Iq5pMxcs3otuLmPb+AVSe+p5fg5K5f9/Z9D6MA/m6HJvzpWw9H0kq93EV9L8f3I+vHqUw
ZEBwlyc2E90+qDnO6kD5KQf/Nu2PIfi0QrI1Jp7mKQhLl3FeIiQNpLmUZzWDC4Bb1/8w92XLrePa
kr9SUe+sA5IgQUbccx44aLRkedy2XxgetgEOIEgCHMCv71QN3bdO3I7u208dUVVhl2XJokBgrcxc
md0k8AmQcdO35Ogpb0wX20N6VAxHL3YqbCgzSYpivGOjc2/ooIGmwRfGBHJOcExPP9ZKSlT3lCdD
EImjVf5h5L5OaCS/gqW4Dzxj85lNz30DKd2ikDiG8qZ+oI3t07VUJi2keofDbnfTuUNw088VKgR5
/b3hEC785A3DEwxBoPQDXH02a1edleMnUvRRwgVeacXa341zXD35Thfk0nOeQ9OfKVIgE29g77EJ
N9Hg1U8187vHACNvfKdIUE4pPBLaI3JcvSoJGJW7oJLYTvTY2IypQL56xSI3wVownaAdqlI7+CxX
vntDpeclJcaV9xoigDRerp0j2rQ+mys9pEhgGZOlneOjq2N7mSLTfZi1r5JRhEtCevUDpPKHNxVP
1VIfh4H8YL37Slg/Zcjw6zfOUsk9Nu3uBGMpfqRSVjuqpizoTZ03dikR+dXrZwSPuLuu8trd4lqR
eYX3EHmi6FOv03aGhXuHEw0HX5XN0dAekf8Y7yLfmdO+wJwvjN8g+GkbeMANUbo6DiMJjxYdpLjV
jm2M7ZSaCbKDItbtgaNH3lurUWUg5c0kE6/pEYnozo3XgQ/ywJt9YASS5KWcnbOZankvmYcZndU9
riQuNugkK6RyRdcqdUKSKC/ZHbf+DkBAGofWS0OLi+u37rnElrOLTYMFYaMHpLvLRHC4rzrLdbZX
YnSOzgwJkEgqIn4gMjpWm9jO+wmF0eNk7LKmVczaTPV4VFVPuR7nT/QbTWJb3uZjH3hJ0Bk3r0tb
AgeAix9qpnDJ4N4HxScWvPdRRWuQT7Ar+o4WdctLfxdQuW+XciPl/IHKAFTViJESRQQ70UDfht41
srfsTkPFXm04L9hLrq7fVXGK3OVb1EWXTqF/nftTQ5xCF9XAkawX9mMFcJcUa6C2zC800kpxohxq
bPdP1eou2WJidZ47p7vhGMNLmaHepWHDmzUmyNslGi6SN/pTxWvwWNfTko8xgjEiNCsQjCiWea1D
ztT4X2G5bJmI6xT4yg8Bk/x8lN7tGhcMgzH+dBIjG25xHZs6ndopQ235ujorvK6JOqqmibdjxG0y
Fc5PLggGxPWCRxI+RxvqB6+w+CSXydHw5Iy69aZo4Fa6rs7Wl+hjwY7XKCQ6vMWOVjfE+P7WIDD0
nnNbqUQPrP4RQpCSFHhXCez9Ltyj6w0trfygQVv9HHtsXxCwe9sm6n9MDTuvdFqS6uqIyMroKVZe
kXuWr7s5XOYbxfyLZhT3oOU31Eb3pR/Wm0jSA3y5mnQI5UM8Cp75MW83netji4QOI/fmrjrCHh/p
PZyFZ13PXmYj8+Z3TGw0LdzDgHTmO9gjN1mnexQ7NdbPZGBzkdg4sLkI+67MinbZyphHiPt1zwP8
oMmKft2ulZ9FvD8HtsvoOkDHOKRKuliZU7mVpPwRUv4ONdje0brORNV+Iq15yFewMDmiKmZ0rb04
zi159oOVA7eIeRrAa9/A5CkZkQGI/c1TmZgUqnLankThb50gjKLjZH2bAXup2jOdAri1mB6uAhaI
HPJT0yIeXxyQJfEhmJ1mR6vgbUaVdPb8esuYUCngL7kzdXfn1HXudE5YHFXnrynatC5Hs7xZhpLY
3YgTK42x0p4G2RYYKCzEmTexu5XG2cqofkHqjI+GalBpWRsvaQ08+frSaQ7T1QweB7SbiRHp4rDy
oC8NQJ5bZ26bTVCv8lZNvWO2XlM3PHXhE5wV3TCkrt/DuBYrPOUm6lPbc5HIgaRM6cOIajPBfE8e
LZ2s0iZc/R1Cqd9KjhakK3HSwjAAOax1ncEU/LWqPQQ0I5Q45atqnpiZMuy6dxT95NdkhNi6ZN7A
zTtrTAtSMwqqR0MwCecsES4/orwmdNk9UinXWARZJeNLNTl02dR4ZO6PGBBdQ3nLWNU+zYShOJcl
1hI+09FP544jqbDoUb/SgLqpHzmnULJIpL1p7oqxuV9D/uWw1tk5al3zyFsQoLFWYTIpYdD1Bbkb
OvWlE1x+0qgO8mqhApfHCe7aBqJnDUQDqfDBsoGBeKcA+VxrKZdWOYuNthsAeJfBGdRt48Z9LiJ1
6iemNl7DUZDjk8Bn5dQqrwdud77vb+aBkr2KZidTzlJsRybCY1Ezsh1UOJyAccik7k10slVb7VZP
Bbuxwk1Rysjvs2EIcjt17naodfUyYpb9o4mG+XZCHfOA8jo6NhL+Ih3W5VHGMI5SMS4JyM3Ezmyr
GbNdwtfmFU6GP/q1MchKhi0b2stxL0MpdKJgXw4Z3gF9zAOInTKtSk8ltBbzd6mCeEPWsZIJhR1a
MkTiUZth2LbWgfF524dNsUPCEJCYcMHYajYZYJi4dyfvtQZu8S4HOQCXgxvI0cFbOqCvc8U58A2d
kuvuSw+xKCoKBHRCTgld1+96CvQzAO6IJU03cIAoiG1hYm2ibHKinm596ixLqibqLncc15+ltI+j
l3WsOUJL6gkBn5Xjnek6rl7mK2TwygZYx81atUV/NyLbesPDVpEPYjTuSgC8VbsF1ojiNRzNC7U1
w4fgOJN7YAul8bFwFvc0WCQc2dX0n1DSTkWK7awttz0gpQqKnbl3s5U2N2aSs3fb1Ffwpx05Mg3h
Rq2+0D/R8MIKuuadbTVDQUF2C0zTceoh3lwl3KGnYFhjoOOI5msRFsetBpVJfZqNAExIKsq6BubE
/OCuLzvnvh4mgX7a1OwumpkYb9dAd8NldnEEtHO7eHBuUQL7LCpcFzBG1XgHaPVGm4jKLv1LR5aR
phLVHdt0fgXjpaLRyPxCNYvj1osiM+AdKPRlHYeSdbua8dH01m0zAhPM5gX4VBMmq5Zw2+VLK1/r
1f/GWchR0bBgVrlYjdjrGkDzxpjQNhtXzUYdq8Wdcs6MgB6pfTBTEeP0aMeFHxGEHfn3PoIp0tnx
XqEofoONUAPBNfrWbjZOeZpLzD/kob+U9XHiKxUPADl/6KGX5WlaPMT/TgDJj1PZSpMtyKQ++WGj
wIdgepvt1gEgaO72vj+cuPbEBzZ4UScEsNucD4GLOyl0JdvZuG4gPEd1CnmqG4oOaJhbU9RNHSLd
iqZ/aF00fPuWuX6xLXiPImSKvR6blwAWncSLdKtTBJzAfpSja6d8tWupt2Xbe4eQs0jBX5C1A/rw
pZs2LXdJdztKM5S5mucxmXBmAbEAooZ+qN3WOGpwxscDtmfr8/BIFnRvF8gX5E8KxZsCuutsHL5O
KR08d+fPYZ1Rr/4sVVPyjaNGWWaSa7iC0ZigTKtYAUy3X1Z1Nl1lipwHM7t1ES1vdrwwwMRDjsWT
lKzn5Hnol2bExlqTs0AYOkk0RlCAiAO+nnPpqiFEYS+BrtS6jPchnONpYoFFOekS95OHfQ4FMbq4
1gWG1ZQPbqnO9UT9rK7XQ7XaPqmCjtwjgXq9waKcxpPnR8vjWti+z5tihqvOAO8nIDSKhftuXBbv
0BYjexQaSa24zELWKIip+6YNnvZQ+jXQKUwzosVHgYTKfsn43E8XYKGiT0vX0Xde4TMs3jUC2j0y
2FVo2Pn8bI2Mx7yydEbvTgyNE+uEJypmbCiFxuGxjCH8bGTPHq3UdEZ/6bH9gpJVPpim18EBh338
JWzx7jRV2+UYpEaOmNu4ut9TGSEuJ9J0vUeROLrJ2FDvHSOB9evkjVegBOW/THGJu/e+9wAUVRZD
3nWDXryw3nway5Df2477bDsGYFXSeZhXcSDIzRiPwOI6AIVR2N/U6zDIG6cmES71LMgjbslJn0dP
V/HGGVBUPmAOTOlUzlbini5V+e3SYN4TwMJtOmPdg/xRvNMpHAPtlI7K8DCpRaV0UvZl9AHH0PbB
85fwEiipmo3qV/QndBxssAswMoNOb4GiKdGIPLzBgPChok4zpRP22xNRxfwuykayLas7qO4DAYFI
FsGQ2c0qXqpuA7NG/UrFAmkbkn7DOjEwF6vTYF2v0xelw9zUgmCa931oUu50bN2WFnfsHkO43QOr
Yzc4UiWw8AAnZ1NL2yqROF8ENpG+fKQchMLW+iPOOIhcxg70oBzFj0gUk8qwnSP/LbDIXt3QWlKN
41fGzYb5rS7PiqsCuKo3hV0+GjF9GHiRktSdPIisJhGNUeriCj3ACbYq0t4Jg/KG+CBUHn2sDLsH
l2TdR4/3vf5iAiOKAElqMx4CKJG9bT/xZrhEUnb+z5W3tdjC3bj4nszolkcXZMGaeKYeglu3BD+R
iaEsHRT+K/zREldAhXEI2BVdTEYX3ibZaCWA/EUgW+oZSY4MNnjGC84+SFdPJg62HXrxgpYcSFux
KZtZL/1kJLgYxwqTwf628uK+3lBJVfk8y1p7+cIXS7MJRRmOntnI9mU0Fjsb9D39cuuConyHDKS3
SRHVhKdIjjFFBrf36UH6iPnMVNGGkCvPQO4THAHiRzii/d+MhQPiYjRjh1Y8RMt8rpF562XFzFj5
sLTE6VIDDGdOu2FdzIWNVZ/LdhywV/qhrDdFVLrxN0isYM5b1gQ9JDsSCJMGHdbdY7RnApjK8Av7
JiIhgE60hmLaFAzU6gsCQARQfLAnmGzFreg7t71yvHUvtYhgIOi0cWkTwB16uqlR74glCSfPK965
H8ciiQmth8QgNPNd1PgaVUsVzImUK94HMoWG94DwMNhYCMGwXqsBH5Bs2TrsZrxAkwFNhGNBZagM
3zGoqttd0wU6uI9nORd5yDsUcp5l6kIaYurPCHUnUPWm4lVWWXTTkFN6mHcFCE/bhb7pYHXiT39S
nZfaqR+rHGNPTg0hWm3otdAncbI0MrD/TyMA4b8boxhf1FVZqG6nESa+a+MhugVVR/8Ui/zjb66c
+l//ge8/YUA6lFyYf/v2X49K4p//uP7O/3zM33/jX9uf6vwuf+p/f9DffgfP++frZu/m/W/f5K0p
jb0bfw72/ieKC/P78/Of6vrI/9sf/oKTAs/yaLuf//z1U42tuT4b9q721z9/tP/6568uUqEhHPrH
f36FP398fQv//PUWhbSaftkbrOPul3/8khs1KDP+stfNe/v1XzzVz3dt8Lw0+i2KPeYG196HuFfT
gPnnHz8Jf4P3Jw3DIPCYD4bg119aNRjxz19p8FsQQIcC6NunLizuYPWlFbYw/Ij+RsHrwm3NB8Qe
h1DV//UnX/7QrPzxOeEi/fn9L+0oLwBSjcZf4/4+z/K/xC14ngCHK16MEAKXee/f53Q6K9tBOU34
hJLrC5j9KaiCx5CAskEmDAVXjK/m3geXHomTF1bfom+LPYE6g1/d45uDu+DQKYS8MQQe0OXCD7w+
UGLWjZriOx16TmZdlY/o/U7DembA4bccBXGpsA0gOf4u1KzCVhpFe0fEKN8taKtABSmaKbGFhmgr
aRQl0yD7jWrXXaElSSYLdjAiZI992lvETgv4uPkd2DJtb/B+b3CYPdJV3uipFglrFp3parxlFKhK
VFx4HNtj47THOfDzhvh3DFxvZmd6R7p7Kdx646n6Iyj8Y4WSzy9AIJbxxbolTxeniHC0dw/S8r2u
old38u/ckd7Xo+tm2C8BKrgYmZQ1T6gVl3HuLoH073hTfYyqeVuZf5jUerFRCalFI/a+JumggNG6
rtMmvCo+0TokRbOCyCnFaa4rjK3wnKB9qpwGvEy7reyaez1/guSp8qsXxWEixroICQrOu3Ah+xib
70q/4LzKx6J9qAg9lyvfeI4/QL6i+8Td+57+YYdOJBXxQYzR8ADtwEmpEqbpff1RutGjtnQHd9wz
zJsfCDzV00WH54I6B7DMwK1M8IpQX7CP9Y2nXQDzwTskLG9XUj8TfvkdL+KbtALzDfaWqdsSUZNb
4YH1dtYhHwXeXuXCz3dZyDMKhoS56xuSnx/HEI2Mu6I6Dtl3waNXUfovfdt8w6OfQLXUPA5TCkPp
N1X1IfZUjdIpNJ/SPYkQlb/syJzFKOhmWn1xpHAnQ/2ESeoWuHXZ3bpYtkt8a2r5AYVKlA1Be9EQ
7iXWkCYZquUsEK62MSo6V0AOUUahG/QJSQzvt4r7fVKDzUkQygT+JrQDSMbuvi/OYzkVe4tUhSxq
HZ2QugWNE9kqW1ExIccqzsZ+KUDvlJ/A1YN09Jo7sNMzjBC8u3iBHmhp5ixayzc9RefeZ2TXObBZ
MisMEDkBX9u0ANeT0gBCd6EvByqAz9EaBQB59n8ouQ10ZbcTzcGFBYkhLk8dzeocA4QHNP07CLLW
tAgNSTrTpb6PEMp10FkIGYXT0LuYOQdu76mP/D4GE6zUUeK7dcT30Jc/Yc7UzR709jXa3ylVdoky
X+Jqa+7dN0u75xAH4L66fnJg8RKzAOkW7WUoa5tjQuJjRjuX4M4pU2iTcHnK/iYqm2+4Pt4FG1YD
ttZErCkn8S00DHsLpVEyYsYv6Z+VGzeHpagArEGSL91ggy3rSnhNJ0R0on9uWxDplb4lwbGqSM49
+zxFAgWgciLcFfZFPIKKEPkAJHnHI9x0Lak3IW+hGhL3sdLgHPHwxkIhgALhTU7sER4VIgM5+4zE
PZuajEC1lzk9wlp3AFKDpFraRz2prQrKLwjisRWG5ymI/L3QEWhSNA6dAMIQvYccq6F1IALsMLOY
8I7ezSFoja7z9oS5d7Wqvia6N6a4q9DewVkmvCdsZTuHWInt4coCPHu4+LldyU1F9RaRbgiWRbWe
9u4W3nCPIcqfHB4Hx7ZadM5CvAxSny/CHotRn0oUzxssnktUiTWBbqjdLOBAk34ozwzUVmfd5xiz
7knLC3Cf1Uc9lzBt0tt2xD2jKnwQTEVDgnP18PuCIdCJVQN9xlF357jtlPSQfSWYBTzOdXchM5r8
ANQuEAy3dFVmluC1MOGpqIoF5Gy7L2IgUnWLnQcaMgIsL9jGbXWPShw6uPFAi7JLgqtzFA7fnxoK
ATbILo9ltCeRQouDv8pRgPUXNed9ECXWQuMh1E1PpxdgimcPCzcZbPey883cgDwEZeUDwlNGPaBc
VgC8wcGj237r9foMP7JNvZCzJd5zYXBU2LkdsbfFKCoBvJSmvcEoWJtEoQAEqsBS46ACJIdMo8rF
TcJhRUCBZELDFALXSAc4BGWCyifnOv/SgeSG5IhkC8Y+U/4Doix7MK1OIycc09ABDrrAE49GQd44
Q67JyVtHnH5kPPGouVm7KAADHT9qr7u4LsahQ/kk+fhF4Frar7h6BE7PSWAAIFdkTCAxr1OQoGA3
lrbLxiBjnplSQHhpPaiL042nvsF69z0uATh4U1qRAjK7wSlTztRZWMDTamrmBMWSypAfPiQDZGuZ
0vD18STY03mMMohsbqFWhSEZwR0Gtcignp0rBVaWXfa7zmIa1qdSu/dhLzrov+pNwJdzD5l3Sgm2
LlQUbO5eBxnduDOITpHrxbxJcV1mE3vo57RwJ5nBqRZTyZtilDMwFehtwmC4KNcZUuIQnTB/+CaR
B1deFqTuwB772WFY+lcMabTzDiL+TdGTeL9UD5inWPbI0Dr4rMOOgt/WDRxDSbFCGAv8AktGxhAj
sX54ad3hxZ3NZ+itGRvxt5b+iJu2taBj2gc2dD3kCU2ZcDrdMoHFEE8Lbp/mx9WJJsGUHPQ34SYg
i5c7gIwzkPKbhZgNm+hDNMVorsNH9LZ+QlYcfwCeXnozQi8UwvugeKeh+C4CC3UMjcDJuncgRD5Y
N5lcMEguGhEclzBEIsGViV0RrQfopahXntugvdW6aZN6rT8WX5/cCseWpLg4XvyuOUx3vJhtQ6As
GTAUkZjZ37bCPhdl9b0O4m1S9ilgL91SLDmSPJ4BKJ0WYPxu5cDJlmPPnTHIkPB5o0Rzg6V200s8
KSrMM4rZY+1AHoVfXYe4SZ3Cew5Y1tLhZYSHzjY20ZF3VxqmfibO+tzpEG5OgP8T0ug2LdczBosf
bdAXu4VuCpeDkRyjG5zAbO+4HPrb0Bu3BcFahIksaH2iEJFbmSrXq96gTl6wQhREdySMoJEvQSsj
9UVfdQyx7vY9aNZlicAOddO2KdbiCE1m4hbc5tTHhwDyDwKzjWeBw7ThInJPBDlIIZLMOD4hCorO
focisQp2QLUPhHcPsWzfECN0N0YQ6hVjojSQV4D0ad1DqcdGA7USLX5Sb85cOAMALwFkCa3TmRRu
kDnM7HCIJghgA3eNeVBES2AjCW3umaqDAtLJiYfaqvWCh57veYxEYIGs+rqpv+ex23Ng/h0G65N+
NF4KSygKMYdNMYzsH7qieeu+YUfAM9CQSw54egdR05CFQLyubFQG1xCIUuInV/AhNSu9q4MvDYxm
WwKJ28F6MGn0PSSlKea8cUEcvMTsA8Etwsfaz6dhvKU415emw5JyURX2dYricWeo2kOl/LBSdVmC
+g3MJEUJu7NgvzPEIXxwgO3pUKmUhCarevvsmBBlFiRyS2+zCq4SYBIg3zUJyjzw7EBNAbF/DOFL
0TQHuTbYkCscbyZyfsLWZ06DHv09Z3uw/W/BPLxM1d2s9Aej7DGW8WfhiC80PV/cd3HkNLPGWGnz
OXvmqEogp3Ml4ixUuk0wTNgnxdJemto+W28BV1xtEHOaGkJQ4E7jmmvQ+5Ab9FMSaNiBxqHzM1AV
Yhz92+JWNt6XA5PgTS9BXjdSvuHmTaEFT8FMV6l6nAUIMI4NF5/uYwHJFdICgei2npPMi35ZwNwm
tXwxsnhz8dmvkEiDmw5xIzH7vNTNBfpe4DVqPCh4FSZQfLwEWn1FFYHMVd87NSDBFsbNTo8jjAbD
54RVsg2D6eKVJkiwC2qMYcJOo/6C7/23XThYAP4FCB5vD3xi4d55DfaE3lTfEgwQRJQQEQlclT4k
Qbr/QZficr2vCnQaRRhhQygF+CeGJBEN9W2yU6z4wKzNnPRI+k38Hou3sYdubj/AsQOk+lnEpcga
p/r+/WIDgdzriENINqMs7UqQG+wJ/AZkwvTVQ2sQp3UJFT/EVpChOo9jcC3PiX4uSXUEvomPAbr/
BEwY7uOurFMOQQ+fcUi0Fs0iCYcexdbyONsWCQVAEoc+FMkUBkUy+gTKi+uoVPvcgKffdYgx2HoY
PaoIPLNWfqBiQtPpVm/9zbzWM1hClFxVj9l7DRGoQLm9WAN5HravEnOd2xKn+w6mhkVaYeJ9WwjM
EHRx/FAAkwYHYm6gjsIwrNNcUBDQjBA3HfxhSuIKxbbvLODXxh46oPI4MvfctR60ljF75E17jMSb
gTAeKNaE0GRsP2Xz1Rj6SfsTA3uyQl+3RckkcZJLyF90lHF4+icBre8MbLTyjgCvWjj91P1s8+vp
n456eQ5KrG+LZkhFxZCpursZpjBKMEb6Itv+hQkUxlH1zGFgVwYDSsa+/7ZupiK0dCMmHVEU4Eq7
25G/dx7OOJTLwKRV/DiPGK4oFcF2vKmqGZetnF56dl3IhOde09yE/fqMuRZla/DMk3rDTMUj8F0o
feJgW9f+mBHU2lPLv8pav7QL6j1MpkLK6AAx7pf73uvXpOdowtsSwidM6rtpYIc69/TVxh3+g5BP
bIKye7bFEiYjOBto2FHYOBhUSKoJ/+lJuCboDSjO7Qqy4pxNndw68UO3YBx67jvogwJyRyq2wRDF
C0yH5m3J6rdZ2asJfRK2hcWsWneZ5gIsJIH+rhke5jh6LzGhUE5Qr2mcKuXvaim//FhZ88Kd9qaR
OoZ6LIDbYLFAPIZdOzKOApWNAYKGiQcZDd+yZFuXOq92wEaAnFUHrN6Xd63YQp9/qQ4+yto9WeP/
HGLXy0gIhZAceJTNDbtjHOvFx2g0vD8EqlQImJqTAGKaQgo2Z6KIHldmdBJ38fOVdU1o6e9b4Nxp
MG3XDxSNQ6mHZPZQgARhdfUl6kwe4qhJdIQBE2ZBQ3SyT5zZYI1D6NEUUNr/fpK3XPHUKvHEC3Cb
IvgO3eVQTe6UDqPXJ8jn3lbGPtPWj1DBo6AEt6G3zQh2LILQPVodEKATHsiHV3j4AZz1bACgGeMJ
IkaL1aLYtJ1700HzyEYc8aK5gw7wAf3QIbbsEcTOrVnrHYXqP6mLrC+vU04eJkIUKFfBsBEwvhx9
fbsEqXTHvIc96LYkd1EcHSB2+NP24r+FkZ7Kz0Fp9W3+HQH9G2j6v33U/484KaNX593/I056HNt3
LcoBSOlfX5b/FVb6x9P9hZWGv4HhjjBuQkJKg6vh2F9YafAb4HviewGwVIClsJ75CyulvwUu831o
gEGOe941Rv0vrNT/LcSTuAiP8gNKY8/772Clwe/uBf8ZKvVi/wq4+pRAcewBzP37wHqvotBz3Gp4
giD4HlAaepkX47XRVnDmoiFsPsOg+nBigI1xBIkdJs8zyBcEKjzQy91M1ZaIuybyaEoraJFFEULH
YbdoMFo0IeYAclrtvOCalRutKMIptuTZPpi+XTe8mt6DJn7Dy5AMwwHOimm235GFeu1JFk/kyEUP
KE7uKUWFct1nqY8mpBig1HJcEHIxScfBjPBm9lHMu/ZTSm63Vpsnd6inDI5KKnMN26Ak79LIG+rM
HzGTAxFaG453Drag1QHXjBHgGH/zW10MsF3R9A4VeZfOLuaq8G8XAlVFeimQST1hx4Z9hS5XYHRx
nAt+lhMeK8MOBfkYdDi2RBahdYL3x1Yy4DJEy5sJhXkyDygvZ0j48EQBLm5/X1bqsQWhi4C3FGfv
cdU9JBjdDzcOMTAXv7frJwRxaOvRlYzRcHREqA4TngWcZLNjUfPhWh9RfK9cV9tlEhtoXVBVlh8l
A8qBscWbuCDPVKC4cDRm+9T6iib7AyrLFNzpwxg3Nw4B7hdALwYAU2bhghZ8ctQbW70YeFVzmhRc
QOaCfg0KmnJvjDo4cNYSmye9+wMw6+maQGOSg5L79qLiMC7AvYgZMgk1IGop9eXIXmVlUH9AbdKm
QQHeTKgHzqbT0gHyY6XpUQBCR0+dI6D764FefRQoMMAvv+PFPkqULsnYuWCu+I4N7J5haDUda7Zr
9Z2rUMJ7tKNbYiAlBDMKjf6MJOK5nPaDD8yauxtRTu5OQvuatgE0OaypvhtBnrsK4qrhAhbaSwmK
/IlOz/Bt+eDQ02Tjan94LqbLZIzV1197O8AVdIMOeTuhahzrHmstXC5d/0YM/gd61bfFi95qT5yk
ActL5CeGz9DKv1TgcH7/uZ6CPNL/g7zzWnIby7r0E0EBHPhbEiQIuvRONwilDLz3ePr5oFL/rWJl
KqN7YiJmYq6qSqaYhNnnnL3X+lbgDVN9l0/BwZ/bcoPUDgNOK74F/e302EmdWKu99PVnuwm/6G2f
KjxQ7YkRBJ36pSGH6KhTpEMyIW4g5SDQ0pUVGvddTu/TYGPZ1OlnCWTlKm+wEulDLG3pBp4HiaWm
QWU3tTqq6Hb4phvpvM0l7THC6+LYk2qsSwxY3dhyLJIQ3+XW2WzUXZJyJARlh42iTr7JPHZaxYqX
sTWoAptGZ3ndYY5e90FxxOj6KMbbEv/Zuk7iH0uHPUGqvdIl/U4yrmwbeyoVczXX03MmF9eM1ItV
Jl5SkXdbIw3ZcaXhbhDa6zj5Oica4GV94DK+eoWrUc0IvpHPx7vyUcHe4sy62q/k0bxC1nMTLV2+
pVtAuCY7DfRgTlX2DRJsG8uK4E4GGElW6OMbGsz8ECJH5mxO2GB1LeV7rtvArPa1bo6HZig/x+Bh
XSMnPFKu1MOooODQGqQyBaqCaO6esVW6IqKJNNvqLtAjzGvTtlTYe4aBvWUK4owW278Ar75Tjvnn
xufGF6W+MuUHNc7vGi5QXLEvlLPrSJvOsx78NAxhxB0c30+PXRHG61hkr+qc3ZJntyoz/8kW/TdN
S0Mn0lRpxSriIa6SV0yOmLHww+UVfaCGdlpoUTgxiZl5cMhCaR/WzHmM4UUCSWSP80qZ2ocg6m/a
PPnGdvxeoYXrFxyk5JuiYI+pE8CCZrK6Tup4U5acGNRErKYm67ZTPaA6EXewFBqnEDpGZcia2ABT
h0PDhAlx1UVxfszTCQB47adrMiHZn4qo2MtbDBTFmrP7TqKRLmp9144SAuAgv6snCqqUbaxYeGYT
bfVJuZm05CVQMWP13ZXS8//T8HBZUf5DLw3uMksS37J3ER5guCVhfq1L8SthqEdNzT3V5D3xM3qC
DfJ+x86GkzRmV1aDu81gBCMFebEzjfaqmvvbqEoNnP2KK0ZtXIPufO4yflK/SPiDc+yGZUxBrJ0A
5yKWtKFwLAy39HRRxSPtuTNmvd0adjptEiO7HlGozDZFddSX55/ss5UUoxQJsiCn9eWfIq1VjnHm
dGbOkS+tKT9cyKofMveFirAcqfMbO+HiMbQPNpm5CNLj9FgX06pIOIoPpMYTVEn/ITsqQfKKyeIb
1kplJUAErxo2hxIvVR5Wz0s7IKHoDcHwOOuGp2o3AfW4lP3GRef+maMCp+OU0IeWM+rPtqAuF+dO
vfXl75NOyyflAV37UvTDtzTX9nXPDMujYnZOXs5PKskom1IN4qsZjZrJvkFFQ+gF/krTqg5OQn6b
UozchIntKrztrLRxBF6p9bICCXmWaILOjynqh5QOsYOU7CRngETBwbrcNoA3aD6c3B8fNU63oS7m
ldyE3/poOIE1vQ7RIyQK893WYIHsuQPrNKYJodES85mEr7SKE5bIQEKqHHmlTWPTwR7iNneVVF/0
yy+50T6yMoQrVdTPiRW8yknxObm35D51TF++4UoFjkjo0SlZtKtLLnhikOSlslKp/DUtYX+QIEhi
O1Bze1vZwXr8UsjCWFvRpK9QDD0WkcUZ0uJAWdId3Gt43VopHx0EJZlrybWCVbw94KXXN1X3QDJh
tU4sXJR6zo+fUMwNoTROohajo9WLGrimsYy432HYqnpydF8WBrKVCCxBijfJPKoGQ7FJkF5BLcbP
LXjfgplx0TruIR/4816vlMEJJvOrrPB0Jbqeb2xpOEoW7UJDSxSWUuOHrnV/YW/+fz9OyIq8yI3/
dKI4fiF8/Uv6N4nF//y1v04OlvxJ6Oz9dVuVFUIfFtbLXycH0/7Eht2Ca6JbFv9YmLW/Tg6q/MnC
C8S5wNB0YahLgMuvkwO/hfzCwMXIb5DwJev/ycnhp8jjHwgaXZUvkZaNbRMDhyrZFYpSrRlDMvCx
kn2eRF5eDpygx/BlwEAsxTpiAeWFyS76BOmWkQdNo9JrUQLIUfwVhFDFelG8KDT5mmx8qSUGD5b4
HGl3FPnIjbsbUeM67ZXsh5/N95Jg7jkP962CiLC3Z4aZ9Dk13KTroImadaOG58IPvBFFQVHH7IVb
+9wNTbCyzcSFagXMjhrLW8fwIuzrfVIbzKNqmj5duZ7THzY/cVCQydtPn9MWH5fGeHFGTdcY9lpV
/ATXo7wzWk7wcX+b1/1twMYubIyvY6u9TDJDZRu7naDxFQnxFPfzriNYsWut17Ri2Van2Kcla7py
Z17FDEKbisFzGd6NFT9FYxmrhl5BkzHh1sz6tkiV+wB7pTPp9fdGHW7Lqdo3ZprshyCikI0o8JIK
DcRkL1yWsOWtzk0aHaGxnar+LCshmjSIe6soovMUhYSelPgLJc4fCUYgnMzSSqTsELM52+spDvXe
aDlM4KVMjLMtJYpnJDhWZDN8SNjh2ZH9UgMk2fhCoUTX5zySrU2V49cQVhLiKJ7aXWEg8Z0SuNZy
e2/O7bBV2aq05FwUTATMGZEyCKNjqLfRrmoSVyY+yplsyA40PvRvo1UFnI6+hmNl7YSNiFcJzHUw
qtIS7ANeoB/WaSlf200trUvRIvNL6fhbU5WjOubaANuodlqCCmXVJgYur2LTx5N9/vm2/h+oXG9L
yv5v7IL8VX/oQrzfCDl86SIEDm+ULf7aX2XLtD6RtGjqstAgsSB1hCr7q2xZnzSdXrcp65Yi69qi
APtX2RKfBD0YiiYVz/7Z1fifsqV8sphYU+n4i5pO4+o/KlviLXLWUraWX/8tfMon/Jg5CgCAIB1O
jTG3K1lq+nXYp69Jn7qBMBCaAADvO2a+phcp5Bga2V5JJQ99K5ZkLEf7AKfDzkxF5ORWQj9AV/B1
pGxehkwcwIgwVMrERm3yZ0Pt7urQwh5eu0kl3Y+izk4KggUYN5xScpxpA54ldlOqdSv08Nto0HfV
zY5fax4SrGZoZRmSKfEC9SqOXLizoTTHdhkW0VOtMDTFCIHCaote+xB31JfZFjIKZyNG28EA0IbX
E+J1t1tsrswNv0t1eWung+u3+M/LpKL2RIdhaJ8wOlz5k7Grwm8mfVUpl8VGls272Z9Xbfzshz+6
JnPn3HqGrSfW5hg9RcoV4J5yo3W0cMjcXcvFQ62Jb3o8jIS4iBtFnpHJMIcioOeeIas41Xoi70dk
oVNQs/lCJI28vaRfPLWf0RvLXtQWygYh+mNW6mc0ZcMenWH5bE4T1SSDutBmdf0Z4/q6F+MEaKiu
ObdFuBYZo0NB9QMDQ+toiU0M5sAVZoXoFuCodT0PSnXusAISTtfcZ8nQ7LVY20bVUOHBLYrvExKN
h0wS0YNRzPEO1+wxpfnstENXuP/flw5VMRaA8/t1466sv7Tp9KtZ2vxeP3793V/dUsX4pJngtWS2
Pb9Eor+6pYryyUbQClJH0WwqC5/3q3jwO5ohZP6SrFiwS5agqV97HuOTKgixsw36m7aGq0P9j4rH
EnP072Yp+2KN1q6pXGIaa8Zj/aR1Jgj8faPnX6EUOZnwIfYoLh49xgewYoarDk7Ab1fpDS0rfd43
P5Bv9HuxygjoSUUjRm+WVafqbVd0Mh2yOUJWWH5A+VYW4ulb34oS/vuHyIEC5QEXmJd0t8OM+Shv
nYEcEgI/N/346lvsByJxqNVlAMRQnZdZ8z+KdFAWIupbn778VL/VY5BGgDO0RPLkeHCLbJm6SOsC
NKjSZCQBX8tayvwkYhEP15zVj3n2AaL1J2L8rU++YLTCkYvsvJIaT+IMaxVuW0eejhsU5/Ohk/vr
oTIPZmI4tVQxYvqIBK+89xBddNoTrQrQdlWFN40b+6o7p1ftUxiu80dEzx9FznLWePOiXuR0SUoo
2mYufC/vVQSwtkOagDvVV4hpna6wnRDBxp+f0Peenkt8YzQNsl0N4+ih/XMhAqBvQN7g4+MPouvF
Vmz5s3vMeiYp97qKdwC26QcfvVyxN27gJd7RmCUazMiZPC1V3F6+bjGh6nVA7hTaO3pTZcMV1Q6V
xcncUFZ//lQ2KW9+6MX+wbJHqUDF2HoJo/xysB0CtFyppwvCK4OUwPVnXEmD9tdq8TdTwt/V7O98
3lIafns/GNZOFoZdyyufy7voO7w+FlbEqP5TffKzFZybP3+v914H86LWMPGILTVRKw/IwapQ7zN2
Pirtl+Xxmalo+GPhUG6VWH2QPyxwivpOibt0deiDL02DXxcevTJzHT0qz/mpCE/hXVRZ2/A698R+
6EwOKuve6b/6xp6B9Dk/AW4egVysvvrxQQk5ieyxzJx1SDmP8bUufemP0gou4MoK1FP1pTgXt2m3
wQm4qVxdP0kbe91ASzsXN3HstSerVJ7SKl2PT9KmX321aJ86QO6sZteq+0Zb2zhyo5f2tr9trJOy
UdZsxNo1lmcPWtFO96SDP3njlkYMMKjt5Nb7YtPKW9iIXr5DY+A3X8NTfW52UbZvd/XZvjX4P3IU
XY332a207a6q68pk6n+j+a/xk3oMXAuI3C44FDvC8KAMoMT6BpYOUVnt9K8aE/D8LO3Rs44uFmnX
jA80XP/Lymhe1GRlgJGQSpPwaL0tglFngDGEwYpU9j6+RjMLhEZ1YKysLP4dMdlHz+DyrL31Rl+U
ZEkdqgrJqvC65fWVBcp5Gx27WPnic+hHSCixQ9efI4VQZ8pK35bXGeQJRgOr9sM33HyvrlxWaGOk
eIKA8SztIKvFSs5IiCLfHY7Nvln2wnTSAVo+pYN88KF+bgo92M+hjii9cXQNiVFTKkxXsCeO/UAX
j3kpHc4IzeI4DRLKkt72qqi6hZVWB3ay6pBP7QdLAWGiRYAXaoc1sXMqkV4xpklgraGAEbSHs6Fj
RocdXm/6GIv8Ok6DJ3OKeNimhzhQvDGywi1zY7S53fQS5eFVMyKWaFNkhoF2PSr6acp1x4rTagv/
A7Pv7CAiiU0zO4d97sA6c7IovCvCZhcojY7BL9vJQBe3EzwE+jX6OS/ElZ0P67Z8DazPSvuBu+vd
heRizULQYWPmKn3Pj3Zx9WzbwaslIS+Oumuz5ArOG/q5t5N1smbGN9xx6vAHi9g7NX05kP5eYztw
E72eYP1R/Oo1VBVOdXQYVLYAvulEgXmgcYuUWP2opr+z47qMbgZrRLqCnPlelbt8NZ1ZeclDvqya
q6K4Dftp1US3hAJT3hlzmuYH3/O9vcdlrPPMzDwbA8n3DEacObzlvLRWKTCFEBmjHZcHbT70kCmK
2w8Wlfe+6cXqpalAJFW9jve5h2psnzb1g4Qhf7mpcRFsEunU1+m1rrBSG+KAPs32/vzJ7+yAjIvV
bGLUkTSlEe97yz5UGmKiqD80tsROYDqU/PeyDfrzR717VbW/Pz6FPKQWfg2B8Eu+Dn15b+n3i3C+
C5oHaJDsjCKMKVhqw/Sjrc9SEN8olIts5fcndpybOsdFp3i93x4kpFn+cGvZk0OK0QYbyiGiGvqT
ebWMZ3R+lGQyPyrS4ie//K0Pv6jSWjMZ2OvZ8o39IRnsnZ+WW4vFIS4QHipwPldqgdggpUQlSXuE
fHDIUvsqQxFZ0Sycx8OcDl5a+S+lWhxVsW7CxFWRp1VqvJbanQAK1mwTdV8126I4TDOlyE3qrcTd
U7ZS66/DDgao2E0cSQQ7A4sx0wjhgqIVcmd9DNEjAhIjXBbudYiGc7hV58NQvmroFNkkhm7fu7Xt
5dYOY8q4ABt25riVwSWCmkdv7Bps6FDlTcipk2dVnIfs4GvPunbbiXt7fCq1H632mOV3Su/SGu1N
vNM7s/H6xoP/JkPWSbDZu8q4/NBNuK1HVyG3ud+FKJ51Tw93UrlllLsCd4JCFS9HKY69NXEQ6eNx
vfBkYlW9SuruPhb1UUUc3vnzmbHewWYqTwwTlKAKQ9AIb6/fJp3t9YET9tV5nBIPntGdUbduN2G1
n8+a9aQaD32R416fdilgoYbXvS21Q5zq29BmhmaN3xQmbKY13dkpXqxGtX5IuXI7NdaD1p5hL3hq
atzban7K1exrS3/bhMWqaMTaN6E3NcYG/7ETZBBZwRMqtrRRpubrIFlbm11O1kCNifMv4MaASEXh
TWQhmJgnao72kKWxO1co5QnhQp3CrDK25KMcJvfoUkHhrfT0e8hAckF7NhVj8x9RsCPfIbWdlJSx
Va0OELLQquu1Kxf6Ii4aVsVAGyvgUIcxY5xzxOHWflCFh4t/kwksihUwPoZ0fQkGA6WQDrEvSg9W
ad0oYb3L25GhG4PxKtqUiJyI+5RCsQNte4cn7AphN/4Fje2JjOmnYMjp+mO1XJorzpT3bfKkJlPA
zIAzgYkiAGXQbZINX8scRWQuk5ReeqbWeWnZnIxU3kwxFEbNHM9TZKGrH++68gTeD4YZL02RIAc3
M+PUTzshR3T9MWSO2qmbjLshMF8B3DP3bp1EFjv6fNtJ148tnfvpukpgWFb6TS8PRzrzgLYNb5A7
V6dfoWaQTf3C0zWx9k1rZ4TX2SRvFruD1VY0EpNNKF6k0uf9HW/CALch220/xk6lJdEXbODbYBmL
MOFR5Wcq6wow2jqPrhUj+midfK/KXWzEoEvXzFC7zqsmb27GnQWFbzETRaHlgM9y5x8Z8IPWZ0tl
AKH/6PT8M3H6rQJ3sRUBWjJrSF16zwLI7Qf+KWh5wbN+W8TyWe10nucU1iRsr/Lc6AVpdOihfSdg
wycbdxUJaZZprc2gckokBHJJOhg2GDNHScOsq/B3MbCZANNTps5Oim0vMZOVhu0uf5FldjvfIkxx
TNW3g6KxRmIgtSR3QUD3bNHGrtl0AhGZfRP0qK5vE7PDj1mtzfts+ChF92dq3xuXQL/YEs1hP2ND
DBJPhTMs8oOf7lNxn8svrDArnVOnNXYbC11NH9CUna4bvE82e1YZEYaM7X305Hw9DvEqhy5bgoO3
hXpk53bOKmNzA7P8g8X3Z4TRWz/osgH47XxMhzCcNT2pvWzCosgibEp4GoPBxXzUareyfa7nBN02
Zi1xUwvliBiOTMX2KPx2mw0Q9iI6/OV1JE49Pj8eMnFI5WoPwh0hXL3GKdF1gGHSZ7XlcXvtKtyJ
qe+inYKkBSyfAMXGBpqY5A6t+y2pH+umx2EJza2oAmSMGwj9NKZRDVIxquI+CzYRU7RMxSyqfk2z
H8sRgIEJjrzFLZbAGTVR40Aj0bKVBTPNX8SG7Rdp+EzCwXoQx1LH+CRNNy3wOIEeQtQ3Sevht4ZJ
qglkPnNC+4ynEAw4isJj8TSW7bYQ1tbCwEO44Rpu9XqKCWzhf18LfTX66SbIDGQsLzk22sy811i9
tfHVpOh2c73+81ZJX7okb92t5dd/u1uA0gI1aRTOzUcrVlw877KbCuMas68bJFjXEk9v7zrk+UOx
qsaXKrzRsx64LEdpo9vMYE/StrknGGBrpYcYbjjI5jr+ecjaD+Z0p5ODPVbhOqjrk+onmw7vlgnv
e7J9N06gKCb5MY6gr0BTzgwcdrgmhAXc05ocdaJ9QLdzaJN1ngSbisGthgEoNnS05tke+PUuEcvE
hXUVacRcFZs4CjZKHjhgDVaC7cifr9PPk/Zb1+ly3+zXCjZsn4yG9AVuLc4r48TifZDJCdCCdpda
mA4j+0Z02rdSiu472Q1NLJbcOIIqzmpdeb1R3Si1p/GYx5N0NRsFLpPkoQm1J5E1nhG0gGUEGJoC
vxTQm3w5RPcBZ5IXo6mPBFYeLKnYqQIUTvqls3NYqjYrYeKMk+Riz0HyOqynXLqS0uqqHAwvKJHh
V/W66rqdMn3WsGNmcw3MqNgY7XgqTSI/onJHaKdLQvBG5p+VbKAuNNAOd078CGB2Yywn5uLOjwHJ
1zoWUwzB0WaWEzfRLWdENuWjvfnzZVbeaT4tE4PfH8eCaR8evzjcR5XhWHbNPr3B9oYLCUjc1F6N
Er+cWm4Z6E7V2A+Zr67YcxGZ3F5Xk+1+3FZU32l96BeHiHnqfY0WgORZ0DYpXupBnq6aiTlj1GCE
TYguUbGYpOZwz/bbU+e71gsS66BjAOCGgG5vb2qkhGAOBQjBaXqa0ocZH1Fo0FYYstesmz3a+ns0
VwDY2INa7S0jr3ivMhYU9m7QvTb5azz+ftfynXOffnE+gSWqm1iUDa/yNXpj4bNKR6s0HAaEGo6p
2DjkbfAoZPVQjAdDlRygbx+l/rzXSdAvzidoxpXIqnvGNDSEJ4wkkMnhYtpfMq07hBV8y6k/qFOw
WW6jHacHAklWkvZR7NN750H9YtuS5iAfRY13L87Mq7r0DyoOSL9Lrv2YHn9Bt3LpXQ369VzEj39+
kt/pYOgXO5Y6kWxZGSfdUzjW5gyLLOt6OdcvnZOUrQl0rlWq/5d39+e+6bcqLkcyGTaYCbzYqB4M
arPup9tS/yZC+6Bb9xle6QKLLKDLa0mfDiAVDzrnoD9/1XdO9trFgg9dXUGFLXSP8CBnyAx37s6T
geGKr9kkvisAN/75k36GRb9RhbWL1Ur08wRbkHNiNV0p0D1iK3uQ+Y7LlYUj5dY/mgq/vYKZSGtU
J48M1gG2prH6wTrwXlNeu1gHcsTiEHlny0tYLcFpAWJSoazSK+d6Ykd02hZ9amqtcWttE36sD775
Oy1Q7aIwpmmv1AN4Xq+xoZaZz8u7W/mPjTDZ4MwHhUtv5JIzlsl1VXx4vd+7tRc10I4UnDNMcL2x
g6dMH7DJH62JxkBM/03STab2OxD3PeOHuAv2Oc6DMXgm7OVzp8bXAf1otdacwP9ouPXOW6VdVLG0
UqOOPCjbK1Pxxe8D4L36IZLx8pE6UmTyAV38QfH1j5635W1963m7KFyVmjFF7kvbG0T8ipce3Ge9
r4af9cpSsW5DsCmKp4jD8H95ny9KVaMHgS5ZPOE6b06kyY7QS0cdnoHTAKxvroeJZnGJy9GVpeC/
q1XaRa3Kwk4fB2yn7Nj7QzCDNmFa1vEGL2WRGOiDzLBSYdX94Du+c1XVi6NMp2PNrBNN8mBcHpaC
UfCejrPK6j0dRA1DHy+h1iiOrvt/feZ/JA+7/5gl9v+SSU4szrX3FR73RR58+V3X8fPP/6XqkPCy
fTJVUzZ1UhAMA1XYvzRh/JbxSSgWf1rICtaCJbvzl65DUkCGGQa5GjYwWFuTl/fwl7BDEuKTqqOz
tTTbQBemyP+RD+7vLzo5p2hi+XjVNi1Ua+YlMEzUPaQF1bAfayOlnPZelNSIpbOTaaYHkcnrMi/J
Iflom6+oy0ry7zf+Hx+sXrwTEFfJlZEbG/fyeCgyBolj+4Dz1bXxWimYvrLFuMDpXx8qJrHKDuz8
KpWVkwGRHQk6uQNStp2+BwTQLNkkY0m8nbGvMYv08DWCcTj7Y+pMmH7gDdzk8UuJZ7wKnhW85UM/
nwPrqNbBuhyTu3D47qcdeJtZx7Lelw40w3ubFCmR5PtpgpWVyfeDbx3s5N42vkeiORo4YQdR1Uwn
4VhN4+3U3wxE9ISjtenNetMP9RUEmKC1T0Z3xLz8dZyyJ6IT94WBbbqMryJgXHraHTLF4Mw134Xq
uAI+4swiXed+c4RN8UT4HSTcbpNbGcDOculEiWMwSE+p1Oxh14IRXiJw9d5cGwEk2Z4VDHfgVorT
nbXc0AYgdfeoFK92zuQtE3utV9e1Dt/JiKAbVubCfSmgY9hIhfH0KfJ4S6Ted1PurvLcosMdAiAy
RbBMHx0JzoIuD6QVXsVgtcvymJZY8Fs4WxbNaOKd0LKgnUmyvZ2ai1MbALavliuI+DcVbH8TX8ta
lmNMc3KIP1jaqsF424/EWhF7JOhZSo9mRsSLdSIic03G8kdl/+3nXZj09k1CWsTFXsqMyK4SRdw+
ETzxCCRnPWFme2jQ4jm+pzmNQ90/Tu26daFPPHGY+K00XP/1fP8uavj7WedfT/2/P/6iMgdxnDc1
XOCnnmOimZ0q60rJ/qNV5h+fcflmVV3YGVLEZ6THYEeQ0KFxJDfdxx+sLm+/wJqlqpaCAu0yvLsE
tJ6qw2Q++vkj7wZPA0dqgBVYrzaqma//fOGUv++Q/vWt/v1xFzcuGxI0W7lkPE57/Zk8JyAC0lPy
WX6AMbiuN/G5xp6XI5pa9WfiFTYffPyyEflnufr3x1/cOFErUi+kwXzMxmlH629b6PELr/SJcrGW
6M3ruXZnZvoeeuwLeJsXC3/J/9bPQCbe38/uAZircAA2+9jYltuzIcNv43WNdWtFC8P8WxWhZ/0+
Vsc0vZv7D4Ka/3y7/2GXjuEnpLqdmY/tJO9FQw8pKx2jV5wkMq+n0bz94MsuO82LC07Mjc3iqZoW
IsuL/bhdSfxG0xqPAVEpa2bDa+Z7juFQHSdHX0fbj0bEy1b7Hx+IUAD3uY6CezGd/N4ZiVWBdKFo
jMfIetbVUxa//PkbsYD/8xMM1mvqjmmhWr482liV3Kq6KduPvlKcyQl6DquZCLjqPCRVvc9lIFB9
A2hSrfx7QnIOY5QW+E7LbJ1k0TYKsCWpI3aOUl5phbUth2v4tc4wt481CTsyXG4Vj680E7y+QQhB
uiX+gCjwcvHdJGONrJyvRliv7MWOC6MhjmF1NMZnQzE800qcNsCtonpdOWyXxCt8zRjDDHdsu8OI
WKKW2mirqi1QsQWc00UadA2p3jYJkmybbHAjoZk0Eig9tC6Nw2uawBzglkCs+CmPsmaV1M8ilXFm
cLDU7HRjQQrf9vBa6P3KnTMXsBjTGjC8ioMXkDOpQQN0FeyC9KtH9BdFcD3ETzjdNn3Yrwh6PMd4
I8N+6TmPG8sO3W7On4Mg3EpaDpad0UHmsl9wpfaeoMZT4ctHMVhrq9pWFmO07hWPu1PIuTuk5W7s
Aoy4rlmH61EL9or6ZcK7ixCT5XLTJ0TDQWbp9Gsr8Yb+xcSwb8dnMupodWvzVsq+tPl87vr0Lk6z
Zz2uVnrLdyXXqLZ8J5eKMxGrdIeifarNS1blOi+as9QHxLUWpyZW7n1duGVlbXz+Wzdx5bOW4m6j
G0+2j594hRG6FVa98KVk/zOfJlrcIvpW1pMXqRG7IO4+sXsl+lGjNI6VclDbcEuPeEtixkbv7M8p
sWFVpO3yRaXjR4Q15A1LME9OW20tucuAOSFonPKvhi8x8YCnU0+FK/xuJ4hRHWBOmfC7sCU6eqlu
JOI8TH/8HObNc2TOXjyE7pD52wYlmNpgJ2hip+HpmCymPwS3nHmyd12vfc9wyBAsc5YL44l4yUMk
SOJs2luT6E2GSI/4+lZmyROTLh4rU/KA0m+F6D0bcHk2DfcdE2Z9EI8Zdp1JD4klPoFHSqfyFMVH
WP+KcjPjl5dZ03X1ZmieTaw9IXk+iq/t7OHruEwQW1gr4rFVt3ZSgU0EotRs0+V0VLl1ysYpKE+N
nNESRQxVYgKqp7XMH46jfa7HO0PeVPwXxgbaHyjyUgfWnpPoh3K6B7sII+yHn5PJAiTRh1cDVrP4
pkzf0vIqG7+ZDMsF0Dhex4YoRWy0z5ICVJqNdtI+IRo4SeIYTyR4PUndiyAPLxE2I3b8pVdROR55
JJ0ovc3txzgOvESymCWoL8P4aCuPsfSi6O2m7k8Ehq5Nvd9MFl2E7tk2HlQyjFQiA9n36jsFi1HE
Dm38FqX6EmCxGlLmNaSSEjonzdO6yRYgIZ77SQu8OF2cbcF3gyRdteq5Pm36kjBANSFOsmN/0aYX
VX0OphP+yZzxeKPckRfiROOPUrzYEsdqdpyAG6HqOb1BgJft2Qls8PBB7X2KxtcYdwYhXtfKYiAd
YIaipVhIaDcJUjQhYfhuyGEu23UGrU7mpUqrViIcLT8qvvLcwhcDvq1CAtO2nXXuk6+pdspQoIwA
IId5S/ld1fNNV28N6zPB0bi/APUIHHiffRUZx8xb6v/IRtQQBmEjVJ/6M2ndpIaj7kARaW9QM1gw
naK4PJqB8YpsGqN3sx9jBWZo7kHSQIIyXftl5WqTgP6L7R1jt9372xoVRG1vFcWbAv9gZV9zptCG
eVtPj0bFMHmrMHbD/LeWQmnbC+waPRW5vA6zR2J+8dgSjtG4hTgZJkB0ExDfj3y47jmrGBZotGDj
K92hzl1pGPZCOw7hncEdISi6HwPykOMbX18cIV48f01mGJDVTg+vpPEp9m8a9bYkCCG0emkdon8D
FCERJV1V20RiA6809DYB5zZFfEpT1xie/Oq2jpjUISo6tBSRPo1u6sXjixnhptEXXm11XaITRP9z
FWQ983L8cpuM4BJTKa6EaI8B0W0EVu1qOhUrHwnuIAfEF4fVtOvDAXybgBrVSLkrj4OyqZJmN/nD
Pi1+SBND2ObcWvJGA2oQNyDawwrJyimPpAejrR6trD7mo7wkixUMwiBipelQnPIg2ljqqe2IgfWL
cZ1VQP0ODcjZ75mosHP7JjEKVs75o6YHyGlQ5rG2EU70E+ORRFMAkWoqc0vLS2M4p3HGsMaWMPMr
2I2rG5Scrtmir2g8dXzxy8dOPOT+l6kQN1qWblOJUsyiE5PPXQ3P5pC6BeQHPTS8WuMIN111VbxV
QhszULMNoTYopARo0GnnbWTJr6lx+F+kXVlz4zyS/EWM4AESxCsv3bJ80W6/MLrtbt73zV+/Se/s
tARpxfhmIuZhYjrGJYCFQqEqK7Ptgk2fxCsZqkkaZhZjTEbk0fioxRjyZHirQNruF8TpV7082aAh
Rn0U3L1ASkydXbH6n8EWvzNyDYxtFNywCsoUmDC5SJgkaFZAALpgLjq0drzLnMhJTWYmPzVH/uWZ
+UIKfuMBcGGOK5WioNXqmhoyVw43nYzXowb+mB9JpdgY8jSFdr2Qrt1I1s5Xx+WfQHlA3ivxmTuk
YAJ5TIEFb6aFYvONlFPTwJuIUgJRJZ1xNlKg+bN2CpibheCNmNs0weKDd05bubT2wsaclJ51Ljqv
plUtd8xNq3LtRfqzTqQ1Qz1Z9emKRB8jeN7EKVyF0DyYgmFzfxe/0/R75udnxZn5SCx7fagl5qLg
6YI++liagSU+QCDGlK3sCJSrrSwk2vNT7J5J7qXoY3Y/zTRVh0l9C/aW1bQlTrWiC0ubP849M/PP
OFvZgMKZUDX4eHn7BBVcAA4h/hD9Wti/G8+gs8/H+Ddf5I2iBm1rlMkeis0km5EVWBhKtDzEZSN2
soNyum9RvvHSvbDIvYPSBsKsMubv3dqWHOrET5kzC1GevFO78u1mHb8WNrR7jUqzxHVyUDZxbWoL
Z/3/cRsNuggyelsyX6bpNKi8phXT3c5RaGSwB9WpV4IJKr/8mKq29t5+gREb2MX7i799IP+a5b4p
dAOo3A0wm6bHkR0qPzT+KwN8bUYXsmrsdFl3xeq1ap7a9s/9vy9flvz/NyjjwfZ/GzeXrs+9Em+e
oYMOKXMx0WZXX3VlTA5GNCxkJIUB+N5KPoGs0ASlI7iFn2Nn6VTcPnx/7c/edXYqkkFNIKtMdVcF
6YBA9Rn8WJmeiNtqaN7TFC9aSHCZSe0vlKMWPp3C3Ub64DU15IF0V28+lWqv03Th03HzetdbO/+C
s6WNsjgmBeiq3H7b7NtVvkrhjwAanzD9ZC1V15ZOwDdq4sxaARbYRGlx3UWb1h4s2YYMrV1amsFW
YC+xnx+XSlxLG8hdFHqoQs42gOdAuwHqsGBgVJ37zrm4g9xlkEOLqGrA5euWtr5SrHw1AjEHb5St
YEuO00IkW1oQfw+IePkOYBdxUcV3Es9Ri37B57g2+bVLcPFCFxMoVKSzS5iiWSJSdmuCmw3Ky3OA
NDNT+Lq/hQtr4juJijYKACl6uhsBBEfAxkSaBTe/fa39+wDP08bnXt6XTcZQNseukXfgZMxoeEgz
0by/jCUjXJSoRRGwXuBZ3UJ/giqbIya5M7MI3bci3748/66FiwlB7evymOHzeMmqt/31tK/N3EzN
EKR4Tr4NMK42bRsbqCbfqB9Cq16jNWTQhW92+yij5k+kmRZC43tsgihCHtpDDtQ5SWqqDrFRu82s
yNH2UPGd7Owpt7JVubu/+puu8tcqf9VA4hfqaHRgrkhTMx+2IRhq7lu4+RXPLHCuUkBlpJJBa+kO
AgIu0oBEggYLKNDum5Hnv3OVaZ3Z4bwlhXhiJY89cxWoNuirEfn4z/ER3GZWZHkn6Sit6KMGnYkC
jG129nMOyMsdgKXFcr40kAh6uB4WmwONDPXqUsMYk9IthMjbLnu21vmrnoX9Pgi6ItDRFg023qNs
QqHGjoCPXeE9/hFZsQktMItuyTp5FfbAIkLpwBKWL5851t/b8Xkzzn5FKgliLgLv5OoHjDqONtJA
e9oJdriK9+pW/YNRRTP4WKrA374fzhbPXUGimJARkm3zY6H+mdrDOjTBmLiarfW76D+JQWfGuMuI
gQhFb5HpugD6WwVVME/ZGRn0hu5779Lpn4XBzvcyluMKc8aMuWyd7CUnXeMF5BRv0Le10L05xZZv
kSWY2tKJ4e4lTCyjMaviaR5twnX2ABi9MZiiI9nBdinMcEjSf92Bf/eRv5KqOKAQd8FHQ/F6P4HK
fZ0f2JHag9nZGPORrW4V2NrT0hNh3rY7LsrfUyK0GKhY4wqpBmgKNinqV6ElYC5LhFQ19FM3yeKu
3rxOzlbKxSExYjQA4fW8q8EeQWjdrsKDvsecwxYyKKvF47Bkjws5kHyNAinAvTFnF5AJMtPfuPCN
3sKVYfdrur/vqQsRjvChR5by1AtLZGfsKCegYUVHNW+mhScWN19x7S9cbEHK1KgUuAiXVpMVVarR
pa9MAGFxEO4nJIR12G2bVoA6cDizm6IBhooX/r1DRTjyn5tRtuj4KoJbExK0vQaK3x8NmIGU7Ama
pY4YgsBPWxp0nJd+z9m4wBQG0EfoOgX5Cu1XAsDxBBMo93efw+7+376A3k4Dl5qu8AOO4IfNPSgR
aO702VlgCMNzl05G/k4fMd+Fz61nS5Fp9terVSlg7KNITCTlO3KdRXn0T+LKmxAlKIMS71brp9ZI
oQyHW1zMfBC6rhOUiDBSoAXt3HtYWPDNp+qZeW5TtVLNICcM8xgf3UprD7ebupLsaLtUyrt9r5xZ
4kI9NHZjTL1V35fqatpg6nkFnXljLj751tKHvOkrZ8a4eC/pMUahKixrwIRlotnM95Y+3M3r+cwE
F96HvGzKMsd6is/hk2IqzAI3wSr61ezAuT2Zilk/Q9J07dn3v9i1WRATSwQlGSSxBGpMlzcZ8cAX
LcmD7gb14Oh9ZaYCAKHAn4rqx31LN4pQl6a40KdKnieiN4uylwFqjie6A+tw/IrBrPhQ7CAUUdjx
pt1nNtLmdfc7MSWMOaLdaN7/GbNfXB6Qy18xf+qzAyIoceRXhFI3y9TjAM3bBNi0oQMve9+uFVC7
3Dd3faVdmuMiYzOIaRFqGa40DyAyDHZBP/vFG1dZg0ZBokHnT/3nVZNLk9wZ7AMlmqDRiHIRWr+0
NFNIWdxf1PVxuLTAnT01GGJaDgAYZpq8mpRN2S7lzEsWuANH5ViFqmSlu7H+rstfA3m7v4Lre/Fy
Bdxpk0k5i8Fij6boIxdqSDR7juAvXIsLi2BzsDxztVbQW6jQYBFe+Tsq3JgunKiFRTDurRZAGycD
kTQKByXBmGsDDISOsbD/aBXgQKQgYJUVntrGVwS/bglSCA0z5ZS+IQ27/y1ub9NfA9wRAQdwrtMK
VbGG7LX4E5SbS9fwkgXuRMRq0wu1gL6PH6P/N3Xxro09TOlhUD7X9l4wOrGPueLAsxUQ2khoGk5B
/pr3aQBNXec/WS2U5YFKQlLAk1dkgeiXOcRV3HjuVEv9ShMU+76Jm34h429jzJlSjB9d+h04x/te
jAXqygrwJz7WAB5BZPH3rdwolOEMKYomAgoto1/IRYE49OTYVzvNRRqyD4fGgBKVif7lgz/qD1Hl
+gPQe3i0128DlIU0zMypkrYShu393/Fd/uYjOtN0ic1kwHBSbrmRIAmgOqxrNNXZYzqLIxSRWVTl
Z1+AKNyD1kw+1C5Y150KZBIA1WIqDugWEKvrsqPL8jsc4QAUFzHadHpCM/o9DNPUYF0L1K+/QZRY
+awyFTDlQqhqq5D2z1Q2D0QPj2NeHmkO7KuMyfH7y7p1cZyvavbps+BRkjobgGip3UYkTtH6h0kn
RyJ4p0gA5lkEXXqT0gXH+X633ttK7ih609iBsDBr3BIgHCfDbCMA2SQ0fX340eftCxh10W9QoW8y
jJUrJeCJL5TfTS3tSZVZnvzmVwPgy8IhUZhTC19BE7vBPLYPqWGj9T5aUtiqDliWjO6PGv0WhFEz
STJAHAzgNCKvwfK7L8vqVz2B1qXXxRdw+WsmbrQfMRXNOgES7f42X+c/FLB71PE0UC4SEGtebnMa
xxCep2CRH/3AFD2QyiV/RP8VEkgLd+b1obw0xJ2WQYi9hpEKbO+a6ACIbyjhAD5RL/38pwsCp6ME
mm0070WKAcXLBZWNKE99EjZuALUaTLXXIHruewnsCI/3DX2PlXLOAksMNwJ2TtVnatxzD83JiBph
ThvIdXbbXPA/lG7Y9r36OJEGU2T9zyij71MWf4D++lEn8XH05osWEBKgFGcBg+ihogALhSz/pOBl
a/XsABYNhBFp3zHoWBL1R46XuR+zbTuFJ40GWxHQjxCYyrGG2KOkJnaR9NsK6CbdWzENepIfoB4Y
VGWdtvpaUOFlhfi7hHKtrze7Mk6sQemeyTgTM0bBKvfYC1UFq/MFO47Js1SwpxqjBKCrjLc0Wnqc
zVt/tWEyLlIMhqiQjOV8LQszPQBkZ3BnAbwCzBp9gqATEm0X5GTdedmv+1/oxvMTvqDpeHoCwqSC
O/TyC2VNCPZLLx7dHhA2glkRo5iyrUQ6GaMCEI2PsoOviG5LGwPy8I+hANYM0FIJJFyI0TOH+/XS
dQg2gc5dhNfwqRDB/Fnelp1bN+p7AZRp3k/20JYrSONA46ys7cDDr0gwEpFCR9vrVaBJ14wBtJVu
wkzdxwCABTokB1Qf39pbAEJfRwFwMitgkyc6UfEI4lwZWk818Bw9lBzHfD2Mn1BmMIT4KxC9hY24
4QIMXNGqiI8xc+FzhjBfPlRBow8u5MsFuGOPIUuaHSe4O0r6C7HtxqbDGBjs500nisgl0XIP6vca
FMXQwlEhhCt/QoYDkgyJJQUpuHpC3ZYoOKExj3Pf727u5pldLrnWBr8sw9ntZPY2U5pL+QTIaAco
XPqPgyq+219LvFtVGGEVIPHTugPIKdoJ7BjqiAGY5J+nwKDs/lY1A2evws8lY04BAthlIQK3/kbY
Po2W6gvXl8PMCf7XAJfJg1wM7ElZOLlMf427ByE9FdridKR8fQYvjMz/fpZReIHW5VWXDeh1d7nh
beMtaCLNDKoH5nfDYeHb3CiSXy5KubQHIc3Oi0ssShvUBwiVWCktnNHLdyCpgwwC2XjSeErZJoKk
LUs93IWqEYNORp80RyiW3krXlSn8GoahPFSRNRxBLhaC9yYB8ziCL1WhR6xPZkb6tzhRd6yqtj1t
nETRngsF7EgyemuZooKc/3VEyRsjXFXsm0i3gbAUXuTwM0MXBcIGihHrBFA+7YuA/4PEoH2iIlCM
glso6gO01g2fJg7pjixZMQb9X8DFNfobMUUEH6bXfNYkoEaTUXOewyLTCbVaQ2thStkMvr71SfXq
+YEb9ZB6AH3QhLTr/kG9djvkJPN4Ang9ZDC7cm6nhaggDh3F8QFHYl88hUCRttByv2/lOhzMVqD4
gaFEVEL5jIR4eg1tbrV2iXhIJFDF+IbWbJR44ba7TpjndXwXsxgkQ/hxflZWUqeAr931PLzfQg+a
fsIe+qUrJkerCg0+mv28vzBunn0u784mGa4MRcPMFD9ZT8UJeUiWTa4CSlloTp+EKo4xooF3ZKyv
6v4geg+eSMRNDXWHbGne8vrrXXo0l+mBMY3pWYEwC311WwYah3WVOQLdu7DKm3fW2cnhrhHd96HY
LsoDip/QKmwCUNwXVhEMZqNmH50OVprSg8oAVFuVad2APkvPBdsHUBdw88NIhK+qCqxyWuhs3Awv
89emuoIEFJpDl+ElJF0yEhohoX7s9oCSPSpvwhPw1gfvAcOZz5Ad1p6W2inXrqwxXZwLIRT+rDMu
pLVdxQLAY6EHHBNMSWwCpPByj3pm5ixs+vyXuFyR6ciTKPJFGYvjjiZjQp2nILp2y+pTIREeU51R
+doPeXrpMdKhk3Y1efJrl7qeIq8yEHURpVoIDxz1x+zfWK4sgcFeowryI+4ij9oCUtB53bmsBeK+
zlbdAE5BRfqR0RGI9HmM57Ws0mMkCv84ZsyWMbCF+WrMhKmczzW952WQkJ/cjPzWoItT9HvfP0nA
uy/s8/yMvtrnM0PcEmu1FSY1xLMswPBqAeg3pNLAaiZA4gz6onikpBAwzwQnR76sx+wD4126keb6
vmbDH42ShUzj1pk+W7fG5cmVJPWsSfHZK+Gn0JxS4nZL1LS3ssJzE5xnjZSkBfAOkquzI6QjIDD0
UtbDaEgxgAnx4KSYJmbQ/VvY6Dm7uNzoebBdRqDENB7RdG6jkzxjtQiBLjQ+J0eyEqt58xwAxexm
layk031r31jSO9b40mtZDopStlXvasm2gS5nVxoiRjSIapMms4g0fApND/LJEbRXCt5+qQkyVVm2
zUTYi5iICpMXWX/1uskZarxEhe633+0jgI7V0A7LY8keQS15/zdfh9mLDeKruWkykBgHqXPH4qTl
ihFII0YdoExa0xXKeQuOf9saGAxALUfBfsVdHkUOkWtfHTFchAmWyU9WECgBVxmdrAzopSYbXu6v
7psu6PqL/DXInehKG8UUcp6iO0TJs5SmZtDvqP5J1QlENPqKst7Uqr0q+1++gKmXaHjzQ0wq1VDO
DTSwXSaVUzbgHwWrAC5kuxyHZwGz86LQGhgYdLQgdvyxMiUxN0cgsoocNNKjtmmSWcr9ETy5TpjH
ax38kVAsqEBUiVblC0TuLXn8HYvpmkJApUlPedsgYUj2iuKbTQdZKdJm+7QpIEEHUerSewCn6cLO
3DgY5xUobmPqFONTVZFMblW9hJJvDvUTuOsXQvn1xYVMBfcVKqyzLDLlPjcN46IRSr1026aCLgW6
8RoYECC5A67/hZOuX8cwFIRFEF1A2B035VUipoMOz5Np7soQu6SgxgXBuN64orArC9DM+TI+SGPH
Y3Aa+rdy9PaxZLeg4gYZ5xYcutsRLHCB6AxJe1AzcT1SZdNU4LJTk3WZQByzj3aeXJtMA3JdGTeq
9KKjKpmk6xEzWuD4Vqe1FqGkTzdp8MzEfkupU5Ntp3zkTbWppGDVNMPMx7aSWHeASO9c2n0O8+G3
UEh2DTpQP1ZXdfZUN40NzYK3QK4csB5vJk0GAaRqs/C5htoImN1aW/jyHguQx8cQIjwAbIt2IpjK
ob6DwateCo+9t0J9P9KcQPBByyYf6Ig/VL5D8HcvQPkAWtGbVK934YQEdRHdMsfyi0OHqiZk9+YK
HSb6UeHBv589+RpPaiov8hs3qvKtVvWrEiP2cjC+VF7wmJaBHaZZBJoG22vbrU8ZXYgy10kankLI
k4iiQ9QGBRbO7wRf8jtVDWZqht4eXsCfccDI3yFbxxtogcpW6jCrlBaSh+vOxKXVb0D92bL1UpKp
F4fNW217q8QHUB6BAHoH1ZO+zrYQvnKWgGfXVAYwSURooyNnQRtd5BZKMi0qSqjxAkeEYgdSBqN4
9m3qG21vSB/SVjFFI/gg1AhFo32jS9GV/854iBDpb3DlL9cOsudRwEZXqg7QkkO6lKLcThde9LcO
Nh7PEh5yKCqCXubSm6QMn7mkFDkpnnBRu/O6Z39YuLlnj7zw2HkleIvONWUoxc/cOuceW3SjKDO9
a1wIqevZzz7PFyLh/CPvGeAW0VZq4qGx0rnhJL77HtSsvZPfDr8LBUrDQrCwZUvWuODepWE85ioK
i6TC8EYeP4KTZtNB5r2swYPSDcXCgVuyxzmCqiRRWQrl6BbkS6WHVsZIpfw1VSnaDeXCMbvtDv/+
VHzxTRaLClNweAyF3c+pd5I4Njsw6Ny/HRf84fsJfnaUNXyWXArwyotyyGQOGJpdJDhcMjFnrmcm
VDSHuo6Vopug6jtkOJ95/9xLDQABYHQUxic8/3M0UFvwiT90bQ5JC1IZZSFDTCReSAaWfsv8LDz7
LXIE6eYaVQwX4uNGoB4i4b/0kO/YeWYh0XNMYEtB55Z6YaTBm4dOl6BA9WN88QVl4Rm74I7f18OZ
sRzE3mGQaYObZLkR59TwCujXTJsmK7bKv/R3/3+azpvW8FIleDASXDuzw55ZK9FfIQLQbyjxfQpi
b4aF9MTqUzYmUEX1ExvVvx1TxU1QNy8setPkU9p96ZViKEr2u0BuAMXBBUDcrbwLImv//klcOGsL
0R+8eprcMf8KmxFD1480RwcjXCqyzYHkKqwh78IdLesa02bHOlu7JsnaqMY5mAIicU0GtBe90MqF
fFvQ7jAO2V5N24VET76532c2uf2exiTWps5r0VtXj7IMadpREbYMqrVmoOH2ScCKOqo5OL+hOBMG
B7V4A/W4Heeghhq1rDQkNIH8qXooWvImR+1aH/V1n4GTgOXTZwvplEFJniJBOarhtFGgEmPU2RLm
WJmP99XO4eWH9AQAOFXkdm4MCJl62jfuJExPQ57jDSJjIrzbFVJm6t4TqT5lkW6leJ0Fza5tdn3d
bGZifdBz9JCz15kZCJ45oOc4/Wbh26Q9k/xH3f+h/mMdfjDFCdoQJ63feENnEc1pMaR7P0je/Phn
S+A+hMTAclGDvMQVMLI+Q9+DOp9b6WZfV+sGBWfV75YqJzcmOPCkwBgn7muGStF3y+/M42QwsAmy
P7RuI8vrWALDQq5C0KuhZiq3EAwI2QfmY9K5lwdyn7J5VWYClhokGjNnrA/whF/9GJn4EjbzO4SU
VpU9h2JdGyW27f4GwdtvfGX8UiKrqAxr4OG4PB9qHWdTCI0nNymZo3YHoXpJpNzRCnpkyoivNzm+
EB/UHHw5svo7bdIP5hfmGKcr2mIOpQ1XeZMYDboB2RiYGFqHIr26g6TEsQo7FMacvP7ddNpjkqZO
j+eJoOSmOHqNmU8gXvCKHSTzjBDFIzAjgI/jGPp/FH/XxYcAohEkB6cGUw9ZTiBnD3nmvF3FOuQ1
NLJu2SHFszAPX8UQIu+NEbYSJjHtGipScl6AzoCtBoAXCt03NSF59nzHZ5s82Or1WveqTz1/GoBi
qrunXvhkoPxv+4c4cAlo4toINGIs/AyhWdhvJlaYteTUwa82/BTYvtV+yYp69KKHlOlPRYqVB8Ej
LX618i4Q3kAqipZ7vQbLDWj7cC2C8LoRjbCBaDZUj/UhcaTBXwFealUaYOesyX6lVW558XsYrAog
bBpMxgeqguOjG304niKfWAz/PUiV50xUD3qGhlAlHsp2gijIWziMG5ZHxwhVwJiB2CEFcXr3ivfg
Qs7x/SrhQwKcG8RRkAZD14LL2kbPlwOh6nMM3Oqr9k9vB2b7MQ+51470J0iMwVZNkNxDVcxa8NOr
LtX8YCNs5o+E5DlAFZduGgnBmHoI2a6HzMpoPOKWEuQJBFmxlEA4ppJ0jMZiX43kC6qEb/etX50R
zjh3RmZItQIMVedCoAVqDYX6i7ah2Yv7wfv6p5YkCe8kRFIUn1BLn2+Ws9gBubBUHNMhdmeFtBr8
7VMLlZqJWV7d2PdNXc+y4MEy1zsVUWEgZOBt+ZA/gJxKF7vKs/RZvTRf6humEv1XoKh0tPE20qE7
iL+8p+HHfcPXu3lpl3OiBPJlVVWMsTsTp7AJL8HpPYzEbRSEC0nGHN4v3PV7hTqeSyjRi6CduNxN
gEh6wCKS2J1EFWEfLDG5o8eP95dzHUE5K1wq06SjJIQJmIwUlFomr3vyyuJEaeQImmDKEUhXxlnp
62dMI4i/DQ+9GJmlCEbNbEigivPbk48l9JvFdEPH5kWJwKjyUkpWIXYrGZMXQEdtof++cKCWtoZz
tK7M02Zkaez6oIEaQcFcfUpxsvDouv2l/+4/96VjLUClMlBgRBPRhBusUe7spnEbJi+kXNdTD9xH
4N53eKdQmsr41D5wjpN/1EVUrgfRkf0MoLrRQm1/PWWp7deoOHkgvYwXNvTWWhlF3w01YzILG1/6
2qDVYA3UAeurwOAtbAe0/5oOfF7e0313++Yz5p363BDnbnIzetC6xvGpKswsj8eJJL+8uH4HLf1J
hmS5LLRmoj6lDKAmFm/qYj12n51CzAhCAOmAV1zy5gUoBs/IXhCb9qq8GQN4aUAcYUwgtxGsku6B
eZBzYIENdiRTBQg87aGIIW8kgeJ2nNDdJ1bZg0utQ/mqRgtIXzhWN7/o+Tp5D8XE1CBRfNEQKVIu
Qp2wxeCTL6+iETx3OWjv+thuJM1KQIpbIYcAXdrCN73GicGrzn8D58BeEaq6J0fNW7Qhf8ZD5MRg
Qait4qigOxMuFsvIjXh1Zo5yTS6ochas7tUI4H5i5OBxK5eQT9edy+8VzTgAWQILMo8JHgA8bYMi
jF21ewOm1e6S0lJlaFtr1OkhHdYP0yarY2cclzq3tyIOaHX/bXle/NnV1hdjMSPmYzcHbWk6FUY9
7iJp6RU/n/Pr0/HXCncMiyZDi0ZDyCnrxCig5iKib6JAy4fVRlV/lCOEZd7vn8ibFynTGfCLoJZG
O5jz1HwEqLHLC1wzD+M2OAmG58aPwzp767adXW+ArAf8YM2+7pu9uZ9nVjnfTHNgmsqcRm4kBpYv
7oYyNIal7tRNjzwzwoXVaKqz2oc6tjvrokKmzlBZYN1fx83A+dcEP1JLo7r34O+RO7Yg/oM4nQBR
NnADATWxcEksLIafovXitkIGO0ZuAuwdtGgUeeE1dT3JNZ+us7VwWWpTCmPeSzqkbvC6h+65harZ
Osh/zD2Oij2AJvKgA2HYk3BVR8GhTH8gq3V8tOWUsXdYnVlT4h0H3T9N47oA9tGTmSmwpQnP6zye
+51cQlvEAwY+PII0cxv/FBIn+AH67drsfnnrxh5+EjQ8HciblU6xPOg778HVCT3bo/krncWBTpU7
tcvxFWp7tJtT/hjMs5CPUA0lRmYuPVkWTgmfAhLIz8dCjnjHykNcpHiK7Qrk8PddeD7g95bEXcmB
kAcRdB0Qt+VtQ5DsCZjvBNY/Dq2i0xeM3b6UzjaQCzeB2ou0lnEme3OwqhN7g9AqqAN0I7fAQORb
S1t4M6Se2eMCTT3RrE2yGOGNQsczKlcFS0fUg5tXkfzJSyg3DhOGH8RggdNj6dPxsUdS26aoEFbp
gEcemDBn1o0G5GP3P97N+IOHJf6DeRzGN1YEMct82uTIp4Kf2QRtvudQe03rhcXcviTOzHBfLVKT
GjqNPcIcyHI29VPwHn8I9kygE35J9riR18m6WC0NV5Cbp+3MLPfxBI3RGPBwuGYGK5P600vcQJc2
pY4ZAQ38kuXYdUbT5uss7sFdiYm8eiTMUDOogg6DgXC36mRI76hZaPhN+hJEbF36bCsG0bol6jMe
Oo86S8y6Z5bcFubUl/shY4CFgttXq4HUOARQsE5bwYmkzoAG2ElFE1qZGqcuy1fkjp8Yynjp68lS
QYl6/9vedN2z1XMu5KuiX3WAHqL56K2UtWC3jrAC2/3qvpnbWdVfO3zHJ86BYe5aHfG0/jXosjER
cKSDB7ME8X1Lv5p+tIL8Z1129n3DN4/ImV0OspQ2tJFZ5ccuUCBGD97SCXlymWkLdZ8lM7OTnYXs
RoYmE6qmiACQfhvzcDeI6oOapgszAAsn8TvwnZnRPQJQdIubIYMEQwmFh6QYjAKDLxWkGP67jeMu
IQ0FHZ+0UewS9kwbzYwVBdzuP+4bue4DzNfs2eeZ9/VsQYUH/QVBQqRWn4OT9ElPqlVZ1X60Cfjd
I8ezxtYodhgQ1K0QjCX02JnJUXMqEwhCUIqv7/+ca1Qumh0z/AT0pbKKmg9364MTIJiqQcPNK9Sn
OpWcMHjL/GxDIFmbNcrei0Szab4Y6DBSRVygabnhQxfGuR1Xkpimeob4V4DxVoTWVPGjX2Sdv76H
L2xw+62XZaGAFi9yhTDcBhhGiIFdJOj73N/IG9f9hRnuum9QWwDBOm6MthV2OYhxwVVrq2W3BpYI
/RGy4Ks3sCKX3427Oogn9+ga4cU/JcK60IYDgQ3wR6Pn8lBmHzV4oav2gZaPaA4FYmsSMCYr4Nue
3PvrvnE+L9bN3SV90/ayngmhW0H/ZIyB99E3AqilR33c/FeWeLRn18h+j+5C4opABJByP4YIbb1u
yPXLgqHruvLF3vJw4pCIUt+LQuRSEr5HbeZoSNiUptvPoCC5HoCZm/Zxm++yKjJZi2kAr98TFYl6
K9iKOplD6B2apA8tTyGOquaPpYo2bgtV3zKZHodJPvjqm05/1goo0qm0YWMMQNe400MMlKnQu/SB
ptXa8mHqq31E1Y0ga9sOWjsS+QOxGQO6N/ZU9FCgKI2R9Qbo221Feey6EerDUNhu2L7TckcuIHQ+
/NDGt44c8Qo3guI3bUdb7jQjAtghjyGUvfyQmE8tl/meu4TG3Qwphqy1IcD21TYoMHMIVwCQBogw
s9UD3r4voHyPYkP+D1LSC7NcJBPjQNE6KCu7g/ylkuwNhXRIQihmrmiGKmCArxYOfT45953lurN3
GUD5XrIy9eOoiF4IxoL3qjuxdu2RH4o+GUH0mtFDSTGsJkiYgMmcosD05Zaisqq066ZDYAezjzYk
wGsGESTJUI7zQ2vh9y05Mxf/xkQEb4ffRG7jgAEQdPzvhdNsIPvzu1t/9o5/Sk/dk/+jdKpDsgoW
kqCFqMjPEYk0LspQruYC6Be0tayphmY1pM2rkO4DkS58iyVrXExMopAyaaSx24AtSY7+pCE8oAxX
Q4qRTbo0c34DOHcZJrjQ13Z6w7oQt9ekEsdrXwFEKaLAzhNQc+f1qswFo6byBurw4C1u34WwM+Qk
M0WcvvvfeCEG85MHHQYDOh3gKSgop+BTh2KEDypmX++3Q50u7PGCLb4cKejU64O+w5NleoihBz4S
EPlnhqYtzVMsRBHKpbEkArQec+3Ikzpx17Fk18kLS7lV8TiPGJQLVJNe1aWflDGI21JX+Myfmuf8
Y9qxp26LwfzJro7dqniFivdS0emapPgyaHxrQJ8lgSoqOiSoMyxOT60MszGZUjptKRglFGBG6Arh
+nRir7U98pGLg+lFL10t7hQUEDTIukKdTUcXAZiKMsTYtwdobB1VCxmNvvQF5n8/+5FhWkLFNULk
iDTJFAE8xejLtq/1xxD1vr5XVrG0I12xz6qnLJR31O8NiCCYNIPSW43Brm1M95kcOJn+S29PA7oR
QIQMskkEKLBBmU7Wdoz8FCFtMWCSkOVod+mCkQf6LgSOfaL439NyMnvoUpbJF2SOIdEWTxPUZKo9
S8FyVk7rjoSnLgYZHP5fOtQA+iZ7U0pJM4LMs+u63VIP/QhgpTH3CjIF7+eE0YUu1LeDlJhBBixv
GT2P/udIVGCnIXmQNYcyTE9JI1rdGB9zEbR2YQ8uyqE5KAAjTaRwok42Q6Www1h2GJpGipg6AxMx
qX9K6+jXKNDXPMfHCWQVYjrih5JWCyf+ekSccyAuqivAGojjWM/1HjDjvXcvwbsH/L8ZPWOu35Kd
7iDZcmA0x+FYLT5tb8cAwEMIFPFksGFdOkYWRkHcJkrkEj01E1yzJPwFsRlD+R/yvmQ3ciTb8lcS
uWcWJzOSwKtacPZBck0uKbQhJIWCpHEwo3Hm6v1G/15/SR9GZWUoPFTyLjQaaKAXmchIKdycpPHa
Hc6QVcHnke3jiP5jpZM3lGW6yMoF1UkK/5xaXTY9ph9LiUvCmDTN0jM17UdtNESEH+ud5BBLaRpj
1yGb7XQZq1PucX6E+3CQl+IinSIdLgUaBnhJocNMvb5Wq3mFwN9/ftHrs/s1f/rxJU7eO8imNM1i
4dAcFWSMstYiwcYLAiurz9f5N1Hox0Inm6iFMSoH3ojdS3/2ZuA28kCCKuApxznUQ3UvvNSfIxyl
nuWPsXOOk3ju4a7b7F18WXLujIleMWisSt3tNqDW1G56jfhm76dtdrNc8CbgPqgqfnMmtv2bs/vH
pZ+kCjPikDmWCMD2BbuC41gZKgGGmP6M/na+yuf6Z5t961797LGepAtgHqpTyrC32Eb3cK+304vi
odf3jYZzvJyzj/6V1PU9Qvy4wpM2V9JovDMSjNZgMHPVjtoBXh67jkHhlbwtihlCJsJwdhD8iZz0
kDc0rvSvMBILFkNxe332CvA1TJ1vzLTz8sbyGOWeBd1oRssILlaBLeVX1b4YK9MtzpIpz7wCp9LN
HSm1Ev5G+X1u4CSmB0RzuN2fG3yeW+UkjlmjyJu8gyG7bA6dAz+uCxQtn79j4BV8/ti/Iyrf7XIO
oazRTEp278yOX5Wtn6IagNONC6tP1wFOzOkTIKlZGnHV3PaJ4U2zE9rNeC1R2UqzdAuYGBWo7vMl
2Teg2xua4hWoADt6CeTCIWmnfYsKS2YrXcVmkAeQT8RQgyEZN61e+zQfAkhdRuqgenlRMLeAxOWA
MpWkN2L+WqlN0Ka32TC6E3le7amYofiiu5qqI9DxbplVrm4+Ux2GrXZA2BXDSVP3cWFXQdHRkNmz
r4s2VHUwk6ososs2A/hP0Y4gPbldif5uCo55k2AaiX4v5/FKnaksYHz7Mh5K6Bga7nKtVDKi2g0l
r4IPdzOQbYZ9A1ezMcH0FO72ml2itiZRDskZW2/gD5XBbh6XXHD1whLFxVJ9SY0BZlYVjKtv9fHC
WOg1pfAooNC5LBp/wD+JVUe9ZVzqBLNEFOi1s+vQBGd1sYehvJc23QoHdde8ozP0cNF6JCEqTLlb
aA/I0MnG68a+WRlu0jBi+NIHBvztdPY8VVVA1ENer4a6qtcnV9Q0QMg7SArtxhmtCmQ+YvqCkh0S
Y0+D+aopwOh3X6tkO2utS2BuZdi4bbUeWi1U5/tXtXqsYMVuphC4KKxwaefbjl4QyClIQ/MNLY1l
u4SsxzMCgdMtxohgIDLpr44iQptXyFt7MK6a9rUVLBoIzJW0CkYmkxU0vA0cPZJV4dlwUGx1w9Pt
55rVG31oA9koMYPpWTO+dA1QhFlsp9uka+4KRTxW+ujmMLDoMyUySidIzSHksOuaWHU5Sduv1PvF
niNbmz18PR9YW1C/OsjnAGVddlsBBqnap/A6DJZsQ9lTXwo/Kxavqh5YaYcqNvxcqXHT117nzDfg
xt3Oxs0wqg+1+sAt2E5QKA/T6Q7VHmQwRbcnPY/ywnQh6wKjCAYVUD3F52xbO9tJ+oWmkB3rugau
jXNQmiMcB8fLRkd3Tpm31JhdODHCOLWFGy/ySAseK8kcGKhpTNyCfOZbBcKTBP6udptHCpFhAqtI
ZoILYxXHAX4YbotA1an5jcgUjDbMZ9y/Z97CtHjJQbUcB4/gLVnHYzCahqOfsumnryV27jRCfqn6
wgZ5ITREoQn2ktNeqrlPZOlNyv2i6UGfD3dOxSFGNET9PPlpGrXISBQEAh3q5yYnbo7WOGFsl7Pm
0l74tlGvtZlvcjpszaVp/Y5XMUiyjacq9i28jy8o3O5kpsQjXmGmFZDyWq7gC7zCfzylqa+6fnFn
GOi6hYVB24vd2TEk8nBQXDmddd1CCa437/QEG5GX29w0Atrl+265zW0ISSTgpnbY6yzfTxUR6MEQ
CMvpAWzQOrhYZq41Pdcw43Sqx4xU3ncxEbJn9ZOjUXRG2IiRkQICouZOanE/aHPYAzM71rWnZU9c
Q4nLm6z129XZnZeXCtixubC8eiBQTmv9vkbzVa3zPa0pjBoB0oQl7nzvoEDlQxaBwb5gDmUtAUme
QFIDmTJ3zaIe0ZNaMndy9kmy2v/Ra606JJ3mZ2D61k0F8h8PGUynK9P4VgiAcaG+rbkW9nFXprEp
sn0NFoqFCDTC1x7aRRdaslwAKxQAvQPTM8SFajpkMB5UM7ExEvNIYXg3a2PMuH2oWgQiyPHAu+nO
nqbLQqFBQ5LNWC9Q6IIQYKtdG8a00SS/Qn/yTCp27ow6SXt1tMWNGkKA9xaYJzKHcLktPE6dMwnn
uazLOMlsGS8Ss8+xTr8V+ySy4nxyLVTbgOT53bHeAqJ8JtFbk6pPkq5TCamJEJkZJbCz3Zj5oKRG
/bjNVBxQeaBCKCKH7+LnB/5HM933JYRxktVyw1LHNkdSPQKk4RohoFNhutVh5uhrHo2zuPLBADic
sx36gFO5dqP+yvdOAUcyr/NZWzBXMqNEuvmOOJjn+tQjnTvFljf6iHIQa7C+9UhBiGfGZ7/BmXz+
VOefdpkyKAzYYUA5H3v0PYeRht2E3qc+BiqZHmjebKe68BUdARVlTW7R21x/rcYp0Ai/qShUMaFO
9/kDOfetTvLgvKCtRjnuC3NeLCkiyPhgHlO5OYKKrM4JrZx5k06BS4owjVxLMjyFJU7n67S5w5j9
8wv6CFv8/kmfQpYcI5tYkaLvWM80sAE6N+x6O6nXCeWdXyqgYfeOT1ajRqvyB+NGoZrf1cdp3hlc
HMa2CnQTWR5tZm8sJqRmRnvZ2mY4835fKfklqw0AkyyE4XOj6Y+wUD999ZN6ntB8rOBMzO7z+yWk
9/qxmADVDMtwipdrCBTM/ir0ngt3vmOxuAamVHfP9y/Ofo2TeKeNNmVtbeX3g77vyoPG9HCqN2Wx
H/Pc71DkJ3DZTW0lKjoSppIHfLyr5Bsx+qArhiDj4Iaj6dSSec8gu91Wli/ZmdnoucLhlI5eAzSW
NkuKxj0Gl0PNAup8a6Tqd1RcSVDozVYH5JUhV1iFCQDE0IdtAq16ArtYYZ/5Nt/lFj8JpKeYqXLU
51Q1UU7Cgz6COkk40slzErotJxHNdgb7VNrddtaYwo/W3kwQWG5w9/yEIkEjy1W/NnAydtUs5NEG
3DrXgtpWLp2835NEuVOJfq3biMYQPU2R0HTeoBr3TsvcFmpRhdFc1gb/0iF6uGM7wSfVuerVrw7s
cNWKgkOTkYBBY6wTDhyKXyBBB4XAzFsAs+wnePMmVxZwV1DfiZN5eDHpW92kDx3cElooJFYD1KDU
yp1768zps8b6X27aqssDkiFEP783oN/Vfn2SdBAaRIE5DY7fmZD+Ye6ML6Gck/P6sFX7bqGT3kKH
OswklZrfz9Nzn+/r+e7zmPNRWFu1zyCuhOGddSr5KAo+87Tv83ubhKhXNw2YXbnZnbldHzak3i9z
cnbWQiHC7ltk0/7gQwDhjl2Z28VH+cB8+GFE5iuKFZQdQXMwHzBDVM5c5ocTgfdf4KQt1Paaw5yy
w33cJtfNpbgydsnGvoMcHXE1j7ksSC6LQxomZzKjjzbK+3VPnt9gw8WVl7jwdkwDA1gdHSI7en1N
krf/swd5chp2WqPLcsQF1umLYuDNoizoLPbw+Sofb0ewleAVA1ndU7+vpCjnMh+d/L6yd604dtO5
Q/2j+wV+4r8WOO0PVQaU06pkPUeKODcel+JxAIAcHh9nkoePs7l3C520iKRSswkGpPl9My3u1JWw
8LbdcmZx0ZaXCYpCJ4Pxae481nIM5w7gvaF1UwQVuMGjhn00YBr/+b39uEf97iudnKENRNCoOuPm
riohA7JLuA1BmnLxNCR12dM5V8SPz6F3650clmTRwQ3ggEVZt2NAQrAVIRxzoX6BN86mvhkuhVcf
z+HYzz3fdYO9D5x1V2RVh9uuTwqkxR5NgfiZPpTKOTvSjwLb+420/vzdQlqXGmblqKh80P4qtSRQ
mYi15ayg13qTfj0JfmzYk8hmpboo+xUzT24Fhu+NZ1+pmxEmtmt+cx7hfOYFPC0GBs1YWAElvHs+
5X5PugD+DedejTUmfXZJJzELg2/TMgd73YfF87BPd+PR2eXX1k3pwh53ND19DyEwH55FZ4Llx8Ov
dzvyJIjpcIUqql5HtIQrADFuHTLGk/jiLGCOz0UA5RW/AzJmVe2RWciKb1m1eMxCyut8MROKPgxm
gABFzvk5eYwz2+k0/R+SmdGeYt+aaNxBJN2d19ZMys/dgY/fj78Si1PTAtrNy6QIJBYjnIPQeOxc
dgtjmHh1ldaC5IFd9y+9q4Sfh56Pr+7HqidvpZXQUW8S3Pe0uSrLxrWVu3o4kwN8XMf+SGXUkzey
TJHHqAyLqNHsddhWxl49NtEQo38YZdRFXziQ2+I29fWbzy/v45fmx+WdvKPQYM5IaeBQWZq7HqK/
OT3HfTy3wkl6YdfdrExQ+QDBEsqnQzwvt59fwrkndPJO9uicYYKAPLCAUpWOKbqBNmGCI+rzZT7i
4emreNOfia168gZqYhDcmjQkao9y3236C35RPvQYGg6X/JZcfb7a+mG/Bpq/FjsFUo/6yIWVYTEJ
nr+mejzVYOcJmQSVu6TZG4vwQZ29+3zRM3fyVEqnX3UumIaM12ylBwSyr9ckGhbjzJt8Zkd8v9Hv
zp9mnE02j5iBcqhisHFx6Xjm7p0JFacA6sqaZtZThpMng0JDdt0ncYuecHIuhf24ufdjT3z/+btL
MTRwMjNoYQL2l8MUWsMxp+1Aw1y97u3Mx4xDe8vDc5Zcv7pwrHPOd8uexIveXIDBmhfEC/m1ki+0
mzxU65mR+Zh+rDoRbrp2ePU6tKC4O6MRl6h1rGLgkw3mjtgybob23nA2/XjHl0vLlKiwuScUEzoW
OFEkJW+km3f1BHheMlyyfApsm0KaLAlKIHbQzS5VNabLN5ISCLQg5rOz1feZN+AkMvV2C49HBW+A
BfigvM3b67Ptho/2O9QHTQqPXhCWT8V6TZTyQydr9GVSzN9raGvbpWc1Z8hwv77KOpRjHIgQa4Be
6vTkYQ29LMaJKSny9jTsBuVAG2ejTBi6ZQKTLpN6zay7VsHPMG2+Jzw/xxBdX10kVKRgjg0AL+7w
u81J+yXrBhzI95N90cDfIZ+HTWFAQx2G7Nfdoq86+Dd1ygJ7HkKrv6zg2a6ibdkONiQJB7ccB9+e
MCkBHx5aOztjdc5pn+u29/TF8FdaXmmhiV29mOSGrtBO6GgX9RdraLcgSgT6vNz141ErTd/kV9VZ
F6Pv3aCfLtACeYaqDgA5UG5RTy9QV5VawIl0ONbNFFlOLTxYkt5UXfJcTFpcy9YJEy6ANLa+9hI1
TFs3tVvzZseKggMjy0OIyfmDiXF7B6eVKQcywRpuC57hWueb3q5iabaQMNCgyVRABSoHOplrugtV
G6/FlFVxxN6q8oCnX7MigyBrDTccfj0OSOChUQ9ydjw24javn+y+g/+zglEhx/tVyOnbfxi6v98K
0zQIWPfrdvv5WVelUtvTmA7HyQHXvkJ9Vg/hIs9s5V/i6s+rnAIhNUhE5R0m20f8C4oOELisvyoj
dsf09vnl/HJEnCx0snV5Q8pBcixkNhwSS5CzFvbm8yV+Pc9P1jipKfUMfqT6essMVX/WjS6abAwr
mBZ20g6WVot7VbkwnXtouQXVbADNXZzzHfu1+XPyHYyfHxuSr7FuTaU/lnvrUYWwwEYcoLCrXEKs
wYMYWFgIV2yhbbfTd+ItuTxnK/FLPXOy/voc3oWImeSWac54g0Qy3S5VuYEmSzihuTgK2KDpdTyz
8PPbfm4LnURDJzGHHjSR4Yg+5kUGt2sncQuzC4z53OF87trWb/Lu2sSgTXZbYaUJ+ASaMI+YscKv
IJnvA4btDsqZVPqX02S9lxbqP0ODhQFi7s/r9dqSWRbX+2OP/Zqm2wmjX716/Pz2/dqZwCoQbIJB
EJbQfnnRrdkpKKzlO4TVTPUWjPc7zu8StJk9TVt4ZK79XgBiBhV4CEo1N51GLy1tj2v2MU/7a2ET
/9x3Wl/Hk0CswUEG6kBol1L9NDVmc1HWTjaR4zREoMfBu0Pe6OaTACFfQvYp7fG/ZHWv5cFMtqzi
27bOfaPut1Bsu3AGGDHlOICzLWgjGNgZ0lVFtBANczwojivAp4lADFdkAGKP527XPYhCQFoe7qAZ
eE3ItwSHqkkTqSJzuXmZKZOvwJGjY/vcUf1yUUKlPojyIskuBsN4zEFnAcUO1PevlvktZ9KHptxu
UG+NKh64hgKWXJQkBQ8sD3s7qg2oDg2uBeZ/0lWh0As/I7CdTr4kdqSPwmOrT9e8k9LZMeeBwLGq
oY4/V7ed/twhTXLuZydi+uI1HChg8CMqtOjtPEqtG+lA2miSEFe30FOahltMQNypoNAPi+3sUu3r
3STzsLHAH+Bxo4a2HcwjEj1LKR6aSbpKueuhLdawygXnKxjmSAOqWiTbcmB7VQ25Wj9MjR02YzTg
pjYLMDOwc4G/SPmgK/kFqDhelzZx0euuU6ubpAEd1dk22jPRI81WfD1NvaJ8LgriW+ClGgzCjOkM
vxKI8TRHmBdvtFT6tWaFfa3Bm2k5Sjpcc6AoSwiMYfDb76fiqmSA+vQHc5DR55vvl+wKNguIUehn
wbIFZmYn5WXfqO08WAs5sg0sQ+IuJlEW/zU++9tP2pHtP/4Lf37lYpZ5mnUnf/zHRf4qecu/df+1
/rW/fu3nv/SPg3irbzv59tZdPIvT3/zpL+Lz/1zff+6ef/pDAOetbr7u3+R889b2Zfd9kfSNr7/5
v/vD396+f8rdLN7+/vsr7+tu/bQ05/Xvf/5o8/Xvv1MHikCruM7f3q/x5y9cPlf4u4e2k3z47TbL
C94917/97cd/btryuf764ee9Pbfd33/XTPoHVDEh5gWRaUjJr7Ty8e1fPyE2ISY0KTXYaq1VTs1l
l/39d9P4w4YmtAp/Cw0RBbpVv//WQlj9nz8C6n3lbuJxA/sGXfp/fe+rf4akfz423Ks///xb3UOV
Pa+79u+/G99neD9ClwWZEohe4/MgimUQuFWe7B8KlUKOYmk5Qhv84Ohv5qwDJlRfM6m9MkV9GK3l
lRFjp9lpiE/bgUduwV9sfmhLjl+eb5EGRZwDBmiQCw2jZI+1aAIqF/mS3STLEKadgMIVcGolOhR8
oQDicBsGW/p6JsVkYFMw8N7xWp5ueme+nWVx7Yz1vcoAF4IBmONazfxkc7Kr7eQOCKXaragyuw5S
8AzWmb1NfYfzt6FIa6DxRekS4DoNpt1WSoOqVImH1G6BH5Ka2w1fFFt/wCz40IPnOukWDnzrjlsY
RtrOIal6t7bhQg6MYm8rsQRQq6rYS82d2hPla93KEQD/JPeqgr/NIyI9KTEBgNsB9IMFlXfFlIQm
GIIuEosG7FZ9Ow4lpqLyprO0W17niQtr4C8VREcEm66nPNvMSYYZ5uqpV9GrVJtuYb3cuFIjgJC1
hj8OA0ODQDlWrj3Cwkb09sHE/2+JhvCvdzfwbY2ZhtlsZd3zfHmBD1zcmuK6TyHAPjVwVM/00DST
2BH43Fa2BmRHxtumlREURe+VRd86c/INDZebUsMtFFNyW40D8GJz4i6C+dMwVwEUK9G/5mpYmOzJ
VAErkx1ApQW4XYDsQjKRN6U7sOpatzriNk0FRGtzP5RgqeAkj2dqYRVuhKMitp3ebUiHn9imdcmM
IdZ1lFRJPkEsoB0x7FWWiGXaoWmo5wygbGQFUJTVpl9eaGno7rCasxlWe2WnfD9BidAtJZ4weGb3
LF0eRiMJZhVlZqnuSgZgV6YglyWOq4zqK+GCQXkRKlEaHFtdPNEbrad3qtNfKuSu7MQFX+DBmLmt
sK/yNP9Sa4XmtW39Bsu20nXskDmAbCV29bZUMvVLc3mWmDhDLB+YG75rQWnx9FKUEPHsohEiIOHE
5geHGfDpM7eFovukT69wc10Y+0WlBbwQMZRvfdZGJV9uYenIIYjUCr9slTxoANBcRcsUYKFFU9o+
5uZBU47+wOuw0ZRYG9QHSDfdFxrZEDgKlGp3nSz9xazXNxq3IU7Iq/vSch1tQqoJpXdFWQD7raLO
Lq9SbvhL3pUehluJa4lbPojBo9kw+JnJtlXZ+4MtS1dPkhULGJDM3Ds65P+Ttkb/TZEApA6XhYYd
JPWdkhXXgwOQ+AznHyOLE+ysvpFvg10AN6wFeZjN+l7L8fCsBIQizVfE+jAGGVhtEij2AMic7KLB
aqJjV4/7rAOMsu+TgwH3QQ9v/heFQW0LOGNY9n3TtRaCFEqssjJWBcg5LfuSCPVp7EVgj/q+H0sg
IkEZGcfSALivAqJP7pvRfBWDAbVd9CIcshEd0kV80RTi2fNobTDR/1Zk5tYqrY0sgY0R6aM5wr3V
yV5mldxBOWRXD+bLkM/HJCsD0yjdUi1ixxA3cMm9VQGjJQxOCza2mGJmL8pobxvMBmEP9cRH+9tQ
K4exMbYYuu9M46LvljvG6Qa2fE8izSI5V9tJ6OhRKf4MIwYLFuXvjq4PQv5Jz+7PiE+Ibps6zj3r
FKBgmGpOUsh7HXu7HF1CjQN0Ch+ZVgrPrpmPK34dIYfMLBouSb0H9W9LksYHN8/nAHed+Tbr+XJ6
/hAHxnNEswjM506q0MppRtjZSvWospl7U4X9R1TPSBPFFQVBnw5OWXAbaTlaL8mBieoJWq87MSdb
DteSKumvRhUZHBT9vn+x/wsJz79Ni/4fTHYs9IvgLfTuGa0J1U/JzsVz+Tw//7brZV7+z//+H22x
/gn77vnrMxKf+PmFV8/5b//Me9r3ic9fn/0j8UEGA9Vogodrqasr9b8SH/KHjZ6js+qafhf+fp/4
4PHCjwOi+XBhIRTb4UfiAydtfKJlw/3ARkPvP0l8fk6bLVSQFDkXUj+qUyjgqSuD+l1xjCpSlnqt
yiNNmog06q4yqS9aOBiqaPs7NCwqETE+nxEihYLryX5fF3aAasbrBxVb+zuF593C1NH0puuM7pgp
W5BqUQ6tdnEynJoszJ0iUErgn1StCpSxRQSpba8Gf6RJmwHDIwQb3o7SrSBHbzokGgGsbM12a04U
/ivVE1vA6IKNeK0PN0yqQclAZYDCcq8aONezwKILPBZetIpEc1XD6JtcV2Vxx8ULMqmQNtXe5EvQ
VvSOzcPFoDV7xdIi1ZiDYuIbgKt91YEvUYrjl9Ev0M5+svIbKM3fqR06CkajSjdxRj+t2T4zRaQC
L+GszXEzfx4yqAHoXHttengESPsurcogleJLnnY72Zpui19csIKJYFlXD3S4qtTsYSUBzQUP5sL0
qZxuBopauobGlsekfTmW1p1AnezMU7QuiDx+M4zg2bTKuCmkfRgdwMusOQPdoQOtSaeoWk2/YnsL
MttK0YY9cNsToOdMN/1Op2Yw5Y7nGKpXq8lrJUYLuvg081YxxLGOa4V9VWurAw1AvUrK9oAj1fDB
KXp0kiRYluIJEP4ZCZDdtJkHDPI9iPihvgwBBmdQyULKDkEXoVXAjEuQDkx6SQCXEXKfK922loWv
JYWPqA3P54b68qjU00YI6tdmtUcxGlAO8iXgSE5k1SCw0f5cK+OkK/j9xQB8R6WEIPui+ulMoGmb
qp80RR7hUw3DaV+dyC6DIajTzBCtJdfmWHyjU2DQ8aCzHH7n6S5zcA7KGlWydZkjd9BJ6ddFHYnO
CvNG2cIH+2HJ28cU96PscJ+5iDKFxHoCF2yIX7TpW6YNPsmBT670awamkAlySZ44m7mBv1cFxH9m
bfp23C+C4D9fqhZ5dIYNxui+bMftTDBrSnrfGAEmTKddA+KAMqI/O3VFsOBl4sBMcjIc2qbb1CAq
TFp/o6IN56UG2Ss2pst24sscI+4MbfySREWGnZiVT5aNLLsk+6ZFLlLVXZiVPB6Hyqt6gtTW6v1+
Fl9KIrcQUL4EiC7uJHHLBYwsWl1VurVn5XRIjekgmubWSRMfovC7RMuvluGQ5Tw2HHgUyjTUkIbN
SXVl4RWeMvOygKWSZU4XQ/qKlptPq+oqRTKO0swrncJvAFsRcOCA1PDGXhtJ0t5nyzkzZu3D7aBB
zNIikLM1IPj9c5wcCimreqTtUarOnaDOHVNLmPYE3SyCuZePi1Z+5QNCmTYd8okEomMX3YimreQ3
yRBxs/YSMh3Y3ESyQTvKdgKVp6GAp7Uu9AtBIIJYw84NcFBz7uEqZ+3F0oAdhtuv1r5t5rcQTtrJ
ptmQiUSmBT8qwHZnVEfAnWIYB5dHOB4kiN4t2o6ZYUY13nBmzbskeyrsg6CwVyjlFjgc35DsBbXQ
pO56yP9PU/8I8TK/qcd7aTNf9Aa+3xTwvApo2/tF14WoWSIjRXAFhWNWMeruB69BSqZM6+MQV8NQ
x5jlXuTF4E2C7mu1wKvON7wDk0m0MA8fDpXR+wz9M0xldzqs4xgM1+zsimnjRQU+Vi0y8M60CkWi
7iY99il3LrPm3qTDIRlFzIuvjm25C8FsZYK2hf0qdVyKrmzxbLY9ZH21SblAKcIyDgE35JLCwNGV
KGdmymuW8FOmhpMLJZEBJSsdWrjaKR4U+WAFUX/RHmlaxpw+9mDBaymJ0pl4rVnHhtKG8AnxnJHE
CsOzaFHSWMmVsJxAYSLqlN5XJtzXdQdNPNBJsRES8XAI1W47KculCfvU9f0SmB0thgylacYJRTXh
mLEmH4b0WiQgnfH+obXBWjOMY5Pkr+sLBrhahCo/ROvNS2bMdS2xsYwH6Tjuu1zog+z5NF1db4KB
hg1kD9Yx03f9hHfHt1nqjUWLBcQV3Tyu8dDAyqMOErFE5Tol7FxA/nBBCN0bq2ULsU51egdFGooY
kS+YvNsS8JEsaOob6KlYYPY25JhY424GDUpKZM84E6biwRllSHtyqQ0JiFdJ/c/M+KdO4PuekXWa
wqBltF65rTkaZqvGqVGlQYoUXojDeBwpKI6sgfaTvhJVtwvMGCA6tx9s6gmBnKo0IwkHUKYTv61v
x454gpCwwqu44Kt2yoOEGS6z88BWnB3EG7oSuvPpV0SBIOutPc+ax6mur1id7hpEcH2oN9zpL/SB
X9ktDDK5HeREPpgLfCIa4kGR4mgyiZMZbDT0mOu5f6h6dlkRZ7vSzmRp7GVDw5SlX6sK+KKU+Pbc
X6gl8RfiMWI/t8hMdDodWoYlkQ6WRR/wRYMZn1w5rdBsdGqQLKfahnUE3MTwu26TiC9pZVyb+CX0
o3Ha6Mpdq9L9ZGQ7UVbjmT1hnryI6NP9U60fbUW0B7/jV9/tQaElZp6BunukihHL0QQl80+Exf/v
1Y8OEb4VN/fvW713oPRJZY8G7dtPtc2//uaftY1u/QE4A8pVm0BED+D4v2ob3fxjNZpbYRVrs3eN
kn82dRX7D8hmQPkapg4WbHTQuP+ruFGcP0z8rgHVeKqpcI77z6obwziF1MHPYX1LYW2oIXLY5FTP
DDoePcR0hNhZVvfUF0sTi2FZ/VVkG/JyWLYzWIyKCvJwgjwV/YbmXukG7KXcOS7ZPMa6zC9hTg+5
ddnwoDXB69CWNL2xkJFo3XhX95ijwKFG9fmUwH1kwbtkq9dDX3/LBW1dwewiaFEEunAywYgFE66F
y+xBObQT9Rc2aHez1kHvFPTxEp7wqBoCR1PU27nsYhiUbpa0Va9VhR7LUdUjZeLgDDMhfGep9Iih
NnONngV9aRuPWQ0chmMsvkUzwDl0nvjW0kC9EFCTKF8wz+Udy+J6SqoIQQuQoCyF21wtRsyRnohM
vFZHB6xhzqrtVlaRrffF9SKhJa90dVwiqVFUHTUAxTXTxHjoFYvsmqSETqIQ2Zo9gu3Z+BXKWr8r
aVxas+KhPanGDrNdbdaUK0NFHab0ugeZbuZTClfwxWxdGw7XULDJerdj4NEoplqGFOJiHpRIXqca
jqwqpfUhndJ920ozSgt98OtkAqZE0Qo03ci9zNWbRZ3068XpI4i1VnHFatjpENqHM9HhbDcheV1Q
cN+lZZ57tQY3UOt/UXdevdGbabb9K425p8Ecbpkqq1SlrBtCpcCcM3/9LLZ94IDu0+O7GcAwbHz6
pFIV+fIJe68d5fMuHYdlV5Y/SxvI26ZXxzOJsboj6a1vSPV8r6BC2PWqxuxl+p6ADZyytmaomi2H
sAB2k0qkRiRM3Y7R+q+6lL5LeUl9iuVT1bft0UBgcu31+CFp0oFPiMQlqzAmDeLPuuUcmTlZkzza
4TLHzNu0d/hGJ6npp4OpLw9iw9WTVoW8Xxpha1qj4ehqXhLIzItk5qdCEkjY7vaNy48PbisoaGLu
9yqPvWMtQuyOkSRcmmgSXFrSJg9LLMTrFVuUMukFOU2V38iuMM8yBkYDCn4tUlQmR5O/vQ91rj19
6o6JBZGiHPg7i6D7RDQnj0qlp66os8kI64cg6fO7MVW1jTTNFYPdqbyIDexnuuKzHiKnGCS58qvS
wmRukXUVTnrkqUk6+8lUO6NhJVuM54FfSOZREAblPC61tyTELWdF8DR3SnwcQzV1tRryRihLg28u
jGE1poNuJOTLLg1awoGLerek+nQMVQsrG/nvtmDVxUM+0MEmRRAfAyKUaWfEyQ06Vd5LRp4/xyPr
Va02va7tq90oR6HXMj7fS6b5bihS5xUMop25HWtPn2DTtGmtwh4o3a4xCCZBcX60qrx0sl4jgTwU
3Srkxjfn2LKjAC8oL36rSd2ymRvLPI6aum9qldiiRe6OEneqg/cooXdOAh+RkmzrfRnYTWCqV64p
xc8EsA9jG4qbkJyKyQy0hz4w37t1OyHEExbzQm/wwgXaTtXzLRmj0iFb/wXj1C9HWT/1MwqddRhQ
E+x9KKgaC6MYcKBJ0DAykBp5VB5ivUgOYu0KpP4WWttctNT0FaNodrzdn3XaTnZSicZ2SCsQviYH
TCYA1iv61kAyyCA4ZdOwi5VWdQbcmUOQhltT5RgdNITa6UKzWLVJusHhsDWl9Igfct500fTTy/Od
ukwjpbTqNyXm86bqJEhk3XjWpNqz8ky0xdSIdkMwWF5mipLby+EARLnaZ6k1OeR0s+diYejxDnMb
W/1HZQ2ndKkWbxp5F0xRGIFfXI3CNO1afdHMZJUCZLmv9uGtjXXDhkt2lIqhP4ij8jHreXenXM0e
vWQg1GgoQ27ktt1VA6wYWoR0VySPVfJS10rEwKfTLsYidI4+01m3i8i7baQPHDcr3NJABaajKmzz
dzAQ7S4W60tnjcphnTX3DcHFS/uSqep9biSLu0ht5g3CaNdRND9lssnJo84ncYjgWglsy3qzebTi
VNwX+QxKg/0UnjRlcdomYZWvvAcq06UEXrVhjq+i/Izub6NLC7ysKJcdWS5wKZI9k4RWAYFCyDjz
F87GiEfEIk9cGewKpKHQ7XnW2NhHESB1ITwNK3+NG5CAB8HD498cosEseDQSbNbJmQtZhTmTbD2k
cmjZeWiIfkRoMyd2sE/Ety6nfxS0lUUS5/mhTnkWxCX9Uq3oXtQpJj5PloajNXdO2uuMIkr0h+oi
ffX0G04rGorbt0vvV2lIs1tCZxmbeSAm2mwduX0lrPyYltMON2PlDCUkRC7MAeqi3SthehJG4zrG
hEz3kYHlMYmwMCXBuc/8NOHCrjTDqdI1zrPtN6OKwrrjM3ah5RewS3PVC+Ou2IRFrzulMXB9kjrW
l43s8Nm9EYYRkfLHi5Hb0VUH+YUH4rJPc9oheTXYwGqA8CARgae2b2bW6/tOVx7BpAleY+R7RoHM
2NTmVTdH0odIp2YkBDajTzYB7lK3GCEmLApUrpE+e6omN+ag2xkVwKo0JYxdR7hrduU5SMrsVBVA
8pIiUj0Bs+kArN5RgruiHbdKIY/umoEu1+WxNYV6ZwR9ZcuxvOytgVw1SSFjif1xf6ClAaQrAXxL
g46MuqzVt0JgtZs2nFJ3Erv40KsZuXJ9PvGwCIM9UyTZ7iMowJCe+40I+tvRpDixS2kONlOtAu2T
hJKRBXzIvKyHI202nNZePgBbV225YZInKVHoFtU0XuGTlPKooXxR7kZOAxtxmHpqDaoXbT2S9KFs
IPxY11JKZran91Yt4wHuWpkjS32otIaJ8bApJolHXUTdIwUwSaJznc+napafWPkTogOVUvkurPSS
9SznJP0hsQSUoc9F6bTFDuMVVEJvzaaDWQMTCvO0H1c7TfbLzgH450kIrES7JWoOuEAAicWFuUNu
UF+7052QelF9lxiveMoLnNLiGcgRSOKgsI3MTSzALHjPgRd/CD9D5bdE213U3h4Xf6i+rNo2isMq
Cn42jIMhnUnCDiQkwjZ75fwTKHaUby0g7u0+7PfiuZA9HXVq7SBF7aITCtBM3ErFBlLOMrvdDc2U
PLDA9xYYKmynUTipWzU918k1UTaAAaUJbasz5z7EjqG1IRU+TR/NRVecrj0Kjc95AOWmbreN7hdX
w3QCk40yUHw2woFTvYhnfhfMxlH8kL038qaVoRceyzfHkDczpveY9R+q1J36wBsV9M4UHDXTZZYL
HpQiQJVt0DNh5TbUg9UJxoqFjGL0esNuSOV5GwXX+o4mW0UGdtXaWx7Ywx0FJnNAYd6oRAoGLlP0
+GWQD3np1rf6pS/sCdlmZWfVUQcRWB9rASEzPopjiPAqO0aTOwpnA67w4hvUTUrq9VgsDkHlknYu
Udywcr2h8aVpYLsQHEAQp7KnkUeanydpl6Kt799H8yrnhAWhG0/hR4EA4mEF5KYhwJUwM4fa10mp
voFZfWPL0uoN91wmbxQW0PG554MvfBJpb2qMqH4oHb2sHVTL3Rg4XXZnJBvZukSpFwdOeQNBCNPX
XulQLBLcinCdnHGsW7BIrTcBCQOTk2onI9y2/Bb7fnbjprG7t8rgs+ZI4xUe0ldldM0cUhJnjq3k
LtxU4FhtZLNfMW/MDPBuAmNvc6cNNxr0ZPhdwHwDWxvt/LMy3Dj3mS9J6UYNQEATkmXPty7b55/F
6DXvfIMmOMIyUMiYXaleHkqV7qRr+x6+13yajUeB0W/oyxAbCjfsOSE+xnk3lI/9ckKr1yV3Vvhd
B/hPQq6kg0n+cHNTsne9uevUJ017HuaH3npJ4kM17Crjvh/vYwOGxvLM02UmRE+cv81JRyQR23rw
Vs+fI1mJynuV+ikhvyXkIknaRMNuATjT3sQGaWLw1DafhvxcsOeeriFW5DK7mPlFi/dzdtRnwc3l
a2NwDj8MouAoFK81wUbWd1ikTp+el8lRNDdszrIrH83sfaSOVLfLvbiuUSRHluLWqa+RtRl8Weoh
sORMaEYZIXnDaG+XDuGuwgvgLqH8UATaYrd6wONS6rZyGsZQRYOvotDGTY6idAmk4iiTM6rXIG+j
ixB/KGo5enH5qbUuiSh2oe+MjmERw1LFlI5txmO7NP2paTdNehSmF3/O1v7TFgThvkSiI0WkVtQP
4/JZjj9dltoLgpZIRKOIdZ8IAmcYRmp9wGH8dz8/59NPDe28YCUVhMdOe0jDd+kEzc2ujIeGSXfJ
KcdsxnNVaBqNYLmSSK2jts4yJM5ENotASOncQEYC42V0o2dU6kWjDZINwc6Cwmk70/vpm8VV52Ab
BOMmir9ZAkwgySdSio1ZOwHCPJfqwJVIJKg2HPtscc1Gt7edEPkWiUNsWjAk57YIJqwUJR/Dsitw
FfdMpcHbZtVP2BIoS+YAt44Wr9uot4xEwgpwsilxq7UaMo7RVqlG47p0NVALY/gepE95gygoN/gN
CmeKXoCOZNyXNbdwWJq2Vn134mOtog7SrunykulvBhndKfcbt8aMmtKEiJUtb21Zeczw7aAAwYr+
iUDYx3yqvCWli9mVOhRINKzi8lXHH1H1LDDhr08mQtAMFvzYiMimSzemwoi1cWdFDwlzuXlJvDSk
M0p3Q30okpNenIT0EHYvjk7wV0wXLtgigQB51ToE9dm9/GWqX7pFFLTSuRMibCJ8aIUKOxBokuxs
OnUymtEOdHvop9k5L2kQxsRW34gBLTtOf+QKNbWs9JzqP/MEUK/5rlhBFpk7Krt2PifTNqu/x+gm
lQ+tpuAZuPFGFPFp1nb6cmPCYvQ3sdtGvBdNtF+Mu4CU5E3Mx9/p2zD2m2I/GK/G0jpxcDOjmxoe
S1S9k61JO6knD3rjquZX3R/S9lBRryTnlueyvomq47i4srEXdSYs/ox+g/EqTbEW25q4TUcfhBZn
XAP3E+lc7Fhg6jj+YT12Rx1cbrB1o85nM9YzkQEZVlQ/C4JWYV9E0jZa5n3eernioJxdHEMMnEzh
1tK9ZbzF6LGm+KQ0N2KkrIeK/daym/IHTr6lOKjqLcpe1msjfNG16xxv+oxOcpOqL5X5FjUvuXaf
0Yj1+VmQz0h32PYtFrtlhMKcUAWPTcsulKFleYKOao25NYOoOCqFsLht8mTIM6z8HKdvHYZ+bwx3
qsSWP7eJjCXksuL5VmQDQLk2OWQxC7/wuEsKOEUdL7XOniR55j7whJpZ++DCpLxv1pNHiP2hZmXY
rAAzZD/KZWbhXTR3pXmjeeZKmN1lfpetD1kvnLp/axqltguj9Pp5VSFaiMADL6ykW1FQ4ifCflag
iKHOpiLp0saNRXPXB3D6m7vZ/DKDW5Lv+dSA96Slizququ/m+kVWndm8Kcaj2LjiOtj4jNOLXuz4
tQb8+aM/JJ8lN+X63NL2+UxRfXBUqpD0WMv3cX6mGo0Eugj2SU5SembkdemBoipvT73gSJxDvKyy
4fM6TPlm+hAULNbbUAVYPTgJAEriD5sXEpyd9XugRXsnrE3UD9qjkvZObz1qks+PLSI3vw26s+h3
1UQSpdOYm0lxOFKGJ56vyeLIj6D6pclpViX78GOF2y7xmnGvN1dG72NyqUpfkpnQcDOjRZw/5OYN
CWqQvc/MHNYqgPIJMUJofvUQBls0AINTIBAwwh1svRDZYrLD2jZqu2R2zewpFZDlOdQMVEI1kOfo
gce58pFhhpI9I3iIlaMZHh3jA3CcWbFI81PZZaAPbQc1VNm6lHFqBVWwTgPmdRwPevSVw5T1BREJ
Zp0Lnzm6eUruuJZQdfa1Z7h1d+1Uz9WKIynNmWCbplN1W1V0ss5ruahDH41C3Kw1jW64huZlzQn3
YjTfN9ZmMT1r2HKJLNZ1VnZisYs7gsvuh+S+6FyqQ+SEJ3WG4eQI+TmPYVI7Fai+mYqHfXjoaMtj
FiKu3Y7n+L7/RLs4faMbrIRtX+5wUAocZTJiyENw06sdgd+juuMoQV/SOzWE3NyLnpGdGN9j65ar
9pIaC+WBtMMeWxGJrd1RPNEBDPIJSDIKBmPaiDfliakuH3LGfIp6mttgSA/mi/jYMwF4ZXHYILH7
NsWrWfEoASeIvM9GjynP61GUi9c5e5xaO9A8Smm4fUb5UHPtXaeABeHLwhJ1wtbJre9oFH1I5QYb
ZN+wMN7YqQAS9Z8eWk3Fc4LEeaakaD5Kggg8M3+o2LIme7FDXOzS/1fR1tBtQmJJiYjbbcv/yMnV
QPAc7WmDnS3J9l151UgfWp2hxbzPgJsAZqrJZa43lsSnfmnGU5qfGsAco5MHHjcCFzkZP/FFlQn3
oO9RqA5TF1OdbL0p49YwOAdCL6humkhlzfk+O4uMAmffRS8ECthjdIgaZ8q8Iv9s0o3Fs8nwSrZZ
95O+FltlfmK+g5jYqXpXJIG7fx6QIwvtRhJ2bjO85fVWyhACHcL5KOtnlVKmHNm5BduYrqUe7kJq
RYGvmJ9S/TxnlwYtELU+D4RHveIhzUS6au5N8SHQzy1psvm7We+H4Tgt4II3i/EiQF+nEcmfg/yU
Rd8mir0SBnwUPmrN/dhslnBGBwPGR3qNay7bnUr8ppD/5AJ8d3PXSTyBOi72Y9jsS31jWm9SfGeU
703vFhSO0/oqN7bUN05Xf3XdTUBGqrisECGSrDwuf6GYFSsv/5zhsvfWjgkVZfUCTSxw82JbJ7sB
Wqhb/hAXx6CZIp4OYYq2MADD6MDZUSU7nWyujOo0ggp7x8FYZo8Fp9GAv1H2Wv3dNQekL1cCnKkJ
M/NVTo+p9pPSIukYQ+uHdL7x3RmUkHw36fc8l2lsxfQKbW94YvoQL9cuCMk8ZuX9RklknEfFs0pf
K55mBhsMMKb+rEwXNfYCIp6DnZ6+0/4y1jNU22FUHDS7VKWI9Udr08IKza+1vndagXyVe67EWt1S
ffgVxpXpGyalM40nOfqok3exo226xMUrd0iv/4cdMPrMPy0h9XW/xDLNkkQdI5Zl/lUNgPq8ChWp
zA6d1WMCNSF4dbU4O0EO35EdxE4a1mzg+p7Aa41ZVDUn8XmMKIbHsfpmtzM6Ra0XB1OB69n0ewWR
zUSTZKRJfhBMK3SiQGaTix4Evhie8uiBFfBEi9/SUg6Ys8XxugwV126Q3MbotY4by5Gqyhe1LN/z
0GdUTeG+OndlTyiLvd7vmpERYlX2EW+NmjqDhccgoEORmkJ5GoD3DEm8UeRwN6OddoDQuzPron0b
siESRUYAZlHZ5TAtp1aQHrqld2Ixy65Cr8PPjubG1dQ6c1exdh2Ngj/2osoxHDdbYYb9ErRUJTVP
MjWJn/t4+ZEq09ygQj5MKzpkCqdiX6XNjMhOef8wBYeYRTG5MugX+71avs3JVZWuGVZf5oNH2EfT
wPbBq8kBoqHk4WTug/y1PrTxOYme1OAlDO5rZdfLHyLDgXpPmdwP947S+f19szzV2jGHbVcf9eyx
eWJIUN4q4Uszv0EzzlRr6jUVN0a7SYnCyJllJiBXvQHb9rxnqVNlB0nZd/S/JTh1NvcHwL9V7Ufc
vRKjBWdGIc4h0J/awEBgjgrOFcIvwfCM5K7Kn4G60XsbGWfIJuxIPWS+wJ1fH/TZhTNMs80a8jQW
xsbRnszEgWvbTR5HLPg3XhQ0GHZ6tnk3mjYf7bAvg7ehvIawNuyGcoMZKt1voxrU7DUijdBTc8Tu
Y4pAgTqMTLkkE+87KC06+uZiqpzUeO9wZBTdORl7r4ljetWCtGt/aJ6CGpsDPQLoyEGOthb19ehY
6qcoF9SE3exMw8AAb4jQiYmYSDM+M5n5IdwUKitF37bIY120ZHC+6HvgY927IbIw8TRQy/BJyqyx
9NLT5/dSPRnucn7FF5A0F9kAnIkpmzHpxmB0BFVhMRy/oYIfPXBePC9QngknLX6XzFOXX1ulYQSf
2m4kHRKIeguOnguTq6MpfbRMiVwJTeRL3PL4U54n1/BD4p6hNLCk0GqSilwiy6PBbrMHQkbWpUvt
Z9r3qcQTUn4vxk7uf8zxa3qjINWaU4jq5i7qN1yOVBNwnYvdUJ1N8zWLXb2+OyNbKt7Wuvzck8Is
6FsJGDgPlpOL0SLi7gkOOk+0KLST8ja07ywsleEyEtMx1iSLTat2c9WS4UqJvi70LQ7OUxuzhh1p
L8W8WaCE+yYGCcKkk5fBzzUAOFBjvk35VvcP+F3UF9G6cDaXVBMWY6gxeywzzVaqD8ZmDYCkwOs5
prWB/RmSzZpdXZTfRJ7a4/TFo7aY7LUPn2Je7PglV3vsLhez3iQ6J60IIo6RWMWwi0wukbnpVuO6
bIbHIoNrCRQamdpsKjZmxoV0L9Stg/6w1L60Rm669Wzzz9Buedv6CtOe9RNtZRjl9GDznilMbpwi
mxyWId50bxx7TMqT77gBxW+Ha2L3Jst2Q7HJGxeARW7sk/JYlm6GH9P+uVTJPWsQqXnGwsyNqJDB
suyQmLXP6ySVmQayEYfANnn8ChgnmPY4+HxLJHSb7i6/1zUvUvYVMq30kckHgSeYh5hDYnTKss04
3KfwbEvfFR45gtAG9NYl1j5S30FDTIjhNIJsTq4tu7PszDxITx57Rmrkfe8SpkTx2Q31J2H0ktrX
UpftIMXFZNzLh1JAxenxYWyNfZodlfG0mIdRBD2oORYiMmlbfzWkxWRO9e5Kql3rJ1P5iOyGZaVt
lE8ons3+vi5eZUbw1TH1g7uaFvqzQc1LmrQrJJsQCURR+vw/c+vLaOy3f1CM/AuN2F9Qo3AfMY2h
71AkoqfATvxVXL6IoLwbcgAPYZI8JObWqDU3ntA/a1WGUKt/TwelteeaFcgK4WebHKqiP61OsWJd
HnJ3zhLA8Xymh2uoHQmXg+dTTsgqwoo11D9f798S+zyWOf/81a75J5vnv/U5/OmrNt/lapps//qt
/heaIcz/rxLI/mAk/ZvP4Y9SoPVv/aoCEiRD/0VdM4gIDDbwzf9ucfj1j0xqo99Mn3/QAYm/yCIu
BqgdkoikT1Gt33VA4i8SzgZ8CZaB3NbENKr8HZfDP9kqv7trTDRAhkYOubZKeDVZM1ZGwB+kYkDp
h3rKFeWqmi+TdVo6BvR7rToRTyu0r3Xrz9IpWvufxQuGa7U868Utka519aEwLK+OKo/TgWmr1X8L
Qb0V9Evfn0jytYKjsZyC0BvkfauCXA/oh6engXVZu2Nco5fncNigTjAVZ8gfWNB2C9x0hz1Qq3nF
dd417xWHBhGI7CK/V3jZUFy5d3ukRFTSbGOLo3oHEB3x/7bPkl/ZMH/rkv+fXc//1+zM8mow/vf6
tocPjMD/uI+/m+b7HziX/3GK6/47+7Ml+p/f47drXNN/EbGqKCbxUpahQpv5r99sPAJ/hMINAI2i
SUgSf1e6qcYvksofYfCRdGC3a/Pw/1w8+i/r0Yi1wES3xNfIf+f6/hUe9PsFjigdL5AGeGHNHUaN
Z/3FPgY6hCyOAsZ/UhaVJ5fjnTHGL/xcv27zowGtxUYewKNewyBaMouoov6U4yV0qgFildGItClT
fRIrloWqnh10aX5cBCv0hKob2PrwRT1hKWph9iyL88MSy3eoFJgGlNk72gzRBtNymta5r6ZQ1BUA
dXBv2/GUfPWJvBst9dlcldmKajBtNnvyQUFTNeUZgcqzJeFkwR/xIM1uEvIkbBOIXeoU3tCVbaxI
JD9z+crEVrB11eReVIwbP/07T1l/hgs4UtgLTpvqjEpkWAUpQ/je6j2oqBfemjsiLd6x7riB/NVE
BpEzRnlKggDmvhbTqlMsjrP5OSntQ1YspSuMRMhMIsOtZV4WEAnpqZmYp+ASD0lT7O5juXrO+68S
JLDIwkpNGwXyaf2a4cuzpp2QNajLgn3X83wbE1JOBsOXwFF4eZfeIj37CowQwG34nQdK6I1pCK0r
diTWuzpftPTTj6HsBo1hAuOxAaBRmYRPlnCeKuV+WdAVDWb5Ps763UgrH4XCT9vFX1FgPtZKr2/0
3tib8FoRw5UIA9jRjCML2LFAJYg0BZWJ4GKWhX0BxFVQBcw6o9mydWGUJdF+qoYbENfklOkNrRgw
3m7dj+oxYy/0iLIe3gxVu5jDvoWrYkOZp0bNo9tIXbyYSeXU6447rTI3xmFlj/FPG+h37cL8ECWX
0rEsyIvsXrCWl2VsLUfWuCyMCitygYaovwwtuuha9FKxZmM789vjvWSO2453Q4+EhTf5u2JGzfgR
M1PJgAnZJKqNAvTSYo5uE4K5isgzEa2Z15ECH8FaYIxCxKK6iGyljG9dEKE8i+YJkGPGrkW5VDi2
cZxYNFdt/R6V9WoSz3nn1RkFyjemYr8RTdIFJEHZcyU+KV3x1WWMPBJTaO5AiO3UhJ6ymCgxU3eW
acayYD51LT2CgWTRxUuzdpQE4hWQXbM8eZAWnb14y9cXvFQa5HtNWaGvjeX25SC5ed1PiBxDtPy8
x0WttN4xTJGhNXN21a380qIDtMVDocL5CNObLOMlm9RNxOS8nCqf6MjITrLqARW5HwvWxYpC+OmV
aXcq4UYjIoAIgV81cSqEFdkn31iMd6ubR5WK96Vi31douq/IwT4qrG03i3aGrtwQJ6rzdHyeZgMd
Sfq36FKcZaYFugZysopqV9f+quvWC7FUw94INyYCNmpZTHqJvtViyFuCmv2H+A/pz8ya336aYuqa
KvNT0eH+uTQYekkShCgIN4ZJIy1a9xo+PoW3Va31uz7+XNBwtmJ6hqF6idP2P3F81oP5Twf3+sta
q9HMlGB2aX85uItcUspSk0nAStNbAZ3MCbtjMGnORuB4dn79LHKS6YLsCJruKCx/Lzn21zeA2lwT
1+eGaP6TTfWH2gi4hprXmhRu0mE4qXJ+DCN9t5ILZjXzyiD9D2+4uVpK//Ibg/Lg6Qe70MB/vcr6
//DzCkVsm4Hzb6MsPFRQYrGOPncVJ0kzwlIQi8bRomWnprXlwMV6NlrpUuAdIrZo35vvc6tutK44
lM99HTumqb3n/aFOhud1ud3L6VZhPSQI6kZNGXbWWefSO3vSwlFX9MqlmBH/LTjc2czeWineh9V7
uYQ3zQjoEsV4dCgkPVAs71MmmLB0pONcl8gQ5uWuqPKn3sqOgRk1+O7Gj1qxHnNs2ZwUYA9UPkIv
7k3NiVn05zLrsgZoR/NKnhSJSkRNbKpeuuQzE/EmO6mobTKriTcZhjZGxsuzXGMHNeXndCYIB4dF
pz3OdQyMFYunrJmzI6XGrkWoIvAIyxgIw+OwRaz3zt9vhP5nVeG/63L+1Ar9657qf2EjxBCX4mlt
Q/594fjYF7d/5fr+/e/+WjBqGi4H3eDWhgBGFbg6Bn+1ffMnEoILgt4MS8TivSYB/WaNkPVfZFNW
VMzpMj0PleRv5eL6B/jVZROrOJ4jiaTtv0G70VV++B/uQSCJqiLScfGNLBGThfGXe7BTtUZbOmw/
ykPV7EquLGaA6CYcSAhshRbLJrJCwnCNlpHlz9Dvc6Zyih+jMEobDNOOehk9wdaOmRu5GWoBh0m8
x8LNxw9N8zNQYIBo1501eRt1opv5Jo4AN2eOVCBKD2wiaOJt8gZOZen+Gb+JVpu1CTnZLjNnxEsb
HrzxVr30eMF9w19jEVSkbV58CXFUecIDDK4m8iLdy+/Q2zZOvtgMC0Bdq8/5RfHRervycxs61oEq
ZA35xI31wDzUrc5Ywt3Ssa7rKyuYG2/TQ//THSmHs53oJa8I5lzufpYRLqNxfkufQe49yhHLDp6K
Xad7hZ9u4e/Y47Y7md54AfMvs/9iO46UyUGXXwrYhhkm2tNGLaF77BMv2wROtB+ulCh2Hm9Y3I27
yoku8W10uKmp/nC15neq019aRKyM4Cy/Te6MINmI333pgRerkKLeTf7s8Q62d5kf7GQv2FT++qg4
yG+8LwnC2E3hlhvDn1zV0Q7pN8P6+UneI5XaqU67IT+lvS4vvDP8OMm0cbFu5xMSpuGhPoUn5vy4
0C0v8TvcB465IQL1pXQIievszmsO1kC4kR9ux024lyB8d3ZzFFGrOOv3EXfhe64cIpTSfu0kvuXN
TyHvTVbUdk4iSjpvck3CLefko9NPTCqdDod4eT9LbpXbyIynHageJrFbtgXX7Kf46A7ZT8LVEx+N
jYHoZBvuzWPoQdbJ3P7NTGzp2rqTFx7jd0zRPsxnHzKKx+LpJu/6zzZGqu9judxYH6OPKd/R0EPI
bnXInis7dMoH4TR9VM+6X330LnmkGoqDU8h+617YiK/FVrh0yoX9mDA7+o6VCKKvV4l9evxBKHMn
76vIQYaa/KAGDr70h/4tfoq9yI0gQzmUzPpR8GIHVLPTOFwIeDTK3hFKV97VVDgSo7e98GyErAjt
4ix4A7PB3ZpoQH6RdKdtIK05xkZ250/tTj3jmM+P5SnesEHxEIo44uso2Auezy2DBSl326/kOn8K
Hz0hMG/9Z86XrADJ6K59xLRyhda5ZSyh5plbqY/c4o70jDNduZKZnj82B+PCJMKudzjQN+ouZ0d4
r9ojq39b73hU+zAFnGF+QtTZgogawMFs0bSw9s4wqMxEioEM5kt3CFBl2Q0sXlpyVu+bfLM4la05
kZffsF70D8VVWxMATB9qnuaqr+HARzFcUtd6oxNJCwSfoH9ip/W1PYr6FySn7uhNZ30b+6iohOPk
l3cKqok30UCV65JJSZXvzrqrfFafDIhVdZeNnly8sjp2AAxNTljt/pu68+qN3Nqy8C+iwXhIvgww
xWLlklTK0guhSPIw5/Dr56PtO7b7Xo9hDAa489JAt9QVyMMT9l7rW3ni1znXch59Ic5RfCiFJz39
bEQH6frw+uROHtxDtmme0LzUHxBi9+FOf0UORnG8OZKl6VdP4CMx7yLNZR+xou+krtwTzX/CNT06
ICg6PAqVa7heMNxD32mOfCuynXAme4NYd0e0b+jqbmh/+IPf3tcnA1TAKkIi94yGNEGZgIpMHkJu
9yfvrKGibNcKUeeMnwOO/nwvX+Y7zXmMzvEjZ8bmO39upnVXPsXuTTnd6HJHNj3RSavIvNVVP3Jo
kdkP5nR29L2iExR+TP3IR6BHNR3xHeHVyor9y3w32avfrY3/ogSs/WDb/XWhoS2qUwKkWfrDQuPM
HInGOeYWX4AJr/BsbCkp8LAaW2tbxNvRm/2UibGK/pIw8s9LnAZMzqUyYlgQOZcl8HfbTKdQNNlW
PR74nyOHE7/aRmskh2dnteRO2Dd/Fc2Au/Ev3vKHL9ukHbGIbmeu+42xqW/ya+2jiO/HTZnRh/P1
s7jFuJGtOl//pr+00Y0z+kJjxXntBg5Ae4q23GcG0YV/Gbco5NaY8aa3knb81XLfc8+4gQ7pCZ/z
oUc60L7YqgzB22DgCEyZBCkiswz66wc0iofBZ0UcZs/IGVxecgzQiLlefyrJ5DP95XnS1una2PQs
0Vmx5WN5podaL2Wm3gRbHo21RbPzwsrTvQ1fQDAqNFn7aSIxm7X4Efseu+UPlhRv3HXtWr+eXmLB
KwQ0Pnof2bO9LDd4ED2cLxYC9Tlb9dyGawbdxjnRwsJnmFzK9/kJmPiovkcsbKbH8rF2vfQba2LR
70J9oy8fhQX4U5p7YuZ3488rm7aiFf4AEg0F8Sr8Gm6r7YBkCxX2NrxAk2Jj0t6gz1vbPoXdTfSt
lugZTrJYZ/RG1qSBHpkAD/OtyU/1zCt36VV8mq+Kn+fM8jF/n4HGZ29mfnJp9qxD3/Xss21uIe8l
LCGeba+aAn3yqt4TJcoE8N4eyN/dkw22tV8nZG+rUdv2FZ/Q9OfdEqVkb3O/2stjdKh26UFZd6f+
21wj8QD3tJp9daOu60fSYrEstdNqWtfetFMI6lrpt8v2wb7LnqbJi52129OmdtKzvlZ3/RY4xIWS
y4qyDr7LLYowjucer+XVZ4eqtHoaWECxSJEiReCvX/sa2WGbBY85PQ+nbD0d0dn48mH5n6WXbps7
Ze147G28BJvDChad1+3UbX5uX4AK3KDX5re3PQmi+8WtsCybu3H20KGugc4x0SfMc+VD4BlgCla0
reuHuvZgIJCOUl6xe8RO5CEekh4eN6/nlM+AVu5jlNPywmXxyi0GioM4dLt2E14LP2UeNva1x8+Y
ct394vOTL4i6xtEb9sHd7GdrZW8+oxzfoiSlb7fP9uraPKKJ2i4q+hc4Zmtto1/Jff6B+vT/6sT0
/62ODhkK6gKF6z8/Eq1BbxQwse7pFDVRnL39vk303///l2MRXLif0DWDflpOM+5S9/4HDWv5CTSs
JdDAWIzfvx2LDPsnukB0cDTKBQspi/bNrwej5Uf0nEzsfiq+cV7w7xyMtKXa8lttwnbggpqLpMdR
bXhd6s+1i98tGrrqzoVipcUlzL6l+TCqNVK+Zg2/izU794ua/SKFaTvl/I88Kidt9HdX7l8tmD+c
zP7pEyzlqt99gihoE8Ot+QQVws50HoHVhxyImGrP095CO+dUl7h7JS/Ua4WGL/vz/2ok/+tj/R9O
/n9aRPg3PPz/j+2i/0zf3/L4DwOb3/9lSOvaT3R/GDMWDIqfx/R/D2n3J12wA3ENCgEUGLnX/wDb
6j8JAYyAFidjdxnbv41o9yf+ibxBRGX8adJV/xtH/aVm8PsRrWsOIAVaTAYR9Dx3P0JKprQbyWSm
hGyk0VE34y81b0/p5JznKcNWYp8MI0M9wkKOLjxpAzbnSfxFcPqJvtB7azYEXU8nKbClqQlQmzFA
d1SI05LBZohnBB5sdA2r8tjm/UUdGCbED88jmAgVWALZF7B/NSpZPxRn52Qc3TpIIy+PshczNE6l
i1wTnw/JMQj+jXM4aMEaeP9yGlkqiOQAo2aFHxB8KQgLD1VPU0BY+XqcleuqCy82YaK5OnwFpUse
JtQV/MErNcxZIgoULNwuZHVEfTpVYB5atEYW8QBejZGmUp01vqEHl5hfbLW4+Yxe/YgUUW2biqrD
pNlXxOURFeC+m5pdeIZJA6lMqLQPPZTxNm1fI5HBW3MR89QKeW7zXY0QGgymtp4Vp/XcNLkVY1P4
bmJRewzyLU01B90neaPooDvHLlHUjQ7tMflZaTrFlAHrd2ktMn+H4kggpadqSJCAS62mciAJ3C1f
1eKUTdjOWixNa/aoSIkSGgNmL66mkGtTJe68xjd67ucs8pMyJKPCplGkvOsJ1VhQFg0XlUNPz9eM
+s7xlTC4M9PiKp3q8haKwHk269txIgwEqAPGYR0X2iTXob6ck8qMTXi0FJStylgnaX03AG7ZYWw6
gYsh3xX2sp84FEHVTtsWeQBdgcScKKcAU7BHaVqEoKLJmIrZPdf7PMx7/oEjLh3LjdBfygDYLJwz
OoBKAYpnwc8kG9dCc1rhNpgrkr2NyT4GFRWUOEFGtfys1OudqcDjErhcemXeJTWGudA4B7n6lVjN
RXagPFRz1zb4w5JM8P3NbdPg5Y911SuFAWQtdx5Vs/tsmxFsemioq1ADTUFRa3KVe9JPJbWSp4BW
XKzs4bxBtQpSY6e7HPRiuqB+IJr4KOZ81drvudGGXthb0JSLIvGEkz0ryYhXQL+UFW5y4BAHYSZ4
nt8U1f7UasMb4uAjN4a32HVvByxiue0+ZWcL/PQKVAQOGfc6bZqnsJseJMLBBJUgAX9Pk5FsxiAi
Uqe30SsAclZa9VjAuq2wxgALZgtX9Bgmy2JlDzVbLsSoRaBsnRATaqbdGqNGiBefcqVoNx1oPDlU
j3pJZ3auDbRn83Q1tv2pjUtIFqheDWF+l1N1jnUKVVON73l+Em6HwbCk5mdEdkrd/zgq2ZtVR6dp
ITZY4thrOBLMNt3p5XAKhHtKNDjY02PfBN/RQLY2Fuv1zy+T15fJRmolLX8oldeqG16VMmhXfYGv
b1JgRoYwgGPRkIGTHfsSS4V2lbcKtYNJvbNS6vkCsXZ4rQzIIusMSWhdfCjh2PiTjVegx3GVcDIZ
Vd3rxVACzms7PwUD0RsDeqYiOFplcoTXfVsEi2U44MyUCS/S+4uRpRzc4vZ5Kjhtl0KAQBupqGji
BICQLGMX64boraWs1uCU7c7KPDw4CeNAtM7aENO3iKhideQ0RQ5JAnVJ6G/CCBnKRxU3Ia4rGE9U
Qi3SmSbtOFTNRR10hkCR41KNN7LPOfpT2p1bvHU5tZ6qY2TqSWMAlHZpXARnE7oIgOtgFTagBguX
MkQ3Xfd28KRM7bGDRZzCu1qlLWe4qDO/82kzFOHDZAIMllhUIjhSbsms0k4YNrr60MfZe6Nkh6CP
7q0UKlUc4EmP43NeK09Vrr/MicHHMxH8JhAPpJ0ViBLMQ9bCnYsGatFZYB8jIbBzYgHoifGCn9E/
lYZd7Sdl38wONaPJrHxLj7Z5Ld6cJHxOzNhYxZH+UJX0RmSkriOdG6tkGHJAW2Bftr0OB01pqFcB
x1w42LthwqZIJpNo3Q+uDiPeONY90kekEy3mWJpSEZBlOsaHWVehLI8mVgo7aHzFQHHfG+LTiWvI
WbW1Td1xpkseTodIQembymQPKqa8jRUs1hxfyZ31dDVuvVFhzbI7+1XJ+/s+awx/tLSLAe5gavPb
VlIZ6Cr8qyKkxlooh7E2P1rlJiDPMs4SAuBQ6sbpoTeLS8EuMe/APkYTBzMuNT7CPoAGkGC41oPZ
XA861jbdvolE/Z2L6i2XKYi8XBiEMyTI01UcaO692/X1QctonCfKfKza6dMeHDYOBeiDXDVPikyt
A8/lm13Y5r6M8TXkjfDqKNY3jkmJIW9SZtsCV3tcavOKpKe1BQnT51Z9GgPTiVQ3SmA/lBJXhjW2
De2AmEpoJz2nAnvayhjfmmMfa+A1nkGG50qr9DvT6u8kKB6StrErt/Qn2prpMYrsXUIEh6oo/rxy
h8SGLBOyG8n717C/luaG0wRIFKNEeBoXFYL1gjI2R8/GVhaygPPuhvnsw8fUVrrbrCP4pFKmL+bE
ExBVGLuIF6Fvl38Chj5lVXU/BURDwXFflb1+SfL42tD9kTYJnfHhS3Exn1U4v4yB/5arFcp+iwjC
2d22ItxVxps0BnfVBOWDEuyNvPuOxhh5bIc1u7A/On24ItXv1W7Cz9LpQXloe7OX77Nh1uSw8+SC
jYI1m7XeQBJtYR0EVvgeso6pTufBrq86o9/EBdnsdZhS9aSjiaTDb03AFIWG1TUUOLfoB30bE1XK
4uImg3EY8CVERgVNs+CzaqP+bAKiQ7az4Hka65wEZJVodbpputryCgevSQLYqWolYYR4DTB8kF7C
GctXc7PxzcF50dr6xlTheNYGIN9y1ggOziyykzLaEq566SrDL1oUG3NF89NylW0xSdrvE1BHIBZW
gi2rMjci1B8ivKKGMXab3Oywh7n9ZZLNZYlY6Gb3lLUWcJzkszfqz6EKL0HMkSyqqAWb2a0yEfBi
2g8Yrdd5O9xCqaDkoILfIv6813OVJzsE+LH8vkWVXEXdhOrAXen4XEsT6UNBcg9oFcxAYujubTP+
djQDVAnqFuHOwzrJMAw82wlm9zaK8OFaHfUxC1uY6BPon+p5Ah6gSmbYrChxqfXRMe0HQmFFWa3F
G6Mc+Y2rPghF+0YR0+IVqNelRWVwaLFfdcVnFiI3bi1U11ZVbjsbWIXeTJ8wVK9qTS42rLuqZO86
2dgBpppuVUYHG/Ch7bVD/NBUZNVYA9ISArbZBjelpz/YDfGlVsDGPnUolUXjQ1rUb2xw/MSE8qdG
5YyzV9AC0jGlDeEuF+N33SG9yp1+P4QzVB4Fo5mJiwR3cOWNEkAY4TXZRoY0leagBilQJds2ibOV
lZNEkTf6h2tANyq6acW1m1apWd4lWvY8sh3y6pGTrClhJ1j4wxHSHWNtlGj2yUmLoOvrAHa82DKP
tWvnON0cBYLCwouxfKsCgVskHedz1PBW7rbXKs4RJUbABeZnE5GPs2ukDewiUzZJoqjeiFN9dIOz
C+f5LNoXqVoNsULJE7Pws5KpT9ZinmgT8PlQpFaxhPshbqw0bY5crH2UPmeN/I5N43PscMGikCBZ
aGn7Kc7uZ3jKWCqZl3TWVe3MVwmATK8ET1NaIz0j91xqftTIXSzdO4RIr5JYC1XV33O9U73QqT5N
O1Q9bYKoVZnqDmoi9j6Hq2H6fRzE6yQYvoNywu1j39esyF6i5gOMGkyT7Dt9gfNNwV29Vlz8WG0A
RiTkfZQ7UcpqNzjuBU2YZ7KLXetzBMoqcL/wj98z0/lVzqFDQw0CBIMaZOBg7yiSo5Zw3pFuq6KA
Lc8whfwuMp5ETuMv68Bomd3RkBw3+qx6TzuV7s1yikyS/hDbp8wW47nM4tdwGLWT1vRPIfoKL9Wy
bRYnI/a19EvJq5vJUr6H0X4KGvIqaKDGmXZIXQySkYoJxk1dryut+3Cu2FJVFC9DG++kNb/pwzxv
Si15G9XYL13z3SRUw0xi1ZvaTPNe5JOVBtSIO6ChLSb/ue3v9F770MbuTTVJb+7aO44TV7Jt7loz
r3DofLSJ+OxLNqejE+OjE+aN0BONCnsFK0+FHtCUe5l0D64lt5VRM68yVza68p0GL2bSkq2c6U+B
Va90WOZjhakNUbCKJ721jpkB9bafIeRq905Al6/vvpIc01i8vIjWORhR7M8SBGjZH4068ZOWJrIw
nwLDaP2udN6lWRq7JumKFdkxN7N4LQDJeXNZRQx/h61dJA9DOt+R1YHNBGtkg4OOcDnmnyVExBLn
HLK9qy+u8Cp9ViL7OMj4XA00R3Ol83l/TBxa/jLMtLSJiZDGPHl6H9N8bPdxbB3VyMRuoeDa49Yn
DFJTFhLZgFYdbLM8ky31YKbGVZRG7+E0n6O63C0fJh2rJzwDV+ViBxzv1YYdam3kz8DvCImK0QBO
SrZqnOohTxw2twKhnN1ZnyGoA6vjdAg279qR9SciNgrbmv0Y8+gpcXruCvsNS12zaSvNp9biqWOY
71zTdg5p8V2ES4RNA7qnwwZXmY/mRCyJI/KDYczPxJT5dcbVzKJxMzTtmT3wk5IOmT8WX3mgqvRg
riSzJYlYgbFyMuhTvW3AdAfsRMvrOLbdZx8ws8qkxOVb3bSuQxB1+jSW8gPgoFhLjtgW42BTuxa9
15nGusKgbqL6LAa5dkPrreuc20gzMC/jmk0JRZmMwV7pRtKtzGDii1nsne3qMULA1GcOrXKc20QD
089a9jRVaOAWoQtk1+89v2X1YNp0cYtIstwEivVCKN28ap1aemE2MkC1gE4sVMhV0+ns5BBdmJG8
1lp8omSfEhZXqQ9JPF8sE69Kb4Ef1Gek7SGxRF2w5R8xJxtYvSI3FJ6ZZS+iYF116HzH+DYVUnUk
Da80vbNKlWTuXDZnK6+sTdvJ8RpVWO8pTQ64Js6eak5fYOeWoyRS5NNYTesw5OGxM9m/JIEMMUrC
sMA22XmFYK88yxfHhaKX3jlR+VyY1VFvmrc6cV6UmJOe3TsHXc1YglLwFPA2b+vguWqzFzeGtdsP
kAuaJj1Ek0EJN05WkSje0rjYyhneHpLlU2jxmMjRmVezKr9E1l84kt+E47yuZg6MYSaf88jW8bxX
qzI19kWQPVh1f6QUQ1vEBbnYQk7jxqh3fQoxaTbTq77Ft9J01JuUnC5LDfvEpeEbqeFTXHMxm8DE
4h09hC66DgUcuqYI2sslBis1h+48gh7BV5UPuH8sXb0uDWTLnSjPsMb5PUDiNa024qoys9tNpfuo
Kvaui62zdMyVmz05uKPbID7WRnbqK/k5z2q4mtPxCyXbsJcK3oJBvJI2cuiUvD7ogys3U3Sdwi0/
ZZq5i50FWj7k8U3CKQaJt73QmoatdCJrX1Kh4aMp/Tmi1qWZRQadZcJorGuvrTk8Iq50V3GmfxnM
glSC9mmNGta1cYC69WedPPHbhOJOz+U87hxrfrWZ41eznmzmGHyOZAs0ljTCY3r6dYetTa/mTdNz
hCkQSqIaDktfHTloheiD7JaMnLlHyTkdTaur/bxg61xDktcC5ctMnXlrqDTsdD5qoNCia0cYUaVV
srQqDftABUMoBvo5Q+xK2taT5lYmtb/m2i2y50iscklm4Rhlto9/HEXlh9Oize00gnSUuRkAVxns
Y8K7sdVJh9K1KymtS91BlpIIP2bZYqFm+xdgYEIGaJ9dDT5PPXADWo7CFl+2TvlsXTCAsZv8jIAD
Cq70VRWV408447gr4X1AmqrVFjJ6c40y9tL0QYXVkpZ/aryHOE0pOIV7VVy0CEdrohbxui4LE5dv
9EQA09odGKdCw26JF7T0ZlvcJhP13Qo7sDoEaBM0QrnVAK1FFD5nk8OOG0ql16XKPiNlZsUz/DwX
3Cc2I2BH+Qq0sAlTjNdVGV9yEV8ayqkVV8Uk6rhO2huZAkixEyYUO6MlPY/GYxpyuq97tjhhgHXS
tvbh3PmJGDDxNxsN024v2+ukG5+bOXxrdaaS1L0Xdo4keXis4vE56QYYE9w85NRfqm5uSlN/GHTC
GJz4y+0lbl5jCVeo2SnCqezG5G6s6rPBEYYchd3YcE3jGVnE0F6PhUUOY0jJy3zq5PXUaNFaV7EG
O6qGNHT4EE27de344hoAMGjNd9S4fLitJxerX2E6u7LJum0c11QyNASrQtf2P7+3Yo90PyuAKalN
4cXIWNgL7QagOfkmwoBt5hrbvrAfEnN67eaNFQ07s1PvKcUWq8pV6G93+RWsOT5itSa3qYK+Uh8i
ddca6NNcvgr7MHup/813yYLzqqd7K1avXKImTK3j7Fi293J4UeunSZnvpzn6ciWcCTkWIR3sNaHB
MbBX6EgubYEcPYhTUt9IRG5CPKB6qiMeg1CSR/M9eS7OarJa1DK5zvMQ2BEmEaqSNgim1O7AsDNa
xzgkK4l2yEptxuc0abfsCqt1MnKtrG+ZWwczqHRfdRUKuspNpSAzTGr1gT0KQprM2kdqFsOzEGwJ
UpwEJo9yVNXolpLuo64jSHJ6gA1W3sc52dQi4OeSllnjUmEfxPI0jhblPARzRVeflO59cMRdOXO/
TVNDiWNh2TYT0M2wfanhDNSYW6itoRvo3gQFzW2GdKOaPF7FMPjuTEE/iccnVcA+HEZKbZMur9Kq
DE+OPW/qzgz9PHBuakUgMIEOM4IuJvaOx0xXH/XA3DdmfZqzluFPscSDALACnXquKJmoJn602D73
bgPSa3x2BACW8Drm6NuIi5ALFM8dto3TNWvdJMZuDveZKdUrJzIfupD0nL4rviiIHwKVu7dUXIJt
j5VmmSGyoruhp2GpVCHrxtgvM4bqVmghEgV8NG9tR/2ZEAE2lLG8ZDX66Ko0BM1H+05vMTbwdDmh
e1EoIvD8hhExhvNto017FuejURGgM5rLZJbn6wwHp0dQBbhLYy0ke1IlfQddTyVpalfawFRsy/K4
cFmD9KHvmN4FwWrq1MBEgFqSOee6A2Y2kSVd07ioGNNJoyJ24e2kdTXn0UXMhvSimV2qbnB32um6
pDqqK0gfiNh47l0U0yQZnou02PR6/zzZAgNJcd1S3xiiBqpa6VabxGDz7AA9mjNoMxiq8/gLNNkp
UgnDYePPQwXbqB4YKuMYHWeemsI19iCRnmsw/HFpU0oKj2m4bNvF1kVweyjdFBzU/JLWQesnQ0KN
P7dekYssL9zFDL2VUDvynUdK2MOuUviNSV7l8D+24ZhB41DupRZd8rrcaFp8HNzhUZQ5vCoV8Gqn
ccSDAFiKkKKw3Lq5OJeo/qyKyYI3DPMKxPF9PpvvwwjoM80BEfYMQus9UK13LVVf+xjrR91ch/k1
0YvPdv8iFOtmxHptqjYZLyw1pWSpAtYNNc+OLiCCatP1NZkQ+ccOKOggYgvedBlJEIH3Q5t+BTUT
eM4RPndyRPlAU7D1DBxPlluehn6YuJtBH57R/H+p9rBr2PB7mHUuTQmmZQwvqTI8Gnpzoomy17R6
A/c2CxSqiArTXyDn17ZRf/10U7FXce6MDq4vhYKf3UyeMtHRciNEHcmmTyzTKxp+pOTxC1XUbwUw
KugZxq7IHIFxauTsbUH+CndaKKJtLLnPcS4OBRksYc7SK5eZlFOmusKcAT+CcqSUUMTUVzFwzh8t
SCsJT2vODbXZrowJ7bL0oQj8Wq8uk7OstZJdgJhSzu8WsaBS/QjcmIg+Xl0L5aGXWPDtdH4WsfCH
DgE/CPaMSS5v6cPe5Br9iJHipxt9Za7pYIPQN4roO89ZBmUPVX81TuGdo+tnIHAWj7JBDnF7dgvM
4c305QYzrgguXj+blJAXF31ssMbxPpV1O5N+1bYjTdRGWQCJX204bTAw0sgx9kZQPbYMx8YL5uSd
detsgFxc7kw/2Lx4dZ3L8Zbl0TJe7LjfV3N90oroRJyAl+C4KzueIWXY0ZP1e8ZvgXC0z6ePZAKL
ocVfWjnfu3nzWCCyLTvxHgQMtbARt+041P6Qi/e6NZ97Ch4M2jsZR3Az6mtlfmlbPPiGeVvL9knU
yI+ZLOH47eyAu9XGKNBAEg5a/NH25tnqqOfbIjzHAkqzIil3cFC6yYPoqAbdcMqTcOTJyDedWh1E
yUW1R1TsKsurB4a1sonXTAznPjXSk0okEaWPvl4Vee4vy6epy3ZHxe0SWc17IiaN+mr0JbXxsVat
25AU84wRbQbqOaEdrfYDcIEZSiWXRoQgKCoGTjX3jyr3CI5WdiP78DaN6C0ZVnFf96UH//+ekNSl
HKHe20Xnd7n2Srbmplf0bReSxTHxoUaba7fMQjKJX6jCE9UeRJ4WOSnULEF0NQ8qvpX7ESYGR4ev
uDP2bm3d0kyEHCsvgrmS/jYfdckMkPUDGSe3s03oFukzKycdHl26XCFHxF4PNzkCdRyz1PyYBKZU
37vWfWFZazcQlAf0fSNLBK9qVoGs1NdO1l7X+fC8TBTSYtMnjek+F+E99mmtiS4VC2HZdt8xr4yl
JfM7ad4u3yyd1dd5tN4b8Kh1m2xE1lzzTTiu8My5Vr8bDWao5eUtmunrKZxfa0s/jRYt9mxGSJtb
1UYaCPHJOUhuLRoHkfWmUPa3xvhiNfLCYfjetqDOOdR/wuGRYtd6qt6bdiQetzdvjdB6b2tAWYbG
gU7F3933j/pE+TiuLLg9BYgTtqZVxaAt2y3l91djHB+XK9w1XFHaCyxUXsIBPBl54tlv05WPwmMQ
wEtPHGhHRYH6OyPUypnXqlW0mzq2UNyb6yZm09ln7nNE1N1VOh6GtkvWeeyEa3CN23bSu01Dv341
N6JBPsqqYYU2my/o9Bt2VNeokv++IOh/I/X5gyDoz/xC/4Z6IGIXIe4vdsA/V77dvClprHxE8ZvS
NN3vZW+//e9fREI2qh5dLEGLxEYZDu6ef4iE+Anv5KBv4c8fdG/GTwbuO5vEhR8NQYb+E1K4xUSk
cfoALu78HZUQaTl/kAkpukZ4mmWo+g8CG1efSlkS57fTklS/AgtlrAtBKzhxY/fOlpmDV5rZ9myr
dij3RUdvBAWOXElVDhe7r4tDTbHt0TLpR+HDfpZD8zp2VXNVDrZytPLsXtT96Gl9tk2XJD0rgoio
ByVHTkehGxG1+SGKUvs2wviK4RW2x53Z50huZkPLD4SuATftJySdgN6/6mAO1rpo7qs8fQ3CzvEc
XHVLSy3YEEaAfjkD+CdLmrxsf1mQLLvHHi3PQM+btdY0EkiKWpxZB6ZdUVJWKVV34asO6tcUgb2z
CEz8sOI8uOudIaeprVsgjiYhXkNVkI6bzLZfVkvCieJ8ap2SLDNRZtOWNED9NNRAHpUBTLTpZMlV
odj1sZzy/CNTgwmMVvpUz8yALrtkPyWre1ebgGUy2xlPCmyNXR7GxqUqJsNvhD5vUkKXDpGG0Eiz
IWSuXCIXqf+HYGoZTR7HYPdO0GPAstVWgJYo8uKOd8Or2rZBfcV1dDGGEgeMoYzQ4BlErAuOyr5Z
BS5Z0Q09FJkqfMttjK3J3kNS6+yzQ2m5481EAerGTQnaKu1OwyyctGioRdJtjbrIz2Yr9F3JKLgS
Tt0/dTGLVkFv91bIyL0mblg5NUkQPLi1EPu6sDrSqyvgPFmWXs9lkVy5Iz0dQs2KE3BeKN81KX5M
rVF07ko39lrZQ9sUSrsmmxGQtoXJ0nQIoKJNNxP9rLUxtYK5/OqnRWvkBAG8bGd6TBnN1HXpy4bU
nc8cb+lX8rIEwunkJGBrv8Q1AisqnTDaWgCfHG3LNTXWLysLkqvOxBNF/Wn4hYWzzFu/Jcz/kjj/
UVDxiMOo/eGv//Gnasg/TJH/eq79d5wgF8jE/zQ35m9/lAIz8/1DM6nYoDHIgSA0ytUEm2/Bj36x
R5Iy+RNmZKKcNKYpdH8Wc9KvsslFGmlbpqq6ugl6Tyx2k1+FwLwe8kEmWESCLiQM5285JM0FCPOb
ENiyyJ/Fabn8QSyuISw+3u9luDTP3cZ0R9OHhRGvphDqRWupHAvM8lC5HGKGUHybSqNu55kaVmNN
0RrysxcaaGoqsunJv1I8MYivvjMkchKHhAQr3FDfHfzGMNFRlC/CmOit2z3qNyXQN40AISYnihhT
QMtNhMVTNbfnLiqXZnBjerKNKzQnS8lS35vvDj0FP1aopeUZTHikIMp6xuKTpqaLTG/Al2bmTA5R
RCydgQoAmypN3EncgwH8qzA21Jj/fMnwrNrmEqdtLRftj5dMSxVIiYFr+KFRlKvMLW/Bi8B/bmk/
QD1zamvjGu2VEpNMZWZkSU58tKrwwjloto0C5Mxth3k36nTIoxRGZwANyrNwO+Wt5o1GRazQXA7Q
JTCvlIes08jw4AjJnObcLLF4RWh8hap2XzgZVFRDwxulf+lOvmZMbROglEpfHLuMjo5TXoo6b1ZZ
ZmBcdcjpTCZ4F2Rj0tET7Ucl7DsNX9pS2ZnSTRFS6h1E92pa2HOKsGw3ukOh01Gem2q8QjSZU0lx
d0SD0+vtHaDUtfhytZlQGThbhH3CJGQ+rF71sld26AqOhiMGr6VLvZ4kzcKEKMA4DOm8uvKpdYP/
ouzMdiM3smj7RQSCU5B8Vc7KTM1SSXohpFIVZwYZnPn1d1F9cWHJRhUuutHddtvOTA4RJ87Ze+1s
Q0MvZOETHuqCCeJEYry7T+WqE1W59toGAWngnLMGy7swHgTGnDKC7sqk5E70RbJHM+tuUKzQ5Wq3
zegT3Tu1v6S4SWV8pbxDRL5MXLhy7UTxW2aCjHTN+3+87v8hZf8mPV7eIcs2BXgDKpjA8r8/EK4W
9J7yjAdCIY8yEtmj1I1v/Rj2eVXWsG7z7IeM53vDq45BAHNwQMRg5GTYGhlgmoGWlMYi4rQLHVfR
plY+0Fqm7uuhTQya8iglKRU2QICdzOxOIX/iL79hec+/rgOS9Ula/BpJNSiWdeIfcvwyLwve/cYk
mdHFXsUZ56In3VH79Vug7Ltw6SYU+KjbnIQNgstuq2Hajnn9OxmdCI76rVvR88qm1MATjD/Rdi/7
sWw2qvwVDv0Pyvbtn7/xNwvDctVZuHy4QjZCY8u0v/nesCe0WQ9cfzNNQN+keDXS+XfjoeQktBSk
cPkuSR+9KIGtUAptKDc6mic6+cuV+6o7//wahAAFYDxYwAWh9l8vXF/FYdfWIFX8QXA+lP5zUes7
QAh/+6BvFsP/+0nS8kB4uPC9vivcy6qPSneW7SZVSE1ICqe51JIpUuvX2E3OUKnBkbuzIsyuvqJN
z7ehelg1VnxgyroocpdDWQoVb6AmMDTAwb/ckn+vjMyB2DGwlHA57AUd9c+HKOQBiiokCBs0btnU
vMSKHLWiqqtNljATcDKx8pvI2+RC88LOvymK6a/OT6U9/TKS/yG/vhQi/4wtNb/xN5YHxOffmGVs
3wWv8u3ONEYks7DX7UZOyYZ23UGE6m2s5fPcklA0yZA0OWYe8LNThSPi/1UA/7Ek/HtXZSUQHH6k
7XgQQL69TYkxDAKyH81RG8RA0jK75hHGoRhxruiDlrA38ssKaZ///LnfIS/8ZlJaKQzwZ+AiYj//
ege6EcUL2mhNJmKzVwORp139FJXq2iO9J4zVdbyJ5HDZN/m1zfHiL5++7HxfFxE+XUICE5TfPmvi
10/35DBkdePiukvVdYeWrBr8U91EmynwbzBCfcTgkcOgfDIN6zxYp0KGN/CvnurUPHuVBvBc/+Ur
Wcsj9+0rWZYTuDiusOWS3vn1KzXO7C8OKI18Udz5eA0bFKg2OYxihCApWmbB3T5ui5OVYLo2urMx
pefOug3AYS1PMZY6qF7QM6sHkgrVRDeIuMq47d5JyLsrnfw6N8Z3FIvblitekiqLfOYvS92/lxga
nP/4Dd9eqxb4VB9G/AacY5dWGdwETou7vNn/5fZ9PRsvCwyfA95QWDbrKZvB12sljQL9lTXrTRBp
KDPTnZ/Pl6R+Oe1+MMsntw4IMDA/nJ7gjd5bC2KrFt1GS8qQ2b/nc3CZReJvT/R/fin2I3OBgdi0
Ar5+KbrWLfNkso2cACU8YVuzYZ8nfBAZr1drjXcolPZ5XD7Tqr7B6YE6oHuYev6/Su9gyE9jeWP0
1fOfr9V/POmWheVvodBBd8SN92WlEypFsCYYqM2puGtn9dzZ5rnp1bVGSf/nj/qvd5oiE6Mgd8j6
dyJ06tD6rt1Ob5JsYYfp5qFCAIUkA1X+7IWc2xOPxBGkMCH6mAsHwfA6AZL7l43uP9ZTkC00hOE3
YWPAhvj1NwfaNOWYwrS2g/DGnJji7KPxIZBnw5/uZEz0hwO3OLY//vz7P7lM319hrI80gVw+FP7m
18+tDTlb4aT1huDxD68qXwujBpcei3PR1c+GKjiGV9dDyBh2PXvT2nHSV1Zlk9ypkNNF7ZsXjFJI
Ch3T302CjqLRT9aIDeHP39P8r6WGmHCuDk63pcX19Xt2Q2iIuq31BhnIjen075FZkdR3yOYoBOqm
STET1kdnyptIRHDIB/GohRGtpRFt5rb5OY3WurSzHVjGGzPr3pNeG3/7jss9+n4tsZWyHQq2Rbji
X79jxtQfvFSpN1OoHku9tm1xN5nWmWTeh8qsnqwlv6AzgPIXE9mF3jqQ8V+WGfu/ljPH8Vl3KZnB
cH27n6wejANArG9IHvypBxLeh4puVkhrR+LoGHqzBiMK80qVzbF1yy1d8+vIitBJ0kBx5v62zCOX
sIeegVBKHoPJDNcBQkJj7bdPH23Vp7cUQhIfluB9qMJrQ2lM49luFhWUl85bLFhBa0PQ80j04u+0
CEfu3dBe//mZ+PfiFfgCXCa1Ib/TtL+9MgLzXDwzk9tUg/MoTZSxCjNBGviLChyxAsmXf6vBljv4
9Q6z8y70pAXe6ZnOt6vbkIDatWlubtolhjOuLBLT57fInhgU2mQntRM++Xm4peMHu6MgfM234hMK
LAZ1ut79+fe7/77XrFt8ITrM4GhJR//6vKVpaGYj0slNHvcnD7JHmJEy3XDgS+B5R1dTSRIgMYJj
jxCbWwsxkJiyq8Kxkaej3E5E8jwxky9G/9rtf8W4DMFMD4Td5e4PknZRVnrdKRP2ljiuXdvod2wh
oBhLe0WXwVoR35wV8c+C2GM0rs9xN970gX8sM5DbHir+sb9rI9YGMeMNk0HwSMpW1XCJMo3scRx8
eAV19hQPFvj6Fr11ps9zlF10HpimTB/IoHrK6+jmz5fN/H4TPZTQNGV4bD7Pld83vSUJ2FZxPRN+
ghMwhwxpjuIp6sigcJ1oS1OWsIwKkg52ng/kje5eGPlt1SHj7ofg/3cD+t+3QfPPvJXW02dD5B9n
wxhjUC8qTRJgTSYVna63qgIvmSgkwEmCCtfEQzlX+AEw+hK7MnT4NfwlcP3/p6ZevoVj4iQWBKov
x6Cvj1LuANlMRDFvcPrgM6zid88pkBNgx7LVk4IApev5L+/vt1R11+VDbRo9EkexsDkYLy/4P376
WA2x75rZhAaufPR0z0NCjJs90uUo/KewHXbSTPaT9H5CMbzjnvES/TRb/8EegxxxrDsBMTcevMi+
zUyceX++JNZ/PCfLUctezhnMLj+7e//4em7qE0rk++BWi+naz0JigRmwjveehpWV0VIYBEyKyUAP
q9GHZSjSi6lFKevsNPldosM+NOG/y+t3ORdvhmh/tAqTnWVajD4Qc+jKPvz5O3/fJbminGBZ9j1H
uI78nlM/0sfA6a+nTZMZBCZmUFTGyDn48/RsBv4PP7kme3ldTiDB/vzB/6oj+GTfXXibkqMRVvRv
i3E2GYgKiJDetG6EqHBGBDJYxXP1kdrF7VSwHo9+pvdyNt/aoN75CJnx6L0XDHcdJMDondCvukT9
0fLgfO1fxbAkU/zZf/6e/zrnf35Pa0HJMz+DI/HtQe9qBxoknbJNgCE2aPpraxbbdAAH13GAVvbR
SMQlgSoQ+huIrikd19E+Nyhfc0MeOPc7qOBI6CrZZ/9SP3wyK/+5u3iM8Ghi8y82tuVk+/V9oCPN
UGQkqnRqst/jJMyrTvYA7xwBIzV3LocuJasgZJpthm/shwNRmpAfVQMGjmUq3Vcei3LZqaNGCNhE
vFhFZRLWnFe3Dt1PhCzR0ZXVNZOuH0UV53+7uAtC48v+uPwCC2ASSxFY5n89BV1e233UGUjHNkQm
m9uwcQ2O5CW5pF6V7JCi/0ahQLZdqNOdP01incyaiPrafAhzbCZWRqwsg5dVk1R6LyIywYxsOCpy
UJBLTOuy74e9GwC7A8LVaDxGvYbDI8zrkl3t0NvVRxmPwaFu8x8ym7zdXBRAcjMDu0w0UCjUhNWA
0xmdfDxhPScUKqtgDurkINS45JHSNxc1qu7Py5jmGGhELW4mHLLYWYkyQf+N3yIKxC5h5gO1F4Nf
6KhgR2Axkni88rhS07WTxe3KjxKEneGe5uplPmNGl8gmhDun2NrhapE98CJa85wj2VBG/Ns11NMc
oOl38/IDAY/yfL0yLXJ0rfTdhLgjxnxbOfNDHKpbz+ufiwpPdApbtDVNG1Ewin/icGUHwKixeSba
heQ1whRqXDiCTFLW+WQO6zkfwPjEqEajKrgKQsjNQ+vMa7cv13T9gk0xEm9rD2jwbBFeBvaYUtGK
d1uMd6ODb2Bc+M+uMx67wDIOEu5ZYflXVc+zKjNLMJlVGkmduKgoJC6siC4ruUDjxjFIKZGZ7DfK
aeut1cSHCAHDyk1xWNaFS4S6QJ/eSZVskMi9dTOXP8QcfPx8etoOIVr+mfyXaEQ32JkZ0Lq7oHEH
sobL7vkva8Vy+v36PvIgc+igs+EwPf++ARhTPaVuFwyI4uwHN3IeR+29K696dQXRV9L5aPR856UQ
kgjrnIyff/n478cJAJuSNChiD2yW1cD5duSZa2T3cA56yJXkWBQjrt4S+MHei4gnuSlSQY5y7Crc
gETUTG1lYmFyYJAn3l8oaJ99nG8XQnog5hmmiWWY9m1xL5K59OGN9wx5iZcscGmCwUPPAtNxqbSb
CKiFO0Oz6Uv0QPnwKqZNCQT/YE789VnBY2Uc3FBndz1/FRYeqJYDCkLVJtu6atRVorMaifKAomlM
kP0oZHNVQEip51aAD+3MRchl/GqwbzMkX/7B/theWd1L7IzW7vNdHYqWpdkmw83UsdpB4O6yvDsN
sbsqGZhv7SG+KXu7u5LA46KkXnURyKtBjGSD+qz8PlmbBqlW8yjs28CIVubgH2tVBxjCcFBEHu+v
03TJX4r4/9iQHBZ2y4HxSldTym+LPkXMFOhh6DehWYcbRxPS7rlXBLby+LsQwSz/d0A+094mKDwd
rN8oMb2N00n/lM01xn7CZ30HWPyAFK8cuuEvjV780P8uKqh+QCAvZOkAmMy3ux+bYRuFIQ2h2qht
oqEHc2eEubVUYeV+Jk8FtfJtlQ/xla33gRdZl20gh10/TcMjroJt0nbi2grt8RqNAr9wzM/jbJO+
Q+6zhcoD1+xcHCMUvBygKRGoAc2xDh6GFgdkYJM0nEaAjEd6TnvltltYDeSSUU1cWEBx9lORvSXz
3APVIAtg7lAvLv9tFtPBajDWNdkUr9o+3VStGWzKGBpCGFQIctPofZovOeVMQdxdNRUdnyFscyRq
jNDSWe+LDlje5xbcd2mxitIOddWE66aYWXS6m5hIr0qp+myNlHVFTC4XzaNwG2YzDw1BikBShisp
cT/EdnwjZ6yCllGRk+g7pEkl5bDNl3to4hQVlvI2c2AAnFPUR0OQ74hLIG4nc/YRTrE6DPyTZc+M
dXPIi/ycQoOzJ8StPivVQxIZj1YroNz3BXCCCq6jpBrLJuwiYVNYq6rq26ObWB8z2WYyN09l4X9M
4Qi5jxha6Cb8XiulafKz1kHxgFSivA8IqByzYC2n1LxqAvc8VolzjY0ugQihHkGy2EjIxcbT6Ai7
GHBHwBZ3aFxNvN9iH4/QOK6aMh8YIkfFYQrDfpsNKAyXj0s1580yEB+xq41d3ApzN0XJyxy/tJk7
3RqW+7NsQFJ64wSas50IVOc2Iz5N/A27S7NnOMaZO4Iy6yyHJFWn81XkpD/MpH6nUVc+5r3ciry5
icXUvmZL0Od+pBg4FHk+8iSI5pxOaOx00sEUVt5F5MzTKcYZPVXNx4DTYzbDjR/xUvmz9dProQHE
KPBm3xluCmtsVo4xXFuSKExHluWF7yXqkDhRedtyGvGhsNMpyp/Mowu948RAQa8bDSSH9fRtWsrN
ZrDdt9zyyNv00nZjZxW80Dm2TmZtYTNvw2PTRMHJi1H0SYDK+OMjZqSr1OJecmjiCYxRlbvB08BQ
dnYdA8MDroacsN1VnITBE76HaZCE0sm7VDnWDiP+Jg10eeAfaONhl0AbUfHuCuRBtrN42N3koRj8
7qhLcZfW3q1yp/alnGs+L7jCU8DnKH+4o5lNfYFfsZP2g5FFzm2m8nMcEaQs7CI8GVZJtqyFRhvH
4/igq3Td1tm4bmJPnsOuGI96WVv9yK14fGS/aoucnABfj+AORXHMavC9coedyHiZyQzuE3xFQHYq
xgAmKMhuejFnGx16B3MnRu1xLUHQOt0sLwUkDsoi4uOUdTeQ3v3CO44ZjWZWmBWH2J5wkKAwOpSS
ZE+jmvauVcKNaZrdTEkS2rJYB5jDipK0yihzb+tp3JrLyY27hK3Ax2HlxcaVOzDnN7L7xEINMAU9
nmU1PzO4t+46cC6p4zzUo8LsHhbX/dwkG2OwDnHDEsdx9hTn6bCPBSHxuAMuGn7GWqopWM5P+uAa
xf/+yGyKH006mZd2Q+dlsTeGEUQIj/ZKMDD/a0P2R14Q1KBTfjMgNVWsxndIAg4+JCt0f8Mx5SRx
AaZEHgSJsFXRHYBegJ+rWFSTpcKtGqCfKh5vDOXdlEWtdojONa4g7kA1TfCZ5AqlbYPeQO0/S7GJ
g++Arm/tO7VPvJ9Ac+D05t4qd5NjcRqJY72P7PhVGzEtlvbSG0NwyE0KHSwUUEox+uNyjVGa2sUj
orE94ZPGRsy52rfxUG8TQaxK170F02SdWjEB50cQ73EmO7nLfzhJeOqDsdzHtekebS/YzpMaSVDy
iz1WPnnmACrPVmq55w8KDVdY8zny2hEjCv8RMRK4DDNxbhB0Idc3TUD+Mr6XmWmfpmJ+0mER3zhw
J4ZewDuufLWO8qHbfv5hJ9ART3VRbUevJKAxi6oXrTBXGs1haILuinoSVuvYCNyNXb2NYH0QQn9s
h3MbUaCllJW7uaLEaAdH0Csd2VayGNsu/5AhRC7UVTV9xM5wkdLVwZa7Y+c0V7NyvClmlHqqh5gC
k+u29qIn340AYOgULIyB5yGaUetQ+VSAw1NvSzJHuoOjsWQKa3FlVcYb+9hu5IQ5SwXoCGAY+orw
PKZHT3IW8hMSU42hV1juupfQHxgtpx1h17Q1qhFuVJ1GeBrdnbB0vzXScD6WBfndDJFocb64beVB
WC8vlflYTB4W6x6TYbKU+ZMb3LNDOWvFoBKODRE1HGZpa5XjYUxa0tS7+sOXhCEvBxSr729zsRxp
cJxfFybWCBcYBMeTPK0fu4lcTPoxEGRaupIF8ViSK9gmUFgaDIt5Pe18m2otadAzjlXEMZg4ByBA
ECgik+jtTNZ6Pys8d2GmTlkT4sEmftuhp7prZgoadPY03LJTgJ/YCuq7lgiJ7eAucnrzoy6iIzmn
i9fS2Et4SffJgjzo565FomrB1GpHRkYpXhG2qKG174I+2089X19XgA1YoVdu6Jm7IOnITHKJl2G4
0238bDiJePiNGdlaR4VDuo57rELpEg7hkcvEwBuPy6FV875K5Edlt2zMVUHmZaCJSK2jeE36hLOa
mznEgDBlKzB3oZVX4BPKJywab14Oz3calbcicoA2a+ltoGsEF6NjhrvUDVzUMHQ7qrA3LybfCdeN
Cbt1NOdTjt8WBlLAayqwWPf1WmhINn0v6pN29I88xDBJGCM94VvfRKviCPo5ZhHC4w/mVWc0wH+g
NWe5T8ausraBruKNVCZhANREOvPQrv9wfaT6n2dJf5tkLUVRoVG1ORAafOejK6BVComP3qt/WXM3
0Yku+i31BwOs7i3uySK2vMUMNposmphhG7eZjp4bHpqY4HDa0eDNC2Ab5OVeIDTrdlmC/7Sb7PSQ
pvOpzz2yOzyCYn3rhxaeJDcZXEhdK39fGEjmBxE9R01j3lRuZu3MkDQebY7HgdioTZZp72oIX1RG
krDFqXzX2Y+ytMvjfUl/+aHOwO52GeVoNRU8ubO+dmy43kVrbBzrvXGWVSbaU36wfTfg1wzSuADS
oL4iYPXceYa6n3zzAVwgodWZw+/JCJNXk/OrIU7rYGUaT/ycJSsXP9AqBsX1v9OWFwAYNhHBrkYd
kFAiYaz7S7Fd1NkM6MA5xWnIzKi8xe+VBOJpcI1qM8lBIVTWtD4qsG2BcgCstPvMSGoCc3mUrckl
1/puykhhxa+5i4elU2zjVYOjl/IDF2lI3Nwr5wf8kwsaHPHlZy/Ca/lrVDGAkxi6uzGa71XsZNvS
zK/rMClZ+eE1WyBigmo+eRHxpZ2vjcMYy+noa8nLm4WXZZfv2n7CIt4xlK38DGB2GzzLMCwWd0l6
6nDFHqzc8S+ElvGJ8RsTzm7AoltxXirkhbJjeWNN3cKKjwkpHSZSUKknz71MglOtq2vXTwgv94xf
lW75fQV6M52gE6ggCTUTRBg/iJu9zcRYRxlJFAgawowo2tDes/9CWE4nvS/dl8rLGapnrt4O2PVJ
Pw1ejCEDjghk6MaXr7XTeRdK5PZuDqLLLuuOVh2AURjjiUVPPY3CiU6zAVrdjWZ0iH4HErEnO5gX
chN7QwipAV1iXhvhPvD1S5l06QVvG6eOqto0luNcK/LJsVlix83kCX2ofw6a5GWE9AENJZQ7pN13
MROug9Ez6eAoyTZg0CjWNMkvWBGn7TwnJi14cjvarLv7fAJqpwSA2T6hsX43o/61TGK9tZdeX+7I
ezu563qWCNVm40p56bwaIgBNDBitky1vOPsRG+Lk8TYo3iM7krcTTNMLm3OLWcEcasfsyU5SdSyq
fRyI4D52Uovg9e5aotnYEnl1MMfwsU7h1th4bi4+v1JQkYPGIPYjm7mCZWLWB8+1909V0rjn2CY3
LJnomgwtL4eRQg353Dv9MjcP9lyE667eQT0kokECchlqjU1z7l4MZc9bLGjJTpTFj8hgfCb7EK4+
nvKtB894lae93irt7SoAUg3lHLoNF4lQem+YXMs4sse9EuWlN/XDEZF7so/WLaFxl1VH9lAQ044T
Tr9l3ME6acQwwdDKh9NQPeereQr1aWBCAwKEYBQkbE95AdcuBcUzDcWhhj62wXEAFrGOd2za3jml
VYMHtDzPBseGoa5ZqZuEMl1a9m0D9HTKp3I92CHHbhXveavEbSQi99I3wmf8HLC3Y/sJMStV5Jzq
Q61offdbIjrBt1XRz9DgfGRpu6DuSSNGr+Om7oP6iGbrLSwywE3u8OaI2r8YNdEZnu/x610akkbq
7+j82mvfverdNj01CR4LaZYPsO6OD37q620VFPFqBtBJctzZQevU4nTYzmX12msNrL4Uzc7yl5I5
SO5p/LynsDHIg/HPRWO9SvtaOCo/mAWWg4K8S7pNGb57Y7wcKx69MlloVfhKZTR4t80QH3gGRwxk
+NfccfTuxke6qtZlGVOvehJEfCl/M0tsLxlVNkRUl2qD9W9rsNCSPDqfPbeAntQSBW6/NSl3CZva
Td/BbAqxz4dBe6dnTcUJsW7lV79qhn4rJ3ruMhJAgqS58zU8kU6SHk3SFDSeajdUkDbNhck30+m4
kK1+jirIaG1jEzHRPJVWFe+ikBmhM9+yNlyyNcAOi6wKU40Cq573qzQmE26c7+0ygGjvodCclBjW
9dTDqjUlbgZUT37dTDvb6vZmiJS5Zfi/GmPr4BmCM7dMPqqifSPhLt5ZjE1WptnCbsmAbZJxvc7d
iM1WvPpl5tF4ca8CH4dxHgeoavv+NTepoqQ0L02RIbQmPqfSytj7nXPbB668TAIKoa5SmNzH4RCN
70Xa3Dd9Zm7Tl2RS7gWiJGp+6dWrMG9v+4RdxpxaHJS1ufNSY89Nes9bn6tSFPuU/gGFc/oisYhw
QCvsFW4YttAQGD3YEwQXqX+RTze0XQdIcDQiMcWSh9AGT1Mt8BPlfrfSNbwJe8bjgr9jy8wMq3ll
dAe/B1tnReNF7eVyO+fdczmlI4W4rdapyB+JooS+ioymky8tpAlfdeVNurVhCdLV6rqd1+m3pjan
TcaBeoWYMzhkffRYjMMW0Fe2osqc1/5IkkAlErgTZLaXNmlJAUjBWXivEQ1PaIM1fRZXm+u01S9e
aCB6bAVplmGWHxM9HrK0eWkVB5yoSYgwG4EGa4EocrTgANG0IxSEfKUek2oCj9XWfrUhRCY3U3nS
CmJY71CPa5vcIcKkExo4vbNnzy23mobkVlbWmg3xzu7NdmfDG/VT17vEBfWQz7/Qiie3rZWtsb2v
eT/VFjEqa1HIRu0jDEJzK3iOkS8PeUPCZuh26MtJU8zTYF227TlL7GoHNdddGd50N3d6l8TOHcfh
11LOJ3fxQ7fxVT2KvVi0AqDLlVA7qF3XrvbPnPOvc8s/5XbyaPX4cjkhJUStwUBqhq0amU1Ygct6
3g9PpZPeRRZjWyS0vEUAuXBbRzcMTl+M1sWODXBW5ra1N4Odqci+8DJg0L3LqhAyc3PaD4ygx3hm
JaypCS845zzpjDohlcRcIsagATnQvqW/EU5Zhi2zvhniNtioAbFBY6Qjkyr5KwQhddRHeHrNLXRM
8BY8S004Xob+7N2EFOYyyNAL1rG/wdEWbse2XpVJS6HKxAwokdAgzNyQRHN9UrEtiNiUSDBgupZN
sSbBzvjRjoCl5UAC3EwWUk3VYNS4/BO2+EMxogUimHIExyNIwtHzyRABSCfa7Hu40FdGlUWQF8nW
nIgtarqKRFUZEXc0XnpmeBQFQPuUYbO5a2QdQ8PpiPDKNQ3U+dINlQDtpa0d9uD14Ilu5xjGGlce
4xLT+HCi8BfxkP2aLM5g1ebgysi8xF+W3U/9tB6jR+FHz3nOSS1vmAqaWv12YvO1CW8gCAR9DWLJ
y8TGBgC6SpV8pTUzE2eXPUII2TtBS6+4qDdjU9v8jylf+7aadtaU7R3NrhC3ffFgRfZPrwmOpttY
t63kDFIshazMxPsB3uLRVN11VtORXVB7YFhsPBTDbh6obrysespt1lB+57nD2gZwEq2CIrJgC/eO
RHSUarkanvBSYywP6h/0uILruMp/jbLrV0HLZtSaDktI6OsNO6O/EJ8BLjop+GZRZNcOrlyOiQQe
6SB+7LNp2Oh6+OVSeB89T0zb2AFFNUv6xwlDEEY0P4CHEalSdbThjeQ3Wau7rprOXonzI/PUb6NH
RjHv8p6TVuvAcjRyCzRDAtmlDd0jzbr4KnXNDfDA6gfH1NvcxwsBppFxSjnvVC37Kxc/TpnszEm8
d3aGTTmmgvJAPB374YPOvDpGamVBGzAbduDeKoxV3xKUFHTGPumChuPUBkR6hm3OQyegPX/DiBLM
q4IL7VTtpW8OL58TbSOgB0Ws77yKaiJJloq8ouu+o2+FHSkLrwIOqpdFDw5WyOHVdhJcpfGP0KJ7
jz80gZIDTy3iBbyItXsbTDA7SoPoJm6IOahiPRbdzs3799GoDjhEoTDXDQdfGhEy5oysEOte2D4z
iPgu8ACJgl1WSc71XSALmbAuWKrqOGLqhA6aaW7Nnx6a1UAnaoMIjlv76lcRSN/EuvQ0k4iqwKiZ
x9GjCU+6dDilqoltSvPA0AXKVnM+bnV3n+qWIF9N+65PzJtYOR+ktRKYG97YbmxTR0NyGb2VZ0vm
nzW/JsrqauVPtEdC9w2PQsHBfHixQNMroifMfEKMUmLeVEO+S7PousBDk8fItA3hgK5qST+LZfWI
jTS/JPGPUUaXPbBb3GhIp4zTANBPtrFhxR43KPE4SbYR47xR7notTg3H2zYneixqf5dNzRXUBa30
RB0zCHKbYmDUg1Zx22WZ2pj0+xiwSwyTHHjMgrxy3wGvZDnkUtEgxkDELDOalsYureQ8Ac/Tta+G
bmEwC5cbojqDjct7N+3G20TRQxaWuNcDoHxYO46OauotNFiW6Q6jiq3teJNX9FWS9iTFrobSh7A6
VVmzLRsXR1ue75sZX17cWRtgAcsYp0CsyBewIodyuu93fTyC2GjGTVrkd4UHUmMOU1C2LCMmcrZD
48WPEvHczrCc/Niph0bXsOxzHFZvE0HSJ5VkR2fo+0vLucndbU8cmG6bRw1HvgXoclmH7noIA33b
6xIdZs9BI4fB2HvcHc631WG2Ne9YS/evpFj1Wdc6y9gu8+F1b5tHfLKvZiLcPVLPt3SOCiYFjNbt
+N5LUnGw8c3iUSUlvtNiMyj+7jK/aCv7BLmmW0eD/1EMCbD2KIx3Pkm5b2SkZPthjuKNp56J6HXY
4mjsQEmkaFKgjczBvKhNkOx6jp7CorrOylBuRwpeM6qOwhh8hA+pZioN7UbON4aHti1SIJgCS0V7
klkfR5vJBsp8c9X1ECGHztpHKkjh4RYkmfXRRz5oKlOWuIGTKb1zUozK9ipWZEguTYOJeMzTbD53
NNS3wIRZQszOO4HHv2j8Vh3732Jg20ADeV8o3qWgIjIus2zrDL2BYbMTfTh871SroxTG3mIHI7u2
tqCAFDbya/45DpGuG1PZD1XQMToZ0EDbXKIae+9We2G+TZrXLMiOkStXEHPZpLFXdlF+b7ZDvWrG
0Vx5XneweSp8NBl6QrVmtHSzKpk+WhJRTIGXiPpyNRcfXTL6FKPook6RCKr93BKMENf7yfA+nEL9
HgUWsJYTb1HN625UzcqlS02w8cFnHQY9McAzi9WdylNO6tHSPQ/fW83r1EN7XUfNRE+aCdIhuC3S
ZUoDK/NsWYlFDSEYRZlo60XJIcHIS9rCTUjq30jpTQcCa3RVIkZi3kfnMIGrk3TlYZScA/AIsNGa
3NgSa926UkGwcrD0rSrPAwmIiHEfVwMYi+DNmYfwNv4/1J1Jk9zIla3/Spv2kGEezJ7eIoCYI3Ie
mNzAkplJzJMDcAy//n3IUktkks3st+hFL2QqiVWFiADgfv3ec74Dj6+vVW8PNZ9yNY4vK3UhgiSd
QS+Z1pRH5NpGFiXpkpZGdoaiQcGuEsrH6kJTVGqyqFYXOQle8EyPrvBlrZzWcI820EvQj8oRqcrZ
CrW1VKbHvOEDiBFbrZXi7SqFA/HXRc3c9EqylSOAZJjuZViNVyM6x9qLYaSjDiClMOzXRZohglbs
nTrr6p2uywdO+G3UW9c9T3tYaDyA1WKcb4Zs7cUTOR152O3AnZhrtUhNmF2G2KQWJSLrF8RW+lEr
pnDeqk2ggHZxqVIsmCkYv4StKElM4GNIWfBkHGuqZXcY44tcUrabmrmptL66n2B/V6ItfTyvrDVJ
fss8Pj25E8Bm7JGxqRJnZkVP76tFrtucn0IwqEoPN8jB7xoVT23riNuIcAJF8/a5qMerJEYHN7qE
XthZDLpmEhNp9tZmwMLO7DJiOM4oiFZWsi4ipBAtKeaqVjwnZtpyesGryFd+9qAJHpK231npYF72
hKoqZYWx1sOuuYVYEAXvOo28t0A78eiUTU7kseF0G3VKr6X6LOHuTZZBFzFi4OqMOx0S8zauYA2m
80MM6mBP6fZsakNMya/t6ylEg41j2KcffS4hKe0dkQLZ00S39B43uZY4V9NU3HNH7XNk9Zy4dfZo
NXuqFxBoGTYYcXWNhFc81Gt7rrqgnYA7Q7ZPj+FfLTSgMqWMzUsEaeAgrc5asTHle8X+WrMFXhoR
sHiwMdaFEiXlot9dccaZXvOp+J4Bf7SNRr3sxto9E93Na5XlDHY80maW80AsBt8ZO3BCpfnsmpGv
pH3rayWFT9uiUwB/pAVl6zBMp46yafH7l5k+NDvTnr+0I3u+o6+UsdUucIcl27JzrruJh0OLS4Lu
omkbTnw5dSEFpcI8ZTUgPahc9yVduS08qnkVtrT/YJHXlDtUMr3dARftQMEVSxk6knWgpRM4HUBI
idGjMpxUOthsS1EF/mmr2mW30YS7ZTpB7mid8vSW9UUfSgCkITGaCrmxDTotd0gew0TcQIm7nTp1
XDE5f8pbSKCQaJkJKqj0BM3jsE8fmzp7JFv4OJWuHox6skkkGDyLIEx7yuJNHMHntRPms8O0mpPs
Dl8S7EPb/j7WS5RuD7pBpPeR2XxtLCieefKo0gVkA8W3XkQMXG2+bhuNt1oFU3mKFm9LZD7L2vxi
Ns4ZpMS3Ls+Pc40+Pe2HmEMZ445U42xXx3t1tK0NK7mxKnPjtnZmaxMX7Qv7NLIQYoLQQBJxZwlm
pzmloeocQ8+5KQrru3ASdxVbZMdY8Qnx80UvGczmiEU6ziTQD8Vl5VAZ0svW8mTHvusFsKH2WdkT
GkLHbKXo+4HclDrKbsuBHRWUx2vH2LuUyCx1pyDvMENG0CGymMNxBQ9GwiapgUsTFICCMt41oodt
3FT85OVdpJnrbnS+N3b8qAr+XmmMMX9b3R9yF4xRyfOtcq8Gu90aYTQGc1tcxoU9rEwr/+bW7YnU
KrJ82qOqd/2hHdiUaEAx9crPuMJukl7jVQcmsLXFF6PP7XNXcgrtYi0YsyWYxMv7jVp7aoAsajtS
2hjM4lbogslDdZll0sW6VJDkgFEUpg+OEXHZtI1IdDVqYoviLr1sde8mTiobSY0GTZh7WaTw7Ulr
Eaty3pGY0gSaiTKlrsmQxf8UvLvnVWUmv6ghEpVBBzMLxv20vi5H6z7urBnGAYoEy1CPicK8CILK
qjF4SaHCaSY68HlKdl45nTRCCZp03+clKhCC2GFiBwQI2T50E2cdAyPQZHOoJVZ/paJxFdHi1hjn
+4VCMaIOxRg4GtPR87BQCIDprUzBKm60zH9qWlJ55NBxqrNmHfb5Yy+oUz2dHhPX4wAMM6sP133P
m6qGqKGiqf0yUHm1tkOmdozFIpIxJC/400Hk8i1n1970KoNfjVedKoYc1ZBPzaQBhqeBIyPzJ+OO
XhJxPoL5T2oOKquxd0o4sCtxzRma3o45zr0/RrSh41l0dEMJAhikQttm6PaaXt4IMEFQPSPJG6Co
gZOAkMNw5FzIoZvWeakhR3mwDI2VjlCSzP6eCOWmAQGApHOif9x0m1Lkb54BPtK4GbvSYaQBYxxT
7orzBVKDqLuIbGqtqIuMzXTKOHZtFFE9lcBFY8u4VcgPLdNtBgishcu6UT1MufVRY6pe5+pbomOw
QIOdrtA64PMu5E0y22/O2NN3KHdScwjycdsXW4dSKfY1J3G6VCypo8XKMSMqMnMijGM7hQYBuRo6
KEdr1C4E7rjOrRU3FyXms1WkIjPrpuQMvoYybCoPc1npaysTV0lfoeUpBrrES6dmnq8cjuUrl664
Zn6dutRHQlun3YXo64sUA1ZgFxyRQo5h2pzhDo13cVGDIOLAIrlV7lQ5wVzFZ8jH/X6BEaeNxtHa
YpTjlCxm7peqR5lVWdnWzDl26bQ8+hpdEWOM6jKN7XY1kXrBSj8c0ik/p7Mxkv1lPGetjPZ9iuPB
QJBfY5C3GYJpKdEXs6oDxbcmhoHtTslNXpmSRz0v5Wtb3wMv0heSSbJzEtVEMTCRC9urZE/M8bQH
mN65SOQ8ZSASzCPiAFQw/FvUeJIzM9sPMvi6XcNVuEAfme0UIBm8xBZH4z651any1i3cIT9vcGKZ
CUnqOkU6/kGHFusEN5JaVfAdRMrqyQTVpxb7mgN8XrHgsFEP5CQ38vm9fqgZ15LAcNmoqLa9HJNP
BTuGlzd3tkZn6zur5uSTac681ztmcIkzDa9w3xjlZNfo0SgljOaNAA7jC0C/2Le6WN5h7iO6x5nm
qxpLoNFSnoiRqNrWaTBVVc1T2Tj1ogSvN4CNL6zYurKS+VxCjF2HqKSIkmMCqliU/fqgIAI2X1y7
+4r6/hvHeuHn8M/NKYYpMnEadoDPs46fCLb5llfRTKJZc5GSRuJEzG3qHl01c+Eda8mNOow7127v
ugwAoafxs4KXd2fYny2312EKPQz1ZZeZX8sm3ZHId/T6Zqe74wEktEXWiHXlmNWuRhe+nODbjdeT
/JfUtMaS50R3X2KDDcZDSqW2ADNbp4YnOVTbMFK74ySGlocPUWNdbOFk0lqB/FfzM6zBUj7q0G9q
RyPivYUEpm8Q4zAoTr/KzLsemvKhGWvfVr+0mn0nlul/ZLY3hoc0CpxMhoiyYFdAL46HH5RTNUFK
nG97otro5qPbKOzroRVn0VvsFRGj5Dok3SxbO04SyIKVs6cgqydWEfa1wBzEPWwqIOKNeqHomU04
bYIIUUGPw+j3oLQ56h29vy/M8qpRpi+t7Dd2vOSX1Cu4ZK+VqXLMs58VmoXD5G0sCWkRPA2D1Vo/
h0XYrxhMwUZjw4prIusVP+7C57HodokkTre+1RoVET6Jf612n0TeQz0p53JmajsZpzlts53rRbui
xRrAwYUTfXvRdCZxwJnnp66RBnmunmpV25ZGi05w1L83+dCujcEgXMAstBATnoergi5gB9JmJzud
YZOThMXBLvP//EtK/fKf/5u2XwWLg4AuSIYp6W8AtXSCNppQQ3xWHCYbJBuxHHdqBAUis6s3Y8bu
IFyvC4i4fNRjaQQmsOcgNpbKdHhFkt08yTFGL5EoHM7inYd044aTMSBh6LwkrsjLkoYg8zHFPbjM
WqwE7YqFYFy6ojgoEqSKpLAnQsoujobXBE7dQX6LGsKKNLKqhVp9M2B1eB3rmjf1it/S7iYr6toL
2X2FaKibTJSKDicZV7PgIMpWbq3FBZTESz7OYOlM0/LrwowYwBvoYEjN4AOaHJne/z/+QcPSWbZq
8urSeV1CsVrh3Jjofo7croXwiMoXXn9WXoYL899BREHtqVTcKLrmCUkkmtGx90tC/aoRKaaOEbyq
vItOqWYm9KTj6YgmtK7YMjIWvXE1Rt+nsaXZ2enaupyy+pxvKxNmZSdD8EDZi1OgHLX4AoScncKK
mOnWnZNA72PI5Myc+jgZgyjlAINVb82xOAtCG053gqDcTzn4qCCqjLKihkA/AmNovGu0kYcuSbZA
IbZq1Q7+0HrT2si1K6N+01GZYiKZvbrFrGQfk56YitybNui/moO5QTdzF6NtO3VFj7AmlupGRwg9
dx6dEjEjRRbfYmFvrdqJj2UbHXDJPWUR1UqNGA07pBrUCmaYEuMPZvm9UZmUPBaual0f3wxLCy+F
B+POIB6nC7Pmjpn1fT9UyhpNCka8MbyhYcExq69e4kx8T8fpm0PKQgkec6vydvqFJ5bwsB5DKppq
2WIub7u4u8YIyCBPN99katOKtY5ZxdtnWqSgl5N7UQLhhT+6dr3kS5zhGxhHK8gs5nPJbK2yWW/w
yiTfOYvLhd0SrjXI0byB3sEyB4a3mE0JSUMt0OZfmgTCLpM5uVNK1T1XNbsaAgYg4PpVIz1v18bD
FGAbSX2PmU0gsmrYSFN75Ql0g7/MFbTOtyaTCTpbB32ekHh6MULHkNEUNGQ2FAm8wbEU8LUgRQKY
SSvmhNi1sRshgIgOE9OebYzTrKNNI8fU5lyV9+tZav6k59pB1faWO5I9wVxia6jMqb1uLLYod+lP
ROeismHlCnLbLE3fxYn7Nukl4QUEPwcFDXCTD59q2gulwMAPDwjfsS4t75xUbXgha50edXnUc8pp
K6548iitjq3BxMIAB0UVlF/TnyEGha6kvp9S865mQFcPsrxNFzjf2PE3DdSqVOX2JiVoSa/LbG/1
REmZcTgdmpjftXtAETgFdYq2v7Dy7zndUWtS5w3M+J21yiseXLOq17WYXkKn/qa3ru1DVUYOoEFT
pvoISgvVuNuiiszJofRBqXEHMBfW0npuEYwQdDMFaJpddJ0Y8GZ1OtsJuF4SJTmLusmzEZVf8zq8
0TVcayD6FQ5mIr0VHqsj2Q/PmkNBPzUmYjlzIlDEid/QbOvrYo6vNRXIVU/Z27ftTs4eeatT1zHI
Z5CVRCS1morYWJh60KfIE+ePwIGkVI7RjuH3uemM0i80Fu/ZJJK+a75NFl9LyayNho5svUjtDfum
HsRrFQ4kpxsUs3B2rwTjj1EeI+pQ0mpw9VcMlwfLfchk0a2FUF102v2pN1BdlwkNx47CMxnZYVMS
Kwy1K7fq+MwonK50RWE5aTSDUvtl4FfWDG72YGlbRiCEuyfY0LMeeHA2w5WJ4kW/fodyltwDp+t9
TxlvYmuDG5KTDmBokGBBOsVi6+jcEQK4U1rv2GaG1mafMXU/6fp5i5IeRxH62Nrkb53ieDhMszZt
Y8n8n3YIjr8hN4LRUWlKoYWdl/NQYoHSHJtHlBCo94xNi4FCncsLK6pfHLVBhmEeO3J41r02e/iZ
xTmbSW0ZMJAQSEUWmz6cc1rbQTXnGF1dvoEX3TPnW6VpnK4qbsgYNfuqXBpmhfPmEhuxWrSWHRs6
HdWsQ3XaXMhKJzG1SWmTR+I57OMDJrp8beZch+Yv9SaIhrXaetuRoqmO1mKjzkqyzjvlcuoRD0RV
tG6KHNGO1V7xPXEsEieVUQOq0Okox3t6RaNJF4IB6Dobo1fV8zh2uTKw1eS7rdV7i5/VoXTGWDN3
q6EdGMqY3nNHf40eOeYE+lXNgAsh6pnEqXb21rt2HZSFRzzgMCMhbK6mzGJaXUT5ehjGyzacXurK
UvaNV2ns5QhRUks1NyKVrS9jl8wik0Y347YonO6VPCdHdWiSDe3e/CgGh703Gg6DNV6lFQYTMxKn
fn6NI8Kg1MqK2PNb6hsrOw3ZhIqgmDlxhJqKtZ4joFYSZMYEPowcsAUl+PCZbuneK1j3Jo7ltHrn
rdXw7y1gu1L8iO+WdI7dKMkWS5v1JCL1lkBObCoZMyjVDenxeOONsIkF6grVu+5bnLrRbESHcqra
TQsS8F2oloThcNtUpTwggChYNZK6jM4DK+hsMXmeBP7xEDCdmbREMlrmU4oHf2OE6Kan/FUiK/cz
OrRIPGI8lH13rZNA6AnUPZ2g4aGrSPs1qV/Ah76eFQtjhYkEOCxfE3nLqAZwIWidjsbdKp5RefWj
p8GhbdftlH8z2nGfMwYBwGqOT7pziw7tka6eDOJCe1TMpWtutyjBTNIcFtvCopF8122bk0RvOR41
F1gcnUUBro4hHmIXGI14FybdhKVeLe6hpiVq20duUK/s1LgeykUunJMZ3tN04fzit5FCeFxrIZXh
vU+z761C5Kdg7ByHKCniMXrpGW46TfFUaNFhpmINh1fPUS+Hg2YX58wW2EkbeT161YkUGVYAJfmW
gJ7H8nXELflgu8ojEVXPoJVg8+ICkMeMQFcl0u6EIt6CusFYNDTza8Vu6bdHEItioxQN3b+x/TZy
VDKz7/C32xUTpOibotEcswYkLijlWuWu956SuPnmaN3LFIkXdVQPphb7pjHybGgV+DaYAbJivZb6
1tKxab2zMgqkcfNM70cm3Ei7Uu4z+KGlq63QlG1lrh5lPBGWFmYvph4idu3fbJVzb4qfQmfoFeWH
aJjvdLP7AgSVkQ7zo8qsN65uFr66qOupIzjSTTERsNaVa70mNIOcor5XddLAsCVca5HDD6N+AyfC
2lCLL2Ni3Zi0HroZ2njMXhjExCtuW9qBFx5NdY47iV1sYyMdVn3REMXJY0+faJzJWpQ3cw6jbvn1
FcnGEnGncaWkflml1rYMsf+C9oGE0QW6oF2M4y3ZlDbbETXLjloiEtTnEarEbVJODzAjLpo0ETvD
Rtxno/rn7IuyfMjTy1ntzaMlhpsMaOzF2JYHqaN/SBxlL4X+WpCfubGGmlmaUVGok3y+aiyGWCQs
hEU0B8bI0+q6UNd77H5u6d42U1ns4pxmVdy1l7pBLnciatTKc7t9N28o6QLNrKzbtnThFM8xvT9R
jqtMzk6gkPHE6La7NSPD36Wmm9Bg6mo62DdaSBPzXYAzKt6b1ihyy2A6xJaF9AKv3Hocyoj9iibL
MupIJV/RZQBZaS2Y54yIKmbfChgXNd7ea0ns7rpFyV8SCOunk5MHOjK/jedG5lrxkm86/TqfSLWU
xSRPV+NMC8Ws0H+PIYMPV09upjqWu7KaaUOq3lqRqbJe0MtBjdg0aDDJvy81Q+3OO5t7ueotDvoJ
x6Yj9aJOZUeG7wHiuM64oXU2Tq/gXFGGlmfB3TTEniUZ56GpeclkvnHT4jlUQI50EZWEOgJkbmmr
+67Glt2bybDXcvRtgxh9U3gTb3lGXyYDXO3FXkrOpKmvu8G4yxnardw+qTiOgjytlZGZFTY33emN
raOUaw+PIatzex8a9PASpqFrbTSPc4R05s+WbdP8xTG+IMSQt9iOrS4QqJ8JDoNiYORR9WY92Cmh
KSDQjaG6zdmeV4MTfSXFmkrCOYWae1sUZRwUdvI2FmSjlAIXIx3C+zTPLmibbJb/hAqrST4/1oqw
z2JAsBlJTm1JeEPLaS+IpbYRvK9lqy59yuRbL2psPlWm4D7hGEdesE3Aya29zIZMM5G8/1doKCwS
cst7bUirQ8uEe5UlZbztWbz5N1k+DIbsEzjIO5zrZ/+45Zj43ujYGlittA8/i4lKOxyMRcsmSVHM
q1Kgm685/1TbFtlDUavfZ2uIAgs1gDcXFzS9qX+LrthIJ3+s7Yono6LVX4HptbOFERLXfjGQoppc
C0f/OigVrGJEd/QwYXwhvQDoB14LT5RRErlkCPt7VpsvpkVer5vmnM9e3YV7UGKzVKq2PIY1gFwp
PjF3LwCbj98bgipKBM/ka79DzX4gyBgqmYoz9oV1b9oX2lwx83Wj5z53MVehYFo1LZ/hz48gjvxf
LwpNCIT14te3XfsD4YQsGUV3lxFK1N8UAra5imlyau5Z1Qf/PX4CJa7SShIN9ZLGsH7Mc4qWsSz0
zVhgMqApoAAhXpm6y9JIOoZC0I1qFQepEmJOlmUl9DelsdvAKdMzBCecDaYIOUHKE9Uiuce5cZkQ
2ZOHjtx0jjHeVPG87WaWYLVBQxhl36Ks3loeM2KqY8KApi94pp70gmniRGW3Uh04697MiVrtOiKF
K9GA/sXrHgoNA9GojYHVhQ9hXp9G1ytOUXMP1Ix8Xte4hSeImcrbQLMi1kjGPSP8+oZZk0ec7Ckr
geO7zrGHU+aLR/Qx7Tr00DRNI00PSpCYB+I1ZYaLGwXbNW4rKtIuCuJR+Uo3INVrBpQVvRE7vGwK
4+gteWG0UwiqmftLZ1AuFqkVqNZsX+kEC3aJ7ZwuwtnxHmxxZqTQ46tpiSup0l2RaJxgqvJJsXBl
l73qHhXzccxbztc0Lz13tP0454c3J5guU/eMgLS9F+L052fmF8ayYwGto3vhaYxJcSd+eGS8qQIC
OTQV2wQy+rE0z1GVPbpDWzHhi7uVq2MGSxwZ6OZ0TS8n21Mtk9aEEW8C9086zqYPRwzdqHWKFn9R
3nZPTma8yKRYz8No7m0myKSVzbk/zeNarePqE47WL+QZoDm67umApHTmS+6HryD5kzqhy722lmOK
ipKxIdNzqCmPMGjfWkoDvSOu/uIt/Q8A+f+rzJL/pdR+OD+ArFnv/gUZC5675/94KzsYdxfPxds/
/nb7XEa/CTPhn/lXmImpWjiz4VSRxm15bKZ/wfsd9++OxWAHRTgCMP6bP0Ew28X/+Juh/Z3NFSYo
i5tqgKSAeddW/T//SIVY7cFuVvHSO6y2//f//AQ0/itK4d9JC/9R9sVVlZRd+4+/aR+gJ/8OM1n2
+B8W7QFgfEFJGW4jkek7GXXNthMhJsUoJt0vbaytMsT5ctSFRSBG8pSjRFAImr1fwzw4pZLiKpmV
h861UtxW8VcMgF9r3anu5k5LHyupcw7BAEE5HBYbzWLygr0L57/bMmIwe5z/ClRSuJoIb5vcEZs8
0hFVSBovUdiGB1CHxnew21hqx5BjcJPRjHaEPXybhk499GWKSAPU29rL5hidB5yWgXfn0DgIwd1U
EqpMiGLn5t6NW5jQ7iCulgGsAm1Fu8cIWqeoTqNT2YRj6nRpMjxsozN6xKrarKtegZKsnEf6VeQU
qZim8FF53WLh4+yrN8SweuMizYinN0iKPT5PJ/Int8S4rua27/SjwXDdK3aDiJSdItE4qxC7sGOq
rNzpxGHFQXZp5ow1SShmWlNtAIw55FX1chcCFPY7/EKMA5sZT4rD/E0XoNlMK17HRnke5kVoPDI6
2PXRkO8UnRrS62Y0hV1dfM3TyLlxy3Da2oj7z6VBeTgiJsYXhFUAobSycV3ZHiYvIbVe/+KOWbwm
bWryLRN5To2HmY9q5pvJNKtDrohRZ6A/xZt+dL5ow3gXc/pxx0kgas5g+tveiVKGY5Ag9RDAs72T
BnHTchiRMJkxZqbsHEKQFhFScjOcN+biclUSCyWjoI6jNBOrHkwdvq98ukVpSH+jK7NrW3RM3VsE
Px7+qK+t0aEOrnvjEI3sSSbm5p0M1fpBOkN9K2XB4T3qnWOTuejQcpxwK21uIHUM4xCkYyIe+n7R
V8+MiEzFLnZeoeeP70vA/8CC+b8nweSPq+DqORbPSfnTQvivJdBS/85axavHlruENi08tb+WQP4E
h5kBZ9TV4Yy6y0njn0ugbrMEOiANFsifZy/13T9XQN36O8cPUEJgJDVrWQP/f1bAD/xDbFDvNQHk
K9CM1JHmBzh0l6ng0rqRqFgSJC7SU3TjrThdbsbH9oypM71UfO+sbKMv3blcR1eWn23S7Q87xtVf
pfKPq/CynP9QQf/nZ0C7w0xFddSP0HtoJBFNgaoJvK48eozRGFp1B5TDuXkz1wcTFKlQSLyL5Amm
zn3SsFjW7Zexa+nbpmvpFWvHkLtWV3bz1B08ujnS64O+zG4IQTuqyfxS0lY2GKMvgA182XfZ1Kzc
JbIS91w5dwFn8zWTgxNZGJc9Rt9a7TYQSXAJIKySiy6AdBGiXH1OATiKw92IEZB7tHcgbdCWuTOU
+WYgfUUVL12srmfXCkzGFhwNcE8Yhz//YtrPUNhffrH348EP21eja6Knh9IE+Z5EKXM97hwfpeAK
0+5a8/VVvPb26SeHDvPnM8evF/3wqOB3n9lJKNKz5kHqL8TSAAmI9p0RXc5IyqRs9uxAgRo7+2bK
WJDyXdmF+ymn9/w1NeuLcOQw1s/0ZSs/dOiuNQ9zFiI4YkbhyXUyZadcPcQEpDfQnMgRJqnjYHeu
bzx055Ci1YivZ9e4ogty0UQXFsDdnE7+n3/bZef/93Hu12/5AYQ194OV0Y9oAr15S1X6lc3qzxfQ
fve4Lyx6Veel86yP0Qa0SrpMLGQFjxB2eKeNPt3opFJVrbezBsZcPI9Skippv2KpWmi9hA4S9dxH
KWQqSRJa+VeF+1Nd9OMbqP3uS//4kT5Q6JRZemisSz7Szt3WV63P7VxBFFqRBuznByX47GH67ROM
tg4cgaUiA3OXJ/yHJzjVBiymmK8D7vB2g6TBv6NJ4fOs7NWAtcYPP3l8f7vS/XjF5bb8cMUwL6Mx
mwpUpKuJA4ofHeUtytGdeKovo4NxM2yi1+pu2JvH+izf5NdhV2+dTx6u3936Hz8Dm8SPnyENCyR9
ekOmO9UkQLcZx5U7PJpG99kK8buXdSm7eUBITCHt6ucruW2StJ2eN8Hgq752Sg40TjckKR2dT56d
336lf1/I+4C2A6qL8arquZFIHHLjZLRHEGiIm/JPDn+/fUh/+Ereh/VHZnloagnbxOBrm25frInZ
5oFBwuWzRp+jjfbJV/vdKmuZVIb2ksdhWx/ulmFl+SRnfkNUObS7n8M2DRyE9p+sB8u/5uOKY7Hx
OXSRXKoB4+dbZcM8nTMT4wlIYclQl9238utH+675QvzJVbftd4xviqfPH0f9Z/jlX4vdj5de1oUf
3gmjMUXEiod6NtRggqCkduzmAjcjpkS65Ai7CwtuSo76eYnEe9RZqhOZXug5QzKED5FhHEfmm3UB
3rHcaWlxqPDAffIDLUvun36gj2uFmopZQdsV5PIwyJoMi+4x6QYoWuhui3lT5fRiOEjE7XtYwa4i
7uyTz6D/9jNwGrYACjuWbnz4peoe/Xk3Zby5ZzQdvvESbrGkbsCyb8iK4K9oeuNg95+UbRHASuUT
7f78M/z2RXNo+pnakkujfnj851J43pTyK3SmQaTyZS1Q+olXOs1/vs5v9yfrhwstP8UPD0VERVol
YUpU3Tq/S46gG4/d45Xn9xt9UwUFCfOX3z9bGD80NP/5JP5w0Q8vQVeIuS4Sft8UwQ8VDcOHU7G3
nnGnfbIGvzeif3mcfrjUh1sZaW1pJVQzXIqaLoh9zL+BOIKs2punelt9Atf89Pf88PiOZgvtmIT7
96V4lKvupAWtX5D1HUCZPDX7bpvhPAk+q6s/vfCHHc8Vk6UK7f1GjoG+TjfMRAJtZ+7Nlb4p17TJ
16wpnyyan/68H1bNydHixFvuJEKOG6S7l+MOKN1+9JWteSzPcKY+eV6X+/Wn+/mhKxjqbqpNy/Mq
v9hr5HkX/Zb+7CPkj1V/Qly9dT/ZiX69IDB7Gy6EDQ2dUJ0PL0gcxmU7hkKgQ/GOuKOEnX/2Di6P
+8/f6edLfHgdHNIKVX0yYUmutU0ZpBunOixaA2C5W8snlme+KfTnT37IX9e4ny/64cUQMsRbk3BR
C0YKOLNtrsDzE81WKd6ETdorMrApaveQ0DY1mAhTPnzyCX7dj/gErm6ruu1B+HU+PDuznoAqUUhV
Gaq31rhlogNxKzCKK9S/UMC/WFZKdubN1Nz++cK/7vTLdW2VLEWOwfQlPyx5ltYmhay5rgfwJqmG
XdJ49xUYqT9f5zc1zHIhzyRZxOT0bn8oy0y46hFp7yLApHwS7zVMyYHIR+AdWD6KfiUAFPnJRX97
X/990Y/xP26p9b1E9BK4Z5W9i33rErHk1tyM/406+5eXwyXjgjKGtCmo2vR1f/4pq3TO5IRIITCp
B5vxmnzj4M/fh+PBL28H5yaaJrbNdqgaxofHxCo5WqU9dMmmSEBBx2AJRI/6pCqxdAzzW5Z1gade
iKiBnqTQeMymo5TG2SsZSzjFRSFJjoGpFU41yKwGWi2GJlwWZVqtNI/E1qrI0SQptyh98Iqj4gTd
iQV1bL6YkwXFJgJnLgFRyM0obsP+28xADKiPdF8VBDvYF6Cg+lixvmqomv0SMqSYk7WVCw+RKkCz
ErJUxKlrNVnh49wmgVuIa7vRnlpD37dNMW1sXOgFzI7hasYYjRMKY/aDYsuDO8WrUPFeO5V/0p23
qqNsOwPBiAonVxXeaUjVVZ9kSFXwKEjlqxJO62m0gb+lN4rh7jTXeFJLwBX1g9uZWw3cZ2TYZ49O
JJD6y1g9oZUOSrvBuaMFsrurIYN6FkkqWrseRbgfUBXRV9oSwYoiGfBODIVpAPBTgccCpduqSO+y
gzM8h6hAuvEsphq53bRywzzAErcyIUbq0gsK78nOnKt6djZVqDBfjFepwv6PKapSDV/v8Z+bJepV
ia0BZgmw4B3oFISJMiiqAS3NvalVGBIe5qq9ywAsz0n50EtjDVTer23CzXb59JY0DOSd0Ids4jYP
BWTiOFe3kXbdVioZHQlOLRSJotEOCrKd2Jp2ucBZrSqoFt0gw5lG2sVKR+Sp45K2oKt5YJg8iVG/
X80lPbPC2ZSQ9DKPQYSLv+VWTuhtU/g0jbKO0p0yvocGrlrSrGdqU4wSN3lXBnShMMm9QP6Iy/Kc
F3CdxLzrO+3GacsThounBL4obnjAydXeQPSVoL3H9t9CN4pbnjksIumy82lY3syJiJJ5I2IBBui+
9dQTyw3xGrDzyK10F7+Cqx6dPgQDtPt/nJ3XcuPIlkW/CBHw5pUEQCtHyr8gVCoVvPf4+lmomYiW
KI4Y3U8dfatvJQEkEpnn7L12okTgBg8FH+uFOHq/i8Rcgdd6wsrieEK/FkkcoI3wKmOsaSscWp24
lYMbXD27EWRCCnSxA3Tlq+N1luR2g58fHawDyJzsdjuf47lifSWS5hsNAZwjo9gZGPajKqDTjA1J
exXxBEXEUfmWso7oBFfqmwzGqI8QAIdAG2KidhOATH12Qx0cy920F7E9xHWCx/WNWjzdVYzgQr4l
+igCOwXVyMIv7RVq6vbwAa/C5l4Yyo9Uqfbe+FzIueMpMb4aTjg+VM+kvveDx0rdIZeMmOqQuXIv
RHmJywCPJwBQmupLsnIgT6RubY5Hr8QX1BYop2c3kGC80MjBDAmlr+ltBdoOZqInOVNfA8v7Fbbb
UH1Kq+GlJ3cZGrdjxsAucNLZUaL99pMC9lXhliB9lKhZCBOJFQN8FA1uEpSbIicLBDKLWLshJIVc
7VHz5kc0UqtcqfF26hHqMmM/pEd5CK/N5qnLxT18qIWmN8dG/CNUV2r9KgUGHzRN/60E0DCKXY4J
veoqvAb6JsPp7rc1pirekFYvNjgsgLEdyKF31ah69glRjxBAx1N7q2ofk3LM2xhwa2FrMgfinrgi
oTe2oXfXyX/07CrSd1N9o0PVNRDJNuCRpdBzhMBAuc562sF451/1D73U3TAaF2GLVdaaykUhdA8z
o3QQJnAlmRPxv2FUwNHaLrUQx24PqUXqt22OA15Xh63Yf0SlW3fLHHFnxyfbKF6NVsPikC4jvXK7
znfb6ghQ1FsYaEvj+qnHx9Ma6iqdjE3dPTSdDAnBI75NBsVZok7YT3OAsOcdRV1wBsOAexAqrKTe
KqDmi8lpWWkWOvPAbqKrIXsUMC7XKgvIBHErALVZsOynwZ6kWFwB6C2JbtCCtceXqQsILx73hX8j
yyMGQ3kfJR8YufAw+CvP+APpwW3T6Ko2aPRVb5PQ0IBKtxIichEpicndqJNqqY3QIgCLiLG00CaF
70BQbOiyS4iwXjHS8Jw/cNEta+UhDWtQguQbtCt5KFdJWtkxQTyCvM2F1zDUt618qBGPs5hNOvX+
OHZmbH9avnuA1Sze3paZZFFhFrXsuZOTa8MPd+Aw9mMAwAAn8hAYi6TXkI3WWNiD+yF7jgtgLOmV
3h8b/yGRDnld4bLvJYcNMiQVlawU1AXde68bxE7lAbYYkdW1M8c/ZVkMS80kwizXPQz6DeqguHr0
lTJz1CkiARmKWTxC6k8yhwCZrRIjO6P5p5DyXD9HwzEFY2+O0fXPe41vuxlMMRJlGYt9BuBC7WQf
nje9YOUW9uK4Jnkhxso6Xdjqn9l6fhnhZNMdTLi/k4ERfBi5fvsytNB4jQvlwPkIdHKc+DLIyRHU
B+Q3i+1Q5o8gZ7p7FcdoL1B2Tw7T5ENkly7sOc/eN1VDe0ggqiSels5ijDlRrbHUefjxMefranNh
F3jmdMujQSfAKcFCVyCfbAJ5cUHCqVSQ+6W5gsroNBt2tjYZOAe4l65opyicFv/h7EfbjZqZZaiK
LhknJwUIVZoVI/e12wRzTEwPVXF/nnLy3+jTb0/r0xjzfv5TAcYLx6ToBR+XeyFtw7JWdpzid4Cr
0FUKdmDEe3BOz8XMuQrQycH6yXOYU0Xn+g1A/WCiOTzKj8pAOyr3EJ8mq2x4HORnK8sh23aYmqtV
aqpOOXqr0fB3ilAv61Feo5ZzvOqB9CK+R4V5NeLDnr/JRju9ZAb3V073og/XWX7qgzuPjvIEizjI
pk0pFTs0UGtvTrUr5W3q5W5aqzurCGxfH9d6p9/rNR/nxLwRiLsF+QuDIFxPEQRKyo0xCUsDe4Sk
2Ch0w5U5XjtMNnL5lrBQV2W4ikasroKxwpXrFLmIPoI+YVO+mhIfsZrm1xzZBKs34Dos2ghJDT8x
elGbO1G/z8vDxFqmefKR/9tzAsCqjtv7sMRUpnRExWhOQKMnlDZtZR2SULrW1IbMb9QV01WXH6Ve
PZKYu2hZakJspbqHhC7eiMorwUV43JKlgqph5OzD1mtcIV08YHBdagXjRe1CatMrMm7WI3kWDahK
P+VQPzVH6RmtYowghLw3J4AKk0eto9ekmAS7UMEloUDr8AM31YI/hZGtWzNxp2iEEK4sxMy8Msp+
2VTWFiLNvohoYSQPiRxt4eK646xKM9s3WNVGY241ic0iORUon6mfeuJRK8V6WWbirpr6dZXiva1d
Yn5IlxyAPXgzFjxiAQeFOFrEWI0pztuY2w/g93UgVnFUWUGwFI+d+C61e9N4qbJjb7WM8i4ML776
XLfxe1nou6RNdp2Xv1gJDvtKSVaTppCmJW2ExCSclNyJwYLl3EBr7xWcAEHqhqlxxJQLoASIjwUA
SRPecyN5i7PpJVfNP4Wi7wS+W0s5Gi4s+JL+vc5qEKvK+VKGb0pd4WRdCeqm1DM/ruzEe08w7hKy
teyyOS2VQ6PxkRibrr/W9HzbAxZN86PAtp1JupAtny+vm6TQ7DUAqiinSIxvqo0nPWn6Y9Y+pgFS
eqxtkIz5x4IF5hDQKzaLrWTc9GrnFM0dKW7teBVkoW2Nsz+LfXZTolstMNUR9H6fmbhvoATdTuRw
9Zgq4q7AOsU3I37KkoOOkjiAcQlj0XsgRaCGekkyrKr/CiEj6tlRRNgCv7H8kLBvaRwaFzLlJVhG
ivhUkfQepZD9tPRh8AEQDLdTx/7KkxHEb1EKXvc623rWjHrUHVMyQNlm1NzFsUT2l/0q6l9trb7V
Y/fC+7xKolt4jHal4qbKSbVEwb4k7ZPwk3U1/cYWTpLiq1nJW4jhKqxPdslZ3pIWF25Ca8ptKcaO
mU84bosygzhE3x9GOf9B5d0bOLLVKb3n/Im1Oh7tFj4CgR0cZpCrSplgi5bn1N1uUryDkq+1JP1V
pRw/CSFL80NtVIuqn2ypaLDgeaq3quTmHWLWpoGMp8i7offsUS/3gvlGbIjTwHQNMINViOP52R4w
hVJz42ZdK8pCC8kfgnaaouTKDcLPTKKz8wqE29Ec3qUEyaQIh4SDq8ymdZKTQzb7Sxsc4nCvgsw1
wyJdTlItkzpY7E2BpA+j+SUm/qUA6jP9Hua2oYiEBptEUf39809fliFEL1WW1NdwnGQss259YDrF
69gJ3GYBlUQj7cGpbdnFm8PtgVi/zpYXm7/f6zdff8bJB04IqsKIfPak0YaPyp3vIGZ3Vbc9hval
tu+ZRvM8Foor+qDIRk8bobUAfEPtcCiVnJW15phZJCf59x5ZeyGrL76KRZB7dxY0QVPDBB0Tt2Wi
hUn6ha6GFzYt3zd7pJBTz1JpmBIwcFrfFPs4SfkttFa03SzmEncja9/P+4eTsLG5lTLvWSX+YRG7
iur36/Yhp1YCZoZGNzXsvQewI8Ad2qjqDM6syjejqJYegWkc2Vdh+lj0d2H9HgLYSsbnToG7CA/2
wi86/7wtygvEn6u6ebJp0kSsCgHHcDt9HB3UKrtsDdHOhVN7+XnPc+enzdPJjt3QMz5PEu0H+Fb2
3N1Jbro13teVbOc3wdXPV3Z2m4uomjh3hD+6cjJY2lpjh+t8LnYeJYpDFUqhn0c4007haX4aYv4J
n15ZMZXJbvI4H0Sb/lF/FJ7/911tHHJDjLfQNZf/ZUC4O2TLanQ7vxVwp9YjDYAbCBbPzq8VmxSS
J8AKK2vbLLNV+uvn8c7dQkVC9SUiZrOYtF+vTyDcUKC1ymYXwc9YttuquLChvjTCSX/IqISpygTa
NSVIO6uCs5ddGOEkGPfvKydzHLCYAoYkcyFfLyIcBCEz9ICFc5UsKY/cSM8JSiw7sQk2XFaPMJ2D
N2hsDkaoJZFx9s/3cL5HJ3P+y/AncyTTcPfgyeCR+eZiQluMcWNRClfFcG9E/2VGymiwkR+i3J7P
QF8vtk8RsfgKTwwuhAPuxw5ukA6jPkOOuruswji3nslE+WoWGdLIFfWT9cxClasFpsl422Lf7P31
sMlcmIh0T/XFAKfNJhfmpt5V/+WpWpIpKvDtTZU+w9cLLWr8vGQnzBcqb6tNdZOuig37XmWXr+Il
KR6PIBEI41t678jedpee6twpOX2qn4c/eaqUxPW4U0GdDG63r1eAF1b1Rl5fatiemzxsc9kRqBxF
6Wd+vcrOKKvMmuGzXRTcJCqRucTa98j0OsFaw2q7sL6ceRvZXtO40RXKz9+EX7oadACe88qu9N+R
yhHm7d+/C5///nl7/2m9VCKhUqSyBpPpm2+iCSg4Bpwib4oC6nfbXLia89uLT6eFkzmiCCXoAIpz
NGrZRKZ7PP9L8Racv0OUneqK60hbZCv90hf1/F3855ByMjeCEWZNYHJIqZ4BNyLYw666mu7Y2jAy
6IObS5Px3Hfoy7Ho5C1UgjDTxJwRCxtMwJaqjh2/Nuu/6qtDfrwkXpj/um+T/9N9PXmM/KdNNqCT
5GyCgVXzUEvAWqM79PNskc5sF1Bm067EUSQp5Kp+nS7xMLQ4nDlj6Ffxdbr2txYvtn/rL2M7vKh6
PHNRioSoG38kOi/azV8Hi1R81kPVVnZY3KrkqY31ljLBhR3DuU0+uz9s3mQdaKpx+kXt+0TvR1iB
dmNLLia0eZEO7oV1s4/X+ZW3b0HvLsr3dJM5watYbEL30mQ5Mzu/CCROlhSvp5Lbhiwpk2WsrNRa
JR8XHtu3gubfLjO7W5W4Yo4yJ98gahJipZhsvIjZMTgjJ426l8CD6GO/LyFOiAQ/hBT/03ovKiry
borQNFsK6GgkpzlB06/iBpRFIN/+/Mu+LdrzD0PvT7nYRKevnswno0h0TRdQaWUG2UyFvs0TVzDK
J1+UiFuTHgnO62L17udBv+8/TkY9eVuAfJVTWkBeQfCzILh00fvvgYA5M37pdQpUmbRKpTc6kg+T
CIVIXOdxsyoBRmmE46pt5ASx5+QEIOqW76LTvyCBunRTTp5WlQSZXGXIXlNTvkqVZ2AMe1KSNthb
IelbpInMMeTthc35d03ZyV052fillqAImjrzaAbsitFbLpo3Q+rd+BByYqBgQHRuISQm5Kr//Dyk
eYJ/Wb1ORp5vyKeP0IjLQ+gSZgFcaUhQV/UY39YT9N/GCcpy3yu3avsRyDR/aOVcGPvsq/HPDNRO
BLmJZGJ2GuebDfrRmB7b5JdEG1YQko0qfKQk21gSEUhCujaYLGNM4EVjbOVIdMCn7LS0WgpmsFPi
8dLjOP/DOIPrcycFAd7XmxL3QMYDIvlsbFibggyySPY2IfmXk58DaOpXgmlt8lxeVxb4dt7piORF
Ql6sLqOSo65yk/yH6phjBfn5lp3/YYaoYyxV1G87IDDjjRZqHJitjvp36TvwNRbBsFOJzB30Y62/
/jze//O6/jPg/FH6ND3S1sAm7jE9UqF35NpalmE1U6Vd/Oo8HdLIaydVvOUAHyn1KKY2kNDIHHyy
jN+J8ohcGB4vaBfQtGN5oVX0d4U6mbuKrGgMx+uH/ejkxxmGkgsTeYxUDgO8B4VdGR9MJRx9gBWy
XAWfJTuGoIG5I4vTIxSikV46WpUWHftRcPUS+54nAoJBA0s30tRvSrKd0YHALHe6CB0MbQUQKMu+
j67FfCOALtMmdvEiDGBSfxIyPuF9LtL4gcjHlVdAtUS7DjurDo5TzjaryfDmaXbQabYgGBdW8O9b
AoxXsqViTsASwZ7n5OuV+tWcCoGifT4Aj29wimx9kyzAvL0ACb20AZlfx2+3+9NoJ7dbC01ydGNG
G55Hh/yEbfRElZ3jRH1hEf7eMPt7XTw/SjAoiOWTRSkpe/zwI1Yv/Qrz/8J46l/LFSCFLbiiPfK6
VZktWBRffp7s33fIX4dVTtYjNcUaTkgOuuVn/yA60DHSO9BWyKXV9+pN3GdbYRM//TzofCmnN5Xn
R9AIZT+K+Scr/9AQARkWHFHVlb9W1jHeB9WV1/96k8ql4Wqm4vbXJHB6QFQ8TFgSsdl2Y7xH3eOY
4gK+1I+YV8VvlyKxn+PEpMLXOJmNVaU3amMyRraHilLcJvZse6jf6fEtYYZuL+3dzn012Q7/M+DJ
hBxJKLD8uZgQbSoO2nTqN+UGs7N96eD5XQw53z7YdKolUr74VqiEHd9CpiKfatxCB3TIUoGkvJir
z7mbLY1NsbpY3Do7Mfj6mCoWculbPz8lEqpvCpkC7JYWoqvYkW0dQsfa4f/eobPb1ptkra7jo38j
/NtG/9+r/WfokyNba2AJx+PNg/Q1gsFVJ/wbEB47P0/9b2eMk2FONqBmU3peLnFTq+Ep0rGxj67X
xvbPg8z7yW+TEqGsPkNwFG4kf/7pA0aCJgSSWS+rdMdg4gspOyzT8Jjjxc8DnZ+NJsUCqsY4xU73
03WPulCHJcMc8VbKeliTz217i+aybv3sjbNEFN2GDkhYOb1xnNuywOBw1rmdbf7RWYq93/OBOrvO
nNQurqLLx/j5Xfp2Hz+NebJvV/xpKv15zH6pbqHsk9m948Ujmn6VOOOaUOWfb+eZnc5sN0aYa0gi
9tST5yYWlt9IIqXQsHi3EoKzUvIGQ/FvC4tSzWKoLwievx9G5+n4z4inqz9AJCUJIsox2QD21Zg4
DwEVUycnjLpNMpFBUgb3ukIueke4eiu6cRTsRvHoWQpKUmmpkqviq/T1oimCz7UrxfsuvLDl+XvI
P30MqkhJEzUJ5pq/+7VP0zlJYjNBS0XLFxuqlMqO3MtgFyww4iQag1C46tLfnSqs4M05Sv0axfG6
JMiiHGiXodcudRNoBGznBAwbGNVcI9y+xuMBUkZIgfY34QbA26UNNRi37/MHRoYqYwmidPGtnwd7
3mBFCTkGaw9WWH3QCFsqsfzL88jFmuKiJmsxgjrrTUvT6PdadlUNynVNrFltZdejFm4Un41cdgf4
FZ4fAt7wdkTbF4cDkgzAPO24ISX+l9kfOFEf6oEPt2LMKZTLALOT7+2Id17miD8T4mxEf3xUow/U
EccIziJpRDYJgARprT35Nq8bIM2IMgINZcof6IkPRmSBVH0V4vpNkwh4V499Wi/H8LqWhIVlBG+D
/MuPqt/haGF6uhIFkngtwfXL4BD5D5PSPUuy54aShu7uUHTeHy9+jlPrTsyJqkVWSRf9xhRbN66D
pzTqSC9CIWyiG+6G67oXdgQkgvvVF4k8LSHvL6UWTXdOpxywtlEAUR1IEIhqGzbzItPK5dQJB40g
jLIw17of2mCbYL9b96BToeftp7FaVf4eBTwUyXvdaJ2QsEfw85V0VXS9bUHOyMRh1dFWha1u47VY
aIO3MaiiRWRaFUtr+BNGa5Qui6ijuG6Ka4QFLo9wP/gbTnUbA+VFICYrFcy+V7/p9W+z7clr1BzC
Xpy0WMVW7gxy7LQWoFpIytKA7BRyaS3/MT0SmuAEZskd7MWFT9x8O8WrgYDxnBOXnAbXSgt439Mf
Le8q6KGoaao9QojOW3knA27GC6guBllakJxiCyUOenj0MaJuxWiWY5UvRhUzjKHbOUsZUlaREGmf
fno5GAtPv6UByyOY25JwSi2N3MfZIEACb7/TPLZoIXpAtbgqU+Kf42HfeSOHVonr5QlZd4X6OIxM
knUxXIeE4yWp9qLl7SOUcyfQRx4khyIdaBpu882UP/kxf40sLnWoJ37tL3yCqQUW1L65mm9IL60S
yTEQ4yP3ChZ0xVcRAenDuyxcE9tMPuZvRepdRTpExnCVSB9lSKqJIZFlvutnTZsAM6UUSU94hIC3
ltWdrtRXkvHSTv1roKOrl8XdVM4mReEGYrhLpCf1oHpdN+MGGPD9PLkIwNmq012+0O6DWL9G9EH2
2xJ28qEabU8eCV/N0hvFI8NC9Q81YSkjyZpl2kCYfciQH4Txex3eiVrqkzZFSB3BLMyAre4TLvcU
y78HMmUJ1JDUfdqSBpIhQzHlYzNZ24y05ukjkIhUIn/Hem1pSpdhEIKiQq49TZY7TAq/wfHL2Enb
agnrPEKPn/BmhoQtNZ5DagUMR9FlY9MSTzfstR6eLVLKZRN0K6vjCKOIzwBb4Jqgp/ZTbr4UvHsT
C5Ggr/SRsNNevkNCbFcjcY1+izhi2tWc7nLtSiLhI7MWWuttCs04tITfmqVErHt7mxkhsNpHCKx4
P6gTeMRAooZGyUjSwrU+Tvvat9blSGa7eG1wMu286yTXb6rpjt7D2tDaLflUa5zLAOTllZGb2zp6
SeGe+kK1NPIbEtnRP+FCmFxriLdiuQp7wJaB4paEfCvqY6o+T9ZLIjwU/FG6koU/GZ+wNviI+szp
lAfJuy10VFOICCjHkGl3JY1Peq45UZCmi44H3YlccUIWi0pcdWrH3QHRN4reCGZjQKAF67fSk9c6
qR+pLPNrIOHrMuViyNRijQVFdOuJyp4fk/r8ILevmnxjqvG1RNpoK7kSXGry9e5DyX9WYYmhLqdk
kDkwL9ypKF0ratw6uBlmfwshOjGQBkkDVQyKMNirZOORF7ocC/9PpnWOhjy91pkCcMBAnKw6IXYJ
i0kNc9GP+rOvqGhzpV9a/VS2oTtZ2p4ckJU5WYBqURGNthSCUjJwfeitzhE3oxIblbXrlfKuMMrr
0hjtsM7Auu5aDdsxypRBNV1vUtZB1FxV4pPsScvImn6Ri0O9+70xVNv0XRlny1SJs6jszihDR+wG
Ah8h4avEAsV3EYx+P8qXQ9zhJ3FQviwQmS/rwS2pGE81cA/hD7XYTlzNGwytnW6SahPrTx2U5Emb
llabOb2J/BFoXBMcsH8vJG4DAoNFnlxp066HzjmQoVSO5kFSyazx3qqBxFd9iRJu15jHTtuMGp6d
pHASneDmO88EdwrBNkpvdP1VLR4zDRm1TkIttoruweJrVQLVk+bPQP6IV3yltk/xrFayWIXGQ5r0
tqhCGBLjTdZ0iLfDnRmKrplK9SJW4xuPTJIKXY98aw3FthzuW32uvbgx/GzPgg+cefdhLJA7STwk
IBViw5bwgRaxkdx46q3SvZHE68ZEmOREL2bEJAVA3Tyy75KBTFDjXmZ/UyoPgvXmp3EPdRbpG/lZ
68GklEX4lGRu+zzmcyJuyCwgLnEtl+myDhFgvna1sggqFFPxwVJDIud3kfpaJavAQ5iyTclTjNUn
kfhVz/ut4tHKtVupMBYw/r1MYDnIjlo8bSsspLX4KOtPpq8sDAQ0ekjiuazt/fgjKY6mAfXQX5nZ
geLiOvTDdy/6CNlr2roRw4wf/KNKUjzqeOIrF74cgz3vHc0r3gNPXebdOyk9N+Csr4nWHh2xB43d
m3qyspLyFdojewGfSAhybhcWpA6tMHekkZAZjohLH7dN9iGArHSqMd1mzW6oYSkKWQHswzV5CdEd
2UVFCJZwjyzmfvK8pyZ/E8RDYxA7UYZEYcWLVpBdGTtSRRmwK9eJLG7F5LrThXsBwXsZ7b0hZenT
veVUrRSZ55LLz6Xym9tf9RBDSO8hB8EEkC29asYb5paFDDcZRrq2FYd9BWN19EO3zeVNbmI3KdNF
3qz4oi9DnTAnv6enqKzLrvAJDnIVhY9RQuYtintDuMnzQ4EvI28D1xoPykBaWF48ikLhCo2xszIZ
ZvADr40tSk9KB2w93lV48y3LaaFNQfuP87sE7A4sQXJifgUdCNvaX+pKaqtCeGhbXGCxtjHGlaI2
By0fXqY+O6TFummTQ91pFehtskpbkxQYfEImXk3NRANoPGdML01dt8i6hCb4IyVXBHy6vu8t08wF
hOvGsSUsPetFaYeruFgXZHaSk2N743XFuttnOy2XbX8Md1OwDiVp3/e3YiJsfPadKjFHDV8m04ru
GzITgliEkbDJJb4SOikOsvcyic0yNMZdHmMnT7VN42d3Uv9L0pK9MQzsa7u7yjNddThmJCibSEvV
aUfkGtLl0SXHmCRJ3ZGClDb1pgI1RDaGk/vIbCVCiSs3lDuHT1SqAz0wn03jzmP7IQ6PE5X7Nr4n
j9Husvy6ppfzLpv9bS6zd09VpycgqyDbRJOifSdU2J6ERV3eI7q8kqJnWRj2ddovOoJDjCReWfgU
27pzhCggNxkBuUQUy11BsI9oLRRxWE6TssrKbRI/TYOwIxKxNdNrCuZbPcKr17SbEsJ9A2yWuu+U
AGptTNiSkkD8omT3ZDnF0Q3wbmS1KGEEbgXBwESv+cVWTh/y7gkcla0RzFMMLTm+pFVEJBCQZ8At
OEzZuwwjW+h5qsTsdQKCUi2+ijTmTKa3jhT5iwitZarhM8HuVaTig8iGranfa+02zK46880riHKF
Ge//MgJ1LTZrJZ4W7DvxfK3yOjmMGvU1jAMZGIIAfifm0fJujB8s1ssiu2lD9arC2TrUzU1Yr8sp
25PavvDmW9iGzOLXYHhQo2PY6L/ldDWEHu2NbS5edfh1UrTVSrS3ytppx4i8AAImUI9Ia+IaheQ2
Mns71d7GRIXWXIDd+NMH7TrNfkekaWr4FaV4q3fJrxoPjGlCeB7Tp77i5ENWak9qVb4mjfZOzTbB
FOIlXqvheOVVuy5TFqHXu6JVrYQg3tYNCna+Vib7SjG/14nQSGlWevFBz8gvjUWIdQ8yWAL/I9MR
mPXm2itXWo15NoK9zSF8bKpHQVlZ+rUaY33kbJweJuGYaK9K3fKFjlalcdckA/s6Dsp4TtUoewhM
lLjdBIV87fnJpuxUw4kKDLmEJgVEhWQsxgXRTp7wXEgEpXfKUgr1RRVPx7R/LvoXz0gI/2ZBGjxj
i7lkaZEkXOj7pqU2pG2DbsCeSH5jez0Ud2Yr36UcT8fBTlORglErAuISrvLsVhbYH0y9xEY7gcnc
LobRIOWL6ru0KoKPTLwZ012S7rvoNfdDh0CHhZ88+dmhZpudkPnX4g+QJ9pXwVoYww+UrI6Puwnu
VRixLy4FMnJr3IoYYoe22kxddWXq976objSps1ssRHJRUt0AR9YrrkbG4mKo2MDWhUq9IJcjVuA5
HLDuQzZuOZQyKZ9DkvKtEiaDM440DUshxFfgkRBljMvQD96Sodr1fFEHzAg/F43ONUTEmUWHwA2U
2TfTeg0QZKo9+qjjjNNVvaMVrPS63hng6YUh3fr+H894Nab4Icv3PoLiC+N/UyjRTf00/ql/vTHE
BLcFB5QKJrlRDuu0r3cDJ22OfUVb3JKR5TQhfUM2R+SG2MQsLGhqL8siW4W1toryetuRbnLhZ50r
vnz+WSeVedVIzUER+FmFdxVG0rIWsE0LuCZzW/Hg43S/U7FdjDKpj8OfIbzQzjlXWftyV+af96lo
ZY0+anG+2Wi5M9sKg13k72iQEYFBYg4ePpjHIOnxFytL0SDEXojpqm565SUe7q28vo4Bv8/BbnHD
so2pBiz76sIdOlNS5a/WZkK1bKGIOCk39vjKI9Wn46QdNbt18NWijtz0K44RdkkF3pXt+HjJoXW2
+W6gxFRN0LEYw04KuVUQqYbciNT4kWRRvVgR7QIlYJlRUWXz+V+u8dNoJyXcMDZHlTM0PSB0USTi
Bkix8qVK2sVCWrJgyQtx4dvYPS6Me6YvBC/1n6s80VTQwIF7AoX+LyFkNnzQF5opK9LSXIv7cX2p
j/dN0zO/hJ/GO2mp0aaEwEQKDrJAIixBMmIavvSiXxrjZL7Io6hKdEkAPe2DW4xsy2mXv8/3UV5s
qxXnhEsT9NxNBFKBJEelK0qz9+s7FFWUt6iIsLLYo9P8ZiuyJIPupXPGfXsUNsr9zw/t3EJmkkal
zL5IeJcnz2ySKUqRM1raeX7b5u0iYJ9hBVR1pMHxg5efBzt3Mz8PdvLAolYLB19isEJrXfIuHKnS
H34e4uyXAZWAzmuGhNs81Y62PoD7Nv3rwZRcvpNzw7BbD9vhkau7rCs7+2p/Hu9kzWtHqScc8v/G
gy1kGwftTlhVK8sWLqyv86M/6QmIloZRg2bo3J2cp87n5XX+A3J65xZyswm34EFXaMguT8H5J/80
zvwYP42Tl8OUpBHjUD+t/jpY/Q+CVBeUjVdwhS+8YmcmhSJLmswnm0022Nevo3VkfniEHKINtKql
VD0OFz1Gl0Y4mXZVlDeyXKM+JH9y1WmFnXv/fmJ/uYaTl5Zk2nIcfa5Bwb2uikdisC8srmevAd8y
WHKVb8VpK1AQA1XO9Kiyxfi3Zd2OenjhMZybyIos//VX0Ff7pgSVib7IPJ1rELddR9svvmoQmIAm
AXxhX1R+nL0emMHIFED/KzOB+PMcU0Yy8Qiwm0XKowOS3OHk0/3y9o0z2s0SVp2CMeL3z2vDmbWO
UAwDS4SmzUrvk/fHl1FVyX5JT43gF6W8UYrKGcaWaAkc6FRTfx7tXEP682jzHfj0FomqYApyzWit
ILpFc4xTkit9ZakoTz8PJM336uR9/XJdJ7sLuJaWJEiM1E3yWh5UW+11oBYheVzBfi6hyNGm5GRD
XWVok0czbWkBXVcapTYOwjVKZpmQoWkw3J9/2Jm91pffdbIPkfIoHsnkrWgNULNTXsN0L4cXurln
tTx0G/+CzySWxxMtTzGGo9f7iPdnxQahtGD66GU53TJ5g9G87Nf69cXd/7nJ+3nMk212Irda3SaM
SYTfcnSg5mwhytm129rKsrjLVuX6P9zJTxd58pHpMPxaQ8CAmXATId+P8qc2vvt5jEsXdfJ2iImV
9aHJGBT+fWFjDfc///1nF5jPd+3khZjj7QwxZQBpoP9MYmWYBJSg3rv2IOLg7anbKB+JOjqG2F2Y
iWff/E/37+QNkYO0NEUUsLYm/UnHN61U6CS4Usv2X/wvapfPl3ky6xVLqK1UZazZx0mzGZ7NtK67
3z/fzflv+fbOY1LDtQmVHTPe19XF1LKqrLoJM8JgwdhSSS6PbI3kvRIz6c9DnVXpaeJsD8VWOFNh
v441x1dlYcqXwTpWrrqdjxPlFU1ip3XZgSzJ6l7160sb4XOLx+dBTz4QSaGiDIEwajdJR+K7R7Gt
oeyeXbq4eVqf3kiuiS0VspAZ9Pf14oDs5WpnzZsDwhQc2m6rWUHhEMVNIuEmdYVo9V80ehqfPsSA
Km61U3BrIw211E+kzddj5abhhy9Kdhxc0IzK51ScfOhEwyQDi1STk0UqLqqK4GEOEuIrJ/+VzHc2
xVNN44iIK0RtNAv0BTl8sa3vxvWlI++5+fl59JP5KcbIWQtYOfZzPV1F+V1obP6HtPNarhw5tugP
CQp4E3GfDsxx9E3X/YJoskl47/H1d4GtqyHRFI+kqweFZtQzdVAoVGVl5l7bNG9OLMy328n65el0
6eG8I0uc66u4S9IyARQByDItvCsSXHsxCkyU8rKom00g9ked3FRpXlv4DSrU0qPwNWn7TZyn7lhQ
Ke7GvUxC2fANHClIN3ZPlvGjUczvGHS7evY6hbPdIkEL2nA7JIdCkm0zVugvMO22qSgUbqukOyhA
0IVU280GBUIlPGox19GQOowxXeLojIh9kKhKjTXmKEpgywpZ5viq9C/i+BKko1HcJHCo0jg1tmY1
SsgOxmvLOGajfKR1rtjoYXTbw1Tad9JZbnwzigkzYWVjASdoTIyFJRw2U/xi03BryeeaQapeN2iv
YAoKjYKLbkvjvlMue2wJp8fMegbNcmaJpjNRGx/rpY8ZoXnfu9mYHKcJIp+0KwPq2f0hWVKamb5T
6BjqBuBRw+A14tVII3jcfockeDRn3ZuCJ7EInVgyjwWmytIMJ8uExiI1wbYJZODbSPcr9ZcOWUXU
PdEgHIkliGztRP75VH/eW4vrF4tinZurhCKY/YYUT+sMhJbSBt9I27Qrt7of99RvvXaHV/t1tTWd
52QfXUdbw54PFdoj8DyOftNeZF7gZJJ7YrUuS/6P3wWjVRMRkaHvWu1oHSAcCB90sdLKclUdggO5
+Y32Cn3Chu23+a9G0xZ8KDlSFEAf9zX2A9XKZpXeFip8W9X191l3Htkkt53QrVoYKs7XI/5pxsAG
ivxJRzFtoYBap9ZqQiKzXNo8ETVvM+1RFH75ZdtS0lSc3jxYweCkWkz7Eiqz4hDh9mjAt+GCMQp3
neFvKvqGCvNOD19MFEFaONndhH8PW7AhbOYMRqEyw4nRIeW/wB8MzJeh0H/K5c5Ut7mxmyUgmjQF
DzTW1J1jxreq5YenXuJnx9K7h3xrDn0X1VeBmef5xL4W7kUEuNSOrpO7Yqs7S06o+8VOsD95V/os
vucdKvRHcm0R1zmaUgQDF1jkuRZ+gOFFbvsgK5tm3KZPQbCbrpahWzuE47kpo3uxPpF2eDsC/1i4
78ZfLVwzqgylCXixi/og2lVb46IDmcntcHFloBNjQhVDlm9RKJoX0pVJVw06bJa1RyFYPLHrL2Hi
V79mtecbs5+nKCVIMkPATHOnLaYTK/mzaPHdfL+drO/esRrUM843PK9aPGWxChe1qGxfpOSWPNN9
eSICeUv+fvFAb1n1d8OlppFZyjIckbG3XIVNilXnrbjB9F538L15+p3pkXfdg+ZAZ/Ia34m+xbTh
3ZxKxiyTt/4tBiBNU6aF2jTWKSYs0TtT6Jnckp6yACGNOs1ONCyomfMmnb1Qpi22hKj19d7x6S3O
IOsAbIGMwB9999HcGVVXY0DSVdVlH2heoB7iqeHa2nuVgOCq+SZqxSHvEldRG1swcidLAXTqCrxP
0/v613wWu5CClXVy9TpMmiVkfPdChr5Xy7pBqhGOtduiDlHLaTPIip1AVf16qE9ja6Izdk1c7oH6
rWLrekwNMzMMJvxReox2heb4TnFnAbypzpb6gHo0xY1/c/J4+PQZ3427/qYNNl8S0MuiG9zpp8ol
trLNq8RecoowaJwF5HFqdb014a+X1/unXX27llQnQ08rCAlgwdYWilFM9wvGRnl861evVmO6g/ai
JBe6WG/0/LqXz7Lkcq6gsyaeDIGRFJUz43P59Vv4bEsBKwLvQ7VkBcunjy/cHIOhAV6GNjKJwVx2
tmKcOjc+nW88GlQyeEu6fbWmNCPSQn85N7Rvi+i5vVyC8IQAYHSTvXEgMNqdTq2+ZbT+mO93oy4P
/m4lV2WGb5DGqNNBPSS7+ahDqOicZaumuea/IN0QArB1/PMpVxPpC41oDQbjGZdvnBunOMcCmNSx
fFafn9KpfXYUc18zDYOUOP9ZXXAw5uulDHMQJ0oeUkCu0w8tOXH0far1eD+G/HECI9nPLSXgM4n3
/patmEKC7MUbzGR3Xy/BT7Mj2K3BpVREEBtr17N8KIwkrN4CC/1Qesm5tNUOkKyJDU99hp9NHCHh
4hmCVOZ3C/+7VWHGkdnPGpu8JMfnZRLSFf0antLjfHKIqhKxypJqJSRcP0/fZLKJd3Tj0PKxGWi2
VbsfVS1tdGmwG/1E7uqz2VMlolyFGtZiaLf6vCAl1lOxpEPydL5KI3kbCo9jaVyo4ystOZuJrg30
6E7cPPv09X796j4Jz8jzGjymgYJYW6PfI0zZSjEC/V7kuL9NJh28liMHtH2ouWskBuza/0Ie/GHI
1e5tlIU54T0HUUSgaSb1NxjKwbuLvEnmXpVPtm9+//oh13U1apHLxYUJpnyukFRYfW1xVcvVGEbN
W1EZRyCFNGuLRYB0D/jw/64v/5Ff42X5kn9r65eX9vxn+T/LP/pclFNN50j7ZrD611+dR8910RSv
7fpPffiHsGH9x/iLZ+yHv3Df/GOvu5d6unnhnvJ7ABxblz/57/6f/3ChvZ1KXGifiy5vl39bEBUf
XBg1zrx/bV5L2rHumveujcuf/21cq6h/1ykMixb76xtLg83ot2ujIv99cafA5Nrie/ttafsP10ZF
+zu6KhPnColEEAlyjgCC1zfjWvXvmo5rI7uOwZmH7dn/x7ZR1nQarfH/XnTKS9S0OmsgEJZmndLV
t3QdVDeDm/xU7Rxa/0bKNsupkz40nDz1Rt4tF4X6znenp+Lp3Wxd/T7aPtjGLRvyuxNv+RWkRBec
oA7q11zXyQz6fa1k4FcsnRYDgNAE/K66Mbb0TYP0ezipTf18wAUkR3qUTu/VzjP5ilzTeYfVre1r
G82TdkjQN2jRJwdswckjdhWq/OP5/hpuNctBpcRj4dOrKqSho3flpunuT0zhauf+PQT5AdPUZPwv
11+6Ug/SHAgSKfItnegA6xbHnORc/zXfSJPT23DlaVupcBc4RUb89OHejbzM9buDif6RcFmui20w
baq/BvMU5eDzR1NY9exmXKdX8afc1bEicMe2J+6ntM7V+wkvOs0rEmQOGyj/DyNgvmzfXpi7xAuo
H0HfxzEeIA1lHZJIX0/1Okf7NtXo5PhoqX/zba8eODHjNC/HmU7YDUicyoZwQKJ25jfEr7T+Xihb
Y+vv5Ec+GI+cXlSeCks/mxBUeiB5xGVrV5ew9d2Mp4bGUoP+zuqlL2vm+lnZI8BSuy/3y89Y2E2T
QjLsBkOQE0+/CkPeHv792Mtvezd2YUDGaUdMogONvkjUDsV2gmT89RSvI4M/RlkdlfqQ9BWe1Yqt
bpOLJQ02b4s9nrHOaT/HUw+0Wl3TIEhBODGZEUn22R+vCil11egUD/izr+TdvK0rntoczj2oRBnX
zfPBv5filxNTduI5tNVRL8aDn4/K26IQbRqCUSHOjtFuFle52Z6c8TxLgH6ftEE79WCrr0EMhxxK
E+MKyr0G4bnvi1Or4Q0Vsj4fFNTUSO3ZTv5orxLryIiEMpZtPa1ot5W6+tvUFvEhk2KLrodApzN6
plex1MyXAMHvMCMWahUEybqAkrVIrWerUeKtry15Rp+YZLLUY0hx39b0YPzVGIHu0i8bf5/61LT1
WjA8sclF2nJxa2naTLSFUB83sp5Yt1Lvz9syUy0+gaixTcHIDqJgPPrd4EZSF286cwq8VETPUnYV
R0rUTLbOrnGVjhFUc/78VrWooo5qlTp50hneCOfL1sdo30tquh/RvWzaQq+/j7GFti1FAGVIs4CY
y493ythPx3JWhF2g1ua9b+hPSpNtp8z4ZSr1McUul57zCmGSkuy7OLto0lS7TusRSZ/SQRj2q+Iw
pcG8rSqFE76KEN6GNAynBeYpcd5HZ0Yq7a1ckpy+pDAQVa4ei7hzNFymkujZMCNA1n1mbMQGf+DJ
bHdmlUoXxPk/w07YY07kQUTCDb3xxC4CME16LBa82pK21SCkuMhk35oslTwtK9HCKjtm/2EKcHBo
FtN6VRx+IoH1j35bu03f7HuzQttk+vczOtJklo/h1F9olq+4f1MF0BllZ0l2VTW/4ql91RaRUC4l
FEKq/d8GQrIB55KlY5S2zXzcCUF/06HFsRWR0pIS0yWDYqE2w7tmVk2kqsFZibZ7Y+CQ6xRK9ktQ
tcu/wRkeCrEW6MRscnCRsZI4vqn+rHQuJnmR65sWPPCJrXbZed6vemTkcApI6OkaPT5g2D5utRL1
LDWwwL+ne1okDu0u2S/wkZOZ6mVn+GMck34ecAXEQ28lgndb+iTlUsq1XHmLvpZqYxQTMFAipsLY
iScean0lITQxoclheEUjOD0969NcRyVZySEVs+mw7FJIiIptZE+e5CISPZ29+mwS3w233neHaflc
K2mZRM1rwNRo+JVBU9x+vf2uMkW/n4rnIY0iGuhrVgfWX+sQccS+XdafzkLs1eq1ZGF+Pdb6+F9m
kDsdr4p0L2Hzaqy/1qImTRk+DDXihmUdZpX8s4oniqnLGv16zE+mkVVIFwHqmuWesDr2hcAgBhtU
yRYPikebGTAXYftvrEXlz7X4YZzVs4GLGbMOoYWNXMyb9/7eyvadeByaS7q+3MIbdjPVg6+fjTn7
Y1SLrLFJeY87Faf08qvefQFib4Rl53Mbt2LpoYqtq7k1b7rWeKiRRM6d4sVCRqdQ2tz1gihe9rHR
XmuaIB7HGBjvPHvzLPd2pIjCZVBMLdKk4Xsy+d87sSztoUq8SIcfOPUAD9oHCb/bNrBuy3GatkHe
KaQdtHTjz1ZvG0MUbXWZCppSgXnPpBG1SiMcrbC6kZLWFYTil5ER6up4m6lqc9Ea/tKrEo5ubRRH
hST/QfaLfpdmknwZRAkGQFk14IFjzA9TPetuzm3dqYLmTirKF0om0SbsFM0Wu+QC6Zbv9ppR22VE
MbzQ9PIRPuKmj+Uzq7fuep0eNHFE418MdcGhle1EubkgE4dzSlciS8oAPHPh2s55PzlWZj7XBiAo
w9ylVonCMiVcb0s4gmWErrIWre4ySoLKG0RjfMgL0bqoOGQ2Ulf8FGft1qrSbZmCB6CO9iul1u8K
FVbXCsCBpK6xfcpVdddE4XUxDdImTZXyXJYhsivTVmonyRE6ddGDaf8pq/UtOtX5/rj0kFIx9FWo
9dehMsvGZc4ZYS6HhaTR1IPC6gytDlQsGSsrqXTD5YiROWva5dDxOX2mmXsYp9HXi1hZ7+LcoYE6
kUXjSsAFcG1jkyaqFXWFqdkRelwXm4Nv9Vl6VZ9Vu+R++WQBFNnta7QtX58XTn6yJ59/XD4qZPuU
lzHLcJQT3SzrTWP9k1Yfc5CMbTlHFoh4yp7ZJKGozHcgpjdKjmyLumS19CwUu69nYv0xr0ddftW7
jxkvk5TkGqMWA3LU9IiF24nN8LPryfu5Vlbti5mfGH3mM9eNqz2Cvdimx9H2Nyznk/etdZ/ostg+
jLVabN1QSymZJc2etE10Ib9KDhyyHY3k8GXNZ/TSrxoEryVrcaobSF5vxuuhVwFI1eRxm1JXtzsb
t+pp03rmFrrJJrjODvElni2P7GoO5j0HZAdczrodArUT6/rPt0n7mq4CCAcTpXDl/fg26wkKqxZ2
MOob+mtu0/TUybYu5vFvh82iKRq01SXXpi2/4N16SahH9IOVa7b/Q7oa7FRzo51Kj4NrOrWbpgf/
WbEzIL6nklDrkOFtXNJ4ALMxcFW01ZEaS74lFjWzmxNYl8YNLUvxEHl5dfP19/DnxdBa4joRm2FL
JWO4yhaopR8Olp9ohK5wbtwRaK+onUAIfTqGpKHgoEyGFc7qWeQgVapCKjV7Vl+nQtnEaeK0U+p8
/SRr0Nvbq2LjlJeis7KQ1D++qkpTAuSDvKruAGogwhUaHj7Fsf4wPVfkBwhITmwmn3zqFhA7VoWC
ZFEhRvg4pBpr8yiNzJ6wmz18arakWRDGXwBq34F0+M8fkMsFidC3XCxFuY+jyZzmbSv26pKXnOxg
B3dJ2ajfejfclTZrww3dUwmdTz6wD0Oulr+G9wTyHoZs0ud4ustONaKsy5nLS/swwOoLLvS5NFNt
VEkxQ716eyauF2FlK4cJb7XT6p5PFiPuCW95c65OiG4+TqJaFg08RTISUoqen04ArantqpVPvaxl
+3t/b1oezAA3yL6BnQCtNh/HSVV0m1qICVWHn4DhzUfBDs4Ww7jE+TeIg5+OpsoLUw5TDWNdOC1S
Ku5+yWjq9WK/Pp1neAeAYWr2mCU4p9w01jXUt7dGo+s/h1t+zrtdMcKXuIL3tWTgsFqxmy2qYE/3
0sPJL+zPKAFtJdu7BUuUBNi6cafRSxBHGcnxpf1IvA4u5G12UXrk/JhQdcMh4zVOdiufhQf9FBRz
HTQtVyl6+t58GTVdWm8ofSArs1l2S+FhdMrvzdZ8Uz4qP+PTz3lqrNWylKRiLGcfklR+xn4PD7Px
lpO7tE/nNP/45tbPtfrmUDqEpUzzBHOa7zOS48QoC4IQHe/v6vSp1pT1LrIM+D5XsYpSZohRkp+Q
h+lzsDpKSXdr0Oj/6RenmxbhtogCSSV1YK2XCnk+Eu8divulTtTYtAwjs8SOe9tvxQfrBGfzz2v2
x8FWj1RLqIv8opnt3tjr5Y3CvUg1701r207m9ut9f/0JrJ9r9bGJ49yZRcJQgQS4Je23DcnMpiJ9
N+HSfD3V5o0qPH495nqXXI+52r3ipJFy/gtiXfMkByEerU/d8Pr1GJ+sw49zuFrzctfGedEyCLFA
vpddFTcEIlcxcBYfJbVk9z9VjvokwfRxzNXa7zPVDMOZMQeqRLMDVeluKe4Ve1ggd6eCuD+ix/U0
rqKrMNX8sFtWCa7Zgzs7WHkvuu2EpDMItI3oYSasLuYuLnCcE7O7LIv3B9B67FXUBQUxLbqYsUev
3gsi0m2CocNsK/Z4xy3rVCj+L2aWQFxU0XwSNH88Eyb2z27symVmtWdcP7fShU6bULxDbHjaP+rz
p/trtNXMmtKUyO3EaLCRrE20Sz3foSuJ/PG/VaP9/HP/a7jVZBqTpYO3ZDhBCPdRmD3KInAm/7Vv
2+egkvcn3t2fp8GySv8abhVX1rUm+UbBcEiO+O530i5/8L+NrnSfeKeSk//ixRmS9du+zljtL2qG
q2JgMli8j3am5sTe79ZnEMXQGU/ebAixPn15EFC53egS5/dqNgVdigQfH1Mbj9sfzTR9j1tTBTDZ
wWbPcgmnWR1Sci7iT64AUBMi9cbMhae2r+ONXJFLqlmEblHVdiKpW0OkGb5ODoNP4/aYb3P6rTdm
06bgFVMkFlGdXOb5gAJjGEwXH+SZConBRVUxDUcN611pig4EzmJjceu6nlNr2lRFM95YSXIc5rqw
tV6N3b6ptllRmW4mNzv6TcAlzfGPUp9vGk33dDWw1VB32663qU6yY5pwPycZr3O/EQ5RIF/HardX
DAoqlprcZJqyS+fgfKp62BjaMZStH4XYUcGBTmu02q6Jo7NySEHZq04ZoH1sshwkJlJQBbaYY5lZ
D+UsqK7KmURW1UbhrhcnYw+lCD5fTD2KFmcTnqfqzn2mn8l4W7nJIOc7bSjQvviC5IQNJh0d/qyu
NQrTVWSY9TnlkCfJjy70kox7XWmTJwgdnUi9eNPF4nAVEfx5NZDEPTfnwJWFgVJ3Nm+wb79sZzr8
26IxNmqu7wXwjqneX2mFj2ErVMptqPbfq4ZsvgV8OIktcwvwdLpqE/iOUpIgWWrgQi3FI8HHD7Wg
nhQvhSWDCpNMpanOB2fkiukIorxPlmJUtpSlyqVA5eNgZ0+yjjany+etOc7FIV5KWslS3BInjcYH
6l0UCvfZUgDTGjXdGNTEIt/6NYv5thusp0HgEC+W8pm8FNIEZC87fSmutQEVPSlIBG/Us/ZOjSRv
WApx3VKS06jNtT3Bdy2IhidpsMYCoYQatRTzisx3B2CRupDYbRJcJMGgH2kPXthm1P+SpRIYx/hB
lkGNhyIVQotSodn6j4jDj3N5G1fKM3Dn2B5aH70RArpNF1/1uI5qmTJvlaXqGI8yJX495EjLKW4O
iuXzQkC9dWaON2GlvKZG/dqJwlXAt/e9pKLjlhDY0fSMZ0MVAdRZyp3NUvjEivzVWkqh5lIUzamO
Dk31q87M226pmRYF2VtEILi6QzFa6qq5Pr92gpICt9PKX3WnFnYul66al4dpYI7n4WBq7ZmQNT9N
cb6oRmHGuRkG0aR61tD9GIfMtoqIby4+NqyELrK2kp8+jgUuqlKGG0ToCfovs6437RA6o4aMfIBS
1gzenI4HQ5vsfFDc1hKPAZYWcvRYl+NOlXybeyXU2cgeIhXEHewkK9knUeqSSjo3WX1jmrl159t5
hlgLNFPWSbtCDF2w7t9yvuFOEvGrFG/THnBdPcIHDoJzRQ33qqr9ykPYvkAaseXaVRpi5VyBdHMD
XDTeGMFD3VobtboUW+OHpXZbmuDZX0bR7uDolFNCYRDXCsMUfHi20z4acy8Mp2PL3yx1/DI19pkq
8BKD4JzUjNhG97kwXfiB5Kgd1N1yvmogctWswSkQvBDGtZjM11Gk75UCQVZwm5f8bdXfh5YMGeu5
8ql3DwYA2RDKU564cSseQrqNxGZkozSP84BftAFWWI2snRSne7ECw9J9M0NrN7eyZ8Gq7HuAG2nH
KvshalhzkXjEYQpqK/A1ObtOFsqnFFnQRTPlIAzoewTwsdpT1UqHpgFjObyKwkMyxLYW4U+bbGts
BGdf8YbsmxEZDlk+u+9ot+zpRkxw+psawkE0XGG3RSywzXrLjYWKB/lp1fMyOyPL9C5s421RDDbF
mV2QzI/1QHpEjB3VfJwrihw1tcT0R1sGu15Fn+ajNwKbtTEpX9RgQLtEP9PbaDvF/uL2wS6LbE+J
GAVEKFRhinVe2ysY55pSi2o1aojZrML2ZRlYFEd0HO1iA+mXfCWrV6ZebvUhf+I1OSFbhzihF5TK
73KhiRvZDHZJCJoW20Oa6EIMhL+FVXYuaMEmN/lXmC/82wc3VubvcUSsKBjBJlJ8dTOM43cpCS+N
VhmcMFLFQ6C3oasPFoqzvBFdOS/MY1uq2J1rbcC2BU8izoLWm9qs2CudZZ3NymSgX5R4ZCG7Vvzo
SpN92TMpMO9TWY/ughLClKnzBxo5QR/oV61DkMVmHUqvOL2nNsDxY1eODirIq7jM+cVzGLhTUidu
EsS8VykUbhQw6rd60Qy3QLHqy17uq4usiCySLWGYXYpDV9a837ykwcLIPH+gXkMRS4fea412PWjb
Tk4qN8qDzjZCC8SU2X5LJf2p6aY7VaphWCcN9i/zxRjVwdWwCExa/nGxiHUntpTLMOj2ggaRLjBA
d0/9FvTb+dzWZ12n70qcsuxS8C9Tw/g5Bf5j5nffOtlPoVkq8eJLvS96PIos6SIVoNJl6SsoOTdp
RFpmrnrT191Zy+4T+Mdia0UbnAxRgKY7uaPIbxmcJDn/Q61C3pxaXJSWtq87ZdiErfFrrELL8Wf4
uvrY77quevW1vN3T0gmfR5g8OeWfEgdx30jBLa9W3JRBcDU1kxtxhpR5cjSQ8ZRxB5xVC2lEiEKZ
tVtfxDWnbpjP/baUMmmnztrerNvXehC2eqQcyFMGm1DGOFwSkHojt0Bky7E24I1k5ju9l3eKIO/C
Cc7sHPtuksApHId9ksW7oYmTs1Ch1cIvjmpQgVSN4l+RPOVUBy2+VfOb2EnfQU/fB4O1qeHNinMR
U6CE/BLB6RaDl6QyH+nYvhgk8U4eFfj88xmu37+0TocDHXVsK8n8Mvj6s6YBpK7nvtwYrOK44v/v
EkiEReiWEDwXrPFVrCIfyYPWNf1gkRSivFRgeFc5Whu1hieaSEQksi7eC4Zy5hcAQfqCVs4U8a/a
F7eVMDtv8UQxXktKIIEiRHU7GOOx13NXq9q7NvCf/KraWqa1SzL1WuoxnihmY3YAme0bU772cWNp
2BhyVthYhPAVpHNJ6mwr8M/5009w2m7CIr0YhsbDcuqc9PGDbMUHuSn2CT5LWk5TmWzdJqBd6e2W
gCibT90Ej3bo2scqf4M2tcYGjo66swwfxqnU35dCuTOInugbsuK9bJK7nLXmQklZm6U24YUkRXsf
bbQ09+cpztIjvLw0waBtkrfTyCmbTXTU97QnddlLIJg3dcgnh8jzmRP8Vs94u0UiGDa/KqRGWp5L
MoXpqQYAXU75Q9NVwX6yph9jM92Wg7KddM1p9cmbhJKuGiGGZx8TEqDH3oQ9ULqIRRBj+c1CoOQ2
OtayEMdBeMlNiIudMTj8iQtlnp47GfbwSEFXVSZMPmLrkInZL1EcD5YeudGsJsAzQV33SnBow+E4
KcqBD+IAEth0fGMmCV+yYXLuQ+LG1KtN1adKz196tqUNgBRbKRROp2o+0kd2pg7w1ClCezNgynri
45GEKN6o9XRm6YVthtA/9OwujTFeSMLuKAnNuYFEVRPS88R4zUZOqFYrbytV3BGwckeolH5jlTKp
INMz6u5Jqox7U8QhL6AjqtRFNi1FuEcyNHNNhWwyKmfWUJyHQWXHg/FD4whOKuUl6rElkBrtxRdx
heriH4PPFSiWKGIbhXCnDECk5Tw6L5ZQwRLyb1WX2KFuXglZcCzDKEG9qaW7qh3A+rKi6043HKFJ
KiS08t43AtGtoxRaXJnOtjR09zGHi9DlXj1w97HG67oPr9Q6/pF36Z1q1uXGTKzdOJVHOYXRLmLC
EOnHoM045OWmobJufjcKdeaU9LeBptpqLj1wmIDowh+bidfuKVy0G62l1jzHAyLX6VxHHBbpLTMx
GXgDZF4R1ff4fkYbnNuu5mL5zufshq3+LM8FT4sg0kJ0cII0x71Z2Jq9eYlj0l7SCLZijciQE6e0
i6kP7F6svVCiAEqMO/f+LsbBgSvBEz4U22iSvCRvuKEVu6DQN6HZPrSG9UDJxZHg9csgc6sovWwr
+Yc6aL2tmLBIezl8DOM+c9uCJ4oKYVuJpHA6hboqeHnEjL2T6MQPY36shOin1IX7QVQuFb17rmMt
t/nOcjtMlNbJRNXcRCNCWy19DcEjb0cheFzQvLXaejF7hZpDcTAWSQtWuhyvPT93LAd0hEy5nQoB
KfBJ+E5Toi21zUWVzziBlNtKEL5Havg9zhOWlfQSJehjerO9Vmm5Tml48OIu9aRMO/hqehDzwaKX
rvI9c0L9apVAsUW/QpoqNcUFCDta4gogwm2yLXvlvi+0H0DRbmm/6bltRRdmpT3QDIhwFPavjXcU
zc5+djsUk3xINeKdPjJvjcb/AUncnVkleTot7FUFICz02IbA0BDo86sXTwGzApcKYoXcTdRf6C1F
rb6boJ4K5rWULFCZcgEglQ26wiZ6Svwq90qRYKnJ+WITfZydOg7rsyzOv09BJ++hWWPq0M0ImMM4
vxiYb+wg9PJSA98ZNJGDAO1oCpVnBtFrqlUP7JwPWWmdzwVQfL7bcxHurdRR34jj6EaOAvwNuCFQ
mXMMaOZ9FmNvKXfniSZwTGXmXSIr6KbDGJiv2YEt7SLTYXO+6ZDNR5V5JvKEhhSF2zEurwIfqkM4
wluICDZz1bokEN3qKU4URSVci017pDVUcWMxiH5qGctxLNPypkng4gK2WmKpcf4hmvhnSGp1o5XT
PlHGy9Ca1d1gCoEdasPM9kfAKra0mIvy+FC2853S6o467lptipxZy6ON2PGeu1igrxNHedJYrjwE
3jhy/6brYCsP/VmgFnsij8c+mK8CFbMRRTBvlTK9VzlGklHE59Q8i9PqBkOam9ZibWb5VTgmOyGq
H6MeqLkmCxO2POrPSSVwjQwNYXleXCtC6Qb+7FV6d2P05rFUm51o+s9tb3JcLkyNRAfr0ad7qZOu
47BKcDWBb9EChc5plB2Thqsvaua5DM+6IgEL3MLVNTA0KBNzgw/AD1OqrnwzSTa1EV3W4hi7kjQs
bfBDiLgKV5AOUH1W5Ae2yrO8KTxj6r7lvvo4lBICeLgOtqr4iLFGS8R2sP+pFtLFYIU/1aDY+1q3
ZVe1w1k/D5bbn1h5Yw4LbK6Ta1jINm9j4uWGl6ZS7fGt2PdtvVXxr+jn5CovLVdSa68VB6AclroP
09La+ETkfBj5rWY1D9ICMBf6c3OJCOVuOIRS/pSn7dnUhvtGa2/SpVdKko2cyH+iliPwVaWzfOY3
gZ237RYwxUVl9dtYKdw2UPZBMOtO2WpX9ZBcRObsTaF5libVmdmLe51TFIAsCyyesx+W0dxwTXeQ
VWDpafkYkZchlW1VcPve8jpdeTYD7SEacXIZO+tGgCTA1xhsi1SFMrwkFlQuLjZNUux7AFrtAgdg
zSQVAhaZDqTZCt2hNl5TE48bQb2qa+NnQ3Oc3fg1fdVSntj5PCmQTbVs02SxfzN3Kp4URla41URT
3GgU1h5EWGCPtfpCh9g+LayzUpT7h3p5JiKt9MzH7MeeCyF0hS4JUAuqT13WdOfp3OMPgS1y0RXV
oxTTE9VpFHAMPnl3pteN0jCNF2OPgCFoXsqguavnbnLKPuIiCIDnoiPdt0kVcNygrunoW/rppKWz
zlLJt8TLTqp2kKybpQGv8KuLZmnJA+u/n+X6l0ivHuv3xs9l4WiWqv9UydyD9aW9j1YMTp3/Ze88
luRG1iz9KmO99zIIh1rMJoCQqTXJDSyZTEIDDi2efj6w+t4mg9WVU7OaRV+zq8zI8oiAw8X/n/Od
VfIXr+K/XDUzwBXv0WK3jtEHumF3EaMXHNANdquA8O8rz3/R96HHqumGB3/H9s61jg2lHtcIPR4E
PHB1rL1vRvlBa+kH2+KsMWGSGI1GdW3YGedeBK8eSOQrkL2P/rJrr61L65DuVjnNeGlv+k9wAlEL
kfBhffDdflNr0BGRmDpRCkELRuxyVnaepa5Kh7PXj94PGGOEqmvg5nhsPuRBndMPkPz+OtZZBd9O
Sq6DHmOt1jl9DWx//4EJpiU53rLckJ+06w9///D+qqFGaYruP7RHgqHP1dNRXI7z5GgzbXl1JGSi
2CwXP1Ipq432SO0wKF7+fsS/aE3+POC5fjp1zA46OANOu+FyTXFExH/MT85H/ZC13Xg2ZVaGBIGK
5PPh5z/rLdlLI6Y+pbW74lLUY3XfosDKrtpA27FLdB8+PuMvOhSEfqPasMHoIuM864kUU1mG3JmB
Qz1N6NrUriw3GDmuVt0XyPuHPqD043tHWhGv9U5dtRfGR+qDtYN19p3xjxEWvDr2HCQrv/bTmsHs
5Qzjl/st1MdgVWmubp3y2eDeDpylPVr1xlh7pNt//FB/GXh96D+JO9KkbWKyiunW0zhs98OBeJhd
sftQ2vEXvzHjIJBBFI/99Vx61kRuFjYV44y++UMnqR0XnzAdf4UnfWSQ/6sul6PT5KKY5ULcPfey
9uWQK1PkGuqAlU6a7vDuUFXD+Kj24pGs4L//Ef9qAWA8hA9Y8lGlnU/ZYY7KuE8XymlfJmJHCchb
G7CJr1srZOdY77jN7NhFPhh2XcPOZw2LnINnHsUKSOFfH15Oqa2IXQwU8mr6ZJyWoD6VD8NX+6jd
aG/xPalZ+/guffpIzPuDaPPLuGu6qlynK3uHxjf+dVyzau18UZ7mJ81mehM37on8D+R3wh9eqOlu
+TeIrqb28VfQ8HY+f/SAf9OY8AFsx/BAR2iGgaf61w+QlsYceqQ3Eeq8RtOojaSU9fc/7u9D6Gxc
Ep2fDZoONdKvQ9gUkMXSsKaX3YtW3IzTh9Lh39Y5VE4/j3D29Ox6MBdT+7FrrDKuZEvmn7rgtLCl
0H4Rbk31wVf6fTM+G/FMg1GPTaMKmxEJqg2uzIMEdx2vYvCtvk0Z1dc2/xcQkzOQIc72X7/n2Xo+
2qkDw4RRV+x1dlr34TFYnTcfLTK/vQ7rQCwx+HDR4sOp+fWRUVtN4UoxUEZhxI2v4uXeHCOiLg6J
+fr3s+P3PYOxePFWeidUfM08G6tYWs1Kio6CpB+92mwW5g6v20VGKeKi2L8RtVNuy9N82V2Pl+aW
EK2tFfz9R/jt9MYncDVDg78M5sj+cT74aeWOcuF14br/x+mXhnN2U90m1UfHt9/2pR+DuAgeVs0r
+Qe//qSJlFM8j8vsc9utR0435OTxyiVbcZ/4zp3xqbu232xjQ0TSn+ebf0SQ+G+5EL+wJP6WM/H/
IUGClfqnJ70SKv6TPHH9WkCe2L8ur/8LbkaifsZI/PhL/+ZI0CmBB4HHzJbkJfMa/ydHQv5hoHb1
PNoVGgKPFf/1L46E/gd+PirYjsNcIaqdJ/kvjoT+B9eAdSVHdWnrbGH/hCPxp6j2593Bwo6mwxCE
Xbq++ucJCGVLHSJUdHMMp5e7iE71llMBIAKBOdfjvgfyrbC3QwicsssMSltzY2zz2jYfxWCt4oy1
qJEBjE3TrdGYpIxZaAJyuzsqFX/Vjfeo73f4ZoN5tojio3iku4fSImTRK5IgKjn8xi1K/c7ktoyA
Ws4X6Zy8xG0ajK1Z7/TppZg4vvbqIZI4Q8g8OajYK31hEEqnWrsgvZD4Im2i4YMM5ao05PeGStbG
7GkILI71OVelDLycVL8ohZGTUWACOmXUt/WiXsu4cYMOM+lGEsu5nUh6o6ZbvHtG+gnS5444MBJ3
cDCQBccWnviWQ3GtjfAva61v6062Xzqu6K1Z0q8brOxZeo0gmIZg1b1duupQKfNu7EhKJS7Pjb6y
Dhm3zlzym7mPbnUElx9Ie9t3ipTC22RBXfBJFVX74OX7Mfq6tnZCakVIi2kThTtvGE9YB31NdtjO
CvOmtL3Wo7TsNCcaNN1zEk3xtU1P35/N+8RNug3pmlaQJWO4LRJ1iHVnS4DdZaFV8/vQau+Vl9AB
V5PjntKoowJhcACrsoo+B06ou7kgtq7mjFbtfrwp/7No/AdWh79bNB7g6rCFvf/g4By//e8///yf
64U0/liTSFbvEHuxxZnt3+vFCpdZtw8Eu0ggfvhH/7VeOH9AEdStVSnGJuetw/9rveCfxwoiWX9W
C/6KEvrB8wG3c/vnOgCphxX6v/7/z8QXV55v26A8DGwBNvQZ4C+ed7bHhHqpyJYWhi+dMCEFOiLp
qETrNeOD10a5d2GO75NkGHd49bXAnV0OuOaMKzKLSKQsCLtsyRIs0APdgUQZr5KMyL7FM4bPFARx
qWoCwQxKZIrOaVkT3ZNxHbE2ok7mp6oZw8eINu+9kwocRYZq26CJRGxeqLyna2XM/atyrSX3iyhH
dpCI2Hpx0jp7yKIYg33YmsQGhl4S3idOnLrHnji98K7MzGoitWmMUyQQraVtk0ikZoGYLB9hpvat
6YTVru2jMX8b61w57nfTI1QBqEHUUZuccredn9KuUgnGXpP07KQZOTBuuji2ku9kO0/6a4+wznwc
rXkg4zjsaALlTt/eT7TyEdeRi20GRCQbEwAf4WTWwziv2Zqm3g8uJai+FMVNnRVzfx2ZrbyL2sk8
pizuZCw7SZK9EqZYF/Mmz5Yye86whstvxVQLj+jqbtA2RbzU6khfIyJmVpaJ0aSEmnbeoW9G921o
FI1EfdRWmUio1PtM1DSOyM58VvNSb9ulnoN08bT32PQ6EpCdZlshiHsom9J8SpMs/AQZN3kp+kwR
RJoLy487m9S81GvvZLq06moN8Xp1lWoeK28a2o2swumJp10rqONxedHMw9Dd0ZEU0K7aMSqJdBaF
ekg1UZmIlTARfUo9hHND67W+lYfZKZzGeBcm4fJmkYtHT2FMBHDlHP/9BkKSGQWRS31fFirf62lT
XFZlmh8KfdYOWjTGpwl78P1IsJ3yzTQvs6Oda/NDPja2tzXHNO1OdZXdZJZWbmwnFl/dIgmfibqg
uO0MAPHQLRaR2HperTVXSZO0qW+Gefk0jcpJt/HcWRkJg6vo0UMqRSx1CqJhx592MqjSyH9OXWKq
9CRrR5+fFitM5HfL0ab5MlJDWt/oZuzwDlH/z260uaVT1NTuVSvD7OjRViPwkrTMb1ZbxY7fhGIU
BCgnc0amKamm64sjryI+4v2Yji7xz7k57nuvia6SslPPWTYUO1RA7d4whulCZqG4z4vcerFUhz6t
FXbzHUGi4V14SW5dR0rp1lbQHXmEP2He5cQS0ycfBc2UEARjRSVZk6cqseuvqLbK5N7qLGx5nlVW
QVt5bRQM0Rh+L2ST32W1gd92SLU7RZn+ppd5/F0so0kEsCkVL7vUPlllJB8iM0ku51KGd9mih8iL
tBra8GCViPyYwAUImENs4KOmFi2nbel035Vo3d2waBHa8T6KvCMhjqGOdy7J2dln5CsANYzkYalN
0mvDQ8Nr+xLSy72oaiPZ2mY9fxo1irlDEVsHy1jmnap+zGrOH6S06JHGHZ5oydOAwOJeeA5WJdWq
6HKoqul5ZboifzKoB8We/jaPWXEhIlFtJQY+syERnhq+9ZobcX7szJjA2Lkz9y2Ju4HejfZncCmK
C2yk32WNh+W28borsUQuj8+zj0MdYuypx/FQyrq+LOJO7KGLoIgj7bi76z1ZRUiT1Bxvcs1AS9ET
cyv7vL8wPb0+NvivD1VpYujSJ+218pDUNVSDv3XNNDy3Nko7hyhsOtjmVVyk9m5q0RBVQh+3sQtU
xNPpGmq1fIlDu7itKsucEXM0SVB19MaXpnuUuUvvI2lCUhXXOaimlPBY+5lmJ6eIeHnSDeMh07zQ
t0Md4Y9+mw3Nu9EVX2WWvhYKMUdt6t8cq3xgm7ugsZf5wlNPsQUDS9K/CuzSueJmzGGuc4ydXkkY
MTIDAla/VbU+0umX1s5Y2k/Zaul3MvEcgmbdkMP8ZRiaEaj19CZ7OgslphRfF+a7Z0e2PwnaYyQ0
x2P6vW5Rp1aclzeaU1zXItfvw04kyIPHxqf5PG/rWI+DUFbWuty/oB+Lg1HG5PHy42xKApZ93Knv
SsZfpxKtRdf1dObdOv5ixoKAbttZjlUUOYemS6Z91vTWVhepfs2lvz5mOFgCl1PxjYo684ujtD5o
QYEiNHO2tGu9TaG13+xIZntnjo+1NU4nva6zk4xT+7aM0/pu0uBztJUhjklfACMtrIS9T5UX3DYE
6vik9LPYJfh4zgHYh0l8mTekduphH5O6PPftpne76NTYAxCZSmj7olXjXkZLej13MOmTOLyf27C3
iZuvnYcpjNNrpXNtiLza3hMtqweIGB56fTR2NhCIXAjI48AhQbOEF52MxqcicSUV9yJrfLNQb87s
yKfSQSejRWl0GUblxKs2TPRyGuJ8K1nuOsRF+2iS5bVoSzfwxtLzoSpn22RUD+Es7iEbGJdjggSx
rogp6DRu2bAv6q3HNNywvaCrLpbXQdHcHXpk4nNlRDdVRo8Xl1AeaFVk0v5Zkl02wtxODV2c2kh7
svNG+rPw0BMSKkCa8fR91lbJ3DTzO9JKQQ+TOn5oV5ofCss5CkTvmxYbvV9UZkv0q/elHCVJs0l1
aJXzKGuS7dnUOnRtGGJVGN3gkP1a6yRZpcK9yaLB9lXlPMx1Um77FbxOPFw9mg/g3Qs/arvBJ/Oi
Og1N7BxSuup+mZoSvVs5XHKiqbZjAqR9drNCHLKO6tu2Hgka7g1PvBXN+EZouUZUeE7nv4heUup2
m3TMjY2TTaelovOf1mO685b2K8x769EdoKNEaQ+Vqlh6nomVfHXhH3l6J28Ki35k0kduYCpx23Xq
qVSxulGOVh7qiremm5IKqpG8SDNj5HbRCyLsEXF2WXNjFTPO9KxGT7yws4WRdkPF3bwIjfZ7aUfJ
+woT08l4ORXO2PFITXE965n0DUIadvS+5THs9eHWGNobZ0qI/kVzYMfZGHQLFzn6LqnP240utqLB
HHqotoaQj+TYl+OsvRQz2a2ysV0S+bjlFNl8p8ws3drKnGgcuwe1BsiWNfJb1JLtLHw7blc6wXgz
Cf2Ro3JzSou67g/RjO6TJ3pLFjqiUs27UUtJz7KotfpqVBD5JbEqZae/FYX7kI3ud37OT1mEsCZC
bSsjvMKddW+jb8GLhBTBKNvLMOPkZ3l9RLczuS7LVqLORS8FXOCLW+b3XUjgcZTEr3VmXMxlHW+y
ob9tdUy7Mmnux2j+nBvTW617R6fi5jrUZLVbFZn0XX5QfWxtSz3mrCiP6MvJvlgIRu5chqu98aHW
uLQzD6xt3Ey7wsmeYq8bdqNUdAGYZLvQ6nhJzFTj7GE/VCMC1SXN7kt7vFGGTAmONx67xkKPb5NV
2+loxxK1oB/KK5cbdPssbC/atnbF+yZRSWedfJBFUbMedsVF2QyfdaaIny6R2hjWCIRc9Xc4ma6U
45HqYRtfObrSyY9RMxdO/DJ0CMDGnmRKu6u2hdcHaegBs06Wz/GcGKfRi4xNHZk16UexuvYAwWzG
IfFQNlnNdZ1nLb6RuNmMKkFkk6rHpFIPAzLiXeWhrNcaewmKqvcOXm/ae7MNaRqkxlNr2F8jp6em
15NhnQ1vrpvngZyNlP0CxV2qrMTPB+SBejp8auNulYtZt8xKAv6U9Zo1bOmeVhJj6A4O5VCnCVTK
jxyXkU6mupgRg3ECLYuyPbgFCI6qPnBREIHuzsXljFVkY3A43OqzNT3zjrEYELR27Q1hQQhKN2y7
MbUuMjBB+1F0he8WkLOUrKZNuWQ3lRh78rm9G9B972Pkxb4mlsV3ovKN6JVLb6qtoIzCi6Zmk21m
jdOqSfKRXuGt1xN1p+l5QTEGNlexrSeO5ptx7gmBhmnwRWge0Bot5v3vC425nBsLVZgldfPnye5J
NYL18eRoKPjiWdmxH7ttzVk7HUe5CWWZ0sTre+2LrVBWzGnFa53XU4I3o/eEduiGaYo3bTVMz7Ds
XBQa/A1sJXB1rtF2ZNSccpl+Hkwif+wwGR4GO+pOszanAT9fS3VlGBHRIeG8TpABvib1nH5W3qJu
G+iqn6AjFDdOXC2vuSWQE2Hn7HAeoSLREarcZZW7fE3rxXkwlNlAS0/b6RCJcTquB+H7rPasJ33i
kVRu754GpRWXbWqFN1JblfVa41FQAz6Wb+TA++5WCb9MHCvCyLWpe+3zVt1a3OzDPdKsMtmRa7P0
G0cttgSa5hC+Gg1AAAIHbpuDdjbhTlF3jX0f5sp6jGfWI1/ULuTNeSAERMHvgnmUZNr3lOWUsSfS
RXatXY5ETWkh/q2h16z3qAznK8EfsTYhpqGHpteGQ0pR+TJraz3o3SUhQkSbn00550SK6u2Oe067
0QoXjvY8a1+rSZms1ultWDfyoZ4d7SI0+/xQOppHZHecvcRuiZSiTJFx+nPTdPDYRVR+Gpuhe9At
ZduYy8L0xYvaeAffoV82HKpdtdE7hPDmkvfzPkO42x00BFNJYI39UAZ60xLlDccH34bTsiZveWmX
1HeGMAtyruzvRag3b6FqMFP8VL35zyrJz1WRH72KX4qo1HWpiGiaQ9t0BW39WnjvU0cv59Sxffeq
uWyv+/1y4RUb6zq5HLYmuQKN38hNf1F9BEw/b/IDWPl53PPwHbcFj9KHtu3bV/Ze32nP8xVb57gp
9vCCtt1WQ0kWOO/GYU3aWW7//luftzTOBz/zWXPsLyYnNHEFDzdIo1iijwpt998P8hffEFGBKalh
uRrsubO2m6VxaKtSwtDRDO2di/Bo7qtH40MM3F9gE6iaUQIHGcL/oGD/6xOEYJlT+U1QV/+ZuvLk
bOfd2gr60Iy7FsjO5sovI5219WC4R1U/M1dKZor1SQ/aq5AwQx25+L6n02aAdMp24XV8xV3l73/M
31QoPDIPNyG4F+BXcKjPmntljNw0ExxVrYfoni5Uufa999G8Y5rSbDc/Fx/M0PXL/PZlfxrwrPHm
LLbRFnHt+HN3H4pvafSByuW3Xv76jUwN+QlqEGKIz5FebuZmS4w/CTEP8VOvdEh33nbwJ1/bNRuD
6IDyvf2z1/Xf1kDPK6DnQ1Jr/VmEkWliSuG5sebOys/1L7J6CiNzZ6pw13rqH/YN18HoDPEvGjWw
c9YP81PfcOgM3XATz4bS+t5NBnSGq3r+iM9w3je0bCQ8SD10BmK8c2lZKrFvuDPeK6eaOBs5D7bb
X4EzuXCS/vjBFPxorLPp780xYXAWU7DnkXmXw07fcRVYUw6JCtvozW7arulKH752575tviPx1Kwg
FpVwTPBnq1WLEjbvjJQsuShYgUBpkMmN/dgHs7HJT//Yub0OB5zdYXbCvvqtrRYOAsPUzHD6wwoz
QHkYJO9rxG95X+w+FGH9vqasPUQ4TvS2PTpXZ/tPUpZdGFOD9lmGmzc0X4H0+6so8aWfbYkv8mdJ
ks9uDOyd2gO5++CZrovjr285jG8ToRDiDlqZ7tnwOjdHSoYtAN4n/VNzLE5hoLYLLat9eV0F1Mw+
pDf8vq7QS2XmA9JGNYgq8tfXQskmHuJodH/oBVccae1dxjvHd/ZawBnf3qdf/h8e6TomagWmj8Ox
4+xbOk7W1CG1csZUDeG37R4an1+322W7Rth9yLj5i1+VfjFQ0pWeTE//7DtKusKaodb0Q5Y2q0D9
ER71ayZsMB6XJzjpH+znf3GKWYcjq4ReEtEo5xoFJEKpGYGVAog5bHKoH1z/bkjD2uLhFq+2d4Ii
ya19TwnN/2AG/f52/jr02apQl9LWeix9fnq5zt3Wr+AWreFI+ekfSzEhqclVN4gA2yOp8/xI0RRL
mmg6q512Kh/dk9wivN/0u5jQkk0HrOsjJeZvAqzzAc++nC0Msy4bftfRn+fNvB2OZYDx9j1ObxxU
WQBZ01Pui53e3YAgWBO5/83W+p9e63/o6zz+7zM+js3rL4kgP/74n61W2/yDfXWVpvF+6RyK2Mn/
lGZI+Qfz3zF4GzgwrdFs/yXN8P5wXAPBBLhZ5g6qun+3Wg2Lv8VpldYsCSAOdb9/0mo1WLh/XVeR
YWPvRQPirP9lo1j8dZWzYQfkWhFXW5psOOznyjpEo1rwvjpyDhb00tu2ieJTaCeUSNpQa/aLwy6Q
IQHYU2MkemEwrOGpGkwOzZFVAzH1plEONEsik7OS3mJJjLz5Yh6K/j7KHEWxsctuRvx4x1B5887S
l+V6RhCGNrO3mtu8dbLv86TF32SWDzvHdrClZIWN8l24pxXfuec6i8BDZtCewhL/WDMR9ruM0qcp
VAQha8/nYonNK6rhgDbKLn/jHjjeLj2/LJ2DJQlqorsexs4O91bsjMAhxHA/GGG7q7VcexRl5wWL
DmHjAuPx9D3SYx02RWehW49zrbauIiVM59qx1dLv6J3FqwHTnIuNR83wNY3tUPpYBZb7vFxwabqZ
hXcK/5gxYWmWLXI0q8gxms+F5638DlEgMSmNXLxERRaHeC8o9269NFya3cx9WHzSFiwkJJIUNvLY
mMf5HLKqsysMpf7a2sZAyHHpGqt9RFDtwfzjOcm+18OQuPhlDOmlgmL/HkHuJepR06lFl8DotUeq
+gZlEZFoKcl0Syfb0tgMsAHGd9mqGKfjEluzHcS4t2WQWy3FyCCDXJw9O04JglzGriQT3ozHwiWC
2FTowlJF05KCTNoMB1cOqgs0wiFgtjVx41w3hjbmh3goBhy11tB23FxLTbzPXms1w66d3VCvcQJ0
UeXs+3nq3D2eETmc6rEkSrDUrWy5Nb0mI/pBuu58laokM4t7kCcRDiOQv2zqG6eeoGVwEMQrvWkt
qzIVkySkSLTJpiED1uHVwJuvo64VCUCOVBmdP+H5oKhXIjxgNLcGizE6Zag2iVHoTjCoullehT17
lMaWdmyhD0n68y9lmdvuNyzIpoG/aE4K1/Frx8u0LyEmPurWtYXBxYLFPXB+MorcTvG7t8X4mWjb
pt+6VizUHoA1zJFi4gQ0USqNGnXZEoeZ3k5hFlv7OaZI/oJVth+2iWo87XE9i5ooqMu0Hd4X2tI5
+Ty2kt2VtLN86jadreNF3lRNXKfZtg0HzXmblqhuTkvJocrd2M3YhxTY+8i6NMKpnB4sQeVKBX2h
k1s860ZVv0Fv63qqyEuZ9m9CRUZ16OgSygu6J9d0FKHkDwud6C2xomX9jVqnHLHTllo6H8rGMsCq
0F7Jb3KPaJ3X0HYRHRhrwbEBvHPfj4OLqKEX5Wg/rcyD8UkUYqjv57xQ5sUwu1G7TbA3QMtpK8qH
tT8MWU+iscwgN3yFxkPkAtZSXbifORXr1QXmLIoHG1PWPf7usQm7J5d5xKww3KFe3T7oWCJim3EJ
3SWkKEA8CePYaV6xUCsjhC9S6fIau66WxBep3XpdfF0CT+hBtDiCn1sEFOisWbur8XyLcgfZI6WO
3WaVomUVRRY1WwrhaT6SrBHj8JKB1anR1fzOU1FGKdfEb2oFVTF73ZZvEJmfEoWBb4NYVdvGY/V1
TDLqin6feaUdZKK3wbpghOq/cfCvtfd58nrtUbMykuZ8Yi1S/WAavDtkNfNOx/vYril6rMEJJpQe
Gs+UaDeNO7PIg0wpLDHw9rQdhejKycvymNTCTWiNyFg/dZGwJYKzoVSIWZSmGXzvVvYZ3lwxaWoW
NxntOyR9WmK2FMjJXtjW3YBVl6WjyXbIZAWNtix31EtUSyITNk3RtT4+L/2Y4bBKtACrgRtlGwgD
E8/Xrgy8btMUNY4/RXErj46FnnVHq9IIQiuasi1opSmjCmTUsf2tGopRXM0QPVOKvmbWlBehrlUL
QCFbsGoluROhiKO5E7Iu0wXJ3NhvDfoLN1pbOcnLomss3nPb6nTU3OnoCNNDMDfOVnRslEqnY7bY
mX0hywIzsTmUi3gy2skmtbT2EjD+Rmf2NAPTRZT7ghMAMJG2pZRwFVPkndkyG8f5nI+GB37GEdZ9
lVPa3EWTk83b2eo797kINbV8tkVdTPe1pDvtj9i85+PotUZ037nhgKBD2JMd9I3szUNdQvoMir7R
0udBs9T0rlJCuMG6ZZPtXkV6xOmPiZUNBx2e07DV+kXQ9kj7cN0Nswk5SM6KWfnp4BTk7Vpel5nf
TTks+rbp2JMPlUmKyE2VoJrZul6PxmCphsZ6YV5HzYUWp1p5kmM+pLvJoAfvlwpw/U0c6kI/yiKJ
sk9wWCKO8XaaGO1GwElfTnxsRzssQ6InlxaxKjaCiSQXJy0tFcWoQYp5YNlWSvqa2QtJA95UAzAc
l1ZNZEztTerG0TsrjLiNTcGqO9YVkbEIHwa6cFP4Htb5wLxP9DToS8Pa0znBJD6ULL1j7GqHEFbR
0xrZeZQyKsxAn4zqSk9ZQC47la+8Cnvutq2BrG6j5R7d6WjEFk2CiXnsB0vcpdP6JpQiJl/VTvMn
M5o75u4io+MS0aqe6qak6LXo5b4Za3yAMi+Ah1FxaS68uuCH0kjv3CTtVL7alV4Ye6dbKn/KDfr9
RQu3oKwMPIPNiCY+NTJmLilH6FRop6BJMWLu1L3jJKjb4CAYfk3/a5tPRfeYOq17xOXqbKZO5JTF
DfQZtV1bCKcgKJ3kQK1lo0EL8A7AnmZtj7c5v6R8PT26M6fWY27H3QqKQuq2yZ3MLfk1jDrImwqS
CmV77YojBRq1Mm3MFxHJRWydaQhpwLMsyOeE6HDtqZSFESNlrebv7qybR1XyhgbTNOj3zKYCIEkq
kmtZLuGx1TooUkNif/Jc0Z0My9CuyQqa3iyjn28bKbRdXkzplWUOod+RyYDJfBmOw0DEwhY3rQyg
xXuHRKbD9SSaicWtTe2NVwvrlDpVeTBSOd9xiDOudXOwDyyE4D+yKT+g87K7LYo8c0uXMzqw/sQv
Dg9lbzvjtFeWTkqYNaZBLrthny2z2rV5Zuw6MFnXUnlwArjDeQLUjS3SC00U0PT5QAe9jIwHM8FA
vDHn0rhXXZ6emqR2b93IC59R8qUXZguvYGqjpvOl69T7cK6tu1Ito7i3Gv4zYCcN2TUsjtXdSxXH
0fBZZBpivZ7k5oo8HXPkhFJ5IrtbnFYXfu420fe1SYQmT+vcijwEiN7VIbXhLfTzCCglB1T6dbbl
dWIP/c4Gu/XQsgs/zvaifR2ntNaCJbXiHT0YUHPV+u4NhcGjlvKuYvvbj0Nubgq3xXPGznWhjMYU
j51pRi6qbJkd3FSUgZjGZVvFNLHtwnKbjcjaLjBSS9tVfc6uO8wWeOCuHq/yXnn7yTamL2Yh7H1b
rTAxkcXFNsyK9gmkwtT7Wk0XibAH97UuinZDj9q5hKncBkDI3kgErDcYe7FxLTO0Ch0XNYeY2O8a
YS+bRhvLu7qoqkCfTembuXed4NDfG+bMrxEX7yIuv9VV5OzHSZsCzjHpp0jq2DUSvbrpyb/Ajd+F
3x1TWFd5LeZto+SaPVRhKWLpFUFj5OmtPpjjrkh6QjMHTaFE7dFuF+nXpM6mG0SMSJHC2HP2NjSb
FUE2HPvGIxtFr1CpGJV3kEOpBTmkuo0rxkc5FU+ctovbTGn5cyOEcwTjBzmlq9jKxBwFVg24ql04
yqUUSjrH94rqIctAw9VdeKIHBpVgnQGwm94t4X0ByuMIlJUpTd+pw3cmpwlebVdu8nkwN6PVfLHD
7mg5sd8A2wEJkgCUCu1+V5jzk9GT+dgOhyEdn+vGU7tRL0J/mEL7E4rw5kLPSwmtomkfBAvRl1yU
YuNV4ZNoVI5ZEn7hEYHDo5HwiZZYObcFe/oh86rlvreW7FD1sXgKXTPcWBb9+pZMLFbMSlxyl/Yu
G1em+xwX8Ra3y2e9XR5x1D60ekZ0SKR7gZTVzi3Xk0k6XYsyPI5LtrdrUSHlSb5xuDiFwngjUPUZ
lV1g2t0D/eH7rvo/nJ3ZbtzYlm2/iAA3e76yi0YhRaiX/UJIssW+7/n1d9BVQNpyIoW656WAU3mS
IoPce+215hzTfOmoePw+71mDXiL+BXaHIWBsuf9JBSaI6ukO6J3LwPt7ZYk39HW3bY703xIJmia0
RZF2SVFZ6OtPXAKXVNg38Uo/qSs9lkKvBaYJEk//SNPBzbTXJGu8iu0W2MCRhthjob2l8eLA5bnj
gA/553m1zReznN7STn4ESPKdjy9o4twNWxZPRThVdLuUxMJNL2k8n5MquZvb+oXSkXhBOabCXRxz
kR0rvMnDUwslQ9JfO5a7SCFriE6lfdN334TVXtXSh52WzpxfInNx4vpDLSwvp+QOUKjuW3HdNpAX
bfMohe9ZsmtK4BZ6BUpCwgm6NLu6Ue+prG4o2q7aIYI9bxE8LZNMIBXfVnlWHd0cviPLDfouPAqj
jHy+2Kulkx6zIrksjXgtzc5DXPUkVMEf2BUXO7evU1UJJM5G0ZC9JhV5yaVW5TtdS3JXsccjmthL
a7R3g7UcWdVZxyHEKVrCoR8UKArRg9yLsyWiJwRZ39oUforcN6d0qN25t5+sVrtpViMmdR3I1mAX
W72Zvxqh/Boz6+ha+2XKMn9gzdJtFg8ASgnCqMFS3BBhRZ3zssHtHfOHpK4OY7fr6g4yJ5K14ZsR
35dCdeoGHedykec8KBTTWdfdAl4OqOBUquD0XjIV5aBdpW5cKXQJQPXnjCYW6xi2Gmoj84eqdkEh
aRwL4ZKQsJP1+7gLeVr3IQyYsIQzQMUT2a+FzOFPQ5ZiOIbxChLGm+hnVEnlVTFxNlLl9mt/6ToE
IdUlXyjdNIIRl7Zwm+yjpAahVXMa24jTqHSsR6a5Ve616v2E4FWol476I2ve5ibo6ofRfK6lAxjT
e4YBJ5YCb1V+9kp8L2RkCzIvcVzAk6L8ydCChRL4n+YjAd2RpAzeRT+X15U1emE2hDQVnlTUFqAn
yHippcSvMy10oaN2nqS9o4ph1Wqhoi2oXO26P0hpdTcp+2lBVzLbvoJ6BBr1foBvxgTCGUEh1vZj
BoGCH+m8rNHRnJATTzG5OhK8p0oCHNJUnBoWd8wTR2iAEkFfIR9eA3k4irENzLWEOpr6YYpIYkwf
zb72JfugxfYPu4gWwmei3bj+0Ne3IgP2Z+j1ndGF06PBpn3mNO1H4jrNd9EYGs6SUulanZKipM/4
Apc6PSXUL8QOPWdhoKv1nWBEIQYbFoeCgKd2FTQzlfEjKj9E3wcU5l4TAx+Tx9nt05tsPgiQXca8
7LXhQvDgtq6hbEIyHbGvEaOYLfndEkW+sMZ91o3CGefkSlNSLxq6Q1Zth28wYesU+wpR3S0clHUQ
6GX5VZD7TW0GY6VSwD11qDTBpLeMNaoO0smifdQbM1KHXcjGL6vV3dgZfliL2m30geP88tjH7L18
NUnEwGdlDLpI3sLqoSndoegpi6Oh/6DDBMUiutJBEUnxSzGNb0uDuRTdXh/b/tBd5YhNKMdcYxJB
rKpPaolZS/0QyogP3DQ8s47uDLnwBCzLRDZgljYPBUcVd1Uq2ckadSs23hvpdqCDgQrHVTBVOWiW
g7ACIBsvyIRnlWAwpT6yxO74k502VG9T4GVzfmgTxJ3SBlKF1zeMrlKsoKOUTezPsQUlcI+irB4u
MtKAZB1cqe8PqhVRahnDLsRgUk3564wdImnloINvSb8kRjene7mS7At7uk5nK6gq4wyiFo8JkcKI
svgmx5PFrwiA44io7UjVH9jGeqCC2ZP1eGOl7ITsR0ipxpmdaCHrgC6rbWM4Nlva9gjIwN9xaper
AJRn7mD7DBQ9D4zqG/S/s92s/jhzT5J2hTXrupV6ZJOJJ63NCfCyPyAbc5YOmFpe84uHZubKYgzi
xnqy83uU7m6R1f6ElUvOp8BUS4p4xHBy76v9tnHjU8vUhzovvI6SJJLsS1pSuBkQl9MoCEf7XetJ
MOjP1rgxbY8TSL4cmblIMJsVpqtKR0wwzowqUOZxqJS06pth3Tb1DUfcGDBOaoz+oP5c9J0um/QN
7sdIPa08WLUWu5X499a630CzHJWK4aYrhV+Zlza9ackBgsoSQaXqLJxl1B49MRgWnex6vOuq93F6
FHgXAEMfM3Ry9k1ktT59HF8yTl2XYJ2rHJ2vU42YuvWRv861Z/D4dJlQW05rloSbgC+8svqfRavt
Y7M80ck/CaO/kof5OLXJseMlqBX7FMamN/DPwyi+T5bhWYqpQLrkWLcliljStSLkM1g4Jv4narED
VOfp6FPlctmlLXEMtbmL7XqvxeUmAYTjmJ+jJju1pXJVi/LeyOI3em4XxK2eOa5QXe2UHxL24Jib
l6RdnjQVgVAEqQ2K9jMR9q9JQX9DbNGbFnjrYQ2SOdrbzVM5WM9jaKYQ1MzbdlYe0mS+inX+lxMj
UFCx+GRmNVsdMRN/2z+Z9GmseN0rSsi4V7pHNLGbTOUIK/RaLkJwwHbLwXfm9nu3l7+RA3pV2O1P
4JOCja/VnZgDlK00t6MhPVTVcG3Y1UVelLOkDbup7k+gwG5bjmJFaO+0JfM0TC5ZOByKyYbcIHuV
wm4xj/NzKmXf6zTyDUpFegjPgyzdI4CDornqDvJrN+wt1WlayRcTJE37LUWZK8HsTY0XSpagB/AX
5hJ9Uq33LDFcJUV+NUI4rSvSPxUUlyH9dBToa+xy0b3O26NMtdtasEDke4hhQTpqD50a30f6W62h
IIPB2w8jHHL1mgYURcyUXMxEPK6afL/o4kklyM83U+ItrejV4hdVGu2QtSpGC921R2qQcLqpB52a
LqecaPI7xZwzJxfMZ2Nb79GhphznVwKNcslXmgRHpXjkqNU5UGx7I2jm+srmyM7ZrIzqg2S1sOFI
/FsGrxmOM6YjQKwAeHPzOi1e1pJddIEdreV8Sh07rjZeRr14LmfMmZwZnvNQfbMjLLMJodEonDGU
3UMU20trjwW89m3Yn49aWlTX0OognkXGK23Sl6LSHrKMqOs5PE+EdOHJwTgRao/CMN77ebgpAK8D
0gKaTsN9ba+XijB5mzS8eLrhye9EB/bXntlVEkdlwIA9yq0RPSckrDlNt36T+J3kQt2BIr9M0hAM
aYXhp93FA+jk+mVmY60VdQ8M79YWWe20bXzAh3AMlRFlSBSdR5vkxgw5qdJU80FZekJux9K4qL0G
x0KO20etFq/J2JyhQ567WJxWAQKw7CCpzV4u/YCy7A1Y18rKr419HjGFmuPbSUWfOabfJlm/0fNX
pZ0Bkk+7bNrCeTsvjBWKBaLlkxLCGtt6cW0aD+yLmAPra7MpfBVqgNxpO/xcp3I6o2669BbvdL3u
MtDZmYQ0f94GQ42LbClgd+cIV99G1nvVqp5ey15UaTdV2l8n4JJLjiRdjoCvnvzZXM6LFl1NJpi3
VeUzH8x9ZUiQdcziCo6CV4L5tciBjMPh3AIeSzqdmn2GtCO5tAbf9eVNbtazbXX3ixQ+cITeDCln
Ttc0x2xvlhfanzS50Uthh3TZMF0Ep4+D3t9II1jpfPCLUn5Y1+RQRPNHYR5NKfSrngRHcLtGbx4h
27rLwCwqbR4LAtWdgiaNOyvlzxx0lj5Wz/agsZOMxxRGV55V/tpnx2RSP9pm2alsLUpzaKTB7RKm
agbLxUAYcTnhTxzLAHgB7P+DhqEIpSVMavwJKloLlZraDHfWVAO07E546r2pGzi5exxvZ7338/on
cxsPw+pxMHoQdkAT29pb2txfYPpVHOkT03ayKT8LJQehVTujyClaT3XaBvmQurLVI1w2cNj113Ga
7jfue5dudq/QM9flR69qh63rKcoXM32JCSJg6rijIet28k1Rg2wrqeJUR+H4HtrPdrwLRzQbVe8q
JZH3rMoLr/yYxNSU4zFbqb4twOkrgcXYddgiBPawWItdjl1BpsvokiXjWwFVOxy4cfJiOV0KXXfk
sLwJRXhWTaxbtj/Hwhn4u+W13VVwNMcmv6LJcjZG/XrkKnYd0nUZHQnSRpg1R5x1uzCd/GiQdtNC
iK9a4gugwKoIn0SaHmMvmlYO332GFjFKxqDXBsU35Y8hkd2KY1nZ6bglaXtCrZT7am/Dlk5a2IG4
TOwCNLWy+rw2h0ojaO0WpVc2/oiz73QcKZAvwizcQTtjW+Gsw1nxUNOIXbR9O5wqKkGDfrgFWRwh
XT5VXlxDXsRpg5cYjJ6H6t0RdXSpIPxFVBpJ6qbLoQD0rWoQP6ePRMoZwxBiZCq+wN3V85aPWenK
Ge1fSwJ2SRh4/9w0qO5/NnQ/o4Y1Tg5dScOVmnqSDQuACVSJhbDRrlZF9cqF9kvHJstWo0Rvkf1d
zt5t/UPSdylLv0mzR+uk6yRPEecf9NIXvcpqD8e5rqsLrsSgt35mi+TMQkB039MwOTExvFrtwq/l
bDsbXLTwPTTywKpjXNLWKbTnkyFsF/MpEi66/7S7yOJcXkzY81VSH2AlMVtzVvbSbH1XmEu188KS
sR2rLa+BAdgkj11HOx4nc9H5m5m2jUK/T6JAV2huFrazGvPVYD+3I8N0hATmBImSOQfsR7OA1ZCx
oOg8x+FKMW/pCBf1a6jkh3ye9kwKnKzCOmc055h/W5sZHmk6JFWEx1rghSzlq6xOdqWcBYQVHatY
d9LNhZYKB6m2I3FKaAQTUx3ev6J5cU9VNbObj/ZRV8ND2nRunij+EI6+tJo3qtb59VIcF0GeWJ8G
i5rtenMTQHjDr9u+igwktHzTonxODeVU6N9jzgRtp7AinAcQrAyZm3q4MhearnLGZw0d6pJmJrAE
JXQKulbl3JVXjGu/FVIIQbaJvs1a9ZAvLRKCsXtVjZBtvoIYmzRr68ijubeICcJQc9QS/STbtuZZ
4ZATatDlfLKYK1SbtARdKPdFUpWU0t3dnOftySjxu8wJ3cglBc6Cx9N29VZ+FfqEoaO4ipQVmioe
Ch+pP1rFLLtWVvOVFcQtxvrYqzKbjYVrKhvrFUxDPl7UBnRyEg8WpmW7pDoEMlUKTvEUS8nooKVX
jnZBHKERXcN8/G6XfHBDC4JRVRad0CPBhqMMTIorkYR7ToPdQzh1sQmpMo+bmxmrGchatYCXLiqI
jW4jaTVLeb2q9/jKjcdVroyfM1C2BlJFFlfWdaFYDo3b15FBTWsapSPxSkWU703N6rpm64HOyhOy
62U/ZfaHXdDajBqWLs2bSlrTlipu5bnZKvJvLWfEYg5viWHwUmQMi2zcTgothHg+amvb0DoyvCmC
XiXJd7FqHstpPCYWYMku6YNQJWWEMeBNGpl+Z60PIlnujSk7SEP+HtfYR+vu3RjswBgQYDXxSW23
XvL4o80+5kWjSh+vSYVI+Xd0fjVI2Z3MkSCzqmAVWlBD6mXizMkx8tDABJHyRi7M9gMeUm16mfPs
ue6+oUE5h310mobmKmsVhsnz1bRk79Fa3zLA21qW0pOg0x/asN9jYJ9zrD+IaMRQGNFXU+ViF1e1
10XDtRzFOKqWZwsSiyORwFzo/Ztoun0LEdXUCw/NEFKJca/BcsH1EYAROE+sDWRl+GGr7gGxPdMb
jbyyaJ6NukwZ6FCdLsZI407SkeSOLV9bCNhVRvLhSOXI9mRMJEObNOJiCZJ67cX8f5oK2L0huVOM
sKNrasx1/V5qliPTaBfL+QYY2LVCpZf6ooSpPyTxnaEV/tBA1s6TnT0SFo4jac4/eomqTqLa4r9S
+nrHRJW7tFiu7LOkFsE6kz0Z5h6Gh2vRaBcEB5jP46ulSvatQnNcwf6IVIbF0I8Z9obU4XprB3GO
XacT+zQujkLKmICbePff1oKAiaVm5rZOrpLMlRtF7NGxgE5mbEE80fdx1ffga0kyj0+KXH6jc3qD
K9ctcejV+DnUIaXfqp/LjdkN5fzYY1XU2M1Vo2Q1MoJEmXfhEPkjrSuTQxXMikMSPfCw/FjI5wVw
oV5kVwK+8S7OjQ960HSBpP6HYTHfSzLfyMdboOzzIW6YQLKr301Zh8Vf/U4b5Ggr9egktvVQ8zHS
FtAf5bhhKFkZC+ovaTJVHGSM9iVFCtJIGR4MBUrDbOodWF1FvUnoifkrpv7bSC70b6giox2DvW3y
4lr96KEbSk9ImEmAWOr+lsPXOcRF+b3vE/sitWb6IKWK5cVpXtHvnXfM2MlNWFR2+rX3pJA23KiK
xS1yHti4pG9dyJgsWf1SVm6gip8MPepp/KjrDC7dGsgSUSfVG2VykeBsJJEn8ny+0RoyPWxzourW
lJeJ2bQ3rq3sLXZ7QoGRPynVaDh5pHFSMOOCuPKBmI4gZRmd3L7v1c3xPYYHRV7mCy7I6Djbc3XA
zxme0tYY9pZKMyyfWVIAIBRMz72kV9vNZP/YgIsoXEOlmRqWKHFDg6MhJmk2x6kYtpSQ90nXcX3l
xXOhhCHcx2n0prGlFoy086qG405Zh24H/Txjhcrvoz6sOLl3plcscXHowlC4fUFuS9w0aL8iUb+a
6iKOuhUur7ZOKsAwIznuouLnoBSVq9nhm2q07a6YdPW2hQVzaXLom5I6fIgMEcpq42PVy1rQ1u7M
q0WRkKepk/xYLbgu08r4WHqqzp6X0ht1tXhGlrXc8ieH9CeS6Cy0bNghVVHR37TfmVyhz4gGdnVa
yxUZI4N8rLqW/p+ywVxQvFR+0uXKdZOqzXldU6p6PTFrujFt6iPRomGVKja+a2yUSVZ96GFY+7mI
chx5ww+CsEA85WbzWHOQ02GTXGBjDCxNfYsnN+TM00c64wupWApaiGqEZTAisqFWL7JBNd8sK4cp
2TLvrJHqdbSmK8ZabUCmFSddyzitenaSNYPwBHAS9R0V5EAcPYqipBjumffr3qDA2c7kNd7l6Xby
kZaWTosoHiM9Nm5Wnbd9tnJ+kkkjf80gsSJstkrLjPEKxuZJ6o0CxvUKqipScJmu5iAHUjOQmTN3
KsJI5jAOZyjVWxu7Oq+VCkK4N/riW21G9xLUOkqfbGh2OtgRvqnqmTmNFOR9Dgqh0UpfUibtJq3X
3J/ldvX1QbecIaHqbnowCtFUNvSQTfKUrJD+ojWza7Nd8PPp6EaSftSPy1BazV6vk/WWGoLkp8po
xuxK72E0OFqaL1UgklJ9pIdYzmT9NllVsj5uWBJwrlHR0jqE6M4pBSq2QhWGcxzHOLNIPw4TseJK
ziAMJNZkLlB1x2naqmGja7QfsOgXca1Bz2qum1XXEKpSoklPHRqb9HFZ+WeOspKhY3XGMebrtNSY
ET5D6onCuEh6Jbs1UpmkI2u0Y8a4EgOqitNbP6tn9FZz77fykmlnE2I0CTWqmg0Bco/ButGKDMxH
XuAx5RQ41kjOaK6xQDRVuxzLCiHvDtUnEo9Mk2kSqKNOF7Ww1ueu7zvc4CGRGEfkIHUblHJZLr4s
Ov1UyaA/cgVQkRsXU/uWb0lYqZ181CErW1BZqXKHT6M907jQ9kjdpF1WQbHQVD267mwjp3aIcVEa
OrVWB1OH9WDGsxu18r2Mmgt3fUkKpNzKyfeoL7Nb6pPyaGoF3myy5Jg56fouB3mxSxPGf4tWW8GM
Q9UnP2qzO5PZw3kga7SgLKp06yM2gaRGsLDzlZop4xwu8K4QO7fSL9eGiIqrLVEI5CZvXaUrl9Uq
GJcVSh0YvZp9mPGs7gesNR45rqCKShlwTKFay89hFiOJAjDN73rK0Vury6k862g5LhYtRuJKag72
UiWeM7mMD+BsKHh5kzNf7suE+DsrSq9FNs4eyi+N9nQSYZbUGLXTP+vz0KPuMmVHzTnSpZzNHoc0
ZICNKpWSoTTw63O2M5MVsnkYo3NEnYc8rf6xVFDzcaxrD2Ft5Jc1Ld+VNtF9ndAIYjHYr1EI4y2V
2XkwwFqlMyUtw8Q2vxtNwTCrnY5z1CkBet/V0+K8Ycg4vdkGzRzdIPNmZA10o5oyJg5VcVNoWexF
kgIMoWwJ6mUR3cuxQXqotY4B0FLG9InxLVLt1beKnsYsS5PHyIkt2o6Ky6wStGWxrl8xJlstDPdI
q9rSeIJbQXZdKicvuY3pRB/Kh4EDg6OH1P6JwR83js2PYZW7B6mmMUw43UMVtxmRI2ZPQ6/lM0WJ
DcuBxmZBiBAtzloMjlSbiVdSPo+bn1s0KbOfah32ULNuUdqSHAPgQnyE8Fl2JDe9gFJCxzGHOidz
vT6seYggPYOJAsc6Dp/7QkrueRl3+rJtfT1IALyGMGkq+3XSFgKn2EVElSwkY2V50BSgZKQQGG0R
KoSMcchvVK2EcUWlznGfG9X5xaM+tny2YdRnsZYeuhk2Xpgr2cAH04gnIAaR20HN2mUsCZ6a0VED
gWMt2ZPVUNrUIJUGa4pupSohoQbFfupD2TluqiKSak7GFgM1blGVmhK+hOUAEL8R38iiedS0HMx9
q9KbRR/Qp2TnMfaA/BJPfjVrt3NRTIeujLU3DKXtvgsL691EEgxYIiL0QJrNh36MRxLVTA1KWcd0
kyQN2Y3soj5nFqPcQhkQLaztvF7SkLYRYDN9t4bGh5m2wstW2WDKPvRuo2baU5T3xUGN4FlYKuyZ
Th5k8xZlX/IDrdRrwfGKw78V9x/kOk3XS0LIQ4h1L+jQCTp6rt1LUsvpC31xnQZkQJLuks0FkT8T
UzxCxUbxpMR67VVipSEokIR4kqEzXc9tmRseRK/7TZdZ+V6SCZqo2Xif4igao8MUTbyWqRHVL7Sr
yr2wYBwyyLxYi/FjJgCElsmoXcIFHlFbKa+FCC1OCmg83SEyyCVi9mXFpCkkTIJXLAtXaQ9DwikV
C/MRU4Ud1DuxFXbESlpbeIdjlQAw8lJlYNBc6nXk+UX9XaXI+vO6zianJ9HRjVql4a3vhQyLpapP
vTY1t5ro80DNy3mndugBFiWvj4YMGkq06ey0yHK9UKqJUcl1RAWW9EOae7KImzx3QWSexbrMvhVr
173MCIWIFtvP814mhCMFQj4IuGdoWgWn6fJ95KjvoPU7r0MofIUi/qiaDXj7kKhQgxaCh2H8OmWZ
utYHVNuhcdPU1uotaUEJF8fGXm2bhzixjtaSdw8ZaUp+WpHAROjpEgyLlEAJ4Ay4LiEdLwBmH2FZ
Mtyu9MjLl6lP6cvaJBh3WwcYT/7Q8/rWhTRwOJw+NI6f+9ZSX9kl9AsnbCA9sTafRE8KF+qgch82
CFhdvc7KKODTzI+olDiLNZaFOEWm90DSm6cKylizwl6vjVsJTcKRX40J4RQDxUBTKOIQdiMknLxl
8pEkmvaYllsfBR5I5w/RwhdlKUcpQwPPgqei7K8Wf0ZQ/bKYFv8cDhdqOhWwGW0XWnv7TGoNYFjo
T5wEmcoPhg3P89xnCFZS2uRLhwB5iStGsFWBqohvqzLel8RcfGzfiIJZk+7z1bgCDSc7pEJG2i5N
bTKjKjW5GxaZsbo6GO6ES+PYqF3G7IAdxZTqnlUDnscqxMeQZzpWA2B9SrWuXt/TQKJ/E8bk7NRv
8zjw1wDhapzZqmQGWItc3JDzdl+Iob22EvKWOoD5l3kBE4KuwEbmUDdSez8TOfdEE3twBUUt5mJ7
cpswRG0DaYbjtgDJ1dX2uzXI7KxpUh2KMUJ7PCrKT8CQGuEr6PIJ6gmLa4OP6r6RGhqhAy2Erulf
yQaKXVUGYmPNp1iZH4WUPCYEb3wjcy98jwGlk8QpJJwd4Raoms/1ftFaji7A0gHOzzRZFQ4k2zxG
74JstKXDPCXLg6RWLXl9YxaYIdHxbh4qD4M59n5li0Cfw2+1od9La/pBF4w76rXbtbbem46NJpou
dLOzgBGqMnFsiJBUiXxFrFDFcvKD822D8r/qdLrkHBbfmHyp34HdiUczgstHNBQkEBUJplVbkd8v
YRsMU6Q/100XHtpG4jQ9hvFT3cvdwGYoherJzNNMZpHRxn3VARMnwrg3m4xjDxLlSbK1OwVIB2qf
KDvwB3EGX6xa075yzP67swtTp74lONqf0xkABuYRU5jQG1xjN3vCK8/0XbLHaEeY2BRsgO84Pg5X
3T56+839dvkfV+7vrArlk3UWYfJ2xX8u/clWapiFOs+VhkXX44o328Wr4/o8Rzz0/bTbQtDbq44Y
KFdzFg+YXIxh4kRRMl01X9ABPpP///pbMOD97m4PVXs0NWHmftK33lpqTj4h0KJD08DqbvqbbCVQ
IWrpXBG7aB4UO/jvh/HlH7B5cH+z19d9KKs6ucH+5HYs2AHZ1vCAtvCKLeugvJZ4I//7kv/2+Dd0
qqGpBipC+ROCIUM3pTRiJmWkP7b44XLF+spMuz213+zYv57q75fYLPi/3VTZy1lt4BbytZ0adLti
Z8iW22JTzn37kPeMYZQvkAifTP3/e0ULWrUNnxaSwJ9XBHHNShKpoUd1mHirXSm70OzMvVwkqlPh
8/H/+yFuD+nvO/znep+MkRQKGinseugpHEca4p2VwoK/8/7fV/mV4/Ffl/nk+J4TqYTtyGyh8Xtv
9eyguI2O0o0GRdUzzvYOrRZ6BIcI9Bv79MW1v7jFX8CS337EBR5XtRh8Gp1vHKNXoGZueICmxAof
lP5yRUs28oYvXs7POI3PP+SvnJ7frto1nD8AQRMY7ZA27JbeOn1IfuMJF2QRil7kU4MHcfurCyuf
Yge2C5M4D+nC0ASW189Y4Y6kq0hqWZWIqyPJiqyrICOR4iOy+SNSz0bSSTPfKR7C5Z5ETwgR9uFL
F/r2tX/6vf/4Iz793rIMd9cgFJLVYPLB0jmtfgCl41aHyjOqg+T9XzkG3DYkZVgR2NuJJNE3n/Hv
n2pLCFo85tx2tRDM52T76boO1j3bukdaLactR/oyb+Xvj/XPa35aHtaqr4C68rGmgtzkcPZimYz2
CFNS/NVK9PcD/fNSn9aFGlZE1Zd26FFGu9Xd/ANhjgcf00H8hxLx63v7e3X984KfFgYz6eUkzSUu
KPlxQUxHqntffJj/egmDnVsFlKLwf//8yUgokwCo8vjgN1dXBdOtX0k81j1jwSb2URfjuv0yLWN7
9f58Nbmx36766UdDEDMsaN9DT9vNpy0eawqUQNt/RRL5qy4Rsm4i3TcUfcMs/kJE/Pb9y4WSJTZh
dx59sWOJ6aolpVoZ2YxjskY6+atV7hP3gUiaP6/36QUpyormaMdtpYdk33xn/O0a5I0Qm3j/VXaS
+OuHIxiGO2Lr3cgh9mdmSKo1QmopElnNSVTh/Pe0UVkkvyOB8oq8dqgLXyXf/LWIf7rkp/omof0l
CxxwnroWt0UyuWZhRw78/S/eyb92/O06GpWSplGvEMX15zsJGJKIQTCfvJOTrxJOo9Z+4jJhB4aS
MiX44hv419v67XKf1slZG8xpzoeQ3QERXCwP2VMN4vG7XSVv/31nX1zpc50MgnhS4pQHWFdnWAAw
XxNXLrIv1qm/Pq7t8ekcAVmLBd7iT/eTy20ciWIKvTYrr5cQr3VbGe7YoZxkjIPWYVmfqiGx35cs
1o7/fYe/Pqk/vmwubsgwJghpEvyI22v72yeXFJM51OlWOx1Lax8XAdHbAT14H8eIv+WdO2gY+x3q
ty/u+nPAEB/Dn1feHv5vV87w2aaFYdFlPVq3ub0b7Z3wUKFQY6A1puO0E8fVJ5Xq+CWN6d9+V6pO
3ld1+xIhZfxx6ZyYkCwu+RY99d6+xwwOawBQEXNA5EInUkl9ea8fvnjSfy822/3+c9FPX+Ms9KUP
Gy6aH+yXmkg8eQDI9D/QF/n/mjL2v0/3n6tte+NvT1dJkb02A1v79k0abuLb4HAl2jbO5lI3XSKe
3SrgeI9294sb/bfl4Pcb/fRKLV1BD09wo52P549ANeuyfCPY2BU81lD+6j366rl+eo/W1DbScuFy
YEzfN5yO+K4eI7d2k/svX5ztqf39tfzzVD/tg004Gl0p8c72wRroQR6Me+PQeFOw5eBFX6Yo/lUr
/fpE/rncp/1JiuAHJAU/4pBJN2FP7zMio30ukBh9cYT6lTr3+c5swX9kmR0K7tuf7ws51G1a9TGL
qob1qbFPNrIEh3kRtbdd74wIr+FiSLLTmwOtmEFkR0sK9yR57oZJXmFgLD9tle+VnqcCaNtovwEv
CN2uVodgJuFWJtm1HGQvRfs7LowgYanTy7upMO+D8n/HA73L60gwS5+M/WJq8yOdBFJtse98saz/
22PFu7yVvcC07M8JfBFkZ6AqCct6buLoQcqWkqaInv24qOsXTYbtuf39XP+51qc3BruR3gut5o2Z
gCWnurLc9LOkfrG4/F042QxE/rnKpxclBXICCoBfz+7Lh1kA0VXup7n2lag90L77//nCeWwCFeC2
c32OE+2XFolmaGwbfvUk+6S/77rJaf8faWfa47bRrO1fRID78lWi1pmxZ2yP7fgLEdsJF3EVd/76
9+rJeY+lFiHGOQie4AEGSKmb1dXVVXfd90bZoQb5L/jW5iLKhT35Hi4oU1o2owPYC3Y8yCgFf6x8
wRo57s8dZdLtfwhhlwalC6KcprE1zLeMxuA2jLZW8lL5CDxsetotNCmWDM5+wF87aokduAjX45hb
kBcJUMSP5JO1Lbe09nzjnUL1OoFOUlvrPsoJAPy/qwtyonN34eVSpYsijlWbewLLzknzvSHaKUy3
k63697f0tvCHr1zakQIMJVa7R/jd8+H7WW+LD/mn8U9QePtql+ibeDfAPDZy+ZMO89gvkJp5D/Bn
tUSjN3McNe5GA/EER/W4/6/3mZEoSqseLzRkf/qjw6RcEwf9wtcUZ1o687DwWI5I8z0klMTfLz6m
qyqAm8YpgEUp2RqD9Q4ozAduqUPkqLv72zrz9a5MSQe/sMEVWBGmkib/ansow9Rd+t2o3IWQeft8
0aGMsh10DMmakEyUktTTqA5DSbuKqq2CXBqCfhQKvHXtpzYjy2vaxOvl9/RtXQarnqOaFlpUngH1
4fVOghbLervFarMFP74z/P7Jmvz2tUadwd4VO5hdtzpAHXB2GyAG6hfP/+3Q+vYTHOgOPYhILLk0
1Kk09aAN4WKk578qoA6DZiF7piuVALcbqsdU1aqFnObmq0o2pc0OLUi1+oBlQyD1LSo/x+qXoDDe
33edtxrelZvq4ihAOkxrHzETOQtOcljI8pNHQqrUKzjtn4IT7Iq2cozL+qntza3bjl/hXt8zmLGQ
bogX4Y1p0GEOnKiO5TlSfNUSzwMS5EJrYdEK7ZmR3WoZiUdnMpd3bnTLr+JmWo9l2yzcXTdnE7Y9
17JdzqeHHJm8aDfO4NzSGUrtGdZbddn0Mx699khrD/SqAXP8/U2eM8cLA8ZOHfIaSPSuHdjK4Y8v
QLv5GZCQLhnMrdcDSoOZvlmDQm5/NxywuktzkuMMsJHp44nGjpJ2RreuplpV/ZKHu+dbQE1/kx6Y
Vg7mGIUhX2RGnshwvTpDR8hoygIej5Ckoc64mqzvNnD7+3v4Flskb7kyI47LRTy1Tk6dAcQVdTyN
snC8AYDj+iWgiv9/XdBHOyTr07b/HrxbfKjeJP26Bu+Rw8CBhUq0aUsxFuYJPWkMzENCuIHevYpe
WtoaohSejq8VWhDLldk5mwQ816Ei4FDqk5acJZAvdSceGsCh2x0cI4YfUryEn+b8Qvj1l2OtzM4t
Pia58C+T0q0FeYsQLsNkfXR3Hhk8LzcR4Bms+nfRfeZsEAFwEljkLagapeCeNYM5KimueVajqEX0
xIVApzWMEuxFiv4PySyjAQvOdJMAiFVeGJUijwK3STHWIZX+4S/F/XgG3bvgrTOfjqOuOoIaHxyV
Kh0KralLNwqwIKrOghy4AJ/BKP269UU5wykeF2uLMzt5ZVLyljrUm7jUMNlsh61oqXrtx3SrbM4b
fTsEj+FP1L2fwsX64kxSwMjXxVIll9EGcK6xwoha4wOjPA4+47CMetC87bfMhEUrJgD8he29ee7r
wqbJk9Ag7NDwuw4GgTmOcVWy1mrjUjACtwqSjuKC4JautM19ayJeSpEHUneP6ONRlnbltFwH2gJx
DmfCCVxQ4T8n+1138r6BlF8nMCEpwMnL3lgw+tbmurGq6zRoPRIBXSYLH9HQa1xajBx+74e+CY9w
gSAmtIZOfr20n0KbU1qigT667Vii/kdTWIpu4cmFkDTl6cicJ55TQxh5UNChFUx7POm8nTj8+dNU
rqohQfIbKVd1xXDP1G0WI+3Mb2G1QKpwKojg394QF4GetLUI4DsIfIZxAdUIjusNIj5/m1sGKZcr
crcn1dBNSNlVnbKcRTPl2pUG0+ttE4lKlh594mbZVLvIn3YMiWz1VbxdavDdhh4aNqhz2Crkvo5h
SYHB1KImsVDi9iExW7vee1f5ft9blwxIRyPtQN8r8KP7bTatW0BaRfLnfQu3HVqu9Ms1SCe+pXaU
JbUjtgxxoFWFQBlMYyuKb2+1TAZ/URX6D7ViyazkpAkw/QhyNHEiuILfI0LG7HBMyRYMl8+EiHEU
yulduAbEsRRdxX/7+jSyZF01PLQJhMattKtjElW8kZlTrFHcgsnehgYwyvWj0eerOPpjYYPnrDkq
1PK8tghwci/FBqsI8QSpv2hJgfyB4SCtjqINrPLSmaKjYa/NbeHHfvq6FAuMOQfiWSwY2DWNF4/k
oUw9AgMPMd6vzSOoThXgQb9JESyIfDTolBWSRmvQcuz6u/jIFMZOybnSgo9MEO3TYw43AvQs62Yz
gkf+V93jW8gMnuCiyMJptYU0hfQ1WshteNsTIsQvmw4wrayZzPio7NJN+31pQxatSe6uKzkkajrW
xF3OVOybzxnvHLAX6bclZY+ZDOx6bZKXu0HsDI3xFv7KA6AsegTmwXiC1AaK/36fLYSLudWJpI/H
PNcoaCBpL6caj88QFvSzvxHYhPYeEpzI1w/j1+K5edWWXHvGu67MSZsZZHBZQ4rHU2RV/K2uRWEt
3qj96vR4ep7++hcZ7cx1cmVQ2s8O8rIzjJHCYOeXz9AFQ7U/Am8bXiHKXt8/uXOrMzRelCR9KiUS
KbG0Bu3EW5rIqGdM+xavRXC4b+A2FzGMSwNitReXY5RPPeRGPdfHDoq6tx48w927RS+cXYhuOo5G
n1qDhv7ajgmdetXpicDCdL6OV+gtbWqoCOhVTd8YKuCh7N9f2pJJcVFfLO1kNXUDm7Lno1sMMuNr
Wb/eNyA8WYrhkOX/WpP4ARcGFKZ9TiXYOj9Mv9jnV4uqtTau7tuYyYb5QBdG5OOUQls7df+zcZPP
FL64GFE/+QpCbFWuqWXUC92FuZBxZVM6U94wNX1ksDCI+LpVuR0exDtj2KSAlMr1v4Bo3abf14uU
zlSMwl3YiUUKdB8T9dE2/1L51YEEbfKXrl75s3GM6GnolikapwYFhuvPpgVW7gR64EC5aj8DkEYB
tTq/M43uy/1Pt2RHSgQNUwutk644PhJvva+MyumI6G/G/JG35Orig1x64tuSYDU3eUygrOJKYaJV
lFTAshw/gVSTcds2elAiZkzMcDgGNVPI91e2ZE46zGem0vR6YgdpHkLL/2K5X+HTeUiLD79tB8gO
1REeSq7Q+Lr+UujAtk0WuI4fO+QIWeyPQb1jFgZJTm2pbikXD9lCjycLVQNTXFtyQmYyZx24SIyj
JABTjgNKSP8rbMbDEJpgS41HHTb7HMY8KAX2dgyagUzGUKd1gkJzwRCOZX4o4SjMvHx7fxPkMEY7
gfapeBAbniWu8utNMN0xa5QoNX3FdZ4aTzkq1et/sKARY9B1Qnv67TF3Ece0KXMYQNE1fyxNoYQY
DqHBXNA4nfz7hm4S/be1XFiS1pLzrdupcXTffFLaVfRsr+HG2fywXk476Fu/gk/eLfVmbk8hvRKR
95LXoW8io78mvpuQWdP9VmVecn0iZEPoCK63g78yd/ulJQrfvz6KNIIoBQGA9FBws8SFe7GZiEcw
9jmwxGozrhklXSfv3cdxa2zibbhdgpje3A5sKJcDolxQR4iat3TwzbjKDSuumWJ8ajfWVttna+2d
saNzkvn7fv+76YhsTjr4fcQ0DZBWplqc7jBCqGFFuwUXES4g7d/ViiQXiWzI6hmdNXwXVjx3F+xK
Sk7xGhYKA06mDW+U7RK4fMZFaJLSCHJRpNEQu7n+ZKOhmrAJJa6vFPp5PTpa+6nSmSxsi3b6/aPG
E52TpnP5gI6SvtepCyZzgt3fN0IVOiem5DZVx8VwfxNnF3RhRfpMVa241ZQbjj9okL7s8qphBjGC
uF/bqTrTMfet3VTShVdcLkraPyNrM0uFJ5XBj2mLnPAGjZbz+/YD3P67cAcZJ8VlCCAZc1NX0bBa
ws/MBMgr8+LvFyeuSXRGg3jf+sFZhVyxVJLH0JnihQtidk9dEUQc8e108fcLK0DpsjhvFbgh4Ese
W6hd4eZSULhe2MyZ+AHa8ZcdKfdK4F2KoDQVCbmxPTkfRcvefWw25taqX8/Lifncebu0J2VD5cmI
z+ecXE/UXniDZxuQ6R+mEnSASpV+HW67ZLWwxiWbUmZEcyJl/otXTXKmba9v8m3gB1v7PXNtfkYR
Yik9mg2Tto7EimVyg4LQvv54VVw7/RgyDd1tjW2KHFu9ApoHgTh6stQ94JXwl+py8sNKHAoqLYjq
UVO2VPneGanvQO02ADzcNod8K8DN8KIvXm83z23ZjvT97DijiozUJXbQfaOUEPnlg/tR3+p7iPsW
UtrbJOl6UdI+GucJ5opT4fknxpvdtHqEvnwdCVImu/LbIF2TquzvO8ttrkkNQWcnKZhb5MxSxNSb
usU7iZj0WL9B3PxjhF0EZouKKbnucN/W3BknCaRiTZHcger12k2Cxuqz6YytLEl2WvaQ8kgNp9OC
+8/EK1PVEeQ1DeYjNEPqUIWRWoSagRWAcTZjph2SvJHSL+zbrBXDBpQCJJYqjJSH0M/N+9aLEILS
teFHdz47B27vfAHnM/N1TFWky/T7XSg4pLWMEKw3msNLYHJPCK1A6KTUj+Np2Hb1YglhJjLyatOJ
vTZVBFVG2URTaIWWg/OZT9m7chsfETN5CZ+FIK5yWAwZcyvjAHuu5/JEJCu49oWzPprIm3OpOe+Z
LUVKDX6RFVPsG2Xzo/ybmR0mK/3xYdHu3He7tCtdpqhjoeUSQ9TY+M4qQDQLjiVG+JCshIiYsomf
bCDl2t13/BvYNFGE2b1fq5Xu0CIy46GJsJpSINa+n3a8Hd83AOGHvbLWdr0vig2QMX5vzktQ25lD
x0GgPGw4vFFvEmYvm9ymTjgOJzXYBknsq43zPjfi3z/bFu9+i0oa6B+eUtffsyUJrZ2Rt+RwDj5C
/LGObGsznfI/7u/kzGpwUVv0g3mKw5RwbWYMdVTgcsxUaMVa9QlKFmeVJeffP91XZiTvzJPSg9yD
TUtj1Ty6U37+AVFS+e3/thjJF1GmR0SuZTFp9DiNzTsd4auwiBa+zIzHX61F8j2zHKtSEw4wKn/H
4QeHEfr7y1gyIH36NIqaossLFxQyaC7740A/4b9YoN5NY5WChTzyNvQ5pH81S7A81NUT9dCmzkL+
Ob+IXyakvNBrinPcdY7j20agQyloQx8HR8d/2qpfVqQbME/VxDYQv0E6rj+4ffSzCtI/7+/VTGC1
QJ8ACPcYZic1uj4hZ9Q2+mHiYrJi3VvFYzV80JNWPbhezcxE7Njm0oUrshLpSXllUTqTuZ3xzTrb
gaQ4KY6uqpXf6j4xvlAzS59yethQqardA7jt4cP/ba3SMT0Hk13rFmvttVh90HrH/EzVAOXBxgs3
dT/Fn+7bm3WSi72VDqza83LJ3lh+z2b4yR6b6BhZyEbdtyKc4N5+il9x8RSqp2oM4ehzfCCpCMJ4
w7Cq2rjboY8C+0OPHoYXF5p/3+jSR5QO8ajro+3FfERqc/YeXk/Y942ofc2dPP0Swn/kD16GfOQY
6wuWZ0M6xQFKxeBFaV5cLzdrg6pkksH1vaBd593nbHgG77Rw8OaMUGdQQU7aFKksaXlDhlJlzvii
P42ODzvNsIK0DxYUAzGN+xs55yOXlqRAggBm4Bbi60GbuQLOD8HL030Lc/5xaUEKIlXuMHsGaaof
G/ZjPJkfa9xh1QSJhViF/dOotdf7BmeXBOSCdwLdJcOVDEKlfT4P4gYZ+uAzrN7amjn68b98IY1i
LPwWAtkifaHaq42hV1hVkibZtkxy5En1Ttk1JyTM7q/nBqtDOsbT0ULGDjlVir+Sy7na0LSoOOMN
RWz/GUFl+2ShMPuAZmDyVBaT8ZAj7cmszAl0zajQPnea8uB4irFw1OeCtahW0RMnYvMGu/Z996QH
ecicn4/uwa5vK1j9+vO7vOi/egggLuzw3Ge0ALLYLqghprWl6BUl1ejWyNv4bqfAVlJ9agtvYT1z
x+zShPgJF6HrXDD9pCqdg6TaYHzQmQz2K7c0VlMVhAtOeTMEKT4i6aZF3xbwkSHP5kI6AC9dznLq
jbGFbFKQDwjskZlvK99emVvGl1y4dhcLYnMFOfoF6HxDQOB6ti19NZSLYyb1LLReIcdCirGZqpNF
YSd2MxvtRaOdWqSP+kghyugA6wKra5ngg2IvaAfb3HcukVZHp8fU2o9M3cXRRzsfwYgMvUqZTTn3
U7rSpqLqA4ixG3dc1+fuHG8WToG4HeV75mIZMpQzDzoFvWTBofTYbhyK2+pzu51EWYqpuKUn0Nz9
wmtZN0UlXfR0rz2jRQTAyhWLymyj2JuqDYe14aT9Jh7r9KCnmRCY0fQNdETKp/vrnHN70E94PQ08
42buiWncylFrDnuLNtceZt4eBdTzsPBSn1/f/1qR0y40E4c8HCYeJkUZ7NJzOK7TVCl8z7VeoNnb
lo1mvdrpKfTvr27uxF2sTg5leWUag1tjNxjscTfkFRQ9ptXvGSBrFpa4ZErKtmDbyhjC5RPCM33e
D2mpIGTU9O+ZHDwvxJG5uHi5KilUeV08OE6FPjdwvwIYY8QUlz0M6QoR2vYhNFN1oaS/4CQyzK8w
bBVVZgKxZ9ovdq4gDgLp7n/4VBQrLVunZuTKYwVFmrnRAJOCD1r9fMwmBgmsNKY9rlbZEknC7AZe
2JJCVNCqSKSiWQ4o00X6z8/pkq+KXWcfYbsEfgfea6Cw47ovS1Mis16i2wBBoc9DK0n8/eIKMOL+
7HkdljOGcP4qu/70Awlv6/sUqObCKucX+cuU+PuFqTZDKzYY8ZIQEtj1+dz/qAZUTNvGghBCQfT1
/veby7toZYpBKoeoLyeqaRBM0TBhbmTC9ynVUm7qcoo3oX0Ojyn5gz+G9n95MQrSJzhuKM8Cab5e
o6OndWOecBqVOmbGtIY+VAt+eYNHETcpGGJ602JuASvXNvLMQOioKomQR3t32sMlo6yCn6gnpv8z
/312/suX+2VRjpZICinKJLayzLXxGJ8TZ3vuEb4yh7H+06uT04f7n26uAAf+nB4/zMnAo2T4geL1
apGYqglCM6RNVsVQBMUbG1L2lb1KPqBO8leE/CQEpcC1l9q6s0eCLIXOFlVvQDHX+1vUoi6H+/t5
l/iIqez7LtxX9tIA2g0q/O07mg6wG5XZF3LKazueUuaDnkS84QCBxXtjT6OwfrGZB/mWfUMYo2tW
1gYFX5QfH1yUJ9dA6sr98nqFv9wkFhe/QwTbi3N5LtDy1VUavhRQoIPyTqdjErnu3hxRIkeDOvS7
pup20Fmrj6njLR2Z23YUU386cFxQLYCQdEeKCypaEB5TlSOZoeBksh7iY/dAK2BVHSCJePCel2rn
8u1BDsqpofmlUV6wdV16IOWBdjKHKQc+ln+fUDuqxmx334HnLCBKB+WVaLGBar7eUqbOAlTa4O5F
5sdGa+XMMDziNYVz3t43NH9S3trNAmDK2+Pakll3FlDjmKNRrJQfIPrPn/pdSFneeup99Ge3prmB
EGATHZeo/WaPCUwqbCKlaq7Ja8tO1zQjJJS2P4V/5hHKLEKtzVyouc419Jjpc+kaMkd4CyA5nbJq
QouW6Qxfe+NMQayyW4ux9PyJ45ktZDKzb00eA7DYuQJg5EmrqmGi5Khjr9t2j3RiURGoGdEQU0Xt
PuD//4fvx+rIdiHwtLiEr3cRctc2zYFB+MO2/qxvqqc2/tE8VOaX7NSs4l30Ttu4X04Qm07RT6Rp
HPfzb/8AU6DRDZsBRYuulZTpn6cMkFyl6f7ZP70z1+1uhMqkWoMy2U27lk6Hh+SaH/rKkufKZwQe
HEa3bZX/QRJBDLxeuXo+aXZkoGLP+F0BDB5WirfGN4oq4NvLtboINb/1WIZCaHrzemcuFej/tcUg
C10q0RYDTZOndxvPGc4DcqOaFjy4JyOsF27NmYsae2LsDnJqh6tauqj7wdTyKHpbYYig7au2Snzz
oB3tbfG+Hp7j7WK7THjLdSgXYy/UDIDtkLHK2VyIK8VqEukwDYnJHvcQH6L9ece0yoLf3t4Z14ak
rezNvHesRtc3hvItS2O3e8io0bx4Wmm8GxH+1Pep4oTRp/AMXdsHoYCULE0Zz24v7SuAQ7omijHS
9iK9qA0h6hp++ugexycBPD8d/unNRZt0ZywseaaCwWzq/9rT5e5u0dunbtSxp788uTvOKliU8z7b
/YN3715BGCxt8+3daF7blE6nejZjMwkVZsY2wDQ+iFGMYaV+RPOYkwkdwKH4vhAPRNYhuZDOXKVo
DppMHMuHBIRpmDrCaR30rKfn4CXe5++DR+vFQOr+dBB1mt8HJRJoRcwFu/eGE7k+l/QE2jbpSxbZ
MAi0ygzvrG6sc998KZLIatcLK7x9+1+bk3w3c2sww32jgSmyzv5T/VngyKeH9Eu/FVfmeeccw59n
+rv/aZ1EHlJKkmnGnK7XmdSZPeVVoG4MDfliBWHIL1VpayvEMs5/LCxSLEL6jPDG2IJFgrIbt8u1
LQ+hQhSIAq7+RzGuqm5yv3hyNv223NO4p3F+eh/61f6+1ZkAi1GoBqiRMrPuSUZVpamqGDiHT8g/
rROlMPY5Q7NrrRzUpdO4ZEt85YusNRoQRIkgcACpBYH9h/jB/qt+ErgiE9LE9mP1s9wthld9blMB
RIOCYBDfMqQPmKZ16CGRoL4NRpnr1C/+EltaHcw9mItP9zdzJhWxYDMzYNx1TEC5N0MiahIb3slW
QSFYW5AWH/SfwkPJfHbQbC8Ym9tOEUc59+TFsEdfb+dQw4bh1sJfDuXplVbIBr067qtwVz0m7Xeq
jCDRfv+lRQIO7JP8n8feDdFmfXYdWj2a6kcxYJxdOiLFQy1WVVJ7L3A26mZhlXMf8NKgdPTFqxJk
hyOcZvDPz+pfke9sWuhwjNfmdemZMZO7iucrkxWA9aFWuQFZVNYUhQzSbcLPnQ/7KuAR+/F0EIH7
XzjnbeDGGoUvwTNImVumnXbtCEFoS0U9aDW+zcS7zQn+mHDn7DjtY7pdzjduUjhyKUorJnchJSRm
Eq6d5pQGUF0zM+Ibvd1AMJs8N+dqabzidhsFiRgZFI8MkN2uHMoUqLRLWxlQK34K9817kv51tw7e
Kzt93z8sueSiNXlN4JGzXKxJjMGSW/jdXn82djr3Xvh+kQN6Zgev1iYdOzU0u4x5S2pR6/yx3ygr
60F7UNYrlGp9tEugMjj87hG43k0Zb1dNMAFNBRZF3Mx/GnuRN3Wb4nl4ytdLsM+F5ckBMxunodfE
pzOd56hvV1lvLgWumyMt1sM4gxhlZ8ZcZg6xTcVokJ7iqbuD9WpTr8Oj+oyc3K7ww/dLbZHbfExY
8/B1vJE06e3vF7cO+A2j6W0WhCLz8fwoRvfCI5JM4kEaHYv3y9WZ2zQXk5pm0hIRNJpM41wfshZm
G330xB7ukJlYVzttfJsEF2Ek/uj9XCr23ZYUyPwYmhITwI4A+4mr4mKNVsd2Gh1RWRB1x3ur/qi+
5n+gfykINtAcPwQPWf6EYgCSYb//NXntA2dksbxJb6iDJmNq076iNqv9EDWxaY82xzp6p28buHsX
7/ObS4+qBTNOZLvcPWRJ0kqTyYhN1LTFDdscytJn0O9hKODY29BZg0vf7u1tpqw7h7Lbv2hM3rru
tXnpNiq6cBo7G/Phn/0GNeO98U4U+9sDH9ZfXOzN/SAtVkrOaHZOXe9ijU75rjuI14vpF4+CCg4e
z8W7/TZ9kexJgbQ0KqWvYz5l8KRtodY5BvviYP07W7M7SfWEwSY+I9CUa5fVqrOdZiprIwg8IpO3
M31r98/KUIhfLYRQ8V+7yq3FyizqarAJw1sg49vsBNb+MtXFiRw35/fB58JbG/t/5ncTpH4j2APE
J0Qte+l6umFr41mGbcGsx8QMrVkRcS8OZ0ba69oM8r610b1gpf+5zZ/13h98QcsaQwrTAeacVrrf
wyAAe8KyI4ks93r5TGA7FBgID2ICTzo1Hu9R+2yeEcYBkxs+iDFpc+Wu+sPyi0n4yK0p+lIqYB+N
DtX1akPNzirXQQjNDcwXre1rv6DsX2S9sa4s+/uk/6Ekz/e/7oxJD4gJkAuRu9FkuTY5NvRIE1Ec
bqxwn1GaD4i75+SQ56e1Xtkfo75fqhPd3pK8s2Evo8qugwOU51URvfKc4mQS1pk6z7fqU7I9rfuv
jA2t9H10/Bdw7ttPeG1RnKcLL7IiTT9DyzT6jQcFTL6Ntg2KLH7+GVmaY9cvHZibxyjYHVgNWRqJ
InwS0p4SCYaChqKo8IvqIvJwf4Wt79HaRCbNT8N19xps1N3v0gqaklnpudZ1UImQnTNF03gIekfo
vzDFqflRjqAxo7bHODOWgsPcUrk1oTGjukk2InnsEGpqjfzqiOaogypYwERnFp5XQRntFV1f8pyb
eh8rFBz+Km8hh4Ee6TuOVd/XKFmNvjKY0zrNrH4d0z18SJG09/PqpNPDMuNuG6M06a3SKQn+cJ1c
fbl/ZESSenlKLZUqA/U33aEjSVyU9nnS+1YMRYwo3WRRsOqsFAnOvkkNptebvhjftV7dZw+2liNL
l1h90j+2KZOhi8IN8hXHD6GHZAh5GvpZ1F2v3bpLUeKyRCepXwveqlTwuR3Oe0HRZe7Drffz/rpv
1GNke9L29+exAumDPXMX7ruPSrOizhFXK2dj7JQdEgd0JzUIndAMZHLMWIhUN5mhbF7KDPPp5KRO
hvnpPVQyf6Y8jMSZKm14rEoY85Z8+3ZgWbgbr0u6Zx51CXlwLEAHr0Idl7CR5IdKC456Gq+Nc/7V
iyEKqv9Wk3xjTO9O0WPTFCsHEnbv6GbaCtW/Jc+/vYP5KYCTmFPXgDPLPmc2Z+K0M4y++qKb2+m8
sX7mh+4gBr4MdT0h/6Du4LeH0gpGraUukezwJtW7txl8EmXB4SNtfB96U+qc7H++u7j/zszN6ful
euHtWxQuWEFjQDmNZJiDe+3P1Ni0wUy5i+Dqgph1IBuufW8n2t7Ltebb1AJrpDQOGY3N9P8N61vU
10gT1+JeF6R6jLLBc1GtimPzXH6MtoLPXvWdv0gqkhf1S6suUpTc+pf0C6SEOOzDqDYbfoH72hMz
X+jUrGGeO/RfAeNZL2KPncPSx7x900lWpeTRzBR0XcW6EUkgatQ7x9iXD+cHYyeK3bZ9dOC9XIgc
N4Fbsiklx4OVabrRYlM9To8idxTcXsrxX1DNiBh0GZzxVRpCEAsLPDAj3VLC6E6ZNUSaQY37f5QC
1D8EbBDqwH2wHhbGMoRD3jMmOWxdtqB8UowlubmtoxS12Wh/ipZASze0uiwK0ACzpJx+upe2dADb
HopCK1GxczDilfMw7Du8EwjYcsHkJjkTphyXpz5j3beTg1GZjg63FafC6XdF8dUxlwbub64RxmKZ
t4eBFHgnL315OLFRKOnFjTdxbRG6UGzytU/gQbi/sl27dXblu7hcudv24zJf3k26IkyLFxP/YqxU
PvNe1ah6MSpsZGFH+1bwkGran4YxaAetGl7ve/2td1wbk453ZQdKPsLfg7i4y4LC8uicjfNqbJeK
XPOG4P9jvA1+LbnsZLg5WvV5TJWm7H8gEHwwA/v5NC7NOc1tHjMK9JSFM948FWrdHM28CCa/qlT9
L3rc4R9tZEabU1i5OyU26t8vhfK5+EeQZUKwDE/49YUQlZrVOSF+D5FksUJPaQdB76O1C1bJw3J9
ZG4bL61JQUo70WNuexRQ88Fa5W1zUDOAkNbSqozbEHW9KqkImpxVvE/Hjhi6j2iriL6qCIgRQITm
S4ZemrXLXpx94p+/d0dGPzflsez3Tv+J19GnNw5YHrrBZjGhXPhlrvRwUZDwrQ2LX6bslfeiQuNs
PHA14Vpfhcv0JbPWeAGCTICzG5Wi66/bonsdAkx5+7r+8MY/dnoMQLnRwT8sJnMiGb6O1ez6hTXp
6xoehTY9sglslDIt+tjlhirmutml60VbIh7fsyV9YSX3GEipsCW+VfahJWWqfGNXHRK+W/+wGFEX
7NnSdxub3uh5oYlLz97pb6SKxWuz917sLePRz0scWjOJGnsJxTtksnTOgXtcf7m4ToZizCvSI4gb
gAYIJMsp2FdfnZ2BnIW5qP8zu0CK0FCq0uS9mc1XT4ArlKkUZSDziLbDRrUozcJICknYCfaGaUmP
5DblFSv8ZVDyFvucTzx6MSiIOPItz6pNTcHn93tmIsJd2JE85TR6SRan7KT9AhiQSt7wwV4Fb8S8
3nIaNnsGfll7yzMu6iBDVNSnscSaRhf+KCS5yu8ounxV/Wy7dCnNJC1XS3srmF4Yg4emqbsQY9HB
PiJ7fmgAs1YHfb+UHt2mLKCPqWxQfkCwxpGRedlZK3PdjCjgB272vQ5qsA5JWgZLx2zGJ+i4uEyq
C5AT86vXXm/bTRzXLvGqsb1PpxI1emi5H60mg5oobz+VvfVS2JTLxrZfgOnN3ExIKpv4voqiKIPG
15YbNOgDuoXw7qsfky5aNdVzFVur305XroxIh7qLndAZ0VrygxzBZNf4WqrNvknc3wd0U/sTgDQA
x7zyaOBerybKIqcLckM0XDrf5NbrSypyHSSDxjqsoHMYP9xf2c1DSyBgARYRsqhzmjfYu9bUFdVO
4wmL+rHR/RjMbUT1gu6D82d20DblunxafM7KQevNKhKXNk9m2lkycD2xjC60EgrHY19N67MX2C/D
4Fn7Vk+fz2nzlKKDvnLKsV6NZw2vsYvvfRR9dOxmW4T2y8IeyGffUqkbiNzNEmAcdGqud30KjVwt
OhqH9mla5wfwXNBKuEa/FutXH5Zah/KhlM0Jl744/dS+anUSfeViqDZV+DJqSxLNNw94TABOESw7
NuuCB+3aRD9ATqAgs+VHkbkKO7ToUZ629W3g0DG3i3UUT6+J3h2as7s2B0aExw/nRF9BKxivRqWi
EFuunDFYn0/qi5Nm0UNQNOuFXZdz5rffyIPUQ4oRYVBV+MjFNjhGYWZNxm8MwNA5wFqyNRToexjI
N+tyBSHBd1SSFopFcrSQbUpfumvjUCkVDrKTrwT8yoqUrZU2n+4vbWll0gc2jFBLu1isTHuxuX9d
51BURzVdGCeeWQx+S4fCEPyEpBzXGxjbcVd0pI++04cPZqk9mLayr6C1WfhScoGNTSPACip1UWaj
63RtpwnKsUsbT/W9EJqos/4T4t3Sbye3XtG/fSnKJUDwzP5hkHXp3FiivnhtsO2NxjNLhf6k/qls
8nUxHKMxXg9jtxDXb7K1f5b2y5IUb5PTYOe2gKmZLwMSHPEme40pFup+9y84i5eWJSU0VaRmapJg
rIindVyp5Sotu4NqFs92Zvj3XXB2ZUITi4EnZtaIbdd72EBWYYVKJDDVgvpZe4BJ8lEM14qsfpHb
eiaCUu3/ZU1aWlwyM5anWEtonxcvBfAAA5Ly/GUZBTHn9YIiEKcnZqCBe70wyqSNVpT0bnr9RT9/
67Ivobtd2Ly5L3VpQ7rvw5T5ddtINGpyzUH5Yn1Bt8T70B1739wme/OhefJg4/+yVAucuRgEnen/
Lk2K2l6QolpgYtbImyfF0VbBsPg+WbIhBQ2t69pmsrDRoakpsKBowD7bB8Hs7x2r7fgw/LGwmXPh
43JV4hddxHm4vtQhg2IR5NmKUoX6d/hg7IdmFT5ZCGF9s/ATdz89FR+95yW1vRugtjjfl7alSJxq
Y273CrbbY7uhmOa3O0BjOwetFmfnHXUkU8LtEvb1poz8ZlXcuw5FSZIKyWpuuYnTV7hoehg/d/Ve
jGg3+/hR/5rbq+nPYZceF19LcgYu2xQufbHLqTUZcPlgU4g21qvyY/GBgcDHdjdhuoajOktWxmf3
ITn+C6Tc7Hm5WLAUsMvJcAr61hz/x+Lz+eBtM5QUPyKiutWO8R/pZwMpWtNZLba9Zl3LYrySiht0
a/KMZajXSaWmSL8LBFv9YYhW7Uv14v4l8reGSR3zsW9QGkW/6bfhSWK/abowqCOGnm4aMsppoJjt
pNrbNJLhF7teWbmfTOBfug+5zKJG5u25pRNDs00855jOkUnezvXZjp0xhPX7KdhV4eoUrjx91e8C
nt/DpnQftNdlTv9bo4C/qGhSX+dpAMPctVO1+ZBY2YmmcmXnJVOBuof6SGvV3UJaJi6jy6LQP21j
gy3lEcczUnJe2yn0MBl0uol9Va1Nt36sm2yrunhth/ignlt7NNwWnj6zRummsa9CPErO+k9RHASN
YdAzbfoPtdlnK8OJoSarv5lFtueePpz1xFnIOG5PCg3yC6NSaKiTxDbNAKNaXe5GCqimd0jhQTqB
Kbkfd+e+3aUlaU+pFKFh67CnyZi8K0z3R97n4cJqbu9iVsOzm9l6OHuZ/Lv2j+icN0lVJqOPOHG1
DvqmocFb2TuthXrl/nJuj7qA/jAcBmkj30t2xaQLjJNlVQBHOvUl4U5ZGVERHdUke6UlXG9PKku9
b3JmdUxLqLBeaiS/N71dyB9MBquAxgTJFzXaV9OJWLL09pz5TCZFO2S2hBXKNNdb2HIoxsRteAmP
qMCYG1QMwk0TruwfQnLXQoUqGtZLzMAzm3lpVC5mR3UZN2OA0YJJzTJ/qEObqf//x953NEeOY1v/
lYnesx+9+eLNLEAyfcqXVKoNQ1JJtAANSND8+u9AVdOdojKK3b1+E9GLmpSEhL+495jLyH3SnXbz
61E8i00AZ8FxIZ6A9+i8pgXjd+Y5NEOBczwWOuBpyOWvPX8UD5PvkmaXr5bSC2c2mQnaveQweNCX
0Wdj2jZeB+l5cG6HVNkMMVvTTr0XDoOx9/QP1gguejxgsVSwn+bhlKMqYMViWap1faiyvFulExtJ
E+lLvIxzCwVDiJNYPpg/MU5sdSqddALEo2440au7oVii0Z1bFRDzwo6GWwLeXrPTvsohfKWUJQ7E
NH3SuvG2h3JUqnSA21nfx8j9B0P3njF0gQXD/2aHB56NRoF7ZQwAZoKJS84ERH+U2rppcrig/oNF
eIIHmp9U0RQ7fZJj9CR7TuKBzB7I+oKUd9IrpFiLpahXxuqzK+0UgDR/NOexzUQhETmSyp59lYwP
mVWLr+xV88VcuMrOLfjT3smZPQn+NLRldgKNKdMV81Y8elPAEKyWUjZnl+CfoKr5mzKNJoiIK8oQ
UDqu2nQbNdPSPJ07c097Mtu6XZNRs2nRk/alB+eivS0UQLcUgF2mEI7uw0QAqwq0q18vj4Xxm18u
een2YyPRW3adkl5TQxMs9rq8q6NF7abPL2WgeIBrx2WmYZ+5sw4qDFKLSg55ssp4UbxtU5QrGqmb
1Jt82nxzyvtRA7ebDz6rrNWve3l2bP9seu6JkLhAiRmyl2X1vZ/Wam0Rr1os8J0dy5NW5MY4WYtK
biVOzNAKNEksAvdqFTUwJaRtwFfWWgWa3jzQ2/5hqQRx5tX1YWS92VHMkq7klmxY0nU4wErprn12
gx+iOewb+2IvyCottij3y0lXoVUpRFmixQaKBPkmDwGTgt44bjXY1l6qOF/WS5KdZ2/Tk/UzZ5LZ
bhIPQm4QCaDVJVtVFlC7oDu4wPEo2aKH+2Iv5YSf9FIp62hy5LJJtmDnT4d05104oSPNwGX1W3lM
junzP1mpDnCk0H7B+3nW5Ni3mcZi3Kqt2zxbtfFGhSOI52VLUeW5LeFB8ADbEfEC0G4f+8YiE6Ud
3UMAm9d4s0Ifq/xKARNxSdrWPCK/7tZ7XW9+KSBeBkAWiVQk5mbNjbWVlmMPtGDVTIDzQK34wim7
yM+Zxi4UcPbXrd5B7EEVeEQrEdIEA5LwScKWMlxn3j7m6ReZXRgVrDhpXFugjsOgl1RRzUKloA7p
Eju+9nQavaWaznY01vXtr8fg7IiDMQv0KN7tyHXNRrxTkhxZbRxCJjcDmMCHMa0BUxVLkdnnDCjW
zTtLSmZgJDTnY0taXk6TN4LHKnM/0gIGSO/wB+cyXTbnlcfah6kFi1u6baDeAsYUXs0fWzNT183B
h8DJ8y5dA5JuDPDv4EurxKwmS6nCTyVkcHOBMwLuzYFSjizzfGyvECbeXAmKSOba3dFdvn6RJf+/
gBr8dGHNGpqd51H3X15iG6QX7k55iJAsnHxd/AWEnf5pdeARiaQuEhzQPwFcaxaCTlnBmtICw60J
mpXAWwGmhbtp22wLWI0WdxNy9PnO3UHkHjFBDQBspGXhewS3jFT5tEdA6kPu0JW8ZADr32tsJ+ee
aiYjTATSGjPKYbds6YT7WZCvk8iX+BgtZDtIpfjelu+WHjCfD4pZ27PZLdWRaYmFtqXvpntfw3XT
PpTb7mrcLBFPP2GuLNkWyCawQAYq4ZPIVZdxcO1oUofFQcVlzUBzbTOfFpSkpfImSrYbrmX9GSa9
0JEluNYin+6Nwp9ux97zs6N97K1doq3c41RUlwksQmH31b+kifa3z08UoPAeB9QAzy2JIPy46D0l
Hjvg3qpw3LE7I5jAcuIA1lh+Ei6qX3za0B/bmtcZqJOykqd9FTq3SCB+lQz4ZuNqSPBJYQjouf36
XPx8XL23h1o4dD4kjme+9OvSpZmK9rTLaeWUWGwQqIPOYCARukASLsomfIrmZw3O1tgkTM9t6VCF
rLMCiL5KWBskRQN6zJ6jMdv0gRYuv80/Aw5mzc7OE55yr+UO+hk5vvG9XbmAd3sP2koPIV8X6D17
t95Nwp+Vj/95Gf5f/Fpe/TiL+X/+F/9+KauxSeOknf3zP8f0pSl5+db+r/y1P37s4y/957J6Zbdt
8/raHp+q+U9++EX8/Z/tB0/t04d/hKxFDuW6e23Gm1feFe17I/im8if/6of/en3/K3dj9frv317K
joEudPMapyX77edH2+///g2JjpO1Jv/+zw8vnih+b9s81Z9+/PWJt//+zXR/h6Ql4B/ANUs2s4Ez
sH+Vnxju76AaQHgPJwPY9rAI/+1frGzaBB85vxuwCsIHAKjI2Am7kJed/Ej3fod0pAXTa3kTApRq
/Pbfbn+YoD8n7F+so1dlCsiD7Mf8TkWGUpKPJZlbigzNopRcFLEHzoN4j3VtP1txD5AAxJ0MZA6Q
8RzBF7KMn/bErMXZLQ4USNvCiU+ALLWOAZlI1TY4GfufnfzQqc9ZFg/UKPCZIfWFe26eMSrqKMvj
/KRTAxRnu3X5RRbhjLUsxBlhtdYUa5mI++l6RfeA7UbWUkedFBP+8fw0Ss5Ynby3/UNCzRte6lQH
sXpcSYKM5yWBlYUY2qV4BWHJfDKBv4akCPTiQaV0P13tTttZRSRUFnDHoPSGalXqPRrVIAoB2T2n
nuA65UVtpBJtpAJCzBSAs7b07YkbiU0MVkCA0W9r9dHNB031MwOIN2IXmQkROBfsgmdoz6bF977I
cp1Alp5NGzY6cDGHEs04rRSt1m3iADBWpqQZG6cNzLqrlU2TjhDg7ZLYzSYC+7nIC9QKsLJVXxZ9
Eo55nsdXsJgpnWQV6RqtGz/LeOpsiqLWG0GmPHVcFdbhgoNbSEWRia2l9E1GKlfr6CERtEhCAIgv
dFUprR11zfGqGsyhuZsiMBFXTt1Gl33CKWhi/YijfzLUbvIrV1EHX9RqiVpzrQ9fPcWj+UU6dE2x
BeBPVH5jpVqygiSC4LXPzQY1jbAeuMvAmB9YTq8nCyaWuy7icFL33IiCu6pSd087TVQXuUerirCk
qNOwMmuL3mV8YE+JktuaXzRMGbew38ytvRMLT7sD2Dxyw9byxiG0MkHtQzdONfe9dMhgjumO472h
jJ117fFqvM08b6z9zIEJ9ZVWqgpAoownEJBkSG7WZMTgWRAbpw0ErKoiyfy+HmqPmELxVNIKs4nv
FLvlGuSR07Lcq2oVA/sFcikM0VXhlKsSZwcL+0Sv+bqcYgY1Ui2eCNTFDG8Nlz9XXcVMsSPIIQ68
BRWsEGybV5PpBmXkNnQLfwRz1dNh11RZ5oTUpNpDpjRN5BdqS2u/LroiXRlcDBAAzBVjIFFeQH4P
Uq8x9RsoZyjEmCDt+MD6tCz8cmqzMaSjGCJimrSzCMbFvoCiX2aGfDDh8+dozIaMQTOqwJXhQcre
mFEW4tKoLCiGx+WkaOth7GLm1y7V65WiC33aGGlkqsADTHHjF8zoqnVhDG2/i2MlRumv7Pp6E9te
NBLOLRcioYrFGQRaO7ADYiW1XV/tcv3GgiklDbiNs5hYZjuZ4WgacerHdnQ76mkVvzaw2Mvuh8qr
mgBlSIhuN5VXWLA/dbN4F2OXKdedVepg90HSze9cV2F+GmHFQxoQlC0USnIAI5D5qtsQ7EsNIiZ6
qQJF12iRFqKYqiQb2nAd680pMuaLwgQ8SoC3pJNMU+MOy4635QU8ZN1bDd/D9p2IVepKGFTkcJ/F
3/e1qQbbvdMFb4/mVLN7ayjLIcTDMuH4qv1QB7qZQ4RfaEnyVYvUor8SmN1hJIOuTuZu9Hr6LSnT
HA5ScLbIfNfqa2MVxZPqXhuZ57AVOBcsxRwzVhEPwlWIUYwYic9xmLrhGJtIxW+aBu48a5cZWrcu
WtMG3TIdrO86G6lfmk5h+dlkFdYa1BBN+qsqmb02+8IV4dA7Y/O9aFwvD9Ff1/4OATvmHqa672B2
30xZcgmpGxheNCrLR9Qh1Sn27aLqwHBKWPalNuuk2lRjXI5hn6GQg3DRqDOowLUte6pbJmyXlCZz
p3jLB1B7nNASRl6HXZZmzt3kVpl2MxjFxG8mZmko1jkU3iX3NZbgQElkNZWS+tWQ2dHXAXVn56kV
6WgVRIwlrHh9k2caSEoVU4ZpuLY1FFvqvds3bfFCW6ZFJaK6sdIqn7eYvW4bGViNIszrlNIdgrdu
iAkYwhoOAtftaX6dJUZb3xrpoAyPqea2ynhUYCvBXL/uLLu0LmJha2O9kkKKirVX7LJSKz8xzHrI
DyhZuMN0NWW9p8ZXVHFTgTyYncJiWl0NUGewocZvamOU/9Ts/L+YErEYEjP/89/g7VNMucNZ8Dp+
jCrxCz+iSkX7HWU36L6hUosqEgpKiEN+hJWK/rsuTw6Z2UMQoqPQ9EdcaXq/Qx8XoQGq0gAzAhj8
R1yJOBURJf4iIlEZesIe9r9f7e/HlS5qrfAxQBiCRA1qXWDyfQyDvGrqq641BOl3Uo9k2rhAxkEJ
TxrmLQdd8h31Z2boc2vzpN9YVV0Z1YLo62abh3ftpl89QrLnb4oKfm5oFi6bBdxtaw8RCZ0ucfKA
P6iQRNydzPOZ+PVjGPejEVeFhhk8NGCBMM+yczuycOKjETO/7fpHVXz99d+fpT4+NyC/wEnaJY1N
nKB5K4iykSpffO1deN/+muqPDHfnM3Pal9k6EJ0aixqqSkSsYohu/5AMXJ6XxS7NVsDUpzmAH2jH
XEsmSxo2z/1XySjuifN9Yfhk/vRXfZotAmWg8AZxXLR1HV27bwwPesD52z4AcAcEk8LnS5CWpRUx
ezNFQBK4DqJwYg0PioUQGqf6Qqc+PgR/rgkNBrWwmULaeF7QLwsz0ZMWA6i9RGugvGRFEObo1cX0
pV92mjzTGirSUoEZ/0mY6ccVmDOvh9a5PB6A93inVkphtFwQaR6+rKJzZvw+NDcbP1p3hW1OmiCO
fZl6x1JfquvPbG/ehw8t4A0NogXe+/NnX6dApKBHEEJk8Tu9tyFRAT1rgzRVqG4lTo5fAiPxIEn1
URg/LEzemfMPqB3LgnyBaQC7ID8/2dBxD7YvtzGcFpx+dN+GTFqxR5gTKtslZsWsVvWzp7CQxQ2C
uwdpi49tFaNuRlEjH2W30HVM4Usqxa0wiRYqyGCpHeNAe1zon0zMzXYcsHF/tjnb3YhVK88e0KZ0
7KhWw8YK+aFc/QUdrc8LE2hD6ICaYBYiLaPNFibKgrzM8fAjbSCCaJf40966oFtlF/vJbikvfGYs
P7Y2W5fA6Q0uVYUgrCT9feJrxH20gUlib+UWqMrQyMhS8VhOz8ehlE2C0Qw6P5Lu84u5NIaBOdkg
SJz5g174FaJyri+cJp/328dGZvPVG0qRpDYOE8pzwrSnrl1a8Z/PYLSANPV7fAEOg/z8ZMXnIk4Q
umKeJishmEpiDN/drNhUwz3tvpo0C6rsTW+TYEzDllJSjve/XpNnuwgpTsgEYsuZc5ABGxqr0bpO
wAr62mtuuu7vVb7lPkMPIUTyHgVIO9ePPRynhqqtCT5GU/ht5xsrKX6Ioh5SuiNJv8tSQb9ZqvDL
5f1pdeApKENKA8M7y17VFRAufIhwjAk0CdPwdt+kti+U12Tc/noAzy/+P9uaF6LiyhsduFzIO8CK
dg20uLJLML5pKAEF8ffYp4uotTNhghzUP/pnzAa1ZWqUqRxtSmItDYd97qMaDeWaam0vuQ2c3Wkn
bcmj5mSJWmNelQL5OCIzC9jdxW2jvC2M4dltANIpHtE4slBG/NgGRPUTbbI9bINLeAJGayQ5wQtx
vgx+diFptUtVM7lxP62Pk/bkrjjpEyxosKMLjF8UQ4aTx6Qq1ypqr2bzjzb4SUuza0ZEZae3ULwl
CYrn225tZ0SZiH0L4RECBMa1c2V/WRjMpc7Jz086V3ZIxE/sfUFC5NqDC06+k5Ay3gRsD4VDIOxj
lSzDas4eJcjmoxgkAZxzy7xksvoS2RsslO4mra4rewF6dW4hgiZhw6EAfoqfgi3oolF4sOCsHNVH
j143ZQYW4t/SovlxWp22MbvJOtbpVKW4VhJ3y+sJaaANUqb+wgx9fk0At3DSk9nxlCiCNUqpCJJt
h4O1L6E2YBy62DceoiB9T7AnxqrfoHq4+wt8hHOHo1Q5gfatLa0VZ5vNSGlhqiXGUQqQDTmkJ4Mp
SCfCVnQNLcjATYL+0DAUy2GSvMiG+Bzjoe+Qe5NxFzL8c91C7jotSBoYYSgkQtNBbIYdDEAhSxv/
XaTFz9k8aWt2dIFDR/vSw+ZLR2w+8KMDL5xumrCWkqLrJaj02ZsA3srQ14RCBlyo5MCfbDzmtjyp
G0yr0/qQDYSQBFAA1O81wgoyYDwpFLiWyiXndt1po7MVC13Pusu0rCc51Ylo4XfrXS8s13PB5GkT
s+UK9UPQHwb0i4ey7C+lVtJjt5J4lXilLBA8ZsJGPyftz1Gcgylsq0k6JZ2wBQ/6WvWjXXuAlhlK
3IrfPUbtO8FdJy2AMsdFVa+zixMYmXcGC2qds9M6trUCFFZ5hGFLJr71vh+lHEf7xVqKG+TEzO8g
0Pf/aGt2TI+V1Q5D3gvEdHjtpJvi1t2C4bZyfBX8q3V6JcEqnsRRLIv0nF2qLjhCpkyf6QiiPy5V
o3d4PikxkM0vUvc9esstoBbouth3AXU3rU9v0fDCOjp3y582Ojt4YkeNqRA5GsWjRETALRS3Aowz
l+hUshegmfZPWkSRGUEoboxPfOTCaTQQrFlPqhd956ys5zh0QhT1pBqPuV9+oMudMJ9TpB1Q74Az
gfRv/jis8sWlJAY2ozxapcafdJZYThOd2/PSTEIqGULPbx5Tm7yLK7g19yRKH8zohrZL47bUwGx5
gPygtDokN7HjpZ59FkRXzbMN7Oh7KuqB7xeJkOcupdMuzdZGipe/lUVpT7qdez0cRCD3n9zz41X3
1SVa2CAN8BfAeOeCitN25UicnNl1C68YR6CnShyMb3AX9sE39fxiJN7RaKCIjPp6Bt2mpRfK+ZXy
5xTOTprcGN0oddBfiNEhgsc2wHlqbhbJnmf33MlSmZ0yRaFxaLKhf/Y3aAyhe8Xl2BPkBUYiLR7G
jd34v95058610xGd3YJjPWqohsu1M3yJCh42lklU/RK89QRQKO4u3E5nol288iDdCuo6ztK5fcxY
ArFmoMRHvPHCcL83TuenGSqL1oKp3Jkt8aGd2T2r6kVp1C3a4fatOd5WS3oTZxYECGR4hzt4hcPc
bL4gMpB2xhS5LxO5f5lhlmqw+vKCONuPk3ZmC0LrGXNysNZlTDQBr4bGUNYwLrKCxAe6/SuvraWu
zVYEn7xprGSWVEpVa5sUp6Lcz0trfalnsxnKGC09sKkQOCh3jbETSzM0Axm9RyYfpkj28+SsaPrE
7mwPyVF5f0H7/zYJct+Ginl70SwK35w5mE4bm1OsRq90bcYwaCO7avmaI+Dp7QVH5Pck5+y++tCI
jIdOeiQLqxmXjWSH0c9vqlUc2lfGhdT6hMQiLAW6/RKB5lx896HN2d0SG1oDIVlMk1SCn6BAb+40
+LR6sL2940F1L73nuk3+oO6XXv0zRsSPCTTAG1bxOJXMiNklI8rUA+TifSGab/o9UJNhiniyjohk
Ty6r455dMacNzm6XfHRtocvxTbaSsQmCPQTTs4sfSstLL4HF7s2OEO6xqS6E3ADbamscUM7BaxKU
0K8yklx+eSy2NztKYh3Kuz1H78ad8bW9g7MVpKQhqjySH85Pi24U53b46XDODhK98XqW5SZyicEY
OtRnUAJEmk1qFtQVUd4aX4XW76+vs/NzKAVmDJzKqEzMdn0B+4tO45Y8vcoL+UaONpK1I8eULYLf
zo/pn63NRcom4Kdyo0AXvdvyCcnSdXlUACJDTUJZi6Md+YuDKvfb/AwwAO1EkAwcJuxLP54BOVKk
TcxtmYxA+hKazVIv2tp1ECLvN0vq+ucyl/BoMSAVgFwzGMuzKXS62tB0OZpS1NGAcGd63e6kEU56
+896dtLW7EJwy0K3Utmzd7FPGU9eSxcoZ+3C1ipZkFg62zPI4YJvjqKEi9fGbBz1PIGCgCtIcUhv
rI3YS6U+92u7/gvCNu8GRfNJO21stvWmshp05X2Z2ADNUt33HGjot+m6nQByF0qYQYdGbeu3uklX
umjeMk2DW5TX39TiKlHfaAN9/eGmiS1/zHm0itv0u6Xme6vldwAc3gBuuFVglhG7F4DDkK5xSOSq
vj1Qv4j3VvQtyy+BpNsqAvpEOYCTeIy3NyrdRH0acu97Mx2HtAFkCS64Yu0olKge0GwmwIb5BTRe
/NyuN4rdHRIOofuehUWm+lZrBE1erphbIBPr7GqR+VVLg35qVyl/cdmwxWOWlNrXlHVEtxR8Wh1r
9z6H9pjWpYEhQXgHAdt7V/5q1oY8ZaRJobXec+gNHJiR+LZ70KJurecKAUxurZZwsM3vXQ2mC9lV
ZN+qRkK8/MXCM9F2j1w8ltabiIQPCHdb3rveY+c8pyZyOgYLYi0+6v1V7n4pLDBNpgtAWYjtQIcq
B7LLDRuQltwUFeFp1bmgn9hX9iAOMf4fY3hNq4iMUUxwKa1i5Y2aHRnMZN0aRpDWX02It6Nghwyh
2azH2sSPHcoaMurmQADQ3oyFE0axtW6AOx7oHRXbvNvlBQsSEQVtuvEYPDkY0cpk7WptGLssdCr1
CFMSxzt4It4asemrXrRWvChI1AzoMIfombuBQtgYbUx3C2odMKV4AzX4lS3t70p3bdqX2jRcNRaC
HofvWUyv3e66LTZxG69TC9KDHg9qhiiysQKRX094PHXK2zQ+Ghxaci737QS3hef4rLEJ1yC7AvuJ
kkFDXQl5+01Mz6N6MIAsa+r1ZEl8ZxMAqOerqBbZwKa5gTtB7VekK43eRuPNaJSBll8k06bKa1Jj
oaXGrVpgDVoBNEhWWfngFW+6dUinq75mQV1ZPtM46ZWjOuwG9SjGa47faqenCiUUu4FWSljqVz1I
WUP+No7XeXzTKNdmA0f3C8DhSDy8eeWem1dRoaJusCtAizPYxqY8yNuKqBos5gsMeKVDSnM/sH3u
hY2hhZaeEd24UPKD3W0c+yuoS4W6nlRGnIYeS77R3OsGlL6yvPH4jZogu519LbrtaLwW9tFrDqza
t9OB5ZCH22XONzO54k1F0uwtbdtVAifE6bmO34buS+6kaxRPid1favwZ1xdp4wNDeWOqCjAGLRKj
TsvUXdM95kVMYgPVgawMCxYm/WtR7fP8uc1sUnURoLN04yY7lB6DDOeA2986zs7xANnc1LxdRexO
G5667L6wGY6bnhTlLffu1KrHqlmXTpgaIa+OUbefsJB4v7ent74ddnR6yDoo4OQPtF4XzPMjDc+P
8t5r4tXYFau4MW68HsVk0FYtrsLJ59keqkCH6KLZKoDXtv1r53oPCQPEMC09uDVYQA3C8XdfanQz
GO5+qNWLUh2IbcE3uYYupg5JpyK7yUDMcSIsd+9ZL7Nv5aSvxwm3a4IAkA9BbhthBu0pbh0ielHl
qZ+ZbxR2EL14jgUllrtP6dYGKtG2dgroyhMlI+/8ob+hVdiKtZIZxISdB4JNYsUOwItQGnUgHlVv
Sw1SDN9Yc2G0ay/5rvXD0YtzUrZ7iFA8Jt4rVNVJbnHf0MuVXn633dWEUxtG87qiEd3pSB6tlOqY
lDetyta5sAN7uNGcm1StgDrdUQ5kPgckNVXfoNAOFcerNpZITuXYU0V680oJOag4Kn4jIOLVNUC1
FkHUvzWocUP5eNVNQAarjw6OQEeZVjVKLHbK/Cm1N51b+HWCfEW+S8SjEz8B0kvoGBMA9Ymcq4YD
xGl9ZeXTyC54zUkNnZwq6r/jv3U6wcRloPtiuDSxCEvjxs32ZvHCK+h2Rj2O+K8ZXDwniEpmCfBv
VN8x97bviyB1HjjIxJouObdibTbF0S6KK2rza71qX+ykvqzVqPKjht5URv9F8ZixzochcPRmZSks
VO0bhVphJdK9qL6r7kSmeji2Thm6ZQgyZth37ePEVR/OVY9pe1VQcdWk91EPqGv9ncGCDMdwe6O3
j1VyHLpHrz1ESDAw9jVSHovkJbYA9La9UAf+QdWftQ7j5TwkrR1E0T4uM9+MMwxQ4OmpDyfR67Ed
gk7z1nFthJEy7nQB9UJcXjnQ1/0Qg6mNoL0S67q5QnWe5FW0gbyp73ZwVK7K2yruADbqMpVAAypY
iHXPBdhICaPGBqEqafE+i2ESw2NsxGKQmf40JsaDEsonrsyXVn55pW7sm4UmP6fcbQhGIuWBJiFk
a8/CpgKvwSrVUFyQ/MXuRoOLxoj0QPVtOWw6E8p/bGsWNRVGl3BwXWT3AA67nTZ6dCP85t7wwV7T
V8qSpvKZNLut6/CdAC/JsSTM9eN4gtvh4sWCXWORusBdRpA8kAZD1oXybVLC5kLCqH7mKf4Pavwb
oMInq+sT1Pjw+vzEZoQ3+Rs/sMaGDQYbVtdP1pr1O4xvLYTp0DMGPFVqev2XtWb+DoorzDVQJ0cy
/w9osWGAsgbOsYpyCZA6MLv5e9Di2VsPzlvgLUOLHQkJWH6p+hxsZ8dcE4hRND9NpxSntVMGIjH6
mChMyd4qMzbXeWtroaFYMAgUjRLWRjsc4t65KDWxYSX4xSIt4DrbCRTlEqVae2U39j78il90A4h/
DXpRgVpGx0rluKe02Fl1ZfXs5IPlWxAWDvpxetHAClnbkAAlwoAhmNCz5JhBa4F0jj2QBNTeIDcb
QJAyw34Cp2ADodU93pP38YijMFL3Xp1vsyYLTTPdRFOzmqqpDDzD2PHeiK9rUDh3fWni1G/t8dGK
lPaxY+l41Jsaxaa+rAgvWI23guEStci/gzzkXTpFlQ+kAfEAPljWF9HVgGBNY+2Ftj2YyMinCt21
TK9WI43zR92otZholQZDLQ9CMJPrwIxeRwV/UoxkW0u1Fm3iE4GKbLltMhvqh4lhEeiEwzUoaddD
FF1Deco7OIhBNqLKItB0tBGyFRy0D2WsGLFrocpg6dEo6y0Uvw59ko0EhCTobzdmtorLXD9wTcE1
7dLHBIqDO16D9aRG+q1ienwtVPGWKP2w7WIdeic4v30a1eNLzftdxpVrfFSvOjOjR6dnhl81Sb7K
M3zLSnWSazr0wyGPi2+DNRzdCd7lJZAkOSSESeMmz06bFkRzk+jVEvV4YUeTsTIijKEzOVfR0OZQ
T8ieMwsDqrYq37dKVF2JRKHrpOvzMEXmyGdqAwXIHgEWbNqjCytt3CA1lTs3s/BKq2IrFD2FcEAy
UqIxBHneSCcCEGUeWlEqbrMC4+o6vR2UEzO24NYIH8SvBk9JLksOFQ3LmtabxLYgoTd4X+D2iTiG
M+qDaxf7iHboLhvrLmxSfGGQOo1jZzU6LlvMpD6M/NABYPIY2/qDl9YtIq/U/BLVfXMhcs255tSd
QmOUkjwRXMZey9SqQhdSY2FiaxdaBZUZfXAfFWNiQD3ER1V+QdDw4o0cG1Xkz6ZC1T3gLRBWNTB2
YrLald7CBi8quu/MKltS1YMSULCndmPROtgyFGweozG2eDobx1hrDJ+NWR+U2fSsiYmRMcnwqKuM
aCuJTPeaGgGSVtPnMvEeBwgYhk0+fUs9vJ07T/D9xJvYBy7wJu1T4zJJXbqONciOKBVzvsU9VqQ6
JR5R5IxSsJzC1EOtJaP6l8yqn+Au8+QWyUWvW1+KpjvaVY8kYJMBexe77so2YKZXlykN4QNnPSXw
bt+PvLjKReb6llEilyaX+8BY4Sds8nlt5phfd+8kPfRblOKCa9HBjdmLxeUh5IYJ40dVx9lRiPoV
6JzLMlP2RpZsEkffKbQLMiO9dGE9PyRQg6Z4BJZWRf0aWvzY3RMnXZ9ZexxTIoxEhEczSG0Xea7X
foNBWqU1D7KODysqqBbWY4mykkjLADqQHMOuXRYFN/A0LjceZdumV6AK3iMgjaWsYMpibVV0bePz
MuYB3IkdH3zBN1VYut8q/GsDeGeQuc5TXSTYnqVzxXWgNfRMfKVCqTZ5ZaUQQGcNsUYd5C+vLgIj
Fy+8q3axNxTErb3nJNO/6DxKoJDXMIC78IwuCuM2Yx7E3fJJJ03HXwFDuR6M5gXnCoyzI+OopeLg
cO0JaoVXI29ueVbdxRESOY3l4a8gACTjAFKSKPHK7IGbB9VKUTFkuUc6htNmdEW95rULk50ibXdT
Oj3mEUylO6UN9CZCOd1mYe6w18SzL5uCHZmTPOBkxivQK+4TptzGjv5cO17rQ979qE3uBev1faNi
AGwHXLvB5hdVZu2KQvF7Tr/I6te+gw7AOknHL5z2I8lUMwta2m/oYHxrTZyRQ1xfi84KC4qkOs+9
TWWW+0HgQQVyWIc8kqWt0ly/A1E9I/B5uBRJelP1meYrpnmbG8gCKRbekV6v574W5Zi/igm8S9Iv
bdGv8rq3Qns0i//P3nUsS44r13/Rngp6s6Uvd73fMNrcpgO959froHqkrkKVLvo9bTWbiZiemSyA
QALIPMZtremxToDcM1YUE3u0S0BPVbatLDz1FTb8EAv3uOfTx3UTApgWFksLRmq1kbRl2xTrnVnK
zkLMTSHPP6p5fEeye+gqfGqcLCEZhzsz7z+J0t2IxNyRrALbOYlxPmUPkVB96GkxOMjSaBgXyqHI
8GAC4lq3E7ns8F3buxgkYbezjLtYAGx+7LcAbOZ2nU8fEDT5NZvKoyon30Avip1K0bd93EXPVYtD
eu2MfdwY4m4gwnJndJP2oCYrugZoULcosFQWdGNNshmhgacZA4oNlQQXuBVLJ7fKpwzjs0uQLj2z
zx5mvd5JdY7H5LxTInKTm+u2naOfE3DoMRaO/KAkamHHdRcHZBwtr7H6yNZRFVyLzgRxOoY/zFDe
FMo44PIhtHZfZ0CsaNUTSVFQgJTh90Ftdmsqflel2m1X00fp67HRZXetI5yvqekQWdmYCl4TZK78
fEo/hFLtHdVCrWPUktKuVxGqPjXYBlHp5CBbN9US9MtqTxocp63iGYVJdyHdQyJ1kN+T4C6umI+o
LjtraexzGC3FC9DEA8peRHetFlKwuhxCxc8GxPPWnBao+XTIUi25TcrG9GZJcydNDvM4brcm3v/Q
fUReT1q/lKSAWPmzVrYtHvDNY5SQQJTIs1iUaJgW5obUOKYsrVrt0TQDpU5/RsS6yUnkosh6N1ei
NxfJQWgg3T4m/er3mXEQ8MgbcH4EbU5yp51hLZao1Qaq6++QAXoaVhGAlEx6r4GxAiA1cUWzuSeG
7MXqGnTCtO8TAU9bkMGI/nNdZYjB64ZbdoqKXvQY2xiUBxcot4UzYDOWBxFlPktZAmvsX7OWBCD6
vmN6USMe1k/oL6uOktbPsFetbCLqIG+WmWUjpYVNCSqn3BCcWUb0nkbiq2amt8iYgw+1iRdDKx91
OQtL3FObSkAFRwhKKKvao241oTgb95Kiovcztlt9UoOmn6FJAs1GWXAlTQiNXHXMKtqA6Kp6eZTZ
y7QdlihYzQYz+gYOHm4dmgNmiF3LGFpOXI0QZ5FfxTZ3Td2DW7A76ANwyKiJyNGmH1FGJR5ov+6Q
oX09Vdp+nTeC+bpOCq4X9yDgP0W45dpS+1G10HrrbitjdoiF/4BU20jYFaBqN1BgrglqrDqxlaGy
9S4swINqUXDQ0l/ALDiL8ZJr+05TD6j7umqXOKIQdOZ2yF+U8hOLLZjUx2kVXLWvH1F0dbXkZxc/
aMVr0+2Au/fkXr0xi2eSvdbFvWrGoVBId3NeOXGBJoiJincVb8HH8q1ovFOhQ1C18BiYRGfpICgj
vsfjZwJcN4lUuxWA1tSBkFalHUDbvlCWoRx3QQKh53V8SeLFlrvansz3oX1fpte63GbZD1VCNlVu
V9yiDGEvw0soeyARLvfNLingDWo+LVCRLQ/YL+W0VyCw3v+KottY611rGewx2cztQxENNtrFqQ2v
IKTzRxSF4G2jju9z9WtqPhIVQ9gP6qfUFp6FMnkJcvsEjHNMIDqNZlmMinD8vRFNP6k3cdJu5uqz
B0teITKEHFZvHhRHHeP9UORPNWQP9UVySnLfImV13+PsZbY2gtrvxCTaZVrrx8OdlrylWCb4riR/
KIF9NIm0TYpQH4cXvc3crmxsPPgdZUQZ0YJ2Rv6MK4HbTUE5Ld4o4kKhuFGt7fsl3io09+sWiNHg
1+ux08swT511V11RFRx1X15V38hxQIMWLu3r5DPNvqlLBXUyfLLnUaxsWW4dpTBw5pl2A4OhWMNT
Ln9TJdSJpeQBBtp+q68/c9xFOnC+Ve2zSlDsy3Iomoq2WOCuQRobXjiodrt4Ptw3OFYWVY5QZ+vd
Omm2qlmEhaDcxOu3tNobS/YTsBRXQxHC1YX6riNigY/1FMkamtrSTUmyn0a0X+WDtkS+2RAPVXen
RINB05ZAiwE8FhuULlNAJiyUPZPXKEdJdJzsQlSfhEG56aZNHd8SVGcVAyxugr6kjtum+az3WObN
44CzOsOfjG36NKug7w+F16PYDd0zpxPMR5LsmwSTmsS4vc3GtzWD5miTBmPTB8miva1GvzWXzDdz
siGDES5ggk+SQF1n3Eo0dh0Kz3qevCU1RKMl62noEntWSoD2TZUeKCN82qr4eUpb3yT9XSyti1Nr
XYYbdqlBLch6kSyc8+Maal0cRhD36OrJaerEz3B+wjIMAgXptxieK2qm3Qymvl+T8n0iOSQ/SPTS
1TrUnDQTL9GJYANq8nMv6H6GtQS5lt3cG05ao1eDppukFea2H+G5N8seKC8HOVkfCnSxhNGocSgq
g9PP2XuXim456TcQTB+dZFqdBdZFnjwrmdMUaeqaHeryrbXph+ynWJq5KydRoNXKYVITp8txxuIj
o9i5K6znOaucMZkeu07cxZB4wzjJj6gmsE8ovTo3XuSl3ZMYtbVSjoOpSZxcisOqMHbLgtWJh2ME
U22rgF5ag1It9qu4oPmTZYWzVMlOmAGJU3t7mB9xIXeqnjgWoYdH6+RtszMWAxAvw5+bLEym6CCC
5TU1zxP6INMiO026SwbFM8c0GHSzdeTyo8ZNrcoTD8d2aEB3orVuFKXwlax5HdJ2rwgriIbYKF0l
vjfG5PS4ReCW9NxXKC/X9XKbRdKvNTUciajBAAe2bQ7XWN0sHVncR80cmKPgEvziCk43cvMJfWXH
whUQbTco7N5Ho4UUeS9CyBog48DIpq1oZR5k5myokXnKKLyOymbu6udVbHdqpdkwJn8pu+igxnjU
V0Pnpni1KPpjWei6p+NFZetSb7mj2HiiivvuaPkJTr42mVxhgFJOd4hjfZtMeFwR3KaryoKLabmL
xtKJoZI59Etm59CHQQvDPNR4WttrilcTEXxD/ljEIRCQD9bsM0c1YDL3Bvqi/XiHETppIoZj0kLF
d8xQ9sg9U8OlTt1qeXRI8s6XUIiHijsUSFIInyURajuL+DjmaK9Io4fyRm3ro/icTMSACIcGD9xO
CSr1x1J+R6POg6GBK5mTHedpAENPKI0AjZYOmwlGAgl0d7Lupl3Hndnk6A0sz9pEDr0yyY5k5E8p
RBvsGQ0hJwEdxAUnJMHrGXIzPYEOdQUdTzud69ot4uGty/E4a43ltWmH9laPx9yPdZSlZlL8aufW
l/R4v1TrL1KBJ2AuodYY3ySl/ogSSL/kXe3mRjN7U91Hh6FK66dBhKiIWRnlVgL8B6oTeHhGUjvb
U549lwu6FZKUF149LaktoEJflBIJdGR3py3acJUGB9oCWB4p3Ogg69mEpFCeJqlC5u9ay44LXHsi
k6AhOuvPOeQwdpANuC8h/uN2uOnVs/hLFXFeWAqkT0uk/lYJptaAwoYhDjA71xoHNQC8rSK8hnMw
1HDF6IzQhKCPHYtY6YM12QmMKFE0QvcsGlrAssYGC7yAuEo7qKnbt8rPNsezAVacaJNrMdcJ5bwi
b6AsiWKkAXWFo1L/hZZWgcJjM8WC6NAqeQm/igF6SzAwpWhRWeSgRRnYxO9oVAsTND24R0Dx4bxE
3spaHCVzJTm/ObFVUIYo0B31FXic0XNk6u9QMB+AbB4dnqIxocYMBUyjGUAslgtvmmtntF9n9amt
n7s45rRSzjspl7HYVkOaVUlJEGuacI8UDypA/Se17bvfYI9TebCj/ukfDMhlCKZZQ+QoQd5CCGSq
AVKiePvfgz7godJHuRJguwgOXMXsxU037Uu2E8NuV5e873cOH7r8FQzIRrR6w8xAcnOWoNwYfroF
e9tr9jEYPX+hkEHHxI7ZhAUC6vMQCIPQ2/lqGatYhos3oolbCmauMGAcyy6lTVXw4qoD6B79ReeI
9mkuwsJqm9LOoC8nMzjJzhDLqMayckRUx6A7igoPklr+1hc3uvgJpUzwxWbOzPJi0ok/wWaKUDMa
s9SQHbLRgAPrQ0rd46NmJbrq2bFB1Q+8e6ReGYJ853EMqSao82uSI90OnuwUuFYByIeL++zMv3Qf
/W6XOMbT14v3alBo2uFbHl3Ema24mqY6JJEpOdkM76riIUExbRTCr4NcNljQV4SIDCKAIG7AleZ8
aD1q0qZqlLqj2ROGhoqhaVMmJN0TGBfANAEnIv0/nk0mIoJuDO4H3PQg3c4slGqUF0PviI6P1m9S
b/xOyRMtKM8BBSnSTZG61rjhQt0u0g2NC5Vf2ILAE/6Cxl3M1MKRjnTa4nHswTfDqQ7GDR7IW8XL
odnwL4JNse/PI7LqLrlc9bUQ97pD+7Yq/LerZ8HT3Qk0hjbQ8CrgbIcje+58ajWsUdj8ATsIgQ+2
Nz31MBEfm0jBsQQpntt604FABFAGZhbq386AlEMxvLy48sWpoSOuiUMROpaghLGiFFI/ESluZZhc
u9DZttu4vV/y12oWtjIKzeut8CgTm3JV+u8rsq2Svy64u6p150qGi66K30GDDNiuEqCmmTzS35p4
3AVwkYaZX8lkCwgP5koPs1THfO6B6S/9FlIudrG3AuhL8G2JL/IwwskS9pYKYW6sOSZpRGYmFzFe
Ds7ijO7wDXi+e+MBOLeNaa8vY0DhxgMlxG84++vaxziJazEEq9iAu3ytIy51vYVmkUOBcTuYS7sQ
N4TiRItKooN6TgBLVt5KYC3isOQxaOR/KKNAjxPMufN0IlaAH+tJpjoTBp2HUn1bfYthgqvdTOis
OFVkowugvSRb4Sdn2BfpkkamTWoFLltQtmHSJXywIhOdHBqZbjZowUWuBWi35MQOzKCPREFIXv4b
USkoA1katzPAQc7Ha63mOqNnC4hooAeiNwT9cLPu1DuKRS78SN/qr5aruZyolykU9DkJyve6DiEY
iGMwUdH7kZZF1o7nniGhcQRmIph0cCh3qZy44owfQvUg8CNfXHwxyyAmgxGJcxBphknekPJBJ7FF
a1zcRtvSH0PVPjLekFd4XJXLU5fGkqWjaC7Eg1hUeZRIahnHq+aMvvFmQWvpVxwSnxKwJeinTEhp
hSvyBYsuz4mzsCy8XJ8GOWvNRcNCihYHDz1b38IZzkU9oXWbveTxtRaunMLnMZlpxfOugUI2ltG0
LXTb8tcwd4o9fCEC5PLbOuDmQrou2ZMC2hgWfP5UmrLZ3WIkglzRgLW7OP1e83v8fXXXTePEH+P3
7FVAfnqXDrmPc0rhmd5fvmjopwUPyIAkFHRsRWa8haEBX1yhwJcaLgq1AUy67BLPJx/Pdi6P8EiH
vhjsSTQm8ZcwYuqjsqBfVHToGkKhiboWGZAjd1CsrZ4B2Qarl6aK4lYDxNnjbNira+rkFzAbduwr
y0rTEoiSf3Ky0uOWBRw0VLBwy/KHHS8Ty1dDwhBaValwjqQwzwBr0qxB13O6e4obyS22pQRlYggG
I/k76l3r4Tb7grK6A1VI1Bw8lFlc8gm1DV6yupoyTn4I8/ohPUofKHpAMwqXEqo7vUYwGwBK1RdR
beRFu3YMGCfRmITcz+CfdTTaAhR+ID+gaARVgxga4jawp/3x0cUnNV+9eYEZAnYl5VHjJnSekVfS
5PIEOc9jQQBSUijn2Og4uHEW/JihY0KAzTgyjKaKR1C79qFNgK4MSUN0fPDz0PAgQm3WmHDkgZD7
46iogKKWQ34l3ygmMfMA/eV91GuzfBqTGe6goa6jmIg5aw/mgKbJS51wxnUtQ2HZ4s4uKWhWsiyY
JUHft+10APC3uLsg7WOzbvuAy12iW49NDnB2hN0crq8o6DCpCNMqQrzHpNelCaa2ndN9zju6N61g
DFo02Xgvrmv74TQgk43WuUMdfEbA02oOIBDH++DXeefa0jgNxaQdUygasesQivpx1gSZTnz4OgKD
F6VvHEiMnUwfs/paCYATwG7otWuGRgpaAb7pSnCmQmoJeFbmV9aEBN9W09AhnoMCFZPTJMhRI5MT
9MD+0Q5oPUqF5D5Rz0XojoNCHKw8qloIyAuzvOVM0wUyVTRO/gDUSzj4014N+XDbK/sIloom7FCg
JA81FGZAbQk8QmYCDzXRDrLUDoqdFNDd1okl+5wvdWXdoYKIAekS/H1x7J/nCV0bYP9KesXB/FGZ
pQruWjmMSH6fuR4n2pVthWhUZhbEc2oceR5Ngit22esZRoYzd/qGV0iQP4PfhAKN1Nj8steVpX4W
j1mHERBE2ZpjPHr8VJT7seVVRq9+qpMBMWtiyntLaY4DKmYAE4eg7GGC1Ak2Z+KurXF49uBWb9I1
waZzo83Vrq4lSNq2YdNkpV2OQ6hvoWAWwqnFNODFpnqmvAfM0F5iD5QDqrVLffx4+gvXHnOwpAAC
GIUhKnnJDBlsfjSOKlppD4wf1MumCswnUHTQO8FNCW3G2E2CKeRdXVg3JppTzuIyNSkRYA7gLEbF
yTZxuNzQUu3kzy/VLTf5X/moCm7AInIKHKcua1EiiTq1MzQULuCB8B6HVGYCUuUv9a9mU7hlYOwV
jkTXtbv+WUwm/6tRpscJntCI2e6pmkYuvSV+44ow4hDLN/7WOFbUmCPuLCKzFye0sQwguenlZKp2
kgC+oLRpPHhdBfVG9kq/CvJDigMWhC8RVItuY4a5z9N+urJDz34Fs0NXAAP6aaJP5ag8mOatlle8
qaVT99VAmQU758QwW/oaV++pL2nmxh9pQH1xSUjueQe5fHXxUFUNEdUd40JBUSuwsFBpgTL9PkKa
W33rcXZVp0fN1FXvVpTd8gMuf0BoeEDw/qygqJW75QHdSE7KuDrsPz+ElVds0libYlzXjrkWNVy7
hOxCb5u3qGv6zSsn2pX6knIUE/k9bIW5MLVFnpQ1HTbuEyNmuagf+k2BhoruSpEn4+CPQY1yGy+x
9qXDE0e7uopOxsrsHsj5S6AMYKwWYBm62PnYTO7XI7xSXTkbILNdcmORIMOMEEJzPwOcWnUiGFyh
aPF8A6+ngpPBMFtigc6tWTeYSh2vFCg84PEdSmHh4NsZmxWFBokrMMX7eswW6Y15Reuefr1Ni0e/
4g94pagu6AIVahzAovu4EECCkYq/OV/P67Xz5GximbzeLeiVg1egOUBglXsq75v5bYj2lF9trMPs
0ZbmXwj98r4nc8kyKkvOlQ7Vsg46GibIup6E8gqxAehzrAA6DD5xBof75uftSua+RTKjq6QYyyjZ
9y7ViIZ0smFLQRKqOxKsvNzHGyXz8CWdrAJWQ8M19wAOZxsYSzhjBrPYxl3WG+mh/hW9IfmGGi8y
nb+LrPtnFavi+VVvkQxi9QU+K1VapYpww02CGgNAeA+jB+8SxRPcIUz2yk/OeuIFZjLRmKFoNlUI
jHX8VphOm9p0PY8h0BVW7QD1sPmnocQ9zK5VsE7XssrkoQVeLtEELhQWVbkBDz20HlQbRBzQ1XjP
kavnDLorElSqRQg5M/kIeDE5ITpCTVX8OkliYCbdbZI0b19P55WLJ54if8IwyUis5FUCO0xzqFbC
kgx+NACw34EJqApOadylIoYayd7XUa9Vec/CMgkpM+YmEulxQt90AuBHKMzBu+4p3kOWBeJiY4wm
Oe8Uka8tHdRK6FMIEp8aq37cpe1YtyhjHOs1QPpQQ8IVLKEKtz/1Ecjw28juUUeXIfBZflouvHQ2
o6/dyQ9d+BeqO3SLsFvo5OewJ3iSmCg45/g5cpuG8fojASwKAOpUTwHZh3n2uq9hLzstPziTT7/p
RVwDPmYoXcFBm11a9Thrddcjbt7aZEM1JMvbNbQ8UbK1QNhCV2L3b91/pZOYzDprqmRtxQYxfzdq
Ogfguhz1lmbT+FTidH3nDPLKw1c5DcissAT9MGAwEZAWX6OtFEbQpEpuAMnb/qPR9/+80v8A//hk
2l3WFvG2+Hbuokj/9d+kUs36T/TbFTTdQRxU8JrEn/wmmJ7Y1cj6f6KCCbVN2KuZsgr0yv9wSiWQ
UjVKtQYHGjxQsCr/FU4pXV0nK17EpVUVVdRaqHWfpbJlRUE2QedRgbOWux9zLNuLotgnA7/7/f86
BR0x6RoRkKdR0qEPZ4jGs6mlSWSdCHDxcmsrB7PNdON4wN8JJ3FeCyPRzIV7J6XnMqdCrq1Fr8xR
6soVQPIReLH1TTT8/Hos7DFHB0NNJlCfAtgNM8fcKsZ50JI+i1WXVkdpM3ndxQFVUcc9YsOJRX/x
+ac5i3UsC5ygefp+UlshzYgLNE9lG2Hs0Zvwiu7tsi+3/KcEe/QcBydJQCzBX0CVLor2ilSu2TJD
QIE6edCGkOJroblRgm5DtuDeoRfFO3iuTuhpTOYOPHarMMg5Bmk86tshWEPBizfNZj38hXAncwO9
GB9z8c3WKK6LFlD20a8Bd6gCy1Gg1w39alj9hSJP1ZJF2/2OJ4sQy0WJFt4yzJIs4P7WGfpCXEA1
8ZYBVLSXbeC3Yf9ZhCkE1qls1uxFqa3Kdjxi1VIfmH7xflvBcN8b18aPiifE8n//JuZ+mKmJscwE
O7EcyI+hHt04mT6gqgRc7NCBbxRbfl5Y5CDnupc06beejLOXFybPMuYy54DDTgUroZmMS9yxkHCy
sKXSglF9oyqu0sGMeIGDueZz9g5zxmHqoXELSV0TlHx4ibAHOVEkqSsq0DEUC09JGA8D6iHWR0Qq
v3t8BIWd71REQ5bWFQOYB5390ObUN2KpmAXs0sEYyF2wa6VQDqJAn9AD6HCXilzxVgDi552iuY6b
+Kn7aTV2BeIUv2B4mQvPfw/9ACcTLOhaIvY1fg/V4p030UvUwNXIBNKKPPQPfW6Ph8TjLq9rn/V0
FuivOolqrUO8TBC2cJVbqD7BVpxKJaYwFQzQVndIwNekZm6tv7+yjMa5hd7HpfmPmGdx3ABn5eYt
dARnYFpJBHJB7ivTdxMknq8X1cX4DMDa0Z/HOWagf8yeMMugxvrY1DMEodBBrBpnMng7g1G6pGqx
iIElhN4loAgXF9CoiSyCuyIoREF2R1MwNbWI7ztUBgrgc2cv2WG3gv9gc52GLrYME5pdNBNomuMQ
6Vg0yd0UzKgJ5BsLAsOQAXK/nkmm6HIcJcR3IXmPBjEFPpyvlGIx27wxECoS28PQUBGxSnciOd7l
sQwCa+rqXcoR473YE1giaJ1i8oDDMi9ejSgyT6BfJzqEyyxHbfKbUZhuKzixfj00tqhDx3YWh5nG
qVJh6y7FQJb5iwcGaxeYdwYUDzyK4sOhFswU6uanr5y4F7cFxKXehTi90SvBvfF8TtdC1ON1BgeK
Cl1ScCVwKxDG6T3VB1+GD227Np8W1LFU9KQBrmQhK4kmjaWiRnAtlTZdfwtxtHV4/3pMlwco7bPg
8gsZTSCf4BJyPqaZdATGosDEjFF/yDrL1tpv0qR7U/8CKQhbNsHgVmD5ZZmhqRJfNsp7Y4T0VS3a
Q27YRnwjz7Wdry9WDWW+dQ5NscTp2wTVuHLa81eSw+lPZVFSczUWcVali9vgeLsT6mnaG2JmFZzL
9OVRcz4lGnOGC1KfwW4XU0Ifb7JXP1l+Eyi7+B5CG2H+kR+Wd/lxBpgE4udBFZaHwhdTv/n+r8N5
6Uo/GzK9bpzk+2iIogY+24Yr3svbca+EgqP/TF50W/WzLeaAd6ZfyRpn8ZjrVGqV0VAMiPe72209
iC/ULSOnz2WQ5SVITuEqJT2nfg32Cc+Bhe0a/TNcoFlkICqB1WZuj+YQWXOmITy8aj2pgu+WDprw
gv6UQLU0d3m6y4baXqytPrvzWIOZ+2OYbqAAcohACVyiGTRHza6mbz3SAroGnKR6eZVGbgPKFFhu
YDdEkb3zpEsxa52pAQiovtUGWJ2QOgDkzVYh/GWIgLCrTwq0J5fPIpYev96pbOWeTs5ZbCbrUX/m
pktx3QGoafG7Gyk03dYrd8kNeah+/gUk4Uq6w1PyCLrUYInBpjsIl1RFUXX0oJR81Sm84UCltZVA
9eMfMf+dciXdncZjtbWbNe9hZd3SeIoPVqz4WSY2xV6iQeDWsz1/avNfvI94YZntrjSwnzZbEc+x
CPiw+qGDXGQEbhnn813JXmejY7ZyH5NyHGWEoVtrWIPhObsF7R54y9KLRVQCnfaTdwngDY3ZzhCU
EuZG0HX4CGXvBtRiZx028+XKOfcvX7V0af5ZKQazNKtandETU3V32a4+OPKOAEZMDEc5/BOoxkVq
mGd2suW1Q68NT4FUl6WiRgxEEDO8oavjPGpxx6lSeZeTl3TGix3aA19/OXoCnr08MLjTKMzgkmUs
Sog6TccPp4Q4AjagnYf/Yq/6uL1Pw9DBnqR6NdGMLpLlxVV0FFYMF46zztcDYYFTFyGYQgDacFZq
6unsdtCDQN8PTC3Mly18TPvxmRy4hYdrS/50SEw6H9vOmvsZ30fcgqEMxjSgB8G863ys+eT+NzGE
h5m5miZPg7I9sEaB0NaM631/7DVCDfhDuaHQuqP6uW89fT2pvDXI3J+asjTlHLL2bqdCU3IanKGZ
/UHi+DVyZpLtdwFH1/TpuizuSlFAqGmkYvD1OHgRmCxo1NDIKoFVhIaIei8ZsQtZpfDrELxPwzaw
qhKOl0uEJb7e6vegydLHFy2MDzjRnMrlP14ZpcfjWw94cxnS38cC7AXYLekhEp/RrwMmJgQAQtzZ
7/uQIiTqrfn6FxGvHZqqQpkSBkTpLzCkBbawCBoyxEQHOfKIkdi1CZG6St5MxvRzAb11ED6kJLsd
kv6uytr7pn4bhQ1npulOZnPW6a9gNkGjzuIIlUHdnd+0t37TgQc1fxccQBdsbSvuWwf6MH/R9uYN
ntkMrTrNk5ias6vFHgDvAPc/lY+W17kDjPT2AJxy3d0uly2FFwJsDjgM7AdZEHRt6pERm/Hsppbp
dNleKmSXM5fXQgD5STGnMOeDdel5Yp7SDFrhNARtHrXdvTSCfk31+HvPKKGnE8ojkAu8o/vKZgG4
EIUuHQ9A8D9Z2ktWCSkxJ7mF3/PkaT6Af/h8vTe5gOn9RXvyMo9BWhOAO7xsNQMUGCZXKzDrieQi
gRiMdKNAB7Bdbhep583lRXkUG0NFu8UC1xtTir7K2SGXtm2bQSgI1eA9ecrDFWr8xJYrsMPEvwBo
siwMHHjn4einPT1TibVYo45waqC95Q/RVnElwW0OArgfo5c/0anMH4mngHr6yIefXXkugA8NdL6E
vzCrLNBbMNRFHAmeC7/bgNQ/SIUxjbD9i9v6lQ94Fou5Xy5Z3Kl9h7HWGG0UpOEQDJ+0tKXi0Vav
aC0nHs9d4crWOIvJfM4IhW10t1SML7MgLuTgScdbMbxhMZ9QMqDRpyrr7ymkZGEpVFU78alDDOWc
kY8l5O093rDobzpZNnk/QColFyEXotRep96Ulsgb1mWCPl8ZzFXMgARmUdKv1bv6lrzPjxDuQkoZ
gY2enqbbaNcG/Jrg5U32PCizx2vIZiSlNf9zk91R7jqtI/Cu5VfumedxmNPHyGMgZGLMnxqUT/V7
6kUuVOUhbmn3wV/Y+dAEfH7YnYdjTh3Iec79YmJY2UZ4q49sPfj4/pXFx7WsfLri2TeqMRlmIud4
o5ofIs439TNxjQdKLUrf58+/GNu1hHmSQQzm8JHLSu0HE1MJ5aPJTcMmoA1KCB2BvLxHg8H7+rC7
mjFP4zFZhAwW4OEl1mXndS/Q4Hcwoz9BSDCdeaMhugjJGiDql+FN9/W/sGrkrR22z7PWstJ22XHA
olM9QKk1A6eWWpM1Ayw3uW8U3gQz+aVoDK2oVwwYPjsBRbyLt9QEGoI6XgSm4tfTy0lmLMmjI0vU
VS2SWbzqELGx7BKNojmP778Owzt3DCa7lLGc1HKEONmmvIME7bFqk4TL419Q3Olm/mL3sVdsPVVX
AgFcukJnt32CoLThR5T+RglNk2vAcfebpWPn1wE5JJxXy5ULPt37sC1CoRREKhb50PcSGpy/T1hK
JoW9AcoO6IlVm/EG8pThxGU5Xv+G/xORxU3p1ahByBtzG5XNHkwkiAj9IJDV+voTsvoGx6vLycBY
yPNaCSp0eZDUFFvcQoNu+DbcGGG1rQIDQCLoBtoivBt8y+s9bas4UMQdgx79v+51/Sa72ZaHCPxf
Mt+fcTOZoTXK1WgMJKFBWXZmai6bbgbNT6iy70ZqoMcKjoiwQLxxMe/XOj3olR6Wlg7PDiF5+npy
rp9jf34Kc+3IW3npTaVB3UevghaOHhHMsQthgbLcUyqjBbxKXip9/zooTQSX6/xPUCZRlHqJl0iD
776oUHvTIPlZOF9H4E4xc+9I617sCagxx+siCiYOMQ5VoLq0REjmDfngntS8QTGJouvUpBkqHGed
V9xELxNSReEk3yE9d9P4leBED9wi1NV8AS4/BRGpOE2YE01JltyqIuQLCKMfuQuP6TbfRnem26N/
V0EsaNlXbnHLP0yP9skXn/AkNLOEFZR6DYE+Bxpv9bU30atvE1d3oVbsU/dsyLIEKWzCt7pf3qdu
tUueB94nvj56C5I+Fn6IojBXsESJIHwmH7Pl5NXv9ZNgt7fwJqIIyHEL3UEXTl3jPYxp3IKzgK8m
LuVPaOZWVuaZ2Zn0aG8mgBTUwFgit+QFudJdR0IG+45qF+nIyswaNro5SYoS24RsILyc3iwQwEKV
B1ZATgqZiPxn/bLsezyYh5BbX6Lf7+L7nsRmVrNO9H4dhGOlVvFTlHpmIP2h5g8JKrl//IvLw9Up
PQnIfM186lpiacevaQbVg+xBUshTN1QPY9hU/njgM6uOD/GvBsl8RmWB/9ZgIWbn9Xvo9W9mNMEL
cDgiN95DD/Be9slfUKno3F2GBa4JUB+YbbD3srrrcjGf0H2yBrPaK+r0fRXRA+2gZKuXIrE5qfBq
YlL/hGOyrRrnokp0ExZEEHXJ3lcrMPx1lzvpPkmduLa1byrXiJQXk1m6lZngKqPA9giqCT8LRT2M
07D5elx0QXw1i8wKjcDxnQcBIRroZaPhrmejt6QQjJT7fZPyDMN5A2KWJ2Qc8XoYrcmFIrszaY9C
KnDy2fUN8OczMYuxGOW1rCKsisTM7DKSvKwMo1oOv561K/0lmlT+hGFeeMuSNsNCkFQoarJ8h+is
W3zQhD24QjDdto3N771zJs9kKCZmPQyTBs0otwXUQTAhMDe+fz0szuSxFb50MeEbMyBdDdFjWmQ2
geomNWT5v0WhSfO0mAEn0T5OMY5V/2GMNzP0mKv58+sYnORgMhcyiGzP49xjJG2mbTJTOVSqYO1g
TgGRVsKrzly98wOzDbIyKoiXkmOWXie9uCA3wH5NIv4Uw6k99sS73qugqZtvFGd47J//rQswVJ6A
SwBmHA40zMVlgBqolrcFRR3FIS7f0HJzDE9Q/ckdH5LtYMP07utpvfqOOw3JfLuqaFvBXI4hUUhB
ZcOA61d9A7ojdLz+j7GYb5irZptqDWJlafszK2FV2UTbvtEPCZnu0qH+SKBuGsHGkRTV/WBMK+cH
0FTBpkYKVKXaZSC2si+5dLASY4A+kJvBMmhoErtR/WjaTNHgt8lTufAEga7tPqrqAOQq0PMXekDL
OtfNKMi4zwsQADbK5X3qxzu550Jxr+CJpKN+xH9HYr6iYC2C1PV4ypE9ZV9nb+OeIhyU/+LsvJbk
RpJm/UQwgxbnEkDJFmxqztzAqAZaazz9/2Vz90wXqqxB7sWY7S53GJWJzMgQHu7MmWdv5o/Lnc0Q
JHfn3ZJBUE4lPPb1dwAQv/5Gti6+4tUuv1j16ivrbYJMB10aKgMwWT9XBiDWdfMPyVE9SqetaP+W
E325yeLPXzifcGia2tEwV00SGIDproZ5eePg3lwSxBmmzD8CfnhpoyYCk61RM6g2Ot/7dzVTgPoH
wazUPyFE/X7L/dw4N8D2oeXUZHCqSJZfmjMSINtanpq+1cSfs2jwDIthC10L96+v67Yd5oqZ6EAE
er0sZqRIlKiw+9kI1FlKd0USe1K2NcmtGuIHvzwS9JfoLglcNTG7dtWkSMdJH+MFYp1KcSSy+gY9
Scp9cMa0O5uYT71PonQY3xrBHsUHNFQlyZe60pULyF0mrQUCtdhGPx0gmQEcht5K9inJ5uQteobK
4E1zY2QHq5Ra9bvVwIfOINSs8JabXZbex11ejG8cCArMs15NjHE3AK+emqLOEWop7e4pySUdaHUm
jYjJ6LwpIRMFvA47OYybxc9TBg7cSa719pNWtg0Vp9iIPuijBMjfDOeCUYd41OovTcLg5lM0aVL/
OXAWLVC9BE2y6TjO9L6gZSQECfbjEHZvykaPvvV6lJr70emRJjCdrp4/mXXdU4ysgyL+NFdy50C+
Li9gI7U2lXbyWA76XuUtbHfixv+VjkbhuFMXyEXqquGQLB8WSalU59A5M7MMrqPkXfkjVfW8OEb9
EEd7tS3afmdHFcIHkhr1zMelwaS+Hcs6gtI9ReLpWCVSim5zHSkQt8wFcDdAMDm5NIpnn7TAGpt7
ZKssBQR8G/UV0nBFhzIErIHB2eqnENnIRpvmD1G4oPepxXYj3fdtn5duPdGe5/+oRZRQpKyDDX/o
ftqhXT7aqV1q7qBIJkpSraoenNwZzplSoNFLe3TuUMWt4p7Ussu1UzfxryhDlFn7xsnmd71pde2h
BaVj7LqwCE1vSWpN/hllMUKfXZyoyQ/bmJSfaqZazUlr+6Hdh8wwaV4dGnoJQiDNNeaOrDTozVNX
0js5OIsE/TZCEhQGVdeGiUVFEEpv8wc9MiP73KqVwXHKly6D173RhuVjxRj/P61mNBm6VA2ij9JS
lf8MaTT+o8qzZSEolyS9S480edQXbUxh9B9Qc0PiWmah7BSNQjNvmFp1yxA6cq/g/C6uLIBr/Hkx
5vO+0+RErt3AQivAy7Uq1+5UZ7JtL0chyf6izZKsvNO6OP+ZwsXCsEpbBfu8z4PmoTIk3j1Lnd70
STF9VdJy7g9yVFf22ZlMbXhDB6eUqa7NfYpCRdqM46mshf5drjWR9rmDDSwO96OZtf2HplFOdJgT
R2OPImk4pCYHrTsEAMbfFFWOs5/R0g3IsqZ7o6rq+UOuNwjyCVrEL9pgxooHDLJ9aFWzYaQCrNWE
mMZk9GctmMZv6thLpLuptJTvkbdFSXaO4sbxlnTO+rsG3YJpL6kpKqxwZFZoZ4VvomFSqkeFARnl
MGjO8lfXLznVLmkWmjxNEThuJ0kaHIQ0xhUPydei3dXN0qtHQ2uT5jFu0nz0uWkEsVkbBsEuTnuj
gKO4NdpPdodOyU6rrSZ6nwVVYR4JKqzkwa5l5X2RBo9DZS7BByvXO4CFTQwh/b6qRu6ubnK87suU
//y+sIcZfTuzkn/IeaT+bOs8L3YG3MjKeVahhc/SdJYM15474N92bTPfBDePJb/RNCmX9mnTJ385
UZArQuyEhlctJeAeuOo5BIt9VCcV0urzop7a3mkWZsaRuNHQZsmKuUWZdpaivSzVTu9a41RoTCfr
eQRWJkR1Nh8be9yZaomMsLrQK3F1tBcXCzkYbbD2rQ1J/Xgf9oOphvW51tRaReutL7Is3Ge2UG1r
p7yqwHMGQSWH3usv1lXvRhGUpKBteBThT7PWIdyQhNGMkAe0QA/hYwzpIQWmOwhemP36H5A2v6wx
xiHmEZHpXL37kyLniR42sS8dzYMASNh+dTdRehFAL+m0OXsjwrTLdxLZUcj3bWRIQWWb4sF+EctM
ucJ3QlvqGQfC6sCAGI+1nz6V+21uhfXrLxb30tiqULA4rYJEZh37RXI/oJViA8HOqJi+/sXWedva
ymoL+07SG80qYn/Q2so8GoU84nXagTZKFof5Qx9Plu2/bvMK5C2MQhwIeBrhKAva6Mt9jOdAMRH9
gJpiDxXx93knqq/586Be7jnvBNxXDMFHO8FeGL/ZIsm4ZR/uXBNwGJAhwsXVosuc/9EIzchneuzt
AI/VPzMFBfhWoUH5GD7k92jaz4hbPiqfsmNxbsBFbnUdn5Fuq7N08RtWdROV+9pWCr/BKW1m12bl
r1wRioJpsi/S+jBbynlRiqdlXrxlqN8GqgZ7iCrZn2Kpz+/lRH3Uy+YelKNbzAJe1lffa2t4lxb6
A4fmYEj2Ha0xsOlV86ZNEMvUqw9qYDzVtsmUE/+apQ27sBwQV1bOUwCvl95351TW7nOUO/LUhoim
O0lxfewGZmFT6wl51z93F8j8MpiqgN9iWnI96FsxdcZIH7CR4YtoBIhBLO3duNepm27T3l3l0jQJ
X1pbj/pOTpjJDZm9N5+bE0zwfvrgPMCK7kV/3itb21qVCrLWnpAswNboFVAc5DxTbnWc/hFDp6nf
3/1HW/r79P/Cn+XTr4Pzcv77qnP0bFCD2VbhWqlgDy/vlN4UlhSGGOx8+21wgBHlDiU2ymPII+nH
/6FagEEBTQPH5eALr4Y/VS1DLlDOSLUwV+2Dp/ZL4Yq2Oa73w+sO4zo/YRZQYfST5QH1WSdcg9ah
slLPIf4CJOMBzmmOyG8AqNa5KiBCNg7hA4Dk/Me1X1KVXq4nfUHTmbGf6C/BNN25AA94T7pnDvst
sMX1V3u2SGFT0D5eY0Vjsoo+mxXHQ6puJxhHEYU90Dw4CyJvhwbU6xt5VUb9tcJ/7a28juVUc5Pn
zOYlp56xJsV37jLIeiyveYYVaqkrH7fS5c1Frtx9Ql94nBIWmZwGJnUL5oRt34ZpxTkU5/5OO20s
8uqZvtxUc1W3rZO60MOJRYrOQf3I2TzpbrerHsVz0m5s6dUzLYw5jHtDAA9XxDoGUZkALvqUMzNG
DWzSyJYVbrtJeHrLChhmQ2fWgcu2tpLrhT7o7UAni5Za0D7p4Ycq2UUSgrpD7WmleRfO5Fft7JnN
+5DJWTWt4V61PDvWNl7v6zO0CkxWZ8jIdTslvwE8fF+d0tCNd5Gv/F37OXOs9jE5W36zN3cb31S4
r9VzeRENrc6QZacExMzBEXqhvvhJP/8a220ghmh2Ageo+tPPbajHVaX5OT6CV4CY1tRsdd30aow2
NPqY+Mh80M/NU0tpCYzeWRSXZF8//gap84qVB8Il4r4XFoWTehFkVsM4BKopIrL9cC8qvuHzfPBv
MFGsy2bPlsDNCBYtorH161sjRe60GXuqHvSziowAiJ3d+GS6gk5v/lZv3JTn93X9DQm60EkkvBLM
x5crm1VrMiQ9o7Z5qB973LhygFz5d176WysTa3KA/YsXavX6hmFcNmGSC0vhMfkicJWZO+8dqJxl
vtlWjfNqhJad5F0i8RFwY/FfLleWFQmK33oc+YFTIbPE/PMcVPdVVXzJ1PC7Ec6HuIoOhRTtyqbw
i2V6APcPwpqRDpdR1l0Rl27P8+MpJqwVzuSFvb4rF+VrmrfvFl07KJL1eeNG3Thn4i2ljQG0XFbX
nDQqDOnpTOWDPdL2rRufw4NxUOGl2/KQgkVnfXcvLK0cBjqjHWP9ScTdtfke1jfgHnfCawhdkqwh
RkGM1o3+BkuU/NyEI1y9Bs/f5t91rr7NXAXxKGWsc9p39wI+XHswuz5ZhxIdh01auqsQ4tLa+u2p
tMRMEgdrPULFEPA9z84eprMgxpSRjtjOgm9kcMgaGRaVaLAWV2gaSgB11eaUxtAv9pz8i9ZTjdA/
dMUmSfCtE2MyiUC0zlt3hVyhkM/sdT6JWxW/M44597f88D/heYktBfmPzD9irmN9n3rHTsesw9Kv
E0Mgdvd98fKn7rCJf7p2FQ4qdyT1DBzDur12gnPvOJnSpCFOUMwHiXEkJLawJiLM/k59t3Htro8j
9iwI+2GmEsX2VZw+14s6TPmC2pVfnLoPv1Ie4zCeSHk2xaCuwLxsJMYY64BzCrCVLH7Ni8ekSVpa
akYW8slmNCo/9AflW/tWCNA1O9I/zzzWH5QdqME3TLJvJrnXkZ8wD7M5YhvQK181FpRSyW2FAjzD
Htp+X2N4cMX4g3xPWdbfJFa+tbdwCqN75JBQXk2D1l3YMG5Yi9VO9/UZRKA3ndU9SclxPG5l8Ddq
XSzuhbXVQ93qEwSCPdYM9xfwVKGN9904aDt5m6bq1tKg3HLgX2FCh+bz5YekCy7lBqNzz3SXrWt9
Dp4MpqqSd90h+bnpxa6jLTpmjKsIli/KNOuXOtWmYohohnjGG2WvesEnIVFQH3Ti6CpzkSjdw8LT
ueF+6yW9EW/x6ciETAPSNvp54rq+OLD6tMC9MOm/qI0H3z6nu+y9fRL0Uf2P1P/zSQWRN9NsxqcR
wF/XgkI9k5Yxi6nw/E3HAKaD4EmcURSr3m1DaK9fQoxpKuEdyg8wm62+4pDKkjy1qfiK3Um7o0wD
M/22mRshOnbwM9RgkTK6SpjnSLG0jvwWkujysXkzPMHI6ulEQM2uBZVWpZCob6Z51w8R5RUZZQGE
x2zq86vFzS1pXt4YorzCoTkjAOz1DwmupoPWsfs6nxqvOGzeQhHKXQaVwqrO80d9gPxodWCUsnOw
GwUkl/GxAc2ZetID+gwP2WETICEClddsrW58oY11Wghb9T+2AXQ1vjsNKEzuB+jNzC/oQ1XuPQXD
twyY/Xm0drnM1eamcZtZ6oDpDIpdYMHv44NQNUi32emvIhgS2pep5ipam+pomsJ+dKCHLqCHrt/W
ns6t+LE89n50rN+n+iZG4Loyh01a6RRBcDbCzV3e+nJKpd6MeiiDDpRhJ2i0OEV7c6/9hBB6t/EC
X31FjFmI1gg+K/ip1sRo9tgqdj/lDiys4hOiD0iZ7AF8KqrqpHXQod6FP4RbnXM3+7Jh/Oq4IpCK
+BT9Cgu2fQKOy5UqRWnpZrlYv47r+2gvLoeyGz7+Rr1z/SU1WH00RiIES4mARqwef93qZS02U3pD
x/jr/EmgcCUguMEb6W+hYvYb3H+3LdqwJei0SHDil6uL1UKriUZQm2RQ1gk+IrzkD0z7G+eo3Knd
bmD4a+vJWL9Vv1b5r81VQDXEelXWTbj4Vu8giX6qtR+Omh86FNn7aLMOsfbga2vr21EmauGEDMnP
58GXCRedwAuROvSUxnV2gmTAeTv7DVRs0gcl9KfN+dkbW8yxRbtFR45GvVLqKIqpQtIgsvzqu0mK
MXjOZ+GAtJawCngILBvQ2Rbulne/scsXZldfFniIZoYNZoMB/XR7vjPH9JhopWvL8cfW3oKCXb1g
7DP20BCzKPvwNq/sZaWkDYMgVSjup3vB7jVEe6ll1gRiceDNMEkG8q6R3HiLHv/2/v5reNV2M9J4
LCY4MnzYYfd5vXi0NN9uOIF1MLde3OoQdU1mFa2EDREG0CN9gn2uBINluwUUp5sUmVdB1bM9h4eZ
GJy7ufZ4eZEoFlOfghBj3CmEcso3q8QXtD7qd65CRE73593ri7xKPX4ZNQRHJFyuuL1LX0A3Qq8C
QUCgo/eh/wNN+rwr3+m7xO9k9zu6Q6i55PcSLe2/zM/bIK2rJh/2AbkYTFgQHFgAjS7tm4umLBD7
QEV3ir8q++GDIbtc1oXW98Fm3JzOop/Lblvtio/J1+j4PyWyv34EaDs0dW4UWWDIMxmZCi1gy8Gh
ZnSrmX1BPRHczUez8F/f8nUAtja2OlapAWa+NTC2AGbK5wcQLn5Z7DV7Ob1u6PpAofP7TKdB5HyD
EIH+/xDPggZP+HlRiWWg3kL+TSwNpb/3xUc9dDdsXl2alU3x5y8yA3tahsCo0uW52U+ivjfeNTtS
SZztduJ8ldzxWtrEQbCGUB9DNXrlfwxjiUpdiwTR30RnMt2lD4I641dbRtnazyvvurK2cjpQdRRK
gPjc837qTPaFOxV2tV13Viy39eMnw8uBGEg/lmK/sa3r+sfzQk2CLwCwjpBAutxWrSySsLR40EQ0
RAsWxAahJV9SMBo6/lb948q9ipW+MCf+/MVXNCNDrqKalcqB7QFqkdN64xbc/HTAM1BkwffQnVwF
BFU51aWmJRbzRzKx607MzwXvFa+h/9M8bILCb53Ll+ZWt65wqr6cZMwxacss1/ggGKQFmlf52jHi
tPG5ru44+0cfCJ8GpfgNHXPZkZDh5Y5335u9jfjvrLtK64nQw3abR/DDoYcYBOgzb8PyuvonDgpw
CZPqA6rtV3L0ndpQK1Oh7hFdNeNZHLHfW2f1uLXGW0fkhaG1lLRllYEOsm/24yTY1RosydXGob9t
waaKSQubounqhCitNsYFlTE/dz47xuLq5sPrm3UVJT7v1b8GVmciq9Ig1mW+ktbsAiM55NOjrfPc
zYqfOr0X8+50sbN1NraWJX7Vi7uVzGogOYk2c5VpJY+H+W/RaBWlk3Lw2ifI4Lcd5YbNdb2biYDU
hOhlhktWc9PuYzknu9f3csvC6h3PrDZJlJxV6RO8n5nXde2GhZvPGbfqv+fBXD0tJbSmvJuchxTF
wE8U7d/OJo2+CBLgU3RUJtf6X4D4zxdKTJJQ4wYrt2Y6BptbjYkhto5Ee3izuKI6ygv6z+/Roqm3
Hhn7hT2x0S+OxziCEwx6ZfZTyCPDfPTybNmljfGULJSFS55xtXAr51Oblm43/ZCqp0X/rJd/VaG9
t8HRGrWys8zR7Zu3IJfcNLmfo9JtovwAptnFK50sBr7L5k/R/et9Wj3FSpPYAp2J44kjBv8gTG76
dyWz17NJ+0jqd1qjv2OYzs6Y0IK9QS/e6Xq85f6ud08T7HkUuChPEFeu3skwr23AxsztzbpSW/tw
rDrraYoYU3lKqyjLfJ61ufoUGEqU3RcOWPK9kuZD6NK319tdmWjKlx4UlHPXGwwh72I7NhV/qqbS
eZOCVO8fllpFUv31y3PjMaTdiqYjFERCU3SdR6mQ+0qDlJgcsmUvNKj0U3wSWu25/xslQHEXXxbI
mL24sLaKY/Qaygm7x9pYfq/kfd3/paLk3ciHxXjv6I0PktyT5bdV+n1jmWL3XzO88uiLM4SN6mA4
/meCfhKaJ4iW2gTwTvFODJRvtY1unIaLha4cfFkjrt12selXRfEIOtk3MpjBpH7cL4UFR24ff9lY
4XWYQaqAVrDIp5BRXaczyCFVaYHENOGvhurdWSADnrXvnonfD1v5/lXrRnzKl/ZWPlF1Yj2LrHH4
T1xoHFFu/Uu00Z0D4AC4bv3XF3jt5i/tre5XOgFdkgfd8M36KUmnaFerSfXnjv7SyMoFxlWgS4Wk
GvSCjS/qjqr4uzg86nSglV1zMBK3pxy3Jc2yuZUrB5YWXQSwm0/3PMkcHRooX591MVrfKA79ss+2
8Ydbx2V1E8ek18sAcSc+n7LX0FAtpsQNkLyr95Xn+E6UbnkaceTXVxCMDKqUdN6AdK6uIEzzVRxP
XeM30VcBK1Ac3dPywpszdNmsDNKQyq2KyU1l4zHVv5fy+8aGyHn6YWrnfvgp1YvrhJvUfTccA7yA
oNEZKmTSb01uLvcJM7wayjsCCcLExGcHhnjkXZZdspMoa3vT0+vn+JbHfWlxzVFO63ce8wIaPfWQ
gz1D4PBou5hzBb/dZkvihselZ63IqDhr4GfXI6lSlqmdLqos8C02yK0Mx/EvoWCQQge9FZg/f8LV
Jxbymygq0cK6hrk4ZSrlk2RRR/KXL/Byh62rmm66Kz3+px08P2rsyo0v0Pe/0Uy+4SFeWl/nBXao
B0NeslRRdBBk1EI7Mr5v74WCIzSMu83U7jrl0S4srkLPmfGWqEmxmJzqx/Tc3ZmcnPEkb4rtXTVA
8LZU5+h+wAgC1GxdLCsrKXHkVoKtc5++E+KYOe26hZS12dSef57BWH9FC0kroRilC4DFZRxoVUkR
qSOcvGmGlIfrFK56Vu6FFl36wCzc3xCReNZDAD4TkgUvoWhfHb72J3nvvJUOyY5pi/vXr8ytD/vy
B62eGiNMmIxRYfW31IzRwru+nrcc/w03wP7+u+bV6yKlgTNPwoRegZB0ReEe5L2H2Hp5D2M8CPCt
9+yWH7gwuXprOikayDwxKRCL8qdaACUDX5Rcs8b7jct5c4lUOinyomWtrNOJOQ87MTRkiooVMGkF
c/HDdBYFOSGHs4Xquk5xObEvzK2Wp0Ahs4Q9RK/yOYC9pzsKTLZ+t4XpuHk2XphZvZ1MyQHlzTGT
G+OjAmt1nm+6NfF3XF0IqlK6/Tx3vsYcOHImM2eGjfqfnOm+2nP2aEH66Slwta+wyWpgv7dBgze9
Kc4UMgEAQWAeVul6OVlmxzQXXNy7OvchUNG9qXCXz9+rhqtfuaXf/exi5mDS/dYEzI2MF/lLjh9C
lA5YpHV5swzgJI16PLkoFSCTtaP9Samxo9goJCi7nyAwNnHZ17UrjCogDcFaAcxcox+URatALUA1
hZjo2xAcyQlPt086d35K762DdKjOQrTF2XAvN53rS7urWIhaUpr3JnYbX9nbn0RqIA6rgYbFVjPy
li2YXnWAXQzAEXGsoqAhC5mTnSLTVxEDp5J7Fz+kz61spFUOr7vNWx4GjCsKmvDu8w31lSM3whqq
6Qpb9oOQ3aVLdhrIeMQ1/I1u8g3/oqgqI9Dk4+giaqubqBeQGxDXiefXpO6Y+TPpltD5FWjhPtd4
8jd388btv7C5+nJAEZglzZ9tDr4QAizt3Zhorgg3UGo4xpniOrCj+Rs7e+Phv7C7+opdBga7UEcm
1BnE9gszaT1JsRoG/dud5MR+Zlt71Sg+Znr/vjHzYcv+jej9wv4qvayNYTHjhHWnn2TQHqL/mcKA
qe+rt9sN9CsxJYIPAykjhvEdklpzDYEMixKYcQW99Xy2D/0751sCbs5v3wYn+LoiT0EXiwgrh/Pu
+Po+30gZgGib4BKBZFDTXh0pxaq7qrIHoF2oSaY6dLeB9GXRJmY1tFLzoyx8Oxn26XWjN7y94dCL
wy4nFo2xy/DHKNtCmZtnvvD8PDr/VIO976uNotWWEXGwX9TaIPxoE8OGDkeSlPu4BEgS5J5k9hsH
Rfw1q5frYi3rDSwbO44TzHRLM6PUXLgFJAfe6xt2y6ddWFndwsoy6jqYEduaqfwLBHV4Lo7yXqOc
vEXgtrVvq4s3xV0QhiUfx2jPkgy3ZPpZb9+/vp4bm2aikU0LA08mqr6X3yarOBZVjA21SaErAn+O
cvnrJp4P0erDwFUFEE4BrmnSdr+0kQRIrQTxM0XbvBt+iJk1WFC96hFwqFttPgU3tg0wEWx7TAiJ
AaH1kspY62ZAo34xPpZId8kJYmTD/vVF3do3QcClOOg9Mua9WtPiVIU0y9B/QmZwksvgG3CfLY9/
ayEvbawcX6XlEmINUPK0dfCQdj8aFNXJjf78diLi9u9KVpFXHskt+t8QDeXAR2blocymsxHGG4fg
5n6BS6S1Ck8MaITLM1B0ge6oLfQtxvI+6n8MQAVf/yBiw1eH7KLSsPrq7dyAF3aobTDfseslSFDb
u375XGTf4yHYsHXjw9AEVhnzRPoO8NFqMco4KmNRxIYPgd3dAMhzkqfRg8zlT/nkeIwwBGbEEGw0
VwVrho8hbujGzu/qt0Y0uEmfHNQw2Xh5bi7HId0Ghw9/2DpZyix4GgqNIk3f3UMg7IYm8LT/pfgu
qKVwMjQOAIuvnpoMjXOYpRFwUA/NvUFS0YCFK+9FUu2cNqFpN4IWcTGB3AODFcw6l+eNgELu0qal
2d0mJ7WaT4gudeYO7oePWT0xIc5ISqyp8HD8MUsZH+3CtHppOgylJO/ga4S5y1fP+i7epQezQdhK
hYB5c6Hib1ud+wtrq221orox1Ahr/61tGgyU+cNO20XnTt+ELKg3LvKFPfHnLx5zbUmnYNHDzh++
LKUbt24YuiEqTVCLwrm802invJ12qNf4mWf4FFfPper/XhPvVuJ28VvEwX7xW9SAC6rkfGT9AE0O
k7SldT8ghJD+ANDpRwfzUA0bAdOt+PDC5ur9n1vcpCzWn51o+Ilh75DZCh3puf6+34N2JDrMtodH
xHm9/MxkirCJUILjbbsiBzCaNInVshCH6h5x7n0mqK6b+24navWbydT1R76wtgbmYmupqC+KjbXT
o6mAzFNg5O12MpAY5LlpmG1TuV578Oe5LaFEC58Ynu/ya1ZFXY0znAu+DR3NYFgumsJMWPw9yt+S
8Mvrr8U1pBIBEpjSQTwwGnAdbdsVg2k67FfPBan4OE8g11MP9RV4do4KBJrecas8fWtTKbtptB5p
J11xBMSpXdeJgnSwnp+jPNvBd7QRlNxIgoWsyr8mVpcz0ewBjRVMcD397K+cUJtZh9aX95kMEmar
WHQNa1RIk/DonEtZTI6tLmDt1PUCf7MmLkO+T55iiqXGbkJUPARfLa4FhVL1kBR+OnhZdhRAw8Lb
zFCvfSBf0WGCTMybcklWzt4xgtowC35GuzOyvVCFgCzNR571mfpmE2R9Y5stzidIOFEig6Fx5QPK
oFn0ssee9r7f0UkhoF3eirnr7jeUiG5kHJfWVvdiKPo2ylus5flOp9UZ7iAAC5lYU0GtbxbDbuzl
xdpWQWc0y00wyljTmYPW/PisG57xMLOV8rH/3G3OUYq/79Kx0cHV1WfIHXiCdfChQp8WlswJIeEt
Rg7rg+TV/jiQbYuRvHxvePLRfCfOM6j2DSdwfSMvba+uC7FKoQdJkIOKFcjNYg8Y1zwJNK7s1+8L
z9hWlL1tkpknqn6iebQ6qgqKrqZTsFy42uZd4VvffxE5D15ssN7U/43i+5bNVUDSV3UfWLWZ4+uU
vbWnRWV61mMPUWvo9cgv+cEu/fz61l4DjiGj1fV/17kKS+zcZgJBY50dZUYmH/a29lnzl+OzYAq8
50/FTvK10dV2FZIF+8q3D3a/5Q7FPbw+W//+iNX3lSCQG0MmI58FBMpHqjfHBfG3aB8exJi1RLuO
Qt0mgPX6rb5c+9orxnIct7FBGfuMLwI75eyMQ+DS9DxuCn7cvj7/LnHlipY6VadWt8S3hTMFPsHA
VajU35dv7ZO1k8Ek6h3Te9OjxTgEUuCvf+abJwuVObQ3OM5XNSsnKq0kE5eXeVtfHuCpnfzXLVzN
yzPIbYBd//8mVgukPYfMNbh27qhAeFb75A3htJe8EcI/1sHeV6ioNI/c4d3m5t7whUD1cYdQj5G5
rAsXSjXKS25LIkjod4K5X7mTcL75SbQ9t+p/t/z8hbWV583l0EEhVEufr6nqFX5wMu+dQwZZ3FaT
8UbkbNOPY7DDEHPextrrZgH0WkCTdH+EpKE4DqlZwUmoLtFHYy7rn2Eh67lXa2ayK3LpTp+M7MOS
2Y9yK3emZ2axaboK2k9HsAbFFmbgSjOBRBSWZ52KFIhzuIdWPjLurDjJE9vwZb2zPhhzszDaI5eG
X0MpiaL6YtcgUxZ56A6zbT/pSwhYUBmc1JWiajnPRjB8gVG1k+gjTVMPKXYnpV4hGeW3RNWmv1t1
ApaUFtBieBVkYw91o0w1C5qWw9QpY+C2Sx5+kLKwK1wFytHaQzfT4bgtRQxHRVgtKbwWSQH7Px0l
HexdCSd0W8C2Gznt4FdyoHtDtYRv5aIIHTdLwqbz20KfUxcixV7ejwGQOW8qI+mxrkem0bVFiX9K
jV0eStgP91rRTkLHpWPCuM1K+WdtA9HdtXIQH3M10j8YYVUnrp2q0bs4VqrwCMhuNN1GS9VvEgpZ
jUuHN8y8UpqLu0QZs8hVhiH8YppR8amNDHsfToPx2JNrnKK+j+6nWB6eSsXpk31laTCHa6oEPYdT
pNWbCl3PYZcYbaPtEaBTfTO2QT8VBvMiUhWFp8qQ00/EZeFHxuvDz6XZRr6RlhkEmXal7Pt25tjU
c689Daaz66GqPEmJ1svuUkvnyYp3yGQ8lWPsCeGkcRh6L8rHH1PlNs2hSkpGL6tW3Tt293mcjaX3
yizTnF3R9AEEwLKeVF+1SXPIRcFMKVDGVeWXUY6K1pNbvdC8zK6t/qQCVvTVTJZ+KHqmwCdZBmoK
ynWY0/0cULNwE6fcarddeUjOMtMuhmXA8UeZcBW8qTwDFtwr6MhmUBxY+2TffGvu+j3fVeSKAgaz
VTZ8zs4unr2VzZUjCSUnn9sam79kFpWjeRJjleqmQsR1ILyytCqETcU0d8bwH0vZj/JvMZxuu+Bt
vOphq/t99ZrDXiMTKCLJCU6YJ+EyP2QER6/UaLL8Xp33kKTuoqI8ZlT4rSrbeNeu00Nhi7lNBkEE
N+NVFyittTQuBktAJJYGni7FNb4JRqDvScY4fAJJYYiG19YbcOO04C+ojukaE2rKuh2jZ1UPaTRL
lAY6GNL3PMjd19/Tm5v4woL4BS9KJlC9SX2qY6Gq3rTDj85s3TnQd+mibhi6fs7EFuLEkUehkQYj
2KWlPoPSeApmMXnCyBuNktKr7rSDuS/f/Pm2MUdMz5fqJVLXV73fZLFCsHYDIcgSfqmn5bTkzsYQ
w43l0O6l8KLS7wUisA7cNaUsFrO2ORGH9qtxnI4UeyDmbM6oDnp/+o0IOgRTCKxNKMuseWOLGU9V
i4gq0fLoS+2kk6vUZvFIrRhWoFBP3r9u78Y1FqVfMVtKEZgbtgrWW6lZZHWsbIC7nmCOFaGV/qb3
2xMkcYet5QmncOmeoIZTDRoBFmCP64MxzlMeK3yt3PhiVOV9HIXHvjlW2Y9OhXDTHnbdH7cG6dWD
BOIUGpRfoEa4PIvw91DXTmzmP6jTq8HHMlW2jrv4K65WhY6VzemAkm4dUTWpqoRDb9h+8HcxuFnl
yh+nI2C5T+VJqBS3T8qD/Hkr/havx5VRSP6NZ0Ynxrsu12XVsNKa5cTBh1Ery5z9OMlupPHuyc7e
LrcgwzfXyH3WTEHbccWkEdQ9incEbn7c2jA0G81yTIqCMxIN4xY/mjhzV0tDrJzmtMosyhrPUQ/Z
lIhRXfAc2h7w7DE4pZ5xyB4FgqvwNiPia8f4TFhISZCg+LrA2mhZ1prSKO43YE75YEFpIbnp2Rx2
opgER4AGHVj4fmuU7OZtAMX+H7vrUqvCfFfeZDjkhKruf+k81eMm0cNVLiOuwAs7K3c8j/bczibr
E3mUs5+OBkyBAg8nRn83Q5Bb1iwmLOBe5eLREbk8mMogF8sQmdZzWqp744ECAPloebKPxc8th3LT
f1kkMYg2QK50VVl19Bnhc0MSg8VChZYM/00KpxPgfAGF3TiZ1280auBAmlTCA2Bb66WVctkY0mBB
JCE/9tm3WtqqE9+I33g6maKkgEIkcCXiGRZaWUHyiv9HrrQ/CMJO282ftoHxt+7zC0NX2p1Op2vp
kOL3i+5OHbUPMIPN7hgpGw/MTTsiEKDK94yuuTwNFPUDdTBC25/rH2M5ebNSeFW31QG+aYUtk3GI
YBnWMVtiFUqjNI7lG1rkduNj5SReam10y295XD7Kf42sr6sczrOmFQHUD8tJnskDg6H52WUoY1h0
3KLj6y/zrbP20trq0uqpCc//iDWLEXIZXrag2FIUvyogwSMs+hFEG3TGZXNVX1HjVjaLqLF9NWkS
D/WV5hynS31ssqqg+dNQFsiq5XGwlurN64u78b3onRPHwNfFzV0DnvI+G+U0Ez5iyt14/BB0Xwp1
47Lecg1MrfPuA5sFdrCW4mI2r5MHi2ek+D59Jw6FcSH1qgwNUWY/NuP3m5v5wtoqus6jyq5i+KZ8
M2h9lF7elMS/Syw/RgMEi0rzf6R913LkSJbsr4z1O+ZCC7PdeYiASp1kMqleYCSLBa01vn49WD1d
STCX6Nn70G3WzSpGIMSJI/y4U9hE8/tV/FqQxQaiDAO3FJB5KGSwZb7w6CchyfxGDg1Ee5MtO8kR
VW4UJZTNZE9mgMwrIJFPoVPbmpP+SKzy2NwsJ6+u7aUIS4W6OsAKgLB9ngQIfjS1ryrDDKXSGkLZ
MrjYFpSH77/12vICLssOLMzWF9Pb9shocWNtmL6OCh3/ImUlTeNtrkIUWH/goQLx/XhXv4oxMQGz
AtGkeSNCi/Rm30qcbgbRuI057yz3ckTGJF/YwyvXHPJJSHSBqEwDu/fstZxGGX6wVxpIEsTnXg/f
fdAXLjio174FEGf43Yie0To3MyVS20mqNwiwwd4+UaGshRSPrj5/v2BXnCjYkd+DMLfg4iwGFbJp
DQhszEKDSqAyNid+VI9COXRkRDZ+4ZO+gsZx9IGZZLIFCM2+HP20FCBxpCCSUE6q42+EzYhWmBZc
z69vIxTSk3X8Jm/+hs7plUcAZEMCazNCTAjqrM+fWaeqPrbTpANDrTvM38juxDMkViHxwdG3xhKh
VFaSaL3oxM3XF4UyEbwUCoOIono09/f9JMqRHYCEYGej09dGAz3sWecyxvKJDhbYukDoKywkZOcn
Zzbo3Evoq06WIg6DtughzdvRDLTIHPmFuz33g3+NwvA66M9FVXm2pro0TFGR+8wP9pzW6VwGqAB5
g/P9Cf3iXGEc1lSElD5y+ug1n5lowas1vux5DcUZBmrw0ADH4NPiZikpMc+xw2ywdnYksSUFrw9q
m59PCQz2UBYK1u2DF6YjEFmwGQNgCbx2vUIjPQpvvwzW//ukfFD/67/w32852OlDP2hm//mvXfhW
5XX+s/kv9tf++mOf/9K/DsV7dmqq9/dm91LM/+Snv4jf/+f45kvz8uk/rKwJm/Gmfa/G2/e6TZqP
QaDRwP7k3/3hP94/fsvdWLz/9x9veQv5Lfw2kFJnf/z5o9WP//4DBHUXG81+/58/3L+k+Hu7l6oO
XpLkH6s6ecl+1F/+6vtL3eC3aOI/QQwMbksRO4K7iwvWv3/8ROX/CdOLB4yBsBHH4xagANAE+Evy
P+H34rCghQGxPVo6//hHnbfsR/I/gZMBPfnvv/fHv5fg+CuY/bU7/4tshfz5IUBJBjkYARxNBuh2
FGDQZ89o6UPPq8x5/1Rb3VZNVn28CaDiE2TEUB3Q5PoQeKUygX5gTdRt/h49yakp5E8SirqpTwOO
omrD9CJls8tc2XfV6CjHR1554MBq1Y9PWfLSVnvtAc53GN8nVUVy0RbFTQEWaJC4ZZUFe60oIE6Z
1mhAJiA7xKPO9zTfQQh9tJrejlGldjhwkurb0D9N+UrRb4R8DS4EFcpb7biO+oB43EqFbpXk4ifp
iF+1ykQKzilPsFOwiQp0fBdfEO2ikOeZcP/ynViRyCOKreQrqQPvTpzbGlKsREWeXCRlTHWPTAkA
w2l9GuOeBBGwUGBN56D5tK28yNL1jOR6S11DOvX9u9I9DW21CvW1MuygTVfRSX0o1YRm6JcUaJnu
ht7tc7foYjdpZeL198LktBW6bqSeJ3x0SIpt3e6bfqWhSsw/ylXrpPzr0FneIsHb53D5z30HCSr8
JB4u1NyHi7QWimcQ+jxBAwhPWGYijeM7MilXsovm5MXmI+ZQ/E6ufB1v5vQHUjsCh4/xGCKASc1M
r6yffaAcyo2et4jQ+eiH+W7AmXUvikEfuQQD/snY2W4E40biKBgqoMcGLESJwpo87CYgTsidAD1j
0W6yR7Gz1IIw/iCZ3wuqPfKm/zaA6S6etqW8Usa1gb0K+hswdWh/o/WFTevrtBk8DLC7r2VSox47
nW9E/9T0cKej2gQaLi1A/hszEvMOAI6S8roj2yWEr0wuB9HML4v+yaBfStlIn9/Ff2/V7ynM3qtW
B8FGbWDlBjsBgNQKFDp0kCOyBGBVIlyMjS5+QIIm7GK9HUvSebsBeB2K1iCOo3CKfauXTZT/wa2B
dkgr820phCQ6JI/GmnYxQTNYbObGhLLnbS4vPbhLa8jciwuf0JgMyASPin+Sb/J74P/vQCtDgwCE
XnxL+AQCZdM968nMsaDZwurN0ANfV2920A0eh0WGLNqptJjaChqV3qWGeGby6rnpNnAZq5eEXO02
NUETtQhM05c+nv384uNj0I3UgoQDJCpEQx0JHkBxmEzFWwnjaRQdBloFuVkuW5rglP6GB9tZbEqy
Cx1AcAhp3lYAk5WxmkI0ePOda4R2KG4G+QUaiHA7lRd/sPD/oF2XlXfBSmnRRyhTfkA92RRCa7yv
DgyAchwj0qXEuBVVUpOJ3DWeyd93aLBsCKJ+b1Wjvxn0cbsgp7xPICQthaSwp4ekJay1HbbZBkli
D1GXzsKf8R+aN+GQJ4RJR0X2KJGBMOxU6/ZAbd1Eb2FIlVODWJtop3rTC1Q7Bu+SSlG/4F89mm5a
azKjx9CnHJhJUXsX6ECy1yPEA+u3HAI1OB8eNQ7jjfYDH+U5oqVs5HVnS28JNCJTBGHm9CZGd2D3
7EtHhC14ys55bxslYRppgy3YQWYLUMJDJRsMh72lyTsc8Uk4V+nGlyhsPd6PVai9puWOccBw4TpR
bkrgv7ybKD2KOhGGlSI8xsMxEldqavvya6A91OM9xDbDzRjRegL3ePA+qUe1P07KgzY+XvgwfzoI
l5d/5kJ+Pb4sIL44PoDl5/rIS+zyg+SkNoPH0AJr7VZ+G6xxJaAT114+sws2b+aDoAQZVuj3808V
GNsERwSQdCVPVKU9Srt48/GUg3I5XteQu5XwNOOFjYDKWTAb6vc3R+UZwP/i04PRU7VBwM2FvoLo
oNFKXisyhEtJWNpGR9B3ZYmDozTHYsPdCrAdG3kl3KArf43QqzpDLsoaHpNVbnFH5X2QCQesWUSy
txFOiEYg4LbpFSu4nSwepAm6ZEm3zZ1kqtST0fvfEW0XI2aF0lV+QDLezu94Mzf9k34r8sAG89Iq
XCquzKgI5pv9RbsiqWI+1wt88XToEiquy8xsU7fLV7n6wD7QRVdbZ3HOB0oQ1DCTOflrbST5Hbfu
D81Apufqhek6xbZ+u3AQP8eAX+c2C+wbtO7UYoq5iTdo+jwUd6kPwXdWkvECUoNKkPSn6HnxEHxO
+HwdlvkxF4dAqtE2lMoYVn1urRi3zU1L3P3OUsDAn+FJw+FEz21rVs0GT0oAMpM7LScZLFdgqsAD
61YnWAXTpO9h6kP0mviyO4oH+JNyS0cPgggi6RCrO/xNOK1GcR2+ZCUZwA0XUkNwYxBDIVldmeW9
qDrQqnMzqOc+wu4abj/ZDOwfjetAsBuDaGhlqQCyazeLFYHr/tq/nYAvPMcpGvP8iF2GBikiwgDO
HFUsZsI+JPSWRSGv7Tdj+0S2CPkG1I0+L3zUQQseJAH+iUmjiVSzi5XoZlSHUEeFBwbc2Xsos38I
VWoISMC0WBFv81dA+5+5P5cTmVlAKKykeca+XN+FUHc8xlDbpRro4WKII8YO/OSxOfBPzfo4trQ2
wFFXima1Tp59W9yHnlVstUfuqXASKvOWiBZN9NU+xafoHEPOdwns8zk98+u4Xk52ZjpzqZYhNABX
p/yJSjpKKSLkdYgqkwHmKoI/L0zuhJJbLJ99W94v3NFrQcTv0cFm8HnPUq1Qq5HtWbatVv2OlY3g
BuKMwkab6uJo184kYANg2UFCD2XaWXojqtFkpxQ6dqbeepyFxuw2Izr3Ux+coDmijaNX9gm/nQJn
zKwgum0nK6t3WufUdCII7RA5Im+rnVWQaLF+4GegetSDSnz8z8H1FRrflZUp5ZsuNRPIm+cfulXl
VlKQRWGiLapvVoWbxxaC1waiuoU7IlpleXbS/Sw50r1qLZh/URIsgVYELpa0wdpAnjwGsWAyUV0i
SJtZk0dBN+E5cuyGqdNaBtw0mDWFZuNWDf7UY4pi0m/5ldyg6gc+Wi0FabOZeyT/YK0SyQCaftHq
drK/zfyRaO3BN3MBkeKt1Nj4YV6YnQzN62ItQIAdCqWSq06vnPeT89dNf9c2ey+443lr4Uhc2yOU
3ZApB6oIyY/ZgeT8UA6F2mPub2+V+xycyyjeb0H/Siome7FoqK5FKxcDznOFjZfHfp4YeCc6s/85
IT8ZnIoHpBCy3NRy6wHMFmDyON+oERUaWi3RY4oLHyzNDqXQtY2U9R8fjOsHNPJYEykjEV5+nUDr
2gNRAxkPoLieiGjCbdRM8VlEGbzeRbgl5evCBlx7wC7XY/ZugkhADxQf80G+DkwNALLanAzXt6bo
ATIDAdy4TbQC1RELvDkzWEAtXfUpdGw8TLgE+t/5JeXlYgonEHCd+HXb3mY1NiTLCJTpNdDwnBB9
8afJyXsyQHUhAj5rtHOZTmfORL0x9kwfCtwcGKULn4IgEZF4QRYW6NpDcznB2QIZQlEEeZoHp3qN
hyYhmh0OyN+PB2EkWyagyplFSSA+8f241w4KKsQG66czUD6Y4zJzpOI4vdf8UzAdWytF/zvorHzE
Y0VGUhoJlg+WdG8DDYyRQMskga4k+JmBcC9WBQ10i4Oqt0G/n9RHnWeWbvg0qdljJ7TClGQdTCq/
ZvKn+Q6H1dvi2aBwYhxv3/6HOI2PF+vTiDMDIXRRpE4hRmQCXNxjAVxIQ8JVuepuUMMwF77vSnrz
cjR99kL1gOtOg4BFH9cszTXulFcmcD2BKL0/qa/GspYKOz7frOi86pUoeRqOI0YE3redaF7BdQnM
KUVi0ejNIQMb5uLLeCVy+fSVsyOdlY3IRQ3GhE/I/yz3tdNtpGdQXn0ovZ4m6j2C1dGKmDf5/QJL
S0Mz83jhLwOPEKc8+1wFCVya7gVTg/JQZ8nH6ilddy5/Up+AKKSGRiaAqhVnRO6oJOkjRBaf+lMA
fubdiLjbd4XY0is8saRa46WoStJDDmqgS5jeGdb/ywHUZ+mtPtD/vIfpz1/QHUQVd+09YN2C27gs
8zc2lnKfYq2Gp+9Xa9bK+3VsZpsuVkuM1aQYJKwWCDATm0kcJ9BLosozu3OdxfTOUbEX7cWPZud8
fioFQJkhLQTz8wX50EdR00piGJy8HTy1sw5PbQIndWov1qCuHYjLkWb5L22sWkEDUdGpSmhdIc1i
RuKH6nC66zxaJ7Sv4JEmwwdNIWfWi0IF16785QRmgQSvKlBPT/CpvUI+VC/qCZ2hKBR4gNOhuyUi
CNcRyi5ehSsPC2S3fq/xzJb2wYRWhzYJTp0PPCktdWS60ZjqVShOMNXgN6/4mWkIXiWbZch6zslG
cypoioyShFNnGqivDjmK2GByRF1Xshkb2EsGoXQzbDbIE6UyqpOxuHCHZ0DjX6fycuIzk9yAHFVr
cmwZ0yBgiih4DR+Z/qJhTsfvb8DVV/BirDk9p9SlWdEPQYD4eqSVTMXG1qc7AQWd1g5+5iufCegM
Oe1BmZ5QvJBoByIRGGN9N+yP4AtdooddnNHMgQNOaOihTxqcuMGuOYSeXogCkpNS4Tn7yUPZ2K6o
B+0Ss/VJjUa3NTOmoqs9je7Sc3XVmqI5ChU/IAxAjTOzphMI3FqDGXL+Ob6PQxoUpDklh+CUsTqu
hX6jEryphTWVTgXMoXiGTNjBX+vIINnVg7JjAGqfTmB5tZPstoeghWGD4Vzy13F3TNDDu+DUfHi3
X+3K7wnPjKnADYxwjRk0g4hUvK9Eip4aCJKcZcEuNUtCWa0kdXejK7S2W3O4V93AUrpVsQ5t9BBB
uSiC5XtXY+TjR4EiJS8tpuSvBMlMD++vVZ1ZXT0tPF/rMMnK9FJLR+j1E5lmV0DGZgBBOI0nu18p
PbR/OHvhuLPD83V9DIA20NTBRMo/G/wmKcRxUBEh6xpV7hSCnOoRCsTtYPYl8Z89U1xNa530II5D
w0KB5E4ov3j5uojM72dyrR6GRfg9k5mPgFYz8GWzmTDRo3FXI/mNPjX5UOWrsb9J2qOWgCpP74B4
breJNQRrxiHbU3m0cPcCCKwfJBkFV7tga0WHnqTCun8tT8FzQpcQrzMQ3b9N0u/Zzi5CAb26qAyw
ZYw3eETPVAn/Cbl2kF+XouWbS6QmH8Cq7zZqdpDzGIkFqI2iHvo22X5m9g7qIV27H5+EZ8TyI5GQ
yWNEAsObmmGb8EgHor2IK74SzX7apdlRjZrY4/wE341GNgFoGzBD+m6PruUAJW6pQ6EEjRLIE7M4
JXpuCwGCSvusPIfqAupUvu4x/N6B2TteK5ORo78Ppii1ap2KtAAweNJuKqTC+GjveT8hbER6FW2N
hW+mE5Kd45ajY+iEOjIsYko9KFqjvbyWznGMiv82E3cDkuPjWsIndQDMdk8GUAFDd2fo92INQYTy
oYPisHQwQuv70y9eNQGAYICkC4CfLzzUvTL5ZVaxoM9KgpcwXst4cK0+d3rO4mPoLCbibaI6SeVM
oiuH4CVDS+FtGlpoNaCoWUq6lQGfAP6VZTbQGZ7yz8P+e3LzN1FL9JgPW0wO7aVY08rs3rphg3hM
IpFAkGuGqqZs5j2dbrl3/dQGVhhYBtJM5niqnAqVxaWwcGG5lJnZquoEyOocM+JvRhpjN63Y4vYq
upyISqJ9e0yes93SqDNuj6/rMDNRoLsX2qzEqI2NXjRhFxbHWt14FZhZUYSyoLU3rUKR6I+4jpG6
EYDohpOyVAK4GhMzOPefZ0WZ2Z6s7uRe4th22Fy1mrZhitpPZHt3yM+jt6yxIU7pfH8+Z7jCr58+
Mz9dlfORzo4ARAu12G6GTYk8IVxnWr6nNBdPvrcGO3saOMj/MSEZf1Eak7mnXywgekLAl4fmdnQc
fH6qoiTheDEpgtOEHGZtC0/CCo+6PmL1WZAecm755jfWFLvFLUqTtna3sAZse7+bwMx/1gYjqwsV
ayA7Pdh4UX5GP6mT3jH+Xx8MR98Pd93XuvjemderGH7fFn2N02YOmhtALdM7xdVR40OiJ3ut3rUv
Sr3qjBVoT0MwVVpyDLoDJ4XXTsdyl7aPmrCqBDcvocvqS6bnVZYg3wTJymudkpnoFFQP8n7M9py0
kAu/MnkNjEysVAKmf7BazC6o0ORRl09NAnsWqh0JGzBeII4VkLEuueckEWiTbjwUyLXuXaq2cgSi
WBRPrDpAequX3Fp/CiLKuJwiSx23vlmgPfNObD2C5uWoB+mfWxnbzEmKBbzuldsFVDN67CGJ/iGR
PLtdld6rIRgWEoTAnhNqJFxztO1RqWCigLrLu8LSYl2paX8ecna5Ak+c6ibGkJ3tu1GPOP8D0lYD
wYrWrjX45Kkf/OfH6/Ogs5dc9cJebXUM2tOwgh5zBD8zM7tgD21oUo9PabXvk3uQEirC7ZDuVJg5
+MravcGfhRIeyNNgJfWPrPhZ0TE++HbZe+DCepTFcy+eZfmFK7Ydb8mT3VADnQwLDyYgsNduI9Ma
++DqxKv52RwERpHWbYXKkrgDxfhNcvSQjWxsHjCLkABskfuQTdLX/C5eI7eTnMad4K2it6glaLfx
UXGCBtoP7y76KShgLqB4NFbSQOqjKJJxy5AEIGKp9mFKcd8yJpMVnv1VHp0TuDiB2cYkvuke1GMr
EWWvQ0lmlzsxePELt3ObU+6gcf/xrXlFPUfuCQiDavzblJymhP9abBoXma+cRidcBJ1bSdKqUddc
4fANVM2OqcZSzz1CzTw89uA0AAFha+rQVdGtEloKEGCqNvm70B37HiRz8moCIADEAASwQYOnSPYT
PbIawTIyVwCpgg6EEXjDONq5XrjHbxPB0RztEZ7lMjLJ0SYC03Vp6RxcOHUdpYUzyg8Fb9A4fxmS
xzTf9t7PErw4SvmASnPCY3jEeUNREWl4a7xN3K042Yl1C/CrmiMtfj0AaU4Ky5WbleQWpTOAvCx0
hgo93KQpqFA4QRpTzHYEZMEKJeptRdAeFmgtzDbygUeoMazjaDOUTuFR8BboUEdxM2+jHjsP7RvZ
RtMoQI/yD8knin7Hh8c2svrxsUMl+EX9gQn4q6ik/gooHwAsPbt+4wwK84GSVYIoZi8HyLNivG2D
z+jMOLLq8IjNyCOsuQXqhNAgYbGTkhEyCD4V0OTJe291dwLvMFF9iHagJTJszPYtKt4SdMVnNdyf
Il1Ju2ra6fqhK97KEfZOuO8fO0CGwMMl31aV3QCyoUW900Ee1y93kvKYAs46iDmpBySkqltFfRr1
d5hxBQulUaCe9AwUFGRUz1FwqBsYRulQTa9Ze6yDH8z75idoMbRHrkBuMyrMZLj3otFRjDusjSZY
kDihg+6D4OKmbg9etzOCp0DOKUO7TkaLjE6EsuC6jO+9wcGhBBiAlE5S01alma11NJ8QkyLnjyJ3
aAFLla7H9/oMtL9VhDS808DC6lalM3Ku0tmsqRGiSgPxQlst1lGwFkP0TKFgyBt3+SRTzXeBLc2H
mmT9LloDtMO7Svhj0BH7glUgv9XKcz15pJqAKJJfxFdN3EzxvjdulLJF2vUUF2Z8kIKTuBHHbRTv
Yy1EA8yNL73kUWBK0kmSwct1mwpW3dodVnoAIAuCYOmmbl6yYZ/1BZrGd+F4y9WQaL4DlQ/QMNhN
a9RoWdldbYn5CGjuk9QB5A/AlBBxllYNTl1AzERGtqVHv96ImqH8lvjwwPuWDEiThdmmAdFHWaCs
bkgEPWONw+/hm0cOZKdzxNfpRjXAMZVaZUDT4SCIgHCoqzwxVXFVGO+Rl5vyrbovoo10LBQagh9F
qgvUBc0eaN6oW+VdCG01yDc0CJQxIRQpsm0e3xSRNfW09swJsOMAfMLGu6xG2xa3TOx+BLWMtGIG
OhDk916Dm2lcQ7Kt5kkCqNCwNrz3Or5pxXOr6nYXtrhZOP8I50plV+UvbTk5BYTgQlgzID1Ly7sd
InPy3mWoBgk9EYUXQQ/srNslVEP+krvt5AeFQ5BFauW57e4BJokMlITXeXUCBSeAyjiw+avWg8aG
pdelcF+F94H3rhanLn2pepoltdUs8S5/0NB+ceHwrqO9HaSR4pydb+T1ih+jgWX3IqBczMJwBaI1
BDjSCB7RdAjQ+aAD52aCl7cH6A6CNYzVesCeTpYgbUXO0gGNS+2iteSXUqO+YQEGmJSONtwmUNZB
z0mWwnCj7euYSlZeHrgxpEVtS8j1Qruvd8JkC2MNmJ/JLXio4tU3EZ0VaLCAxAC85M9vYpZ0Xd/J
U3BKdXT0wbraqI95L/VPWBojBM5RBy5IoDG6YoDMAeYLh09YZ0iqgsjdNUxpKZt6Nb10MaGZZzOm
XWxIuRCg+tJBVAq7vgOTTa/T8IUHfk4eVjmVQdxfWkjKpUAi/eRyR4QteV9sFLoaPoDcEk1RUA7/
Qk/N+V1YdoXCImzBzrttzuIXz6dGYVblGuSBgD5wN4DAKHd6e0oBc1hIY1/fHRBYqIwwgyX8Pu8O
mOVjedINthh9gyQfYsjKhoI4P5iKDuKifUqN3EqFd059Yu5m5PYczVGfB+piDIhvKz8WQoxr24Nu
HIDs0WgH1aaZD5XKUw6uBI6tSbEaMQ14O0ABpA4UICeDNPZkd0j7JZbqr5Bu0mOrbM0M5W+B4rGW
RFcF35hgqXBXgfIQV6lwG8PILbOqidd272KmcxRF39ZKmageTL6yaaHZDcQreBAM2iamroIJEXgW
FWXEe5i3FGQIERiPDjhYOTK8NQGjkqEC8wK/8EeDL9zW+ePfqOWy2zU3LmCLUUQZTNhoWZwFqHGh
DWKgpOEpvJfX6LpzJhce4XO6itzEAvpyoZFXYpfnu/Fm8SiTL++bDuMxBSHPAcoP9VwkkHH5e2PT
QLbOo10L8XaHexNMfaCg/4rAxPWqg3kLziS01+q1DEARHfC8Fwi7TC55gG1yAmQwly6gdHULVdbN
AXVMcBLMQsIWmI9UCnD8OzvPHChl+m4GrHf75D0JGSjEENUSnqGm+rNn4unJOZ+I3VPV236/C0oH
+KnC3wkU7H01yCLBYE957pHrQMrmdsGPond5I0U2LDkvlT1m0qi/sh9Qrvtr6rPEj8InWdsXfni6
33UmppmHALGBILduzfC5afdSvg7FUzfteLyc8VnL97ggJpN3TqGmaeySGO/C4HDH/++ZzSy+JqiB
nHpYVJC4rKvJhgBJXW/VwRpaiiZ5rrFGoIFjJhESbVRgju7TlSbsFGktZA66UhUfgmVKZumbZeiT
yAza/ICiostkxMDsiX8+G7wg6fyhSkRmXqpVdZLPYWIFQA07oG/P4L2EKyyNZuaBJdAMdXVnlFxI
HwNHDh1zAXF+iEQPHZdIMKVr2cPLec0ujqeGuTjleAo0kerJe26YyAg73ro9B6YXmhkousddmJ3b
BgifB78zw9gse6uG/gkgbCZIQooj7xHkUFBvS80U5VEooPAkD2y93ATtTszcMrCFdiHovWoFLyc+
s9d8a7QqZ3y8YWAaBywPjgja3TzpRo6AiSa5jw5zN5CwbAzglVoBWt0Toj6WT1m6FkqQSCdrTtiJ
QPExzZal4vrVpPzFBHWWtL/ADyR5nhYiGPiArqvvG4Spxk6qVoV+7kB6GllaazX12vOs9l5L6Gi1
N2rwOCAggEeJEgIQ3aqZc7YUQSbY7BPagVnsHvovcmAlKHkEENfZKxN+uDJuxm0qEDBNLazxVat6
+QkzM1UpSpaBmD9A/kdXNzX/PKIlIjsVOY9EY2KmoEkt8FjbHdLbUN8zuQ1DQh5E5ADCH1xuUFDq
8Wghy269LePO7lcqOvTUnfHUaNtxCc/44dJ9vWMQD1DRpykb84qsHBmAEI3waCeAf4v9aOnyDVxa
VSM6XoAe8ZKRoJlEPuRRQxjdyArAtjKGo1qvojUPP1VeqdmqAomycRMDG4gyvgEQd0FajupwEbmS
TvUzFy5kCK8WtMAa8tfEZ66hlyPP0FSYePXG+pACpPTMGj2cOM65UzucxRodc8UCLDXJLJBly1B2
NoG5qWTzezfoaioJzaUahIZkgITnmeXOQDs+pyDTWoPSVAUlLmu0+Wj9kzfoNZyWwpCrMJvLAWcG
qPJBv6gkbXCSWiJXACZZSmANADZwVm2WipU26z4k7Yr1Yi31rl9N5bPPRHOlCqrTj425uKOa0mRZ
pWLh8/JNdziAgLNuH5hjT95q2Uo7pDlrVNMyE4k9t1/C112FM1wOP3tL81YNSjQ/Ynjgo4E6Axly
WCEAtEQ4uJNdoHkB3VQ6tl+EaEBLwSmQ83Y2nkMkBAh4kXMqLr0IV13zy0nNnlG87bych9gQPDnh
S+AxFYeso0FEjMhuTkaNIhNFFi+45+3IlVUnfET2omx24qZHdvb783jdzGuSIgKICU6leWpzRKW+
GMUemX8UVSC36e0EuxdcDZFKVJAktBUNCEEjc0KwgDHur49GS8yKzw4y6CZjsNQdDEckzQ5BPnzB
hfldCzNlYHgNA6EDyMhmgUymlnww+djCECytB3mtg8Y+cRKOTg++aCMZ2Gur0RS4vaYSVGJYRqKP
XO8dLaqw6T35fjrS0nRmleBJaP2QVzuG6MVjKEJdJDCTwvLj+xA5y0w5qNMjMKxVA31hJNxIHrOc
LP6N/9O+c1bmKs5kIYtpZiJQPb6MQF9BPuguotLd93O9kupHNHyxdDOXCFIzPOcXbGvNeK+/I5my
Y6KKaMb50TgZTegiwuNalHA54szWJF4nhlmFEZMV0m7qXpXukCRsnz1/NcYxOn0cpbC6ESjwrYxm
osZSc4KSkdQeGu9egwZsqK01NA3F+6WAmHkrs6dLhzADGtlUARpY8+izqYcpLMaMddT8kiZubc5h
TvP3a65eWYHLceaxI3KGoQF2PoboZa3dKNU2+0E8C69jTruH8JwiAYGC7QNnmPF5mswiAhe8AeDN
ZKZOrVnxOUC+8d0rSMlCDlIhgBkd8QmZ+azB+YLMMM5TUAMb6obr6sTUCGqz7UjgogcDkFE3W8d2
YLWTmch7HdpLyNjqSOIiW5pMJE0eO6RGOu3j2C0aE3aivlnlL5W4yUgrPsQqs69nRbjhAdlO319N
7bFMXxWehDkNKic8yxJpHipAuqDkBq6Y2E6TGx6SThr3Liq7Idqge/X7rbn28n7amtljEJRZmqpg
a/qA0dS0RuSH9d5OlKH7gLX4frhrZl6XmZIhGkCuMBqOQcM1eq9wt5J8K7TgTm96J16jQSaV3wB0
RKdNBbEvG4g6YL15De69xVe2z5NG+TsKr9eeYhBwgqcHugpoLPuY78VTXE4a7yvQBEX0xtDfKHKg
KVlxOJh0oGjOIK8QJcJKRHdaTGDS0uagoMSTEi959c/Ra6pQZPDBY2WpsB0P6OEtVVfYh51VNk+C
RhRk/yTmVys4ZjLO4qYHSU7hFLyTbVAJqQXw/rM8oMWjaTFtOog/3bYKlY1btb3re8oB28gAwIJs
e0AVbRUHish2suMD23hKbkIw0mR4ZfiHEpwxkZkBU1dthNPwNgkEvTscuiPk2xI90m/w/nnD7CR0
LWsx9XOwxTVkUCga3Dk0LKeWugPUtkFLKkBM2+kAOnLv3Njpg37TwgO167UBPvv8hM7fYnSa3B5G
zpqMn9+fkCvVX+XTjswdganmc97DjoT3raWg4wA6Jresq1C2o3XvpgtP6fULcHECmO26OAGobja8
FME2AbEGL5ipMiMGhXpiBo77/wtq7dPXzR5uoY90wZvwdYyliZHvwGgxoDVTTDJw7xdiKePKywwB
Y14HVymIvEAW8/nrmlFrp87zuNuQ28aomnSa0xZvOY6luM5zR04dPT0aGQI+M0po2KPvnQJYlslA
JJgqqtGNk3NWLt2F0FUfqSw5Rn3Qn8XKVh5Fi5Vc/XOj3qgoXDJ/PSnvp9HNdUeD/mzsooCmcg5w
uyBrieG69WaQot8Q4cw25OBD7UsNqrGhq5erQnuqwGJsEMSdUYCMrO0LW4BVAf9HiavZg/wXmD6S
1KSq0dcbZ6TVWMT/P5yd147j2JZtv4gAvXklRcorjMLmCxEmk957fv0dzHMbnaGMTjUaOEAdVGUV
JYrce+215hyTAYr26YM8vLO8EqD+rRKtp9JFfJjXmzBeM+tgxnFNiPRdFfHlvl5UEbqZ+ZoccV9D
vKgYdVy4MQzl1gaKCdQoH9n5moXjOw4Pl1xoPPiDFsbY15+yaRWggTqTnQJgxWquj2rkjAdhr69l
MkN0e3gK9smdcT/dyvMtP0Eir8yX8Fct0dkXuVPDqnpYdEGCF516ALLv1mu1WdJAmL705wUEQUcN
I/Po+uo2Z1h1Zav5rYq63Af/+AL6RWsiV0RsKGSu3ivn9IE8e/ho0C82MYtba4s/9Tt25Oy9c9S1
yNgTVbxNZPG5lZxoLZ91wYvNc7GVjr3pNrfWMX6mgX+je6zT5mtN8pBpY3k8iu/0jg5Mr5C8IIU3
Wodm1gDP51rR+11L8s/f4xK+baSaYGqjxSNQ2JOTKofJDRpiFXD42c2d8WLtYy8kMNfhGB0diIPA
rNXe9TjJloEtuUzrcLRFyb1qoPoOzwKnVdM0Gn6Wijzj65MyC3VBZIIs3PNetEjRRkaiG2llMSQo
HKaolgtZvQ0xloUe4gk7eRMshiEL6yi5l90Z1jZHmGCdZJ4eIbbHnoyvOgveff2zXRQx/ys873dl
0p+f+mKpUht1kkZfFO7FaBumnqaCfQKel7lgPpxY84z5OFlQMXybUUxJ3+ffG883Zz6Qm/TFOfXh
HDatizJd6IKpELUgY++MnvLQnce9Zatvkl2bdml5UbpSVZsBmmFXOdXlVAO88ozcnYRVhvrGFB0O
W8boDJt90F45YX1Tp6Dmwiu7dMLpMV22DFqx1erUGtJzpO1z/9g3G9mVYQIEh3gZnRXZDYZu5WEw
NxyJYzddN9oVue83r+/Xj3BRKc6VpQSBilxJNpzU3ynVaoLime1zUpJSVwakI6IBBblVPELlUDnL
VSuJw++xZG8odyMp8oODz1mt6Okutnj/HOrLywC2YMTKiKdxrR98b7Dukaf0JDj2CDqXrTHeCT3o
LruLb9RmnxC0/V49D4wrrlSnv+muX1eoL5q5y/NQANiB/3WLZs5cNKXyz7TcCLy//TGO1j028RYb
e/zhj8jND+L82GubrrxPxqM63hUhbjqfdlJxyByO5XeLXC3zpnlViRB09JBOwSBFsAGec/2saTjb
4h7zZrHhhJKne/zwtJzE6cpz/U1B9eVL/XX46vtRrSR+N7RAHTVOCN4GRZ0KAp78NHLpEZlcOfDJ
6rd1B30Tk/1KkfXLYNUyKH0A/rVwX2WIt4oScg7plHpim9LyNlnOJFRsWi8SoTRD/9YqP5UPrXMU
8VZSQ1tLTVtRHRUtPfSE4JiIm1E5II4zB3BFjv7oc1RQl1PyZzoBuSjv4ugtko6/Pcwk7nD7JWln
hU4gPzWzN1ruMreiiw3pCMnNR6jxtnSRUxe/muqhmIjIzGe7bVgupTs3q+5EYxs3gDt+A1lqec1/
J/CPabRNJxcUnl32MX59Tuumeaxj6oyN6W8C+aDkMdIuu/T3YvgxENWGxkQVNm1Dg/2sx+te381R
uMrMg77oSEqnxe4Yr4PSM9CWRAEJhTr5iJz6xp2Z36f6MVXeBOOuqH4Y1bMwvQvISM3QoLh57sV3
Sd2K0l4OP4XxQ4EGG/zKh5+lLzvtPNlWsw95SQTfxNqGWC6xOxPlEHSt4WnsZFuxHoZpXTJ1TKBP
RXyh3qutV62/DUcPgxM28KK4qdqVnL1F2q2e5Sspsewyfki1Y0VjbsJ3FTZAh56GeJ9oeOmUH0st
qwMx7owOE/ltov8wMZhL/n0t7VX/1bReTfO1lM/i/J4w+Mw59Eh0OBARmq1s690tXc/MI8leN+96
5Zxkd0LxVjTnkVY6cdGI67BfLtlQ69I8KMHPGFupcB+LL6Yv2Nn4Kyl3FTIkvEPNOS4PUoOYyRHi
fTd8Wv6nKUdO1/4aow89fijQHw7RTaD/qAd+vgdBfMHGYqinQHo3rQdVvWmhqGTvc/qeyl6KbiM5
6ekxx516I8UfC31vtgBM3A7aOvdhLUiPsX/lRTKWrfrrikQMOts4a/+SZ3mpJ5lUK+5JNxLuhx0g
ZbZm1fpVmp4cnQxtV8WrovBa405+7SmG26Vv0gxOoJzF3LG6J0V6G6WUR2qHHGlRMrJ3Da+VwkJq
J0z3BOUo5DsBKkm31ZrfVAkyaj0reUf/K2Y2WJsCC57CIBgJ4q7BdNTcCFC/4qWHOPFE16FjcFp8
SLsHWXzMlZOebXlUYodZjRadOJBa3YaZE7iaeF2SDomFMX+U9IP2YFwBnajfSCkA6i9dBXq2bOGX
Y6O51PyE1KhzbGxFZ2S4kmR2sKlBj7naxqBED56ZcJTGTkPhpTmBfpiUzySEjPtoSQ+QO1QLD49s
549BdyuR1j3QWvX3Hfbjao29SZsQmy/gRy15qpDd50h3rvp7vpvKoK9HHYXKyTKZ2X4t3vSw0Dqt
zJZRSML5aC8xxmYigChkkbvfct6fnmeGTHxUtg24wvcpx+Jr0oZvdg0evD8+xkU1JPmd0MUxVtXg
rd4CBnnVtQNUlOPSHzS2ip00V8ZRF/FGv0f8X654cb4x9LGYTYEvPoROLq+EzhEJTzgpZPwmh8VW
YJ0kV/oZkQx5pfL7xsj055V/u07+aAFMZjMNQh7/RyMlOyGgldOI+se4gVSHxQBizaoljtPHdWHj
PO3hjl2fOVz7FBfP7zDWUZ/P3HFxl9Dp5DCGJsRYRTod0xJ6EB6fCJUPh+AKAP7MDNlWk1eeAP/t
3/fjO//7l/txUem1rW8FU8P90O+aNwqER+PZf9U/hSPTjn73H/jptEGknhE/d+U1vvYY/J5e/fFj
RKNsDtLIxZejqTYf2tuZyJpu1T6VJ3+fQlHSo/+TJ92kB0jzf8k2Ahb+9a1La1FLdDkMz51mw85k
zBx6TbKy7i138lQPKW3FXxgwX2XbfaeI/HLpi3NPlcdWjxeA+THTNmktpbi6nmb/qBWvqv7i40mI
7gWTXuxeC0/hsO8X5/dein9IzQb1XMDLD0CnzPbj2Li00VPA0eq9KT+N+c8UXVFSb/hb8fijqreG
6s3Ia49Jc5RQEKsHOVo1NxHMHcX2j5Rn2pn24b8fJ+27WvDPe3uxoilCKveWyb3tP7TxWZw3+UN7
rh5ny6tvLOQbdzHaO/Thpa2cshe2XXRlZ/lck3LGu2c8VoGbw/y7MR7L2u5eKDQyPHdQ9oHvvimM
/kN0HzbaX874bFZm5UXP+QsdqVl6Kl/ypRNKVGf2buUH8f7f3+330vDX/sw6rdNBFjUkAF+fG6sb
CxLfreCcNQcFyLGAd4Z+UDQt6bKrsDmE/VtHZCBS+f53eLDwn9Oz0VxLGvlOU2NC1OGMqBPS8ldC
S2uNfiQtI+1FXtn1B1G+E5NdX20nin5lRYIWy5Z5QIxO1UJk+1FKOCxuB/kQ6Ztkif6NPprqkclJ
wD6nuKnlCsVBE/eh+gxFNjQPcb9J5CuLzXfWxj8/9uXxJGiEyDcLZodFbU+m4+du2jvlZ49om+hI
YaX0sKp+gmwWFV7FpF93Sm2H0ObFre4FsYdmoXT9UEPbvP73j/v9UvTfd/RycCOTFkmMLXe0Xfma
LZnbXkaXvDBAGP92iH4Ow/Z/syT8Ph1dPlW/ZRCiTuoTv+fXp8pP0lHViprxLj3wMVXtqP7Ee5b5
J0U+VOK2EDdoV+nTWlvzWZOPUbBqgMnGbq26dVbYkbgx5TspOZjS0dJcKXNy/VdU/sqkLYzEYhev
fPYSvBlw6WKTI9Umbr3FKIQGMKODaL6H3WE2VrXmpeiYMxukHXtOV+6r3NXMNduz1Wynat9Mx5bJ
3FoYbSPfC+29FhwtnD7Ts6I8mDSPhFF24q6G92JLBcp0N702wfrOuGv+ebMu1k9/zLCSpZgCwYlE
uSu6RfNWAcjILfZMBoN0rlDKUx9DQ9jFwd3U7ZAyIYWK7Vb2cuwp4U4ltBETbXiV1/DtM8RkSdVU
ibROIl8ufkpxmtI+43zDpJ5UMjWHGpuu2s3wMdEchBz6MLtLh+2aiuqbjhE4gz8ufFHACZKZGgqW
k3MSb2mmw4R2+5tsBMYuby0nZApJgiz+EfSawfWsrWVK89cT/MfVL4q5JusrYazwhuvL6sNgDfWj
Lb8u4vz5R3qXO9cob7936H9c8bK7TARrk3Y131d/BFS/GmVkGqtWuLmBtMsz2poeRDMpo6npDPIK
vHKwzko0eOkPCyW+E/2acUUU3pUl5Lu9749f4XJ/UKXUnFA2Qb/wgshZequGq90Nq/o/SNRrlezy
rP/rJlxUblUhFEM1ctsXtb/aeNyFRvNACSLrD8FpO/Jj5Fqx8xH+Gp2Z6G/R9Zms7P2XlsKBhsjC
Cr32KH4HlvjzUdQvRnqVYPodcRRLgoC/9lW7yWGoDIHjV3T4i9bzYTDTkBrclF2HV9bXD5GTESIM
DS90c7fQtsOibl+HDYA8nE66g68lFZDG47/zotW1XvB3iG46V6T66OLiUbkMToxmRet6HcC5FLi1
9RgJtzxR/ZoWnnYzDDZZQm3jTdY66h1ZWFXWVj2gALoqMP92zPTn57gYTuZxJ+qFDPd4CZEr0Roh
H89+1oQprCzTUZhQsopdq//VZWn46yn649tfbD+jVMj6pEzB2aq2wyJPyBu6ttJa1aHQxY8R9m9B
fy/F01InA+KhDYGF1XQLcL+Q2hAgObHqte1h4hl8kJt1vjSN14K87X0ctWTi+ca2Vb2odYP2gTmV
Et6M6k027C0CB5dazokqYPBDuSuyuyo9XpNk/F51//qGuC3w6Sy5Q+LFE2kVcxRMcvsbStOYpSOL
YELrdz9n3FFt25Xo9Hy2nFflMCSyPRPRlTlIekl/HlGk6W44uL6rtA6LqxXu0W6abv0y8Kd+tByY
YMACV+1WdHe7LfotNE8v0QwRA0fETtXf0wma8hJIcTcXp9GtmrtMe5pLun9uV68HBWsaENBFuHVt
mfx+P/rjm188UVHaJIqgNEA7dpo3/OzFhcYmuB3nAqY/LyIQSHEVna+dsb9/kpGrSQpyE4VIqa/7
YDIURVV2JdoBadWuwlvZEd5Dr3co5fvQWaDW4vXNd/mP/v0z//dFL/bAVCirzCwq6LMws8j+WiiX
Wb7jPPBsAlGgvLwNyPdw0DETnVzdXIWqfbv8//GtL7ZB1chzVRcK1pEPchlWoNygGP0W18xHYcXA
/9/bzbczSQJ3/+su/1aH/3F4Lq1cNUaduwxiNg7WUehlw1K7dpwAeK0YG5NHguocVqQzn4zHVNyO
7vA5v4kEwiO+YY3ZazBKH65DM76TdZNK89+f7eKo1HeVPo5hDWgxW2fdfZSthsmdpJ2S8Y7hObzp
8xt9gd1OHE1WIS7xASVGNe7G5AU5ganiHj6nykNibmXLnpkY/RDiTSIcTXmlxuwCvC3X6FXfduP+
/NAXG+o0B6IUqsijJLiJyWZ8SfxzyxzHxUN927AIFJ68LQ7+dBYyl8oyzOkPEsl6vaL6tsAhYW6Z
AqJVwtDx9Q0yi9zsxyHGVBvvpvhc+W5h2Kj65WNqHZPaCwkr6Vc+aF/9MYMcnm0FjfpyTOxsOOD1
IFiqC37mfun5lOsSpuO5XpzpVP7jw4IwD5R9rm1Zo2duvWrXqXRSeDfLZZRXKittpP+XVl6WY0DW
m00y5HZK03S4UYybKroz2k2zbjcMQFf5mNpNdaNIWz041QzIXT/7Eda3eboNi7PB/BvTWuC1uIlt
Vl6EvIrupZpt5W6GFLNZRZGL/l1rvThjCGNj9YiAMszMCs3Q1mlz+1CESiC6kcrJY3w0snOQHqbZ
yxue3nYr++9Vv9OkG0M+xuR7c17RPA47huYV4ZrknVAkR/LNIlkCYYSP5WHfEkyEwft5JKwhtM37
OXfCwQn1jcELYUJfjI8SNfxsPMUMhP/93n5brMPogF5uEqZG4/frb6tlKrEuc4NrF/6EdtBwrVls
7V6xtlA2TCvFcodyJfK3OQteLXfMZdG/XCf/uLx1ocwQwimPJIPLq2uFiAq4TA6dt5FUB+lFDDfl
YtLZ6/XM0Ozc9KvWuClfw2iVvmb3zEnHQyO6cb2byO4Y+/CpDX80eEsJdlJcjaIoJRZm1R3nZwFb
Ue+hz/FIzUlY8E0yNldptCP52h+82jhFKdSIp1bc1dqdMK+tcWPMb10UryQ4PurOEk6ytQUHIcDC
L1yV85S1hmJ3M0MHSG9L7MTkKpX3LYhnbVUWb/DtkGb3padjbbI8YdhE2kbhvPpfKWf/IxT+24b5
n/fwYnmTxDwzgIgI95ot76yXskNIZrGvqi+LHii+uwoE+u6I9ecFL5emoMkENWfEipnVXTCAn+hq
HYaWYFP9nkXoWh1/9SteVE11KwEnbXhMFiFrfxtXmAd1uBwTSjHb4sm82hz9Hy4JKxolPu/G5fF5
iKZINpVheTJ101mIP0gXt90Kttom3l9XgVy94EXJQMxIpZXNKNyPpLUI1LtwEj0LU4hADpfL0vW/
iP9b6um/X7///pIXb39gjPjKfL4kUTKe/9TcKUto44mJE2249pFZE3QQ58qS843eRTOXyOj/f2sv
D8xN1UhjqvBNF4BeV77PAuLQVfrR33COthXpg6V1foh1V3wk2WJuUEtj9r2lggBzJJLk10GbH5Hw
n2G5qL2bszoZu7jbT/NuCrehgeiVV7XNQXmQ7ZllPhLD16j51ZJMqZ/BwHTxzyoO7UR5KZc/PJIJ
RzJBtBH8uwkLDNlx+po1BQBDXW0ytptsgm9/ECpiSD66IxNtlpPhsUjXRboX512c3rBXGc8Q1QNE
bwu7KL9rwTKhMKsfE+W9b0enFnrP9BtbKFM7yR+EnM6Q0XlWWjAzxOCSsCe222LZOkkQeqPJLB7G
kzUDnrBVmo3cJWrFZniRBmahgW2kt0GzNsJdUe3yJme5Y5LMfKY8CMM2HI9Css+jXTsPq4YtLRIe
WkQQldvOa2PeaekJgeOVLgAksr8fKGvRfCLtJyUMj9fX7UTIu84yIwbjiy95GWjJpdfG3gAlS9lX
j0FCYA1Anoy/3pm3xc/gjh+vhjIsI56IPFl3cLq0iDYDi3HISBKTaypeZngmjm7ZckXQFKJrzJ4g
3FjSbTe+xTL7gH6fC8esvC3NjeHN+xR58UZCqJSdhNRJCI/JXAWrgX4H7EFBCU9ClOGR9D29FSd9
XWJWJAtZ2zc/oZn6K8TP+bwaQc3QrvwUpXP4pKlepjjqDanB094QUYo3qEcA6LQ7c9yX1UlvgaM/
hbkOT+Zgyvd1MmERPgv1Y4a5PkcqncPhGSpX01aV+miK90L02ZdvLdblhGISo0V/HTH+TVdmMfib
eIEl0IKXlZs4yVE3+uGisaeD3JFmTpYh1fZG2fvbSXPEG3qPlGEZmsBrhlDzm23iy8UvFrQ0jktz
FqOlhdCHANXNO/0oGg7q7gx9zHjTf6SRbQx7aCvNrhZsa2PJDsN/4+AfJw4PwEHccCttNYV/VEeP
Jbq8eCOdxVPEwdEz73xSbnGOqY8SCwA4E3OxbSQ/gQLFRHT9yut3BjjKSbsPcDlg4xrXMwwiJk7j
TWyd1HO7g/Qz3ss3ZXEL68Vv3A6y7lN7Uqm5PIY5n22+Lh6mQ+5Kj48pcNhrW+l3xybuEURdXhgo
rL+lb38cm6LBl+LWQso5LkXxtllq/NHu5B2pduabIDm6toIGi2HEngJQDLSYSeFaV+2OWVo5O5qj
V26JCI53zUWidq0f9XvScLFDfPmAF6f2qVPLnODV3/0KQ3UDsyQXbxurCCrcinFZYwP1yG+F3rYs
D1OuyHjkXvKdwHAhIREuNjpLZz7Zctbt3FDeILvqxNU8rtK7a+IvWIB/LT+MwzRibEVNUskzvegf
+YGWyHLiJ2e/8hry9YqnsjoGyTbvdrK8rqVTbuBnedUr4CcculVH/4lKkHcz9rKjwHAKNgfenRXo
s/jG3GKF2hks1roLt2d6UJ7ot4m9nXOnneoMKya7KY/qxt9H814XT9XsmeZWEm4t/1kAo5RLr5b6
khQPg/gUpOjP9ddYp8loPDG5W6UiZ4Cpd/Qa1kx7kvO3EHiWJT2ivHF9C3GLPnhjRvu83wLtkobP
WmBT7m4LVDbGQQTNo8seaK51rh37muRTGkSj+TCFjIhA1LSmdjsJP6MOzdBgp2CeKj+klk2dEDuJ
gvqvb85y8KtJPiafNbR+Ttt9BB8t3Anq1hy2pXaTNmcRZJqVHsl6kYVtUDwq8V2iPCvaMhVDU5n/
mkFdFHb4S8l32WBb/Ypg1BCSAynk/OaQGYVNYT0xV3IMYLmC9iMSX3pYT5IWHMxa38xIxVoCUcbs
RY/3YrABIC2rRNdsIFr5n2q01hfd0N5StvzXSrRTcv/Qjbsmf+M7WW+J6or8KRxKznhXm2fxbMUv
xYsqeAxt62nFfH2RHSFPQnrTDHbzOnygibaMha9VwGCqsKVPt+XEXbOj2JX1jf6gHeWP6QPBKN3p
Fvqd/sj/RwVGZ9YOzMdqPAPPsWY0WTt9fPatG1ld3Mqa6ZAYopCmgxifiRA8ucIWS8UxLYbFrmSs
ymGliOupegmy167fx9puwAaTxIWtJGzu1i7PP4fpVq+2mrYf4kNhbCr0UuY5ih61PkNrxYC3f8vk
hUO2sh57ecMy9gO/rGA4U7Bq5U0h0VTKTyncMdP/CNRVOB6yl2Q6VfDumTcMTieghuRw0N4M1Q8p
9GLtKPDw6P1GGodNiRlMhxvhc8IS0RQG5WMRTd4ozogGDdwQP33hV4Z0r+yyVTICnUuNJS9RGtFP
jsXGl+gRN63TxZ9kpDl1i62O03yd3KQc8CGaO1aGMCzF3iQCLJbZgc7W9JlXu2kimNBIN2WKllfA
OoTlteTXn+nO0N8tdGSay0hlAn9cUtXsc33dFRwaNwLtLVDIDos2b3PAB13pBV7UXZPcyPyb0A8e
y2ofVatZW8n1uhMIPtpD2vfrZzRPvJqOinuUoa+8b+t8pc4f7NWG7GXdvs7fQ/25TU5B/mKFPue6
faMukRBhxKoCa+8lQxfe+A9E8T6UpWO+L00GAzPEIZpNNyIjxbidjB+6/5AkN5HXiy8a3uHsKOM1
mPrbPPxl9vM6MY6g3KXpQax2fIoyLdwmfaiKLRkoKB63KuRhtckoAk8qT3Y6v0TaGvKWrB6L+GEw
7iqo5bJngRvzQxeDoamu0Qj2w50/HiTrSTEOgTf0Ho7/oXqujDtL3I+IAdroVmVZzndW8JR1j2O/
L5pfkjGuUyIkq/ehNqAmEjrZvZXBmwStrk9ip+ofrXbtm+cw/lEHtGzgo0/9Sp4B1a3kiIXiacZA
NpvHTMGypu6GbD9Zt5P1LOZ7keanssv99zhcD8Fd3Wxb1LYTCmf/TanuLOvNpB0e9Y9CtZ0Dd4Jz
GuS3NZHO+XSrqvtiOJTZTat8RMq2HOzKPCXRVtdffYp4JX/EVCR1x7rfAAqtyt3cMZaObzqO+uHM
KHk/E0ylEb21yZNTGe4i8B8atM8f6oTvvj9l9AaUACTVhl+VeOSxU+38B+0PpT75FeRDVq1zND4p
5NsWnuQDe+NsALRJLgmFvBeVo2WCNtk25qlIzmK8MyAapPdBe8oDFmgNL1NyZ7FNbAQB4qdrDPQF
WluSPbTG4ZIk0I6vSbe34MCPm1RB+EfbIlixIjh+u5+pXgVyog+0kFqUzOCPhX2BHnTGKE5+KV0p
XPJETzM4h6IDHzrG+anwsvk/C/WHJD8L7SvoCLuWNfAGKxlWPxsQMl/4kwIUYXcuHvP+YQbhUSTS
qqGkynGLYNWD20qPTfsR0J4ZFjO+iYEYWyKNgPg09yKSVN0WjEMj7DNqb41fzWb8zK4Glk8C5I5Y
t3yG99aMH51x5xOzbHR2VTC0wawtV89Gv8VBFUr7WvicTA+dF2pngpiELTLPzHgV2watNNV6dCsP
jOXOKd/SitaGchvDIzfPJt++u0s1xwp/GMVdTSaasrgKZfHaIfbvk/NSaaiko6OWlBksfD3oNLJK
06kP07N07piQYewFrMtStIIc8GbMTsx0m6XoWj32zRTl63Uv6jG5U1sRcWR6Vo8ym6ybfiKfHW08
mWTGsb9wvqGNePXQ/s0k9et1LyqrWQyxhqkR111ProXW6NTg5QLyshZeqFWp/4Aspq+KuNKR2Ge3
6L7zs2+41VHbm1tlHbwKqR3jVOkPMoEKsIesnzocHQZ6LKS7q/fp74Po1897oc0IyUA32+X3wYnU
ucGmvKGjwisx0aViMrbBw3elrfH3WevrFS+65GI8DbKlBRxuJyTQTMFlBxmwJaF74P2S1gGmQhGv
Pz64hyuX/nts+vXSFyctddajNFf4srK+UhEzAdIytK1vunNEc3uNqxGvAolvKN5Rq73EsJYj7//g
TPz6KS7O/oFi6Ekq8ilaKjJs3ERssw1x3kP2NXhis4kn0mLE6XCt7v9maM6VoQiY1PwWto+L7690
4hD6evybZ3wi9/mhcfOt5mmb5LE4yqbrb5dow0r0qtv/xXjpt7776xnp6+UvvnibDqSSlwlrwUf0
THWyC+7jz5KFQHdr+RYOop0U6LfEcy09RyWlvL8o3Km32FDq2677CGTFVTmTjPWrpj1FdCUaHCYh
hlOUX7G/g1pLytpGnTe+5inhsGqJChrApfZUehM9awC5hX8uhd3EwLzwT34ygz8FYD08itZp6g0n
r1cBDRBgxyQeKY4iP/kaKMjgiDNHDI74u9rxPLX3JuDeQX6dRhrk3b0yn8x12GEdwelwajly1scG
2VA8rMwAuLOh7HxjL1enVj1oSyOmuQt13Ummx6b62ZR7kKwOSrDpKTaYtrKP9H59L3fU8zheUvVn
V362jPUTcqR/qCWyqNB3JPmgDSQ7rPXmPjbe6/ggmmdlulX0jSgVthw9a/05yk9FaNmWdqjCmwEw
LtJHqtvF1DxIe471pbavcAoY7NeUlGzotASd+hnUFIl60c8KoSE9uswW1uNO3gIjR2u3T9+71/kO
1Lq8Kg7kOk88yPQkPfFmnrfyuaEtR/n/s/ZX5SZ/imFn0mSw43cOBfV7+D584LBpf3WT1zJfFLzE
INfcUdTeluWnGDmDOTFe1HDa+88+n8ia7Oyzeg0B2Hc2tQG/HQwOZEJW7anm2kp2ork1NLv8tawc
1rjiLFpjTy1u1PixmdjIa6fyH1N02t0Oe05xO65VyndoaulmOBBDG/t0DtJdL2762R2RtrxKjya2
1X3yagguo7RxdjsOLG8h8OEnYKDEiyXRqrcIlcX+bzliuJJR8jS4KQ5dCLd5I1Cz+rbFv63+sspb
ZrdysObPhMCbdbt/kwmKlomsWJPFnITrvPW0bGXOpyK6j5KDhKUKf88b4cP1KS32VnFrUFiiDfTr
TVnsgzwmTXvTS3ei6iIVo+3nQBAmavsxMt/rYp+Hx8Z6FCtmdBiNiD6Jt5xo8ZgVwk43NphE5QiR
5r7H4Ee5K/OI2FTL8bP8CpwPnMLteF//wv43Z6sa07FY2LRjkcMln2K7HO6HZpOnu2k8hyLsr55D
7Kfgn1rhrNRPWAbLZOsTtNFuS2Jymq3UeGgotMajLVh3uJnqlaTs5txF4jSnO5RDwZLTEdLVGm2Z
jvKDOp814NPmKpFvGyqVwPglkMKlECDuWxuFrnTM0lCJTxkDx67M4AUfdH9d82cYbGqQZGXfXpwQ
/95DfjsMvy5iNAkxeOuKReuEHNuvBY01Bp0WVm12xlAkZyvRZdxWayTCO1rkmf1dn+/yedNpbtGv
RZTiugf07gaqpNOETjSuaAaRAqnAIgy9NHWyGm/ZVcPEN/Ssr5/yYvQ0S4UodWKTnZuJdD5b8RKN
ftSaeTgO+NqZM7fUkVXQZNKzo4YDf/Xv23T1A1zUfUqR1dMQ99m5m5wZVIpXASaggPXoGC9Q8Ame
oWSuOF9izqXff6XulJef4V8/00X9N0xNJQ5Fl51pkc9OvTXDbYPdnKCyl6XOwJ8j1qtW83xj05so
AkrG3ZwEdzWnv+d/34urn+WiJozEStWnkUdGoW8bb/Dldm7KnqeDTXAUiai0lQgqGdfIijdwWuFS
Fow9+x7kHISP//4030yycVEDJ1BhIBugWC9+mTirylwO8+wsbPKD8BHxym2kPSlWn+KNDBJr2hbe
XNnWbfb+7yt/oy/5euWL36QIJ0wUTcaV98ETUdfmMRQ87Bza6PUv0VtwH36222DfYukhdHKb0qqj
AZ569JPk8SSeS4Ol4RBsSac+yRvhltOUfg8U498f85ujw9ePefFzzVOk9q3GDVpk+v3n9JPoHsc6
5m8WWUiLsR7g5jXVF1ywbx7YP3+Wi0J89ot0DtIiW/zjs/gUWkfV6lbBf0IIU8oi+QABpg7WM22F
0twO4ppCQlQ7tyAuYFBfqH8E8QDY1py2ISfKovEiHZ6I/2aF9+LAdG1pSaho2m5NSKKS7zM4ymAz
oahTDmkPDX2dJg2pYM/YdauM0Bi1W1oBm3QS1+KIqiD6mPFbzRsheNREfG5svNKuy0+dm+CyD5mc
YJ5AklhAgKoa8GuTl1qbpwr4Oxpjw5NY7OYbv73vkrMCO65jyNBphAvjXC1wrupWbvvteZxED2MD
TPSsD5j9PWDkR03ULO5+LAcqw5ne3LSa5GjFTcFmWC6AeCbr5nYkJ4GDXoGHJlPBIH4Owq04oQpE
y5p/LnkX0krlQ/bKL0MC9CDc8FvbmZK4owH8O/1/pJ3XbuPYtq6fiABzuBVJUdFyTjeCy1VmzlF8
+v3RG3u1TeuUGusAjUI30ChS5OScY/zjD1jXjq9y3Dl+exu1GyXeReHtkccld29d8CbnVwHFjqH8
qdLXqKjtkET5MLiHkaHhH0q6Y+HVdj7cN91V6JOiwJwkbb28UxEkM4ls5IWInxSJkvrkE49yYsSs
KMx3KEaPxyXEW59At+LasJ7yfGH6gKB2+7tGnF6sUkyPjo9Ct8eLvofyKTrMJsNl8GDsFBI5Ie6K
byVJtZPp/tYXD5F4nUqeeHR13ACEdWguddBPo99ng21mqxjLxrz/U5PnCU+pcNsQD2FKad1uZddq
oAskj6Z1YwUfQecopLdVhGyZXp3g6xLvUmUqc3LoVLIXJZtGXI/GNqCdb2/H8ZVxkDGuqsGpPkLx
6mSurHE1nCCW8qPZaoudr9/6VMJ2hQ2C1K7UBO8K+D3YtFCzKI+auE9ZlqmO1ZP8ovf4xeLQ6rtH
cx3l4SJvPdNA2O2VuxEOKNijJx/3DU6oPaVz3Tz70W2HiwZ1heTl6h+K0iDzRnx9maue5LsYSErE
U5nZtCDwQcQT8PTHr59jwg+pkzRQcN/DPkKRNwYthVk76VDCTp946iQ0KJhuWiClrpI6eeWeQpGV
yxJBES5tG4Fp8ovQP+r9Xoyvu+Qel9tshRMMGUQw2rXb3tpIVr5I49+CvmmwwZXuLD6EkwprBlIu
waHlXsVc3I20RVRuI2lVMJEWG6+y7qLx0CsfIY4HQgTUfYts7DTR66IaXzhBA491fGRMweTO0Pyv
4QpBkqnNNAAjP6JINXT92AXbauAo5h16kGOxlxrqNbK4/H163Bs44qaemh0a+X6C2o/ZvWh6L2li
D9xcK9sjIeA60oR+mVrJYsCy6HTSbbPiLzz94nPAJJO6jXBmXLIfwNQGLMZxdzvdSbEnkyViLC/s
19OxMT/qv+6cM0BB8GHJVUjd2a/ZGczHbOlDs6FVDHfE8U6gCcN+w/37VT8ZVz+uqsimRIjAZ8rY
9zqww6JLCoMQM5LyuWcLrJNFCxqrhSYlrOKU+e92XDMxl/o7n2iBRljKEWXhM3tpULsqGyIx6jiW
jHtOQvFDxRBhh4Hnptge4WI5sF5pVIlV8R3p5vTMv6nWRnhQ8uuWlE5+YLwIGORsqOPzxfCh9ndR
9ETbNL2ZwsC8cJF8oEeC6pjaxePoZb8I/dkMV8Km3xGeB2aZLKPH0bBDbKd1KKWYPw3lr1BBVF06
WbA8CcyTHByeLRICsXubfFaFdlXLK/8oX6oWfwIzHLmKLjPYVfDL1Gav0BRGy0obDr+BVT4duxpn
SWWHI84pZPEYuYvZzeCKKsOWT6M5jrI/F0v76So/X+k/dzGDRwojymtJKlPwB0drPQRcceGCHbcQ
ElakvRAEkxM1rzIzCTZdgX/1Ckl/hp8CvpQ+xjen07ZHbzARADtXzFZ/X3LnK7cvT2mGn/RNZQnp
VCLULlKVAaCuZ33YPvMy5oqMziip9YX9AGiYw0WsLhRGZ2xpv70lfUZCbGvOPknn+llrtxC1+5FQ
PRlYkgknTFPHFBZdZSNJo/vRiIEluwEToBSqkmaT2LC+1GScIdx+v6FZLyZYYTsacpV+imkI5zo1
Sz9Yy8GGybSEs96yYYp0Ip/aBRDI3MLcRslWMFwfsJ9+tkKDtJxmV5zjl1C+M+St7/c268DysCxb
qWQxTcuZjLQk2GklTkkdg93gvc4QgD5VmadS0AnXo6sWuCcmtpbu8GLAdgOlJxNwu7JuoRFrlRt0
lxrZ6Qb+strnmh8tH2QryGkRfQxhcxeGgto7EmbCDiVEyWAH0W7v5qpToPZXlxnkvmRJthx4x+R0
KlxuGs/21lA8SD+QkVSSifd9T1Xyk5HJAg0CBgM6JzYoERhRflDgMiYOHDdVxQuFlZZHHpSJorgb
EoSDDglkEgZUwEeuFPxJcwemtZ+t+W6nvvvCV3i2UP9yk7MuBkCq1VGnTJ1lPLkuDtIVZdcUBUw2
05Qdgc8eTjYSUx4sRJ2WzVN2NYzOLmyaZ9vKr09r1qckY6xFqhKkiDmpr8srTmCcNPZGjX2QW2Jk
SsAmUVnsCqgGPGZ+HRIYZoOXW8qfkD5r/csjmfUuvagEcBVj7gSx4rrAGqHgACQCDoJZACMbX6X0
Rf6cEpr5RazhjMT7++Vnp8fY62mKsCIlNQPgU5MncTemYDETBf13zoq2makwJk9fxFX5S8lp4o5E
/vx9XZx/HV/cyWZ3YQljepRFIbnTfBTmuc62wnwVpwJxLy1A6KD0d8YS/9F8fUSOhlXo+6nZ4pNj
GO6ldvKMQIzkQvp7pEuaxOhttjZO8inUjuOY3I3v0rL5zZRJ2qa22a6tI6ZyxxPAHcTZwyi7gu5V
2qHSvO5XXK5TGn+70Z3a0RVbmzLIDQbHBVJdVyzdPHlNqHPiaq1tpmwEi7p6VyKUlVd6vNebq1Xd
XkWGe8ycWGFme+HTO6NE//6rZuvMzIVEbcKB+c1eQfb3HkQPORK3DKkSqurF6R280gdF/CAjKKYW
25zW9FNEgv8mA3BziW2tntlBvz3k2Rs/SdnYWuIpuYsAtqnzCKMbYKrs6nDfjFu1eRSDyrbklSSH
e0mAuTLSM5i+V1du83rampCLFslaD9eSuTPhTAx7HzPY0ji07YZtVpLWUeYApGYazQDVECiZYXg9
RWG1jNpu8fcFfIaTytM1dUJciDr6GfxVGEI/yng9IaZnmn/fT1PaqWkY3e61KhcXOX3nHh82QMak
lcElXZ2tUaOqyzCa1mhDBcMx6FgqyVJubSdsmVQVy75fjOGaOba4ZKBtjRvEAoIEpGCLi2J/6X7O
mKpg2vnlfmarSyvHxEwTcZqOpaAGHIRBj0BdIU5hiuj2qJG7mGiINeME1r4jrU/K4e/v4Iwx5Pd7
mC2pUtCTtFSmJbUOVzyEEifIzjPU1agFCwRZp2GHAzW5H6uw3HJOU4iO2t7MbNpDKXWYRCDQwX7v
tGNSoQp7xegZ0dAywNky9tEVDKst2IuwqqP7ZqCB0C58o+aZs4CnaGiWRVoEys1ZTZalkhQZ5ucv
GCwPRVbFWIcRv6M/tq/1a9DgkGNrW8VhEzlwcjXmocDVqbsThqWSvdAb1VgctMsMt1/iWbRFHq2M
Q3iFX4BCZS3aWuAM5b3MNsRkiIYWdqGylLorK3yxcid7qp/71mZQMQruoEODYO+yjY/kyjxM3WB3
YzJAqJxj4PQm1hDtJhrtmvwVBlfKLXzYeqkNrvCQtlTzoPcL4cPyl0LswByRmZJsCviRtFJYO+Fz
dOHhnavwZVkhWhextUTSxqzC11Um8Xyc2BtmWxBhW+o2wEl21V4JNvQ75X83Ao1zXLtKvEtA9Zn5
MKtPMbDY0ST+MGerr8pGxTR9eQrZFW2OUjDA6TOYZE4yuRseDnhAcCgV7bSxjwKmCGF96RGc6ea/
3cOsCVMMo+yGQJm+whw5X7pkFLuUpeVJ+6V5uAm6EGSOtnopJOZcEUHmnIS7qIr4VprD4gEWOELW
qMkd8HxlglOuQUUz7bEcN+W0AfQgJ77bwkpcJ92vTISj65GQ6/wL6+Iz3fC3W5lVmF17lKxa1BOs
Gfa1q1Qcphu53dV0WxZ028EbtE2H36sJQJkwkZus7y7uhme/4y/PY7Y7lzBDLK3gJgh8YZg+LsV0
1StLy9jkXjLsjuYhX+tYVSyOEBXDYmVky7/vhedGSN8ew2w/zjrjGOtHLbnD/BzuULBP1U2GbkRU
FpNtNWUlrG5t1SA88y6d7WcPwymCEHteXTe0z174C+G8T4sgySeugr6HIrwGIbQ1V9ifnJSB1cXv
/uyixxiPzEVYUiAQ3xufaJStqtDT6eiFnYYT4Ou4mszEgBQceO7guYf/7hd+uebs8UpdWseiwjVZ
YiCUC1QnnuHhCEMB5VrX1iXbsGnzmPWbeGL/8xtnm0tuFFKWlZBPknWxFhZoQ/6opPKu5WscmHF9
dMZH9UlNQcVX0A//vpbO6AfY2b5cfL6raBoBUBacG6uxk3VOenid7/IarDD/Y9k63YK8MYV3DEFl
wPbOFcI1RVhIUywvZAw4jU03rEWqY3aftF9COr/QzZ3d+ifsywI+NkzLmD0ew6xHPfNNiFgJFjw7
aFGcX0cvcxrosoRS1w7OpqG5FjB58NLkXs5XFwGwM0NT+es9zJ5SnMrjyQgNuobDuEyhHqTLCPai
XbvWO63dya1w6cKZllhdJd7AjkknOfXlIfvZUuzrjczOwc6XgmNUcyOw0iwd39bN4NTpBg66nXpD
sHzXF6H2W1c/ndxhCV16G2c7jS83MA9pa5QwNssUa7cceFXHl1ZnErYVspuYbIhNql4VEOYxp4lt
cx2jY2seUUohsNSklbrLEZcTZmm1/wVk8/X9zGurKCl1xurWdDa2kqdRM3ebzHfSxBvUFUIAS9vE
fEjQDtr4IUUjB2SMT/gSBOmIh8smtS6t2nMb19fnNNX4X7bJphFHRQ5YtckaespLgqcIJGLcyFsn
va8WPYzswh1///1rPmPIZ3x7Dsr3q2axKuVBwVXhDlcTQeizzfYPyqrvVmGwagACCDdqnIYU8Stj
O+5QTAWGS1BsZEvEJgS2tKyuY6gRjKCWEw8Q/GZM90dHUV97qh1HhrOQbSGl1L9BcAxlGda4wa9E
2Av+Ei0RbOjLm4B87tBVLASfujIN5+ctUZ0w9uqOYEs6VJ7JXV+6D657iKI5vffWOuJ5aFVYv+uk
RfrUYiWTHSZVsJqoRGRCQvvFDSzleLi0eWtnX/SXO5udFoEuG5UWgG4U7zH6QeZserzyu11tbot2
2yKHGWyY6OMyDm5ycSQT7O1EDkQHxUxWNmI2dQJ5eXVUXqLx7oRBWvqUtM+EiHdOXl53TBR1pp+E
JIx88mL52GIenRDzkV0T+V4+HrNtiKK8eVZ5daA5OkyouLktg70Y2nGyMXQX6V7ySiyZv5osbwJx
oSQ3zae3P8rWpRpBKqLMR+uxwPSms5V4ZUmbPj8Y0QpdYmZedRs5eY0Nt6fWRMh0Q/Krbu1fxuLK
rNYytOUUtaWH1Azyk+Wlw1YkDgrr3QcKYVSZ0Qrbx1xzsGGbnECFCahsP0J9Zxq7xro3h40urDsM
JLGHBmL1gngtueKqiDxTe0CJAJspBmvFfcZLqh0iDIvIMIzXYUuJji8xQD6QQgxpXVXXoXQ3+PdZ
DLhXPaqQIIwtDLX+DuMQ4iZYncN1cHzWio/MLcdd9hAh1ynv/v4Vnj+xviyJ2YllDiHVZ8hibZ6J
ySG+lHERXbtxmxJjbsvLBhE/mUDsPhcuPH3e80ri61cyO6bMuPfbIgH4lD0ZVNrmO7623tR3fJ/5
DPBbDbwLV7y0+mfn0ViFsST1/NQSXvTzkVyYaHnKl8Lb5MnT4Py74NUKF4qWM0p3trl/HrA2m7ck
ba+UGIZNFdrE2kwcAaaqh34WQLd5iB4uZd+cI+hwQY1oZgWNpfHZH37ZzeVk0EOC0NI7FlYLrJ47
VeUkgRdZq1a48okQ3gacKvABug1B1zghAxEJ6BmYO7JIoWgS4hwT6w4l0g0Iho/MZ/R8kBiVxLPE
A2DcvwDkz7+c/9z1Z2f35a5PQ+/rkjgND6XJGRYHAry2FQRcIXCb5BKWmS5aFCqXXs+l686Qjhp6
W1L40zgO/Zy8GO5PD7kXehWjXVa/4nb/JhDrbJ/65R3N87D85liLqVJMcyWILcxJCaGENbPGUz5i
2CYwsF98lvHqyoSE+1G9S0hRn2BA/1ffhKVYpgx498PNW4mrrK07WG3MHiDk3IPY3aV2PiVvgPvg
6riwHOQ0f7/quZEfS/Sfq8rfj35q5FLtg/+76hFP1EfEVBovGqXkMmciCdpPo3xcj56I/xxedIXX
YWpY3CK1wzr95WKteP7Q/ueWZtVIFxRyopgM0lB/CbWLg339OmieRRWouSNqD7JwEfM7cCOkBPVs
Z5PMm+ww84ufc4xbEJVDjiqWAnJW+++P62wPrYoYcBAxrdDPzjauqvH7OA2YzGgTylasp6wW/Xq8
QuC6mmyuxsdyedqGvy5cdupX5zv0l8vOdy4t0cQsj7lssh5oKF2k7APjIMKgHQuVKBGlsPa1l0uz
uc+wrJ/XpRYRgbFYkrMjCfwsTf3j58eBxS9p71J+kEdXHlaoJqvkEJGjVTkEvpO04WS/Cc6G6KQO
dgmck2JJHwoLDdGYY3WPzVRfQW2CMh4oXn3CxTu81eVrrd0NspdWmzTwYLRoJbscUXLbEKLP6SaM
D3pyD6H6omzG+LHdmCosF5NgPplxl27Nflvc1pZ5DMv4P6dBGP7Owcfi3h21Q47wmkUm21hGFLLb
9mvFgLV/tNs/je7BqTdAVSNXjZhJwm8gFGClS0vZ31TdByFHsMoQQxWO1H+QR+ZlabQSEJeW5Rtd
sxfX4JCqfkUmuN00mBSfXpLkRfYP7cgs4sovjFWfbhBjpMomxqFWpux40w7+o3XXUV5/JMdFP9pB
91yq9wg5buTWQV3AFp08nQrGNkfMJ3DvI784eoNWn6qPxBlLJTu4o6vIkdxRX47FVtfQ6em/swFD
kMBLuCK+6+MifEYVZ5fqCvVqe4D1DaH3xP86DA+R+tIhZcqGN4PPrNV0V6uBU0P7WN9j4jegJrUM
9CVezHku3hLjKRebCjggY4JcYqgQR4dKvRr9lRVtu9NG6l7aeptYjyrK8jFvF33350i98xL3j5Gq
LbLkl+OXrtn/SUxCQh0cVVJhC6iR/po8u+DO/NKv2l9FfFVrh6Z3cS3vWJtowGBQ5Y7wMmJbDzwe
eaRjBK8DQ7pXqJyU9bpoW7+DPwSBXtgitB9N/7Su8MVWRf6BDjxbV1Kn13Hsq0gwN9AVreRgBHwQ
1rMivGn+rwqtXDWyk1erY0c64pqMdxGJ7pUwEEsFQuEItt6u/eKmV6TF0FxFx61WX8fae3V8ouR2
jsmDaNS4wS3hJha3J+bBSKvkY0TYyS2uROmwbDC1gF8XKg9j8thGL2K+xvoAW7TgotPHxV87qx0z
hIpWEIsxLXRHdoHhX2dWuEgyjLG4pbQjg+9mbFahv6xRaVDu67cIjuR0w0ZevwX3A7s6hNmdv8qW
aIpxRN9np4UxruPG7Vl0Iu3LkVmNPz6VKhuKjRaibDei5rIqK3M7SKuRj4YpSIFixG3RggcKW//0
jv++CcvnX6w1eZ5LKqD+DFTscrPvj8du2jCMZzFxo+O6tMQFYuLPNHkz2hLDo3rYswok1REzDcEK
VuLJzu8uu+N9AqbftubPZfbP3cwayBBrvJbggPiONCp2Wqc4ojxRprv65eeuMvXsWbFREb06ir8/
YmgNyej4y9TwHSrepOMO6gKt7cUT8ty2qkiKpWimRtU7n5RnJdkuSS/wlGBbgmZ7grnAT6T61dkh
86ZxCdszcfuVPl54Pz/PZp7I1yvPnoiiSIxAGzPmkGR3NBEVZdg+rJPSrbLVlOzeBuBbxXgjSr8g
+F48UaalPn8jX68/+/DLIUkkRTDiu9wdl9pSfmtvwDjuYuQRvWNA8HR8O3LDu3alOX9fmj8bjdlP
n32FelRYZXbkp5PMNzYb30BLdyPQOWeg3V0Cu0xiwxBxA0c3az2UU2Q15KP1qbtBtYWja7wS8RFp
nqUQMZ18U7W/UpRI0j4Ob9PxSbNHYlGmwLe/3/eZT0oDnRVVjGhIhVfmi0UcBKsb6hO8I4Sr+LlY
HtTOFkEiE4qBXWQRPuj3yitkYGaON6dukVqr9LiWV5kXX1q5P5N6WbBfb2a2fiLLjMdWHovJuPxI
eZnawjvExa3yBEbwIv4OPnLwapQdeOJAIKiTA+RlGOAXXuZPsHZ2H7N1JBmxOiTRUNxp7QLOh7yZ
8LR4E97AKPGAA9fENuEFysT0XzR/Pxfx9BDokqlwia6cj+3qMjWSptIKTq9qPQVX48wiHbcInSbV
Bq4x78JHZZ+2BQlTyf7iEGWqn79/Q98vP+0uX3rPYyYOZKYpxR1UDgyjxMz1CbM+uQypRy4Oiw6/
jZfQPuGTuVEYL5eNS8t2I146xn/2hZ9v4Z8HMdvtG3kgxlyVCma30f2Itq9blG9B4FS7cYfv2R3d
h+6ka/F0V10ZuGN4fGUXdrTP5f+3pzFbkUHXB1HM1PBOsPa9aGPDKi1FZWMAleGFLS5VRFZeoO5E
jI1RvOYm3PHRTu5BGbTxSsR8TNjHt6d8a/o3k3wFARArV7+VGjcLvTLZ+tVDRqmNqVvVXQnttVDZ
8l1goqraGfBP70/KFYEfO799KQEhTtRvrd2JB5A7LXEs/6CBSVjBvSURQiKSOSC+hSTZ24KAO+bn
RD+LrglCYd6D8kV9GqOtBprHaAp/S+EjPL6E1LOtPKC8RbYYL4b+0OXEdT6P45sw3guQua5J0vr7
rqP8PMhZZKYKKKOoOifU7AOjHiP60tSLaXg1LKt19lJof8R001+d/gy/2olvjwT0lOCC5OrWQnjt
JE+5AgcAkr1W3Jz4mPqpIcGddDnCmiInfrpwh+e+QigfWKMShAbzQ/n+GajHJAyigjuUcQeu37ro
lmmJysDmViGXadHqNpnxyfA76pbqtXILIReCOmIH8ryQpwZkxL6JktN9EBxCf8i+CUmD/X9lta5x
BCK9Gmt8Rbq1FHnlpXs/9wl/vffZJxwzQJDFjnsPcHpbSgohKjb8YOrayalTr3AVKfmP1iPv8HSF
XHpvvmhX9bKqFkhQ4JooNzgnSV7v4Jm6Qiw+vviSnROKa8Kcc5jcXlgP9Hw/dh0G06AgFkJU05Ln
bS7L19LaJonuTjfKorc1wxv8Wz0Inq0jyPce35XfePgE5AgRaVFJi/iDmrU4Lc1X1Cx4wNDcnOpd
955JO5yJNR1X1npjijdDvxWll8w6gLKLUrWsyvuW6McSUWsNsnydNjsUFhTGor5IKzsQboxiBRA4
dNdiv8emPKNn1Pt1nFzDrWmMRUVNFXF/k6U1/x9xApOCuSRzGjohdmj9VZu4BfIMR3mWbRrLvYC1
zzZ+aHqyAxcYpjylK+pzIuL4k4y7tymTG5TZSX7htzNiyfRkXMFUxqvSkhel7CnyVEbpRMWz2FtE
LK5CY1gsBxo0awmFOMFUzeR+YOM5/nCvTTnGwkfZkkIxkqqNKxPmPy4al1ZhxmhD8McUSydJq1zk
FEb+irT4UHNOsSvJrj/eNPxlvm2GhGecNkdMOAP8mTTMvT66Yi0itYJRiRUaCU43h6hYd0TTygE+
8joTEfyR8J/H5/ze6JZlflv6f9rIayNMvRwNg8ZqW0WYQK25A3geCo5B9zxU4gBZe8cBtfG2mbJC
7aK0j+96MLUYiOgl1HAfwgZtr7ktD/kBt2Bb35sE9T6iOaHMVSivrjGcggp8tKd4Ybld+h+Kviv0
XYuX5/HkDN2KKJhAR0vmBfJ2kLeYAFnKneCv4jvoFrcIjWTJ7qbMxWlA3jCLIiiSlOLTurgC+2Qg
4ui3rbHR+RA4iMuFrq5r8b2W3Yqu1toZwKQufC30C45pCy1OW3Zil1sGIQ5WoIUTDSv+evqwCIgM
KVENi0xaNA/WtUY4yRb5PlxAXPj/JK8nbIEiF7pY8xJqazS10FKkYHVatU/CrgQntZV1tofDiFLN
BjXB/WtLSTlRHdgaySJfmqfJkMm88h8rf5PZqQPBDnOY042wpI0PYszoFlyxNBeq+H6KD/Wh8tpV
6fZbLO4KyFh4V2T7T0sZY32nuPh4kgzQPUeUW6eV+mRuSQ1oFs1eIWDlT0woMOXi66BsmZAWIIFq
A4qkbrsb6wOB2wks0yOk9r68llf1algK79qdsOtX5V3hkd1YePmyX4vjsqM1XcZr7BqZd+FkjEon
WQ3NkikIrxYGFaKHnbAM/iR/io28LD5OKIyDjXJ9vI0PBF0PrzilavHa7LibfHlMdtRKE/F0sjUQ
T1uRAA3VzlH3RzsGXLizYLcIBSffHB9JmbTF6yMWw1f1OnNjcnW5c9AwPij4U2usxm74zJHP7Sz+
spLZfegxCQjsYIV80ZFvE6/wBq9ec2ZF8WokFVa6wen7tSBHc6LLciFQq+xAHCsEEc6G7K15k5CT
LioveG1u+NQd+Tl4w0f8aliVdA5bCS7AAwZhd6hh4rXulN7ReacitHnvjNA2nVu5/tr3ul/ciz8p
3WJks0Bm2mIC/K7VckWOoWsNtpI9xsddgn2yyRHVlb8ml+8RU9Td0akfkIyvo4+68YbUQ+5PeBi1
nQ+zUJr8J5FX6dgQ0NRjRFcuzHuDK5wWcrWClSzim58TjJ5ek92xtDKnfA+yLeNcPD163yke23sM
ECrd8d8LL/GEC2FvP6kN9F6GKckyYXr4F8zxngHJY55LTUShiB9JtxEfFKJdmGgdaFtUYHNhzxms
Bm512/6GLvlLPDoM8fkK92TAXjjLztQ23+9m1glWYzJko19Hd5xMI9FdxPDge3dPgKn5ANOZgfDQ
uIAT6h+1xJpkwUapBBQ6yNvILQ4wuig/scNkGd4nJKj5DpTrdWtdeGqfR+r30vb7fc6AdHp1XMly
nprio45zSMTVN5myKEevl5eTRTLxd4Ob0HSyfhRPfLpEyPuc/f/lDubJEXi6tL488KQqkmU83HHu
MDB3iFtkicRvxXvSOMqLcd8se8MZne63OqwZy6d85Ji/2jhAwxLWd3g6Rm7+jM9RVdoSzgiZi/pT
BhHC9cQ5/eI4ZkPWHETiF171/+MRmhKahGkaoc8eYVQej3Jb5RF4FN5uHwQbYct205FHEFwxtre7
V3YYO9pcenI/Bf2fK/4/FzZmc1QhCf0+1dIIoAUHRHPR7qWt4KqOcsOsCAuYyj6Ozim90A2d6Yun
JfPPZWfzwbRTyuJYZ1OVFr9N1gbaLt9Iq9LDyfsq3ykfpx1VQ7MXXuTbv9fjZ3CK75eWv9fjoSoN
mSzzqLNd/pZdazs+nhjzycPxpVhpN9Fte2/9idz2KbpRt+H7v/AVO1uifvnx844gGKWkGHnm+G+Q
qHbDhzwy/llANPSx174eb9ktKU8x3yFTwioXVCN74QJtRZ9+589v5p9XMKvtCYQUc4U0CpbcuCwz
qrIt86g+2SgwhnonxZVU2oin1fHN/3QCZKuzrttfAPYIMYZrbT28EwlHu6ook40IPsxxtc0/rMOw
zsxXqsl4wK90Nf2ifsGmZDxorxQ2EjIopPsJE3T8lclSL2hqGq8BMafsLYen2mSn2vLhhdmSnR6j
t+S13V5CiM7CbF9X4AwTEP1TPlYZK3DKSyp+T0xqH8+I033/enpo/5R7GRQ+WhBJWtduruwE1MQY
Gz13++BVW+v7nsiRw/DC48CYQS68bGc44kXvZHV6C397SzPYoDXM4DTiQv8p4xQfjdYurlEtMeC+
kU+2/yh2jrWLSmKfo71yne1Mcmen1/I5dU5cNceAakpPLzkhCL5GoAgpOl904FBgtyEZzLbMpvmh
N26puxhAqat/kdt0bq2Z9OeSZFgGcaOzhz34J8M/aUX4+SumnHvpaQKg8CV1s3194Tz6qT1iT5u0
OhZmRACS+uxqaS2ZpJrSAkZrxpxjw/IE7zl+5Iat1hmx6eGiPTGdxJ5/lQg7/JXptYVqKTq4SRDh
PhX/JnFuU064BJ3w6GiRA15C8Py09hvNxhVIHXc5wCtOwoWLM0iW2xT5l7bns5vV158ye/168X8/
ZfwEVZHGY7ty3xyOjxbg6q3xK2Ak+3Q6DB9U7Fruje0uovAW/cWFXfPsG/zyTGc4S96bXRzWPFNQ
ChwimRO6Klqj2InwSNI8XVidwkfoYl29PHYevqJavtTC677epnjoTk6B3cvfb+knBWj2mmflUVaU
galk3FL2DC2ss3uPPFU72Y7gaba0D9xLiObZOc3XtzE7pY++3CtCyxWH5QD/jiIWkyKS/2iKsTrB
o6Vywcymst4hvsEmrAePAZJcbKWDi3cQ+os5Kj9FUd8fwvz8RuBdG/KJW5pmdnKHU6lDyeq7EWUO
3rMmTr7RQffXOS3q8FvvXlT1Kj95YU7ZSIVUYw79ayQodWLTpzg+IeO/l4R1dXoOhW2YrxV/Y/T3
WiEsCjrzdvgzarg5X0x2OwPRfvtmjVlBoKRlVZ4kfsdo4eDn8HhjZG1kxOLvCeCE0YF6j09enB/I
tCCWbzF13USSuZfwuvOfnCFqLHZGg/J8NBjlGVa6+ecT7UlacNMT59kGP4OwX5s4jG8F0SuhF7tS
4lYe9HzVS7N1KWxJzMjN5YVFPn3g8/2fgNj/3M1sAwAKrq044W6SdYX+7210yJ1Qcgc/YZRgGw7T
zfFp6qhPF2dg58oURBdAaZppatq8JtVCUR40KZ6WVu9KGNU0biSRyEnG5XBypHjT+x4KzCmmZJqJ
UsoE7aFQnb8/AXnaWX4+gf/cxnyFG0E2mI3/+T5EXC9oh5cx6Ukjg5TMxLt4aRSujO8wo2R7cuug
brfs+LeGBg1z895rQI0kXJ89nLov7s/njucvz2i+bPE4qfVW5hnVbrMDLlPNZ/jIvXbV0VZDsx4W
7Usgv5hT0NO0FyQYr6+NyAFuzo/3oD3/1diHT+mf92ZMW/mXuUsTxkolCtxTgF9ChDYCzbW/tiTX
9zexsIS0EGMvlQFC5fkGHiMOzDnuC97f35tyfuX+895mVW5b+2lW4fPNozGinW9uTYxvFmlxG2TP
ZXbb9vcnXDbV1+NwnZxuiw7b76UoHAKssML9pCSKAGn0GPryqiodkxyfcJscqSdvopDisMQWwg0o
I5eXhnY/eXTTnoq2iQwIpt7GXG5Sy11bxJoQ4susvGvL9KYTNpLs4NtlYyBAqh8BAA4ANjY0p6Xv
tfw7GdSLJrdHpgqXXRXOPskv9zM76FJsRbQ6CaYnCfGdhh8XgwmFr8TFkZx4G7nzMbXxpfvU7luX
etOza/zL5Wennh9lWYMWLJwcDKikMtLQrNtpBo+xJxwP8Lz66dK47KfckndgwbphIRvQfD8P/y+L
OJGKY2tlRniHGQmANb0685lt1i9L4Q8Su3chcQzw3Y9kQyDFsd62sM0Tf30pgOZn8ufsPqaH8+U+
smpgOZAFjmd1/ZaBrvHd2OJaBRf+jBwFc4TYcvX3b+fsafj1188q2LA7jROtNKQ5Sd/0ehkMy4k3
XzcHzK3UJT75MGpC0GD8yqY06hL8r7cB6S/cx7kj4Ot9zE6fTvf9Wmq4j6m6IME3sKEA9r3b9Hjr
NwdRvsvNRx+eWml6nbbM6CdcnVvkG4hFr+6AvcvXJvaiaIs0u/FqbZMIq+BSivqZtwQ3CxInoeGq
aiqfZ/qXt6QnrdYkplp83mcH0xbvJpcijIYOrNTGshoXErxGL3QaZ0pQrmuIkiLqLNIf3ky9QUaF
pDDi9nHb1SDZVr+1J45HemTCh5Jl5/ls+X9/KWewou8XnW0HslQVp7rmx+KXma3hE8aWE7x/1r6L
isB7wQ1pVC1P3U1wlSEuL1x/WnzfD+Tv15/tB1EmBEEtyZ9EjxyXUPLLPJ8xQrfEud5AB/LgQ/YC
bfdiGFTy+v/v8voMsSL7oxJPOT8fNby2FHByg0ngKBD/W6eQCXxZ98WL7GSerx6k9O3C1X9+Ed9+
vD6rU03MU09mxhsflm0JcrjE+dhE7+Pio4RNOydDi6W1E1or5QOzFUoQTVj/D2Xntds4toXpJyLA
HG5FUllWcPYNYVfZzDnz6edjz1yUVUbpDHAS+nQXqU1y77X+9Qf9pq/bj88AGTrNLXp4UgS+b0uN
71ujXsNviceFZzhYgU6rfFWUtNUt7cd0N7wPb0BXwsqrT/9eAuWna1uKpOPvocOevh5olx02BsNY
57SCvTs+5cYyM1bjtBqKdcUCiITYQwkAsD+NL3jvDfK2YaWgmKIN6lZl6Gif+F8x0mrik6esS9rr
U7U0GD48w+SUvZntWXXuv+/a+uGuUWwjIUVqCGXgL4rwVNeDUjTFvXnAgEHPT1a/C/1DqxVYjQMA
LuodRvdutjJtujuneoBGFazL2GGUaezUzAkJ/HTacSFAu4CWxSDkRcHWetEck2MKHZo4J8MNHxU1
sSUzdJr0wFjUIw6IXljdqFhbKjjtpC/Dh/mqNHdT7ngPuA7jJAAqTkLTPnf0jwZBAgkuyqe6Nz/g
7MrhUhm3Teyoz9V5qhf6unlUwyXTMIIG06c5V7ZjGnyUHrHpTLb1sW5dmVTsgVncc/rLf2EESRbT
zX5Nmau3q03g23JebUKx4eWlmXTF7GEsVgvtl/o1wAJFbgDd662ksDWXET6Hr/mv9qXGSBj3werc
sDfBFFjCj/3P+Og/vbiMR8ddRQUfLlM0aa//fvA/bJe6oomiKZqQMBT5v1/yx9kgt55qiZ1Mqsp2
TLa4qeItrKzFbFo06nGkmUCZhjvUMlbcwE0Ykviktt8gUvwwoKCdhKOC64eoSn+xEsKhmExfqIdL
roG6Lazj6AroAcv3kY903KsAozqKiAifjvjctsfYZ8LfyosEyjX2w93a71GSIJ6Jcnje3opKr0Bf
68HWZ5td4l5OQMpvun/FGZS7yv8UEBXIs2Us+VawdaLOrfONpi4S7WYT9EOtxqQM7s1s/A3p4nqF
czFuukgO+ss4S5EX8XZ20tUX1PtwGYJuWyy7tYreaOYAV/MUu52cW9jMDyXA95u4KtSGsgv0KNQ7
UiOnZY9mcYEJ6IrxJbYUNoDoc46Jzg0MXZrPmu9fARed1fMi/FhVucYKTA17zciPe96t7KTsmjU2
q468/x8CIv4uwr9f6boSq8SuKq1qfovDdX8YPipi5BhFzlhcvTB1O1/NQHaPKQvdCC16idIIAQAS
s7mXmu9LY8zAhHtys3yFtWtB5Wjc4mP9/Bj+WJErnJBE66yqpLC/aKSXdPDr2tUAYbd1CCbA3pZr
3mL3/VCEfV+aq62oLNQ2lDMeQrBpn5R9SYdGQuSqeQcuYtZ/63o/ABLfr3dV/+htL2udwbeMF5L+
EjQvPdzRnsjvXaFvwnzVsiOnDx0cMznfG0zZg31vMMlT5+eVMf72Nlr8DIebBZnGMx1E+2VJ5a3a
/W/Elttkz7NUJoo0sVdPguAhQfFS0qTK6RA1W0xK5NWYuKWtWQ9qQDxA/+BLu8zAYpw4eOlQty8a
AZCWk1ifqXrAqQjOyo3iTf372NAVk31CEmWOYOuaJFyXY6J1stRfmHO6U7NpkzVkxh4no3yNu/MR
4DrAh2kkD86xJEdQbIP0dILhaUAQLnIA+vDAFx25eInNBGmyhyfyOgbiOtWNmNkAsCSNvA/xJv3V
fNISlx8MLxsIWDd+yfyQr7/8eXZGCaSys18XQXVUKHnojf1FXeV3GfRrZVXczbyXG6fXjwv2x3Wu
trVA9qooicz+IhGjVS/VagkW+UaWY6fNH5V/hssZL2+BN//vRPr+AzkWJWRipmlQ6l034FOYCdEw
JIxsul1lbJRhGWwwCLfuSY+ovwrJ8bVdy34OdXJvYqSNH1JGOFKpigyfgkUCVsG0yQw3le8OJ+NU
BevgEH554UaRPxFFZhTu0FzFw6gtSDczD/l707j84bq6bPO70LRT9rZoTnWpgIHXubhQ37RqrRpQ
4oLCjqAekn0infvkK+eCgfDmjVgHniYmdSbOFLF1rxmbiLC5CS9qPw0uffIZt4/xhJMf0l1jLeZP
UdA60mS+WdKTkD9o0t4vYN+Ir1K5SYJHP/k0UL/guIXCIMEbtfnUg2c1/qqkzyKxG/k3ruWrytua
6UpOAywH3ORFOfl4hJBQGz347+l4ZHHyL6+wJaaFwi7ZR5XTfiGLpeqc7hvyMDGkNo8jBtLlZkZS
4aHjHY1tpdueTR0LctVcaN42bBTEMy+xROjzAsFUai2B4e1gOnFV70wpCsfaH488I58vRChfvBIj
XGMjRs8tcoW0pvBQF7miLoaW0ACGnU32quFp3NZ7s8bWUECxT/L6l5IfAnNlGI/idOjInDTvWulB
M48DI6bpJFc7pp5Q2Fpi0uwSGBwFNsJmAvtEK10qEoiUsTG3BRm5DHLt6j4u6M/mAym5IwmzLQ4W
zKZ2UzveOl2Nj+Kw8Hx73rVhYcOj2UxfPr4hEG6KnYDYBSZT6aJvuWMonlhOm9mW5eoOUzdQGH2D
nyeoPIKM9gR9/F54G085sXxrPCrceOnfy4v3fkncEZ1pTDyMhDTvojBbAAmdqkvp+NU60xblXtId
cRkRNZsz6nAxhx5fsAqnfsgi8olWOr8A/27yfLFAOMoPtbjrtqRjMnYi047Nindzqd+Tt0LIJ9bu
D+HJ+urumJloX8VT8lS+MC1Kcp4Nhvs2pnNK/qTv5RNeJBiQLKa1utHICR7KuxSlx1n9YHxGyZws
43pTCc9Qacdf9a9hQDr+zpiJNw8IvrLrV5MIpezOxxE/xH5jETntal5J5unwH6OI/NnpouprCEGZ
5eiNneKzAMcq8U6cSP3Oah/NY/pgnLvFsLCaRbdmrYqvzpUd4hzuYZkni1fQHkpki48Ox7zstaov
gwcG5JA3I6WrblrT3TF1g53Hliy/Dh/6CUyIA85q3rV631uLQDpbRbm2BBhffUEGc0QOIbEDcAbW
3HsSHK3ubZ7FPorlJh5eas3OPqS7CXw3jpx8PNUlCmAqSgPOPgOZ8DkmoA9xydmT9qVBKNWigUj3
qpnLKbJpf+Vho7WPyXveuCm0T+uurzZY/IfRmxA+w69HdsfVTWnRYzpau4z5eat42om2rMkVqF5i
eHZP8Gil3FFgeNXz7LwYoaxueskRYdDJWGfY5CYxRB/GBeGmafRGrNiilsQHnZUMil/BtMbMwsCt
V3DBC0UQC6Ip2/cEUQpUqQqdzDJ/Kb4AqUTFTgyneYprJ7jQDdTZa6IZbmwSE3/W91AOzb14rL4k
zLaGne4YK0Kwlv4DEJeVuiMrTNoFKa8+9vdDtitgtFYvxAJI4kqp93w6I3ESNeZ99S/DstvxxLtC
c6pcZtoTnyWcAJ7XYGC97ijVspUIinIt/ZUU3nxY6s2hK1am/8tX7jCsxCDdcMVBXAecAANkCSEg
tOEpi89FthGV+5CIuLN/EN5T5MLs2rSpYnqBTQGTr0Y5GzkZdnkCmcedO+HbgP2HhgJ7+NWxkkKN
fgC7bEzPcfmH0on7h5vAa+NfzZ0WNQffg60FV54iFl+qUHm2lKM4rISMEMxDZ776IWmtnIsV4yrT
i+1SSFzNIvtdedaBK/uz2ePu6CGq3ZTRyuIkiomqzdi6uyc5vSj6WRDdRj0Y+plXTOy3BOSGRIGS
pVB63cno2IimD2hvpFSiW8+dMXI0rHz4maYHGtxyfNyrGVpoPGDX5CHZE5RNM7zTw1Ot3kkIKEJa
suKZtAO99mxZmZ83qfWrdlixgkr3u+82YSBjHNM6ek3I9CGAwilNH/hSLmpivgqMp4vCFV+t9tPM
0NegZmqX/LNmC7NtJbPCnJck30a2iNimQ+xSduRra9t82GaQbflzRoyYIAQGy5bFtnaRuWRN6Ikh
vhjphua9qHdTC+C+TuJz8ixulLPQUR06ufXFg6sNN2pP+m+vs0sYEZWd95j4LiSDP5jl37WNY1Q7
dsciPJL8DFAsqeRhHPhpvXJfkZ6azMmgLyyXOb544c4UNmX4i1mQ562jYZ9Q1rEWFITdE6HNukVl
2p7K7sAHHtFRYL6Nj3mxSqFjuwm2h8Wijxx8O31pmaoOf7vQLpXw2HbrUlgImSPrrinftfpeMx7K
+GPKtxWLmjKUN89Nltm+dsdP57tIxpmFSk3J+9BG0PVhy796jNGIyCsxsu5thOFj9CRHpyY6aumL
JF6GZifR1f5Onr3fpupgl8QT9PjHYcpqm1K9M6IHL3/vZ1u3rNsaVWPXHAR9TdKfdm/pFflj8kmF
qWMhM+9OSneHf8YixCukXvXTNhD3pHfFASlf2YufGXY+rSZiMhMGjWYD2mgc9epkqPsuWKXqq1ns
aqIvhG7VSXdNs1ZIW4j9ZbkYgtWguAK2PNYybp0RTQLe0wltoe2R7yhsa4HTCO4fgI2e1XbKJqcF
B78mFtuEqh/Y5HHYAnQUSQfP0+k9ladYOnX+iyzexQUq2WYzCo+BiMuwA4ON/ZX/nBjPorUQHKN1
mmFtBOspWA/9xtcP+HriiOSonhNCbNdtX8dEKnpQh32J+ojRf7rI2S0k71LGZ4Y9JWE4vvUqkUlN
AazbzbgyzWUjXCbhovPqJfGdKOymcdtCvSfGVmK7w3WneFP9O46f2XYLJnYXgEq2mzmYt48fMlAR
5FPgfYSKD/Qeer6uMIImREDwLhIGHtxk4H+a7RdyJ614nG8XVI7Y2ZroGWGm4Gf8DfYwvRQdkF50
lLnNGm/pkiFdPIFTw2vuflvUxX6xtYaVEe3y8Veeberxomi2WkLUWNSoGpqITtEuZKJ+OnvqzklD
Cbmr2nRZ9OdS/ChMt/6QujOUeSO7TIx9KuoJdKrZUsjgTO91NhaZ5HRUubGfuRDcKY8gcepb/map
cXQOyhlbHD9mKod2CJngU8FU/ULFMEB8jAQIeVRfeILhQiA/x9laTTejr7GzfTbaaAvkfgeHfqC7
jnZBNCfs4lmwZ/Rf+Osx347d78EYCZhH8rjmGlO/aPR6xTsejo1TZriPdL87che9YhWU4IXsjm3u
QKTiH1HYbtWTkV7ifBtFq8TYRy3lI56rVFxIXONzqqw1fV82X8I+QY/m17vROFdWDtq9IKswBVgO
T4mPssWVu6cyISn+IwX8YT/F5MwrXKhJCnuEIrmV+VR1RDJ9QNww1X7ZqI5uLKALDP1CFl2tfRD2
aD9SdsvAejIv+XTR1SOm5Gr3NLWFXYckNt2F8uxnUKARgIjXSEulcbRu06mObNB89OQ4slERl87m
GLkx90pxZDGuxNSLOCECqsL0YBSPhC8ow6rKl4B14l1UHy3jqejWab6GgMmbMZJRUh+ViG+qgHDE
Sevt8nIVlisRMjqBdaPTh8eycD3Yf6Lx2iqbaVhFpgtHMW+XKHMT5Q77s4TLp6bpaCKsSk1AhTZR
f5dw+JWjyksjIiluojvcDblpL11omt13v5uUTZSU3pTkADl+8ROSxuF8rBk6DvxeNl8IkdVOrr/k
6PDvJlj5G8qgFzWoAUQG8rTbV4hL0zTsheJ/Q1hifUjI3jD7tCuPEK29ktE2tAeQXxd1QTktCY3H
WwHnK2AvhfkjL6lLZkJr4KPg1OpKVo6N+RQUj8heRcgEN8Zz6g/TegsQFGCAybUkXWOCUlnVYWVK
4X3HvDwtTvp4ZGnwZJfqLb0wFK016eIza8hzTctVG4JPnTywh/jNwubZ+zUsJ6JqbG2aCakWKVZM
EkVkT2jqlJMpPmnBchVRvagX3do208aw7lJQEozYqpbm1UG7EhVL9sS6+/3vB/ETAW7+SZYmSrpl
/uXBnKkpPCGucq8cW5cwAUHCbc4VSIPCGNAWyDdZyD1CdVJWd5QXqjPFa1ww9SU1UvjqTzjM3Vju
n0blFsbk8DRUBUsw7WoS5ouCWA9yFt6TOoUBRZGRrAIal0InwfEsdplXl6QvIaiqTCd+8JgE58fb
U1l5Hvxd4yWzxNMg94hggevBoCCFshLlaXgfG4z8COEChk6Sfd4svdDuCieJjmGzioWDUKB3Mk6Z
skSHoy4RFd3UQ0g/vYN/3sz8Qf0x8wB79KtW52bm02EODOJQJ8q5gzhiNxYZ7Vvc89UAPNZHizPh
AnYDHvuPlXW9HAwFNFnELQ03gCv0MQ2LDiNEHgt3kO06azMVdJj+yVdekOzaRu/DTWwWChUY5K2u
4C+1TzFF9kjwJjyzFQUuqiZMQtTqaOgPHGHRI1/BKiMI219P7ZHK9s2Hsxu52GrtSLJ4qdfyWTP2
QXbB5s9jR7c7fW12TzjPKKR3/6fwxSwQ8Z0Fi26h6meJoFJVW8WlIzKqrw4+pBqXcDPISBXnMX2e
o4XOvz+iH8YlqqWYOHXJoKAW0Nv3h5PmQt8lFg+HaE/xgPYXc0M3K3hJnbByGAUSNzs6fs8tUPtw
oFFzUZLfuA35p3fkz9u4ekcG7jCr5xc2wkijnckjIFLYIc0zTY7KwHfwf4ocbEBHKCa/FA13SBmU
CYdpwS2JD0GIBX3N+A2F7N8r9IN7A+KrWR/CUEk2/8q6GSpRglfnh/cC6AWpqMvU3BnI9f1dT5Yb
WDYpJo6on/LsUkhbdXiOx/sRMugXeYnI03zvtb51T/o8Rbh+of+8J/X7U8uburdINcPyY3SbeNmB
NTv5E7U6qaAeXh2vmvcu/a6MNQnaeXDIp6OAeLchUJpIArv0D3r25Yvoj21xcDMV9vAprZas3Tyv
ogDqREy5CGGG5tMp65gmKTrp2VLvtyFmZCbbyloWzirIkV5uDOGUmbvZ/6l/BBQX6n1cUZDtqndo
EJqLcycVh+YM1YkAaAWIEskuHS66x//vJ0WqC1uvZoiGovzFEY20wJpMy8rvM8SgK8FH9Uv4FWyI
N+JtEAyaie39HkiLdgR1l27S3yraUYIa6NCTWyP+H3a9bzdzzRQNpizPK42bqb0T0mT8JnRnIhF6
dneIh10zOGSUYg28tmDqajdDh8y/sfrv17/6sLVwSssgMPJ7ig6w7cS49P7Rqwlq5/vyi/yg5MO9
bAouNLYJUWvJx/bYGWcBrexd7OJIogCLofqkl6B3rcESgnCJauaiue3B2yx+oeZEIvqk3CGeJDMn
eLfAPePHYo6LXqW/e+i3c1NQ7sbOiT3H8Ldi90WRWZTYPFrL/j58xTinx6xVxSC+eGsf9MDJvuZo
cGxg04NCO6TSymeCDO/5M0vZB0aYHCkB6BU0M2S8w2b2ZHKEmXb275fph9kh6zer9hVRxWDzWn0p
+hP5VjQD94ZfYBSC8l1aiPlsDNjO1p4WKfQUc4fb09Uf9sLvV74aIaYFYoJ4mN8c14poc4fnyDrG
RMaVC/ilDx3kgIfRHeqDZZ2rmigbd0w6RFtfg34QMMUtq3OScJT0cyrQrWGMPm8t37ee73d3Vf5O
CW77oh8U95istQA93oGysnyPx0epW43SWg/OffiCFZcGiPfUJ5uAaKK1SZUcbttyYmxwl755G4wB
drPMql8oot3xVGHpXBDpo5cPFp7iNmwwC39VucUTUmiCoKxT9lbFOx/fJfJlIFYrGnD5Vs7OCWCL
h9Q8zIgBxC3AHgMHek+7yTmOfcTh/34zfmKbKOTg6MyitNlM8qrIixoh1eQoKu5h/VJiTpsW3dwX
ZgvRK22pbyyNZ3RmOA66bemMkN4sAi4xsQehIGmz/s/7lqSSPZ0wviqRAfi86J8tkml///tOf36T
/rjTqzl9kTVhUsj/3SnxxF2zreUtyv/gd7zGx2tnMTh5U0Y3SqG7LHppMW2lrbHVPsultaVPWQd7
ElNv3NOP788f93RVi1VhPQTmwD11LyKCAYy8sP6uHMgZ87aD5clqWgUAy9FW/DV9eS80GmsWKHgD
u5BOxg3SxN/pf7jx/Pkwrz42ho5MwQtuh+5YqGaQQX+kZi/jdSq4fPbNpl/Vj/qrcYHRBqpybHb6
vqsWOdGvw455CHFlsgP4sFJv8G7/o+tff2maSA8jcp6RvnT1ntX15PXxvFJjtWyW1n7Eo+DhrN0X
IL4d79mufk/1pU7UzH48ZNGyui+3CvpcY9E/Wt0ScjADAPC1Asn2Qz3Y/LWcL2RpdcDCJBmrx+wj
28nWQRafOnGr1Hdhb8f7XnXV+/H3oB5mWjV5Vphl0Dq5LeJzyS7DV5WE6aE/y/J7SSwygtWaOOKm
B+LAQmZNTRv/wslz3qucf7872t9VIgRDtmTsVEzIc//ZrfzRSeRWawhpl0I2JcCVyLapelAZ+4A4
Zs3BC3laxUYrYaihlsbdfqdxCpmr6D1CU0Rt86jglWmPOJt0WCUuM6aiDNLSbC/jYEAus3bf/caS
HFsURlkk8pGWsqAA9ffauE2np4kXE2Rqq4EUgiHXVE9j1+BLv7PAKGzvo8et88ZP/kGb/O0nW1cE
09TrDdmK+cl057TtgxOTHMXhB+DgePvxd+m7NRLZpbdj6lnbjGhv7Xc3b+GqkhjUyGrqOJn5zLGA
vT28KmakiTN8SJGNbZiHwyqWCzJIjI0KEWrTrb5a+buf/b4KV+2BUZtGEbYxbzJz9jd08/RveQjB
aImDvT6u4mIfm3sYXbiuEDkj5S65ePQtDO7InT6k96mx9Zt7bye5o+xImMbb8u4WPV/5uyrnLikV
4GGgnOd/fK/KoS0IU1fmxezTJzkjM3MInLx6v0ckn9viWB9q0tnUxyw+UlpPzzSYz2a2nC7amwlY
AHaB5YtNoC5V6YcV3+Xahp2vOuQA5P3B0m2YBoJTrm98VT/tyJql/mdYq88e0Ve3ral6YoxFgV8B
vAnOh0Z2jHFZJEtNdWMMXYOV+T4+Jsd+5V+kX6RK1Y4wfgVMzQGVgRPWrUwo+sXXTsF9vjIbhya6
ERfxQdyMy3YPEE3mn+E/Y72drDQIMT3BrisBZIzDD4dNc8kEgy+ooAoWNrfagh/P65ltqciiCNtH
uzpxrLJPrDyCHfqC0zPAzCjO+vCJA5GZkNN3l5A2KMMhFW9suV4oe2lBnsmDNSzyF4aYbQUmCai9
CVOgPEKaF/mDvNQeZxnpv5/Ej685Qh+UySaIlnpNC1ZNqa+qtp8rP3w3cbzBsuezUlz10fpQkPUq
j0bL6yF8NSRMMC2ZN2hhhWs7kZ1ywVRqOWImnpyrfpNWzzlzqRG7HGWd61tVXf37Zn/AumBP/UEG
ujqePD+HZRJCZSXPAQ8SRjnTMmjXAF1kv/QPYX7pkhdDeZMhhQSrUN/0JYzWgSFRTnDP6VbYgCLN
m8D385IbkolkI9tYk+gCv7/HoZamYojp+CX3XKKgxFNHcTEda1YxEWGa1a6W4FaiveTtuzkdPALc
c+++Fp4lGRWL+jlQAXnFyS8+Q+UVLolCakbeEzAXuqjFVw3drpwwl6zOvsDGBwtsGMpFF2IuHG+8
9pIT/u6bL62FEx2BwULh2yl8GoYKq6YsFtLwbHnbMYCfDAeh12coA03sTKStm03cpseeyM4k7haj
gPN4bfCutng3ZWRQ0G/k5AIiP/KHcSVhDt1yignKZ1p8ajUcDelkvYgyYdvkfeDcYffyyvNfyhxC
BPc5ii1/FTYEHtiEkdpm/YTbADaYTJT8GMI4TH3tAIdiylxYmaSWi4SGzRJBUd1UxcUUfwnVxFzX
XFTDxsQZ2PIfCN4Iq1csvIVkmwUveO/kMScpeX4FQ7zxMY2YB0GtSrdWvtKbFygKkJr5A5xEOY/g
ffXMisEsyiwpkR0seowVU8J8D3OOHgBKRRyv2kf5S7mHJIPF0Cyn7vDwnZq9IeyFOWPT4eQxx1Px
VDP3+VB28Irwxykcy8XefpqJCf4rLlWfKqN+oiiZ+XCBZhtBdxed2Pzo5acyXqbY2RiOlDOOhfgT
znSVMiCZnbHYTJlISvwDxbMYvln1ZY4fNDYlNpHVsuP/KBscMZjk8dcFAZOtHHDMex4EKJj5awP9
JL9LqbMlGGSvBVEobK2Z25rwtEjPdLzwEYVKC4O/efFNOpu3Mnj3x+eMUJU4dGPyaKXZXTbx7hRC
aqXVGF9MoktDWwjmEamMD5RwL+g8WpmM7G0zuqhQx10iulFxpys8iPojjgjQYp5mbkz/ksFYM/LP
Tjp3ZAHx+uPnXWsutSyQvdRhUDgwejxkXFBayZhApluSr71oH5NdU288GL1gtReuBa4jetsKAaew
LJpL0D2SJML22T3iXsAfPpqEHS2L8KFiUppdJPXYGnucw8PHXPkK1rq+Cll6f+9TTC7EAqeHLFrJ
6NngCm2DYevl7o0d6+8qgg2C/XVG8thijavz2S+wok/HdubKytVCh+GiuSK+ZRYsnr1MwzMz0VzF
tPWlRjaJi/QjFiCbOYnbrsVbspkfgMXvtzOfy39Us8Wo1NjgcztetO2QaNiZhip2UUCJSlwZT4hp
JhDAOuJ1kV8ml/5Wn3P8cHHzvTO8lFuZDT+clPMdaaIsmbDIKWG+39GkdlJS5eMAkOloiR3g2v6g
Mva5rzZ5/aiVJOJ05EpiJM4nSsJY7fZ4ZAFTrER8ieDzNbv5tCFvMD6adBuKm8Xzzh/5zFz6NUQX
bAf//VClHzq47zd9VRtWmtK3ZdANF+PeeiH5BVQW2Fiqnch3QolwC5SC3jKn//kFB7FHyB/bADmi
YcMDKU+Tqa0DGrpUqddeFS/D8FNS13LxPlrWYpwNmfjvVHwR7PQlfGCvMmGwzHUvBDPwTVsGFocu
I3HRpYamGbCfqW1ipx/GU+zE8ZFqLtgma/EhcgmOmOQOxOahj0j+skfrQeiOdXenPLYPgByfAgkU
HwPYjWozOLPASu0YkkUMKXUZjf8RognU9Fys28T72aLs1+zWy/fODnUXXaBOJRd1XdgMWb2LRpfP
6xIelZPByPgNCp/MlrEMRYmE1lVPOYOLk7W3oOa9B+si3JLIY2KHAj0i5YGV2JEat96xHzyevj+u
q48QKocxWnE3SyN46Qkj8YEOGfHas4nAhIqUcaHlDDfyetX58P+rODAk4DwkErC9r4oDT9aKKa7V
4dKKD5V1pP2DOFfuW+zvmPdXeMAMBEZB08odeGdYbvH0lka+lAiK/wS9TuoFDnxCcZrJjwrGLNDl
7MFahO8E3HpfOOJCcXoFiUpxEtIp49E6EO+Wzdmjhd3liB/74MaP+gGjZC3/+FFX4EWuxY0nePwo
SVrg6Vw+zW420dFAc7PQzpjDSa56M3zwPznfv5byql+oymRMrVYcLn58L1HJwFTcg3ohNoiTTaq9
+hc8pBId6hKHlfWSaXuCmSH46DaMT2oM19imTrFqPpV3cUlZkWAumD0P6msF12QBk4Qn9B7vS2gy
GPavhjuK7vyYI2y8L8gWtpUQ+8Hgotnms/YZ7xGtmZiSoUdTNVfGW/PCZ0dhdev0+Lu7+7bY10mD
U1JHQZPx4sbVcqyXJbao8oJATnpxha7ThFmzUvzdLH4ZVay8kd6VGxrNwrKlRwnuD8wicdNdYKr8
D7L8udr+66Fg6zvPwlX5r5AfKWzSIpGUuRrXhp0l3gNkIMf27LHfjebGPzHRkUmLYMNZ3wQpbl38
agtG4tgYY83FE0Z3K5m87WQ18VW3kDVKB2IUpubF7Lvpw3y+8Vx+lNQxnENfMqNCfyXnyMk0iGbE
R9Bjz4C0hWnqck6fHaPVIG71ZBmENmGpuQMFy7uDC3Pr5//ACNEVS8RIiu5fEv9qMJO21fqknuYt
zToqS2XfyLb6LnyYZyYWdr2qSL7WbZzOzQ1u86v8tz+wtexkZEFYWEKxzrFHhcEPhC1BqXbyW43l
j6UG0hs4EkQ2yzi4fD/YK2kKC0ZnbBQZ5pGut4InlamPdbwT1efR35b6nmlvMR3ZsoqLyFQ6iHYF
sxvxY/I3EbYmN3CtH2yxWDMsLeb4bAwuxKtNJNGrtOsab7iMZ/PNOCIdtwcqaJugKKVxkW4Gv5Rn
qLtVvcMxVfyd0UgZTvIUdovKVbGdXHgPDK7cZBthOEMIyYEDE9bcwbwk8PfguPT0WbahcRBPN0TH
PNS/vzZVtCSDjB+8tDX56u6xgDH92Jwo3R7xGQf6x8I5XLfpdmgekC1I6l6H1j0i2KUldUXqc1HN
V2Lx1ZOBpXIaqCYFPv8epbeigcyLcltUF1C4m0XcHvX4zsf4tj8r+XYaXCM8mqiSzXNu7uNhJUMk
Z2/UQE2k9J6S3ficsdbYI5VKhY6qA/KuE9BQExBMXDA0CX0nEIDoCKylRcW3E/YP1AUPh/ZiI6W4
QykurawAcKfgOz0ueuucVy6OqZ4db/5vvARutqbNdj+6uD+v42erh3Dmw9xk5JHuS6QEgf+glF80
Ilrzqx4kGL/FWtW/Mrjd1WvAeaRjd4udrgU4dMP74D9izdX2p0JgkERVlEiG+a+y/aOWbs0h9zyB
HaiHb8cghoyzwqme/TcDX2ppP4OmD4gVn3PoT3Z7DFzh5Nne2zTsKLL7O4gf5rjCD1ahD0F1myQv
Bd3nWB1jc5P7qxTLvS98Abv1uOGEQQ4RTQvDfOq7ZTKs+vGX2H1a0jJs76zuXAlfGXXj/5B1/Tf+
rX/7lVcdQ+5NMLRDdJfyAQC82su2sFB2DJM/YCIcmHnhf7LsdzcR4Pl1/tfqXm0fpaxqVqb8B/UQ
o1GR3jA4GFtI2jrS1qEblfddvBUIZvZWdEvBdvC+Kg2o8uZQ9ocq7tsCXA20pGIcaiuYH7Nh66uh
eigUB0Yyeoda2NT5cQKIgXa51Mg7nJwAimr3VPTbf7ccPyFfyKYJ92KMJRvmdZvUFkqt5RnLgTEv
Rowoi23GWQFi/D2UNKYuD2XDKYj4+YyGP1503VqZXvLmTomezGB5425+XJM/7ubq8JWygmwRQZpf
ffxu+3g9dKtMcROnxOYcZr+vupm2ZcYHlVpf5K/ha6dDlqH9yGFgRXceyE/RskHBf8ZBDBL1v2/w
pwP623JdVfxp309yQ+wFMktjBjYZCCfA+Fsor0G4AfOGykN4NGXyoNz37d3Nym1egb9e3z9W6Oqz
UbusmYZ5hYZlI0NwtTEL9Fkf26JGq6O7pBoWWbsEg/c7OjrqM0Ru+bvKgdOigXcq2rb7fy+KNV/z
r3tSFCLieIHwd776pCopaQlo4J6mI36lfogywiYtI8UJz7fFkoYP0xghOk4K9FmfvTwFrZwwfNKp
LglimN2Mq+4U8NgMKNxM4HoxAYWM12F8glqn94QkoaDCOVjvH+QWd0tthQ8GcgvkO+Cg2A286C8d
aJwFE3klULKfq094thYChuB32iwyA0UDEoR1W2wJQos4fPpPOXqAXkzUWbZqyT/6hBbS/R/Ozmu3
bS1a109EgL3cik3FRZa7bwjbSdhJsZen3x8NnLMcRds6OHcLyEpIkZNzjvGPv/RutRNvtI21n555
dCGm3+k+J2ogiaCm4wYvHhR5Z3I3y+96axt93QEEmEuF3Nwr9NbBE+X9GN4HHcvRR7J46cQ+twRU
GQKXxLhXZmzP6/h2PohiaWEgws4JZOH2vY0YZwmOGLzRHUuc8y7RJM61uUid/7vgyZqL8lLPK9RD
XDB7wKpppPW5rnzTaRwO9Kf0UyBV8iI741xHqFJUkZLFsMBSTguTse9CQUia5XcGBO899o0vtSuL
cZjqRZPd7bP68P/wa8/tQd8uq5xMKTNzzE01R2i/uPORXaBuTZ2+CBrEeL80ApXTu5F0i1TIvqR9
Pgf7f//JX0OVb6+2CDo9IM5h+bo5nCLtCumBW/GU4/TQkv198TQ8u5YIBDMtycJ25BRKONa1FvSm
1h/g0lEMZZ5xCNa9S3VDgvJ4aeWe/31wNEVNVGAWn9JN1LEr0y5rl1c6IhtaKcb1FN4bFqKX8QkU
H3LtKpRe+gn3l2qb6zdytC2JETHBhyUqtIlMyDD9JdJFi8Rpx1SFSYxeN5vWCSyvrvjQR+YK1VWO
kEfub3tx0YZuiOEuCR+wrnvmJMd0HUx7rXdEUlTsDD3aKhEOvfXUZBUDwMdc+mC609ATG8kvuFoT
dRFq0zZezxI2ZfXjOKzN50J3huJlhArkwBhHdIwDH4DwlWEitQZcCbcwJVOiHycKmZm/341/hOMh
ZUyRw5wfN6lxreq3Mbu0pj+rmYqq+2YgmG94CD7gpiUuIxdsDBVSBlIHbU1E4iZuCOUGraXkxuhu
O/6lRa3Q4gKNTzGqOy99/nlrh4d5Zm9fWLX/542dVCnRsS71IZz6Q02SRRG6L5G5OUr7qk2YrgLI
oT1MpTc1B8ST0qdhQoyJlGmSrvXcyQnnVNHDiBPZmMc/pXpndilDY4rm7vkYfIpATOWorotcs0P5
bbQ+jaB2671SBw9K8SbygjIVA5/jLp4eiYW08MWLLRpQrqYRvpKZklP27VrjbzWFvtItss+E3I5M
eVVajavTq7TqyAx432mvMmzJqFK2IyOfwkB1lB4kefSahimMTD5Kg2pFk2wEipCTDRgQE4Al339s
7fL2l1wy89Ff9fk91h/m8DEmsVB/EPEUn3dTvc/wzxyjD6F/EfTf+ZARoBIAd2POYq1JmlxLQucj
XvCMYfT7sbAJcE7xTzDMxputJTUWm0tTwM/oSRJAkZT9lO2M4LUQnUx7PzbRBjtOUGqj8xAoGEdb
m1wEuNp8jR2uW9vIsYTxlfgfa9rK2IW5k58dr3LROY5g2Q5/YMy2SpJH5kOYhLbl6PMnA456qz8n
FSQ8R++3OfMuNTkMwW2APNzcyM06me029CzTboIVWv/kqboGHKOZoqHSfo/wmUjgjj8hfhOZgX8O
ZmFV9gYFpQJ93TOpU25yqtjRVz9GjNDN56k10avtY0SUUlp4KnPMrWK3rgHBnNw/y6l4DptWtekJ
GMtfY7FEYsD42FRI4x+VgiQNETi3vAV7epcbuj0sra6DD4HKolxp77OyhU9N4VpteuY32c08rsJf
y92HtqWvChm28GpuvCO82QlrKeS1DVGo7ZY4qHp8PEprtV/1OUMuHcEupDeXOaEBbvoIPTtMPOs3
Ua9G60kZJxISJFeTd+2d8CZjGYAdTr0VKSbK5/ye3vB4N/4RnSkgdvimEyPcDtZDy2cNSGgD/vFO
zF0nO+4QrNR1x8zIfG7fOVBZWZFbCzeT7oo9hTg4I+kq5b4wnPGJEVdLVVd9oFx7Hyc3Q45xj3Nv
/pvxQHHb32a/FsCoX+m3ikEaW3bV5usMD1tcDaGkdphcZtlGXzMQ5T+75BAGn7N612ErVHbrxfh3
F6U7olcxShgd3Z4eC8vTrqzaRWxWwMLknR53/BSh+pNkLj8rRvB6dIz34qldkk76Q9ZjzmInGW2V
A6MMUS2Gnh0IM8k77aNEHSYhkEYdqbP+7eoX2LwXPeKnFUe4by3gZ/8urvpHnpTGBNaFsK+bxF6t
DDzxVq0mUDzuGD1T7+F9U5XXXA3CqJsGHrRL7JZNTFd11DqOJF2LmDkhMefg5tGKpCczvWgcMbeV
1lPEDVJLxMWtfK2QMtVumt5HbImLgxgwFrZzEpjQ/xBaBzpKcDbuJ+NbuMe//LG7j5iVvMeNI69g
PnIj4QOLH2Y5OatIeP2kthVzJ8XrACAoOYjsDMYzo4pZc3jhurWu+i1fYBhsGIZU2BvkLXasXh16
nebWmY/RnSlAg3LICnByBzSZmQd+ixpBVuaWu8/5yij+oLyvWCYMrXrRxQRqqm5J2mtnzCJ2abtO
OyT4TFjXLS7rX2GmzN3MRYm6TViGxMPyfQMyyyv1k3/OICwrvcLit3LkzMt7v9F+ZdGLDr2xUp9Q
3xxfheh6mYq3wk1pLv88V540twTX3iP/JD05zb1i5GsRriUcQQAvPy3VG4Yduqr52KKcfjl2v8NU
oKCvnfE4YqWk25UYb3r+W8gKWwGD7tXbRTs+WgRIoD0N9hHqys5a8rQS7bbIrmW07RzdAX6QE4UE
boHM1OkSxHDT9x64rT6umDrT2guMf/BvYBrbvdYo7yLIoS1Ev7te/BCTpwFH+gQtmHYI77QlWZgl
iAPpbNkcemiI0HtRYsjoPAnPZYpIvNC0Q2SsbXoClqPXUfiNzDAj6EEEJiElunIV9Tlj+hmwN0Xo
j6vHCJtvwTmmMe4bv6OBIeL9EopHTaK8R+JLV64Zn2XTtkgSJLs3MettUUEKwW9QGaPqXJXK14if
zOrexJ+xezp2d4S42sfhjkwshSYqJRzsrkEiqvGP+HQ5WbIz9KsWYeHPJcEZlY2uQklZgHlTBDY8
aT+GPEjQtxyxP1K9hc0JhsQywbEe5SBtUcTTI4A0tW6/NkSbMub/s279fhMnLckkWkPVmxSSS92q
2tIqvqt3ME38zEV4dQnhPQvJfb/cSYdbNLNZGx3zkgLNK+c6OzRBkvQHHfObFOnmbZHcZuq6125J
fqsTbzENPUZeGW77I1JCR3VgdSxmKhnLZNVULpJabQ+iK6FrHuFdukwqS5IynMbEptlvlt0enwac
LjEr8OZ9+ad38AhWmSK9pnu+1CWj68KbPTMVAvwSRUJmRRVr8hMkOFDzqlFjhvjqm44LAq/zdkm9
k38Vk9N5S652+To/Za5ADYoc8Oery2cYDd+vfsoONYomyQSdV7p4fuG9ZlcUMbpfPAw+aUsEr2Fd
hUSjo/ur/RAa4RJaxzz459s4o3Vhef/3EKwT3gDZUIYeLbeRbOJ15qRgKOqNkDxYxRq5IdUWnRFO
DNr1iMTtIih4Dkr5fvWlX/vWAOb1rCuCxtXNtzy6ZvqzePRTEbYUBYodc2y5HGdZtL3kh6WcK/TB
EnD5XWBA+ZRxpphVXCTMMQ4wx3WmgpgWQaBcNfa8toyHWsGlH8XpSoMWgbNC/xAlUK47T7KjHcbE
x211n/jSPZLgBPU1wWcd/DP3F/ZOOG0YsldBiRw21ceFt3X+ef131ydT46iQpEzXOgaZT/VDvoaz
YFNVbIXrLw6mjTGP+/MVvwDRU7DLUCXJ0hb45Z/hZNMbWRIGC2y7BZ1XzM0cOcLLUboZLDsaMHAh
w4CQSlstiC7B/GBVM0/BokB1Q8qxK9XLYKw7xvZ4wGptLTzku2F1RL7qpJ9UUlTi83V1C6Kfr3CP
i0b/wu2fe83fb/9kgdXCGBZqzwMLkMlWGHxfMWvRt/XrhJIp9ZsYnfwmy+7It2jgyeOkUbHY1Hs9
3ZnIQBIqa+qobIsMnAAyvo/g6UgyJUSqFfQ5KpNxvJYZZmX7VHgdGdwcp9dSfY+G17B55qvpE1/T
kJC9ZOmnpD5f2qnP4tnff9/J6VQKZV0XFrQfFNQoCwpIRoILfC06PaKIYiO4PdGWcBepbh4WOoPa
77t2h9I+vgiuLKfCT0vl5JCap6TvjsviRMb/KWu746bw8DiRESZSkuCKNZHBgaYBqvDPb/l/eQoq
xqiSbDDROMGwRDUxzahipte4fe2AnmHYuejdy+6VlnSibQqgFeVLx2LXRy/0jnRfndPJF46UL4zu
30fw342c7KZVG/apIfA6DMEj0epo+oPk05r3HSsoI7RU35va81F+7ETybFbWW4YxFkQfUGzh6B3D
DYWR16PoqY872KOLLjZ+vvCwzmFgBl+zqGD7bMGl+3vPnfK41bOenS+fCbXc9I7K4cPjKjBw4ACE
LCVsBPUayaMNyCCHO5Sw8NZiWJaeeYnYpy+v5p8npgG54MmAKOvU/zCz+gyDfiYMlbaq4eQAlWew
YXTT1ignMEWWXZnsafqc0alEG2KYtB6XCMqlusCWfQVOU9sMk5GGxnbjVFfkg/mKK+7g/eG05Qer
6bP6tPwW2UD+gc7M60nCkyY3+IQsupDc22w9bLLtMsePLuw/Z7FkQ8f+kMRmHVD5pMYYI14BmO94
IOLY1cn1Ve/Soz+kfthjn3ojzW8puyCF5YhmE2+Q1c8v+4zsRle/Xf+0ylCSILTiEaI85PmY3xxv
sBiMn6RfnTs8Va13zK+wMR4kPAV+ifnNkSnk7kgzY3iy6RigLXhOAXvNq37f3JVv/cfxOVgbd8f3
CFIVvTgoEYlzqA+AoDIv+NT+ZAot4cZSX3EG0PHcU6+64vgFqzzRZVlHr8SsDSZ/Ai//0j5wdrf/
72mfFjOing3FELO0zbeUFeO2+3JcidhY/GLu6eK0g89n+KsQ15xTwD6r5rbbYdP9iaf2EwRj75I+
4/zq/nZDJ8ePoU1dHWVsiYm+tsYbtdgN8y3TzYVnTyxxelOR9avdAAVH89WxZvI3aftgfknHVzFz
88ZbWCgaGtovFTSWk5gAxb+7+S4SqBKpGHM7tefIxr7GZA6I8GPTtOsx9FRyZUVHRfnQvKrMgYDL
WqBiOJ1G/CshWwDlrt8YXnCoo+sWE1DHcNSLFvvnypXvq+/kdJKqoGjDYOkjYFHkbr3J3ZCkJeyn
ce8e+hVL/yvD98KiP1fYG+YSgGkqUGdOtRjKqMxGno39wQA7Km8o8zALfJyMnWSt4QvCyoXPNm7h
29it+pbakbzYO2FJQ0WSkT8/AScVtkjq7/GQQQpNb4p+b8yfSoBe4Cj4kccQEgzCk467DEMzR2HP
irXHGfFluMkY90n44gb9nyOkKoB0fCt9kkOl4CmaBqJuycI0YifXlNUsvVA84mZsuk4hXPj4z7au
OPcy6TYlBf+Dk9OoK8uwO5ZQhxYPZRDZobrR5icz/0gHbMmqe6xF5DuJoA2MTrrd2N8KTo2tXIJ3
1IUv8+wk5PutnHwIfSEbeqWosG6ujw8sfz/Y4CEOwkLpDLr38wI4Xw98++En6y4eRtyStIUzZWyk
eh0J1wzWYSjF7tSvdUYYFEsobzofXDJ8NQaHs5YxbIT77Kq6mH91dlf6djfLV/KtyZE53ubmyG/P
UDDib+nHxi7PID+YTjdsTQVTbR3azqYFgEcjeHGyeLbV/P7wT9r5YxzOtd7zOPAYFtcdXDucz9Zw
i7Cb8j6bxQ7emlzkAAys9R1eLsUKIvNll4eLC/JkulIKRpcrBk9C1R2GYFHvG5i8KUgJNgE+rQgS
ZafLPExLCPDOCZGdrszpiSM/udDWXLyTkyIozmpr1mbmPPioSZkt2jN0LwQOlEIkg5l3pjN4muYZ
sq+xUAiqo/i5VDCfiQ7VaT8VfXEnoQSSTpbpMS/VIV+ofcIaa5IQScgKGC3J4RyzzzwhD5acChYU
pqJy9JtD4oi5Ck4OBr4K7mQ+zqofXKmcaexjdCkrOlbzSjXvBOGPGVewnS6JOc/Wt9/v+GQpd4PK
uFg2YDE1V3gvK9YWK9KQdA5se5lLxU48w5jO78ruVtG2XXKVkGROoMqOjDu0/4hyxdjRQqwY9oPi
yGjLmmdReBUYKv68BWjLhnJaV36/05M132dpgXGdvhB94NUE2Va3hbbzJxSEag5q2Tyq5UfiVOWV
8FuG4MrvmG6O9de+wHwiGgmgsHGY1cWPOvsUyGMpIO5RrIXtcyL7shOOTOCOpKMvgUri4vVbbcCa
c8QS1RpD48YT11Dw8TpuqeIDdAuX1vC5fQVpJIpqaJjAWCdrWI2jPGxxHuKzNtBkofTeYP7HGNae
6heFL4zf4MN8X7qIon6buws3cI48S0jSfzdwgkYkfRTVEragNHxkRvLplMerJvELYReUV5byPgq7
brjO1Gyl8nzW6GZdXj/Tnmh0mI/V/ty7JXOrGMOvcBsrjyLTscUl1NEkT/r184o4eyh8v9uTUlxt
5qrSU4vkA7KFiK0FvJe3Iko+t2f+5jE0xwqZvHpxMxgfCO3MZWjkhPLl+M9zPc+3O/m6028HQkhI
d9nrJl2itGqDa9IIFX9OPHwANKycVAdLUuz0FWTaOJd7AbIwWulpO0y/lnzEnx/LOeHQ95f4dXh8
u5lmrpUs0nksAoZ3xDo06xlPJhivIt62xnUQbXEUOur0RsbWICKtJ3GHXAJ3QH7rEyxyN62Lfp2E
W9n0BEofBbenDFi69oXoTiXKZ6YJu9Txn+urTDob0zJUUTsjt22Kuh007nogypEsW5KDUMZgGuoT
KTkvLm1o8PIWa3VPUi4UM+qZD89EjCwiRzFoo7+wxW+PLMhNOVM0GElEDGCIxOG9lDNYM+OBkcnu
rG8HLD1t8xe+3uoDs+H+AaZJt8duOGfaMdqolAxjpX10/sJk4olC+VnJK4DFCONWuBxCaY+lPWjX
WX8NqUv4YrZhCa7eYrciXlgC5+qDv37PyXc8aWNmpSM0nN4L1xr5o8CwYcSc+E5FwLTFGmizFKnd
R4cKLLOxxATRj/leLjzYrwPvZNMm/gxXQJAJpi3iScGaBFM5lLXQHyr6M+K8C3eh0qFDs/P5ZnFo
i+BT+D9/AOd+/V8XPSlNFbMBt2utnl/fgZ0Rvlx40Mwwhxyp/Z2UlGxX0jwxRyNmi2uJ+SlnSec0
EPnW1gVTk3OF8l93c1ITVGUdJWXJu2BWCDJzJBEi9tWV5aPCuwgfnuOc/XW1k/O8OorSZC6JO6Qv
HTEi4jAb19D04XNi8E5rAGBy6Wg+V3tZ8mL7aJKqrfxjbJnAqMyVY7hEXnRgTMIdkj6SvrDXDV1q
cbYaBNy/R/pj9kS8WcxisfO9VMt8EdtOFxuDH0k3gbV16uO/y/JGDtU4qLJl8sHbjbdmyOzTHTBO
FqG9feq3xp/hwcT6OjpCsVphCNSpbl/ZaMrhHSo4Ojmz8qw2+zHcCoMfjddLXOHPi/PsC/p+kycV
cxLOqVGO3cJF1F4Aod2eweyeKbndbJYYnBpbqwsH5dmv8Ps1T+qK8thWUa59XXOpixu7WSw52xVM
APhXq+4iSf3cGWRhc46HIdfF9PLkilOEJZy1VOMNfpt2uVYXtNQJcOHu9snwRHbcCoL/5GOg38KP
daKn2W4e2oMurx4Vy84D38DVJEVEUUa3SF5gbVsdJgBow59+fiHnKmBLxdBngZoRLZ0WXVVnzIVV
q8viTZj4O83bkSn7FvpiY6yoCxHUw2snOFuTXLy8Iw+e8MIbhaSr6byuKwgISZWsEJCkoVO1wJQ/
3+HZJQOoCCfWQiwJ8fDvdR0JqdHkEZsopC/CetzOJ9Uk+IVNgJ8dloMkeru4hy7fyum39P2aJyfI
0WqKqRhBXGLwbHxmucxIlPWB2ZlWERuy6et7ddimg02Heat6OZFlbhnDK3KD8C0Or4T+wWivZ9HT
iwvPw7h0byd1XwNLiyMFCDRuKFRRP8AeIsME69KZ8YSDv7hLzSUKvwdUGLFyHyy2+PFtYT50sWEr
WC31+1a77cQXBWcCoa4xeZlWNT0NXotMvtMK8bSDvchtI/6p8YWA85WUu1nbheZVoWywuBfU9+Pw
JOFA5crlrbZ0CwS2fWjTwxC8HuVdKn4k5UFK9l2K1i1GETpzGA2/aPqG7ZDvCjRe8rsAWpLsEmDs
6apLHvpkj+X3AJyRC7tcv6CUOLsLfHul6slMJWn0Umzaftl54gOjOTvxzI26AZ/fjDe8udefl628
7GQ/LKFTZYYAH2Goag6+1kmaNYGcz0S5QBEsHRpfDgh0GpGHYMonItktrnF9zxgf0o4h0UQT9OuY
rH6+o3M1pqWR9LjgiBK+0SdHMV0X/W7GHam+udXhsiRevAYqDEEwxU8OBVtC7Opd0jyo557E9+ue
HMqmFumSurCiCRp8mopnmCZQgXEUh4Pa3tTk06w67YNIEQp1LG4908HsdjHt4dA2/GXGlYGfkBZZ
2oVPh4oBbmvPBdhTqK86AmgmCLbeJK7+wNQUEgwcnD7zg34ZllxoEc/RC3iGhsluJBP/fqoVzDuS
u/OaHlXcio2Xju6MpTOvMdJe8tZfjLrkK3F9TG6E+Aajlp/foLJ82qdr6tvVv7SA3wp1NTSySau4
+uhNruWp71PpGy8AF+Hag0qHcryDqZTMV1FKkMsuya/VwUazGEKUlvyi3FWyU+1LpgQdrvCGO/bX
ArHDOgCNh986Kvz0tgTU4BS+xI0/lw5nYSekLeAQ2k/zpBY+hsFYYbi3FOX4dvUYZFUJET04d0JU
qEVPS23IGj2kQQ7pYt04x/exuNdoPGpf627ncRMWj+HwokDNLAvsoUNMSLyfH/DXaffPA/52kye1
czEiJ9cTBq8LwkwHdFRta/a63uHultaGgCEvSbaQamtlq16k8Jyt4b4/pJNPNCjkrhV1yFlLGsJe
JgTOdIi/nNmp6PHtZvLlFg3QmhyW0PyzqGWNK+wfMk9PPfVhgl+ZQMW3mUp1/Y2KDixJ93q9OwJG
/vyk1OUE/PdJqUuKnkUQmnpyCmVJWo9lSM+I8Ox9Kaqk3lOlHX7VeH2OqR3rTjv4IFKEaeSZ37fj
6qHE5EC/N8jClQJPWUh7cBl1d4ZUMa+LwtXEtdlCALtKUKrFDEhx6amI1NLVdei1/SZNtiFGNZiM
1js+eua4fOFwMD9+/m1nzNN0lqpJbiWVkY6Kk9/+7TOTzSYqygYbjyK5sqA6V9De9fHdWKx71Dtp
HeGYO5GdEpUQ18JncI6AVDQPiesLm/hCEh0+BPyGYOE54xJv1ewTt6rciD1j11T3wgPigkbfoksy
xHWDgSLd6MUPblkr/7whYpAxT5HRdp1OoufejDsthIvEGLo/rpZgQfVpuAHe88Z8NZF5JK8zYYf5
Uxazg03ewuBOUPyaXvilJf35qZ7tS7Vv93NyDIRaYdRDWS1bZyTe9PohTXFtg98v1zcS9TAm5wCs
WvMOZ9Tw1fm5LpkYopoR5fc8fvj5bs586cSTyzTlssRG/k/TppmWEBoWX9qw1e713Cdk5ujN2i0u
VTbRLGgUu/gwOaMFYUzkzL4UzX6GsAXMw+NYhDScx1+F+bdFlmlCn/ZNIh/qz4WqnbzWg9e8QT4S
r8OduTVe6vpumrkRW/5SuIbm/isLTtvnBCnjyAVMY7ITrrpPEoGgJ5Jl1cH2Y8BdUYfeTMXLIB7q
/kL5eeYE/Ou+v7awb/dtRFUfKlklsUXJcMuUK70CiV4lnu6QGtYrDwqBh4fcabAGuqi6PVNVcXVO
D44QFazqtIapezOolKERDyKRY76ur9TfHTxyUjjsjsNY28jDtUiwUegKoKKMHRwNBBt+BDu2rZmu
AJDbQ6h/CFz8p39eU2d2b7J+IZVp5P1i/XZKjujkpECfLEsHi1E1wRVwCBA4xsc/6Qz1c74dycFF
Z7SljnnG5XQYfGxwOhwkCRNr57eouqlnekKPmHp0TY/ki4TJeuxcAINucn6+Wdn8tyzjJF5kw6SO
mot1wN+73ByUcZxWiswODiMlxDGuSje6uAkFaCm/dDQQ2u8J5+REgSi5AElOlL/VJtmFd0Y3I0W/
04/7dHSUDn3J0/yivTS4vjGZ6JQ7KxXtgoFXWP+SxbdJfBO0iBAs2BXSJm0QKtMa34jqXStbjiy/
GRlZLXgyi+LKxIRo3oqo2YbrgsDp38zS4vRpjl6JsS8gPv0S9auEijH4kxAkSUpOFT9ZwWg3kifg
nyPIEPeng0Y835R+DMxBNIIZwXl1FAdEhQzKqjSeLPlW7h6IWdDuxG5DJydav2Oi1jAnc+oJqSB5
Q/yd2AElsRBOU5z2kw3zqiYPj0BEqmTGfTGO+n457UxzQ6uVYviM8OS3NayT4VaRPYVR1ls5+Ggu
TBmW9e1xhilji1DBryq6JzeyNqm4riT65nTdlL8Cgk9qPP1txuxzfDVKjsLGSA5ive1DJzfvE5hw
FeqrdYVOwcSrJiCr81lnqOMKCAXCdTv6aLvz8SronqiQu3qXqQ5pQSGSM+kxrHxSeOLs2njIAcOT
lapsSOcZSeZhttIHfwaMNnsg037TxJ6V7DKqyUbdLMlNZuVPtGXzp0h92Mq7zth2BG4OaAaS+HeT
vJr6Ld5zwwOectK7aB4mrArtoPdLpAViq9hN5CI4SMydavnCXXmlueY+XWgHgXP8mNc6WZXBZ3FA
0Is/DJK5tXxz3EYw/1FZCG/SzQgGvnT7r4QO3goudcK+v1n+P2p+TNrzYBMIaGZ2KIHMXFwZ15SS
5SMCiT9YSvD38J06+uX8HPY+LIFZ0nFRPKglPnmBgarnLirciVWrzG/H8ZFgR3IbE2k9BGgCPhGO
YK88u90eyucvEoo20yHaXgTHFiTj7xP77y9y+WK/ba2KmrW1Rob0Icwd7UV0J2OvPde71i0f1Nkb
2We3i2GPstgvkn/x84agLwX4T1c/wVkMrCysUIzVQ/onf6oEVBCos+BB1cdbPduyIzuSlazkiTHt
Vf2rUACIkLI5MdHJ6QozTZAsQbmdkuUTk1s7vJaUDRpjgXSzldEvtt7aYgTgiYo9sieTU2TZLSa6
nnjc9Hcjch+il1DgQLOlF6WOrWAw0PZN5rUFdlqs9NmhW0kFO6wWlVzRQaBbke9OitDPj+KMj5up
YXatyKqu6QZs6r9fhFz1cZoB9h7GF7Y980/5Dg7UPGnNZgQw1AsXTtjCv1KuI2d6xFLSKTeG7sEA
wvDe6A5hu4n1RSp2eVL0hVOcviZNw1hE1MlV/0e/wThKkQczkw9Bz4HrExTNOUOmQ9N+yua97leW
jTBwyYVzksDBHk6XVlQH+Pl1dj7eAz/qdI8eL8EX14gc7+fjozxcNcEmHaAeIlKDJEkOIkPWGf8f
Eb3Yhcf7JYP+6SecVIJzLAizZOQywy5kxJDELOMuBaAvnsuR8ftK3pb5OimucZbFdlNfSzgkCqiZ
Vp1KZs2qpsa22wPhXPjcFfpezzfh+ER4hnFpInx+IUDDZSaNnZP09c18+yKFOhyMMBFlMvTwHnb0
dMv0BC0j8lkV3XFKqbjUXTh7IxQ2ECcX7hHO/Ezj5sUeOpM1ihIsJdfI3xZqWHuJE6Wd+2pZqf/3
DuW/l2o4CcZ4xHbjYMmYCIbKXdusM3Q0Sz6qwme8H/5IeG/mCDSVX3mxo6Uhk4zZ/8B56Oh/MCFk
HDEAZHY3LfSAwNOsvQpjZvKkbXajWx+JurXmrak+5TppjgdszQzXuEPLax33kONnW4wwq0FMtyD4
sCH2Fz7Gf/FOPkYDKzEso8746ZRpKlhWXC2rBWN0cW1Ffprvouwwa4jz7vOjLxp76j2g2EDwsIVd
JfUhqLZ9wfKqdkHlashQ95eGe2ek1dyXCR7N3FbR/xnuaVKHA05QywB8OE/nXobmEg72IdNdTLZz
y7bg9Tribwxq9Hdl9ibLlSuQP2O8yh/rW/KcAoZAygNxCBRR2h8VxVCDao3zUpU7XFzviQTBBoS6
LIfhBLXouNLCfdJA4fFU09X7tbqarFUibkrsZojZbkjyNESfKJQe4W/pZ9YunP9k9VUW3ynGsxle
DeFV+tkhs5zuQmv7ZYTM7gD1Dx3+VkjZUCp2ebfNn3SA4ItQoHR2teJPRm9N0/VP15WmRjsY1SiD
r1i3OPTsoluyHO3w9TKWIv3b//J+cEXAhlk36RZOzrNO0vJWl7kWmeaRa+GeD+TLkeNOzVrE4vvy
dOsMxvX3JU/GBnUudWJwnOTDUtlCA3F7YkOuQg6I2CZmDHcE0pqmN/a1frfvbdFjy9AWl7iPABV0
7rVPqifyDV1SRWlnv6Fvz+IE0dDUGcOmfJYPjYa3iatjuYsklTNLXhV4vGIQhjPpC48LYem9jHsS
VHW18bIC1J6yaBXiE2AqO7ypSp/k2vgNINsdbSza0uo11n6jyW+uZGcuYYbmO8z3rfpmpnYrM7Du
6hWZNLWzYiJWCFbQLCximvKlVBZcFNkkH136OM8MjbDhg6Zu4B/LR/oPPNVNDTnJX0dM4OsM3fvK
D0HdneXkQ3BPwismYvOFk+1ce6rpssSHKWnw40+naX1ciT0fsHxIOZldIs1jp2ACbV7JFTmYTp46
I5J73RbHh9zH5gfkR1OxRePUcDlyUUVb8Ik5VspL449/oWMeyLc7O1mavVXKaZHO0sLRmV9acS+V
K/j6zqIQbIkEZBJ6S8a35evetCYVFLn4Je3V2dMUa8LlJFUUyC4nZZUQmB27Ziwt9GnSL6hbItgQ
WA+wuJAQz3fCsB+npyb1j5Zn3dCe3cnGuoNrHblIvtvwVsJcU38OJJr9CN/x6w5P3QvI0P9yl6aK
OhZ8AZXY3yeqXNLcB0ot4Smyip/a+aapUTK09GnXkopaysGvCZ+j5AWFPHKNj9TuHIkQ6Ox+zrZI
tvt3K3vu0gOCcOArqOv1hUr9TNrk8i7/u8OT+inW5pk/TOVD8cnZsyhL4JxxAGoFBYZDOAZef5B0
4J/2tEyQbcw1xCWOZqT+l/LftOVip8Xc95s5eamJEaLLaQPxoN2aM45P5LPVZF9gy73vY7c6cKQV
2RXwWmw5EV8BJusY/AoLXtz85kAk+mQGLh7Xcck42ZHvp5foELVPoXi/GDXMfoLyy4DQfjW9jITw
xC/1Nf4K0JGeB8UlcED4g0tB8NJHGwaM8pu+u2z2dsa0kiduifhV6grunqdniRmVx3ysA+nQYibg
duJGa9ZDhbIBQo/yQTJWu6oc9VOsHQtTdlRSi0WB3Phiu7sMguHJde6ZW5i+MYICbvo6+r6VpYGU
t0GlRuIBfMgiKz33wxta97m8HdMrK33UuyuddgAwWs2INKJtKwgGNKoEi2jMrzCWXieCM5V2j9t+
t1TW0+ThxoLlOBnf4UTvv0EQ094Ez+nRydUN9QXWsUgzxdsKRqYmgF9dSw0VV9bbo/7QY52mTZtk
3lhv+FIr+U5Td6HhVkK8Ypjil/vRT73IV1Eo+RHEksprrnR5YchMJHXkdxMp7s+wUgZ6RcLM0msN
G4lpIzSrjqBMycvE1Swy8ScDyIdZzi41/wE7MN6GxegYVou4h3NNfnyMAZGjKLfDK54MxZ+osmdt
pXKk3ilb8crygU92qpNuqshVsaBnxuTWYDFE5bL1rkbLKTrMfvgN9E+kk8okex2hUC9CFeq7xOWT
ZySe+xQSK8VHrX/o+InwDBliQZgArd7InxKBkUQXhW4JzQNozdGDNSW2cqhelDvIEsL7EN8MEW4H
hRdET2oNmIIxh+5UyVuPWy5YlYg/DgwVTCPq98mLr6oB44N3MA35vuoIn8Mph6kpKTh++D+kncly
49x2pd+lxoUI9M2gJgTAnpIoqp8gMpUp9H2Pp68PcoUtUYykwxW+9rVv+A9CaM7ZZ++1vhXeiLeo
TLj7i+hGMmzNsEt9DXd5MJafiWwzob9/8XRXGp2I04m2SH4BkSbO7HahVLuxIIt1aRw9AbiOTeJ1
4dmVSS7vjUKaT76s/pa3wc58mbGs2iKKjrkIaY1MZFBTIB8qkA+m/4eTZpBvrXHdRZvCgM9gG9S3
wtqTlrXCkr1LlMeRxp0vkmQk3NewXEvGaTHFyIuZPA3aozxpcAB/5emdb7kdNQTvjW/X6gLFYfg3
W0vH7Ml8GVbBkaQjeZMde2p+cjwWwscUbCwkhv5mBA/z1vnLYSX97RmlEwQvgtjYQm4+iXtNIJMX
p1Rxw+tcgj4GQBrd816H2McAn/o34JuelWLfkZcZPaX5hsmjDIzbXEZA1Htshe84jRIaEndxw/p2
Vwxb1XwYVMen7dbcTfkhgrAWi696jaUMV0p444muZN1H4B7SCIjIbc/z6Ul9CcJ9HK178ybm+H6j
iARno7Bx2uCWsxtFWp0/FdZBFR/K+k6S9o30IQSPMscGA4nowWweI+lJK8ntBj+wlLVFykujhPQm
X2jykdFnRnb2ODyW7QLQCzUFq3+R/cpAGgiwHzZVc2v1WxncCvZllGu64xsPeX3Tjms53fF/NsIq
jdZlve9CHs2hz5/k5K/O4Xuytpn4IWj7tH9Xw4eB3uec4t7FTLzo29TVaeQwOpacWJyGkHYiwb21
fG/IN2ZDzHB9LcftwizSJGqTEAUoaNRen3KsL8uhpkfS1PXsh827yGMF3AtVwvBnBrgR/irFW8Pa
5AWnG7rxgQ+uoX9hphJ1kmPVzlSXlIdmtFCItscRjxHtdcJcDWY1XjdIW6yjh1LBH3dqdZjae5gr
FhkC+qaU3lvFCTG4KBNd10OqP9bGodfd6HhNQiFdkP/zJ+pYK+cBg/4jDiHgYGx50PJhNGIpBWbo
FzfSe/gUdJQmrkB8JhkAGOJaaYVjWIJuKDXbOWszftO87TDiUlyBBUiM3wGmAQ1thEJn1QSXSCgI
ARoR74NGm85aGAuKw5j63xPBBcRvdTNjGpmkYKgLpCWCsUUKVb6ah2KBS3mUWiAFNXkhiweFwAhp
XA7BL1MAobIjzag1HezmMjFYgr+KWrfclvawy57VW/qAqnc7+qtGJKlnhQmhklcwItnosRCpr61F
o3bb4wTomxcxemzblQBxo5C3kw1xuJAfZjl5azM4FlI3zV899rFsokY89No7SQJ1vZmFyMG9yt9p
VbTdmagU3CejuJOg1HIMgf90VEAXAU9Y5NHeMzwifrdl/soeXnguOEgcFKWdkMNhHRJ5HUTH/l1/
6VXbLPKFRKJXtwqROhMaWB7AD0vHYmfAKUbZdIMijp43uSYxLHgFsOXBPElu5CariiXtGnX4Qu94
tkSpsoFl/GcSZDvggTaKvroXy3CpoLf2rdMItckgFLPZt6lrInjWmWpAvddrgmEO6fQ2saSllFKc
yvQPNMJsdYLE6AHO2ZOu3Hj9iiigIKPtf9dN64rzG+SAaqPlN/vQQplDJrNvwXQy/GPcBU5No0nn
tO0fahX1t78yPDfQF4W0opnuK45pLRGcIdwxZ1TxFP021SvHHOXnUAvRpTmDz2kyEK1yVrwLcatL
eZGgzovJ0HZSwEPlsSMeg7PGi6Ww4xKAYbw1z+KG3lVtrui0TOluAlIlMo4bF8FNetesxjWrJfm4
suzqGD2kRU+W0V9Zcj3lNpB2fnOnXFPhGz8L6e+XflbVj01QR7qQVaeJaDDztpKgbxETBWZsVSZQ
8tgVegaFgv7OkM4ELAKWYmQyeNSII5CQkUoQUutnCxKj+ivhfOQfBYkhi3JPPhBItVGxpa1EZWot
BJpERyJ8tG1yD9twIb+ALZ7Ln/vieZ6zgKLyrGM9PXkF0S4rgU582m1b3c2kTTY8ytVBtja831az
L6RDSVqJ6lLPLQkxPnnVScYwA70X0bsMSvHKm35Bbj3fJ5jnyDNQsplnQiIpjiYpMMrqpNf7uiRs
GlzsQzvRxqRdbGe/SydsXqT0w5BeQRn9yZdA8655ID8nAN9PPd8v4qztWnhyOZVtVZ3ELRuO8R5P
G0m8K4ktLwmuHpjt2fWb4NI2Qc0wUU2X76O+DsF0ocRwGE4iXtFxULhXmqU/m17zdRkMdklfmIVW
3w+vY5qqUZGG1am0iHrGc4AVyOkhvqQoPBc02UHvdp6TdVTGyP7gaM0zcqH7XdlGvKowEdXd07+v
6UIvBisgCmMZNY1JRORZI06hGmhSfDknihrghRatrmKpIIdxVH3fL9Vl3ABERP0I+PDfP32hMvj+
0z+6Hp6ml4ZYneh6CL6jRs8VNNJqIaBwhqQ4LSzN9eTVQOjZTv+bv2UncJB/27eaY3O4JFotz/eR
hPh3GxtuFNnKm4cIG4nt3jhmv9pNuRz+mupGRWhxQF0gFdS6v6Ps3Y+X8i7jpCNfSWL97D6cv3hY
1FjdqAJw7JzdzChpsrTI+ciGZaL9KWYOh285tBiLYGWw/6GrM4ZTKq8SsIT+bZmf+vJPrWw9+I0e
tRixbtpTM+6izE7qTYN3eda1GS6DUPWJo4fN+CixI/QlQwuU8jEvaphpN7W1EYtX3VyHZrgQtgVR
XPRkIkxTTP8ld+6mXuvhXchlmEHIlq7Q7EBjdt6IaSKRMCWxrE8qC/Nzmq2scTkRmYmjC6UbMjdv
kO2enDJaaEbZga5c56AKm/IWPUxyQwObwxg1qV36ZMy5sVLaHp2nSn1Q49EtlKNXHqT+MayORI7V
9Tps1qp3aPV7Bdfj9e7wBXgCf49BN2SuUdmmzxYu1UqMCMx2fZrFhQEZeDrmZOiP8gqMaD13Tfy7
cnD4K+ucNmm8AWXFUGk/iTeheKsa6iLsqMXKW7briU8Gw3VoD5h5gtVY/G3T565AP4GAKDjysJfS
DceXIbRNQJEeLVkjhh3h34z1Q4EmLaufQLU7gcQ34N1UGoGIXEEY3QfQQ6ZlUT2l3u+o2IkULzgu
rxv18Bf86GLM92P2nWmG8VMu06RiFOq9Up/abbZh1DEwVwYrWSEVGQeOqVBxNfUJsMKwnhhudHtQ
H+3MUBl2XXFbgECZsyom7Vcv3HjFjYAMSqbg8O4TQJrB/ejdlC2s2GYbp5uidjNI4zqhrINBKw/w
PBt8Rs4mlX8PDmYSawifMIa6uzx+T5rUId6iJbeoh9zP6cZ4JHvilaNzFc9hxNNdQvZxJd72ylNa
v6jVi8FZP8C6B7U95+w+PnCI0AhY/HTQyvdlojmh+psCakbNnzTzbtCOqAv6TUaHLPd3Ws+zzZ4r
+WjAx00ksObyavRWnDhJumD2+afE9oqoadoxNegyl+O+322zZFMNv/zupdAxt0nr7vg/QnnzpExU
ari6LfEHsnzMfakswnh+c3tCYnawVGYZocVGR9/B9HcSiVkMs/69el+Qmn3/2bOKqGI34f3gZ+d8
rrL4SBiiIcJYke5k88cajhHzYJe6v5PXVy0gl95ONPoKTT9cmaiuv++kjagSDBNZ9Sn+mJY4559F
3DDVYnC0fXMbzR7p02BPI3DU25bDD98IJ0GSc67J9i/0Hi3Og5LEpg5LgOL++4XIUpNTFnIhRHzN
/iW0BwoT20VxRwNPRLhty6fAcCBikWDrzK5CkNcwB3Fmes6/n8gFz/F8LarOx8y/GHB8vxbDq6VB
8LgW2GPIpboXv14wQcYp/WbdK/exv8rxUz5J2/qBVu46NvHwXxOqXKwnvl7EWe2VBkFP/cNFGOBL
QA2ma8xujsDA225hn0aueX8N7HdBEvz9Dz97CH1ZG+qk8pvUm/CbkYAkDC38TR8bC1pzY7muxves
u2ljpwLSIm+4Jbb5SnPtD/PZWt4buPJsWJK5nUo2vYh4cpBZKfk+7QC6zCssjXAvOTJ514T1tb30
wjCU6yddngYJTWzjPOMhls1RSASuH/dLsmVgsBIA8Uec32Ark0x9fftWfs56v//kmZppisK4r1Jv
3r4FA2KB0082Do+JVBTT9bB/MBXDG96iQnNRamqjo7ZEAor7WUVQ5uuucyDcyjsWTh+vA+nTf/Nb
KMtXasQLuuTv13n2oddlFuRaxXU2jqW64S9LIs/dRqTYv81M1OyZDm6HXIKWyzwqR5xZfW6I13yk
5qXaHdnR/JjYEbGZfP+4cs2SVYVP7ITrHEBY0a4sahEidaZnrdkSeFkuLBDM5VYklrCC3Bjf4mEv
tJVsuKp2VxDpYHBjb3R9n9GgnjaMdU1ADzhn4KLT94zWrbYT59O+9MCoZsVBXS9uUje5TSn7OE7y
/ybepDRM2e6XlsvR/Ski2MctHW1rpFtJXCfUWp8jJbE85OUx+aBD7wPiy8WlojnZCuu85sF85+zn
M/SWolUj0LOWH9VneAg1UJqRuA3AyNcMCZeXyS9372yzMCzDHDyLu1fAKCL4CXLhMv817CEywpUs
5ukzNJaGj9blPeMkTB5hgMPS+3tljfw5nOF9+nIh2vfHqE21UJUqFyLxQU+HyV8R5GyA7aJTtVB7
kghIaQhu6W//4lTelDOcXXsiSCD6mMkniWttasafqpPeRo/KnytXd3Fbg9Ays9uoRbWzt70vUqyw
4ryCw00Dp24r+mpOHK+cCXI6hMP0L+ODcEHNz+y1mlAurTXbaB06ZOxu/4PIPO7Wl+s5O6G1skr6
g8H1YJN7aPVFB3fjYKxnPQ/DBlpqMzxHZWjOuPD3ta3kwiSV5DS6RCblJ0aWcxG+qEVNExpeeeqq
tUGjkN6XE1Qu/WDlhIYFd+QOATCVOQLSvr3r5WYBMT42Vl2+U+wS+8dV6YJ26f0xNPTYhqowsP/M
vHz/dR9mfv1//pf0v82y7urRNMtZ7cu7XASOUjni03jT/5XMY0GJO4WvGrbNTpGYHmEG6OTFqJ4a
uCT1SsER2o6L8Kbae6vhIT/mj/pdkDtqYw8jXK4ZgA0gENM3YbOj4ADW7wukly7ZbFXAAWrbJw9G
8StOCQ976qASAk8qyc90WtTY3Z3JCKpk+t0fk85tgnf/2kD5Yo2Bn14nP1KjiXHeLhATQfM7FhGq
vv8ACafg86eht7WAUy36UiU+gDf3DgxfsSYH5N5SBPbm0cOWYynKdYP/pW+GgEDkAIjQwHScVz2i
MQp1plSnZK+vjGW5qtbTdo6im0k0V9/JeaE6O+HLos5Y15JQLv3QkPRelPiCQQuHVDtiBqdlme+q
+qUaT9qyV5blW4RtqkHRt5+y7TBv4BwD5HQ5iBs1mTfPpV/b/141LpVcskgI1Ew3kH5qIkKvjwZv
bitN6Wu2MZbK8DdwSrLajc28ZlnBRiUrCQXAlc356g+frepNWXVsiX7F8pBBkKBjkdxyjCcSw1/M
bstUd9NliRBE2fxP/mQLcxvOiVlHdNZJi0Y9rkuZ15BRGA5L9BzQULTiU2eYYIewrafrH79+6eFL
IpollcOWifz4++aR1EJehwW/qq78NUuzCpfDJ4N+W6ujG5JM07S7LH4VR42D7zpqckcfNinKQriw
gi3/tQhRpKXGf5a4ATkAIlvwLzr76A+NtYJ9nzObjX78A5Uvp08PFRddE9Ay6R7JildE6JEeSpJE
RtXGZUksei/uB2XnpccpZKLauFnPJCd0La1fJG8KSYWFA2WOTBvtLjlcq7svLdDy1/txVkRGnWAU
o2CxGLIG2hHJ8pRBMCQjQDy/+84VKyw9WEiZ6yf6Qvibs1ra/R+iUzyGDECQGVD/+8W4dBSQZXbP
edpCWuh5/9mvNUWoBGOua40XQXMTghUCRsmIPTmHKAsLHiate1t7myanEBxLckVkIh6t4HlLC/Nb
XCxMSaKNjBOiWk64CmHT9g8EYormMsuXfQHoJ8JLck1Ke+nt+nrpZycnWS6EoEpNKsx6TyhBgojA
jTlNM7TyXesdjADYdvBmDkoM8CWgHVFZMYBjfCVA0+NoVRAMc+Ubv1SAy1ByLNHSAWaQF/b9ne+a
TpWrgRs6L/iZastP5TECSZ2NaJjKxxhh75zoAI3bVcPl8HhdUWPMn9X5mvv1Es6WmTEVhqGVuIS5
NddsVJNDZXaLdA8QGHE/5pvH6OyTijEQKPIE1cFt2X6QD0wLgUPum4A+RWZag2qu36S9CzYp0g9+
fMP0tM9+8bmGDOXnkNX5z0qDeyQnIiW9j8PwmZHk9AGJhdb8torsOaGsuPF2EGP89+ytV/ET8ZYt
ODLmySFPXlRFWZQ0HaJxW7QO5AmFhNx+XXKngC7rznXh7qXD3LdndLYuFUb7/55R6SKm2ORHXvIH
oV1gxo/pyn0Ed8Gr+Qt9KAlDN9gQrEX8wGEJNpr4YjYrn6S+Rbkkdn6Do0C90hS/VDKQqWiIyHxZ
NnmHvr9BTTEkeW7pvNcf+CW99DR5t3XICWp2aUTIUh2olL2AMOSQgvZjLksA1V0X38ENuLp/zz/2
4136cjHn71I4VH0Y8C7VH1jSFhVR1yBS4v2BBhJXJOd2sNTFHaEMmNa8W3VYhneEU+ebIiR3igrG
+feCdcHoR9QyCWAwGTlc4mf+fne0upkNzVxQsA9vrBcyLwqCUtOlhTzlj2QS0bQFkTx3ifMZc6L4
++wEYsUs9jq5s3SdqRFRG9qF/iYLC+mGKel0n0Y7XPoK4ifxVsvvQmONa3b4QFY0PqgFUgEOoNh3
H+gli/VGfxmX8gY6Z/Vb39y3BELWEB3WBhMVmrIFQ7KFgRx6TsopDrWy1kByVc/BX18EmmQ3SMDm
hDeZ5q0AFt5tlOeEKY4xvhT9g6KRtmUtLJRZbQjG4L72HP3aG3ZhrvztHp6tnF7RJlGbcg+7JZIH
fIChU4h7qMckKS8Y5+e3sy7hOfpTLAWEq/qieVKQDUE06uKbOXQVtdaVjeiCCpAyWVQ0UYfFjUv9
7K2XujgYyFauT9jZCOC0TZEAEzcgxg4g7Ufv6tM8zfddPCqGtqDP8wtGZcnA610vNx7MAMKF5+qt
WbVrqdyY10g1F+Tw3y/w7EtQfFMKB5ELJA0skR2Zwg0OafqcLfPHjjgOGmmIOsp0mZe346PvNgtZ
2hvVXNa9Bq7vKDCHnXokh++KTOBiWUFpreCLF0mq/1HR1+TQhQmjGDlxOP+CYKFylrcK7Z3BxWFB
4LLnDAMSPnLBetlJ/bvWINIsuMdx5AYuGT2B9fff3+kF4TG368tFnb1jkl9IRDxyUUTfAdqzu8bO
4sekoZZjQ1627a2AL7God2P4hKPLik/ocERH34FHEYN2IaQnAmlQfjgqoVgabLmqfe3CK/P3i4vt
18s8e+3icZR7OeCpElRXoTqzq+kZmWd/n27pKb4ifEzpVnHKJFyItJkJuJwjDVvRWP77fl2gocz3
i9qcMhm//vkoVBzkUhzMrj759Mug0askL0MWX4hvxUZ1A5pa0715kgkBO8yDTW+vM+sMVULydmKH
Qe+OuXiDXKfFuZC9kaOgBq9jsSY1rMUm8xI61lXT0AWL+PdrPmt3SGbtqdN8zXMoqtQcLTpVyS3w
5PipMWlne8OiVp/LfNnRPfe2hXUSpAc0Gw7SCidkSZSXib7HqLkIKHY1YxHRUUJv0T5f3ccu9G8J
n8DehJtBZGp59pwnvKpdmlXzpQKanUcwTFuBrphEeDoCqkvSCULNbccbP2XlhiEnrjXDTdulchW3
Pd+W8z3167WcrSRT0Y0izv+5PvvMbYI5EPh4F8JgPZELP889KqevcGC7s82uaugPXCMZzp2xf13D
WQk01JMkimMzv/cK+zk5ZuuBfIYVf/K+d+LQkasDc7roszmslqd/v+0XPzsadjpZnrIBbPDsPGrV
QRgFyectaN2kcWna4THjWAYep96lEOKyO3889ZhB9wTDSLCSxARhvWBfK9ili3fivy7lHENUykNZ
8N9zwS4tp8ZVWRJtVdmhDHDBlZJ62uzj2vE1m1U83wTXmoYXvyID0AKwVM7K0vmX70lip6ZJUZ+8
aDu/lmWAi+6UONr4LuaPYUGrEopZygoYqCu1WRnZrsCN28aPY4tsDSGs7d0U7QZEmxXsSnWaZy6l
/NhEvwMSGa88uUu1A01GFDAg67ngs5ZrMHiGEo8R2yCBqM1KK46jnd4YS+m3tzdwMM+kq1TFTkXB
FC20D4uYG848PurKOTIF7Xp/taclz1/Mj7f5y0WdLURaDJo0y7ko72/tIiHFiVPbLTmD8u8ZAI0O
n6kCCXXzCu+g/DNvTbJhnQ4qZLJJYbrrpEleuVE/OcIWnJr/ulFnr3gsT6lpiQmFKqwJ0Imw9zAp
LZjwuYK26rsDXsEUsmzKt8YcnhOhXv83DjsXm04IEnAN0hQ2aQ5/L5hlPzHz1uM6anSATHxltxBJ
s3fDBrQ9lJEQR8t/Y2J28SD89XfPmx1WktdVlrLCFMXCg+JyS/PvRnXzlUYW+6uHjAtU55a6DcHr
5JpALC1XpPa7mhl+sbakCc2zMCVgouezKGWkCTWmQX2aY9TqFQjEu3ibLWkplXSksfsvut8qp5Zs
D6H9lrIkrh7MW+Dhbr9WxV8NBG3DlTDx07a9cp75NF3/eHV1pgYQNmVel7PzTGH1hddM/nxtYPU4
X68g3BbmoZCQtT6EMSzKZTU5ZnfQ9K0BBCvBL8ZSRQaeIduatgWKjeEtDRclmtWWTc3trdvGcDSN
yM0tWZrUVYX4hpwYW0uWfyQM/cXbCkiTZ3NQsk5y8a7GJ036iJCVYIYYRTesdiA6JWGjRHg6M1s3
FlZ9W4zwVtWbProlIuaqROHCDv25AlIF4XO0zm9EKYelXrcoIefGiYmMCIigvqrLx7x7DeUdXNGU
Gd48QEnbnTYs0N9qtMw8wPvdg99c+XwvyTW+Xc5Z/WrkHBJ5ZapTWy19EIvLeQbeRyslWxcuNUxD
q5YBoLHRrjkLPw/4Z68EqWGiquArVgyIq9+/WNjjaV6IFc4DO0xOcnhLoi39zqVvPuv9b89fKoWj
oVp1k6UGSUYBi7I2yfCSl42yYhaSNxurWpJwK9+Z/p0ngiDJ0p24kLs7kCpXlrmLjw3KmyiLmvKT
IViNeAZkzq8n8rg7bJCoS+YlV90YBFfDkXHnOeGfwWboldoJZRXzcFJ3r50fLy1zCAH+8zrOt3Ff
yYq0GfTqlCdOYy0+Rxt2/jdczYUoKw2qvusd7ktHr2+/evb1lnQTClS9dPSt25I2Q7ZBmwrTdXgC
7KE65rhFGzBDxPkyJ5scZUvahO2WFF/8KM4cAHTlbH/5vf1yH87e27AzpArsX0Vh5687kHO8tgQf
8A3P8Uo2+b6z/k3pF9Of/7834Vyt3haJbISyhlqdr/ZpSO5j7D3BrVjAtvoPa64iEmXiaHQZCcIW
qO3IHPC81fUVXxIv1Ng8GJMqhQKTsdNZmUL6whTK0VCdat5GHEXNvRTvBYBAGITZjAPbO8Q35uQ5
SegkrYsw0Rp3aTG5fQ/GKkiR0N2Q+EEvXIXvWG8y4SAiVBfuKkzw0JOKwE1L9KXZbRo95x8BWzuG
uaNwkkkZ1FzyNtbpsUDZFa96rKDVqkoPsW5LSgWweTlEGFmXsJhKY8MCFjfYGNDPIUjYNhCCLMvF
dIi1Ts4ei/CBss/z8KHMKLcMTieKh8kNqr9VsuGcUjP/Zw9vlvoyRs4q6j7cojDqVn59GMkVN3vg
YlXtjMKvdnpOpPXYrE0SiodNr68kGgLSb2LFy3bXPDIN0V5VnK0SPT0UGeSZoKdVruWefarNfixw
ujTHA4hsyuf6HfKyIllKVXTdigiA5mlYfsav5aEdrlPm1fHByLfipnw3pkV/FzwZR2tVY+j4E920
S24Le98TLpV2iVMNU/AGltYNg4a1/ng1Au9nr9gS6UshUabpaDIhOSvjmq6LYKIbJQfHFLOPDJJY
Wwcn845NOP+lPBQvM7ZY6pCxVSZSz5VHcyy8MwjAQ2JjZSsDXvp0nHfbZE6ZdqT+Sv/n59L3/RLP
lz6jHrXWKrhEs2OsVG1IcUPBiA+eszW9gk37kGKSXVbXflj7UeKe/fDZ6icwfwnKTOGHCZ4IhlNN
cFjpH4K4WwxFjwCM2ooef7qjB8Rjm5kfcQqdzFyE+hLjOeDMqFnPua5WuIwceVhZIp8idi80ZK6J
JuBIgleTuZjEHYERk7IPhYMpfzTZR4/oJhXvQvN3kqp2i4CnfsnBQjrKLzr0TqFeKdR+is7O/tiz
hXXMiK8TLak86YfwvpvnthvvgT/gia6x4o5gct1/L6icps6PNfNPSvgeePH4X84XMdIGBLWvhvJE
RzjJobDcYH3iIEFkVplsReE5TNW1gtssJ0NtTBdwA72P8P4lkB31w8DUrXnLmdvS2pXmNuZalw7w
BaW9ti87h6y1DOAQcJ2F5fZk57YbFfsESKvWzmXHe0FjBEPBx/o9nixpNRhOLi9KI3V87AEo0Q+I
KUxG97z1G0S85K63Ck7t7Rg4v6COjeZaMu24cpBzSuEmbzdd/pyLu4jUYuy+Ur6tEhYoWuWtoy+z
t+YYkJMrb9p0j7tU9I56xlcTvFEsNJiLfW/Xefh3Fvlz2cBJMK50RH6eIeebzX9hwzEMcBdnH3qS
K1XR16gCzEcL84a61BS7mENbl+0qw9+hrrNTDI0cZC1vHpgb0zaStcphc3RkBGab+AOQ41V614/z
9vfL+vwGvwhohnFkseyF8iRVL4O+Lj0OtupycCZM+U6KBRRMpeB0tMOHbYWl3F+wGaROdJ8xXpfW
co0CexugnJ9DQvT7f7+iP5viZ1d3tgJEMqIChV7WycLdRfO93szpicI9aaUp8RiBuVDFXWy67Pwd
2U4La4U3TYJfZzjZPTk0s7qjEdY+QKlrMo+fp76zazv7YK26K0ihQW2Rs13j6DU2IhlMgivmwULC
2undRiFn4VOJpYoeYLbJlDX9VfKm6EeHe1VyejLXBrbzV699GduXDnHyghnltaOPNBf03/bDsys9
a07GtWY0o8QzhjvgbcVZEkAR+9ws4n4XJ7b6PlNewEka3vrfz0/6USZ9/rJFwIauSTBCzsqkIq/y
yTPj2aZ3L3W71i3Qw4TbOroJqpWIqeC9+9A+jKcmtCuRdNar3bfPz+rn3/5fV3DWuqmmIc1qEY9j
6MHwRVHZvY8TC4t/aAZpoXunHmCJL78qyZvHg5tCqBUtawoJp+lbxwdqGrsSj0iHWnMljCdFuB1x
+PhHsXn3SGdSyw8fhByoqeYwtFup2Yjaq6StfX0pMNI1bC92y0f/OMyu/hIIbYlnMDtI/luRvzTW
MT9AcKmHLVrLU/S7xop/pCvZyLdUshb/rAnRZWa7g012pLfBLskyplyD/vtEVJztP4BihGEFmUHu
nzXvmZ2SbMVffCt2cNSgGOPcevAJmIqe25XvTvHx3XibB1n6LnBLiokh/BPEzYJqKRNfhvZWf0b0
JpLPZTilCyQjiB1PfpyKvSa+kNWQZb/H/CU6qjetABOAsbuK9aKG5ZY7FnXvhEemBQ2AY6cyHdIo
Frl+j4HYnJaWAXyCBeXNo2wMi9vZKAv0Ao8//2ywva5UuFy5KBbcVs1QFPQS30+6SaUOdSFx0pUP
jVMQl2o642Fm5muz/9iol+Clr2N355X8xyv35VfnbuKXJTVrBLGoIn61eJdAx7kGBJaZ3P4xqGgk
D9Ry1adqIkBBuZl23QLsSO0drK3lH0OdRstwYpiG/HZYQy6tpJf/hm7u4rL/5RrPegBZ4PtGPHGN
86iC9s9qPlYPay92yi3vLZIlV100hDGnHOrYorDbuIybOZFs+TfejSsLxbwQ/OuenXXzahxFtTo/
KeYne3xrRfirLu+wDcznSzhvW5CiGrjXelOb9585TP++gJ/zsXml+nJDzlaqWlBUOR65AHU1CFtM
RSJ9rnluEEP2MtdlutaeO/MotXeJ9DsnH6vnzZ66lTisKnRulT0Qoi27ll2FG7jLtKfrGUd7CNiX
5PjB6DZichTVjSDt5mDBwLuTPSekwXPtTs7v9L/u5NmC18WapwtYfbmTIA0IH3PAytvaISv56Of8
l6tr7MVFngbwHFZAcX2ukg41sYz1DNkZNnLjVgUhp6/oAz9StGTgFR0svLZV2nDpgbdRuS/+/eh+
NknmR4cGVCHwV/ypgdWFvkktNL7Yi/vMRULeJEsccsW0rAenxqmGeTbqoLb3bLlYtz3XENyouGuR
WpC9vBUlN+se/n1RP5tsZxd19hiKuiqDmv9J35VSJVe3hrCl2+YRcdXsOePNEwTMBhYJM81OIK0j
7cn6Qmc47CKR7iydfOGNgtX24f+k0qIYjqp+IJnSi/CVQazSevvqFPPiyvXlTp7VqCIkMlkj5IaP
QP5ggxtHm8xa7c/k+BEJj4FeoW1Z+Vs0KXPbC1PmsMzpW5PBHqGGfiDvkvB1GocY9QbIjAhfyTxS
rj3wi4vXf16m8Xmu+bLAtoMaZIHKZX7m/8XiJtZZGZYcQphpE1ee3giLT9kEehgOem29hpchROua
rHUgWTb02ZiDyX/Dfnbx4/tyZWf1ajNMXt9FPHU6Lsa6MdasJZNTKU6KP8ffTzRPIn2VriIPdd79
oO+a1M2Kp3KT44Q3OZUSAUsg7bXpv3ztjp3VqukQkRAxr24gc9AmIjTDx20+it4JlXBgG0RPzDLp
rloa/qG0Nla0rdpHSlECg+0k2GQlo+SFdzVuTL1wYbxSqHctYDScjs72Ib03K6HtuGEDrClHU54S
mmmUM8nSl1chY0jUnQxtLdcXloZ4KKsNbI22crz3qV6iAkz/piFNsE2fwS1wino91ktOLZz9nwHj
kX9RPFT+UQVIiyhSj/ezG6mmilk1+p3qORbIpSvH6s9LPluAv/1JZ1uZMq+ROrOpU8q3Yy1qfae1
K5l6U8fts8VwMDiJxU0PtHXiORXQqHala/cpixRYUk9lMLwC+FjZ/dz/v7Y9qD+3h29Xd7bPeZnf
jVY93/CluvUxPD/NOyw5UgRTYm9ZpE647K6Bd38O62Yc3CzRZj7G0OFzSvXli01ELRArmV/NpLk/
WlTMoVmZUcJgpInd6OQ/Wja0gCF1S3R9wGQgXtvRrNiUr65yF2qNbxdz9jHAv+/aUeNi5kkQ3jGk
XxKaXd9h6+C7MCeS9kB0C/qWjlGya0Y7xurWY5lfjia9d6dZZfKylmZoymMCF+7133vHT/XC2d06
L1uj3OtMkQuEVTdobnVHrRGETr1QnoPlSv5D9y1es5PRTwH/hT4acGLWXXmPf3ZRz65ifpO+PDM0
A76Mwa6ikDCM3019pEFNzAyQuWDrRcwbCocUDl0sFhEBNeoGDViwHDO2+hNgsz5e6gDgvFlBL7i+
jMxkry4j/knUVv0RhpiMzTHe+EoDiZgoBFfsr7RcLpX/Cn0t1E7mjCE8dyWMapdWVdz8x4PGTcm6
R+/ykTwE/JQb+K3zAPZaIM6ltfbrr37qMb7ct9GYrCz0+VWr+ZQBMaXKm0fCp6xkabWr6oEmph2c
iBR7QyWg4F0X9J0C9kdH2A5FftkE20Z15OaaoP3iWvtft+OzFf3lwtRI99VC5YEm9JSl6mgY93l7
r1YIjw8atAhgN7b2mxhONx6XivxaxSfGodJNDfkBhtzKIGwD4PHTNev6pVrp2x07+yDNwIolKeCO
aYvShO+sjbsupkFyaMNDhitgWuTdQSVdRmRc3P1fzs5zt3GsS9dXRIA5/BVJUdGyJcf6Q9iuKjHn
fPXnYc3BfGVZUxoM0Gh0QmuT3HvtFd5g+025YEzBXFo7BisMpqK7SXNIOwJuqXp2xcQJXctFJxht
qV+PTED4x7fCyHdpnfl8/PU6L06pWappHgu8zgYBUZS8tqW8D85b1Y0fAifkeCAVvFOAq2NzRjQf
yqdq3Nzs7Vy5biTkBgzGHfIMPLuca0/c65066eJJHPeNtTfUT6l4bJqNCL+UuqXYNs268T+j/i5O
cb8qSY8oO4TxuY/ChRyNC2H61YFE1B7P0V59l7MTMLtSxitqaVROWdr8WVYeavD7BcWppH9izoJc
RBIdR+HEIH2S7uRg3bWnytxM0ueZypq/b5D5nPWgMqhIL0SCJl2IJVqVq9x/n2XFEhr2I84MWgj5
FZqAv5G5fRDLKoUfRr2jMxygdKa5QKKFiRTkpaA3Gw9w2/ZCsavMXRc5PWoroDljlBPtRn8Z220o
eAPmNVA1qz0UL+TJ0LhMRlga83CrM0GOzybvzEzC3it7r0u2mUGz4sdgbqvsRUheMmUjgxcLPDF+
T6Gh6MIThK2qXFrnNZ4KefraVqdKOYX6RqkLG/gG3oPZsFFCzDte/n0RfB+2WpJpGKi5YHqE+Mdl
+6yKSiUTRjU7NXNS1PC9aMCjFF38HJ9Sbsx4ncIx6nbp8pYh1s2fvqhf2n6Ux3hSMvpjsDzk9igE
rkYjggYOaJVFuBbPnqU8YDtFn5+R5Y3b5+rvm6gywaDDyfQbsbNJzlZZjVZ2UlHRhGxbr2TbWs6J
qmQsqhH6h4m2Pm1DG4u7evXvF3+lpJTQyvrPr1/kcHqSyuI0GtnpjBbb+UGuP6XyoGlrKVzKiTfF
B8AIi57WuCt4kWEPDJQYwgXpiv1upvbwg7XdyNy+U6nYDFgmWZIkKThhXU419bCxEP2soBtowNMr
aAHTXcnmw2rBWGriAvIMNOCMf2Ytu+Y3hqN1eN8ic0ZjMRPgDui2Xh8S/Cz9xo6a+3IuN6ff2N6j
wBJ7cDwsZ7TO+AbhNR6jW97cj8Kr0hnLmLb1v1+w+j0NnR+Gva2I/PGNF6YqcPd0K89Ooie9xqtp
K0JpfqkgSzLu0qXTOXwOw0/dP8pyv8iBKamO5c1h1Mzx3LAxYFYyx6IKBswqzuF9epuqxBEfTHTc
FlHj9eNeTVfxRymyOyDe9U4gbrHPExbC8t/PYszX09eE/+uzXFxfmthZjaJlGYmStETWZFmFtCGS
vSS/m+uGKT82ppWPoJ/sxmrkKMUG1fO9ELz5wq+BdMgUNJyKSLz/vyKJHh1Cc4HaYE7f5E1F3GEq
PXjH09N4ykHtPpWHtnCQcEUxJHmQnsCvFw/ZD0YJGSK3Jgw5OCHNQfjZo6hxrF7r39ZBjFeoGXlx
NvG5fwfnjYbujtz9WlnnVYD4BmOdUHGEx1v4sytjTXnWWKMvQ3uI+u6i3uilJMjVJMtPPtA4+lEk
/mT9GQT6ZY/kIMfa/18Yv1y5nPlZOPuyimKS9K3giGj9jkpe5/SEBJIs8U6103CVqStdWGFWhW2d
sNHGA8h7xaXtj/vTsCvyd0Re/705vouqgTSjLSXO/qfczpcE7aZveykuq/IUqsuMMtRABQXNTCgL
uBegdge6QrHH5+hVRM9ZhZaw8IvFQr6f7s7JUqBN8GntZTqJldNtcCBmeoTc8igtgnYpgaEgl4Vo
C+pDeKeDsBSZoIZO/5M7cczXQudO0XMVeZk6C9T++8muVCmyNNO8JUlHaUMTL0r3JC3OEdAsnuy3
vMF/aU/JTWKm3LWRK/9MZjc5mynyqn+ZelvOePnOeGMNVz/z32u4iNOmmLdWqqXl6SzsCuVXZqxg
Oqm0qs4PpqP4u757GYUHS/Q6F14KI0ovQnDQfP4/vQogoDiVSyrCI19LpSkxcqWPI0AcQg8t4b5D
zxryKhXPb9VFQzilAsDNbBn3hGN5NYs0P0zyXlyJCpD8G5fXHz7O13g0f5j/rOaicKvIOduhCMpT
FSLivEwtrBQ2OS38FinegZmMU+pbHwJ8JDPdovt/TletZ5hLsqi5BYSqLHMuxDhEPuL4moke6nEE
C4zR7pM2XaCLoKEISjAu5Y+YMrisvJSxwc1JyhVwDE8Cj57dRYsI98ev71WLpXHQGqM4hc/JY3I/
ne9HGqlkO+NWlPZmsjBW2jZ/aiOvBBgz6wxYXoiDWgJ+yhb2wDd3pvJh5DiGULcjAc7M0Q5f/v31
9e9Nv6+rvEiVTCvRoaNoxSl7FbWF0L+I0yoX92PqxhqNaLvpFtar4mgvdevk2AdzT1sztUbLVxLi
ENq6g4xOZ/41xwZnS+frR7oP4WgjgInsb++/W/mdiWhxskRkI1xb0wKC0Gu7y/Rl+BNrISVZuMFW
3ZLV3+MLLkRbNdmbHEM7rW3swesP62f4cavO/ZN8fttmf32ci2Zx2WZTbGR8HK490uv32VaBeaIU
WZgVOwzA2TQSjQuDU4dPntwEN5KI6xHoPytQZ3zLXwVtVihBpE+soAezhvwFyiwI1c+N6mXZuTPe
bThghobEMxVYqB8kmIY2nmQ3i7D5C//jVVwy5HDsxiNXsYoTGuWAuWF08ZuBIzkzqPePNksi7kV9
NfzWlwPKPzcZCn+u0e8rwJyS5iLD7stgrPZKNApNj006AhMNYjUbpKujAKDzoy9TvIHzbj4SDf/B
sxdWn2qwN1JbkhFH9yLo/0AG6y0Ijw5wX0sMoD6EqmzHE5ztZXVnDKi009VZYFfag/Q+i/eyoNpj
tY4SaDXyAtU9Ldg3xrbfSW5ClSsdtM8zhkyYUqBWddKPYQD1EwPzyBmP/z5/V0AiMuInovhf8pff
uFdBgFbk0MrFSVW3ee8U6yZ0ms6r8XlU34vmjjDB7N+ye/WuGp8VcVzU4bNpHIhjmfw2uaq/1o19
jFWj3/dkB2hfR258Y7NePS4a7FPaUWTw34B+iSikVjW1xSn/DWASGfVFAtUP3wTsMCJ9Sy97Hs+h
90wMxtz3luTTlYJqfkv//fuXKL60q5LGV6v5uI4UNatpuCd22uMbxHnrCV3weebfI2jdQZ+/Ubtc
6cTx4/AxLZEpIXodF7mCFs7k2zouqKfuzsL9GYdX9+yaa4ufSxeGTnIPBIBNequM/D7Rmn/YkNE+
plmDntvXEFGZbRCU2sjeePAfyrsa9XrIGXa1FdfhWoWfMns2JJt+Va/ON+6FK0UkikQSKHsyFHCo
l9V7V0BfDOKeEtaLMb23gVJV1Uup35+HBzO6l+LHPD+G3R6pXDI3p0TvHUGh8E2KntXpcz4wjbht
gxvlyhU0EMtCERqzJz7HN5u+TGunnOHZnBrrv+VyCxNMfud0oEKAOg57cJwIXhtF4BK7cQiupiYo
48yMWHgyAPq/fo6+LYxGMZvslPtuTKuvdut4lR6lRzgytfDLjDyxfNL8twxOaXfQg814Rp/MLhRX
+ICr9oSAvoznPdPFPwTGQAL09xuP1NFfhK/mhzk5nemCUhC61VA8jfJTcV7F2Sofbh3nq3cPAoGy
QhE721dd3H6JJkZtmPUoBtuijfV0aaHevhfjBtTEPh1fAUwA9oBIjv9B5U05eb2/reQtSpMY0N6I
gFcyEFmUCS2YHpCLXx6vTOnodeOHegrWYOFxsPHP+yF0M4Zo2zjctuguzgztg994qK5Wz7MYU2Yb
0lK2luUInh60z/rGmuTvdyINSTSB1Nn5DyPqr59alHPBUkLWVAzAQD8t9Xen7upsM027GYq7AYxt
khdgjIOUOjiYbJuv9XQJ0Ajb6Uw9+baa33hP18qFv9ekXSQMk1FZbZaxpghH5lcd3dy8pM94FNxp
XIXDlmRKzt5mt5twYYH6Hjd991sAFb7AE/7f7+faUfiylotRsWwMWdTNYwLVG/NtT+fxvI2VzQAz
E5Kj3NtsffBfGo7C95mTehX0ZYA6zGRnCerZ6mfb+qDGFg0WpA7cO5x2oerY7ECzsgPcGKK7wnK5
nzUYeM+3NSuv3WhfnmDeAX+lX13ZKGIY8QS1Ww3b0e0ZaWDGfUYkMUJ29chFVjwb+S86NipX6/PN
tEv83kWSZa59RddNpB0086I+kHNFCsyu+KNYrkrQXvilWbJThNpuvGLkEfPX/VNZ3GNGSt09EhqU
xktUFxMZmkQVdCLpZeg3erWdxlcLPdTRK+ofQMSj8+ksHgs7WUnP075ArElZTEucEcrKnqEt3Ye0
FV15M1Br7AbmzHfgZX3jteYipWyK16b4I3ljaEaxFzuKuTTujDu4dP5PukEJ0nCox5cjdGzTHSNP
fZOCZTYdIZRMhSvWh4wmp/+HpWEtVIbIZPm0KaD9kCZkbokOcxnvwvBo6qB0MSMoI7gvPlxQrHfj
J6xAgpYIuul/IrsnFMvz4Rae+fpZQm5c1XUDCszl5L6Ayoezrgl4HBHbatUBoIeEQH+NierIJVI8
6f4vXXdn7bnhXW03dfPYGDbKAejo3ThM/8NidPTHdPQNvvn8NlqnpFUNyjMdMTtnFHLIgiPSneYv
4E/GJtE3bb4z6vus2clLgzkNlFQUpHq8VG4s5bu0Jvoxov6fpVxU30IeTXEsA3nFHV38barLqVxX
uD3OVpaQ0+DoMIWJ3QTXJwedqEhwE2WTB177k66yk98aU12ZD8mkHrNMKt0JAFoXGVCWS2Hai8Us
klb7zGseE+3YFqiy4BBjPZ4L/Idg8q0jR8fe5Lwpq1WDlU9xP7mDdAjkVWYy2Oqc5Met43sFFICY
CD12phtzD+lSG0w/0xybSromk/RcNBahFxe14oAOazkPGRb6ycBCOL8LUslrtIW41hflum3sVlv7
XKf2vwPylf46yzHA55OYWIhJXgSTJivOGZJyc4Jcp3Bumh5Yxkl48a2dWt3J51M6k8/xM4CyX376
gJXxPeudUNlNXKiE4syj3UxbpLVLfxv5uJvRD2vyIzJgkXZKmNPbFgRPKn0gtW6W3XiAaxn+lwe4
6EOQqgy5b/IA8bOPXY+j6AfjBequbYiAOTVGb+e7HHhHGrxpN82fryTa/LgGvEMDaUuv9+tl0GpW
CqzEL2b6CuNt/JUkR33AAPq+Qe7iJP+iuYnD/P3ZA7czLgBkZeS+c4qUAN1BiXp2NvXdjnZ4dqP6
+K4TyJFUSTqJC/MQ7VL7Z9LkMRkw/DmViKRKi7He9UDA6xjIyXAwdIQPij21o48/kkrwjobNlvor
2YXvMd5NKUUy2k/BZybSUnRSeakT5M4rkVisRnS+npp8ZQ270sf0CaN3EsJ1jm7C7/atWKnZDjJK
vzQ2wbYK9wN65BZuSgw/0/EFQSEk7Ua4t4ZTVw/gqHMm38rjuA4PUoQfih1+BDexONe+lCYqCvWY
DF3/GypCFkslFtXiJNAwknbig3g0dig/bPxNaCzlp37fPhn4oS+nDxUtqR110ifVKfZFQboBBoDE
4b6mibK/Wchfu87/WtklciLpQ2NSI1bG9kGu/Dy6Ftdua+u//d8G9ByE3JcIJFcrba+kqBkCjMTQ
UuMbbUKGPpvMuyVseYW1g5IbNeufDs534FLU9YrUFF3BkF8zPTElVV62bljeK7CNayeAQQ2hEI+Y
yAZ2n2+n7l1G7b6GOkM9nykYm98aBF7Nu/5e00XeVZZqGfkGawK/hEGVY3UL8P1Z4ZzdMsJCccjv
6nh3Rk/EUJ2gW+e3tKr0ua1+0W368lYu7hTJkLpzKdPLEFamp9raKp/sMEfm8okWpqw5JbJ+599N
91y3iPDHCobGfLb0ocElSkRwZBYkVbI7CIR99SNssLU+N5shfmncCPGMBPD0ObFHeUdlVyr8Nw+U
fChf6QRZsiJGefpy1pTARHFnHsPUzWlaV6VT1eXCjzGJxptjwnHSeFbQkq6jR4b1WfBT6B4b4ZcQ
wfEi+EYhtvTGw837dn77l+9GR5IWuWjFtDBC/RoI04Rajzp3/joCRsFKYaOyVKx1e9ScYnz2M0bY
hfUGnb541DbdgBTTLtEd33+CJOS0t661q7eCDnBXlDGl0FnV1/UUkRjXvZgXpwGp5hombIhnF4Z8
XsgMdY92g38HWaQ/KshJ/rq1V/906L+9jb9+/WJAoyRJFElRyrVgAOJwyuFJNSBqJVhdYf0YNu9G
uBujNfpr6P1127A40hEzcObxIgXnEYfOmF5tsvoujOBmbsx+qyugP5zU8JiEm6C5pxRbEprNje3P
3P+b4KS5DvvXE1ykBUEoKH1mRXMEyIufBajedfAJh9iTBvr7Nr6l1F/+XhsOtE0RhoM2DOx0MevE
KcgE+OCMQ25dGqdYtUZufkNh7E+WdLG+WXjXQm2ZTOqbx5EW+LMViUaXCTF06z0OHoxhK3cfhnZQ
+5WU2vgIQkEaHpa1dldwU2EUqr1MSMJapKa0SA9GsMQ0NjdcFECmcXfuVrXMqGqtZEBhcH1ciJFz
xghS81Ig649R6cmKa1RLVIuqFJOGu0rfnsOjWs7CkVn5khgP7K1OA4t0QOEICOeruRzAlzL2MF1Z
gNAk6I6gjvYAGSCttnFE9GZuqP3I/Ge6T7m1bMYHi8Sz3tc/cSkF6OP/8huChvDLOt/cpSTo3z+y
ZSAhDUmNadM3oXe9rQ3dFwfgCAUjVrtOEUxGh08xvXZ0sccRUmBne1ZcgRoXljNKzfRotRtnRwuf
zPhkRqvk/C7XO1/0rAGDohVqsILhqRJ2S90LcEmLsGdA+F8wpGT8a/GvdQIXLGYHlS6MSdX6GKMS
U+WPEvtedUH8tO/ZW/yg9osqnE19sdia7mI8ufylTKKBK0S47eGoA0FFupCmDo5GmZ3Ngs/guBdq
Pv9ZJu7hMviWIRSoLtJiadBYlOIHs0AKm0J9lX+KLVnLCX19XO8sj4ysc+J+WSJeMGzwq0z9uTU7
Iw2aYx46ufA0Tbb6qpLRSoscn9v4RdLm2ZQENQjNH+ZeuB0GcE58LAT6JQnTASqYDXhvqJbMF4Zj
BludIY21MA/hOn2dNmgVcHxg3SCRDawVJvC0GZ7Daq+bwNDVmsSQ5AtHtFkzK0+P+BX3r/Vbh0ev
iNPwtqBpr6y18MBDR+oqDTZlvNXGnTSgtgNeLH0IB5v8C8OvJ5iWVGXH1Frku1m3Q14lT+LKXIGE
PxZ38s5/kWJXFoGoIXy64H/5cn5F9Vl7j3TY35Vlw0eOnU19rz0pyb3V71XE/XKnxKQE+TxGbj50
CeQ69qrkFs1hzAFmYD4s35jzXiGg4vQFJ0OzkByaW81fI3tKEpDLGH7PHX23+2nmdv3LSPbxvnhp
kKaGnwvQlUhEUgsGxtxjDeKkJ+UX7OM76b7Hrcoz3m7df1con19XdZGdTHhbJkHNqnobjvVGfx73
4+jlP8w3cFK9A5kZyo0MzM+RId0//ruIuwY3+fJOLjKTzA9CfYjq7MRBhUQg26o9Uwk4kO64nNUq
ugWQQe1WN+9a8fjldy+qfr8cjdhs2+xknMiFGtqLWM0i2OngD9p8gNpQpkWTrcInrsFlN+sook3S
4M7dbpoYFfrElj2+z7Jk69rC0j/i+4fpRW63SNIxH7jVpriWFnxZ8EVaoKXNBAeQBcfPs2aXhUf5
wjiKa58uk+1/zs5AEbNTGsfvNz7R/H++vLD+3rYXKUFm9HFVafzy+Tm67w60Cv2fOI1x2wTPlpes
0B/YGG+68uPG715JWr888cVF3paKFWcmvwtIDNvuWcaC2SwO4pFva6560Lz/UuSS2hsHFSeCG498
UZkbrWKcY5GxhzXvDvNHc4aIZsvTQq5sCXlqjHSiHfnsplzJKCuFi3CFP41DxbwO3sU1buHKvn2F
zESXMPhoCjtrl+3SemhV13hS7uajLi5gau6kjbGRD8oRiWB0vIh2hPakd2pMlwy3FUh8hdn/fRTW
8pup2YDu5PNKvy+YzoOonIMhswpGtIA8zpsemCdiCown95a5Y24+5RhlOZh2aeYhezXaeWh20t6C
B8sRveQR+VlXQBNokX1aj8mTevQTFwni6Sctzu2tyd61PhvtPkRe6NboYIMv8my9D/WkmuGQ3bJz
9GdpoaFIUjxNwVJEFwWPbjwbfxsg3mwTOJCjCR6lARIPYba2YEHdaPtdUQTCEAX7A3C6GrpapBJf
o3E2GZKg6immmOO9adgz1q0/if69qb12plf5G+aesS4usD1txb0/rYiNtoyVyEmLIZzMXX1KNzvl
COAwpc0Eu0ZdVqMrv/pUks/Ck/qzw24W1Rdlg+YFGkfElHjXUoFBXbGB6jP3OegHqJ7b5sOyG9d8
HT8BeKsO5JVeva9yp1VOAWYoUYfQQP+bntZkLc3RM2g9bqwIbVA6Mp657dcRFVZxZ+jb7K59VGJc
LFsG1Xd1i4n1ot8V7+VuJgSDJFe3xfQQc08y3ewOceH4gBWVlRRukfkRzp+p+J6PTOCON47zlTrr
y/u+CCPnEDao7PO+SSOXdMErxF9YpxvuBO8c/m9En64GkL++8EUAmUwxCLX5F2mUZl4prmpztpmq
1QU5iMyRdlQ0p2i3mY5lunSzbjT4lGsLsERVpa6cx9mX2uSCFkAtEa2ULvcBiKn6oAPbxLrYUcHY
kBaO7vjeAdH/ZLo68jeu4sA6sYNqmaCLa3pDsmgfmULY46tEu0L+zFVXS9EuY/bu3ir9zDmoXcb5
v1d7kQhYiSoHsYq+PH2c/LdlAhfHBABt64VEd3BXvPq/Mn8z9adpGnBjfyRzNkc7wUi1xZzzwei2
8rhPwxceTk08MGYU8r2/lZr9CBI+1ZD02DHJQUJ4YVj7MFqf29gdMQwwOIDRqvfvNCBgCK7aSUmf
n3+NRpXXkJ+CS8JxHbtLRAqgIqTxLsvvlQonkCUSBnQuH2XlOJz3u0B9DcJHQ3w3mV2kW6mniMk2
db3R42VYvXbZz9qIFzKyEr6F4ddGyn76wU4AuGV5HQVgqS67P9bY5k2d1GtXiiXCDWDACsThMvxZ
VZEGkWikJ+N8VLJD0WycsTn28UtkrSWn/NFtFQ/58ihZmcpPK7+vxkVCl3F4mYP87abU1XD813qM
i9FqPKHNRvmCqvbM4YGNK9vxCsV8wc6LZcIoENdiNzRXlrTpnfLefxHWzZsYLOGkZP2NYKxdSzEs
GtE6BpDyd2PzTrUmpFHb9AQer5/nkqZpA8SbsZiCrXfdshg/5PQ963c5ImR+/zo0d12wrAh2LZ3g
e23YCfpDzYnW0WHEEgFdWStr0Y92VAi7SF2GjmhmC7n9hfpUOHu+r/SBy25dhwfo74Gd7YmmpJuq
p8P9Am6Cw6PllNJm6FxTv00Dkq6Fw78f+SIBTSJxVEaTR7bUj2DXQLRvGT0WxpOVHpLyVW7exeap
03fAkJvkWCnHTDrFBZsXrc1OjSh2oO2Im6Q+1O1PJbyPBpRpxruM/S1Uq1p4kUlp83Jk3AxAv/wZ
w80d8cOjL6v91FEMaY+W+kssfhkoFA7FWy0egn4jyU64nbnF4gmys1qvamVnlM8JXsRawD0kPwiY
pmmu3tnW7zD9kUwHxpdnxpvYvQTKm6kgVQN4FRmWzyz3sIPRmHWej1P/w5ieQul5NDyrOqbhkzTu
Q6JZ/Z4rn7oJp1Bf19JJKTBfHY5pvWmVhai46Uh1y4wwSteGvCogNBcerEU9vJOOaC6V4KTBbaDc
64kTXiGOIm8xmcie/n13XZnJKWDAmFxrBoyOb7lLGwySWCZVSuWWlI+isAP9ryyhuvW/k3HXtPel
9XyWllTpEaoqBfj1FQpYqJp3S500zX9umoM5/NRpgN4cD3xvwn9Z2+VBTsc2beK8TLnlpGWn2jro
gceyd+kv+IjEJvsqfhTToxzcNW4H8Juid6urqE7Cp7ar6N7A6rTSbK1d//ulGd8P9dzExFIMbXMT
IP3F9TuMEryxVGxPlrlHSaEzP1JkjWXG4r2qLl6r/sX0ztvWGz56JKIW4tOAZppdGnc6dunZGRrG
6+BE7YJEIXo8rxKHIQd9KvEd9KqCOQstC5rpWG2sNOC5zQGpHC149MNnPfKi7q5b0TBIseWAa1L8
CupPcrRQeVakjVXv4v6lZdOlhtugNYwM9dJSXjSE5/txV+EAU67aGbLP8Oe57V/P7TYXVRRDttjl
/PstXWGf/mn1zk68QM6+sYQiA7OGKtDbU0MHMmNosjmPPxrTS/snBLQIhQwsBtpp9E0UkFSPmLHW
mKSFHv2WYJ+Uv8N2Fc+cmmBjxvt/L+7KmP7r4i5yNjDyk1iVSnsaaQAn8k5Sf6PNXLpmtzbqrS4u
KUNETGcMECT1gkRhsEfFrbzYfEujh38v5s806Wt+8nUxF/uJaW/eDqXWnqZwp5dL2noM6zOUICc3
qxnhYJdNmEog6y/bbgWk2ZppVhtNguW4kWwdH4RZcRx7nF44sG48XVbJbYbnFRjh13VeFI/ZWTsr
RcVLO9fHMv11zlxmmLKwo2V7RLOTk+kG7X3YuYjdqefnXj2CJ4AEIjhD54yVh0rTjU2mXIkR8zzh
vzfZRe3VNsl4xtyUTebMp11eqBNaBptheKHLqZXOH0cONvxBzOxhJkluUetthyV6mzQrJzqRNtaE
6NxRnmKfKZEwsODOg5PEgiN5OaHqdgt8eP1oKLMfMwMJHQfLrxVaaE5KoUhWe+qyN6Fepc0uGfFq
86CMNNJdVa6MD67MaGnZtbUZ0EmF8A8uNgrtUtigWIhIoHTs8OANlyF09xsv9bujCXaL4n+Wp11k
UMLZ7HO1NdoTcIdoNlxv36elju2Yi3Yc6rKqHZQrXNJMGhbuNHxM9RFFJAlBicpFia/QliPbUX+B
o904fbI/F+6/T8z14/vXCi8ajr0f53qtElumflsy14rpsiEVGNT7ARcYlwFBVG/z4U4irPbLClCT
jr5WDQOu6m+8rSuc8a9v66K6EPWiGCLFbE+SLC/kmtofpaZnBW7I+V6ljwy5OaNHIT0F/latXCqd
CQhY4wSHz8GGJlURpBVHrR6gBR+5R/rJgd5bGl456QvkTqb+Ae2af7/AK4iXr4tWvu7AwOxTWRL4
xLXb0wyHZ20wt31gIgDLGZnSlDv2vIKrObh+d/KDow4OxguK3dl6+D8ANOfFmKKKz4IB+uYi/p3N
LB7EQGi56Ee8jaXHgvIVAZ3iLXH89ciAojZ2knVvPc06/nH9GJ/vznA5TPUwcb/fuN6vTNq/Luci
zEEIDQRr9HGmWAfSLIPM1+CSYAIAZluOcLHvx3uUhuTG08clwnv1WpbtYEOcgLuHl1wp3eT4X4+9
RArJYrjGFO3ig4nVIDa5wjsSs3uRvBEyg14vW9PWe4iMmbJAHT1w0sgTpKeBgbZ5wKfujOZsedQQ
GXIKlSi3utVsurmsi2S/D8/nrJWC7iSITlwfG6KF4r8PjupCJSoRbPPGdm22KyM8UPuc1HKPnFyM
uTozUkYiMzLAubG15+D57Tb9603N2dtfYNDG0IvRGM/difDfFI8T+3pRv8MbnwJvqh4k1ba6JSZD
FhSNBWZog7nkiy4HrLv7WRbgDzcnb7ZDtO/OxDB4qbcAZ9fj119rvEg//FRvc3XktQ2fVrUCp4Wj
tMVsfuYidIvxpxo6OpcpQ3JnXMf05OOPG2/pag5ryoYEm9/47i5npO2Q9FrYcXH2bsnoOoGOMzh/
JuCzhjkeiIjdoTat3Pno6OKn4Yq6i02VgR4NZQteLNgK58XLjXXNZ/3b1/trXRfRdEADNq7kuDtJ
B+R58tGVpGewQX69M8cFkhFiTWph+6PXIbkAEBnrNIIqFbB5GsDuLcNX2n++RK3mpMnclroFN72i
z0d4+GuFFydREBRBHpukO9F2cV5BZLXPk/KcIjtJdPrUx3WEKbW+ap8hx+vMOfekt9hDFrBLDFuT
8z8FIUisyPMjz7hTD9V789Bq+G/QFXLOeEZ1S+NNuUes8kZkU76X5l+Xfnlaq6mIzZqXm8EHpbkf
aLxeALJ2xnktH0JspkHwrJEoOSUvFq1jxDnLdRAc8nhWZc+e02ovNhu/tVEjZIan3IvRSpFtuV3+
exuot7bBxSGOcylGjyfqTsoieJQCV0mWIVJ5AK2GH90M8R46sL4usEh8v/3JM4W7jmxddno6T6hD
rlQD6m9X2DxFoW2RAaqrV/UEzOQAa2wM8PxEQGSBRm9/0j98XJBR97J256JwYbRX5H2xG/zKV/9+
rCsEsa8f4OLcRxmtojFm70Q7SCdh+Tl1FtTETf4e14vhFHyWT4BSQpDW8fI8LlsLGeulWdE8Q9pu
0Vper9riI5i3oIDA7aY3Tt8VdtS8PkxauIcl6RuXpB39xEDnlaigHClD53uvtDvNk+sD7Qh9O9MX
G/iNN6lA84N/P/b//cOXtX4slKNpBWnHKA6kXbFOaZBxyaZzJ71ZYSAEhq2LF0AybsXi/2Gr/een
L3JJOa2CoE/56ah4zLNf/rQ2p8M89uopZOKPuIAuqK/w/aQdx5R/Qrn3KXo1zs8mFENrYyCEkAb7
+nlyuIU1yZYGekbF+3nYR44ZbnVtFwdOGx7p9OZYNzcP0oDyyyaXFi1dcdJVZ1TXSrevh10qPt3Y
cN/hJF8+6B/FiL8uQ7mXW0HXeDiYEeRUkqcNJ6Van/VFfJRdOd720pItHz35rRfGOzw/A/afYzk3
cbm39pZxETfVWBPqNGBvgVZRElo66jPWEYiIAUxLkoX+Wm0KT4oW/34D169aILcAgmnCfuNkpmor
GH5fdadyXHdLJO/UgRO3UkZcQ2pPcOV0l+c7bM+g5Xf4rn0UXgARzr2xjHkXfdvgfy3jIvQ2ljAY
YV12Jx1HbryPhm1/r79qdn64ramr3Pqxi+gZNWZuEco6kPbnFUSO0i1CRxVXCoSsAKwPYuoKQ5oF
A1T1wdzQFj8EB0ZH1C4SNgrUHW25CqU7fzpZ8VoMnTFm0Atk6sZLuZqq/fVSLsJhH5TNJOhNdzLN
04SfjjisUZmTHCbh6qpIXhlH1q9WewS9QnK2byIX4ar4/9ZEQJvZUiHwaKp6EQFSwTLiJp7mLbLw
PcVRPlrEcyQvx4MAeS9iESbPWBC1tsEZokclvxVUJvmP3ELz5kV4yoBqt0fUM1Iy7bxwlG6N1+3o
05pf3P681+vzv9Z7kSMpjN86a+ypy6pjLCCG5EnSTsF2cljSZte9cDWB8sb2VzoZ2abKVgwG4SBr
sit1y4GvnK5zbFEhUsd0bVMn89Kb7/T7zI3A89caL057r4ZpkkhddwoBRMndE6RvnLptllHbkI66
im73tu0/4KXT08TBXHxu2ZE11bEtMCDBkRF9MMxl4W9JpJpu//b/ODuv3ci1a4t+EQHm8MpYWVlq
6YXoltSMxWIO9fV3sH1hS9V1Dy8M+8GGj1EUw95rrzXnmLRoGJy5kuIP0rsupwAtf/atb8XIrQvg
5En7+c/v5//xHf3nxbj4aPM8CuVQH/kjNF8mixeLHsQ3HQ/I8xxKqhL2LtefobgfztiOhp8IZqid
KKje2u4zSg8tMq25MZ2Fhp2d9priH8WH5vwxrLTHf77UqwcxmqxkzOC6tP5KVzuflSSnk08X4kZ5
T1BhuUZ5k9IDZmEDph2Q2dxIvmbYKmMFxTm6bbzSjXsA6Xof0KBdqHSu0O4h9KLrn2Mer7gwerOK
lOpczQ2GMOiAsqgFWQSbor7JrG0sHwRrlambATP0c/+ALg0sUalvxGTbvJ4SUjteTF6PcIUx0sru
6pBS1B41u2m8FN/Z4JKEQiFIcyd81ZttTYuEAKOaY8pw/KFEkw2QSFJd1Jr9sO5O64LhHsErzsJN
v1al4jXBRKxJBJjrF+tsLJdpK0pSj4H5ePbKnpaNE0mBum9SBx3KWrgxOoRe/5L47DNUCJ8nM0j0
VfmbsloJhGxt/FZXSzf/agfj63VdrKtdn5eVcmZBqyNXJpEk25zrlXreQ1ikSeZUgeBMop/GvlIF
iDSFgrLa12riw4ImIcy7xXK42Ku9NmuCgvSfuzXfzS+1SKkr4/mcyv3DBGKz3Wl6Yw+MAcT6OYxx
Xv2Sq8LuZdEOGxdJZkgsYWr4Awc+WVshYzDKnQEQxu7YGtSHdNosdQ6uqBp4Z79c4EXjR08m4TRF
yvw4zyz0hYdOfJpujNNdLx9UMYhpaIyyfVTuGClj7l6H5nM77gixihnh5819bh3IrypC/rdN5Va1
a92NP4/u6UaWvdB6rLubFIKxc1xqKF+BmH2/8nmj/XJrVV1tmrwS5zIvORTqTta3ZOgU9YoEFSS+
YB7Q+VLbmbI99pte8ZD7KIY98FHhyEoCqPHTq/yo0lGuSZqy8WbDPVRv0gOs6tA/pqCBZ+ahnN/o
5bqpVifSltfNbiY1LBXkV3SbM9ybViC9QCbnfxquX/6YfDjGejaqPVEdhDK8oHAZ0hdz0yKr8fpV
abnnkQG4vMmOvuLEFI93iRs/LXza1/avrxdxsfS3sVaJkc5FtG5LYouerI3JP57X1AFIlqbqNi04
MN6NiInnofKt8BnNKFMni5+l4yfNenxXYD+qnSi8luWv5UCRq4f5r1d4sfi0YxIlqsLbCkbYY+u3
SNx6j1HZnmxUhTnW8eNDGQY07ZkGtQfmCdMb35VSb9tio3IGdst7Nl4uFcH06QOCAbWebAvZtmZz
C/75fl6dmX692oslaYhNpThX+tzxSu4tvuLClbqNEdoqamiwmxoVuDgblieNptxTx6pVcDi5C0+3
5bglOLloVyds0ZXyGJa3gv6h1I9ZwTGFGEQvGVct6lSS0aQt8kJDXhfW1gKpkb5BcB7ploprrDiq
RMbonhzW8jm5lZ4t2u+6pyROeUB+w+6SPrMGkusU9Y7cbzrYhAkBSOWPijFvEqhox1FpxusUOUUK
L30lhoFwCkB+La+Vc3l0eVz4ersu1soutbqjIWj9w3CHMjJn4/NFLF7pS9FuevR4DLqgCzEJdNRq
VXXrY3yP5wtQ6YzNqGRv6fldnXJ8vaCLtTE5F2E/drxt6bp8pC2A1auctpK5SnIAFzf68aGFfFQ5
YFpTcoi95sDUzU32wzuoh3Pu6vVqgKca8A9Fz2Pl6ybA1Qedz2dRgnJ1vAYPF0uhKuqmoVzcvKir
S+E0Wmx/763bHB8ENM1wXmahnKj7MWxtWhsSbz5KVfQZWMCAopUmnti16mfvRR6olr/8UP/MMf56
qF+u6+IejmYnW+eY69JsogbN8qMncQUw43pO6gVTpdl4C7riRhRuou7/cXC4ehb+emMutgmJQHb9
ON+YYprzIQd2rckraFeYQGFy0mhm7N/vXrgd07XijIcGrCOdsaUj+bVmz5fLUC/ni3rdHlNzvg/q
PUF+Xl3fkF3pn8L7OaBjaFfauKK2K98id3G2ea0F+vW3L856YxRleTsx04qeVTpwEULmgNqteuZg
EpTTLqQjCMn0bg7gLe8HcVeVa+kze11OmlGv3wYV6TCzL0ZfFwt4kZJDUB6FedM+CZ4l0uBjsRoe
BrTuirk6wv9ldam2kcmzANEz3rVnyOvnD318DE3v3DqFvs/iNVlKIWem2YOG/jacbiPl05Lv4ooh
Weodz9Sf8nqm095Z59RJq/vTQ6Pf6MU+LLGxHUo9+v/I8K51nlC8cRyRZYUjwMUBcMrCUsqkaHjI
UNtBwWC2YkGEsesGVSBkkZXw2U43ZX2vtoiNJdggWbmu1MVZi3atGfL1Qi528rpMtUkYuRBo/7Jr
WXu9fxul50p4GHF5KruYRNR2VbFGpelrN76eCExzZtufeJdOvxggm+NGrn5GE3Vz/4KH+kiwW+5m
8U/j+DlBkn620IrVKyaTjwqNCuG1q4IaE1m+H4St3sZOpDzFMB5C+J+WfmiV7bDql+Q2V5ywCmXT
/C/Ed3/7g5OiS4kV4s9UFE+x9lF733HLO6f7PaItPTtobnqiXMtblfG8vMkVwgdX0KCAoTrSKvo0
obxCf30cyKICoId0jvC4/K5UKYDabXwkHexQwrTFUjc8VtK27j96ZS00TKs6yZ39NDGxWw+porqi
5mXWr1KHt5brdljfCaftLBZ/Ku5irwH46IiwdWvst1WxnrS3Tr1Roc9KY1Cm7j/XHdd6JRyKRYv+
nwHC+s8g/GsxaUzncUxVEJQKfYdArT/Ozd6MfEO6z0UXC+JRv20xIqqHDH+yvhvT1ZHGe8SigKPT
K3UXMnefH07ifac8CZChTvBDDupinPH8Gl5sDjoWAoZx5GCqf4HJIvlkdX3fiWwOHaEPkJTPK3V2
sc3iT805f4LQWzi/mku/eVGUxWbS1NH8m+Ged6NAiyDbSmJriBx1W/iRhngCbfZ1g7GWEz8SQ6Fs
cMGf3/mm+xPNwuD0s4KVPveSYGKr503OqHc1PHVPpz361h1CX5gxGAiSTrPj8GH6kWJJVbyW9Nby
RbZoRhWrnuwjDHSbMPKk4iAx23nGmeWZHuZ74VF+ITNRA1bcr2U1gAl36pFHrbs5J9Xtmm1r7NC2
Hs+uQZzDa9eAl7aNV+I6ToU9bc8kVDwtcZavbeTfntVFgdFFYyfqA/cNxKKbEDQsruY0SGCZs7Xw
GAX4JNCMfTKoAW619Klf6/WAAYCkggiRsN7LA5LVixi8tJSf93PeWXv0xaBYn1lVq/3xqRBttbR7
JjfWJlr3HgurO4BiQkn8IU5L39cVw6ry7WLmd+zLB1a0uTKqSi4i3qgTAH4OGkfAhikfPwV07IIl
UiT7pGHzsPtufx5sCoqUqBP+G6mHnpQ7R06iUIZA3D8p0q4yD5DeGzwD0ezwiXfVy/gqCK6ZE6fq
lQSKV2upWmeMDsh21bZMLXm5zLcpdkRiFto9KZgD9FOqO3ZUbKfBrGppNlgVOhy8iu7xj50tpPo/
q3Qt0NqOlNMMQa5CHOkkTjg1M1HD2VrJThw9pd6Yx5XSOlW6oj8M5tzg7wKfpD9q8VbHoIoFt0ai
y4O+OVf7s3VTMpGWphcdnXKv7NjHQ8FTCdxGznWn0ElvMQK9HaeNNL0LyjpGA7kTPsWbcrLhkRBD
q51+8x+G0acx0w/vCXGNoAHzfSXcS1DMaOzyqosOQuK4+hXSsBkc/XbgHAosMoHr5uDT1R/5TVp9
MTN9IptNtyltI7rTnhlX9fcxOBYj0J7TbVofQnodCg5eGwoKyzS+kfNPToO1sQ1JbmtWydHvCxpD
dkRKQi0/WuGt1OxGaZNyR8N9gy+2XiNXoLWV4+Ewqbdd+rgqDATVoMdlV4iLz2scs2wUkratJZKR
WWFWFfbCgmOEW9aGPequDoJ68qqdCc5eEbGq2hNl8HiTn/cQ7tl5DcJBGVkAdKan6guKPWWPpPJE
p6W3+kpphlUdOwOGBmRJl56Gc3Zq1ejM+COeDmjoR1d3jJdJd8d2j0ZPw0Dt6LQX+fyd9KdcY1wJ
KadJ4yFI/TPHN7hSX4R0UduiX+lKwElUNRmCt0RY8kVR1RyFKsxq5fwgv3U1YLg/X9rR4b2U/HHX
kxo6A6dR1ermTkn8QSXw4hYjMn7rvOBjiO2WTQyTJ5u7TMJXUtL2e4i7w6isrPtjuo0kPPBuDKOh
dNLa5kmUqIwkhB40hfK11PqNPsep48Gz0m113Bdw/agKwvuhWCswPypeA5vgk3IfVZ5CqOfrySsj
t2kORe7gyMu6xkZTaaqbMVpCIf452F3soSaATYiOuoio3bpYl9usHMYm7ybWZbizfL9zoqQm3Y/9
QYs9IoN0uo1PhoE/WVpn4s2gMKMN6zc+rFPNi+5AHM1XoZ0lQVyXrqyQ2dKu+/6+dYat8iEDXVHe
Ok6sqWtM/cJuLM31/l9XD0EOH6Esa/wF31fSXpXq8lROEK9RsPC9nII5Hfc43CliMNunad6RFz0J
ABPHJaPKFQs3UvYvP34xUzrpcsLhtOfHycPyIli057eyfJuY2KyTlVIpLmkC3W2GrrxY6dFG1xwm
2ygoFJzrYvFYBhmCkkl7ihmRD2v6InXw38wLTVmlow6Lm/Suy88yGsNCqxNpeigBHryzc7QEfq/r
W2byR8AdqWd+vANLjPcKpo514msDGXb/XFD+AYP+9ZQMFa2irMy94oszdJQdxzFq0zPHCQYbtUNP
MBsBLKe+4OmNfMiQ7MPkiJm3uKpviq7wPIcpHek6AVvWn/gPQLccGDn5g1j5RcYq0RK6pyqrpYb2
1b2ZCQwkTon7Rj/k+xuVxqI+VnlyfojStYE9kWHwq/7UgxSbUxSBaDBlw1mEWIlLVfIA9oC3cLuu
HAOxPZnU4ARfMQu6+CTNRKrKtoqmhwTNgSXvZGkTIXRmWgawjNa+V5zWE9lX0WYUX8+ctkLh3TIf
MdeM94hn8VM6R52Il135ZulkJTjATLo7vOjF0lHhWhMdCBUYqjms4W+v1lmIxaqXhBEfL6Cc2seb
D/EpMHxpKxw4z9F0fhG629p6NbtXgxNFarEI3mXm86lWbfH0VLmiryFpJLY5AaQeulrEyfGlZeeS
2fQ14gBj9TZ5Hn6b+/AJAHyKnC7Fer84mLpy5gUVpRiiac5hD5cfSnxWFMEaWErGE3nDA/bL0tgf
AwsuiJ0jW5s8o6dgJWHL+nP4njQq8WApvOaKFUwxdVGdhyoy0+DLhx+FzShV8jg9SOZeJ9h3Iiid
WmIzj3HLEof3Upvy2uzg2y9etNgis4yUSWMZ4z2j9osrLO3AMt3mTtUO7IKG17jNDlBpX5FXVzpL
Wuari/jXP/lieRAavTCZGE8PlZc/qj+F1J+e4JWBHak9ZRMxNtFW7VO85Ge5cpL7+nebFy21iscd
KfPfLWyxoxL64mo7Cf22SOIOo4iWg/fS6nLtFPTtNy/2K+ahxz5X2G3VALqYYVPlO/CGg3cAKQ6P
N2VCpyIszWhLLbQQr43qvv32xXbVNDzkkDf8QQs5A4meEa5HEjRZTuY0VbgsLmwnh7U4dUFcTsbL
3I0m4JFULrRk+P1gtE0uIbcuhPm5Z26t9ScT98zyRzDXZJcbxpc3wryo2fqz+r9FiUnuA1bogqXP
C9fD7RwEmk7o2BefzLVK4utPXpzJYrGdTuiypwcLOT8k3ARF9vlxjtdUH3M70zy2pWwRB3d1u9HZ
nAnJQmhF2M337eY8GCdVEprpAZOjp/jZVlrpr5N5i1ZmjhSaDoT32aG2Sr0Qxe6m/Vz8/K/V7V+v
4OIPHyPNEpKWK+h9xWdzzjzBi00/Jv/NLbTt3GfsCe1u8h9HdeET/NNJ+us5f/nrLzbbowYJT6nb
+XMgVD37iOEo0OcguXwt5zsGa79zDxIEO3+LxTJ8roX7pQd/tTPw9e+/aOh0ehnrusjfDzJKPUJT
oSpxVJT5xKs4RCjz8kEuHFfDbcuqUBfu9AMijREsv4PXBkYISf/zMlxs/G2XKwSbcTs4zGcSK8Qx
pzBigEYAIWyngerIFY/P83plornS+gMiFQsajYTKah8yoMiZRs7LVvYcYYdbnvdff2K4ONkjLWoU
8WKtziqx1NXTibdF8KEVyE5E3yG7DU/PlvqsOjXSLbcG58RQl50iKOpd39+Qq5OEkIMXJxPXKiUT
bPC8ZSomdtzvX0/MGl7IqV6Qh5sfZwwXnZMKYN9jd4iduQTRkZeGjrzWAq1yxHadfbT/DSwdZIhB
zQikVTGZH3+/Cq0keULQ1RktQZlg/hByfzjdhula85sgCRR6TFgQ2cZcgKli+gYkq0dCRhcI5N1S
HXOtgPh2NRffs1VGMkMEbb4nKqKebbSBEraTnG5dkPKzFJj8pyy6+IS//dzFIxiHRtWGmJ+rfzRQ
CmRyZMlHp+9hJ4Yz3BMXln7o2SolAO60nc267+XJjn6Wsdc9p4SRrCS4SiVrz9H+hGIHzP0XjYI5
L2tNe6XQbbJVGcT8DjsbBoGCw+leDgNoKaiA8POoHqgH0sGRYVD/9icXW4Z4I+yFO4hqkGNMJ70T
qw2gjeZXYvpGsiWpNhfW/1yyX9PpfLsLF4sIuqG2SBruArwLBgjE4aEa6Zz06JSPJjxvFQPgPMBR
glIOrIHTy61nVYAVctv0pxWGf2ji7es/X5V2ZWn/dlWX60mijFah8GJmvxlbSuquUu4Y3ZyQL5xv
oIITteehalWA12SuBouU0BhWOxlolY33omu8LApmdB3A+hKjrD2+GPcZKfaK3dvaXjqkmj/qvS1a
N03hEz6V5hvQ2CNENUq36cfgCtXsCZXRopl3g/k6dLdNfheOHxWPsxhtyxUWXHp/BqF/vY80ombG
igFZ/qLCIkihkfqQJ4E5qPNEjwOEOnjTyWs0hlePne5L3bap/DF8GlHtHIXnTtmS6UFSevs5lhBY
S4iWVGPn3KuUpzIL6NiQUIvnWaUjXLqFTFdw2kDAdK1xL5kontbpuKj+uP4dQySiYw0hTrtU2JoG
PX6hNsFO4XpfN2/ZZ0urz8FxOyNfhLWhuP/8ulwbdc8plf/+xYsCsUjbJMlNcjNxzYO9+DUz0D1j
lT4kgfyu30S3TNsb4yk+IAjYLMF6zSvnr2+/frGKmmmhxoXKrw+8hIGC9oElHJIgKN4Qnz/NNK5n
8LLD6DKH4/AY/z7lWz1zR3Aen9W9/rN9ECL0HK54us/Nu7r0WiSFTOpTsuj9o+Y2mKAEuwOn1K3S
nD4lwHJykXFGHVJCv3InIp800JHVc+aoAZ30dp2vUpago8eUuKjtcjv56QrfMeSvwjctT6tvzkKg
FbuazJJ0O2SPx+7W0m6t0+4s+0J2yJqX9K3I38Xshv7fUti4efULp6mJAxSqEKLK71tP0kR9U4Vs
gIRdUD5290BAdsmhfgzz1Vn/7EF36dsSIxBlzASX04dsRauMablUOLQaLWGmJEKQ3MRYZIL8Q/15
uptAW53uaTWew22YekqIiOZQjYBct5rkiSCyC6cXnRP/X+mnMbkYw6t3UXtX63V6D7tHdIujTaEE
YrTpnULkzAgu+05dRW4cMGKqtDXKVuvsIFdOR7dg0n26GRm6lGhqp4Zk734/EWgnrKOYGGYHasVy
X+xKvY8x9D937uJlj9psLPqO120CnS1mKPXsIge+qATxqsVgooL7PPmaurhBX1NIE9/DuFklYeXv
bJWoj5uiiHlmg4P/3qpp9CIStDXZPf2OGhuweQdPcwYBnVF86/swvS3755gSmb6T9TQ067b2o9gr
xbfuQ1x1pg8ZRoNYD6/XXiqP/5hkL9fTL1d7aWyPpaHOw5H1NMdIJgezhEqSfo1opD3I6WG/qo8/
5GkDn4kcKFxjgbSHSiULd+wIsfyTgYtc7EDV1ZYbdtjOiStdp+SpSv57Xs8OfZh3BKCI2b7Nf7X9
fjB9xU6bjRKuBpT39IG63j/Lh6F41k5PubHLQT9n4evSOUieN8O//lCZ+DW+JEmx/mCJvgzl1LDX
1DCRi5mszgkw9sSf3c9kRf/lhNijuwmHDeZ9JMopxXhYr7I+sBJHqv6MXeVpXZjPTlHcQzRZbJDM
Jds/XdpFdRGXbS+bGZeG2snVf6vO6RxEnAu0IPxRRD7plC9LtYN0bWWRv9yOi9pBNQZhygd+s/et
dzoVBE2d3a6nIvA0JONzu4Ii302Q3vhiGSxsRUsP46InxS4eWWnIr6t7tr8ZsRvguMmcVppV2K34
Ws2w23RL49AxlaA9/ly4gKVbfnHOEeNz0Yj1fAFBhuQTEBKz6qeMBrW2qfGvzhiuJW3BtfMfYQf/
fgX1i45UIxIMOsbUa3P/cTDdjnCD8RYygmCs42mLmvdMxYIjJChRoCvrpHoLYSJl5spMnxSC1J+S
7ode3cETpqVqobdxUmEFAanpPlvDE48LZa8yL5KXL6Yi0rVSaJQDI7i4S4Ild31jiPNdEt6N1O+q
2zjxWMMUf0z8miGXc9Qci2Q/TvHKTZY+jzk2QNyBLmwo0U1+iKusxMJwo3a3vYCnXCg5QKzyjgiF
YOm4eA0aY3253Mu17DjxSFXzPB+NwiBJ9zfZNvFwvUaZN8h+br0SGW9h33VlIbBzJsFytjNbSK8Z
WnRH+ZDW5N2rBDsQRdp/iot6liujSiLALEIxRXUuYC9KoEmTQ6O2AFnHCEWcM67/iH0a7nIQ8xVS
szqysYo+5iN+RiQYedXpdulAd/0mfbmIi/OjUuMrVXj9eaaNztlgU3wUfg0apMfK7sXPx/TQV140
rgReMzRq88A5FtcZiTSMeWcp7a+Ok1/jFMd7oOBJmTHDsVb/xff59VZdHDuNqG2zVOZWzZ9Kd1/H
oF+yveXkk62/M/dbxRs8Xv/8o9eaH9+ez8U6bB7hrUnnqXiQAxNlrJPXm7gJaE0m2eHM4bJYTYV/
xGpd34lu80DTDFK3QZ0oINy4WRoVXN2xmFcQ4sTIwmBx+F78FZV2ko/mUKAv7l0F3xL5ACPAAYi0
BI1JnkaGLN08QMZ29UNFSBeTzTASh1V8gsA5k2Jydkf+yexQvfw3d8oU0TKakkjA7sXjMVVhKhKJ
S4vXiMioBnlnX6tNTH64uoZdT5Lu1MIpt0dzDul6igaKmNs63pT7pd3z2pjWQi3672u5eGq4eoTx
NHEt+hMEmR6QYDO8Gs1LxM5e7oAZdev4GQKT1PnqbBkXcfNENN1I++Hk8EBNYp1+Gv1eL70iQ5y0
1LG50oFUWUNhz84KBZ7nvBl+qTzGc1arQ97O9MU5YZ3yPH4wj9a6nvD4jXdHGCppYAJvlV4x2c/+
8iaYSleSJ8/M8cKnzxJIYMKeeu+fH6Px95mMK8MDrIO6u4LFPeZRkWUNt67xYrII1mKA6Igh7p3U
rFMFzz+8fV+qNiz9x3hNRnB+k9wZ4OEFhyZg2R+qT3Jh7Ml6zjpXMY6cKB59M45ZMPhLyxFa/L2Y
fCiN01Ye+e4tWSyQrGPf2NMvgpfRSY74S+s9i66iDLkfaiE2DYZUCikJhzAhTZ0mKJaafQQDsD+c
ih9H4+08O5+OtpIROv3QdRwimpe8v+HdWjgyX9kA5xtkGaJkkN6Avuz7o1PE85APIctQysSfqDi1
39dAXDLbQlz2K0YYlQ0IxKlhCI7rWhfnGBIf69D5sIBhpWLahdu/yigs1PWkgNPEvKkDDNfGuzJ7
15cjTq4UGVyywRP9s3TIlx3cmA3mLGYsYul6ei5grA9ro92mlOHDKix3w7A+MWvBJeKTTIfhKb7h
8YS389CTPdIraIlsRZPmcnAU789EPSqrPt4M8q/IXXSi/7l/3wsM7AjkjGGI5P1T9IslLumREzQ6
PENxWudmMP023lEOkPBlbo5ehTgbbsVa7G70inOC8DxkGZs51oX8IBn7BDdLQaQnAFloZR2s44+R
0/G2eUs2JBGxWVDHSj8nGFh+Wh6KxlfCQ44FuRQewFmqHNiP9Az05Oe5+ojS+2L8GZ88mCNn3YmN
20G8TyxfElZR8QfkO/hNsS9panE+AenW2uK9fGKORubE22A4ISxfcYvuSlJvF0N9rvRuuFHcKYP6
BvHC5VONGj1LtGY4oliY+KN8jpe6tFaq1wGHEGezAQszozvZltXnzrg3q1dl3OfBaanGuuKjnC9E
s0RLxPvyl3ghLOTBskIFAmW60QML+KfGYDfs0TQ/V9Yub51o8968F+WhPq+EbGPyma5bp823rYS4
8bw9TZ/Rou30ynGGyzJ0ghZwrLNfXrxIdAoNpZTM40OVvlTG1mz9GpzJ7ENrN6hBUaMLNwXDr5CE
jdWy//xKxIAqEk8H93muk8XL0u4YploTRXO9kvmULIVHSEmJZs/yrdIdAKf4+Ql8qYAPUniB7tDq
dyz6SCqyFYJgRI2q4prYO09+fBcCgvIgfkQuR9VE5RgakJRb4ts5bUJCwJaSV6/soN8v/qIkjKVw
0uWCJYMAD3dcM5QaXhNrp6CIq6KHvvSq/i4UVsCzj+sKpdVd/pM+0UpLnqVodepvO8CCY0QuoS+b
fjqsRflpaSW+uokiMZrbKoiM5MtiqIkzU+jmSITTb8mfCteoNgSj42zj8OzqEkK0m0r5qDG1FZ4M
+/6ItgapaixwAHnQLGT8A0lAzhLtS/37iMS9+3JdF32mfGqEZOrJtJgn/jJDiYehsv0kXncZik/b
OrnGvfqIynP6qNpXRV4j2xSZYsHpbTfTj4hIFbQI6D6EW+1WPOSSayTEtHqm5ViKm5SeAf52DHBO
GACSFoMVr9S8XP886UMaM+fTX3w4CV96XYenuQ8wHbc946wGKHfDMfRWzA6mKzxxqcpPAuRZXKxN
kXD2nDlHSzfyikzl+4Vc3EhRLuUxkeoCt/7AFYiq3YsQ0scqOCN3TV8G1xK86sFAtRUaB9hqy+ez
v5sC3y/hYrfPqpNoFcdqPnSEgTprDeWZaXDig3bBdXcAQySHrF59oQ67Uul//+GLD3DoIv0U9jwE
Pd0IbQDGGj+Il/sQCiCKzg76xk6RXt1Zv0bZOzkWxU/nJ45qrEmOjKFkYyI57dOKMs1e7Jz9PYX9
fnUXxb5uiUo9GeXcngLLBi3GURPGfi6cHCN55B2fqeGRwnhpA7fRJRmxjm/jNNCXsiKvviNgxhSL
PCgNINPFAzoV6sm0jIID2h3t7pO40hU/0kCU2ucXRnGe7KcoWBhT08yx1sPHMub/iqBDnUln/76E
i0dlWl03TDI5A6yVJzumSag4TcNw0ulIVJLemnfxPeZp8YSQluxUjNCrYbu0DV8hB32/jItnUp+E
nlxZ7gSwSi+GR3q0/ygJHIwxNN63c1zdoqJqvr2X1drXv/3ipKUcu1qgczB3tsmje7VMuwoQ8Luj
lxRO+bZ8dLoiHfv+Z14cnSyYpnEU8os1As3yFiOOxdCYI4LdU5Xyx9aYkdfLNqCrhenXP/WiQZkN
E4VOwQ+Dpma2WnCsdERi1qT7Rt42JyyD3nwKaL2+d+IfpHPI6a+29HCZxC/4tNfy0W/pknRO86RW
tmyR8oZA2oBvxbQpMEnrIMW8uxXmT9uFgSWWc6xeIRMI4OZaoK77zQxg82TZNdMdAVfl8xzpweDM
TnctkTGyGAihT3CfHu6i8z4cbqSQQNMVDqD65I/Uv9qwkhuH3sTSXny12DLZhDnNzjJa6WLPmCqr
lLox5eYYMPh35pl2kH16izzLO+6ARnHobzT8DTbpVjiyF9o0V7fcrz9/sVNYAhLeruLnDQJOJlrH
UuOGzHVVhzWSNfvETOqBlPFz9ha297CitT5gHU99yWTNnOPPiLH0UwVH4l0555r1lZNz6hi3obmf
keHnFQm4orVS0GZ6Y0ozbBe2hzTzkiVKxZWpKC/4l1t5saL1Yxke5S7mO94YD/XO4PcS9GCA5eDi
I3l3znxeCrHproipTLYTE/fQG4cmXheWerzm4UEI9/ppKwibMjoAEwpPzvDE84em2A13qfWY8nQ4
VfAWKrdKxXg/vJ+UF1ny5VDaFyaxQU7GPHPmuVLMO13s6cpOOD7kwsPsgMH6GznteRMlkdNz+FC5
yyf5V3W8i98GGANGd5PdSJws220j3pvSL1MAI8r5S7slK3DUGffaw8ux2arqTVEwS9QC+KHdr6U+
i7T4YlyszSdRlIuhSeaj71EOpvNbJKEd2cGFjev9qd2Fwm3V7lTpThJyqB58vxLdRbnwsLLoAVF/
gd68CeljUXlT5XefSf9aYfAAgeeGRXAW9qW16oJjtBacwfytBJK4EvKPKjqMeM6MVYcigc94K5y8
0bjTwvl7T38oyuw3xRK3lmDfHB2zu2+bld8qCNFkAfmLxSkqmEL2kvsiW/coN45e/fPMC51viFtl
jD3+Mqi93s1o3xhbnrb4LOD/a1ylfD27LC/zMcdA3ElHm+lhcdxU4EjJ4bRGdzDehWg/6E+DsbaS
VY+F8uRq2Z2FEoKQGcFm0Ur4f23AgKfnX3nnZ9Qf3BZzDfnGqvDsHeEGzduJnD6KfC4qzFyDSWSm
/DxrlV2LP5QRexQ+msTi6KJbnhWuzuOmF390drhUAvxlXgV/Qow1tlXWHXyhl5KwMK7THFKr+GAY
azLkzuA4SfL4jeMNu1lLHDQ5TY+ctzj0O5lAcNkWYqtMF60C0Ema2/Eje4WaaLZzYsPyiOfyOHB5
eRdbZF+omaKaXJ4aiEUACVUK7bGwRRzUM/JQN9koApEc7cf0t35TrfPV6aZ+IpUJQLJUPZ2kX1m0
G9Sn5GZYNVvpNX3qRzKEFuuH+Tq+buV/rlND028gfqT3crHupFM7xeo4iTP2IIF8qARavUcb5AtO
JG7n2Ygm7aXCjS2ifBe1yn/pqWjWijrR8ihyZ9fWH9fSl5aomJIadlRl80EC6bsD1/FiengNG8g1
NNoapp91e9AZeZcesi+D1e4ZqZjuJ+/qr4nkxO2Sf/UvG9m/roi2BmJDMuIuyQORVURTkvTmg3JT
7KQboyBivDoMzwXJWR+ltqbkiMY5xgw7Gad6hiPTCGxgjaK2PD7Ww21dg5xDy+LUjdNV+PJejMQ/
axCSPKREBWmXpMZpOB1t4qiPzTxlzQ/xVoOO15Kp/fsU7SrIcPb4lL7pLyHrwVvHOkOP6oEEj4H4
3IdOtDX1werXMD8lwZ64uhBD2vm+xxi8pN29PAz9uSF0VPi3dqXFH5V03Kcqsx6KH9PkWNMhQYvA
a4FL/Sa6m7BbHvKtVWI/djNkzCwMP6rQlo9A7gkkRXViJdt+CV1pLF3Vxfc19GVYjX1sIevI1xkd
LzAd65xl9KYaEB0E1OQqkSw5BSoBU5kchDHZsMnviKbKGRyeUxD+Rc5uB5oY+yyVpFtiyGUOSLb1
+FRBUvNzovzs/+HsvJbcxrJt+0WIgDevhKN3yTTSCyKNEgDhQfivvwM6cSNUTIXynvvSXV3VJYIE
sPfaa805ZknUVMMia5uaMwl2BMJ8rW3IjLbTjXQazuQ5NMasousrB05OTHxy6xcoZyZUoQEjheMY
vIrFDzk6N8myQZ3qtA9VOYOvErt4SB5YKr85Rv4eJPz3pf6fJtj/vWV31fJNr5OxkEProRW2sXIy
aCyYS3QnA6vhB6xLWfLLVbLRaUsTmICXD2auK/ySBe+KAWRZmWjwy40Gm2ahBruosgFDMPwLjsTa
Sr1DmaQJbvIj89qGpLyF8CFsyQzTyoW+v72FDySHbiBNC6vsuWWSaRNnOFF9Dr7yjfDxy+lnlgOL
Gs0KPDRQ5n6LWv5YPpIgkcyyEwGAuMTKYK+nLeTXy/Fw216XcLtIfDv/e1QCbuB+xbz7zPviouxl
RYgN8nV84yG5oe0syFxkOrNF8QkdaXAtcsesfcqCPjyYw0/9BDlczJxbbAvvySt8ADh4MYFVw+bG
6Bl1a936ZBS3mND4f9HztiDZ+7xggKCifBbHiVD9PoeD1i9EZI7JoiQV97qKpn3YbLva4TQekzFv
gfxeTCahSZ9krwFyJQPLKC95fsD/nSXLrHuU6mXX+kq/uQEykK0HZTpOpq+FnDVui8hcodktCWiC
dOW1xbGpV0qK+LY4hslyTNZSsDZSu5DXkEaNRfYJcxrNWS+fAvzZQnSOGoSDn/XLdXVFiCYXx4K6
wbTz8bmdDlDA9etKInhK1zdT6EdHwZq1s2H4ErdbXblARQFR6GgQXepVeVtKod9HO2gv19gJot0w
bjIhY1U9GXBQO2zcmLArW/+MVLsMfdVwAGEPfHtgPSa6tb1mrUAaScEqvfkmNTte7/ZX/ZAOtFM8
7bbrK+/2mn60PpOaYg13S9uQdEYOo7DwORyE5U5pPjqRDXEBH8TPDtFjQuNwiUhtiaI0bP3/GYcr
Bpbrek3yCEDFlDJXcBLhJKWryloa3fmKuiMw3yx5XUa7un6X8OQDV8n9Wb1ReN1j1nsNb+L6dug7
u5N3IEJCy9f5oVfR0nqqmLYlsORER6qeKGDkGwb6mdpVoet9vT4Zj+PLbTXsOGF1vvnCjIOUVFft
ltr59kPBJ77tToha8Z520wLLYBz42o0Ztt+J/DJeDG/sHRqKOzqVo+3nNOI2XkwuisyKKBUm/fAE
IjdeQfn6EaqL4EJhxXw5yLyU44S16J6uy4LLT5cCZ4KIWGts/KjeyWvpnXTiW0wjh/OL6FUfyQU9
m3Yy/OHJIkI1sk1AKiWRKSRqODdrIeyYIhK/dqaZ5BMJ4hUrRGZi6KIFIslqWAfLqwFVhcZpfJme
plcZvIZGpokHDITlS5agKdiiJ26BvL5GIJy6ze2l/owvubhMU6b43GC3ZCtoF7x3bYBfYZFw52Mi
XNXr461YKD97BKKtn/aPOVA4zct4vcelclLfa8juoW+QR5C5OmUAoYQ0IV6n1/A4stC9h0BCnuj5
COEp3Y+CVz5ll9sxOWac3eUtPxX7Q6Yvk1X5ZO2kn8lq5Op/mMOzWnGSqk5yyhzU0XbcZKEmkJvL
k19gC0ifRHzyxFnXZ2taXXnXZOsA5M8aD9vu00iei2EjANnYjk5zmh4NTmm+7l1dOCCzFSD69d0i
aN0LWO7X3buukyoL+lRxoy8MB5/SZMs729RQRXxjYPWoV1Tj5m07d97R5cevMaBkCLVTBKUWZU3E
f3MuA7zD5nSzRFuHCyr5TfLzyihSu73g8L62Prs6fZ7yo1pLyyY5yfGGtxzHkL6cnwvxHdopGqiS
M/sTdnXvtjKh9st++pry+iMVSdfq6GH8WzSaV2OVidzolaeSWPHmM3/Fu989VdnPErZGxESqQCI/
uYSWtALYhjcOv6Srtqj7P/X3vlsUkZMUh4DAd3NF71smDc8zPnniGdVgWtbLdcEs9ePfm4385RTB
XiNRmTNIUiWdeRt70R/7m2IWipnWXXppvOrJmuGFi+idbsZ1YTrhLvpU50fx+kmoCeJlpgcETzyP
yc74TiX4BRs333DJVDRyekwLrspdp6fThDCIxDa96Mln7bH4qz/Tbb0N1smmfMBFkNjDWZQWk2Fz
uExYkrJDsprc1LVWHauGb/T+9M2P8+WU//uaUHwAegGISfbLf3+cMTSk5mpwTZQvkNt18vk2lbZQ
d7l1wPdQFDDUhkVxey/11RUPAyHn8UMu/IAJhv1VUX5a4BYyFAzhbibB5J3Twaio0pIt8JTcdprl
lta2T7camkgsDuCuO7+vXTyb1o9M2HzXtzDv26r3X+jubpdZHmcgmdJLL64H6zB1z5LoCRvkw+Lx
1kPji3TbkgVHUTSnjF2zj52wf0uqX2HBawPUJeJ5tYxTxtqvOynahH1nPdfBc06UvAi1TrjJzq05
AUC7Wg/mIiB1urDFxQNbx5juhH6dW2f5jcFZFp5Hefu7q+p0UANMYg1cbY6kIbO2/RDw72gb+bZm
vRR8ECjyRuXYf11c3ZSmW/k4vOaAnx1cxEg76Aylc2vNqp9u9QnUlIvBIuelf/332/LFdPs/v58B
HwJT/Zwq+t8HQtFSQ6t7id/PHq5bGgBIkloIG5tY8a4EhulzfHbR+QnFw6xFpmb99xV80VzcX8Fd
bShpVqy11pRexnzfu/R5UsuHBKUyjaknz8R5GDexnclrirYys4t5hgIcx0Q9hgszm3sY+2LCkY5m
gyMJEptnblYj7pjuaBBI5f8HR+wXIeD9Rd+9R1hCjTKsxd8/G9ewTgo/jC4hDVHNi9FKcGsF65Gp
sKJs5crm7KfyezrXmGyginalfBFDv9Q95fYhEtuYdoQ6YG2+/bomm8r45if+rQT5z9mGlYh1yDQ0
VFQyLdP/3uSbMJRJkmPAgDQa5HuVagH/lfqrnvaWsazFo6m/jLYGY6c8omUihW8aPVE4StB4mBbV
ztT08It9c61sx4oYYbteChmYbCe+tIgYfGPXw9r5hF0TrNOKVGPbsvbsuzE0D4QkBWneI/utWdLy
WvJCDeW+nOyK/SL3B3xeGVUAsul1foZ58/idfebLjN7E6WWoOv8pqn+Jlx6HaTBU7Xo9d4Q0hLT9
s7dicpvUE0wfg8GY0KHwb4ZNqayX3lDgrViaTpStUExytZp26bWPKF+LlSuILzfrZOYrkaDJb5rz
X+bJv69TA3AIjsQyv/RRIj3olKk04rNyME+YaIBDqTjj2MI/VTdGeKTnHtzZGmwVSXpP5DW65ub7
yOMvo8L767hbVActm5Kwifm9qpUIu9DVMjt30EAxkZf2EJhGlXhXJkiQpyiyE+a6yndUsi/jq/uL
uDuQh21a1IIeXc/gs6iN8DjpT797k3SPmJZg811QvDQQqezvhjR/f2Dm2gHQ3wyxuVsVq1Fu5clI
pfMk8bUdGE1G4s3wn9yZxo9IeRwyIAxAJrX13DieAiZSjkYB2YpgWQzNlroTUXsi2QnYoVuI475U
fvNWf5kk/f6B/rjIu7e6n/JS1CKeFhk7M+8Uas0OL3i96g5YavMtBFhxZy6INEi87x7Vr/vG/Er9
8eH3C2A6TpF05e5ExtJq1gnkoxZJlZtbHs9K68kkPBH1t0gAnbVuV76RQgW84d97x9fG43wVBn1H
09T/IqgypamJ2psknrE39+sMstaL+Kl+TrCFbtS/2yH068gRo3o+4lezJxZOMNDQ5j3f4i8KiFT3
qnXe7XWmsnSp3ptpR2GYmT4N5370xtRjfVNyV/u0ck5uHCOtZ5GWcuBFTwFp5MjuXkiwEn5qPxUf
OtoyeVFZy5jkmyRLDOuazB58loiXwAdVh/gQTk6QLao36Tu7wZdCaP4pTImWo0EyzRcRV9HHUxKr
WXyunai6lKum95PwOdfdPvehK8ZOKjiYJIZLKuxqznC0SaDA2jStrjbfJECZ99t+nU0PHZjl2FUA
uyrwL6wLZRR1zr9v3dc21N31yv/dk6AL3Yq2ZOgFBYt3GxMB0yREqUxdEdDMae4hg0VmUW5rnP79
2fpffyvLxEdAH/0rxDO+qlEZNbw56cp6iUW3u7Sv2RPeZDo10rRH2k+OgCAvCmmJy8CQ3pvheAu2
MSXjJAgHS60XYb6eGG8TGxbBROGSrzMTLWGEt5KlpRJ4BTDBx/Bn/Vxu5Af1YB445g/0UNXI15gV
DikcVyg5zK7S/iyGxyR4H6dNGb9o8N6M+qhOdGr4V8CCy8cYl7F+c0rpMOzrb8M1/r7e//F73N2L
rq4Bnarsj2ARVbLPXMTLZQmKe59c/Qa3BSLhVZ96wOBtDIoNhi87kL95grV5vfpPlcITYWLt0CEY
o6Yy7hb8uiNVPMp4gssX2gWyQ4wy/THKjl69qDjnLHLPlwEVMm0J8CqDI8telr31zcEaHRx1XKXm
kgRN3TgA/3UKY9eB6yzsUHCyZjWhJSl+KNYzble83PEx13ZauSIhunUmCN52vhfId2P0dLGGVf0b
GX3rcIeOzHCX6rcRZV/6AXdf904lkcWjFqrQtM43FxlMLB2syGnEfelZwoY7EDJmo91lcObXttd6
W2LYT78Lm/3a9b67iDuTUiYFaSbmjXjWDF9MnZKNNfsRD1uZOFKfkN5Phq7FGYDvJBNllLZr9UnG
eIVpovSuKO+uHhPz8qF6FDnJEPOL5tFOfrU/GGnUUMxMh5AHjdjZjHyARXYY365rzU7P9OOuydJg
Otw/p6/REpRvvFbNhYghI1+QWUhLcOBE8k3v+7fQ8csjhovRwMUo6+K9YC/rxmsKTSk+X1cDQNVQ
hCJC2AE1bZY9D9abFhzSepW1r63oN7Nq5uZM1ZrBnvqT7Lxu3BoDmX47ibaunZabbNyEBMaiH8Dn
U9S7QP8l3J6u0HCC6zmsKAVCtsPpvdP22tUdv9v+vp5C5rtnqBS1ogm59fcm/UerYxpNqTEMHiGO
Pp86zsN806judTt5k0O2xTM25RDpfbX4lb/paGQ/9B+qE2meTseTmvsIrnNm2houkOXv+l1fwHZz
efLnxd0934mZS7E8VdOZQzZY28lRzMVFEmy8ESrFpG2FvvmL2W7kva9ickaEdYYXW9vrP7rFDNYJ
7fCFcQ997MCugF31Ozhorc6w3f73dvDXQurPK717CcIu10czZuFRDrzsxnu3knBMKYWjHmeAfLvS
npqf19O3NdRfF7w5lQTTAfGI9+P4TNHy2rL4hXrS6+Yw4HBkENPZ+iI7Mhm1rVVRfXPE+Hra5q5Y
Ip9IrYAn/h5pGcWRpbQ1j0xWPl2ZTQuDSmEr2zVFWrUO2XXVDhc8MMajQbnLCO9YugEJ6DS31XJZ
6Cv0LbTDe2ZH5GggtFBOlnoRgxO5g+nOYpLn/fv2aPNp4/6l/fOS7x4k8xqogCuS+AxTQOc45BTV
sSiA91KJsczQPefxN/djspzr8/yo8kvi7TKBqVLYtMO+b3dpB7i32Kr9KQMJq6oPEX1kkj2bag0i
4Yb8KrOFR0Il+JhGcG+tLUKfFZ7Taj/eLqx9yaGwTiN4WVPPyLm7clbHjCK/FizWIEvTXfTd2qz8
pUSS0WvMAB9Vk+azyH9LJOtaKl0bmcm5ArVX4WxfhfIaWMwkrJnMUr+W/aZr2crsYfKumgYAdx8x
3gjedGNchlbg/YwMyTbFfi8OyiJjZqFUy5aOiBryt6eWI0zkXPU5faPHzoJWGZxwF+BaZOGwrm+C
uK9vF+t6ltKt6DYX+ZORcbcdLtaz0pBAZse++SF+KKfpkxU9uWifMs00kGg378Yyryz7H2p90Iy9
3G2u7WN+050bCUIx07nYWI2c/5OCGfCJ+SitesYZOOMb1xgXLE/luTllPJcYMWLlUN32LchnurnN
eXrnL6n1ZRED7SJnmvKOmC3HbImH6krkMH30hfTAsQv/r/6zx0kf7ErTr99VWC1Uu5BVaF2aW0pe
vrucgW5daN0qG7cChHTNES2yrJiJ7UtspXTeGKCJB112FHIM5/ECKnQ8u4NdMQ2h+/GqxWsSEW64
Cwc0H/YoO7L1GEd+xCZ6cyxl3eCJjM/99EzqeULQLJMlENW1Wys74LF8LXbd96r30RwN3Zl/XJDW
nnuExLTTpjU+rupJo39Ou7Baivz73TblQYfKoKFrBCq8NNDt5xj0ED7VCAkC7bMU4UfUCEw7TkBA
hld6dFYIC56K96l57NkZ+pjydXQw92FnCj5ogA7SYxcfxqs/tMdcsuPpRTe2GmIcEgoLL9HtSrez
aoHEskFf2WroM28nvBp9spDeCLpgownAfz2CMka4kfU77Vm5eih4FEK4uh1I1aZk4HVMSnvq90Zb
L3JzJ2mkQS9HhWnUoTePAkeBV/nmCUyHCZJ74EJlNi1hx4CNAICu3NSohMX9Ddu5eUbbea1/ScJ+
kn4anDbHVRy/ifCRtK0VmOgQJgcl6U22J/qwyiYuZ1WnoTo8Jiy7aqB4IrgYw5XBhQuLUuQPP4jN
L82s7IRYQw74uT2W5B98KtmriiJDvL6Eb2P3HpXstiPKEls3PKtdhd+tesZ9eWjhjIBMqxkSg/qZ
zv7fl38MmtQMJyE51y/VJ+26GnVjQw2xDrK1Oj2Kha+CKuInFLyGjjJvAV02OOnCIg3PTA8sGd+Q
3a6T0i3fjYdKXgvv4iuxCIQaD6voJZU58TK7Xl7Z8+q2hxKF9hxsWTWB8pyiZZy8FQPJNZ9qsIQ+
i1TDxNgPCfdESP1LtBwf0lOa+J1uC/0qkN8ykyk1ptnEz8CYxAYSd2ikG6nbBZKbkrtbh0DIcfuZ
0WgrzSGMPVzaQ26Hz//eMJT7DeP+p7trjFhSmMpXOU7PyoP2fkOMolZzMkt7ijunzsFFL9AYTVwk
tUeJtJhwnnXpMkWtnMIu1pHznqxMQi6OlbZtmictpDW6SA7tc/GWbf59rV+OXmxsmsV0CLCdKpEu
dL/Gm6OBdUOdqD2U9wEkV7oFA+yjf3TnoIbYHhmBurk75xd889H3p2A+WhdlslQ0fLW6eD+fEiRh
0hRFis/6Ll8V+zn+KfYnktltya390DG+wU9J4tdneu6bizoEWQ0C1b1yLWpyqY6LSDr3a9pGwU/W
Z0Ni8A/8fmNQTdxWBpPjRFxJra9jG5E48ozPWsyuW+x7+UczbCRjSeBSFe5GaT1mfhSdRSRLEPR9
APnP7YYlvuxRNs9CbryHnCay9+LQbq5bHnPQ+laKCQOZCCz9q/bYocJPiPV6l/R1niBcGrdyCI7u
ISComSk1i45VuPqDdRJgGcNmQyuC9Il8OGUVxpvaeAhhznebKPd1Y5nKPppf3AvJewbSb/SlaiEG
KyM6xc0OBnhivevhZiAdkb4pXUy6L5tBu4iRP4aEpJE+pxCP4QaXwJMPwqnc80eJy+q7R24+zf9Z
T/2+73/chbt6Ks2FuCpuPHLRSl8TGe0DnPDnJG5USd8SfX6f2r982jwDhUigy3AR/7uOlfEUlCWP
xZmYg6i1JcFDFxN/5ohFXpV3VVzl+rlmSNI7RDQkryJi/9CNETGqT+UlZfvfxs/yrv3ML+IEpYP6
rj/fhoX5GlovgGiiH+orGAhcJFbG6l7ZEqaRGK2Vc9uh27BnnaiQOUnjaqiFzW5p3l5utwy063aM
DITsF2rYmOQx5SIBct1Lu/YhXdb729HcpD/Ft6n+CQmgKt3Rcsb/9cljvhWSih9GNUxwR/fn0Zsu
5HrXsRXB+POGlfDGMgnJhUY/wNMTQ8QzEuIE+j7ak2/K6i/ns/vPvmv6aF2nhkXGZ8+q0QYQ/K/o
JVgz/mHK03uGuMhgZqkLExXaPvAQkrjlvr9wjEfjcjtUx/hozYHFA2Pg0p+zEyDAxTTA377rxn+Z
BNxf6d1WOKmpkcs6ZxaAlWh5UHb3ToH9f86rcye4z+We0kxJeFm++2xlfjzvH98/79DdXiK04tW8
tmXMHYqOABWXoepkEr1TEcgHyQTicx8t8yB2yZTFFQ4dgVQCr6/9HKL4fii25B+m9SONJBiGOFSF
o+mqyjenui8nhftf6K4bnyhKXyYN93KGyBsmhcBay1YIRSiYgSgGNyY0uuq32ndd3PkP/tfPM2/F
f3QghGaS5MScH+D3ycsv8XL2/JlO9sK79Cr4KQLo23frl/i3BezPe3LXKIyCSAjyhPN69tmOiwrx
6S7XbHVey35FgTOluw4QV+d1wY8sOUKvGcBXyOWWfE1sSHl66LRVNeyq9mdioNeKl9omJWZVeSNw
SDHXA3UsIOrlINvKG6T2s7IzEd8MzwwrkQzV+oLBbc7x0tgUGX3exTS3gw/IxlRrnowZ6+lVkH0t
c2KsBdhRKHvkRafP6qmeGTYULJFweCbWEFEr17w9UFukPTxPptyPCvI2cqDHYjmatWN28qIh2UUv
vKr20x1NMRRXRF6rD4VAHjgq2353a4jFqF/kyE6epEPyBhwuAJoJafZYLP8/iobZPYB0hLQg63d/
4c8bLkh5kJbpvGIxSr3a0iJ0b/GeL4+G86kkS6JNXv79mV+ENL+f7j8+8+4dDCkm2gCaPp9pIpFE
o2S3HSdGlLid5ieFh4pwwhsMAc5PWmKmXIAa7Gcc7CX4Og22L/AW7en7lIu/Pol/XNndezdY1iBF
WTKd4WjI+Lmq/dxNOAENrVTwLd7EiXSvHuIQShKqp25f/5THbU5gg3YIH6pvbs4Xf8f8Q6kGE37i
ETDT33fQi0ouZIYU01k88bRj8l0MvSeSar3vXyEmKZrbdLb1huX1Bwm4D6bqjhIV8dGsHAWJGTFt
77Och3Rx0FhR/PTv+/jXVYpWpYH4SNZMItT+u1jklZUFRXqdzjNsRho2Ktrd/bDM218d+kON3KQ3
4l/+19Cm37/KHx97t0bVkA3E6MrHduN+8kQ3zGj6A1NRd2N/4nkynfi1Xmnb3zHWB2Y/pDRj2PHw
UzDQax8iF+VEIW5RK3y3bv/t+fnzF7lbyRo5GHtMORMNXM0zyLqxcQPtiTRb1BggN/n7v++AfO9G
vv8p7ko/tVAmUyswPSgHgEjlRkwfrsm2DlbzXipEXlh4N0DMnsllVF5pOsrNazW8Pt95aL5IHe6v
5O7cI4pMe8aKb64lnu7zrKbuHIEyYiebg0QSm6aSDYUkhyoquX3vjd/WFV+4E/9zDYYGcZJDkH5f
fU03rZLbjGuY8QMEWKSMrgNaWtqx1l/ViXbi8GE+piuWm5qr4qWGZeoGV0ReiKRqN44oHRkc6V5F
LEvhTcZz4lkMfF8FBgs0NZpF337zEv31FoLuFSF20MZFWfjflyjpTLHV61HkkakvcvZkMDKBSSMg
J+zs9qVY9SvpMf9ZcpJtN2Htdo/xtwvNFy3r/Mv9cRHWHYxPtpI0qdJOPKs7mkSU1zl7HSaPea3x
Df4y22ME8urIB96JKbPFP0jNJq7UCLnuj7zAQbgwd4ghfeyh6+gj28ecxgPG9Es59wFgo6OaIeFX
pPqrzlqEe2LgcITVx3ZnyhuN9pIrOcjVmkt30ZaFr+yFp6zxkcZk6tmqt2n5oKgvRvuYKR+ZeAyq
i5h5dbbsyGW9QRtyKRfzEFU5qOU13dD0pzTYWbTNf3azdUtAhC8cTLi6c+IdEYpsLu80+26EF+Il
fRweKcsLAEzf9X3+WnDOM1Cm+Gjy4MT89/7W1VDlUddJZwtAN4xCGqok/GRuYNiRtevrRe8WezJl
VtpGebOU5SS5MKVnMyIoWs1GBz1lDhoEuQPM+SJTneyYOtPq/K40hrXMpdwXfzPAQEI4CJjv3gen
pVIUUSZMZ6nbNIJnNH6aern6QRQwWaA9E1WsHUwIGhT+biFi81gEut2hgPsVry0DiIfDRY8ftTu/
UPAyHcPBOwYQH8rYdfk62bP4e6sl65Amf7UrVu2KFpRzW1qH5MnYEnRzqrwIAdvSjJz6FYn8aBcp
qg1b+amQE3Y7AocRxrepWI+C5gR4cTV6ycFnWj139AP6qyvc9sCQC6Wi970yHa35NKTXG3AUaJ7q
gpl+88z3I541noPMBoMR5aJ7m61Nq8lXyxOf2IdO0ULt9SZKoAl8FyJAW/4hrqzUjd7kh6H2xiMp
V7HkTbVt5gvh+oAxj0cK5bbalQi+fxnNh1XhCAuIKFy31noRxasADeFJ+GxSMCa22GEWgRaJsIVE
Qz9piCNb5cw/4sidMjelpZavJXVXXi/CsJ2EjSxvmuRwrdZJ4hejD4/WYHIRRmujdDEH3uhl4pYv
OBYcS32d8iyH13chAPCUvcCrSdUl9KiOIpo3eMxDp5MfGxFHxPtQrKX4MnZ0oneShPPwFxsHM/Qx
2Texp8862vVUkb0wY/ZUFGy0W6NycRWR18Q0ALKFILlJ6enMlZufnDDD8EHvuRcLkHfoHPiUuKcH
09kTjZb4Z4ktAUz6wM3FMG/n+C6wSYQLYGht9wNJoXypcMRkNFwW1735cPNEr/B4t6PibNPfD0pS
GNJdOB+iy0X4VtWe8mBc1MAuuCyNFme+ihLIUwsa7HTg9c6m4ydHG9xmk1Ooh5u4SBEUCDY6Xalz
686NY+9KNxzfh7pD0MNQcqB7TEgcVO5yAa1MAOlA0xwHKwdkgmI8nlCO8eimUSM3vJ5LDH5mcoqA
A+u7SXXCfJUSV9utZsTvddEZrgkBYCAfbtlfZ85z09smkgD50SyWMQiE6UURlnyS0S3L1qQx9dmD
mhaEBc2uY4NGNnIbeWeZWEsWurgoTbdIbDE7SYmrU7qXDiNfHT87iUa95PJJzfiitTtB3+a4echX
aTbolPR9/Gxi9Y4e6deF8ADE2msZiLg60DP1PYX+i2qmg/nFfCXJflnYgiRp28gfCLGF4VjJy0Z8
CoNNenWxYLXZR8umKGWvikAEnvDSNTd7ivfoj3kotIV1kQukWobblY+IxcyzRJ8+fzHbY33dFO3n
rXsSGdr1BGXJ6q6YTcqIO2ZWdxXwZrPzPn4bX/BlOvx7r8Nlq9G3JHPst7j2jxNP1/bmeDNpl434
a5uV3Dq1OGv3UbevI/fBdBXiAli5/l2q/fVjZ6iQQl4k2Nv77mwi6alJd2Y6A8ZrfXSIInErN1vk
AYI3uOo9CzYD4vJ++laH+tdCHZEEmgJVFuHX3pWlphSGZS5SY2gLrP0cDxbBcIk8w2aF9QOOrFQZ
m+++Mbyvv+wnf37sXXWalFY2lTf6PBWe0OShwZSYrKsJmvRrVtXOYE7LRpqcSBbsSc92VymyBebR
s39iex2pF551aQ3HXc6huESuVUfgGba3svRuxYfGEkVwa4VwNvQJEOePbvG/3pYoBW/ymnZzVl1R
R1vY4HI7C/ZFexamfaO/a7nompzdX1p47pm4ilJzkTONHkpHD57NAlV/0HhERNVcg+qpKNbJ4qvx
tgUhbSmJxcoZa7t+v5pwFVZNcRAx81WXWNpNXbUoSCodqY4k/lpTf5nU3gP3tpOOYfcmD49Ik0ma
bGLKJxsm7whIG0UWPAkYKgVgdu1QPg8nrTj2wlq6ge2c17FMWsQ6n+YAiZwKKnmAHr7Qu1a6wrqD
bW3aaOVGUdYRU8SYLM8Q2Z/yoyMplmmheOwx8FSXNGDqep7wZXJOKD7y/biadreLwAT9us0q8swX
6F7NS/xIHJOT7xWfKVGnLZTTVdyVr2qCUmAhlE/oB1R+jhByxLXYiIgtC7yM5UfC32hTT5W3cUeg
qB/h98s/W8bt3G3+UbO+7rXPwYLtDOptyGYfn3VdycNzayz5g+1OezG0F8BqGJwiZscLk6VuXUU+
1Z2J05aVmpkyVJVqgMvoCxr6JELz+tfMhHsIbemRTTV4l8kPwpqdzBbFOXKVs5eD/wL1JyTmely0
1iJmTIuHjGSOMlk0CG5hBQUuDl+iEcg/MFJn+Cz33c+JPWJYUD6K2LAYbJjjQsk+b9p7tgqvj4W8
DQj/qKBKPpaZD+ngo9kIGXZwOtUhcX8zHyx+oErwCArYBwfsfsPJsmxsDijChvXoTW6uO5WHrtet
FJv/jd/4RT8MqaPqK+FxduMEO+VUazMp7fppjDtBecHVl1CafWIdNHblU4L+81JTO6yybgHRAzHF
dtY+0C080LNCjY89LXWDpXEqqCRDly00g1KNIkbw8+7DFIiGeG6Lx6FAIrJJdn3hYZ7sMHIrlQ8p
pqswk69rSJjpTiFGNk2Z8dONCJwE13fSL5V0p9LlqsAvGrCeUFT3GrskXI4hDG3AkkHiZj8lOKkP
ssuIHKClLdiEcab7fqs8peR9W3bxAwH4QLOngLnBmVl6rKttwlidwUbvaSj4oNvNExu24T35wqbk
mC+kE6uqPVaHrFwIsR2pm6Ha3ppnNlEV63PgVMprB6Kj53vVD4L5JOZLyXAjJoAPVInc3Fu06J+F
D/blRFmNjIim5scYDCjULzpZuHWt2UEOddxmC0NZMLaeWW+6hlHWC67uHptHvP/3ZvHXDhkxr7Or
W8Hfca8kovkrzyQCNAY2LuYu8waUU6NYuLSAxGgt1A/yse82Rb2ceicyNuy1GAmJzML0Gh4jfS+F
DxpvMDBiO30svunY4iv/y8qO54wBh860kV30v4catQ8F7A7lrHSCOEQCVcUvj4vHXA1nJUTWsAB6
rKmrHFVOl+1Qru3Uy4ii8Gj2djq9Fy1OQptQjRz1CLkQtyO15GVyq0M0LHgOcErRgaQ6JGGHp5Sj
+VpG4qHtgPLr4Udx5fc/Wt2HyL83QQE9jD9aAoeul1DdU+lzCZ01F/fhai4lyaUi7GaExN44+iWk
a/uSvwqmzVQEKYBTXfeFuoeLzl+3CmvVeip9Ud9OzXFIdtro3MC7Ge4VonR+DBSiUtw53YGD2q23
o2c6t2SZ78QjyF9A8MZZPLJkWiflUzhdOd4xoado/VFAj9UQWBKyN+7Q8zvTZ00SOjbXx/yNH0O5
2pOxSB4FzY9Z7IgEFRahPwHgt+n6XyGIuj2pVj2nESTMsW99WOwQtjqHBKDkcmMEPDzBn5jRCzf/
P5yd127j2LZFv4gAc3gVRVKSJcuSs18IhypSzDl9/Rms83BcslDCvd1AoysAoily77XXmnPMHSPJ
6ZHDwV3wWz9S8ZYrfYeZVPscN/Iu5qC5SFTABnAV7+tnKduqrRtZxAOt25g3+VAOW2phqjzBjfNN
0q0yYxvHh7a5y063xeCeqBt1sPzLYnxhL4y7dgGhUWhXxCOIogMCVkCVVNj6GwdAAE1Uz7k2h7tT
qBNqS5rKMogPWYFfL3dlb442aIet1O5iCsh8GyA2FThLVtFtUwM/vGZGudiuAmk2hw1hnyIv+O8H
eDwZQSrIQH2D2Xq2FiMwh7QrZJ5iEOdwu1sBgxSaoEjasbclJGY61cD0g+HhNc8jCQI/XydMD/Kc
qYbSH4Dm31fTyJrW5icaV83LXJLWnnWEDq1NR6u+6ayHmCTuscbx2pOzvS3EY41eLQ1XpZfFezF+
YnFYqiNzjk2hcvCZtmlyUw8r1bjze2LxIBUrAufYvuHEvtPEpVm4fvyU1o8xzIbG3IjBWg7WfuEW
1UbNbcSwlhtjW5226ngo5JHTyFLqqYUQ1TwAEvBPv0Wm9JPu6OmnOtL8Oa2CWepTu2G5skIM5O1N
UayNaTthuYE9ixYo0NGbuMNX0XvM2fhVAjyj3Fra2qD+adIHafw9cURpcpUzsHGsawsyGZxtltgT
CjCCyHeN7yHGLzqbHaSfHP5HcStrLROqg6VjdPviF3lfiUbQ17CoyOfpPH7RINJKqT9c6bTApE1s
IGyHPZmHoe509ZLIW4LbkI/kOzPDCOcTfM+fSQ+cSWXxJoMzQLfG2uXV2i+Xye+OBX/BmdJjr0XB
VJ3sHNwj9FplM5c5VAoYRvhNnASyF3xF2fx7VLCmbzp0nNK7U8cfLgzfEQ7NO2y8x9b4VFLSj8X9
NMCJJ1sAbZQP44IVcolHbeSxS7eqfGem0ARUSFL9rTAeBJQO+Utfe+Wr+gxdrC0dybgDGp7r3hB9
tTGxXk+TctOcfoec6kSs9/fADJSeczetmoL5QD9NXh+UuyDZ0/JMSfooovh3HW4DxIgQpant9ilm
sF9ys2K0dtLex8gVM20RGSCkwf5RFdUxzYDgWdLRKrK2wQhS8baW4mcsvA7le4auLkB/7mmxN2Uf
p9qT9Ge9tot2SXBUfyOyLZyMTec/hVglAejUUkw30VOEo54vZeROKn9jiJ5SdZ0/X9vKLu1k3189
7azzOSiqKIYBPa9qTpxucXuGO8AjLQZKFKmoET0wHcQU0feaaeWdI9JIohVB/bFj3mcELuwFpCN/
EjRU2+xdJThEDgn37bVp0LwmnbXn5lDxmXvNPz8Orr01plmps0qw6xCXMSyrr/oNNVSHvECzAdfp
X421VO+RGz8EtuLAdAtxVBBO0fJlr4z1NY/SD/k9hKhZ0YZYXZ99W+cNw/oUtqc6wfNT05yY6V49
n6vtzXjZWk7ECNY/+M0bAIMeWpU4Rz1psz8pcuJymE2bfaTw+NygRJSjmbb3x5dSCntMXbK5aIen
RhOdk74LjDcf0Vml3yL36yBIdcNrO331K/F4pfD6Wdj8/ROd7Qu+6RML1zGaHA/aZzkwcnNrc5nQ
rINel24CR6dzuACMMOkLuBtt9aA4M6T62nN5QSPx94WctY1LI62mWgzEIwppIBFJsxo1lxBNaSWz
idqKuJtkD5e6BXF/eW2ac0HFxqfrIiplzZJ0/v17QxpyX8yioeLTdwLNV6RE9KJw4i/8pXKrLqg5
V/2X7C/SaFHeB9d3xJ9zrb8/f+4sfOvR9EWkVpJ2EnnUwfmwpkMEAv2g2nSLAgcHH2cPG3tJ6E1P
2rgY3md5vfB15WH4+cL9fRVnOpVUjNOkFGORlk0Ej2DlBy8JRn8Ogg+hdEuO2mlD3wh9MGcCe/ot
hbvGXJrqU+p7JmlNvnPthfuj5v97Cfj7is4eT0WN20josvmK/EO0Ru9fZTa63wJQDoGkZPhx1Kqf
JLZCKBmTS7y57PEYZ/TWTgUbnfGJngpiOJP+3nJG/bZPCLN9T2lzNsrjCKclJZRo2hL1orU3sXkX
lEeTDISUiFPtPm73UbaIf4nI5Vt4In8OkfPTcOPvT9wW0xY2p0/mrKPXjZtqWEd4AInuSm515jLM
LRZxuIinJ2VYw8CvzQ3H+1J2OnJ0hIcRUR97zKitq9MmnfC/rE7Zw5R4ZXiTKZ6V3YvBLbFPkKcN
PHgtf8fVEABuAra260K3CyXi3/f67A2sVN9CUDnOGhxgj+EMaGmAgesgw7bMQhDGEKFgg+JJwMIt
dGGjM+hs1qmLiONarsufNKx/ffFnM++4z4tpFEpCKPbdi/ZpEHDDjo5y5ZV0yJZVnowZnMsQHuiZ
6BxAvDReRPB5Rk+5ER/LHQCKY+AJj+jmDow1NsZTiWDWOmQbY1NuwdSvwAHcWmt11a4x8OPVdKJN
f1MpC5NwLfG5JVdW4vi7bIslY5d4zylkvMqO+NkxnO+5QfKzpiCi/fP8f3/vm3SsopM+HX2drR/x
Wm2r+g2iwm7GBx0CGFkMBBkkc5xfKCtfIemhlAn8FRvH0l8m6EbNNv6KvywaDO1mgPGmYRJ2OeIH
7nT37/VBvbw+/O9qz/qbkxI2ZlBjtqudYp19md7gWiuyULTfRrcIXwp8jNsGuEC4YfynB2up8iKK
Mt/OOHR+tp8ccWU4QZQODm0uu6XXUC7UlIEo915kVmHsdNp9/lMQbGPd0yjQH7PruS7Xfoyz00fn
t7mV+eziVJq/qZd9zY1NSsRZ6Z97zYqelcZwL/hV8pzhBfllHJPn6Tb7Ta/tleKeiBr/pt7n+7G2
K6YuxiYKOEX9asztVYHF/Jz/eA8oOGQcNIok62cvZa8UVjjO03IeEGuAe3rE4dJriF67COixq8kP
2E0C2zQ3Ur9GpXctt067+IgaKm5D1dQBZJ5tCpag0fxQWRYk0heE+yZ/1RQyflA7Txir6OEKeJSc
E83F4rQwmdsvTsWdPq0r5fcpg5CNHYJUI9pL8cY66lsAWn62p/bRG6+rE9YRN0UmticDkbaIsjDy
W9F87NTYTZkuyhVW4sVgLGf+deDqEyc7xFCufzTW1x7vC1MDXsZvP+nZZtP3Zh0PSouj+w2SZDBH
AKR4J1n2LcNmjQD4djDJ+LlS5/6Id/lTVTKYsXQVS+cPHbt5UqKuPlmzqIWNDCwxfL+1cVPP+221
ql+IBhnucb/YWDBxdNyF11Q8lx+y/13AWfUh9lMUjBHvtYoKfM4vyZYsrnRxmP0ySFyeVJvz5Rz8
QCv/6hp4sfaBFkKpT867LJ09YMKQtlajJ3PtA09McptTMrvF+vwGj2WyrWmz+cv+Tg43jGntSSV/
nayU2vf80Q3no3XjkBXR3aDdg7NuOfMU/t8L3wXNiiXJxECpcwuFdKWz9l+M7EvrCmEW2vT577De
KfVa8R+1Yp8miPiYEKuQHjk338smzf96nVYPUe5xIz2wWVcu5lLJ/v1izlbhUqtTfHzUirNPNsMr
dAtVCGp4+z58JXvO/rbOSX/BORyfMrCXNfSI8O3aPbkw3/v7npytooacKZpgUDJ3nyAngZSpj+1j
iO0jfBp+S3ZEV/TltLy+fF+s1b/9/ObZCTYdonQKimh+Wk/BSx2vT6SlsB0ibrHDpfoF2NCK1y1S
eoTdtvh89Se/tH/I+AFIZGa6iOX/72Jd6WsRriQiNGuVrIX5CmT6teayJgHslp1gf51o80c1c74P
cBTW0R6qMjneZ3c7zboxlyIF6eFOrtAzeGP/3tE4w3LPzAO06FZdM+7AsP3g5/vonepUdOfnT3sw
Ve+qUPPiM/i/y7HOvgO6+NIUzltouA5u1XGhASnBtHATHJhnLvU93D2pWpCE4OouMmJ05ju8tdf8
OBe/iG9XcXZqG8sgzqKStmG05shUNE52YulCCEhf253LI32Oz0VOfGU9uHhYZbRMEAkboo506O8n
oE8CuUwU5GNDtu+NpeKmZDydACE6oQRFpXzQUPmcGK3/+9W/uFN8/9z5hnwrF/2+rqvgxA7lYyAZ
bbqU5qq5a+5LGzG/3cLhYsYfwkbEeMVJVWdiOhN6r1zFpYrg+1WcP/+CJGXSxFUk21FwANB487Ov
afh/KnT6V9vFlzaI7593dhYo2lARTyWfl0+rrl6pyfMOs/mCvXnpf1F/qfSjFgwzO5Q1FkBE2oEW
PYMrX/qFzhkL3rcv/WwTCGJ669o0zOsO9i5Z3QTVnWR8qgWpZjtD3E76XrIOLb1rDUNevztxeerR
rDfCuJaRApBGpzBkG2y/cFJtX3X7qBrsYEiXIpsqdt5rxeOFqdrfV3y2U4iW5tcmoKOjFS78nfFS
3Im7/IAJdszZUukqc89SJzuWpD2yVHIQXRZracuYfpEwy6eNfu3ZkS+9sgr+RpkE3BmUcrZw6FmQ
Dr3PmxNWSx11oK0/YpLzf6kwa5FElo/wF+ujjol3IX75rnSonown8kUdUMnX8BMXX+PvF3O2fpTx
SSyriotBrxFVawR10pI3eQ8Nh9N6QjkCbLd96B7L53+/QheXc9INCd+cqYVUFn+/yIpc1lkeTSwg
bidsYPTIImrbbTLd0EVk+tatSJCblrSC9JWmugG6j3WX8S0p7ZLZVwko+PQZuOrx39d18Y7MZT4j
Ilqc0p8ewbcFps6tQtB7riuYqQrqb4zkbtpALb8VHPRsNvqRYBkkD9fO+8qlElRFijnHpOImO19R
U9lsANw10zGICHCOHqZlat005LTPbVXCjYwHSX2c+CPFBbrijAAnaD6r90gVbCWPFuQ7Uhl2c+6m
taVSZc7WrWqLVQKdfLm4dipiu+cbOt+QcbuicdVIZjT/uNO+3amxmUMWkharQvY06GTGkOZM8rTl
NJlL/qnKeX5WQNJJxN8VLYoXQHgtFFXrPs8kRwDGQgy08IxSmLYVfk5inFLkjYVdH5NX4WVgyo+z
l17SG9PWIHsV9ZXub6T4HqA0jGXlEGyLFU1n2HU2+ZP6CosPRp0WVfzCvGcM3T8wDHLkBgiUHd8P
nvZbw6062sgmJB3Y5AZNRbEK98YKrGg/LNNNs0IkYuYP+j5cDTvxOelXKYTd5rd5j+5RVhxkpPBe
R2bC5GuWn8QbrES3cjinCe9RvuT0BotLeWMaLN53xgJb/simiF1swbAXYCwK2E1/WzMNTp7Hu95F
DBovoxsuVgPSCEvUSV8QAWZ4muG/kNuNulAlCvFVJHo6NMDDrQ1G3vR4tGEbN3t+O8lXIc2ouzya
WR8dDoBd+qgQZ4cCQszfIT2iAp2IJS4dLV+JPc1lPO9W+lKPm950Ko4Ph9lm2TlRCjuD8L2H7oDZ
vr2n1YubZEeHoumhKa3NaWlFnqqskECSepPF4Nsxzg2oX130c+afmIa0c8Hm6RErLKlEYCgjh+Pd
sqR5DH6W8JRRL9YIMoQTOSCfCvTvYWuG+2zweqZvk/lUaDbJaV/qtCjqPXSIf7/fFww2tLe/PbVn
W2kXB746jrQTCJ1PqkPVeSLukZ6h6m0b3Q2nVzOkcam9NdZdnWElwUdCZI6tGBjDEmlRDl9xugvU
WQxabWLEznYLj+DKTnuxwv9+lWerIzqQMptOrEJ+woidgZ0L3n3d3wabrkJlwWkDBxtNDx6eX0Ql
Gkhgrzpb58/41/t9tne2eWwUkcmdUj2WIYwAMRk+y8QVIyak0CJv+mkWO7lGsJGYJduTcuW7Mi6V
PQaOes4ZCvQU46zIFGROH0VZ4zAhObq8FbpF/yiTGH1IFMd6jg9+55hojqTUWmgfQrFsuZx0dJXm
pnDbW3gB9aHzHwSeSN3DNqht62MqrYTFB8ckwLiytBTehAN95Xhy4/E+/QIVnwd0meizerV0NNVH
qSUuCFHInaquRaNiFOSWZJmgrpbdQnZHbYfYqOI1YijwrN8iaw0+Mq9BVItt7d+P7sXZm2Fhuuf4
bQC9O7sdOYnSkTkjLWvIFUj0rIXUP1fjLW76AEcdhaiMBNFu3whoI84aiyGuRpQO9JugbGLOoIta
oEFemiDjXxQPHdewKdDdsMmb81avKyixUCbzpZq+je5BDF2tvVLCy5eeK/KLDGKM+Cl+SFNPQ9l2
WR9JRx/142+CMrrPDlAXG+1SOM7yfOsovk6r9K1bId9fC29Ig0C9Up7hopBs1ovrddCFogyMgm7S
YpSh6J23+BK/MEfJIt4uPM0zFaFdoJzhYV+mXn+npHjrsY0km2sDXunScvTXB88X9m0T1XRDkKNo
lI50DUGEiAbyVOJZbPiOljZrFUxMp8iFyV+oYNWUbjc9pSS0iOE6EjxmOgUgAibPyY3BxTMaUpu3
IlYdq75vsS2PXwqIj7BcnmScYh8dMuz2LmS0RjqaRBwfkhd/hUKpyJejvp03TvFpVO502TbTfZT+
OlXrzCA7dim3gFRmiaVK2IW10VfpnkCelWlDUIxANygLeVO+E+XxNCg2mgUDnfHdhOrTWpSO0TqV
5ErrfLRLlJLKrYWvOLo1yjeMjhlZbadxGyeHnvS/VZF+dPGnYm6JURNh9+m7kHgGHFFAn4C/dNp9
VG7F/IWqptwqwbodv6T4xjIdIVg3w8rSnwc2JGBCbDaKl3A2Ozk43rNwrUweCtZkWBivp+d/v5p/
qtWztRLQEwA3AqoVbFVndXTX4KZSxlJirRSQENPZNxH4Lqhk3Lk/geViRtCuUXjwYm6uHXMubRd/
ffxcqn17iiYlr1pQAKwMDhE+KGqWxotspyvpplugYlg0vxUNOWrl1VeTo7QLdetfn322KolFPQ11
GkjHOPWyxDYNuzTtk+wh2GlpiAS3ebqQiE9DWNW7KaYRYaUoK6wferEYX3vaNl+I9wzflsA+xr2j
UPTjiY5s8VV66z/R8+p77Q1TyLYn0gMaO4PFDn67uk6oQUh5+LDWuEKQfZom7XGcKhst/J30Dg6J
xL4WlKXOu97Pb9qAaU7+t6KdC+sLU8pOZT/QcSHFmFiFTw2GrDNIC6ob4354YVR1ujUPMNiDW+MF
JJUT3VcfYX1Dlpca/JqSg4UJBIorxY5HJVr8blu0Qqt6O6Iq6eCAOf2DhX0dVw1mFskVIG73C+uu
+GW9xpJztYV0YTlGVwq+TldMAwzv2aMr50aU+QaHeqOjyD3KTv8Yuhw+C3Utd+uYeC9PnW79wIOi
DdjDFcP9lZdn7pac3VJOw5whcKNjkzgfAcppKYfCKUU3xvfVbAi9R/SAKR0wF4gI+Kn34pLGv8hc
8t+frF4oMAz2U8SAs0XjxxHGkENFK1p1dkl0y/AVoBK4AJvAY4TXDSUWxLXSzYeF/it8ZfpbzvQr
H9aK0iyi8t4AOZvYxuhMp105uXm8TQIXxV3xxwZXauS96wdfR5y9lZBWtyu5oHl+pVS81E+wwDjj
gZVQb/yYj5WUiSTNReoRFw/G36Uy3E/qjFmBfpsRnRmso2Q3IbAf3dctg7uC09gjAINqeE11x6TY
pQfx7/tq/FgTeDMwP1pgr0wOjufYu1Ys9PYUcE21E95FoVf5q3mLmBGS+rvwAdK4adgS7jQ21fZZ
QQoUoW4GmRjeBMc/338o9tDLNpa6L1AmcuTnVFA5MLjxyYIO8Cpb/aANEE0Q15Dro5Hb6DjDX0xM
E/y1eIf6l/BADIzz2xatmsOIdCg3lvIhL1bzQDygarbN/axADpgr0QHK2dCaY/Ok2cJgD6N3dcz1
40H/c1ssIk8laE2acdbCrny51YRoko8DVCSShraoMhwhW3HcQ9e4EeWFzvtmRzsOaP/+RuQ//ei/
XrL5sw3LQOND8fjjNc+tqhD9TJFn03GxRwWa3iKLJPTUVj6tl1naMHWsZiYeX8otRjicjQHHBegz
mEMSToXrINwm6sf8iyDCa2GhjUe7x/xap5c2pVhZyAxwk7VoN3coUyNjVya3WrMIMYpq1M9qTD9t
/DV0jRMrLxLN2j5AtL/NYURLhasQ9ZO8RcHHlG7Rk+mW7RMMerrXM0cAOvdR3Kmn3QjMT9lUWCv0
J398jLtmlcTvgXpQinm52EWGF/d7XlwFoKCI8iUFbVdUUEHfzXbbWiL6c2UptttuKfNohKlLEqMz
jNLCx/3Df9VlpXshLByDM037IZEwFsBSzNUHEUYxYlJZVvEUeBxGkKfKyEGp2Yova8ZQoUCVl+17
cNMSZxW4rWehnOqcNrgxprd+RExjFxMRTIwCdJb3cq/5t0h8AfiRtvWlYDcNd3I7rKoUvR+Qzqy6
K4riNg6Qhhf7snHetRhKhfVR8YdtQ3qT0i6amHaGwqAJkUFip8YvkZCmEmtE1zEu7rysAv1bYu39
lCBiQ8pLcMoTL9WPvyo6GnrFqaofIKTfM3DWKPHWo4BUM1sWvfWeVy/zEdiq3nv9KC43cbnM7LJz
UXa2AHOSlXhaxm7/Ad+Vp6FycxRai+aRQ/Ni5o/JnMrccPJgaYms4UfJI9EK+zAsdRpsQHnHgy47
FknhpVNnuzj0Tl/iQ3M7kOQaOKRg2YhPrcHpHMnp5JfC05YyYT/xZkyW43NvbMAzuuInLQw7e8NV
TOo4+n8UTEthHfpbS1xBrIL5MNrCPeG3f0xV3VHwZgtyv+he6z3Ee4znM2xkTpceBABEJb0jpr92
ZDE+G2+63qYU9v79Pko/mmdnr+NZxSbkg1QpLa/jDI5l53ntH7tVBaFpon9/deVRf2zy88cxYJ6Z
Imx22tkm37WDmodlr6IiI4ihcUffyW9oKC/E01o+hvhbl1jzNdRkoWPJMFjnxtvkKV7zwT5YvZLm
2x5K45kDka05BuehoNsE6WOautpjdBRBdIl068ylccDGQ+tNtgkPu/v3TZPnUvLHGvbtpzi7abKf
N6xJonw0wsegdpMHAIl8kShQoSPdFh8wwOl5Id4Cwkmq772PS+NJZuvpHntOKf++GvNHJSjRlyAs
lerBskTW9L+L7joPRyvNRIWvsHdE8a1i+Wa8QSyJiNwjHOHB/erLW2DbKlfTBgel2WTtBoU6oSxm
/1gCnUByn734kcdCWWQ7FWR6rB0QuWvNoR/fYw1R+iKPvUhfT9YbQjwDG3yEJWDcNMVmlFy8KXjM
ZRebOgRPchKPoJb7PlxPRCP1x6R0mxjfIPq+zdRl4DE3GSFL9a8gc8MA5MCy/GrxHpT2WG2Y3Gh4
AOFihNswehmM3CtnJIS6PTWHgnLeYBKhbFK6ztIti8gs2qbCnk5X3o0/k9yzrxmssSlZ3GD+e96C
J+BKpHPYi0f9ICbsKpU9+B+W/xgZRzWqFpZL+0bfWRAPe2SAvKkVPd5GstVMcwOmfmZEzHm/a+u3
MAzRjmGzYRyluIpgixOMcoeNqiRqL3kJyezLFrjbAG5V9334K4+XbGsiJvN84UsLCZb0RnkPT6se
MRxlCgdI1It5c8PiVfZu2d6UHWtnt9dRRYkayq4nXfSR5310xbbSnnFsI3Wclc1fw3vfeqQSev2z
9uBLG9ErnyOZXZek0UdLfU45DIyt7qr6hubLyXqQcuyXD9Hb/33SwH3VqUJU4oQwn5zX25La0G9j
AMJiINrdmmhu1RbURx/JT6itUZkUeFBONMhaN7hjovkmdnfDuMGQWsd7jMMSSqSZ7v5I8sFk+4t8
SbAm8MVlub8++/yTbHT+NDAT4WGYJWA/1FfC0OqtpZXKLHZI7ytmAQosYI2w8MdkvGnMddweY3yv
1uMg3hH4WsOFlBCUo361m9KBjNCXaxgPMkao0Kn9vWIWtlwdevJuROE9ISDW/y/zsfCu9nEvFMJA
XlTAiQZtpR/CplxXYzEwG5lCGANw/dAR0wGwaE6a1pdSdmdg2n+cZUWddmV5+hGAM789HAoUmTOq
ZfzQS2h9rkqJks3fckzjT9go6ZuBreS0o7gq9WfIe2zZdgT1N4zIYnjOR9eYVnn6JpPPsOTRpPFf
7ysw3CC4gONxGOrc+pqY5wcBn+sEXsq3y+40S8/PimIzRcwyxLF6xNpdMAlsPoL+Xc3voEI/GXus
SruEONjFAg8eD6WpbWVjXWO6rZ4wapXzid/0F6ZER5xsC8+6i6/xXPQLXyIls2bQdrVkZpVnV6j0
Ul2fpkw+CiVsj0VL+pSnuazMYbHuo6cc4iOoPkHZq+3Oz7e001TlXvhANxc9KOZDZz4Iz7kX2/I9
pj/ynyir/TZ1p/jBNJ/4mQC1T6xBbLj44PPNPIrRXQ5mKvwXpFyYo5ZJdDfJbgeVeTiMzZ0o5XYi
vvgqJ4WPMPpMzYdJfbYYqNWKslDRG2L7re6fWhXLkuuLV87Nf0Z7Z+8kKjCyg2AbK5wp5o36W7+p
G0q5TuXov4+1Ke454o3qRqtXacxaomWLhhgWYpY0wEFRtsYDnOIDSZaZ7Kn+Qvsl9Y5eOi1WJ+gk
GhyKO7W5rfItmvPwtFPQNTDvTrx28e8t27pwAPvrus+6raYwZnouxPKxMNYsB7yHdJnNA1O1dKal
Ea7bOplqunLrhLjKDQTsMPHBYqv3AQPXleGMbpd7PTKTj7F8JDE6xZeqeXKwseyT4HbKuwGC3Kbq
R1Ct3Cgq8+rT68TSPk2gyvtVW2wTgRYBfkcM6R4KtXBuhJXAnzkk1bR6loG/yNq5Y7mfbRcouA6I
yOyT8ZDM4r4tpkq2Rl99r6zRLhJPDtM52DvQPLFZoTRaKtBNUO8W3FeBch729UleduyJE5MtDYNw
2B9yZm2WZi3DlnJ97nSot0Z4N2RX9EnahYqNl4YktBmPCm5w/kK+PShC4St54XPDRfNWVV+wXs54
sBLNB3wwrPg58iiGviI9QvAwuvhiKY9lg2nQPBRYjOObvITbKNZ26hmVrfc7dDav+sL/DJ9Eildh
cfpFJD1RE90tIhICBTs3Ce4lMNUJvWAeqATkPEEyiiFhgt92+TEqH/vuaRpe9GvpN9aFmt5A0yGT
fQPuX/0zv/n+w2ZqPbZBP78Vo6OpzJfWKfu5Tf8+zWJAfozq85cmeGqCmzL/SKxNkm5LeSfD4rb9
ft2oW9kqFidswKqNqQ7zTewhwlDUFUGeYAQKjN9EXbkYhETONGhXCrJib/QUhZmp7+oSpPsNXAkY
3fDMtujPyHebEAAwoGpouy7IqYYN6MnFUQAXW+qc5Lml5TaH2bckJSggeYqIIkeq7ziLTE6ncDDF
oD+966XqhtFvVCjMh6JdKt76YJIeioHJpDLxLCGRXfnCqxjeNjEni2utuku1v2GSBjuvONzk80VY
CNug7hJpvrmJTEIa7yPyYMpUGPTzYQW4wTzHeNa3IqRdh6oMfhBP0qniVd4YkcPd+fdq8lMqws7F
xAgFxBzGzj7298Md6Hmcy91JwUgoubLNQ5rclocZssITutAexWkbuOHu3596+UZ8+9SzNUzqoloe
FXm+Efh0CUXySaT2QMo34c3QQXnYYMnHKdWUd0O4Pglenm6F3K5+5SC2s8244hH79yVJ2oWjEEEx
4CBlXnLN/JNR9O3Jz8JcqgU/55roOGrBU2W+d8pRsXYyc1v/rrA2p2kXkDNQtShRRl7bViFX7sPX
X5D0qx4O9oqgHhHqCG2YOh2cU31n+AdN7G8m0gbSO40JlQV1KpDQUaDFKYmV6d5UkcwJJFpwF83B
q+gfp4RhEt5pG/O8bvKG8sZAyJTSxV5CWdulFK8lw06/D+16JhrJlL6jQ6cKLJmwzKaHEDIS6a7K
r9nNNREZOL4qwUs83ADBtnlhwtEhdHt2K64mEkM1u0Pvqj5hjBCrdV/twKBUjNfC9+n4Z0Y/Zq9F
P9HzeamAU/CwROAmELgycmVFQt2x7FJv8G84ioDNoHZFmRa6UrCgQSRsgrfhOJqMMtxu2BasA324
GaK9UD6H/o3lb83xFsqKghPugNT1EXLUva6+Fw3yddlp8qNKcsNphQNXk/FP3TXCr769A5A93WsA
cg4C8+K1KjuU9qGDSqbSYfqpKD6WSvGWNftI4jq79b8flz+OjbPqAY0/zLk5xobD3NmmoElJFY1V
wqaw0dxScetpg52cY8j4Nr7zFuHtQEyOycm4kxXPxG1eG3fhPSjJp7J2xOQowCkQIEYVtWOmH225
lWt6VIVDPp7JplhlWNhjOoAgH3dl/WidXMCP8EWwzJYc+257OvRM53g/GZlNsSOxenGLsv7Qac8+
+SVxxDKsexm33dwa2dEnC6GLnmJ0OgqhMREKxyykr/DvG6Ne2C25MTpDcdOUtR+BEUYcJVOUhcqx
EFyGwYLhGfKTUG+QJC6h/cw/3/QBL/sA4dR6bFm9ndOKEgLxdbhuFRcb/0Nibk4GNBYAiW40PaHA
zMB0eS1nIKboWuNKlBHGu0iyd1W4ECGuCsMuLAYMQFGvSKZIq8mYe1HfFoM0qooql8u5tYU8d1u0
97niBWSaSCoh9NnBxM9PR5Qfx9jDvWAyAquHgEbDekm0V6WxoCTeaRQHCRZAc9nnL8LSujY1mWv2
82eQRXLW+VHaM/T/+yKrIZa6Civ4UXwDxwSivSbla6EzVkRwCEKU3gaow2ghaBuRZC1/NTDTXM6h
TtCSgNJoFIX5SiP2GWcdv8lD8f95GjjCKagQlTlc6mx7aYtaSPGipqyPAceyW5zTMFeYL5q/tQ55
lSOp8Ojuxd9itZB/+79LRHCxR6pbQVahetcYrsa6QKNhvC37m8Radt1Xt2CU4qbuaeKJJ8F8ryUk
13ROhm4kBglmHYZfiFHtfz/YP8fj85797Uc527MCCfTzqEfzTmke/M205vAEFsZykAIvkFHR8ELK
lHi4W4UrJejVzz5bbfy8lMZe4Tb2tlYB3iNi0FWqpeq0u+rZsEVrj8LB/OxTu6HQvtoBuPQ2zINV
vEXUL8p5M4uGhh8ngqUehVXrDO1GSexszZpnB5ueo1pj08Uz7Flk6zM7Ic4quvKoXzq+moplgpQ2
LYSl5zW4mkqW0NR5cm+CSccs2lID5hpgGovcShCzAPc85fRYN8dA3KmSV2eOiRGzWlaBM06rBPlZ
fitJ4J7vS3EXKttO+8IhReBHqy8GhilPwif5NeNv5FHqZGOS5kxj3tHyfyGwYWxepP6xL3ch4xbV
+NCZOfWuSUjByP+VypeGmieY7iqFk868Qw7PZrUah+dQYpbyUO/p2o8f+Qe7/NBfecUu9Uj+ujXz
yf/bUiUMYdAZUaAw//WlV2meUbbOTIShtAwc019RppxGV30wo2WBLhNUSuCUBrm89L3yhYzRD3aj
T9IQy8LUra71mH/Kg+YX59t3d7aWjlpU0Bvxk/sW4yjgXVC82+xVRuMLDBQdBCcEMDu0PAWX2BdY
ZkG1wqo32e2WCAxWXSfP1lGwMp3McFpr6b//+83WfkzQzy5wfvy/3cEpkepI7kPeLnyQ0elRrY/j
uA8qNxEWYDZ9ERLYQiIWpzzS1gZiw+PRvunm0lduooylLHot30qmfcGqDVYCch08POpGAJD2H87O
Y7lxLcuiX4QIeDOFo5UokfIThlIpwTvC4+t7IWtQKYqd7OhBdVS86ipCMPeee87ea5PtHTookjKn
z22pJhKL8ftGymc5QnAnlbei4lhEzBzRxwKOspGghp9X/fcX9gk2Yhqliqwq2vnnm+LMO02BMI9N
gyX+Te+PZndxbbG/NA/i+6QjS8XJ6Pz8I1X6k1FLR4se0zJ5Mte5bwAm27Wu7st8ge61GM2fiiGe
29+/d/bml7UhK012lGfH5Ueg22B3ZLt+n/WdR/e4VJIlYjDk0pOXUlxc3dwuvth///7Zi93jMjwV
kTx3JyswgaSlZn4L0Yf5KtyfyQ8hmzlqSwqnK/+WQVXC1HHi9JkRYeCom5FoL5QWNX6ARj2gOrq2
Y8070nl98Pf1nb3X1jFjACxwf/o1yhBwN5L90H4mi36m93kjFpvdVTHghT6jqc4qDl2yUBadIzhM
8FSVktKxhe1AK09itOwJDBNKH733bDDq5yyQztwo+iw6vrrYXKqJ/v79s/FacxLjMDNP6t4obpoQ
NOOwUbQP1UpdY/SzP3GFg3tczx6VMl8JMpISUO8DMxQMwl2xFhMfdJkCOo86+iC4A88Om2p7d+1K
L+7p2owNkFHboW45q97MqsgyNTJl4iTkL7iqXugwm8Tig0sWsQ3lmEOijYU2+8pR9+LZ5a9fNub1
8K/1Lu8QROuVhoQDhVL5QfI1m2OPcUcDyGAf19Wa4Vowo3nmfEF5BVsyxLPFsIcIi4bJ3ZvavCbD
2lJ2MRC3h8q18BBEd6cnASglNsIb3PiiH0GC206sfrkH8oYIirs4Xsi34bb+QiAD9QBhG1Dsx4pI
t+eRDtCMW6sgfLCmgicMJBC9pQ1I69/L/U8HGMsGi+Bs+9NAAJ3X9lIyCGQN04VJWA+PXo7vk8yF
aNdlldMQ0qekEWf7RQXvUi5v5j9gHl7el1+mPZu300WZb4sM8wqAEkchVPhVpKY1A/MKTvGSAunb
hZ59v4rYFH2fdsPeym0toPByhA88Jmj9SY6KrXUC2uzYN0ux8WVaJ3ecnnqCZSjjc2jtOKp35u/S
YODlW+8ao5o3A0DYVzvc4nBU6fVAu4YPaL4KgDclphIE0iurWHocfx8VT2xndGCFhmy0zRdx28DG
i74a1lEpvetmFUzKmrszWyTtzDH3reTlx08T5VIpbZQEfOmqW8yJDSGOuAo8nrDU0M8W/ilYK/me
Fn/w/O8H+0c7/n29mzOI5wwFouwQCZ19UWUfBEmmp3OFLpKyxuwv9xJ5kddLgZ6fYSvaqitW1Oxl
d9vAFaufkxwO92MWHhTcJ7Pqd4wQYnGS+pxjDLTQocWMIaVCdavRVZwKgjHveC/FBAmCe3og/7T3
cM0S/mVzQq+B21mehi+DfMqZp7rv1lnoaqYznJ4U5na+Wb4gyz+m8HnV93Ra6+Nv6GRH8JyzF0wh
O6qmDGsOkrmNaIOGa/j+gLj/faN+up6QT4C9ogem435GBPp9ARCOfaIEpahyowYwTXYMAsbagv0w
+1VKGypGtkhwjKc5hFD2zixCjX+T2Us/8LopWpt/7fyx0V/XrFm9ifz47LEdS0vrcy1R9jxcSlex
+l1lFA+l7Em/crKu1Te5XlvCc9+uBuMAAi5HlqF+AljQlirwDjXaaBibvMibs5IBp36qBPSRHTga
NuTM0QtjxFK3Rw8shbHqGeeIxoe+JcX5yMxibejrokeiKeMyRqYd+IokLgNw81b5hubv37f+wtqr
YtjEkqcwhNPZKr/f+rKxylIROUVif/AmxPmK/nZisVX1u3hCvO6ThqlCS6T3aaxRek2bZg6zBDO0
i5PdqWBseICcJscbJvm14VXdwXo0d/ocsaBMDsIGwFJN/3h8qV45HBOfBvnIYlx3m2qSPaBTD9We
eKhd/Uyqc9LeVXTMyB1H0fUs/oJWNjPfndO2qnFy8ipkqwwWbVzyD/99J/4IBc8f+1934k9V/tcu
1OKgsCp1Hoe7wnFtqj60CKvbyCilzEU72pChdNTf4SPy+2O2UBqWK/Gmlu8nzDFYPm4aoMHKrFA/
3amBo3Pr9qdD9KYR+/GoQKYhJoATqmrzVrRg62mpo7tLMPe945hlT7NQ0e8j3ZFOJNjGwBXBr26m
zmfpHO9q1cWdVvf3VuvD9WFb3qX76T1kFam2cQbRKQcn/IQ0TB3upGBWSLS7UnTi8pdkOTpsicrO
F1ebEPPr8fOmqUhLmMeziZ2VnF2hHTtBFNJDvWaJtXbZLQ2U+m16DmBfMwMhmhYuzxP0z4P4fLy9
VrT8WRn+9ftnW9JkicmIKS87NJatPybPRCJ64hcGzfZ+DJcFfRsZJzDlnq2hoe9tblyxHUmjY4lj
TVM5OSWc966s/D8d9SxolqEhHKbm1n60B8ZhUsNqUNODuDaAYp7mXL7+aRw90j6ewpfxM/A0L38H
vZULB/KQE//q4ednsc0lmEzYFQkllXbejEOB3fQUFelBXiD40ZJHDeky0lh6417Bc6FXQXP+Wi13
YX7z7WeVs1ruaHZ5nWfCrFJGkDv4hW43FCye4Gn5uvVr1gPqcCf+vPoqXHwV//sH/ymz/vp+i2IS
8qOMN14fHbqeylYZNo0KZLtZhZh56cNt2xnX39Cxw0ui7ofQzxmY3qkz02KurdwRh6eKi/Iz7uEB
Vsi6faiv/15nLsgGv98h+fuK2wajpgwWd2hu5Rb7pH9EvirnX6PHa6vAusDNAg25fUExhYMjJ6pM
c81PkQiQB9V0ZAaKqEKdfj8O9vCL1aUJd7zf6bgTJTe+HYFp0vslNiy/AbadgqeDM3esn2dlAL3J
1b//HPnnAWv+c9DqWQQy/xQ+1Tkjc/0UabPoUvUq4U5onSbZjjg3doo/v3GUh/uTNtvwb5pl/NRq
COTXesVfh1ySFuV1rfyFkvr7RZ0tCxbBNeWUhRqG1EUkr81pVyWr8q52jsR2Nna9D53QRDoAFdOV
x3WkMmC9MfJbht/yA6GoSEQaR9NcYY5El5hzn4YbA72CL11DKP8vH8x/79/5BqwUUik3gcahncvJ
oM3E/ohEgrBX42au8NsDBLBrsvkLY5H/ePF1QorY+s9LLjOqJ1nJDJmfZU1izspWLp0Ox/5BLd4R
tTtKe9vMh66hJkqSuBYCeij9oudcnr8XFGy6q1q+atwE8p3RLyNXa1enfn2sDoUMVqFobhP8Eezr
UP8IE8cU1z0xs9TlZRHtoooB85UN/NKbCF6AMobJMdkg52b/vBE60Uo4wJ44JLilCUYnAu48W+Hg
uj9gOVHURSLY09Hrt1BHQ9hOgavYCKQZ9Y9P0O2uV5M/8V/SfKPN+UxNZvmPBkSRn/JRCGl2zROH
GhMFglrpDS+ER3k387pF51oD8UILlt+cj2q6qooKVKPvS8ykalHX1ur8cCVfJ8BtpKkZYX2qcQ+a
NC27m8I82a21HtaMiTyORq8mXYV8WUNjJ5ECb30crCJ1FTuC6GLOPdYbSb0iPZaUH8WDxnOSUapR
ZTPjPiseKnojqTo0jOY+ottoOZRL5kParbRGetL4ZLgQJ+X9e7kig+vKj54tDXJpCBMGAN4SirzR
yeJVqP62UoK2iltaAGq8DAts+G8qwm2FiDXRwFLBgnAjHG9kWtglpLrqQW32aVw6w7DJhwNyROZX
AD/dPNj0za8uJsuSA+oy7zfRU+9BmWQ0MyKGysml55znxbDuJOirEdbFl8xwm4w+7sqolomMZdUA
XP9mLv5DarAafyo+MuMxFrwSN3W0IqYKPj+fn7HU6m1nOlL+ZRmxc5S2wrgz+W+3JzcOVOeIjhNs
I109j+PKmMEPEBhVBN6U86orTt+sSTYhnlvr3tvjjU5ybPyIp8VvhXUsLUJGukW1UmhCw93uMtcQ
UC0DQc5mwgEIW20OuoLi/BQWgtMhkKMEbPP3riKRCzbfuEDe2PrFgwHKuUZZuCB0t7BTj0TqMfKb
fsl3Sg7MMMfkAS+OhX1FE8N8OuEz9KcT/Z9FS3CZHR03lMTETPF26khPr8b1/qyVKJPYxeZpDupd
62wNJj10UDPxOFs98UqiI+UrJQxG4kwGmoRdQPudS4d/v4kXurVzbabweTKvn0vF7x9pUZTZkOfZ
PLGPpgm28wbFBp8gEYVEnoiOuqBu5ETWL4LkN8JSrwpc1YbUx7MAi5iQIaYI9LMIq5DLZU08x7W9
6cKK+v0SzxraamlFmOBOyj4lnpw3LK3ulRiQT7DE3gMDA4XQp+oS5uNEL4LmT1QmXYoz5rZZYrK2
2xVh865xDWFwYcv8flln68YUqkM8hLMyxmPKLNJW9wRbR4WAptY12LdtZXjE2764+tM/gTJwuucF
Faoq//qhPTaTrm9DgzelyhYEmgySO2rAd4VnkeTGsbpDbTMINypLLt13GCxvMU7UIxkydOpSELso
6fvgXSue6uG2+YIazzBiXB4nOxJtFl6IBwioTT9WrwwsL9+zvy78rOrM2rSQmimY7xlcg5yMrt+h
AwEHDUdEPHC0n1/08OqpWrv4af31u/Me8FdVrvZ6kUlxNAsX4pAVMjM3Q78iBA8/IJqA+FkB0a9X
m8Z4xDaT5zvhFGNxA1001V5RbzPhrnMBBqfyLR4ypd5MzcZ0p9v2uDZmSmi+mSt+ctan6qOAZCPe
q/2mN99H6alNOgplEr5HX6gJU+1bQO4Psl+4keD2yxKLiRPI95V5f21AfeFYymtiaQynGXDpP9y3
Ry2rzKifVWyop4N95/bk9NjjrYzXKlzxngYe3cCXjnmbq9cu7ZT8VWh8FAhujsSIBSAcX/693ujz
V/H9qPz9ms42vmN9LAE8QTSIOQdPMp8paQvWiFta25fWzjwGThjtJz9SXwusu+OtFD2yh1l2fas7
BcAdYXSS8sEKezAeT738qd2k6VcSvI/KR1geSpBA8dzY4CyiZvtMWAmf3bAbW1s6+QKJQ7hqcr+h
x0MU4m0VrNWYx1ishtvuhgX2dUCgDRPc6DHV3EQkAx2Xv2Vt3aAwYGKFBZ2Ba3z/73tywcCpGarI
2st0CI7EOaJCILBVkAWVe7KaXEA0QN6cge+52KqogwUbz2CKqR7bbGUbIjrzrVyi9kFJnFKjEJAZ
/m5Ic+ztxJxzMYX+SR9qpwkNN2p3KU1fbXKrGSi962mKoFbWUNb2fpDAnscahDkU/kW5a8IbxSAq
9y6vMDM6Y70EwUx2Z42b37Rrem/j+pje0K8u2P6GbXf86ot1M6wLVg3rtS/XLUZuRhQ04povNcam
4RJ1ji/amEUEUHJpPXbdanod7iK0lKc1+0vV+hW2GEah1qepQ7YynxqW0f2/b/GFVsj3WzwvEH8t
AHI0Nm2faFAcOHQTkHgYs0Onr5j0hEsWhCN97clJ7izKGIoDRpG9iXv6WqPqZ4geCze0YZjHs6uM
0+H3yzDFfjiSESXPjENL9SS/I1wbf/PIwASd5LrPHSPbxNnCpPU4v6727WuPBphQ44BOCXtJiejZ
VpIFouAuwVxwI4VPZnN7rQ95YWr97Uqlsw5KW+rHVgGGyEp9XMxfXk8yJqLjeaOIF/X/49jE7ynw
bxg/adyaszokO1pKfMqZvsUKFCRPOq5jXedtvxPEO0IbfEYROBRNTxzWXbkQKn/EovUyECTyVChb
sb4/McC3fGR0fP5XmiXapSMCZwSRcKxZ9XZ+pjOUWI6tiPgbCz/Z6UWGC3Byc82bFGjeqG7s5oC2
M0N1pNzgUG88c/RZ9vEGkJraoQodBLxN6sJisNodRuLUG5I+OOq8atTj2mauFb6IRXWM16PE/2Hi
R3RSQiot7rd8n/yq2t8yWuyyn6mF5m0ibKpf7NVW+3DlO7nwl2L6kHRFZL/QpfN+XRzLoXlSaoUz
m7Ab39vFsIFBt6jgmyQfwlUN1YWZC6fk//7eeaNOa42uM0SKqFYlu3RyT5gVMX92N4bhB2Sokq1F
kxrXicf+nMGx17Obtv/CyGEcQZr5VXnlaPZHyn+2QX27orNTq5poQqpHPaY0Iv74y+mxo7j8Koov
9HkBS2TzQnhAF71r3Jx6KSv3YbdoEQ2BhXnI3gRPumVoVWOyH0bAVLPL5PdgMZ3hCHRsmaFPb4K0
VIqFVG2G02/8owPmenpjzr8f5U+2OSCTv2/tWa3VK0rfDVKcHvJt/yQ0nh5/hoM/NA+VxBiABMU2
2I3FgmSmInxpW6KiiJkYy1spfNebxJ7coPtVn+6OxaFJX9vjCy3kxOuWra+2MHCW2OMhfqyS00Ml
3pJrmY+ryPhKhHuggiywjGF4U0kYOK1PhYKI5/mUryvpWVL8NHtS8Tu8XdPPX6ryUOKJCswTU1c4
RX1fXccwKMIiZM0aOcCd4Ae5kmT/Z5Bt3fbhU9Xfy8K+RmN+OrQ6G21fOiojxWLf63dTPdij5lrQ
UqLXfoJ1qO1kRrfCfe3Gp49Yvgmhsan3WGjN5kCobsaHgRnMfBpITWP6qQMMo8/TskxN+8QECFD4
Gp28X824KEoXGgky2dtW2FzvJvysqfDUzosmVkQkr2c1VaeZY1Q1+owoCkhnAygXumHoo8D8yD1x
Q+LDGyvHlddrvpnn3wlSZvCeBo07UCvfb7bSJaHVdLK0H9Bf4yAxlhNevmm6O3JEYwXXRzv/bUAg
eKM7sVTlL0I5q/yxjm6T6m0keGYOyuZm1caWqDyTfDhR+C0RBEi+ZrQxZuHwLBz97CS/D2wykE/N
zpI2IoO5R1IJ6v7Leq3SlzJY6vzZfnnTfEa78vQGV0cLlnG7o+3cQz1tW0wjV/74C+00bCEafz13
W8fGfHb2q8tmyiPcQvOpedkuSFpm2v0ASHLuSc7kPrSe10hUF6x5NBXhqqmz4pYz+9mPlpY6ZZbR
/WdLNt8j73gXZb9O8W7sbspxy0kc3QnyjAkfeAZwgkJ+ZoYyRf8V8gp2fltv9HwJ+ja8KQlKl/z0
M9VcDeoN7nD9vrgKsPlZ7H+/4rMXM2lCPTKrAXxZs1aZLGSv5YrGBqSBcvxF6LrY3vS0wpmrfqir
qPPg8i8esUrghicru1iJpTenEB43eXPtJPqzAff90s7WCsno40bqey5NXzJWbbY0KDFqei3svZoR
N7yGmcwrcAfd/FReWZx/4omAtcgczdQ5j8mk2fP966kUCXVVwbM8ueT1Oqmrx26wLmFUxotY20WF
Ix+/rOC1V4kf/jRFZvm+NLqojSyOcZLbw5GbHNltCCGZn6BAexAqJ2WGqC44sKQkaDClhje35OxS
GKSt3CXXbFIXDEukblO0zXZztBPnb6SIWynKC1Hezz1urbs1+3ux2ZE4r3BKoVpD0vEupIz6Kr9f
Squ4esus1+FVsvaoYeJxfW0lvNByJslDUSS8W5JG2tvZbRXTLNflnABI8R5DYvYVAW2LvGj0gmQ5
nVbK6LfJCuGd9UxEM4bczvAncWHKX02yVuczom2fyAKDO8BE5hcLzPLfq+alOyapJnoO/DEKcLWz
MtfstFo+Wmp0mKo5uRBAz0e1F9AjJO6Js19mH5fhu/IFEGZ6L1YZjxMQJ6D/ZXCIpCulzp9V6vsS
rgO4gEwsifQdfwCR+0gjfCXNWcL9EdE3pCZ7mLWZOEdiYlZ1JIlMSmu4O9jYkSb9+178kTL8/PkZ
EynC6EKe+P0bMEe1E+P6FB06UgZ1eOI+3ek09WNlO7vGGpIriT9yLeuGfJjKYPdYdDLdcBICXOmh
voERiiAk+mRMUKP4p1zDWAmopl2UxGucVqnhBgRRYpx26taJOU0Q+Zw6Ay1CdGrBnmjIeeR9Q2qq
8DtkBnGNwX2hc6lLf3ZIaPrmT/Nckyd1SGZRdBCWw+hzaK5t7Tl4M13hfVrOMpfCEZz8C10Z8AvC
Bh2WcI+dDIBibJM6qF/Rzv3pJJzfcg4w0E3oN3DSOtu01ekoTkWcRQSG2yeyvemlQJctW2c2dZ/g
JoEQsq1f9AeOPdGtbt7cQshWRjce9h1jipMLhBX1QvUh+sNiQEXyaMm+jDRSh1hJpjfyuiuvyYVm
Jzfxr2s+O7pboyxViR5FB+VQcP4kRJ5pgrTI5PvxK3qaE5UhieMr1j30qqS/d6Yd74zbccdDB5TM
6UtL13BQsKfPYZ3WqgM9x0tEyLnplu+zPcVytSv7y0+YIOv6nCo0SyphnZyTOKoTqbcY5EgQ8av3
FP2mFnmmsrH0G/P4FNfP1fCg0wQYoztR0pCVSc1ebpzBUYk1z10tW1Q9NnKLEEW0W703d5S7ET80
BIfKlTs62vSzMJyYBjLcWzXddYmH6D54NSayStHHSjSGu9ijPdPAr1v20TW23x8z3/nL9PefeLa7
R4KAmZ0Ag0O8SnQ/bDxGSONs9NGgG95VS21XbgdsSVLkFbgV29kZcA+PWxOfh8YbBxc+h4DWCNw2
IJgKE2BsJ/IqKLwod/XZaXlT6zZjmWB6LK0lVjMj8/sZPkkTotwE838GYcqe1G16/EW03SdCJ9wd
8mbiIIlnmXbVq7oCG8UyyplF807im5Yu++ZhiuioeaOxH7L1SfdZGIZ0TYx9fmJsZdmw/5r2UUkx
TtviS7WanoabKtkZMPbidHMECBPTgJA+1P5OM+7U2M+MRZX77bQ5je/0a/rgLm2eGhOPO/GXS7Ne
mtBqcGdfNxbKP8rwuYJA9KAy4aUsPPui9aIM2pMwiPRpknStCHhxbWlb4wdkpXM1nzm5BKYByZy6
+EDhpcRENix7+EJEedgKbDMnPMzBh4MXKPawOB75Mh6LDGRrSVKi4gur42NdOXQ+9NaH0nGlEvpT
I/x4i/76A84+b1Mb9LrBfnnQ34qn7BaFnfnJS5JHi3GyMQrFwcYClf8Y3Dcb+SGPVzwfqCbEaB/x
xCBiLR0+II7c6ou1BhP6DLxcIGNWWGbZS/pZifDPnOHa0Pjn6YfbLsvzWFuf0bBntXgltqmRdi21
+Ej/PqVJxjkAazMII+pyFxCdMt0Qc0tWCpuqh/RgBcH33xuoJM735se9++sqzr5A5STE6SBI0WGg
XpXI5d2X5ruCVLZwJZi/g3cSFkx1oDHjxCj2+hNL5fEp3TWbIXX55kp0yNVz1N1Tr8GoJwoYSPNQ
LipQKCjZ/hAwjTcIeox2aTgP3pCxYs3pbBQIaWNHWx4D7iT+gbKvsO2+8CjE3/w/oqKW3sbBJw/+
lC9TGpTm0xTtBGUVDAsMBbpRuaP1xIEl/MXApAUFsY3fAT2xJEASEV2FvglNgoTkcByZiwYpBURr
w8vEB5jDNfkJ+bbVaFs/mwZZxe6fTplzRILYbzmR4lGyTjto84OwsLhiYTEpV8qnP6LUH3efbu5s
dtbAYJzVcnkZN1UstNGBb6NEISNsj+pGTT1BX1K5FGR5aS/Q7Lpuw/yFGV1vguQh7oAA69kKHqjg
Fhyi7cfY07clcpDyBpyllhJD9oFMTZDfInMX5Luh9TXslPNoLMltNt3js8iQDl0QZYXK/9SK01Jv
8J37/37BlEtvOaAhlY2KliDthe8VmtR1ma7GPfXLAImQaNh6reIBJF0d8YBlR0/Ti/FS7Ltd/Zbu
UAznlt8n/LWbKFnQzVZMP0S/E+/0O/NB/B0na+GdNQQnveaNxLHAvwYUajwPKV5hMFnXBiuXjgNQ
8VSy50DaIFA+e0LdUU7b5tREB+NQM9cMebkoeqhrIR/eJuvkcWT3tc2KLZSpsiOnvmG4LSaHF3Pb
eOGy5LFtKGrIZNvASbp2e+ce+tkL9O3yzgbbp0zOi74g+ycTtma2SMc7dq9imdAqXFi0cAgGSD+F
w/BADDkj26FmoTa0e4A2CYyVSRNhwMOvFNYSLi+cnQ8S6Teba2NEad5C/nWZZ2+BhuO+tSSSZOZR
gERYwGamcsAz9rLIa3+LVze1S89tJpqyvCKk0n+cjqOReB2pq9r9jCBfkHwNDnC8xeRhpT7hyRHz
yXqBnQMNM+mbJsI4wz3CmCo2NQcEjNvNY8Jprl8F0txaxWBzrK+UpReka7j5/3uN5ylhSTTrOJBr
708fFtGqfr6Vak/At4jwMHPkycFalp2c/Lf6aLYu+vWI4QVlGbqryW7RWcfL4EZ/NZwgA3JTuOXC
nPx+lxdOUQJh75/BmUukUEDQzO3odZ5FP6tXzgOXHi3wSLix8LlU5YdCOBsMZVKSsqXdHz40q9Mu
WOPe/Y1Sd12uAzgyV86/l1aUbz949sqP0zE1imPQ7jU7uoVOty9fjprNcqm/pQvkXvKTsJvcvLSJ
F1nOtJV4P4XsCg4TO8IOJFvctR8zVBgm+O9p0c1mjJuRYcqeud7mWoK4ceEL/Xa5Z6++xO0J2ggM
HZ3i4F0npvbAEo6D0fpQ18OLsD3d5G+zeo90HEbYK2w1D/Qcm9xBTVtz9CxcoqBOM3IXT0xlDxhq
cNnN3w/zWEd0ZQiPw63sR4A1C5teSQG947F+7S0bb1KBTAsOakOOg1NbtrWvMNB4lTt4pt88ysua
uNQHbTbRlgmq+msC8guAPt5xEzuCNGOFf8y9wn5qk6DiHS9frJ0QwTiyY83rg/su9No9ZBEfVW27
BCPuVU63TNjmHGuBKnOtynZFiDwZl3b2IT+3v3ibY4pM2Izkifx7m7rQjf1+mWclZKNmSXEquczG
bU0n2yNedVFnLBqvfE/3sv1/0LVf0E19/82zraXmaK/ldcabEXOgSDwdXYfcPgrd4Rit4IMTo2d3
/SHtN1riy8Mu0TZZO9nyeFOVi5g0UMGWWk+BqYNAB9gJ/ysEREyecWS58jPIJaZfC8tyWWh3uurC
+u6yZiNWj/28E9inZbDNC7f7xY6AGjCj0+aI7UJDvjeyR8xUNsKsg85LgrXMNBFZUm3rr9E9HFdn
Pg9RTBCD1j9YtLtyhvuF05884cRvOUqyGuuVOGx0ya0r8M+bTrwvzEXfb+Tjuhy9VFrLg48VLhxi
Niy/kDYJLWjMRUz7LVsZPXz+feCWlmtVfn1c45PEJMlwW8P99UsSbfmODA6nIIvEZeDZR9BKCBpd
VKY/jS8VowtiSqZXKdsq7XJqIe9gweTgDPUJge+VOu7q63O2JgVmEPZxyuuDcfNoE8KXENNElzq4
kR8iWEGyWwHqv0ru1eb+1tm++u3rOltcpjQr1Upk8SVeYVC98GEE4F17Sj0HCxP2UIlLyL1ittZM
O3mr3oK3sPPpeGXK5ph41tFNPv8U3qb8bNQsFHZDt+NDZJ0Ax8e/xfUNzWEW3ReEzWLEP9p15FU0
3yHoYv2b/dYxKKQGE0ZAFfoQmVcqnEsNsG9/4tkBRQ3yLLL0eQFRsBmUqmOBmB0d+rBi7YdzIpUr
gvPkRcT4iAVaAhtnE95DgSikaw308/SZBG6EPFP2g+lKk+aPxf9fT+CsXVzHiaBYnWkyOFP8zlrW
oqcHTjs4wtHRY6+VICvNwWDyR0OFFfhRa58+xT8A3vuxWjCB//dKJs+P/H+/IEQi/Od/yVTSaRhD
ZnmsKpjNhBeF9bZzcItnEQ/NbXb143FuEvd3pP3Q0EyfiJRY5YM3Rp68nMfz9fq6ePyCj4G1zpI5
B2Ai4iRw1qiVuihSp7kcsyS2KMc4AGAfQx4otQ5tHEXzlMwZqMhaO/LQ3Kpg9t8houv4fGr6HrYE
OBn+3AaL0QH1sWZ6KXSjx6uV6rzo/rh9f13o3Cz56/apsaw3YZK2f5AO1RqZsejNmwH6wpcZNK71
eK6Lzb8f2qU+9rfbM9fPf/0qeetZIhvcHgy25H34xN4ZszcPgK1iLcDvlIDRQYByZoNqjeEEi0+y
YInnc2ba2TyXr3BQXWUPkUiRPMRpBX07IHipn3BfB9cMFpxO+gcREGq+qqAzV9gkBmy4UI9dhWCj
JSDX8pPWWxx78jWO66WhBX/gjG1mpv6zlzlmJyOU6DPtjzf/8dI0h4DmwY5T92daO8jlmadAQXw+
Lq0F3NbID0jKFe2evPtrTY/LZ4O/LuZsSRkTI8lBQbf7kVRoE6Nx6JBVMPxmrs6HcW8uYmjxdLVi
P1gn4/pj0N3o8fhqPGIBw36dLxz5tO5CrLOLf78Hl+az327T2WrSW1MPTpz1vHfkdXqnbfPOOZV2
0blm7/EC8GX0r2a1zJ8NsjpotICmUb0ic4DpHbKHfsWWDM0F3xShdDFNFRvMwhQvNKphyY6e5WvR
EX86FOffCyof8tdEJni0qr+/uWJRh92U5RRO1vo4eExgjHhbj14MQml06f+FMG9nBRMSRBdCzQhP
bTvB7Gps8G1kssEnozgBuo193IDiLPlWdJ8IC2Pf8gfMVnFN38QGPBhXMd3T4KUJloN384VDT/0Q
M1uFuvvvx3BhDTXgUYlYwUQZLd15R7QopzQIejqi6uIUMl1tWwhQa/BFUeFl8utkLTpzKcRUiYw5
Qr+is9TYCqDC9cl86YX1SbnptFcRblS9KB+vFavqzyMFl6cq3G0oauiszgpHcUgGqxeC8KAuRkwF
4f3svF4HPbhY2JdojM2vlsi36k7h3zIpmnwh8/O7AIx/tCYxJZJ9o75VH6jAGBqBouh9YRF9CJBk
IsjXHD7Gm3lHIILBvMN0e734vfCif/8Tzgqm/thWQTsYwUHZ6YvR61akaMDFJ6cc4gN/VLCJPxrR
lSx/Zh/DbuZ8dhifdAfb9rOFnEz0k4/sd7w5pR6MJpsACcqTUidv4poB9YLA7Pu1nhVZ4zGb6rA/
BofONxeTzOU8Tg/io57a+nsuUmi4BLv7SGARnFBZq/Ui1+5DeXn9Ui7fNkIMdBFe+E/xZzm2slpO
Yng4vQyB17T2uJ5e2E/LehmrTww86HPnwmO0Oe2mX4X4ovfUycqbca9xqFG3arIlzi+s7eB1QuWD
GnBwyxL6QGrP43VhexWPfQElxM377xWfi0A1vTT6XLYCJjxAIwb8PK8W+FOguwwIFfuIxKjzCJ2o
fIZrSro4La5N9C8cQedLYDrMARQetXG23JeTYhaCEs9DppHQ+xdMHxm26vSjQmLA6ZN2yrYG+v/W
7fLXBEeQ3d/k4PTSRXoIyHm+nYOFNM6dmXkT4Hbg9FO5XO3/4fn+rOe/X+rZ+q+mxpGbmYYHRjG6
XXaL4paE35ccdGW1tcrVIPqq5aD4zQDwJJhW+ldyGklI+2OzZD7sB9kDH4JR/KqJ2+ZJCyafxLVb
esH6axiYAajpZBQI8vlTlUptKAXJCg+YLkebsNQY9LXE+u6GrPix2+XbbEMnY5vcsjaR64QdpFyN
NCzKNUE4YexHDCRjD4URGX9f4REqCqgESHfWaKOgPplu+7s9yM/90dU+DeTshAkQYQ8Ce31a9Mur
ZZ/4s0NpkDoJxotOryn/WFOVUVHGsTBxbokLmcMPQjSZsVC/wewhYHKDkBflXtS/p8HiVD0Uwp2e
bybJpXGXTrfaacUsnAApJop54xXt9ih4jNF4w/LGqbDL3Fv79HlaTNOSc1WKQ0W3ozsO2mF5131l
RHNi6m0XR8pd6MXTLWNyEWgKp2eUcV6Lkc9w+9QJIOTijxZOPtDMwEOeX1obmaMNaESR9IlZVu1y
TJcPnLH5hy1HUCKGOlZ1W42eggp1fL2JhM8huQ+flXtCEp10DZzDrIj1KbehfqcYXp8v0Q+wcWfD
NtLXcbGdIo4xn1O8GYjLYRhDDtI1LccFqwlPgJQ1UPrQEH8Ib8op1ruq0lBXrkHgL8ggQjP+P5y9
527jWBdt+0QCmMNfMShblhzLf4hyVZk5Zz79GXQD9ytLRumeAzS6G+ggiiL3XnutOceMdyHz4N6S
72ZzCXytu5DAFhZaRk2OyfiDWKAlEJwBejkDmxt1wPVh4MslXT7mYxCmRWJqC+oAOnDSh/Hm/6z2
CoTfZ3nHA6EssTBGL5/HqRxh7lZz+9JRPLvmuIDJ+tbO//09MmldM5EQ54jBr9VWHLSLPve5oBrh
P2ZDTk1LFfZxuVIwowBA/gMYFx9s8lbvxvXiEa/J+CIulp4+3yQIho//vkOf45uv5R936K8Luuib
pd1UzXrSxbmDsoNw2V8RH9qVj0lx9E7Nxtz1kAfAiT4JDOXnns2+U9xYpX/kDmftF30+q1+jLHyv
DuPGRwJ8l6xH+x5rByJNpCBP06pYIyZays5QLqdDtYqx45G2y4D0fU2YZ38cQAtu6Yrf//urfbdt
6OgvYa3NFrmryVVfEiDjiWXwIKxiHYzuEmpZu2QwyCCAM/Lzof1If7azq8FdaMcWv6Vy5PjVbINn
WrFJvC7rTdhsSBiFRFeLM5KuooPpoLLAGHajK/5NB0r/crUXm1wj637UCdMCHbJtrGbwVhLilnaM
vf846xDb2Pr/I60R50Lt8gH4+y5d7Fj1NI1G0QJ6mic7lb/T17MgKdmZh3wf36vP+h9+nNUtWMN3
H4s0HBCeitv1GteStvIwLmp1OreBNfgrtF/MqRfoLB91F7+BtBbDF8ii/ylzghvHtG/MHCBbccFj
nwSKRVTO19ewq/VGSHqvOSvCY5Tky7xyhcR+bV4724PJz4Y3zx6ke/5uFmUxyQZ3VZOuBcxc2xJ4
N5BdixlZ347xXY5eamRTMIfnKN90y4REomjd0sIrCKxaMMlDhJs4WXIvAC4yHDW2+xgf1DbYtvpW
Mx8X5PqaP6bu8WaUxzenu69f9KIbIvZRL2qhPp31md7m9uB9Siv0seIDE64IaixFhgywyvaCvjPN
dcGRecmKjXcsQNjSPODOM+qnGD2D561LWMOcSBmJEtHE1MJTN4O5F0ZKUYD8IWyoM/j3ddvuRn8P
roEYR3WVQO6/sa6r3zy0FC/zHsNkgjr64gClakHvY7KaZjuwiD8d+u10TMenQGs4gmzkjsYLDj6k
F8lgWJr+UudMJ8I5liLG8laWb8zggmzdd0Rp7gPCJXz+VUXY4IVejpUOO/nNWJoTHTUZViNU9VbG
7HEcs1dReUjlJwUcCtP7dQUmrjmm0noIARK6fn43BsdQmCx9ei0GGvczVuG9IRvm/d+r27cv0N+3
4OIAFi2CZiwMc2Lg0TsLyZaYrC+HTQjENEqYMbi9hHoeuNBt4PM3Ld2ZePy/239xoGqTaIw0n8+u
7FDYKMUdvF+pcklqXGcuTa9l7G2RCqIBWaDiipYYI4hMAHUkOYVFRbgAtbLqbtkRkCNcr2UcD+Y6
0CBKglLw62vd0xhatBnH/tBzWmfxy5gccdkRPui7JF8G3RKd433nCpbqJkd1PxwHd/GaM1071I4g
w7SxE6In6x+G3lk1CZokYnJIzDPJauXdpD7VJI5G1TH3EaUqp5FyWC2o3ZrdItsYoCswTK/KeF8J
aym+C1f4fejWEXFG/DqA28AxEiSKO1lxfbycafQWqa6CR8xroaPb5Lh21NLpoWPKWRs7KThV9eMo
HJkImaUNvghFG/QoXAbJRmYfHbf5LJfvPkbWD5ReTuG7/mP6tEACSS+RNgfQ4/rOFJyBfxbA77GV
+I1+XHWnp1vBX8XCvYhx/GikBzz7Z+z8Wcm8MgVIZT6wl8e/yZcEvqoRVGcuW53WLvA3mWm8vB7R
g3aOBK/YO0eHYHoNcYzq2j40yKzM9xI55O3Rl59kWB+LlGWwfou9xwbCP38X4HtbQCaLY7ckVWyw
oO435RIW9AJzNt13qq/7mXYg33tQxJH/32p7ASH57lkxoPHyJEP6u1RhR3IGrTcJhM/3p7mP2QDL
J8IsnBqTIbMyqVv7kLs1EuZ4bqI/LYtzCSxKetdiJ2l39fhDKDgFZyfRW3UbQ1pBzQ7gSxM/QXjL
KsgsiYBT0g70O6n9RcbUMpOwnYt5Yc2hZDT+cHLaRjqgVtzoQKL8ZzE8F7jLhTvZ28btnuEI0lYU
fLPvkRDH3KZbhaeGHwkDLxIpUOfS0kQ7sFxERw5aggW8wsCjOTiE5qrT29ijK6VjIKYvXXWfZm8J
s+QFikY9fOWo+lOYiKIWHNlgvoIYPS6W7ficaSjTf4aFuRSDxbbt7xXjNMkvOZiYMj3E5mmM4XXd
dH/OL+dFITLHqOElAHioXpVrSj0YC6ltZolJjaWTFQ0/miSskVQY+B0KwgWsubttqcdqk9ktJudz
MuyVDnQAPE5FX9fVo6DNAbRLWWyX5FTePjh/V8Cb5B/Ae0dnycn5YucxqrpKizGfr5JAPan/KUir
YR8Eq4ptwinP6AL6VeTiUX/rJidsHGgUAPySbd6+YgUlwOnWjftGws9tg6sGWVggktm8PFMI7UBI
OzeO1BOSe71VwRpMgxnkHtwj+cwPZidwTAqmWRxnb/lFvxGU8/lzG4FMCw3Kz8Ut0UqpUTPD+28n
UqzxUN8F94Vwz5tQ302PYrujIyPCdQJ39SsOwA1DXFhmL35O1qtjsGzOE4OImht6U0vhwLGxYuG5
daO+6wPyfM2pEHSR5mC6r9sDkKm01eLPC6XpEXjLfrKo3TrPjfu1OTF9tMLeKkl833Sn7klBNhrZ
2YCx3SVFpRZu+jO/UYjPT7yJHRJlHVKii58O4G5iZFohUDZZU72GNDzLbFEPcVh5JQhJJzy+W2nl
H88/eSrQ6OkOCpKg2fPuxibmypCIc2fMHGnhKNnKNKFVYB9nRYhsSpOPFsqDE7fbQdpmWDu16Alr
DPNkYxn4Jw1BdJCS//RmmJvbuuRvywScaoIgQv6DP3FRZSdVu0Ac7vNgMifEOkoG0BSgUljWVgLJ
uf8BRIM4GEKZ2XirJQ78mZecu5HU2vWEhJPxiD15z/RwrH9XT/Jc914uNoYqY3mRKCJJCfn6KASj
2AUF561zlT/6AFQitsaltG0eidYJ1mO0q/2N0m+i4Z77WNA2gmlk56mr4PYlY1LYykgptHVTuUW8
VUntsmcHQYQ6h3YREJF/X+43ShOek78u9+JwaCrBEEgeKkGTjr+56RlDi+s5I2TpQjAULUNiALaU
wVW1slOdKHes0VIAWzA65JSyG1vm/BUwj/+XhsaXK7souYYwHEqtESbWQxk/2qZGSU44q7jzi5/p
4kPx/ozlG6Sr5QwOkAk4sTXtTUAm6q/l5tipd6GJjftspucFrv0bt+2bOYuJsg1brDgr3IyLBzAk
xS3udG5b7aivvBgjAXrTkhhePDjZrHq3Vd3FzdI5Oq4KIru3NWGMp1uIu2966DQg8Hxx3OV1uDqu
lAY6waDmbD9T0AKqs/pO5q8RmzpymRmqPrwJa2gxNyMmvv9oic0B/hhY1MuSOCnKLCq9lq1yD9Mk
rpe6tBwP3nAiXGilHYNzxOHtnCUOIRfVn+Rw67t/8+jy3f93AZ+T878m46IyVLGBQh2bLLU2UQ6Y
LCOXyknXl6mlW8N2PLL2knKR7HCEsFMZL+qf4SlezDPQNrenh2hF5yO95fL/9Fd+XQO4MkPHoAOh
73rxFUIjGjr2g1n5EdgU+pNsF7LdeSv/rB7FV9qEuFFgwTHvSGobUVCPfwwBzZvIhf2pT0rmlKhF
4lV+ikMeZ5bXZbGDaKp3dm1uI2+nEd/XbYoX8GaoFD0+Qyg2ZeRmT0R8bcxj+DP8wKnJKD+x6EoR
EKPS8UHfgff+mezuDYVN5yRnDCuvqLvQ1p8rx39U3OHNR3oHHDmyCHzj1Nsf55jnDSP5P42yDKDX
5fDJt8lpBrHfeK2uu6pfb9xFz7BT+2AqKgr/3op/KjF7FSinbCVEGzSBTC/hdAjEnGX8vtmOHPse
7Fx5P4UHSZ3xb/LHrDy7vRZ9I8L4el0XhYgeN5OXlQvzLHQ2qmGmkAQtIuKKD8F7eiDNQB6e2ePF
zhU9ptVLg3zFQ/IcP1YwlV8Xh3pPsvQhbW3/jxbavmjjoK6YaS3bbtYNRNnqM1veZWpHlnB2QnrZ
4THQn304ktUu8NaF9PLve/2N843vZMrooE1FlOiYfd2o4nh+eSLPPKviEiuVHVj5NkI56kS/6c/u
Fatf/ZcgRxe5IiCBZIFmNR8EaCfXy6hypVcpsEmzYU4s2AF6iXuFtixFmG9J6cbP1sMty8A3kqov
13zZde/LIJbIF/c+xTA+4y7ap2/lU2op9+BQ6JR1yTy4lMDLOrPiF6ppy6jj/eYuPz+IV2/4/26e
eLH+F0MZZVOvmecej77wQ7w3DgyAbeUp3Krn/KljNfoNmeChPqs77157bCoAYLacbooKFzro6lV4
L1vKwqrRZTC2ep9uedC/oZ7P94ompGZiE6V78fX3HXrPiMTa986leJKrTVcdWuHNIKOJGJI3cBTM
Cd8VdG/YbUhIaax23KqhG/tWycttLEdxB1ikDQn9BHZnHligtsa6tctXDUVAY3cqz6dbZrQbN0Fp
VT+lbqnisitW02DHjOUtYZmsBl6EBvW8q/5Al5UNm8lwQmM5oFlPTp4B9ndV6lsW4by2ZPmu1W+P
ar7pf3+9ERclTrsQ1LIfI+8s6Fb4E/23nT+BGpd+8xWQRc+NYFLZ4lt8gu8Xjb9+gIsXbOjSjHI4
9M4oXAYEtGi0fzZ4HMxNghC0gyRv9T2hpERQbiuQ+oTHI9ZAYlRhQFziQN5mj9SzNpP6VmaSaoVA
B3FAPagr/vs7SFLKq+KSzPkOzqdXD7W8lgKX2KSaE228S3vQz3b9ghb43yvHN7r+LzfUuNARxmMV
+p26YOff0DMIfuvr4IHRwlFPbZaKlXkT5PMN2c+Q0NxgiKCgoai+WH+pX6tJalPvbBywE0d08qf3
CRUlAcj2rPUd7lTNWmxuVcffFPNfP/eiFTp2fdFJAftRicpeWPmprbxpd8GT5vScepafOPgZ7lBD
MuKdj567rbhudh7blP7UQ0fYqivFpUNvZX8C8Gq3MuquW01fr+/iHZdaNZOqlEIjBv8NOtPbzwkp
IQsPvA5maT4SSt/B2iuuZpvgbfWmcn3c4QoILdYEFfLAFdJJHxXBqEbDPFeDi7nOSp9nkz9OgwOA
reLBa1AedjozcktqH1N/S3b0YLi1+UwAtm6N8Af6B6Klp58UJt7CEl4iC7TxYlf9QQ7gKvDbiCJP
N5K8Eajgbi2S35Db6C/grqOGZWoqfQ4x/64h67zyupp1fHqYA9wUxz/Fjr8D5rDu1kWByD8gDg0E
hvRibszHf79IxnVXedYTzCkcNFg4LV78fG2nldMEE+RsJj/ylMlgA8yOYFi7Mo6V/IsTZFA8ysQ9
x27jrf3st5QwVVhVe3oGhL0OysH8KRAj2bpBcIw+BMElcxw/vSo8BQ25j2tV3jDer8MV207lvfQ/
WGRg42qak3iztL8G1FKdsWtqEs1by+hOVSFaNemUKP/1Jf837VE+jccqXcabiQjoHH1QkqEMsrzC
nhJHUteRbhVkqDAOIInWs0coEwQyTkt1QdIP6uv3iGg5TADKoflx4/5dn8K4f5IMI0gBd2Jetl1K
fZp3udI8K8DsjLtWWKU0MF8z3wH2GHv3KabT2UPACWCeI0DnG6Ntbt6pRJJoyA+Xk8svvVfX/pom
a7qsXucJ3R577bui2MlkGwu82A7KCpgixMwcMxgP/lkUt1O0lTQyBpbmU1W5Yb0VeMA3OlqvdNlt
R1KD1J0xkFG/Q7fRji4uwI7DWWbF8kPwrnv3yTnaUQJAII5eqL856G+JDInztSy6NZvBi3/0bwnA
xe9eVlmik8fDJnNevFhG62JshqbpzXPj/geuQh0KXo5ZwuxGxOT579/n8+25qJL4ff73eRfL51CH
OimNnXkOxnuywVrdZQtuXouN7krPCM+RwWSY6u0ZSPOU10tlK60ohCDDtlta0RJOiY3iDOuawGX+
6JwIpQJSmQK5FntqulKnJf5Wn5XV6X+JhHkhMwXASJY9pDzRCtYJsHlIzBhbfw6HqbVV8EDlSihW
//6m325Qf3/Tizc5G8VKXwSDeR5P/s/wXN+hro5tgahSa96fOoJCQFxbJFf++4O/UU/zCsCi4c8Y
qa7mzdqYiFrftOZ5+JTR0jn2tuo6qRhTzp1R8KaBOydRauuKAYtlPusDypiZXU8LzMIq1N2Mo5O+
KY7n3hc6WYJBUKJc3IxWMMY6hyZ1bnUmFc9Tva3bn+YC2kT6IRaP4nSPjAojOSc7yXMC2UI8wfC4
IOCVqUPXIIgYkfcvxR9aTAYkcrccJuIPhmq/Jpfk53iZrovqUH4yW7P32l93zS7+k7yXv3CMj8Qa
LFBVWGm+hhHKtAkHH/yBDdNzuVxpm9atPsyfFQvWUyPQE31SEyeKGN9ugcaab8bx01gmvCaps1js
RwBk5mw3wz7nUdTO4mXAUcbdpCKvsmvMJtUGVnUvLuXg2Iu7Sj8V2drrUDpUqSPJTlbtkvDYy3cG
lfAj+cQqm3SJURMSK+HZy/qoF27JldqD/DK2rsZWPS5TgpTws0E38iyzecRf8xrkTzeenutpt0Hz
FMkQkHq4Rpdd4jI3pFFVaC5GeyC5OM1nn2ZGZ3ctFjZOKhTORD+xfb9CUWu2GGFn/2sxrcR2dotn
nTP9Dt+lm2ib7xaqv6/rsg+A91XSu8A8L3b4D/Jdf0IesWl+m++xCuxw7z9xu3MwmOQqC0t9WJm9
RbSBsF78/vcd+mYE8fUOXSyZTVZNC28K5/brM8Y7jv9rv7CMZyZze47xW8CGhcsPO/arVn8eiA6L
5ZcCNQ97J/vmB+xy14AZk2BfI7Z2OpftH7orKlI15T7tf/37cj8L4csVF/k3LhpV06SrvmQqJIUa
DQvjnBOyZxy7cC9rjtlmVpUeu+AeUoFR7UrTplgEdIM4ZXIFJyHAhAe3IXDqdzm4qfzS5q6MlTS6
T5hatpsWnAKZiIt1Hz1TH3j9CgCgqNkUlnT6PX+VByslYC3OltWfDtTorQG8Pt/mi+9FrASTFTDG
ZHhdPqhJ64l13uvGWaf3ozIiXfvqq1qug8VmzMHuP6sCSm/O/fgfTc+lmc3KwmbuZSttcjrBTcpZ
gWKqq0ByhPt0P30UIowspxHgdkGecAR9BeRJwVIaF4cElRnF30hymdt5jl7fhz6Jvl1KlfQSmadJ
WTcYxAHVL3ZdscV8bQSzoGdMcJ/NA8NMIFniA1qfjEM1csLSKZNDILmjujLyNTZsSkq9e9TJSjNc
EbyExgz8Fln2u4X4y127eI3KKZnSrsWBZoAhQ939ikJlQeI9gVrFlolvQcfi9+JpmAarrdZzt9hY
81oHf4C5ed2vNtrSOhxvTsi/WXVk8CasOapMbtPl9KbXSm8hxZJx9p4aXAk1ccPLZqdtBGbks5FK
WHtgZm41F9VvFhWZhwdeEk1jxvYX53HRl/qmKUTjLB5LcdWmnNeme4yfnyEUk7zO0eOkxc+p/9B8
oAdbUd6Ui/MAHxIbUreMPvhpG2IfxjnRXd/qybaM9ouneOP96qRVYlqkKaXhzNHocWltTRDf5iOT
s8Xaa10fkDZgAWQVJp15W8mdeo4qtqcbC5b2TU3897e8JAdIquLX4iAbZ208qN3DQtuQ+1HG6+B+
PtZEj/Gy3xXbKF0m28XGcObgatmlAzQbriigqEHnNLcot9N+maVOiElIB3I2W289YwXyimNDW9Bo
g2yu0+NTD4ucaDz6nWxr/Evj61xNdjECFgiQ7OJVawsYyvlhicXmFtxyRhlXjxNbGFhncFdExfNU
XZQbg5aPpjiht5BW+jGv3Vw4lv4pEO6K8aGejsLiBRmgzLBycYf2NC9/k2L4kE7wHZa8FOhOvK1f
rEKHU0NuG+G96Vm1dl+FrtCtaeRSKNAWVT27SB79GMoUempLhXTJfPNF37GwNMXah6210G1F4DxL
sPYCMOgyF23vwf+Nl6Kp7jMs/r7Ni2aSN1TdkTq5yK1Ou6uChwEVUI1VrzIZ6cNDf21JRyrsUMH6
vRwRWY9AbpHW7UtAIcETQhaJPW+OI7ol3r+e6UiKNLeCBeAYVAOf9ri/jsOaGchCJ/UV0MA9Qe7Z
6IalBX6YBPFVvoqVu7FBslIda54kOoluM1i+a47djSHqtdzq8zpgLSKIkGbN99feZTBGoxK3YXU2
K6fQN3na2EnGK6h8qMmCuchGrB/Rx5hAPIPtsCDAcKsWK0Vf6SNa562EnkN+QIDd/zJ8h+76jyzZ
jtW6gEskrVVvN2ihlS3wlTte360U2m0+mS/8+ntaoXfy3Lo8BTjf0b8ZztSvmwGz9GjlZHuh6BaH
AzozPztN7ZFY1cn7EJmvF/kZ6XEuPU3pT1l8+PfGLl291p93BAUaqe5IIT67vX/9Mrh2DaUf24rJ
SHiXtFasumbtjI6Wr+hnxncpEQK/O9hboNz1cp+WNrTWDOGG++8LueYSzRdChiYgYBWux+UZUki7
rFR6HhHEMvIz5Kfpl5HtchZDPDz/WbDLOdyUoZWenEzD9XQHF0qVb+vc1ctVZLqV+ciMRDyrhwxT
4nOzzcaz97t2zZWwZ0ZPu8NumY0k6MOpmUJttZB2Aa1jHaTYn+qwuDcHBE5L1f73V5Ou2jF8Neb2
ZGuxjijK5VC3z8XciDKhOseeM/fRVLDWkxMEdyNYaVeNH1X6GOGqtQ1jEy62A4FCrqdsYs+tkntl
x+gjfP73JV1rMcnWmNM1iI8ygWheaskmbH6B5qnl3IAkTFua1gg1Bluj5WLh8hXxazsSmXOaGwLm
uqkAuha2XHz+vPb+9dgJuSlpXsPnp9FLC9byJAokvauFkxqEIk3vJbjGedHT2biN7pW+UDGRZ/HY
LNZKdJhmTNgZIOuNuzK//l+qwYurulgeorHPlSFXynMsrqaUtans15l89MftbIR1AKisGmtUNxWY
Ntg+oTtFzr8v4bq5zwNChQ37SVd5Gy9d630ohGaXSBUExtHREcIl7YvZ3YGpquS13r6O1V3jvWOy
jO8ShJzeSVMeVH0rCAsnR/HWPSYMWFPlt48jN+0cIjNAcHHRTABAedH6xMmQE6DL9pRF74KHJPhY
KQSjoweVnvz6wSQ2mPkwBYlaPjHYDQmyk8pVk9944a/HJxJSRr4sFG6I1IBvvz4CgyF6ZDxzsxmm
BfftKl1NZwkLOcrb0QY/p1mm7b//+/Z+9yqCdgBqqvD0Xwe1i1WvV5VXVUzQVbz91UGymPAbs25n
My0Z4DcHsoQlNLAd6sG30FX0JTmYsd3EzB8WN+7B9bFqvgf/uxz9YuKhp7qvi56mnfstwqm+dpXS
SrDeb7STFG6MwEpZLfAugsrJlgphDYkN/L5AoUvTJZ/tq1gpeVCBBRCDJLk9BAZnsVJ2QvvC3Ixx
WZnxE1vF2/jQEVNEHAGM2rPAEXt1y6LwzSaPRUgwaMt95qZetmeGdAqSQERYk0BJ22S1vagtAVWx
v8ZNRQD97FeGG7Qi43AqCVyx85ebRvvrxjuFKOIN6MCoaKC8X7zCkjl6IYZGpH0+41oMIoEl0mL1
eWFYRt2s2bX9o79CPEPWcLWHACsNQCIL55bOSLxeTOYrQbmHbeMbxX/T+q1mxLEA1sHbagPJzfh2
lxNDSoSF6xldWd4Tkwm7s0S1/Xar5vrmUefz6R0yqWWCcmXcUoj6kvskneXCxHhq4UaEtn1CcYlv
JLhnXNlYOQfHYUuaEjU4eykhRVlohY/gK7dETd9yNf+nGvqyvkINl1AVcTGUG8CFv77yi0gOO90r
x1O3cMN0lYtbeHwGE3+/YrCFeHHYGXSL0a0lxAOtmbZnmyLcCN1J604Ea6Bia7H6Fz/0/okc1Lp2
dH8+HgiyLSB0cAgALH/RLKcrinKo2zTL7Hk8Ujj3bsq8IYNlAVwDbvNvgi2hUN2Hj8UH/fY2f/I5
X1RH9P9Kv1RxgSBHDKwRuUjkyDqx5HcVYy7pAbowcKGx3wbJQSFxx67o3oUrzvU85g1NBJkAPzGg
3ycfE0jdwpOeikwH7qb4UBguWmaGw0p91GSoldndCAqHJCxW3ycNvyFMe+w83u80WpXNKtvN+ETI
jHbEQLl9CIC4Gq7S3IMX0sb3EYNP1601sbJbIohKXUY2yWrALfVqaalwMYEervrI0ntsmtQ49GXh
h9sacGGp6tcSnS1wjGPuxsmhSc56cN8rh0oJXKV4CfVHyBD833B/Ari/URJd97U/nwRjhpDSx71a
/KtRNOOgacfT3Bus1qJ3GAkPRFrZrCvjjg58ztGKER7p8OHq33vA9cZz8dkX3YteS32hRdB/Gowj
aeUCyJKNnJ4itwpcDMFa8DPKnQh9pARm6MZnz3XN9Rvwv+99+QaEi94zSz67dlC+dtVGdCX84Faj
bFCdBMwot/LPJGGiKjOdX9749LkTcfXpLAcarlemk5e6a9RcZdx51UjXc4Km5bRv7CAxpEKGqQUR
isRTOuQ5G4zbFxxb3CTb39ryrntH893/6xou7n6kxWY16c18B3LpRz28RaSNgJCpt566QwWEI2Q6
pcNB9uxOmF3GRgwcndZ3gNIfVPMcpxM3D9GfWwv2dU3KlSH9nesu4zOT5OvqpLBiNkocz1emMAjC
MgHjbIX6W97onbtQ1oPpGrRpOwRXh5KsksMi3frtTsLa4PXPnvgzrm7IaK8naxfXdFEnq32kB0rG
NXlv40ezEdeQ19eQ0CaHs+JNbez1nnXxcRe7Z50vRD0tPm9BeNas9kCIdh79Zu0iWSK3Y3WDLYhZ
cblqa+vmovDd4ykzbFJRvsJCuWykJVrWNGLP49lRdlGt2oG5EUKrkh2sEwGcdrtymGzW3SptHRqq
gK00psrT7ePJ1al4vg//u5LLZpcc1kqayWxUTAuZnC8wluCSlJcCcOd1sROOiOuyj+i9cDSyDgRv
pZbLYKv/vvG+zu/C5fv692VcqMFSMnOHouGGNHb6k6xj3wIaUbz8ahwhcLDmwNpndbdvfOqNn8Gc
+51/nc1CNTWCIuFTKcyNU6DSZbbCepndh2tOCG/6nbfWHsJ2ZSKJpC2JtnB9s3i5Kp4ufoCLw4HQ
hv0YLPgBivFOsPRXwvUGVOrWqLkzmuUYnyCM/mDqgYeFQg47JLlW9MZbqKTpfe7277G49AjzG/6v
pTEXV3axfsl5KTRGxJUBE+6wOjW/daSKv/HYrTSbfn8ycQnlvanRwcrX2q0j6q0f52IDGYpWS/v5
4/G3mS3BOUvto+XrO/5ojT/jrf+kZzZTAgHGeLJNXd8VVjfHJt+vE3+9HxfLUt6O2kJvuApl1Sfb
Afq6slRwmtvNezssEXLC1YKkQOaUgyHC00+3AOzXis3PnwG4p6BS5l65mvJEqOLUKMaTBMibIWq9
KbW5pBWKPV1V0/HFjyhey5x9YgETomv2SyKZM1grvUU8jlZZN96aK8nUxQVd3JJMrg2507kgBovZ
BpxXI5FUamz8P+nC5UwLOBJF9h1mNhT9NjEHNz7/u8pChh2gYSNFMHW5t/s5wWq+xudHaLMIADBA
9C67Y3n6D25nR9rO7z6zQ8B13Vwz5sfuaqX669Mv3opAa9u+Hue3AsFY7Uwq7wF+AS23prUn3dXi
niaTt8zKvZFtkCD/+8tfA3rnm6/MiT78WcPq9nXJysq27FIfjwDWYnGVdKsK44tVWlm+WViBQM+v
f66zn4Nn+1D8Fnuhf+ybY4Kv13wMbKT6KGVGBzspAFi8qCfojZrpJghWNUsPflXyQ9g9a9Ecvvar
3i0ih0Sqf3+Fb6vSv77CZStA1DMxFfzFcMIQp3yItvBHztfDkhHpfFSszijmye9WbrCUPzvvlz8c
uSrkzgkaqMTLIxmlEO36hTGcjAQOoGQVpY0yqaZzTQBDSKnDzCFcbGp97S8ObX4IHE4EvNIQ4slp
yEBLIpJGtt3aJMsVtFVViLtFuGuU+xs36LuVT1MR0+HOmkO/LzZD0eRHNjttOBU41CFnx+sKUh2h
W8oBfQWoD4YH6tv/lzr+YyqwZbnZTYvOd5vyXEBjwKDFQMDm12dtHI0sVVpxOIX5HSrEYSd9MBNK
6pNULY1tacnvPVbX7LzoPorpV7yCrCDX7yIgoajfi/1BEC1p3Ncc1W7coOsViMM+DV3WZV0X8c98
vTBBTxVkh+zbSFl7Ry+OylNiV+8shwsLhYm48gMHL3W8qVYh2miUKS83ruD61sztBiw7eJcwtH+2
u/6qHIS0FGXJ+ywfRdg0IiOvpQSJYSPOkkxveqhlXGe0TW+uftfrz9dPvlh9xUSLMlngk8UHDcHE
jlLB1+z6T/GCL761wvZVWhaYFHc3mxrXlYpEeON8cGDozKHqomT2fJMwsSaY64GkW6YiLO3JHg8t
5gFpM7cRMqdNLbwMM43/xqJ/bVUCXMTIhNVPwTN2FeZg+H6m5bmcPGgn5c1/LmadN+ynk0hgAFH3
v4nHAnGNavjQPVTEk2Df0myYXcJdBm0SJ6UubWt/F/9Q1rdsVNpcJn5ZWS6u7eInMYZKSKo4ks8B
oe3hvld3OSJGc7gDfln+kCicDSTzHkuMhf3bysSDh6wZ5Ue1XqAp098yVHha/M7k1O9OSvQ78vc9
I8v01EnvJaMqEi+bqnG6drA9m4MihwOCoHnMO4Oh6bY2N7HgGtDd0sPEOpE77Udc70rJCpwRBEF4
VIsnFcdAKbzLePtyemHEpRv71NuxgP371biWLH7eDcZaqGjIEr/EKI1D3VBYB/I8WvDQTfMqVqdO
+4N4f9gkyWP1ELgd6SMg6giFcVPXhKPlVlBPkCZCJxvBPaBBPNDnLWHO0CQj5EohA9pRW+BbXmAj
xR0c+SdSGQK5QVt4uCwiu3rwHd3JN5JtmOj2HVF+qfR9FO2YkVqLCL+58RgCPOzoN+Tq9t/f+rpO
5FuzZM9ua9A1V7tL7vd1mItx+lC8KivBEhxD4fJhWvJuqCdwLHChf8Sud1Y3wo2d7dqH9PnZmkRA
gAK66nK+MCal1o11kj6kHz3Jads43pJoki615inRnUlkjGi1z8NjcRRfBtp6C/zVnHO26WJZR0uD
+1i5pocobU1HFIdctjNXgEF4ehDjbAzTuekKuFpKLq74oogSxK7StFhXzsgYRWmvjZupWckG3p7t
wt/LlPHMP7P8pDOeJi6KoKAStOmqVShWmFEUj0Nh6fgCZl8kfhg92k3CK3SwIliHTK6B3tS9O4Qf
U/O7kDkZ3PoC1xDTiy9wcTgpxbqXMolXHtAH5/Y9/Vnoq7zkbIjA7aNlaexxgs3PqTUQkrMVRxgr
uHyPJVNlkneZypJVbf/7Kbxu7Fxc1sVKlEpoaP1MUTDV6ugMjTWS4Dmpq9vjJ8Dl+yNTXLG3jcqW
PQfhcmuLVmPFCxYV+KA24JB/X9C1+G++IAl5pATFliyei5069mhAarmp0JpHqxrxBA47iOliQFdB
W4U95ZYTdw9z6pW49YclPnmQuysdOsN2ZpoB4l9ChHuV6eCzt90tIslSjX0Rz+bPPXKQW/ii6zLx
4ornxf6vnX1s/g9n57HcuJZt2y9CBLzpwhF0okTKdxBKKQVPwhPA178BVUXcTEqRvPc1qlF1Kg4h
mL3XXmvOMZOTIZ9NdT+QM3ZkfL009XVDotl86FOFAPbIKNCohwbAPKqhHutmuf/8sPHHuxkpe83T
Ga7aL+ipoxpoUFOubYbzXbvccP68q8rf15hqvakWta4y2ys1L9b3YrbkUHqsVrF/ShY1+l4Kxbmn
Xq/wvqdrkbSQatUCgnbl/b8fsWR8q4XmO0YGkQYP3WLMefEtiIkQF/0Qa/sSESSphLtEwii3PVWP
jcJC5BESpg7uSfoPGATnbvqF8J9iPLXE+qwK+bnTDnW2O8fMp/qtKAQpCK/z1hQCHLqD6OB1k21A
lSkCu8Jj2SKAbj70sMcvZ+96mwdHwuEmLKEguX2dJBqiORWYyJF77l70MGhPKxOqNxF/tiXbYrxt
G1w0iZ3COPSaeKWwG9ETXk4drWCea4jzKPT06jkS9nHmqPeQHfmAGBJLbg4ZWHOIe4+S24HJQv4o
vZoG1gXEMsnkG9rzJHhn/v2VHUZ2sT7GH/UruMuTD50Oo5l6CiJ9xw7c9xsjD6LzSikjBtyQx0l2
oLCx7OkzxAwKc3drqLgsPJXslECPbCj86VIwFuLELo4uH97MJNhji7mUIWoO5mrT6SsTawv8wrOt
Zk4NS8uzXA4u7fmplDZngqvWUvyuig8N2rMuOGXPA40CBFSGL/UeCksR6llEMDMjHvzNcAv0+yyH
Hjqs6Iz647r6v58I5zdoDtvFgSJS5F0cNPrQSPQ6DGWkOaIz891UeLneTKLMPo5eemcymr722n6r
o5EdQMu3mMoTsYon7u9vqMqJlKiySd4Pu7oOGuq1ajlbOgh1ckXxccTWAhABhdi1j/db+8IwOE3N
4h+DIycB1X//cNFMuWXVeXrA7wXvlACBMwqke3RA1SOrsPqb/j80NMMb/TQ43VtnuMNbhgHms/hc
FE77xj6yuFbcK9+XlPmqTIaWsNk0IrP/vqpI5NA8ncv0UFEwuOQFv5HJlduSnwT94eiHSxFguAiv
N8YDcHc2FyiX89N6WlkPE62n1FvFW70iaHG2geJg+vci88PG9vflXazKU2yYY1geuWkAGGcDqrSO
D0eTBly0oDMqY3jYdBvZJffmSVmOd9q98QGg/cpVXLtJF4/O0M+WAc8yPYRb7MD3RAomjvo5Plqw
7BNWKWBiUbcCLesi8d/qe2F5baj0HZzJ2yPxhCSd1RaV+sVrq+SdJMdJK7P0t0v4B33i1c0id6H1
MHVVRf/cAU0hnZtUG0bPHABkpGCbWHrJxfsW5QkS5Rk4dJR8nTocYU3H2PM26T7V09NZw2zMOita
V+oAY34+f+9YXLZmQWbSdQTLl7bzujjH5+IcSvsOZiMpsQu2i1j5VKDuioSj+1G7MbPVTClJiEc5
ofd0K8GT06Vo3UyWrZoH6TnLlqJIfuZBwhlEfrrLku/Hu1i06yehsEkpEUu8vQK8ImllwsA3it9D
EWPnc0yFTzl9NcwbiUjdCDPTHJa7THATZSrRTtabMWGIcniAJfBEtzoQeTdW3vmpBVEwZpw0sJbY
YbloJM9MdqEcqOVC0z2SHP/9jinfBjLzA/7jTl18iHUalpYx8o5Jh9ZYFppPj4OO1fDMAnEkK+nT
iFxrN8GSWulf0RnCY2q4SDZb/tQa5eZHv5ocazXcwCM2b3Tv39f3fao5Xx9hfbCaOODhT/p7ociF
Lqr1Qk4PreTO7w5m4mp7/oyUVYQg2M28fi0vZWPJu9YDFChvcDlMq2p53pTQpfMtJtQrV/TTV/nn
Fc3doj8qtrQb5wQFrihdVo/hFhuAVN1J5hL+nV9so0XBGw+NjX5F4baP0iN6u68sliuX8eOD++PG
XHyZWnrWxmrgMjRbiDyikEUwVezWz+dteCvf3t6SuNJBfbTQ/rr54BJA9b9wE38/Wf31eC6d5VbS
kRJzHNODianUCMJoG8JCaV1hWBvjAQ60h/DqOB10Bbeky5Ct0cgvCcgVJWO0HpexicR0beBLxUY7
LXuQ2o1fFithcPtuo5VrBh1yteuq3RTd1cXB4NTT7rPbyDntBLcXPpLjUhgWFVwmdYFe/d83+cvY
8G0d+Z+bfCkwjYvCSqrwnB7EZFmd3YI3LOGs5agZNaOjv5F00GWeCEtbXdY4x73TW7I2nqAHuqU3
jv74TkOB3FPTeFAPyitBLv2qI6/6GcgiXJeTIwpQQ4hyCWd8SIz78Joy+3v7++8PyLzYynQ6bPpR
4z1hoqT52eQB3aHmUO3SJGnLFmq7uVcDY/nvO6d865nOP2soqoo2F9bQ5Z0TLSFS0nnvypfxrcLv
7KDiacOB3sD0Lt9ZzAXsyMfqjGMBGCUdgV11owXZA1TZKn44Rx5BYYZIQzXQULXhwbW2E9jBiILe
LD3y40yQ7FeaST+VJTSgKUyYkZOAeKmVVuS+zZpGSw6tz+XSUao1sPvTDSeLNLVjiS4bRbyxCh/p
eUgOAY6ImWAoIvDSCjcliAvwJQpLorZqkW6cr1QbWjEhKNrba8ey7+TbGW/6x8VenL7D4zAaiawk
h3NJXC/UCYCStip4CGwJzW7a90J0IkRRZ096ImxGag7daR+flpaEiN6Jfsu355dse9qeOL79VnWn
epCXx88IuuQnlJs6cdJHMDhHX5x8vV+M8Tomqq50il3JoIJzQmZzwsMjkUENtUWIFudHscQ1F1jo
Cf7vk6iLv/ZiI7D6TJqKxkwOJOR1+kwWqMEqu70ZWNaDJd6chZveBK3KlDi2GSiF5yBjwANd+S13
sZl1Ww1AEsdm0YfGqJjP2FvJ43xN2aGbbZTNL+F9ajnpGj3jy9WG8g/1/18P62LXGE2xPaWdkRwa
88DLTxC6+diS0JfsaWp3myFewJvlsdTHJU0y4VVXNk310k2+LN6Eoz/RgOW4PwZieOWd/2mHBfsO
+opqnAP1JVYoPWXyNNZxejgy3dDmaGhMNln8bGWO/jg966vTKkMlMrmC6EmvxCbBbWMwX/+Gy6k9
FIfmF8lAV1aPHzY3QxZJ6TV1qrdvqDK8yHyfVibtM5qESEKQF5OfuRNr8vigZzuzy5zA1w4DGKrT
fNo0c1rCGlli7VMXc4oUg6omtWcp1wF+kxs0hm4Xv1ztgF250C/V+R/FQDN1mjlYlQQ2zQeqrUR7
yscZzXSmCKFhoEhvs1JcKtwwXogx1FRfDa7zLH9ofIGMlxhQoXFXyHC6+Dr66KjVlJbS3KIRti0y
WHMpmQ9F+UiapCL9hkMR4iPHvKf1Tpy9HLP7Ut3R5xbbBZbJIb4vEQa5WQs0IWWVCxxJgh8RhNaC
YQazycWVJ6x+r9D/uuCL76EXsrEdRx0R7enOqp4JPDx7qMCy2+OhildiCRhjeWSu7aZ+5jSYuNB6
2pWw0JhdlOSmHomAR4QAiQS7NybnGqLfthEtx+DtPYl2I79NaED/fdXfQTosQn/e5ouiK2wM/ZQf
S75inDyqk7B3BRaXNzsBoBaz8F07v38XdP79k18+oz/eMNE6YoFJ+Mkzb319G79zQpjTlj9Vn+Vr
gbvm/0OldfGbF4eCKdQytT4fkwNbcxjeQk+jde8MgUmFOywacZ2l7nvnTl4x95jS0hcQtIq2OV05
AV+731/n9D/++FLRI8mc7zdhYsAJ/dMCCsIquZ8J4kRx3lx7wN8tp/NfTq8EFihqzm8ukWM3KEpT
HGPyoUiJYD/lZ5F7yL+VX41q0yrJlOeM5jZowvN2vNmdhlmP338ogpOQFRkCy8oBcPn9eljBPt8q
2DNxVnJcZE6LCbX01dQPyRXhZdUXteK3xSOzPNvJjC2Q+JiWl3AXVUFSBWf6Mv61BevnO/rHH3hR
DubtFJuZecLE6Cu+krjjwxTMBhxMxr+NeYR87Rd/mF1wS2l94UGbbWiXY/260EQlTktyrghUUB2c
nJGPFaP9gKlds0+LO4bZlmnrj+NWegJJy4feAUrutyRdZ1qNRRf1+S5yr6l21R+6BFyZiX9MmU8x
3zrJRTIYsSEmh3FlruqXI2pT5J/U9ZYzIh3vfnViQKvbfFQfum3xUAcdRxM3b4AfHW+U2JmkVU2v
7Hkcb1LG4h/tpwyYcYnXbVjWOLQbUr1pAS+NWzqd7Sx5v7IefSGmL84nGGjhiSBrB7f1tS388X3o
RT0KMpFGB31LvcoMRiA/Y/KqVb5jFEh5Cutdfk/3smzXj+ZOZzZ3p61O7qDO8csF+yWF4K9/L5Lf
GVzzN0R/lQ+JT0kVL14xsQ2PbXk04kNuLpRyS5u++UxlN5qcCjdC7aQbcXWEKKOhSEcg5DFCnp5S
JkOird43z8LdeRY5edbUcbLdinTWWd0h5l+5eT/vmSYNInCwJlr5i/ZanDZtV1eCuNfvSrd4qv3q
/FqCWXjJukcV+ksV5EvAym7st+O+zbatsmuPwfjRvTM0VlY0cqpNtgEdNtSA3YwVh5Or7+iP3ytv
p6iQEAet6/IcVXZql8WDMYOTK4RmcwvK7YGeTDMgjOipq7flpzOvodLwwzSq4Pe/jFgbdEE5VjTV
9tG4y6SXsH6PHROkXbGqxY0Z08LKg0l2BRBNG3SJmEsgOms+5wV9XBvKXaftTeLO9rLqIEyrrIdK
ceRsA3eY+ZCTEKQUL5Pi0Jsejrih3xqujCXgWsH949NltcGQpuHC/BZWjpTPOon9CCdZmtdx4V11
Gqf5nRaUZgEyp9kn/ah62fASu2ftdgTujLpvJI+T0OzVWfeE9CPyUycs1ogbMjWI1bvqI6ZHJ17D
Ln0Jfy8/Y7JADXpcWBSJgvy7pQSzXTGFehD3R4AGuq35/cHs3KTfobSK3IhoO8jjGo15n4EvVc3p
fCAgSlEB4jt4eeBdnDyYQbrhNcJHFHGCcAdtQeuh5LJD98jGnJUYpbubun4aBu88cAaJbbPFfTh3
WAoCt+0E2/xare4MKE3ERobuRJiFIy4HZLcnNx6CqNjSP1URP+qBJZOjktnmsDfVt6b2ZuS1gBym
uT0ryy59js3HJt5FvQ+2q/2NJUx5ECEaj9b6xEEitcenoV8aqn2K7aPTJu9duEbmfeUY8eN9he5u
sPNgFDYvjzb5qLXSZIHDlwdPOwzPWeWoN0RazMY9zLeCT5D54yDb7X2ypg9xFx/Kp+HOuItvSBSY
q/dfApxPRyKyL79tlHU2rXKNCpr4cafiCNcX24KUyIyBoXqTnZc185wyiFtIRpSrtylkY/aAyrPW
w70UqOFeUXY17OWy/xCG/TkMTi3h6IlnShxca2+atqi/MehARNUGNx2DqlngVJY08keCWl6P6Y6H
oKVrS1qbxh017ggtVVVggB/VTcrAJKVPfUQchZ33pASxscnPjt7Y/17hOYn9UL0bloZkkEE7M5yL
40aZS51YRmV0MJOgENFNMAT4bKatkokw9FeNmTpql/jN6SMqGsIAOwf3tj1imyy05/J8UNoFUzDg
9cfz09HaKvFDMW2Ba7Q6d09x2+S1am4iYZOEQHnyTy30I5VpUJI6pWp6TXPTCBvhVLnVGGQ81KNa
uVrxdpTWYIWkNnTAssWwxoVFbyxSckZQwhzXSu0KxPINiaPoHwmRJUJS2Ki5RLLemBwLOwGkhg6E
m/+5N/aS7I4CMYV3JMKjLH4L8zWeCblyUFh1wJXJkDHltTJuZGFf9rOJoiXALXWQBTLT1d2vpEkk
YlINJ22jEo8rZ2Afb1WEENm71f+StMgl3tuRjcnVUJhNSMbGWRljARoBjS/VmNroNw55+nJMlkMa
MMVLaBHQAx3d6IHDnh4MxXqy2CLHpVxsEARjdQJYxaZppKtWvlfMWSJ8Gm5GgGPiIu8ep+Te5ANU
43XYrPglVXIFxPXFoux85Ulw3ovensTtRCIiwjLjoXKFfGFg78stt5oY6Tf7uFgIiCfGcjuFuNiY
2xXtQhVeDelOx0zkir5+OAmMhpwMyW1JEscmEz70/t60oM9yZAuFj7705A8N/W363I6BpD6bCITo
rfH3zuY/zs5Ht1CQFpqTG5+DUHsVk90k+Ub2Kyp0b+DfRH0VdbemfKXp+1PrEo0lQDRRZPdAifr3
aizIUiGoqhAfAEdbB3lapt2iG4EHMZaxld0xBvW9PN5SOWO8JTMY3zdBV0cf+m6V3MqaI+1vp0WI
ghc0UfEq9rag2xF9z4esdCFeAemWg/wEG+DKd/njnmcRv4EyjI7rtz0vHMTM0Cpi7pinK50tz0ZL
9wgzkMy41xKTOmkRmZ29jsqhpglI7q5lC6qPnp/61TBcskkQKUjHucYd3tBxrPkc2mKvib5MtIQ1
x4H+eyn5sQb/85LnPsEfFSwmTi2yWkIHtUOa+9AgB1eg3GfR2A9++Sz5EsmIGHsN+BIquN0C9/1v
KXVywMNg8w1XApME6ni0tWyFYIOthhKlf2234q+8c8NjsFazrfRx+jUd95piK9cQ19JPHXY4t/Mf
AdWGALuL3btprKzoepHcxHbBJESKvMFc6AT/HNeSESgqXlqPKZFG8Y0zOMY+4GIAUjKfvq10MJkK
LFnDsEKdaRQBLe0X0rRulOfE8ENpmWFRnRbNEBRDoGo3EvsymFA4jIY9rYTFiGU9ujlP6wLVRwLr
AWANQcGSdz65JWqhHXOSk6O0fgzYUNlMRCnVfs+uQ6pdyQw5Dobf7L1BtZlG76Q6J9ab1al2LV57
+T6ny4EW4xGA5vis1qQeoUJBcergqCUe0iVp4uxrr/SM5d351hg2Ne5bgLF3Rk6Gs10SOkH1MM/J
wa6QlEN2JW9UGgUnDF7gx0gFO73++43SfxA8/Pk4viaef7xRVpo1pWhwhCf5qyi8mpU0y4Jzo4Dw
35ybWWgVvqqIDsPVySSyHIsPBFmGOPZpW6MIQuGj+EXtdDTym604uI3pgvrXBBZWN6ag0hbQAAy+
kLvTM0oAGmcdOTFYB/X1hFQUEAlYJqYbMmKghUb2+4AnH9OGSQ/QC8l7wi1S3cTGDBSKtEDBQ0Nr
YW9ptu6nnrA8XTmQ/SAYBomHXBP7BlHj36CBCTWKYVYEP7BdYm3KNQ8ReXSjP/D1/M7v5KdurSz7
Z7qrjApcbZ28oow6ZWR/rgT8mV7ojzj0+Ju1bUxFx7Rf9oX8Tu12gvKgHZ8j4xYJ8Vi+sRmSezAP
l+a5fymusto7I7Np7yP1V17c9NNKi1fEHR7PnnniRLgn+e38K65sJBzDGdLrleXl+wHZRMKNCAAp
OfGSLOZ/Ly/iSOhXmtX1vqDiR7M9edGJQTHL4NI8u+jsiI+WArRa58V7pu1DpFxxyNQ+GH3tkaZt
taiil5jT8pXDp/Q9pHi+MgOdCwdk0/zmrCmyUhiqqdb3BfK5VPmUEWgfIzuWKfUbJAW3ebc6CQdJ
38vhATeaqjOI8URIFpovwyd19XIv1PNebdlZuozIXqiXVgLjIlO96ch7KbxMA2OfsbHPsO9O/EdE
GBwtY+FFKN3KJK6QjZtveJs8KCYiaYPtgUaQ3ANYjyovAXuI2S9rFuFTJm4ANbnkBoB2Bnm1NLRD
zBurJM/DsMySRXretUBqTZdmu6pt6iMCBr8i+heE6YLDv8h0jOUgf5pbTefTNge7bT3HyXY6Pyjy
ApeBLSf48gdyl/vnSLqtzbWRrMTzbRUucxDexW2afByvmV/U+ZD/19Frfgz4DBiB0If69m1EQ1X1
pjjpeyDWXX6IF6RgE47kSOvMoymVrIn7GG+KO6ShqF6cYWNKi95a5C/MZ+4ixU9e21+SHBh35AFG
rCwglc92XATjofKbcFGR93kX/jrHCzy1yVXO+vfhzdflc7RhyQPz9HWY/2OxS/KkOGO61lHgFjcm
ZDudExeliosukqnr8egbOv5NLLZBRxjZjfV5au9GwAz16pz6scHQ/X/R3Ze+9Fvfb+v/XNdFD6g6
6ro0ni19zxEITmLOu1kc16ThWdXWmG5GwidG3r/nyQ2LVQ+gAFXzEQjfQmsCRaa23xmkhjlWtucv
Qm2luTLq5oBZyorEiGMDw8ttUHGKm15k3Fc+x/Jez9xcorItJ5vTtK0SNTgx3RMphtSh8IvK8NB3
auUcg4QIHSym6MfTsmWzHLLn6Oyhr1VvJektsoqgSDZ4TqtKCZRjc0AP5CgglKhPBbvkIc/dbvbg
hekYt+f1yBHaRW/s0LLS6I4j+yf4sKqetPRGHDfCcV8hWSFoLGLjbssHAD12IRPXVD1ouBpT0+tT
D+pRK0BA+mj4zlWkSoaA0QCr2rkgFvdE6MPjqc/9pmf0nd+r4b2mrsJofdZVT3qkGXVdpYfH8fvX
wUtlcsqbEym+zeFGs+tO+emkfX0dNBfg6/qS4GuVS2qBftM9QcFNt5Fot8jjYz9i44vcpn9L6QHB
iFF9hfjz8uZEGy3cpsfe6RIZXAYDTj2YdtrSeLHuw4cED0Z4m7J5FmTchNtifFWht4g6WtaFhCay
c3vZM7I59GLijHsAL92r9GLt+O2lzAIRY0u0jYWnFkLvbUiHh6YIvLjRLjXb3GX3M8mkw1eO9KJ6
xysz3VRL0W3vSL8cPUS8G9ZQQHQdnyjBvuQx+Aic34UzDA+P2kaMMMWTBEdVrFtkBhDrYJpzivsg
kZskHrKTjR4YsjuxxYZfPJu6N91pTN7fu6XGiYmjHG53zUY/G5sHHV/37O6zUaAjIEvsnr5hE8jr
U+ZYqqu9yFcMG9o3LYZJM+9/nuLlkLI+ctidhFzbE38wcpB8RjrFroAiukmcMxq0jkmEU0FPRr12
D/N4objT5vQ2xwL0Qfciyk9i8TYqN4h0aChDVB6QPEDWbd33MvZLuKRr+JxueaOu4e2Q31J6msKx
jYP5zK0eITe/dx8ZPoRAtMvOpesDMi6TnPKaZtL4YT0HiGjqCro/5XvStzSGRgOIUGM14DOZJWPJ
G2l5AtGqvGX9w0jr1nhAQDBi8KdWAU3Mm3DyoRqhfAvTFXsp6uQwBVG9GIxFTo9M/uhQWPCgapcg
Q7H11eMBi+T5NT2QTnrmuboTaqbPKVupIC4iV6l84uCUcDOIxAMHwmP82WnOuOMNj7njyOqiRcKh
YM5kPJxiimpQHTCrTazlT5N2X5prYvjAA+IKDffD7b8rZOk7y2l+IdACo3IB2vzN0mw1k2jUAoL+
6BPhWCRhzako1l+b9KlnJZGlF4uXNkSehepRXkFTOWWrijbjoa62KhzWEllMI78o8VuvOnTItF/s
6Gvr1bjDEAX/eaPkM4RbPnQvVMmETePsQUFOa1UqFh3RKpJLSZkBiQRUyS1DGnQnzHUKDB2A/ZCs
HVMjEUzdmXbFFHhypslpmgCBqYhrjRaCMrxzHIMZ1/vT2lRvZGPTdv7Ygh47RLojKwQkQkHlNJM8
wf6XjqvKWoWw5XgXRptdj3S8kw7x69FIb9uYBWRlaE9li1i0Jg4HnLlmty+yYRvNLo4DcBiCaqN7
kHO/e84f2QkYDDrSw/F3S9ZEuch+Ucoyaxe6u38/LeVbr42HxVNCp2XqJg3tixL2aPanrEO/sad0
hwKdPUb7aJ3e8z5q9Uq/O5OCIXu4InVH07bciSa7zaJDPW5I3puNfooX0VSEspEFPZ1l4kfZZQd7
6lzV9C3YlLQuJZgf+orz4r+v/fs49eLaL8oA3Tpmp5oT9Z4dg6KkTTg+Igf0C3VlMNSfD6ZrkfIX
91V7ID2tGsAlpojs2OY84S1+bD/zPU/b+pRMd/ocKNmX+hN5cKfK44mpQG8PcDLO5AcY64wU3cep
sqWHDMWdbDfLciUGkStsGmMeT6fVEt39v//C7zCw+S+UGSLRbhE5XF24UaywHnR9mGbHUWwtMilI
RR9uhfk4PVFOpHaiumOy6SFLz7MPBRhovTjBtX488t936rWl/qcNG2+MMieUMDO61GsXSVwa6J7h
3mFtMD/pa8IbJWkz7p1wm6uelWwmMAaEnSK9Ft2BYuJMAnOlP0mYOSlphmkTxkutWoEJytJH0l9y
6EHPRxQ08jo5KA/tVqVo6/0hW8DR7Etaz9vGXPXnXTrd1/IzEc4gWLV+Z0wLPVzkFCn6oiiXMYM0
Qkn8a0ST7xOy+QkQ8g1jHIWV/LUj/FECW2ZbWpNgziVwuECj7MsqUiVnNupIHh9m7yvXyNRfuoOL
8vav37zoWgmRHilyRXk7LmYaM/Zf3CvH5Sjh9axsonw0T3y39vhhwPuQBe1lRJMY9xIbcHtNLPXV
j7y8GMatMrmF2EvY+P4+4xbzPliJ3AB637TLUvDkO51imofphDY5Mk6+Hbgk+urDqrgiHyN47oca
kRE6hww+AevbK5crVVtpmagTLkWvhLfKNjUXnqIivYuDLX0dQT+0hKKhOUjpjiFUnu7AMWMEPaWk
bjpUFZP0RvBjGqLR+jCjD/P0UFiPJ+1WBDXXfzbnZZh6mepmhpen91DeInF9RmZNqnIPRgJW/sJs
Xia4bQUlHkkO8j1eXXFm1ph++3DClqB8jKd7tT/ExxtRvlHLV11YTOXCNBcS7ZlSvpuyQ0w5IjEX
U+vUKzi74hGsiFH88qXaucFERfNN8WUiPrBKQbMQE3Ys7+TqV5XCsaQoDZu3hH9wtHDp+cTp6AQt
pAlEyeo5nO5SglIMTzyjY8IsZZ5VRxifjZTqkL57sq6HlU5PLJ9Km/FOPa7IQG9uG8Scih337mlC
9GL5uuQdO7cxVmroGueXCbBsFGBFPZ4D7Vqd8FPdyIYDz9YyRF26HJBLadOlulHQoigowzfG/X8y
aIjZwYfI68WsoWGpew4J4JiL2GsCjR8/7T8v4OIzM6STnpkSFyDf9W4SVAtsjyAHTRQBKRFdV2fG
39R8LCVYRiQUdGDcqIz+/pLiYerFk0BPps1xqd5O2nsuFNtEL50Y9kDjwAl16notcCbIVNMx7yMI
6X5ya2oRTjn7ZOysx+lNxzIeEf0rrKpbklt86cpz+RLVX3zwCuJIAMOmCtH5q2L4Y8UTmixPhkzX
9orO6GGTAnhvBZ9DvcesxJECOV0Ik1udPY691FGkv29a0dVIriRltQ7y+y4LkrS2I4BGzNCqTYfc
rt8eQxd6Os7Eg24uQhxHb4T0qrLNHxLLi1GlcHb4aDlJcQI4GUEFiB9zyIN1V94wNuAkE4V08dyG
ShahnvgQ+srdgJw0oYjyDVpvCB+pqvbyOqO/iB8ZVPd2oKm1yTo7vtObm0E+hN2HYdR2q8VXeoE/
rZMzvQNVykzF5Qb+/XQ7tpHj1I0q8bMtEgpKUE98Y4jN5B9E52PEPG8uNmXbIi/1d7y9UinML8/F
U2NjnmEWRAwyVboYK1nnSlOEcMDpi7yLg6O+NgVIA6sG9pbTzcZei9YCNsRK9chtGd4mTJUkfDeO
PGxcq1v++3q+D4tAiUiKoXI8kHHbXX7d6ImUozRxPeJiXEVvA323fX3b0qdqpCWnQ+KIgpLBi9d6
aDtwkDDPY1hIqVi99ANO+OYju4d2gdeJQOzI6W5Tr6xsOvv/vtCfTit/XejFKtCPwrnKZS5UfgXh
Q/RQ98gQhWiwaJloT5wTZl6nRjXszzJb2TZFmiue2t5Yze7fl/LdDsc9M+gSQtHDYv4NNiEbYwOH
AoULQs9F+ozD1+hWhflsistQVe1OuJViZBpuyft16Jz+a7ZQ/e6feL40HZ4NQgXgkMMI5pOD8XZK
PGnyTrWnyWuTgLcrr/xle1AiFoBqEPenQuSz8U0AweseTkYp5Xt0B3ApkXW8l8s0XMI9NmSM7+r9
6V2FCh2vU9PVHA2Peb6RN5k7rrXl6dqDvDib//dqVGx5FMpUCxdfgNzqdWulAklqy2IPIJPGN2Nk
/cUArgDMZaLFfG1Jv9xC/vubqNBgWM2azov6vNZb7RTpYc5HHxd+dyNWCBRclUyIh9Py6NXa4bi9
WpJejh3+86sQqMEEz8qtS7dvrTZHwi/LYi/eySs6DhsN3uXZzpANgFb6SHJXBqVL7LPlp5WLmuDY
BrQBcC4kXvFAB4olfT4/32uIaOi74JtkQ9pOyOHqu/hNvReY2fV+KXu0GqnjS5wCyP3oVzqIprPJ
FiM/Vrwp2pi/oyHQNXes/Kh3IT6m+LQfORfzqcPnIDiQyT4HZ8LIZGoPcjA4wwobfO900DgNRwpr
02IUFnG4bigwCUU+PcSoThJoM5QjELtuq97j/xaRBOYl96TBrAu2StIg1aCOgyMiHxGdIdkMTikE
Ur9s6sPxuIcuSWxerXA53S2FTXpnVHaDsNvBg16CEe6F3xImlWYdMYQQ6ldLeerQVxIffuYkPJ3v
2n55uuaH1C9qnv88ORqejHFVCRXcRTGtR23VTsc8358+MUMaTXDUYhoi26ldTZAZs01evSTKauIs
02q/zea91H/LJWiL5lGaKjfjtRaAz0S3s7hk6m14SVmObQHzcFU7TXEjA5XBOjy4bMwIP8T0Pel2
OuGFx0AhKxbCt0Lwgj2NTo5Bi+MuNtH8cEQlS/PEUdEkyCQJyO9avzdaf3o14ucJ+rGB6qPjGz8W
1Uplxy1QYvQFokFM+Y32G35fgMDr38uh+tPNmrXSzE8oEfWvLeaPQkTBXB5NhZbvK89c4MHRYegT
g2uuK8PHZS4XKwXkdT/3RfB9CcoGoGIBfVQEWQXuzMVQVei3BMBDf46OvHTLCUHbAGpB+wWllpd+
xpqPh8xcydouASScfWTqr8xCQcOeXRifkvw69gs5uOZPuMxx+HoPqAaxPLPKE+dw0bmgGXMs21TP
9xLt2jQAA9N8Tn55a/0afs3HOqX4tO6YhvnXnHOXZNr//DIVwjyynRMCL1asJO9KSy2MfJ98Rm/l
kg9xlz8BMMlv9CDzr9GkLnfXbz93URUZkhA3RmXmHJ/j25kOMN9bFCNeJa8lERkc/Vtf8STdgXNU
V36mBddF4tq8h/9RHP33KpA/smPRlLw8xHdh1IvNYOWkM+C8hpA7BeLZTn5Hd83D6dX61QGerOcu
bvpBFvNp3+/yyp2Odk6uMNJh81Z+IbT0jVRU8xaNJJ1Xxo6QvllSnqA9sZrC3jvawgsYnLNp5/lN
D7m+dDuLRGw727FKtboDB+jKnPeyU/CfP8xUFAiSXwFvF+tJ34ppJ7fsP+rCXBWEXswCc2a8UkUS
jEM8UeFItZNtemcemZPGDIqh5lPWlohpr5QDl2Kby4u5tMXL4am3+rbP93nk1fIG6nNsBrn2W+YF
YwYneo3o9PriBMK89wb60fAct7GW22cZ2THwdBaa/8fZeS1JjmTX9lfG+h1DaHGNMw+htUqdL7CU
0HBo9fV3IafJqYouqyT5QJr1ZFUFEgG4Hz9n77W7eBZjbKZ8p/Czqp3nvEqfsX5mqWrk41ekgypP
zPpT02eJRWqVPXeLqftS5w/ht6bAqwPb1y8EPAIQFr1RWKVXFYWUm06Xt2V8iT5pU68x4XevFd7i
ZpZwPFRQdK9l5LDxYSCgGCvGsl24k3ClEF9W09g68Fu49sZLbsO7QQPThZZyn33H0LvukIxXafB/
uDV5nRmjXT0DNqhDy5HsiGqA5B0K6RfNHx8Agznic7N1iTniaM+Ra0XHobCnuC+lT2qCKahZ5m1s
/sRmE3f2Xevm6/u+eut+vLBrqYyRd1JllH5yKWZkJTGCdVaRcoTaPjLFohU+F7qpl2gna9NyQbwy
EPx9m03c9xzpQNq9d8leUV4xCjrVStKmWvfQJ7MBKuwEyo2OxGXjxfMmI0Z3ieyiOsGj2QdIgqz6
Ur85xkZXtpfCPpveiCB3p8NomC1vdEaiIJEmni+W7QdHaxFpSC1pqyLyfMwYygvekWnBURLPGhOB
Y1edvOqYNHs7NUjs4xO6T2kZbgqijk1YxjHfN9Q2Wz8SUTRwLk4fc61ZK4jyyvJBz8xpI4+2QZhP
+p0C1iFpYXk9E1HuuVxvv+l6SPICPBzLhPeZ+qtejSaqPfnee3Xtnvh6WGi1GEiWZZLvrk0pJrar
ukoD5G/gphbqvOdlNGbUeKq3MAktq9Fjngn20tNxpsm+wH3QJUIX7BgQiFmuLLi4U8BwKa6t9ozM
RtgL6T0n9gYt37f6vXE3un6EFI1SCYmROZ6Lfj5UO1WRqWZCTd/Xd0NBGGGAfIWMOlKOhn3i7SXn
xUf8D6uMZ8nHTbbI/fE8Sf/AB4ZPQRdJkyJ7qMqtXq/bNF6Sfx5C41HPcUzzzcTKN8yc4CRkWq2d
tA9xfzo721hGbEoMiSfjzFTsvlsrlS9p0O9+s6tjpyMpuhvUfBHQaVYWmiX3LPtrtzgJdd86PKzb
wkMje29/KnTm5I0bH3J9y95pyTNTuglTJvYsnlMytlK4UM2x3SfDcnCwO25ie/zOxtS5bhk0c8fd
cTJEeKvRmI83KkQQuCQ9X+3C6xdEbVAqc0Yr3MNg8W8vkuwc58RblvNWmfQ0QpFudmhRPxlDtiQW
UjiZC3FjfcTWNCEs21g7HUlLq+Sm2IRn85CitgU7MO3aVT7MqnCpGstA2krNqsHVF9LPemYwasZI
zQ+5OeaDg9skvyPszlr71EQnQyykatZVM+W7cMBfHZ1IMfn3A3VV/sil6UmV6YYXmbNyME1yQojn
2Tpb+As0q4V+DAFyu7fIM/p5HxNHD/j5qcC+0C4ie2IYU5WIYGZ23wVIXZ/9//Vi/nBhV4VS6gq9
KjU7pEQZO/7homF8b+LwgnacS9FUDt7k8oguFUcQzTKebleapA/RLrxYJhPfmTnMBvJ30X64+Y3O
CN3rX8cpY7+w+9Gda2fFZEhfkIJ8U6Z/945e7ZK1rER4xLzogvI0S4BFOq8MCfNskQK/oo3LQxMu
LQXVPEITHDsTyaJNMVEM4p3XvJ7kpFuLENWpMo8fIJ1V920zyVVmtsjQmWrhI2OFNQVSGpoaKOFP
cGoC7VgrdwQBTiV3VTrflDJfW9Nf3k4dWZ2sjN2Ea2sHYp42jAwzvFCZFzt1ai3EORZrzXny23vw
a5q7rapDzYVql0RnKD+3EGbGE/nWdWcuWaH1nhciw/FiP4WM/42T6swUjknqN322X1WAo1FCJqyI
7LW/zKe0tu5MjSSwy0gPWcNDxQjhb1yO+xH7XmTY01Bf6midCOgccVvGdOhWVruus02Cdoobqvjj
gvrddf2iG/PTdV2tb7bRRGlG+PBlOA6PTGZHEkG2sF4laUtbrTPR3o0OQgUs9KR4AR/TAwSg1Mae
aaZrpt7fJaFeN2i/3jCSQUdoiMXR++vnPxwnvaiyigDvyMV9buf5QVvx7jdzlHfaoZojU9+g2UCD
1T9wllz8/h355baLD1BDPEICL4axn/exsFVsP1ZFcpGAfLw1HO/79kXF/bQz9Kk2a6pV/OYTzWou
SULU7NsSzl+AOHTlopUBzQ5JFmEtRdHKR1odd3CBeJxqohIWOBjCfPQOfHPJv3qtf7zk8XT+w+0y
y/HEEebJJbjHnsCYKToU7306M9O5iFcSKhM0yvTl4VwEc9WZK9mKcDu/WLqzQl1J6SHvwCBuhgGc
7ylTlyF/VWK7mqT10RdfVRM87aYlJPabt/car/z1Tf946VcVsRe2qaQ6cXL5SuBQ9o5OQCHSc0Iy
FVq8k/7Q7vMl1MsKGFYa78Vj/6iZE5g5rPS2vKvLc2R8EPvproNsTVbGd60NQs1+UdiYGFgtXTc0
JvtXhU2Vq70cui1Fuw7addc5G1V/HBTmK5hgZHEyh73hvejJnKp3QPWcIHei/6uNGh9plMxI4Mtp
1uW3kXvABKAZ0GeBl6yT5MZA44akhT6xStA4kMM5Tg0kjnN744inHL1S26EurGUC64l7qC+tv8+K
fey8ClzpTfxsxM+Kfi8G7GaTjki/ckbEHf7zhEl0SX7I1ELNi0RiPlzqAhrj+hDDj9RmJv5FfWdZ
j8a9VF28abfM7osLFgr52MxppJ+1KX42sY4/QQOl2dZAVZzgj3w0VSbr8srqBy7rVYNAaqIEHrEH
cfFWFW9Aplv/Ra6XqsRZRlGmPpLkk39BWCedBxV9D3D5RvQ8jSevxby29skep26xiouer71qU231
I0g0LMqYUvAVSPigRqYUo+Rp/2Rr85JB3DRYSuLAKYnoB3DO1cZkZmNMpXOTzhyCGivo+gGShmAe
6rcp47fyXuX5OQUk+vTtN4kl19qPfz3FPzwiVyto0TnNoBi8gO5zM5OIO0gWhYqJBp3i3H8yduAC
yHhk3hsEk/illY7oEyuwOtnUBKx4933s4a+aOcaPD+1V8dTamhu2JatYuC7W7VLbdq9WOPU26Y1E
CMPE9unlhCvCSwgHq2dFuCQu/Per0i8XcRNgOwOHXxEDK83s69rlEgx834jIlsUJ4O6KB2ZdFZMQ
q86nybO1Gafq39LiftGQ5Pf/7w+3xpf6hyWxcnLDjyLWFX3PITJ5aQ9hPYHhG0SzUF+rlF6x99Tm
qwFNhDuVb7SzdDYX+gMOhITOtovD75g1e+JqB2qCcJk8/P7u6L9eVf59gVcTZr3s1EBJkgRz9WQW
HIaZNjMQTIidqt34w5uXXQqOy/a8lh9N6KhgxAiqA2hija0BMpGRCDYlz9OMpox4GhC58JbD3mXJ
pLuMM9g6G9lz416sYF4ZU79Z0dH4/e/w663yh5t81Rp1E2fw/C7lhMr50zm2xGeVNGzJYNeahdyu
4beo/sYzHlp710PMdC+S+1h2C6pnqkb8qm94uQw4UjpWIPMUhic9Jt0hJYnj0CSXmsPV76/4l88k
ZYWF/2PMILsuLGK/qpJcjpJL9sZjYUEaQyucz3NO81vnLgBPDbCHtG58kRxrqDJ+//nqWDxcF6uj
IAsNLviYv9BOe791XNcJk4tNIxK9nj+NNpmEU2AdqdsaS7IBCG7twcUrpgZKYzE5VPfeND3zP95k
HsXqU4+isa8Xbf/dVjxutX+5NmOcAVNJ0264Knyk0i8Nv+KYWxE8Yn/SZVXxhOWbRr8b1LmR7K1s
roDuDVGnzLN+ik611kdfSOFNY29tdZuWk+NTaDwItOpi0XXLgqPhN5PXX3+FVNBIvMbQ+OvtuLCS
mHRSakPs/OmtMmPaCnKDJl6+NDTyKLspE4W5K2ZDtNWURfud0O+aw/O12Ds/XMDVYm+EVmhbIedS
jQKRMRUAC1LfKefxcb3k6xxl0KTKCV/9Nv71V3Xej598tagrdh4RysQnt2f0Y8mhW5cfLkToUafO
eXLePec32f4719i1PmD8hc1RKMF+Mmp/rruWraaLWgqL+ALasRan2tiqjJnEbRs+aIwnI+xUEUUM
sphwYY4lQrcojWkurQhp1+J5NazyfE/GYNVDMpjH/VQyJoW89rPPylto450y/g9HGi4ZkoKD240x
8/WzXDRaAGQ5Ho9aRnYbdjchpjbYIwFdvHU8C28IOURb8mn1z1X60abHIZmbALKm5opRQTzFLf/N
q/+LHemnS7oq0l2nte22lJnm0BnVdhgj9P45qhiq1HQKBs6DI9GjmmAhTIyp677lxPw4VDPZVMbs
QU6fOffjpaIt3Ir6ZmVQUDxIt7+/yl+9XT9d5VU9Xuie5vIcjFMKj+9vpg53gzSFXOSSnlmTzp0E
88ycFThO+83/PrX8z2ftv744XHE/79t5WPt5VfH52F6gzvac0+f5cw9YaoxqIlB2geJrgky7o+OH
sveRbu2Lvgpm+H1+fyuuEZD/uhROgDTr7ZE5e1X320WX125fI1JInzR2q9A92u1dWe+iGBfcqhZb
udrJL/XenxmHnEgRfW4fveGAPV5VD3W1NIdTEt4Rj5EGe6zUUbHpiR6YwfF4/f2l/qqzAMJc15F4
0Fb4y9BMj2ggQzkPL7kxKbP7tNuKcoHMHm9C+IiOEbOqHOLl3iKQwTrtGXOk7ZmYJzjqYLF4TGQn
fwou/uOt+3/ehzj9a+co//mf/PebyPoi8Pzq6j//uQ/eClGKz+o/x7/233/s57/0z2P2kd5UxcdH
tX/Jrv/kT3+Rf//Pz5+9VC8//Qe014BI0/qj6C8fZR1XXx/ClY5/8n/6w799fP0rt3328Y8/3kSd
VuO/5gUi/ePPH63f//GHScPvP3785//82eEl4a/N3+qXd1Fc/4WPl7L6xx+SZfydHVaH8GLQQUSm
ywvWfnz9yFH/jngWZf+/XIgQGP/4WyqKyv/HH8rfqVWQi6FE4Etmwv7H30pRjz+RjL9TyjBJMh2m
pTAbyQz/r0v76Tv693f2NxQnJxGkVfmPP8a96981AHwc4q0s/h/MxdGP+uVV/aFs7pzMT5shcWbZ
QMs6DedC6V5+uBt/fuSPHzF2R3/+CAeRANOmcaLuEBD/8xvuOZKZyZojz0Sp3hUwTixsDbzR8Z0J
8+T3n/VzSTP+Oo4iw460HcNB3fZVhP/w62RWT3wRQni8hZ2L1g804tTOq/6l6V3wNVkAJzmM/ZII
jcgz1XlRBNL97y/hqlzgGkaELHIj08ETQNbA1bqvlKWkhThwZhjioTBzCopn0bN1yd+Y4VDnT5JF
/6pl36xef7nLX58Kqt0YHQCIHX++y0OXtaHr8JunFlZ2zRf4VFqCmjLvkAnL/l9/GhI4rMs2IUAg
4rWrwqSPKRBM5DIg4TdJv7ZDMWkQCHzXqfx5Cx2V7cBhDPZ1moLI2a6BVE6c2ZLZIYl0O4dpRSXb
F18PBcEQUB8k5VP2QhdGj52vfv8dssH9rNnkow2agSZUBzq32ggy/vl+VjZ9ZpHUEB20uFsbWgWF
Ro6qyGElrdOboY+Hd0NBCCu6MJwJKzOOha7zYA+tMFRGAm0sT0Q8NLdy0ACeydtCFBNNOOl9Irt9
P20yt3woCxUZlZTF73ad0/L165DMHoYkDdlbXTLi8RwthSxTaNqrWXnILvXYfQvKwVhaWqVe7Nwa
7sLUU7apcEkk6jRBheaIsjgFvdc+RF4SQLu3yofCzSmOUQriwFNa8SZlrcvwNdB1DLM5Kp9pVRWc
hqvWg29jKGExt6QsvbGdDF+xkWvxu95lEeosD0iFJyli1YeteyjdTHnVSyma96UWvtiZrd+poQE3
LdO0ba/bFTrbvHAuvaZHd6bsolXzNHmZ6aayboKgexB5pO961xbHUgF2X7u+Nze13P7M+86hMOIG
TOSU+wzfInUxmwfi0c+SdF8kgILaKBWEkCp0WxU7O1e6Q3wKZxvYckmphpOQZOxzFXQpqOs6jXZK
2lrtYuDTiXspcGV6AjxOkrkK+udOlt/zWCvkrW5k5bxTqcQ8x4/PrloWh1r369fSMBKYPlG6ztLE
2ltSlG+F5Gp3dcysGCYEJJ9W84ldz7SAvlsGcvEstSoHZRavtCK+JUfrVKt6mUX7tC4UpGCRX6bt
Ia4Ut3uKtKGBum/0XVW5O9XVzBfiOT3tUfUMRXfmsVVZ8iIJHBdOqubn/jRRhPTuCxlVjBQK6kkt
C7w3R6mzZ1mSkc4EpdZiic1M5GD1kL8UjamH06Iz3IMouuBei/VumBQ2MrY4qvTxcN84K5PnZqay
Yi8quVS2bizkeRG3qAMS8IhDqamkdWfSZjCsch17g0emi+5t/KzwZ7ZbRLfkNJUvig/bICulYmMp
RQD/ok5WTa95c9dQGxxCZn12msxi/bCKR7dWyduwHBR0nlS6C2MwwrNmMSdu+jfdkMx+3XHQfzZs
FIRJl2eMf5rOYDlvtWjaBQ6/Zh1E1lOtlsrCsxp721me2Ji5ZGuz3KMbJJmQLVI1pusd2eWq1rtq
EfROi3GRDmtmGTCezCydK7FEnkDgJM+aX4hlUJnee+lU/U0ZqmlEgGcFuMluRb5OamJwh26oFlbQ
x6A+hLmWi6TmFCLaU9BxO+IocO+TyCUsMRcYwrK22KUqx7uJX9TDLY2P7LWTPJsoCUunfuvZtaNZ
PWj9Fs4XD7icyQOMurJHdkZlsMpbAzxurzKjTnjO8N0qFlYAS7+TG0V7LPrS3uWRnTHus+j0DZXE
JAmYrAWopFBum5I/MKlFI25rD65BYpn1nWZW4c4qVIuIVkW+CHRZlyoY6ElrXtyf2lQoK2PIrYPv
OyUtAN3ubnS+6F3S5NHOL4dkw1vFA6x7WERks6lusr5iMKoqGEj9YNgEfkrYXuZHZjOp3Qyxoyh8
6bkp1PjYjJ9uNjh3a6shc1al4e56pTnzgw6CGmCmhzYKvac8KjEsSPA9JmlFrqra1u1mYFb9VDRW
gQFBM0ghc33N3MpuDo7BaZulSCt/plDRLmJBtE0dRchMlTqNt60lKWiyPBfhdimLklOG7YpLFDkF
AgOjk5+MQSPWRLbTnZ9Ixm3sht66FVL6XtQF5YVjazim+WIuokzCezfCpOOl9uhydn3QMlaWp6+x
kbR8166wFsVQ0ChDfb+TA9nYCS3oiEzyPeO10SF0ke3AntOV2Z6SqjwVeqVswiaif96kg3Rb8CJs
CcHydlFjNndhgqwlLRWGybk69BtJD9DA5XYQ35IU2WB+D1JtiajQfNBD76TqEYdNz6DhEyfVTW21
4J38wNkGrdRW/P6STK8pUatVUIzDL/qVG6FJXbWyC4+5RImrk/tW1drCijs2/FZNcpzUvnV0k0wm
yclD3BCrtaOtek6/9PILyXq21dy9UboyeK0HgdJciUkRyTK7va+UtDsqZWFrvOFV1U5YIrODWdpj
6E9qWW+GHYP/KMKg29u1JLRlEhoQI5QeR3YIlHnR8cXcMDrUT64JCF4ya/9sW22M3roFOje4rnlM
DZ03NvdtQH5VJklLpzUxWPtezs1Qg/VgsM+3qe1MNb1WAMaF5VSJW7SmiuZne8WT6WHXkTg4YGPx
i0f+Bc9us9FaSzAi6zISuc3mw0mV+qZXDBAFYWfC2u6DuWXmwJ/yVpwK19Jum1B4Z69KyrnpqdEx
T7zoPpBwrDl+Li/NlKco6Vr6WUFZnhu7Sm4bGbWD2YN9G5qed3hQquxBVZXgZfDNnogbkzFPFOTd
q1310rTILR37uyRh5kgj6F9x0QK5aOV9BzgvNeIXM+HQytSqzdOTLktzpWF3xbltmpdGl6cldM7W
WcHXXNhhuvUBZ8Us4BWbUPQ8ZhhL0PEAb7KbodYF01LvM3EcmGKTzmGFCzm7V8kfaRCSh0dZW0Mn
dMpTp97L8a2KzLA7wYWU+/cov+mgxQWztN6m3iaz0OMlsImkla4/ZdqdV37k2TQefcP90a1pFG+A
aZiuPLGUnaGQM2IwoJIgMpmvInzJrXXov9bM1tqyW9c5KWMm0HozI/3EnUfGqTQ+a7r6YmmkbCTq
RGgYIaIBuiAVxLHVqmmumcsKkmXoZxO1W6XMm8dtfpY6FuR5VqYDJKmzFAD/zsO5r8VnGWGBH4fb
QD5E3nPEPDgshpmF8CHWpIleHQe4ERVUijKdeiGpsM1cpFCnuk0IecTGb59rMLJUXs6i4P4+qvEd
k+hJbMqzUl+1zqEOAW410dSIWN1puvdI0t1WehtcmlaZ8uFrRMP32oeqhzOeuVFLN/fUc+u/utEt
y3dDCcc/Z881CR6MZNw7HPzrFuVhpZyCL1O7x2P3mPkmtOp6r1XFvkvp+jHqV0Zgajava5xhLv1y
fy+30U1iBzMfs6LKl1XIyUMP2UVV4l0vIf4vioOBJNPBG1S15Tl0ZF7A9sgKAkkVAljDALXkTtdg
n/J6x8FkxOQlQXmbJMVDaDuTZsxllIG9uPdFyNSg74qdhyK+8z/jIT+k2LdkijqrC5eyfFDR2QyR
dhM7CPSxU8bQqzoU5QbAst5B3CRDqxU5htjXsDh5yb1CfRCXASHbr1Sjc9t8ryNvb5CZYVDEV+3a
U/sPPTr1MnPwkQvr8PKaEz0uNjU6ndCTiWppJ7Jirl1jqKAUHzwRL+OcLYT4mkJoM72pFsqXXGrh
8rAHG4WdFtbLOvD6tRn6t0oC/jrkbaRjeeoz2lupdJDBuMHVGKRkkSKhEYYxy1xp2cVGu9fZmmJP
m+tl9OYTI1BL1cILmfNxG3P0ZC6+ebVCFOacFAdkkwPtVgFYpGA6Opeps5QTd2p05sxG5mpq5NzJ
8lSMRNTCOgw1GN8OBrfB2ggGJcteHA4fkRZOZbJ6OB0hSj0KGSBU0Jy45ImUPwThuyW/dwDPFVAi
oZcvWhuuQBefGnaJuGuXAym6g5MdtQybSon+UCU/Sy86JuQA3btsn5DXqHrw0CD86V400XSaxTGc
g3YsN+5kl6J9cIkzsWYy7iXTblatBNuANIgIhSogOZmCs0xvKaAmtikgS62kqloRHBNH3aQY/JUY
E0GKYamxtQWDzj13wLkBSJI2kf8xKIfKEavIngUwOoJ7dH4JwSY136YKr2rnMcDVo8ekvy/jO611
F6U5d1LWyKeg0hcCoSKnx3Sigxn2CDq1E3oacs2b1O8sSSbcsZi1nnpbWcmCwRB2p62Kjk7COZxB
gU9EM00RdRbjEgJ2Ssvvnfas8rz5yBwTLUT0fs6b26S67wILwbIDG9SatG4KcDbe+apCygULICmP
Knp2N9YXLYU/p4152RTaRJUKovwiwnXkSmE5sxeZWVLWp5O8PHkwumIuJFQ+PO9oWrjRUPrUuF56
jlqUl1PIq8kIU5K3hfyg2GcH7ZdRp0gMeVrfkWG49YuhLUyxb72tlBOEZS+tkEBMsGQZwxg14Jf2
CKZa+ag6XHRn6iNYIAl/U0HgWSiURQc+yQhXdfLYIOd0N253nzZEOKfnDgYsDq1RCZAj8ABHVj+m
zDkjUBZteMydbeSsPBYJDuaRsQ3D8qDmROEGR2GDcb1Vq36Xyxc5fhLMm2V/66U3vcaJAjVLW0VL
jxomstBAluhsMcNpJQ81PfaWCWHBoixoLct4ZrPCw8Hq4peDEIzA3CTN1ufgg0jbhMuKbA6lKKB3
Hm7YlKZ3iMkpNCvI+oQGJxVp2hmKOYxZJrQtN7ix/FsvvljKJZZpq32U2GBKTgAGt6cLUl7jdiqc
gyUh0GDLV4qtr9wii51IWIBy/73VPqhWpjEmWzGwglS3CgCN1LvLm88i2VnQhQvhTOQ8m2TObW0E
24oly9Ie4+LeVetF6OxlTdroVD1NbkBKaicOIZzJYGOj1NaZGFa630+c4tzr/tyE4q7XGM0CY66C
dXC8tzTZdo6xdmkwdPFtXH/UIdTAILgZiVm8tl0WTG0E36VXAoVwuL9vuWcjNe3nEumgBrLTsnv3
s5bj18sAV3bwd7p6kBM4l/1bArADcqpIoKozrU8Bx9Tyy8BxLGOJEDLqWteZGgGELOMuRvrs6PY0
caKlhsnAVv2JZJ9ykrqQoCzKVF2mFL4J0KYU7pQt9FNSbjT2fFjNrqJOa75rs4XRb31ArQyUR7m1
NzFrolDXHeBLMRANbn8GBVpdcVeRtW1/tO6rgC/FYXyiRMYsHvY0FvPOvmuUZ+bM0xY0AdRfd9Dw
WDMbTG4N8aCh0zYZ5RvoHxohlkpIr5WjRdCBKOVc0b7X5mdlHIdyjBx/6VC9mvQK1c/MxVuKOMjK
SRBMzigrOBt6RxUwpwX5Cvk+Im9t2nj2xg/uQ/u10IhZq9UpUOypkpMSKetTpSHZhzvKkrOQuGcx
LmfNc3dF9+kFIGGkWx/wakCVpUvvunhm1Jg054jxTwK5lhpnZavFXB+kmawMi7R47/RV6CvLfDBm
iraS8qdxaBV2d1U1LCtOLmZJ8VqbS1fbNqQrct6pdXklKEQT4022nnUoJChNywLcq+PNI3SXMZcD
C6jbq6k6p4BaDvKTZbzZBadax8FhjCeAZSnwzTl6qHi4l0qpm9Qgts2CerQrIdSHtVOMBYuycGit
efmF6R+gt8Q8j0ewnJNRbp4SKVzoaKg7rwP1dRuXKVAn+ZAPzSzMrGmriZmiSnda1PFAkEsnnqzy
o4hz5Oj5ZNAgi0kFub27LHHWJnb4bOSeeTu/uJQaCffpPK5eMxUpFqGyIePq2JtaQ7+IFOuhi589
w54Rh2fU6rFxqlneUFLR5ggbZyESpjGmmMcq2QcODyYE5zR+lCBjeylbTHtPCp4TKAuZkWBGulj2
nubagy+Kxz5b19z61ICkUTpTtUz2IYYG2AAdQR+YNRN0X/2tJghN3CYCrPHQUbqnyNaJR8abXCnh
1guavRfc1DGZwLXl7AznzXA7oiKGRe0Cp80OTnKWBmNliGHth6eiXOsY/kO8frEq3ztdeGgAaQlD
YSwmTkqnTgvTumtDfaKUMAkTF3QAKjXOJCpZtEqvTryEfNXUXcQ+sYk2FPW+OlPNLzyVNT6otjE6
agfDByeb587oFoGsG7NGDu7NyH1T8ofEPhgs7m711qWbNn23BnfZ2tJMV1FchY31rETrQLQviVNt
BBRdGouTbDD3vVutw0HZijGBVA3cZV3QjndIATbNXYrJo5XZM1Gn5UFjztQK6GBmwePAYeSd0qJc
GJG90wwBbVgcYlyXVONU3fZtKghHNcOVDTBXEy7Zzf26TaDyOv1CKsVKVnZW2fBjQHk20mSkO0ZW
T2O4ygVYnZitsixe88jl241Wnra3Ob808qEY+I4i3mqpmMpoGyxW0ywtN3kZzd2GAk0ZVgaEHcPY
xT0tr5HfqlMKR84WMRQlZyecTaxb81pnC4sxKbEl1/lUqYk4SH0sNmxDrTMMk6F+qrJ3U+Kw4giA
3EYlR1MX9HOlcoQhi3MqC301kIYXqCdJeSurZTkQlhGm857mf8qsM007lp9hGfpiGrGv6GzoKsPt
SLOWucG5m1ZUIcQCvgXtbQ5hKJ0CC2VfOMwh6Ey7GrBsBXTTyGZupUEu5u+pyMf0ZlZr0Y6GxYPu
DafcJhXKV5Sd3Hf3vfKhx7EzjfTUYXhe7yHeHuhlTi3zWUO8nCRsIY19bCrvvRbtMm7lS2OPRFi+
ho5gl/DBjGEJeG14W1O+sRyWL0mZgfjupY+BI6Uzco8K665JODgqHhhKI2U57i37wRP+rTS8F9Z9
2Oc0pIgkD5dtZc1V9y0p5DtVafAcJuCVa90luKF1X5jrGUc7xVxh5Va3ivrhM5TMWwMEX1U+STpT
KfMt5pCo9nhk8mLkx8XyLilhjyLyyghAdMpo4UUo9OWtMZ61Mufk84i6Hb9GUY2Ettbd9mlwS2Nz
6ZTIVgIYik7MIN0Ui7YAV5moT0aqvbapwpVVCEWhE1HKnBLf2DgK425JedYM6yRRR3RDsC4RechF
FUD15f77AyGjHacScypgn/ZIRxsl27hN+GhmwZOOxCoI4FUj9EXZS3odO6HS0mP2AmIRiArIg1VZ
a+9BlXO/QaZ4xTAJinruD+3eyGB4hsN7QNlkVM4mJUwghJcgomfT6niIzFUOui/FFKN3+b5g0te2
pzLVzqGUr3INf8itVmy7Diwbb3fa6wvTTqZRbh4q79UeDUr5e62rO9PCkClg9Nv1PDQgFLYvnTHM
U2rFgYWbTeXsU0db0lEn8V5UbM+hPaGRuc69+h2X/6rniKR2xTZ0g32Qm9j5/I3d2zunEwVVfJVt
UlFTfzTkNxdiiCZxi5K8DYCUkejBmxnlcgMfFfBPbGwiSyIoQxoWhaUcHVvxFkbN+Vf4mr+07HaX
htaadWaiGs081fut/f8pOovlyHUoDD+Rq8ywbWZId6CzcQUmBtkyyPz08/XuwiQTsKVzfoRwWJFI
9RHrctM0oEKzwUvAc2Tc8FDn8lunwuFm5UEO3mHvKtH1JZBrVS3KJhqZseozgp7i1xga5L9x8GXm
TXqaxiL7bQHONqlvY+LI4S5c0fwWjsaVi7JZuc02N8n3FUNS9q+mdK2VU3a8Zrllg2hyGujWiCI4
SjQ+PKbUs0tfPd3u/w1OUrQs/fi2JiOzTnaaFjcZhcGlFZr/MEVZ0DmfOs2MBuyvKjTfWsq+vTI/
hyPe8RbP8iwIGV3JBtlqJYOLlXXIxyPneT565mm0M/nuRWVzr4nQOZVeIvZGScKGHlQXM3l6b1I7
mBuyuMW2Ez9flwo3fnKqo/ABYMbLbevCWkf1MyPZ8L46WHoQi5RsM5QUmgCfaYQ+LK0RV6KXx/bB
Mr1w7tryPlYSkXXDrSemfSxJ4uL4lC+jEpiU0mHnWP1ZuP5e0Z27FBA/32XwBJwisUs6783tyLsT
UangqPzulkWBRRsqk4kZt2oeVh19cylXLZko6EDVvTQzWjqzjCSyNAHTKIaD67c3a6g/ZT79qqnD
TJ02Gwzzxygtzgkpz0XaVFebLByQOGTrwaSLhRPbtKK46XbM4pymh3T86EriegZsmLNahIJ3G668
c1M2vqB0V0PG5SNYNFZGZi98qyXNj5MsdCfSq2t33w81u97oknGadUhU4qPg5qz78Jbb7ntfuKd8
jJcDutw6NR+GlfmrPOIurZTHCWX52ywIX12p9E3JKq/J7F+n06AlGyiWemL9193xtdVMZxmPJorD
lhW7VvvOTTi6DIJZvFPplxfd1rLlWGrorp8GK19ruB8Gklv7vp0oPKx/ReM/f5R1tyjT/Lep9Fff
o41liAi3Lfnp52nkbfzKbtZFYH9UsjgEMX84SDJvVUbJ1Yv9Y8ZRlOhAMY2I9rYHu6AlmbVoZdrv
W0UWaTym+s2v02Gf+7Rz6HVnbqcxL8/oIvp5w5a5IN8NjZgsClDo56MjoISBztUmYhOEujBmUVkZ
0DjkH0A9qRHLcmqOSbGsEJ6uhP2Myi1JWW4K3CuWXs30TjY/VjvJpQOk72VsgpSJ/A69KSlIGXX7
zQmQ0fcl+qJrgUq1mldFl3zWsirJIOltkwTVevIJAHBzBerlRkDQRueypeV2+q/WBwdQI86qm9f7
tjwY5WBt7N4IrkYddyW7b8RZIzO/97+Cki2BSSuISHFrJbkWHQg/7dRTu5ARDHhqdfLBWNT+iAgL
ejGVdGQAVhOoWHdYPTOdLWhBCWwAytU09kEVPu9v51rJ3k+ft96TOEw/Oye3ocyhxWjBfO7UfU9u
kVPTxVOEBJN2LZMSjBilTlnLSFa91Vm5G3HZVlLcDIeu0Vq4zb4UAS9CKG4Evf25RNkao7PKhbud
qoHEaC61RMqTXcsDi+1JE8NFuO1Bc6qvsi8vTgQPMRR7+DREvy1yd6teJ8Ww4tf8lxrmvU2exfNV
9OFngwMKp0ds3YARedA9In/adGTBdjoBWwMfYxKSqv/G8E2uE+/t3NRAHeNt4+HTi3UzX+liIpw0
SoKFC55deNgw3FxEnIZyV6rsUkQ5G4y1dKJ6Nob9yui6vT/+GU6+EZpxESku0pB2vsht3tLW6Q8d
BpiNFfg/aeN8JU38bpYUIRZo0wOaiKCPZjbCljhRj0bYX0PT7gYlTlJr2y9B5t0lGoPBmPleZ7I+
YG2V7EmiHj4c06vrpfJ8Ppvm1CNPd+NvUhDjnTZ25qw3Czyzo0OzzrhKiGIB/oc1SwrjNipE05R/
/hRjMUd6wCd1PRyzJjE6ftSeocCq2dA29ingmDpVeWUSOWxP5S0FfgAzTgNtpwL/OFUUpNriz0/r
lR1otBmEyUFPlXsDBylWRkU+cBsyumSOy6EOSOW7drvksMi4geSVIZLBgmKbcVrXvvnpNbTkWB6d
kNPag0UqdZ8RKuaLbfXvwOux+YX5g+nqgoZ4JMDFGLde5Z8aG7H0+C+tgZSK1lr0dXmQdXCyi+7U
jPHWJm5x4eklcQbKwDsNK46ZKOh5vJvRu1VaelZ9vBrM8tNPJGObkTpiG4c1DIyuvjRXp7BDNWQ0
Uy1wKxvjLaqf7tSJKKAirEsoaEXcVxYNzw+aPq2UfCt+p4CXady+S0GZVdtjB3Iocgjz0JnlqQVx
HYiz1nWrqMizs+bnwwoh5UL3QajhhdxFENrpQ08U2LoLrG/vrSAmisYU9TkO++nNys32t7ZKlJxx
2S7Z67eFbx0Hz1CrwHsGkdEkj8GwnbLXnvknH6Z9b16N9hqCp1k09vXkRqGBWnp1egF43FSef9Mr
Cu+7s4z0jZwUt3m7HyTXVmZEwDxa91wCYHZWTm/TXaBzRQjUBVx+yF2GgtC+Htp66XOtTnFy05A3
EKhroODAutuP2pcvW+9V+NG1c+RLmRD0E9jDqjVCCJsWa76xVEQudWYGo8Sd17fnhnITNkuO4Xwb
QxLL4dMEIZvYcWoXELQlarrIr7Z85YTEJ1Scog7ZSuwkyH7TcBPYtGF2iTjXZbVP7G5uDy5Obh/b
YXuVoI1j1i36fDgkurZ7blJ9hxnaDbnMgFLS+qzCAPyqeFNDsoqhhPN6n9WQGI350sblfsifWZNl
uE+exljVrHRFkzIGQPaOjdvhsvSdRxt2s7w8OHjXZUWwQIrd3kAhHMA1JQRN0QI9ltEz7kdzP3Vf
fHAor1IXykgn6EG89kKdbLhu+UrXHPGczML+Ki0FqToj0hrylQrme39h9F++/kiDZTK9Z/WD7iro
42rCe74LuLL7cRsRnN1VG0Tpc7tEDOKKeZOnc2V3M4OcQ3q+ZP1dkPoOszevCM/Lh7MoXjtOvDz4
Z7tEBrDsBVqIYGPbKwQxLKrpEwEJPrvSXOkMQFZw9r2TZx/amow2OsC2GvQnZ0efHcrBXwTWHior
ALaL64/Kf9TTtYuqedMBg3Xlcow/VIDxpqb4EkGVT/x89WtWJC+O10J/HdgrdQJ2ipTsi6Leafys
a9UyJd2C6e4nFZashLttK0hqdeovO7g7vZxbQCiNoFcq5mXNGVsztRQxge03h1q9px8hpK9nRX2F
4+3c9lgNWx9HqKouxP4tIqx8GVQ9O1ZGtpJmU+dHeVCN58W1eaNuKgnnBd4sXV+24r03z03RrzJr
1+UwKD6rTvoRCm2RNb8ZU4EF7a+rY5lsNED5HPqhIF5npGhpnL4C/QJPs9YGlultBC7nxzsX6s/+
K4JtAJKuuj9PrRFnbmj1JRb/Wgh9VTFWkgMBIJLr+qLv5bIE0fFPadQ9P/nCj7Yim/t9tbCJ40yB
zhi0+OUW/W8xIEDzH3H63blM9hDDmTjk2f6pQDAJt/Sre9TdwKTJoQHxhnOze0BRCilkT7MUAiQv
x0QSEFAFHdbwnQAqzPLqWFSPeuBdDbRFCdxrJYBGgHAdS+FzX5DZoXF5HMWn2fm7RNIgNJJ++4Sz
g2k+WpvaPSXOm6VtiEpZaJDAQTTrxV25b5Y4ZcjG3Dd/XMuJR4xpZqDNzOZHl89L2ptsPKSqTf6w
LMH3+vy4tr34kOP3xCFiFHLuVGsr3bXBunC/Es3dubrBa7Ax+nZhWq+xvW9J/2pi0pvai9AC6pnh
e+ljEjGFTOM5tsRXWq+DGk1//uZUR2YfshP1uRQZibo6cDN1FOVKKItjwJhVGn5Gak4qvrPJBGK0
5rlbr7LsGI5i2/pv5OBd0ESE+g09wTx17V3gPMrobpXGVTfnDvkX5WSeVNctjdwDXf/RCzyqniQt
O1033twyq5mFBM5ED7mQzXB0XMaheORQlRnIddF1R70ydw0BCrH7RGXV1mJQRwZ5ZLFZ4LDaZD28
8sDRUU3FvrObnd3LfpvX1c3U4rnDiVPRW6QjdGziT+anYLS2MUZWH9LSFGtzBAbwflLcgSCO2shk
SHy3CMl06wF0YkMtg9RHUAIO8hxSVoHL6AW1P4r6klcFNU/kJMl2XZoaxMJIs12ynAyqMRGpKIeu
Cv/7iYAb6t3nFK/VMfK2ka9v+uILXJLQNgzGHUtxx2Z/yZK1jFGZ6F/e8Gn08mZ5IwYRc1U/ZWB1
tLZpBzPCkdLNYmPkj4CHE7XZPEs6csibteEj8BcABvxwa3y0ecaTmb066j0IhkvJscAPh3rXcGm2
lIXmKCWgGVQJHWEXS6+nCgpKPwRMDjVooMy5tON3rcSiGELi3NTGSHCkkCrtDuoUl2c4jbq/NLgP
s4ePKVpWapH5LFK3YgSU45CtgbkNurdy9IlFT1veqBYRKU0F2SKleTAb1pK3Xr+K0J+xlNJLtxUK
haONelota+tL0VhcjYg0ey5F/Ue1G0083OkwQKDJG29i/gwEpJxAG99b8da49GopTHbJsYFRCkG9
q37uBd+d9k0JTUGdwVS8a9InqPkZenLt4b8H59UblvZIv4CVXlT1aZj5PA6cFaxOZa0H8PDGInFo
wPbkvdhRO6uw79TbCvmNzFZFEYFkfvbGe5XVp5RTNuQkGC8T/vRA+9R7+AXjHmu/Vv1Xo45Tydqb
rhn7VUanqhzAJ8ya6iWq24p2R15ZV/g7RB4L3ft1oi07Imw/IfnhsoAJbRD/WdW6ptLPCU5xstKr
lwrg2xl+EoQw9bvMvKVGIK9f/4aTT6R0QNw2hU9PThLIV1vJFDy8hIKf4GDuAMGIA2NipckkIwDB
Co9dRvcZFGzJXm64Ytu18jImFtCZPa+RNtvto4JocDVnJ/W9wRcVOi9uDPkO10tOEmKJfGOqdyGu
oXGKMX45zbevv2tgbeEUXPIc6ConRTl3+x1B5q+Frj6sXlxCBs4hCmnSRHg4YgFPCmxBwtsQ1ndz
/R6XuMesCIVXiBcZ48SDCfIzbd3TeNiH2kKQW9neannyrbeY2P+6Xsnu0iW73KC5pnqo6dWzXjLn
rcm+UTHY8dF4nrrN55ANp0j8pNTg5sXDJR2OFMyUSB7MNsSa7QZu6F4cimZNU41TGlj1X8lsmlV5
vB7xepflOZjwvRAS2J5KUlLo37hbkSIWEsVBI9E5bBEtzDtvHnNB18uE34UykYmb1SanUivtTiK9
FPbPREqYk88Jd4X8yYkLIGNTd4FGuJmLpZPSNeebi+dMUSpE5T74bc+h/iv1t6655O6pa8+d9pMT
9lz/s4NxXtbnjsxlvfuc7GNRvvjTC13INoCwDQ8F/D5Pf1jy5q4/bsA1Waw4mTLKPjh66MXB1Z82
V9fbEV/jObwye7tOwNq7C54STMs6grwTg4KRHjJv7Rsria03zY+l2A3utTNRZU2CdWbVil+vfK30
nfmMEQ/nsqzf6PzJtHZlmlfwDxcyT1V7WacUIAFkhr9adRT0Lqt4p0LtVtb7oqVsyzEJzKFLkFaB
5y7NVaWcjMZFCNP2SxG+PiQNfSq0e1sHp0TBE5xra5h3IlzEVbAYwCZUSk6PvQ+TfC1zNIraUllP
UUYzMxiYVaCviZWnB5X+MjMltpIkDff+VAsZa0Vc64gjIWeQzSJMavpiBEjLSTHzOkXcbMICcfHT
4+D+KkWKgUensMyXeWuyIdaMCL+BOawGZEpduUWRy3R7qwDR2xiY3iBtBa2+ZHTD9Wpbb7YHUuWu
TP+Ewp9jIKnghq11iSin9+N1o7MxvydBtE0Jxa/DvQd3IcsdaCylzWc5jAsuHfYQRtBqVzO06rGc
d6TQc6wzqN+JPuU+QyxZnkRyqhjROlduzAi/irO2iBcJU2KXey7L5qQAW10aarRdZL6H2YqkwIQP
r/XPwFGL1nyt2K6mT+bwGm2k/8oJm7JkusNvG6+6INrE0a5pbSDFm+dtUegg+yS4icSr6eGJZj4g
c9aKJS6PVe4fTXj2qGOeNgVM9zCLqg25J1SCUtan8o1dDmBHN81lxQypqKvmSfnRZjjMw/Ds1uaH
KI6Tni8bTJQtLTBOQpWeuWzqT63ixO2dvdPxWTTkkE7o9Ag3kIAjUobho9StkUg76lruMQesYlNt
Yo3xImu/0nzYV2qSa6kXLfVAYpnb+rIBanUQH7pASpllbXW//61CBB5jShlG3F+zEq3hRMzF9Iyk
o5qJ5gi7ePSSpHXZ90TbgQYv08AhLjdQr074rJYI4m1VjyQX2TVOzCmpfnCa2/NgmMjmp8i7iP9S
2zgNriyuSN+0zST9Q+hlL24OipKHCksIz7spV7qbyadk72WS2nGUNDBnxUsvDGubTNR6uxjQjWyT
8A7ERb5QU/DWj8EB8NVXnG8JYiuXYDMoLi32iS5LOaKe6SMFGsoh32koFeHL4Aj79dB7iyaUO9n4
Mz3fZxm9O5URrjxJhHgTB/+8Wq1VkBPk0RxrsgBqVZ0SkmvAoraK9yQp7HeHWgsn491R+SUwGM2C
+girvByd6BTSuBBXRJRHA2W34fQs+7LGRet49xxzcmPyU0f8gtQq+Ediya4h0EiW02cj+hej0whY
QWk2+d8TGX8N7LLPW4hnax6Ui5jrz+nWueSaPjfi4eQIO8s57drbkDLrhElYpJTqdhYk4LaJV+Ow
G/tskU/Ruo8pVS7sLz3NUTQRw+DubbNm2WRsoW8PLoQpjzSgwKZliligTWrLhU8oNThfZq4yHZ8P
APgEaT8j+PGZ+FKq+wQo3g9QZmRIFyEGhuaPmxGeRhsuhYn1gZgXFG6W/4kavkOcx601kgBBv0ZZ
Xmo8N8V6gMlN9+wCWpPNYmNpdvm84kQudsZ0iBRFtAt9PCFLcfwvR87j6E9Vu7x/SxrO05Nyjh3j
Wnzspy2SzUrcS5DOcR1QOx6rap2BMKGyqNtz1nyEVKhRh13A3pIgS9pHxnz+Ijm+ope225jhW4e+
MT+74VH/zZGrjVcyRtEV9u4m8Q9K7WN0NB4nPvEl/oLzRTlXP0A/5H/544yRJ4JgQZA6jQfkIRB8
k7sDXAjJNsmuCeNrtVdiO3Yvev9dVaconTMPshQGVDosEnT/rqjQA/6WBnJj8dJZVx5Z2FPTvHvt
smUUEryZDa03xqL85D+VYt02z1FUpJ9D/yqtnR4jO14LNmC3qhG88VAz6N/rYGsCpbVkNq7Qs2qk
n7RfVv7Txqep4BOw6DTLKV3YMQ0Ef71zN4LXqVtPLgMq531LnE+xdRE/BcGfaW9IVZAWXbbIf1ii
VrnnLBuuh+ihzFOZ/6sVINpDEv/X6TTU2mhrtpK0VbS56S/2j8y+jdcwC+nNQjPaXzQUixmg55cl
18KP53xJnT7NHJSeBKWzif75yYhUGW0AEbokUidI7CzrxWa1NSoTztNgelyaFlf1Mu2RuSCfG+U8
QVCd89JkR2LjDHUI04V6Q5MVDAgMvopuRXjezG02ICdmcSJRedK2TsbHsl8N3MCzVEDnEcfRGvMx
WiHlZScV8HSoP+QvK1Svl3Q9bzJtFXdLvXqfmCDp6wQ36FnMigVsgy4+PaKLm1NfmIsu/0ytp375
6kcbQz9WxK+Xv3GicWBtlP/Lt2WmVy1dlNmW6Lqg+rTUqdVPuiJbhb8qXary4pXHRKPfy/0EpfGb
DwwZBXIxDbz6WHOhQh3g6os5CiRZ5nKPAKGbfJR5B/T/ADMa0d6keBR7aBn0ujQLzKvgGDKA/4PN
oJH+bLVy6ccE/+kBuPO9iuFPmSv8aWvnuzblyDQ/wSEwRUzeBjXJ9Lyly6tDEYMJe7Cp3LMGHGyF
hMVRbRa8KvdhgRvUzm7AzkA7if6CL9Ov0evQ+MFW0h/M/CPi6Bv9nQ//3O8n/XNy7lNzThFzAMqJ
TZOvMxSamBJmTUbu1C2z0GowzfHvYCSpeRQpQEy9eMZWIgtpN4EC7TNWmbtx7BWsrJ4dDLFjyvHC
Q44ur0gPIciMP5PGIh7WMvwroUhLhPAoUgP3hxJWiC36Nx7FmK/rqJ7TwVI+V0TiBpqPonykqOqm
8GB031pP1cJIaUjEIf3ISSUktw4X3fOooeV6/JtIv5dHku176zdlTRnKbaH7BOks6bnFXhMmBIYg
6TCrqz7e4pFHm0xZjJ5g1P947Qey3Opfm8E8ru8DItEmI3k6ptjzLJNHAgMMPKCyTxpFoSbJttfs
pXPQJYDdW+GXmBewJYHrkGRlIdIz6bZFoP00yVTl2h0wGmyoBUTXYdBAgKgfsKhOPsru7H0W/TFt
Xtrw7AmXXNR9QkfdxCvAflDfiDylacihlC4/onIr+uVTL0jvBcnqsJ3qiOtrIcjswvHU9H8tT011
7Fg+BV5DX3nkt/yMSuO2oThNI2yaKE273ZgNk8lRYd3JsmWsPu3MofNy5uAs0UfOKd5LroT3IN1B
uTjdIbd5L921Y1/YhW1MrNPaR0HSo1CjNcLhJ2IcY2MzAKSySVOrFzMfjeXGIWEuQ+rckwQ8foeo
i1RYzERLrM1Ad1o10BDWzfnC0CEWF+X3iyp3rrXfv08AZGVKMo6P8xY5UUfQV9BBhUpH8Ic9NM3W
0g/ts9tQsBg61sbPqh3dSut+aJfRQBtVLXdjAAaGxeYHK84+c8pjQLaZ0+5xr/TlbwqljIZhh+UV
8Qqaojv+to0C/bdh5AueOavaZK62FQF14C3JISpvV3EU3hUCKtpCZiEXuUH509DWmxxTsJ4ReKSY
V2HLy4RKMuJ9utaYwY6/mZbzL6RyIR0PMZmlSGoCNF5tatyyNF5OduRC4YLmpv2iIUIbmQzTx84E
2C8dAIjIXTWOhBl59/xwkXD+CU5v3xVHz+t38I8rKY21FO3LmD5C/QPd1zkFaXlW0/ZpychCs0Gs
H11AayPbWn2PLgHsvXjRQ2rdfaixcF6G/ZxZFrn8hx6uI8I/qCfozQF+4RS540Ja/jJS0CcuBsD5
ZP1jDRQq3yecnznvuUuWUaR/6vnvpFMJB7g4IscdtHufkO3eTmj+JkJ0n3JDlKGpWOsafhc3/Y5z
sbbLfaT/TAyPNA9w31BykYQXooZnnu6guvSQsu56onfBDrem969Ly9caNGac3C2Dz9Js9IXVP0xC
YydgM8pcB/B9XbDzJPncBmUilm5T2ih7dFilzEpuTtr/4GXdTDajtQ7sGFQZEcWI9KKqeXVrd5nG
zktp+y/+UL4rX+0Gh0zPVj+qaFp0XkKIFQ3zSFBs61Ch7wmwQIh+7ZDshFN5NRK+OlTOqsJYqlfy
pCzxb4BDSskrbXp9XbCbasYLUXmrJKQ++JqULzn9AwallWiK6aFsFwJt0eR+xX47n5JPW7kHIfu5
wHeA13xdyREvw7TN2UaClm0p6JaheA6tOj3z09wPg/WAtEIIa5/1NYtPhqPXOAhSnRI6QzBEk+7k
LIvq6RMB+DNQDLP7YyBcw//RwkmWYcdmRtHyt0asj+3ka/7AWThvKnY2rYIxbPol8gyEoRRn9Ezf
/Z2nyyv/oTV0Qah9FhqjFqix9FPQvvjmj1GEiARYrYM43I4xL5BjzOCJGfCiOdpv4pW1ZGVb5BrT
bmIVw6zMWrIfU4ROuCdiw/yO0a5XFUaO2puNEoYLmNJjIZTaK57gp4Fo3etcoPqdnIBTgAgywDQl
q3jhGt1aUx+yG05JSh8czIIXrEafdJQQWUhXHjQXzR3fWNQj+bNe7Xo/OpuBk03aFfUm+Ih1eIqB
0L9G+ycD469HvBXBDWEIVqm+0XWYVICb0v+wq/AS59kGNz1qXYBXgzLZFvbH7U5EBc3BGxZBANuJ
KauL9DenoHYB7EiEX1r1UmRvXluviPHfpYa9sBRPeFkvTYcoM7ay2LYeUno3M4Db6jnNIu/LTdip
Cyb6yAZbJP+eI1igpI+7fNlX0VroyTrT4qNtQYmkLMmiit9K3d4911ECoC3zbk2gzFwRtglxFnZv
zvhIpmaRgOXaAExdgiT/IPt023bEETzzC6qw2ViI7r3YHWYORTEuv7JUlIuOYbVpjfVkvvoJ/891
nLsoGfpBF/pQbMlO2SAYB9AAsi6wOYyVdekL60O3ARzQ4qyHpttkMScIPgcNiXtdfZqk6ZYcfh6T
AnA9k2q08WK6LaVzj6JiYcngGKfJyk/I0DZUOdd6utAJ8C6CY1bATvSIilB6EJRBRlU/wl8IWleM
5cjflWc6yDcsneuCN1Dq1o0rO2/AEOLHJDxEa97NcL2Nq3FWewG52x21JQPw3tDiRDfmsiivvfNs
ViPJH8g7DsnwiuOHnelUjoevJMZQCZpsAyO6TD47/VRF7xEVh8ppDxk0hQ8JFlX5sS7dg8ExoxJm
C7IcE36rY0zAup5uexAiN5yOhtWQIogLJfDXppvwisRrMzbObRGu6fKb28rcphGlMISXdyUMZ8zs
oJJH5vMq5T8hOUF97PPN1sdE1qfQo5li8u+63801ghT7iKGgfQT4k1AAEgcNzedHqxKKbsi9mWPb
M48WMLyRRT4ex7TeuW78msjkULt4aVW/Bj+DhMqWfgsvqWFjEdMh5+bM203dcCkmL9ZYUYSQL1r8
7864nqBzx5rXq2+WPu6tsB/XXkf9XhdfHBmu7aY5OJjZBvmIyFNt6C0CEtrqJioLerg66A8JL+Om
44k/fmhscSf26dSS2lYEDqe+TrrysFSkXdVSAGZSAyxPdZvOYjdcydLYJZNia7RRg9o9HEKTpFtb
eN9a1Bx7NOpQU83dNtr1VGkvNq0C895RH6aj0U8mJQigTdebmfFP4F2IEUriSdXY/ZRNRWaoTaUC
HtS/VnRiNWUtALyN3sH3SyQ8qJs9aSf/rKIrd4CGxi6QjnbTxWhclfe80BzAfqSNR88CHCsQnpre
0dK0aal1sJpaMn5JC9kMC3pp/Sj9aUnVnbdMZOdEr1EMBxGTqQahSEY1cm+slZlWBfNSWtqibesH
sUWndgw64D+Gi6D8CYoRqWsXoGaa9D8v1PQ51hbcaCNEljaABmix8HYN5FBWdATfd2Cx7oQAxtQY
wJu082Gxwm9nqH6U726sVLtkTEp13O7GOnBnkfLf01ScgO7mMXHivpc8osxYxxDiytXufgiqG3qG
WDZ9+jKW1NBrOCY9lR16a+2Fb01TLkP5a1Vw+Wqh45u3omjRaTWdsAHPHfkQSAOcijFiTI+9N2FM
iD+fj+844Ekv3Kc5ge7EaDakSGlksMzTf91gLvKBgpnxbpbVxRDtVVVfsXcXxsBWgdYB76LnJreJ
jy87/AD+jgrdMQVqcf8Mc6Mjhg3ije180rRNDm57N1HzGs5dGSND7DIe/pKJAxjjblOuzbTjXR3i
im5s5sBpIjOGWfQiknpTlv0y74qSOW/8Q+wO9PLV+8ktN462vct1JJ1MbAWazYlu5amDGM7SpRG4
pI/cggBHcLKMsK2MvocB772liqGuX4v6GnbLsfrQYht/B5rtbJ+ZDb6QYlbq82TcCXQIIWfRym1A
sDzq4ovfIP/KkrvOyyCirZY+OcTqpTPiMxTR0RzCg9Wo92HYZyygTpOtbUOuEr5/zTnTrDBHHc2Z
8RETVDyoeu3pgO6yv9sMAG1CWTdKHAccI9YTeghcnKzXcki/TI6PDFvPIGD4GcFw318pDmI7RUNL
ENqIR2wabi6zFMpmjHmwkhB3a+V+oEV9Nh7Pg/HTi1aj+Rq5X361d8x0LmptpoMKhdnbRCr+RNfW
xITF1huSKRk33puW1Wv6oA4j6GXrgXTENv+do61zsZ7WJNxOt6in/ESZm0FCq4ThvcXi73Fe55m2
dwIQaLwuZRQRkioPE4XbCV6YukMlxQk2Tto5Z1EwsGl3VIyCbZu3TPsI7ffuaQS6JpMJ6gviQRlj
jkfa4+vAuf88sI2hZNbl11V9jb38qBFAEHEOIfwQRfwAtN5HCgq/1OXa18TIa+DeBqdfNvioSCH6
asTwNwQNhjBry7JE54i8hIisV/lYA4+V4fvYud+Cu37W0jLRs6V5mc6NKC2xLJ8kuJNO77HJr/XU
tCbhHqTRPvUShtKPHZFbfarOI3qJutZ2wfSfsvParVzJzvATEWCxyCJ5q52jpK3cN0S3pGbOmU/v
j8eGfaRuSxhgPB5MEDdjrfojVJ2GObZj6nN0hPc47XAPU0fKliI9TnF6anLzTgN8GNw5hSZd9115
arL8nHb1MaLfl1oOJPIvmotcOIayu+n194Svc9e9xxjW0+mRWDxu08mKrdvG8pe1oXH5ATyvAjNk
6xSfaov0wDoAO3o1UBH1PQOdChI45iq9l2CMmYN9vBt2Oh4h3r4lY9baZnjpGPBb8JwI2HLMh73N
VsT1DRZYJEA0xAJ7qvDGtoZrcubuMinhKcFwHZVdKRIWWjpYSmEdqxy4nCFpBFbgsTWrdo8Iae93
LiqqbF02yBF4R8M+OkhTfyY86dmHt+4wWhhBQaSEfSDhY9PjArADEl4if+MlAdmxvOnIuPIo4K3Z
9mxl8lTf+Km+0wEScgOgr4j728b0wW+1e2zMz4MCvDQm+C2UsxQ/WdNzbkdPuVveehWnVKr2sbRZ
RWATAlg35x4J7bkI562IbL21Z5XRpmZPOm8pzzTr4Uh349dhSp9bz2A4m+4HSoLqSfXLtqZlYoxb
eRImxqY+rS6qoS1dk+feJk6/JYpoVcf9C26GWXmzdrLs3c8INe8msEWNMTfxkJ0FPawC2UTXgvSu
jShBkeRQ/IpbRvuuYrMuJqLb3eEp7c3LMBcrG5XcaFW1adN4JTVjOBdDeuM1+F4D6T62Qndv7Ew9
mHH6GkfAH2nc17DHUPqSHL6F6B9yEG6+cGLA/wLO3v6K4oHCO7xiDe3QaCQxGNPsYGLRQ44f2VTX
QMe70wOS1iMRq8g5APBNnvjxkHMyqLjTqruYVKb7kGUgq7pFqgk8Rt1scX8TsjLxcdMSUIV84bb5
S91kZ58ocYDUZoz2g6td8VlMo2gEp/c2IQHfGuxIqanqikl+Gw4p4iZrU5mAg05M9wcypEZQOYvU
m03dlQsJ5xr+rihiCt/CjSjcQ13plwxMrAj6Z8/N1rX7M+7II/Ma3K75rsqg1sGgpDHwJxhb+NfV
QP5U7/2eqvE1pE92Sk8Z1pKO3ZgsfxfD9chzh9MwM3CDDasJgtPCH4pGnXryNtx29Rv6ZFpeH/w0
XvZ2Rau8CVeCuFfrr0WK4T/wtKNjusepvk/IyygRBlclJSyR9xjX4TYMzEWPjcLmKWmyOSPDYT+j
HwLsvRniAoJocFoFi4QUgjDMAQT8A31lAva8L4DX20XN7ZjzwhRsEbrDeBjZYfP97qB1zQJz8UME
5pPmhCIjAch0IpwRMc3JVLW8T3OgSvGe68kS9nxjpq+l1W5yr/lRuc+kK6zb5pRA/wwzH+M9TmT1
xwCXKYSPwb9ugD4teVtE/j5FLRhWA/7p4Dq223UHxO36aLIyFH+WvqtztJ0hI0dAZn74miLhQCm/
bIIKqQt3u9BP4Pll5207nEA5RlFD0vtKA4XmsnIULqmf6xDBT8RDJoR108M7Cdq7Eq58MXi7LNX3
4AQXogavK5KCLAxbcTEi9bN2rPNxofzZBwt/ioDFh5VK+2sYTlSS/LKgubb0kwFxM3nuuwtMmkne
TF7WiMSdpoluIpzMcf7cs/AOBp1PKWXuUNzSOIzhgBXXgPYGEbaa1Zjek4eu1USNDM0VqawLHX2S
09rUUTtLZ/S2Ftge1EDij4cBgCgCFRhGezE6dNo64GwJmXkAFC4TPgPxsWudg938FsN7wPYl71lL
s/WExD7N52x8nzUbKiLrFo0W0XkGnZzWQOZ0sjXWkxEy45k2BmO2JElMTLZ7qUIIEN/GmlzC3jjT
oGM31HZDVe764a0OfniEluVmd1fz9OlNfecTTV3y31fGOSeo1aNxrKq7p2D+c7j6Imwldmoto4kt
hy+uB1e/9jOEn22xiD2Cxtxm1blQDxb9ap7YCoLGHKQjPtXdErOyrRGv7wI2avHWw5+gwOZd0a+6
FnASwlMzxHpE9GB6/V3luOQ3kEtbPtn+zwCFpNY+xrjaG30xxTDQKKkqLqYx776wp8UJuUw8qg5p
fHXPnSIMg1Iwij27q4rLkjDpa3LCiEDt96hxeRnNg0ttEO1eAz4E46Ih/qEu1x6JVIb+PqBIEJpY
CZtGOcTHCZCEgf5i6g2+AFCOkB9TeLFhN8rq7GoE6JbjJpn6fY8xR8G7ZKqCqThicfzlV/XRpyym
NOUqtJJd6QTPuPb8hYEseHJcdi0hnF4PRm+xh1hJ7zFhorX0YtsQm+VPCN1qsZDIdgLAjYG8hinW
wMMw8vjOb83U3xstPSvLuCfe9az34SVxvAcNc6IEn7IN3PameNDC7CUR7bKp6JsYzZ2uvRY4a/Hu
sP2AcKxM+mTQiJBURcpUuOyLFql4NFKKBhDhgwBHkXU7kcCCs50EmZqBBZMCKT91v/LN4aJA7ANY
+LSLd70+y87VKRnnpDS3vA8l18bC3wsR6cWglWGzj0f9ZM1u2IdZNykRDjpPaUvZVEcCNnItzV5R
EuDh+e6L361zV/X3kLlI5Wr8QuiWic8JxRGI0J9lEMCqBV0a+bY3bmZBbY2EMWrxB7+4OeVRKQM9
xuTwWndd8PngirA4hioWY/YSiSCyPXzkf9V0v0xSrZ1w4QLfdeJFOBpCILaYaOKCdo2NAR3kUXPp
EYx+EGmxLA1kxnm8jtLw1JMcMESPeUejp2KWdhzC9kCCECCbPKLuwk8eAufWpmsW6SjGmlWJkMoF
+B0GiDVUOSrrt6iFC8DO0GEFOeiEJPB5YZDQS2ulTDhS9ZQkP2t1NrmDyKT85uLxEpYkZzCWjK9B
T2UySk1ff8BIe5nK1wxZukUetNIw58abkRYBcts5u2mj8ZY45KJeQod3s1BXuhOsiiq8MdKfYCky
oaSSiTpPDhq7s1FJtKIjEry9gX9Vfw/T3x4XR845EDHPJwjTJOGP7fTQ96R041owxb3leVddcGnU
NvDes+4FV8vErl6YZz402fQYwQyRF5++CBvggvbi5l5Vj2W58sKL1V/wYnT1JZquGmIVkuoB75Vr
smQjhGCl69iQpr/LfAOtHTpbO0OiAww1d+MW92nwGHUIW0FskHiY1s+JFOpx29pHIKaCNGHisOaY
JDGddIMyneqB4DyfGhtE2B2l58zcGh8dnZUM20CBPq+qr7Ft0j5l8Odw4/v3KrnT/IvhnUMCVupf
Fub49MHio9Upf2m3D9JeSu7PCESEhXqRsm+IzY2AW/OZQyRp4qhGXXWf4hw1UbRCOi0H7QYTzDZm
LBJjtKn4a2ODuOKFz+U2jZ/9CsqQcISie2KcUxGuBcb49qyKhYQZqdtLPPwwx1dv3HUSTfd2DB/c
AKlxQ0Efo914mV1YgbaLvFOCwb8/xXwDh206YWO/8vwdiVOTy373EocH2f8kOEOOF+k+5byQxdHh
45tql4SkTf3aAX6jADoKdzo6DR+Wk8yrZNlPoAkURdbFj7B1jwr9X4QAToJwONpGR6iN3x+2iMA7
DPvk9KvbMkeqylI2wcTXs+KKkjpklXRdtuOutDYDWTMJZPrI8JufdfqXYORBZrTosaF7Ieqw2U01
QNbF9t/xPVUonmPecDRqfLZ0ds2YXHmK9tr8CUce2dyJ7kInNKKogFC1vl0R6rODxCE4p18G8ZPX
rhDR2NOrSemTeZhQexkFgIukN3HtRfpab8F8gHUatGeI5Yl6GlGx2iTcksfO9trpzd04bi3j0RLH
sbij3dfEIxilbAfWY/qOAt8NH9P+pqjOvuMQILKXI6MuIz75jNOldX4McjPZDCnGjv7sTFJvOOxz
FHDus03lUeWQn9ZdJBBJ+9Z2v5GArSUosYPELsVFyq1CMDmrH2jnNqI7WdPYWdYPXWWuVGAfB5AW
2cv9rCHhecjT6blS1nVG/AVU9FMlqV6KjR9kuuJwiA+jMye6NDdDSJCRx+tzISEQ7enSMPC5E2SG
uh8GGB/YQtM03vpjKf3lGPIZfx4DrDAtI+DtBDroo5armtsEAG5ihk157fL4MGXznHIr3R5b6c0Q
32sMzmGMxJcNfpBGvKI0UT6YgH5dQBisWPl9T3LZUYMmyiiLK351AmdRdJfjbYyrl6D7WWu7sLVX
VgkbaM0RNNdT96w5eCIEURPFyWAWI2UVkfOw0u16WefHLn/LUPy4E8UCwZOblGztn7rpajSKc57x
PFr4sZ0bnEA21LQek/FwzFicg2k7UNSQcL9G9ZhmuyHAGJ3uouG+kc+q1W6jBMsPcofW/JFNrO68
bjH1qSFjqRaTKUU74CIz31X/Ij1zCUBGnhVdB/KY0b/nc3ExcIVdfTIUsWjaqR3gfrayUlCQxMne
hL5AzgUg7FwHKFpjl8q0/Nk3WE5Cg20A2ysNA5oOAmE1dyXdZiasr+Fc5w1aiXCkoARYOWFBf+2o
hMpAB4JiY4XDovZeHOcHvUxhfCfJfc6BnXXrUiL9zbgTIGZLP0beAtKhHTBqs9Fkf4aEyXYfJP18
udy3EI7pvANnrDG95sosUwwX7TN05bL2cWdwLfPcXYzmrUT9kuIlMvJxb8ToFXEp2Ml7lRa7oPSO
yVDvY+Osab91ea5hGGn4IWR4DbJhez7/jotxaZ8hRe3nbGaofH3sEBnytR+x7z+V7torKJq2bwZa
r4Jm7dDBIZE3RWv4PyT9D7773NfEbxZ8wzlTOmqoxu6A2dx1MEfjZQhmjeYlkvZChHwN+54+2AGI
lKGF3IWaL2mFMjpR6VKF14XTHjqmd4KrNlPE7GK2h7HIIdNI6WDGGmh7FsUdMVcHv9lIh7teoSV3
8YRjycKY51JSogK5IxbqMBDmpwXNCnqFb+2s60Y+gX901TTxzYRydgx/CjqcASpt01kEeJ1c7dbH
b2kZ5WkAPyra24KoPsBFqVmL3FIrsjKzmL+CoK0I3VWMpUuD2i2RIvfTAaJg2TrVZh57UsDNiU+2
iRVAwJOo2Uvjri3rN0MfKVLUmifJnRcQY09qTkQzYsk33AiOQZuspdD2jlQr04mX5hw6VQqaO9ot
JlgovYmsbiRiMZL51ljXlXYiJmpVojMIWpoxNaRDCDfN4FqIEFEvyqZWP+rNcwZSoEcPodhpCQxt
wmcGMKW2fvV48cy6XGnxKbe5YBJ/NMlW0N9iokkAH2fPX+rtaJOX+aGldKkfjbey7K+J4EZYyKgc
Drfp6JAeg0fNK7k9ibayZbGoyTn0++uER8v0tR2T0T4k14TP1dYTzt70jiTwbkd/h7sWUoDeRXIl
TW28NYi0bTJ3UXHjypRdmu7H+cpT9kZ5zHPuLyMe3qcIHAuJTpJD8IXSJt5pQjAUZp52EfEApyKV
gdbX8xjl/CLc9Rm8gy9d+o7aEBN7MYJmxn71krDzO1S54507mx4rQmKjHRYJ75EMuO6Xnpc2Sam6
HcAB8BYXOo31JhGI1+kU0suHC7jHFlMNGWpHBgcRi3Vh5k+VKBmHyXK5QYfEgOV3VFc30QO1AxMR
og0Uf0g6qj179bG3nkk+enNsKoDZXey6mDdA62pykIKZ2I+ikL+saWm8CDVXnfGXIaCzQhMuWMPo
xcDNsJFWo4UmF1lPMyFNj8KqR8XcefdOpqebpp1juLIo4uvRV/nJFjKEgQu8RSuHBMW/F+7HpmyY
oIn6UTqrq4vVYS3TMLr2hYGOrdUc0uRyOr/ArtFEhaXmzY51dxnYvrkxMSu+aK2ZoVQZLKCZISov
oeas8zI5F6IkV5xcErysZXFD8vlB6MHWDRAd+QrnRvzbjvjcrWunUYxos0Qh0X25YJoYzk5RdLAD
WVJvJc0fICEmVuzCH32CcthIEC46ERVsSc9C0S/p4oo1imPdph4pbowa6svgpeyItasHWOINahHf
pmLm4Armgagu9TODFTYLG/Gf1mQT4pk82FdlQhGMGkluwGWcEbXMBcsix18SklTclZnkRlkViuLM
s245bQIAY0KmMJG5MwHbmf2NNwzzSpmjucTzQffb2OXQmlE7qVfgVpu2R8cEYO6IpTaBEOIWfquD
KWT1H8J9pOlEzeZ+7t9HFsgszwYs5H8nqBWSrWjpFE94XIJl4at2m7N921Shq59900YiOprpJdAa
B56jLlzWhc46yUDTiJDswGKTMWKdbL2GhNbGrRsybxw/6JDVBvbTEOd4WOpCpmtp1d6dFujmqiSz
CqFJ7hL65+q13axH3dW6le+mAKY5nTZHMzBwOnVZvKmoerqJgYP3X9c7fCo9cSlHlY6jDN3QoXz5
54/dDt0wFflYRsYqVhjAs8c6n5ZfH+FjcZf1xxHmX/CvHpLc70v8VhnFFY0AJ81T8hYraazynCze
//RQtikdZdGErKTJPz4eSremlFCWOfbE/TWrmy0WEZx+3xR+/HnJoBUo5jWA40xHyE91GOTW1m4x
kYs2xNWx8ctjpuXf3BUx/41/FcVw0TiG0m26W3hkWfI/nondjL3TosvA55n1a7Or61WrhHMIQJK2
7WjVm8jqfneRLnZpYaEURqDFJysewJTqfvrmjP/2cxzBydpz9Zuri08/Z0xKPRgqKhDQp1TrLjRw
axPWtQWZUceReOGlbw8maRJ1+xQmFJLz/Bf7PneDn0YUwhN+fZ+Nv9wCh59j2YaylG6oTwWSmZ8a
VZt29jLCt4qBZoCRoQ2lOo6919+LELdXnij3FGd2dGqNeQaNif3kEmrLzDH6hZna6KewGa/rWOCD
HBV1HSNyzmb0omtz1BGgG008MmaPFoKXsUBnaXXYUwve+28e27+cDSdi0O8i0Ajyj483m0AOvdJ1
y16WkilCM/oCQ2TefnOUT6048yNlK+Hac1WSpMrl0z2UjVMbE8Zj9OMR+u3w3M0epwLV1tQ6yXd3
6FNdzT9Hs3XDsAyHiiaGv4/nZE5kPARmItC5lwygXWPtjRkvTiNQ5mIsj0S283L2wWUQ4MutsiFI
nBcMqTl1mP29myQHqGjMB16vWL1ROWsuBI8r6x9hGL969UBaWspuAZuudxs46BwCl0yRK91AEqel
+nskkvby9YMn9L+el8EJ6UpXSrmfrqIZZHkfasImrjYnj8+F7Evfxto4TIT5LK1iRsO0t8jQD3Zm
XQkXSxqbK3iZKyJTSLX84RMjFsI52cSSWlhJzAENWnfR8Nd5ebAOu/umfcqlt+5JPg873N4+EHbz
GrkH5SLPIo9j7o8Kjt5wjIFASyYJ215V5cExT4qeW9X9qEbWGb08aBU0qYkgEyGkQp9SPHrDNjfA
kIt617EPt2CuutaFiieNZ9jDfj74cNBZ6JiH0LPyjT3GxUp30vexF6/xzBMNTnvfWcGrn5ezKmaZ
5y9B5WOCY5VV4DsZmyssR5HTXsdAqAKjV9UnjNlkVdgw1YmoTrLAMUUs9nGiy8EO2k2E3TqhFCOJ
53iOYenUFJHOe/E4Um8UioFcAgQP/VOL67ePBhICgmyb+flJDcxTgYNeEV1s2Bi3pZ68s3mgqlP7
plDrr1/Bf391jI/PtMyNpIrDuTaijx1C5rKe+EkGJwydq9Apb5mlCJPoLzHpLVI6JBGZJq6LDM7z
m8fwL1+MD9+/+T//15o6muE49oogMqCTYDFXqZaLOe8d5doaZAHbztq7fFfgylzAn/20KtEGSB8U
r7VlMP98PCxcrtM6pOzy/ADPpsRwkQ5LZQfhXbzP2akBVwhRHDuhRupt8ZzX9Wvv2XeejB6qONNW
geZd52wEr3ILkLoHLCoK75akvVmHqYMOSNTvmtqIzLwPaF9IdCdZtXUKjJNvpqTftLKDHUiMi9HD
D+sTyef6xcVQxgM0lvcMbihj5/CQk4D9LqvlhFufAAWeTUEEQLMgbvsqdQ4FgakE3C5ssySDaB9I
ufEsaGnMNIVoLlH5Lu3rBCAoirYFPZWZCxif3FT2Go9JBPZmNbeTeqJDBMwK5nRUzzkAte3viL85
ek7FWxxuR4pjG6GdMDSTUUkiNPveLEXf0QULF+WFCyOTRaQ4zXpuRVbA2C65+DcqA9mbfGylTP+d
pfZxOy30waMViSB+2ZxDt+YF7E8GcWw6yGEyhU+aPz4bmb/14n6d11B6abCN8+YS0sI++jOnQK8m
f4jfLjBgttRc4gtcs+/Rr3pX/Oob61gnwbHt4ju3wTShm+YFjcxqGoiSJlUPjMbqiaE3/TttjB/V
dNCibePG2sLLpt9Bo/2IrTfR74L0yQWYrdPxOMc5Tc2xaUekOJwPQc2S3W2FLjA0qq3SoxsrLn+4
Epje9fAzAsF49bHydvnwyO7b4lrKB4yW5yyK2eOHOM1H7dHwVpH2GKXWuTdsWCz1VHgEf+E4oO5t
aJ4nfEgzX2SRw9gV+LvKybpY4F5RYm2rqNsMZrQVfPdqr96GKVEwwzJVlD9oa99sHyviUtCuj/5A
lE1yH2IcrfG0EkztaucRyDYguapGWuQVChAOPgGrnZf8jDPnKgR0m7y91t4G1WmyfxvJvSeCjQka
o/qUBUJtFR51HxrMBylGnrYzQ/Pch+VzJttFyQCg1Nl2oZQnGm2uJv+3Bf/e6Pxo7cFqh2VFMAch
r7MJFFGSJGCCGNuJIQjKwoaeSkYP47O/yyvyAmoNV+OT0E06zt+i9JlrRpBJvxbiR4YG3wCoZF94
scrsth3FKaEZIZghFlTuPukErbq3EL9TWQJpepVDWremsfHdS4opiWhAWCb9EAlrNcxWFdIuXOEd
rRirPjvsQaiFHyAftNRNPSP12qkDkG7tF029hW24Jutm1atV3btXxMgsRasvA0MuppYUKp8NYJLU
7/n0kkJot/59NZ5qvjUIa64qNoszZthb1guDHLj22bLgKTNGC/g2zwSNR8XrKP9udmL3BOYl7nRW
sbOQsH69/TNlrxYkamEmcCMkEQ7D2yTiJ5+ddOhbfDwIPE7jsyTy3gn6lTfyIA1yRcvRFqv5xdPZ
fSLRWo0oY/CkWZsSdb/y0mfNGs8eDGBEKULXgsqP4XIYMUiUgKEMRPjhqJTQjOLdjOqtGRHtHnZk
HY70LSQuwqjaWRtme44C9Z5N3XHeCEfjyerqrdUE2FOKh0jgAkkhlXrk4QMUYo37bYzfCTTHW+6j
0idSuO99ntrC+tEXEYZNReEN9zYSRP+00FZ2e+dhJ0BDPdyPIeFpoFiWaT92BHoJVlRnSg8kGgfL
rMf5FytUDknpfjOR/nUV+9/lRHzuu6Xeospbm3ZIQ0ePDr0xNt/tCP9yCGo5DIEmRtoOG9yPK9ak
5RPKeFoTKwzaq3zC4dr6bXr39Xr8l9HaNdgaGY4jpUHQ3sejpJk32XnH9shroNK93iUuBYiNIZTx
lGDW7X9+OIfZkw5RKQXm74+HA2FyZOAwh5Avsxl1sVGun8PeGxvdAJP9+mAWf+zTmk/1qgEwZ7Pw
AwR/PBhJhoNeSrYNBC6jpAW5xg+Jsni4//o4f7uG/zrO58E6arq6tWpgAk2L0tu+TFocVMR8VdQk
LvI2b7+ZoeYW7C/Oy/20hcyNfqqyck5AQKaCQiugOcazH9w5D/ebx+ObS+h+KlOO7VRlkcapxRLd
LzMU+XSBYbCPL77bSn53qE+D4dAjcyIoTqHwDVDtFrzyDSk1haDC7Ov79d2RPj2EWIHI/Ky5fql/
G5ExPzxQ9PP1Ib57JD49ennStzgA2e2wz5OnaGwa+mfomemcPD2JCK756+P9A2P8/88EWWcfn3Wl
QU92wraXhVlXN1GWoTKWptUQpNcZZBT0pOKT/y9/x5peD3sn8cnecVVC1+XXv8TQ//xwOTrdpq7B
58Qw2XB+/CmwNJFJ1LBNnI9HwOdEfGm80wPrTtnOQYw2yY7WlibF1yYJyAEZH5V/6yZkppIDe2Vp
4sz+b0mhOfFUHVFe/ps0LGhPNEhZbt/0bUOAo3MpQhajEe2XaY5bx4XglpUNk13+qkl6jev8NBC3
4bcEXJo2IYzmqi7Co+sXq0ybdSwpI2HzGgak5PjtJsCxQrLnQsum65C0wA5do9SQGgpkDMy49wG5
BlXP/696eCWczz5jTlVfmnx86LvnpoWCSj31K6N8pK/K3aTCLdI2nmYDH/40hK8BBnyuBCFmAVhY
siWn8VGGETtknM/JDaqQjTHNWif7Jiua67Q5D+KdOOt97EQ7iupArPpdWwv0aOyLxRivbUXqTJQo
uFGTBKtzZwx3KGae6hr+cXI30TgiLSaQsiFK01bRSq/jN9oqg0XX8SIzV2zYcp7T0N7SWLAk4Z3Y
MWYXDOAe3EtdvXvkBycA5AZYdYd3mIDvCPWKgRXJ1sF7asxkKMyoV22ydVw+BqX9yyNzXdKbqII5
+AkZhbcthPbDFNEWj919UE44GkkWQcZGYPGxmutCf9mm/zJPt7p/yrVTQouG19CjFSsigZOVwmOP
F2ut4viO2CAnWrcUiaWKFFuuBFlFffCqOxuq/7b45450ql7REb3Q8qcpil+Za3fw+7lWHkACPIQY
Xq1vjSy81WBDCrtbkfjQcK/b+n0kJKQ3YRLh/yr7QYhhO9GhWrN2GMyEnf+cIviSGVBG8eA3dFni
O4lpJlUQawwlLiNia4+7gU0L4nwEVEbxTKHUgcTPjdtQIZ3CkGnPX79zPHR/LAkf37lP3xsAiDye
xFw41xNwKLJjnkc1vGW/6Tv2pTmm5qqGS5LGXZgZe7xByD5HKgKvocWy8ZHYOxE/F4V+TtGuqwxi
ciSi3tWC5wYnA3rWVVb3xOaVpA3rK7uefpugl2Hxc0juWnaZAZGiifhJSwy6Rnp+6GITEVqc9FUR
w1ti4ctdfxPK+0ynbgWtFhn2+QIJ1FYLuqWPL8Uk9wRb2T6skh174oU21ReVq1XJb6Mt9KALXBBm
/hroc8ltMD7GhfdTkrUZZEmHGssgGKIKrmU+vaETg4rX0axFZmNxTcixyCeHqg19RJMysplyDhjj
YnJifqdYycYp4m0JN42Jb9+2N8TZ70Wa73QUK30pNmZyG5EYTzjyCgRnNUEED12KHoHsS5ctTvDU
kkpqCZonKLkDBco6HHAdIp2sW1tQLDWBtl6ZX4NQL9I8PlZJugwLbVXkxsXzERZEybFjWiC6iDwN
yghzAjUNklyMKg7ouGDzndcLja8UJaLbKrZ5wdsVwCsSCiIciFt47KW4UZ73w69es+FB+u9zzWM1
+rdtLK+thsw2/guc2AswCHlRSUoTQ/vSImhNWrJGlY/3wNK+QR3n5+7/liVoDAuwUUhX6mC3QopP
S22jmV3vuJEgs27sb9gbSkRtCIJ9192ZXaX9irOy+9XWYBRNNemPX78Xf1mJDATHpk6Xus5K9An1
Mrqm60D82ZsVLzhA5ij8b1a7j+c3M0SOIXUJ+2Y788l+GlqC0vHR1TpEJkdtcU1DAC4da/as+qZO
U7KR3IpS0gEUDTU6zKL4z8kWh8kdntaW0sJg9WkUDDEt+lHRYhjcFrv4UC5wCOzUlXflHbSl983c
JP7ylTFcHUEmmaaCeOZP11PS306kmzBWrI7tCjvE9bSNpqW7wKsIjHDFgL1Gdf0devfnvOt8OOyn
i6yLuccgLdgJeeWEpB2YKkXoSH/OHAGQ/uLGx+uvnxzxJ14IRWZjqyP6zjIpkPo4xCijGEPKi8WK
VrOVe1UjcbiKV9PSpPzsyt+by+yxX+ZvzY+CksRv0Nq/PLYkHLtcX85buWq+Df+GSJ1YUgiQTLhc
7kdytXh/vz67v9zHfx/A/nQfVVf34Wixew2TpxA1jH/ywpevD/HP9vTDmy/oHNBn3s02paQK6ONJ
mAJ6K57YOZiD95zZZF3VUf02tu3Od4eVm1RrW/IMkY5bN+k6rQNaWEixpFCRbtITIyKB1iggYeqa
obijDfFxILnk6x/5aWrm8ySE6UC7CtuEroRi+vgjZcvXYfTZISJaqRngTDnQND0ae93WyzclfXdj
DdhTrcqxyIthH14nRfzw9a/4+Hj/8SM+b/THAM5PSEYisMR8wwFmK4vzRqB7T7Keh8nbWH59xI8P
2H8f0dX5ZCgSNvm/+eH/1wM2jIYhjBzDRabT2cMg1ohv9iMfX5//OYKwFcQgO2Pd+bRvTDUP/iCn
ej0JyTssHav7gSgABI1++asJfcu+mGiX6iarf/763P56T91/HfrT12JAnSU1MSG0aMm99FLs+tLo
tloPkO3rK/QhyxFREb0DMnj75tjzi/PpoQdtsBTbDa7vn2RzHOYQ+dxKTRfhu2mNYp9aWQSmanav
RNc5CFLT8tD2ANtVbyQH24AeL7Hy30/SV6evf84/H6nPP8dAOMLtNKmaNz59SFJf03rlxPR2TojH
VbjSCrxXJDP6uDVstbcMb0sdyw794HVSkVkK2YYq8Gasf4VBiRqwuR7Ket3Cq4mCVEZ2KtL2lhVh
MI0nNl6QY/U/k4C1jrO9F3hrlZJtEi6G2ieJHEWup45OMWA5jpZTMD3Vnbl2Q8TllnZwtXqliZF8
n7covM01iPfQYIc67lw6FnXpnkdi/VJw6Yk0MrIHVqEk+67TrqKsWgfyN2W8C69xDw2Vbey2F4El
1lBuUU6aTEmGl4xDCIYGrf66ComOj6hqL4+qQh0dpvu4ao82Ub9qMIlyEU+hQa6kRagjeF7T2ndf
34k/XnGeCl3xLYQjR6nyeRDpjThsBxz0y0raYmf0dbfULUJsy7DK961gk4pq+7s17ONX/p93kIyV
/737n1drx89b5dQ075JJBuHcFEe7oYUi1kE+vj69vxzJ1gErZ1SPldr49D1JbNRjsonwcbQpruYC
RHnHvIRNp8qcIfjm6/URW/nnvGx6S1hBdHJ47M9frzFVkePFpb1sfSvBaor1kBWFOEca77yy+eZL
9ue5ScuxFEoW00JxZM//+b++lV1eeYiMapaIIe6OkoTgdaHTpdB3+LO+vox/rpmclsUuzZKmVLRA
fjqW0djksUelvsLzRCfW8CqexRoF+oaklgW9N1v8uHQ5pRtqFbW98V+knddy48iWRb8IETAJ90qC
nnKUVJLqBSFTBe89vn4WqifiSiiGGH3v00xM93QKQDLNOXuvDS9+IZ++/xtmnWLerpAVVUc9wK7I
AjYvJInSbaBX2OMKSxJMNJqzjrwjgXlpHYZtduHlnhmNr8iskS0dFqGhzu4HamSAw885oROPs1d/
mIf6QHrQA0S4VXyVPF14tr++JVuRriKvovAsm4o8/Uw/fcumLvouivmWcCzaG0LCVVjDvX9TaCRP
y8VYbNqQhninKIg6M7Z8thLCMfW6p1RokzdLLLBxE00yf2Agl8qSf81rXRdopvjwtkBJo83eBZFV
FTUEjrkMfVKt/CSCDG6UhSGg0Hv9wmT7c7b5sjnMXsbsRzt03lgkGqdMxLXL6CT2waG0N2/acdyq
L/2wpELWORBW9lgfI9AMm+8/xl9PK2ht2LLNtUlM9fnZ+dBMoU9Z3jTXCXOSc0CnIF/+sHLJq/l+
qNlhfprT7ICok0wO9KbJ//r1u8fEJAJh11Vadp1KvisaXV5OtO7ywiXAuUQj6eIHhjIUqhvXa0IA
uBK6zZVeJdmzjB7WuypNTP5NMp748dB0K5G/E2Lx/R/69/zUbL68bBuqxo9iXm13x8QbLcTFNJ4t
/y5GYr1L5QlNA7Zp/f1QynQC+/r5NQ5+GCcVVm0Gnd0cy1HEyA3BYk+fXyFDU3aUg72iN7oi5Rku
SbA2Lyzc08nr65CCvWVa3lhSQWXODoVGWbaJ36CSH2vqPJJmxgBb+3B14cnUc8OISeGEMFTI8ycz
9KL2wgCFSbWCU72M79vtuMGitkGLfq/cfj/auWcC9TfNLWRwmjp7jblf9g2Cc0BeUmKeyOAw9nVy
8TY1TdCvb44ig8nSrFo6DzS/5ltBAFCx4Vw5DhZsWRXAtAKCet9KdrExakovHNAogmrAhC4tmn8/
IWNz4weDwabLhOFv+7Ro9rFltW3EspRbMcdoM3izSQBaagkZuF3mwrzPIbsC+LhOREeTW6cdXHgS
DFDsOhCnYSjGcehd2Dn+3isFf5ZNC1E1VXYpefbie13TA7MNuTV5lFebqhJrFALjSvVKDb413GoS
APqlltXaqVFVja6DFqypKv/yfbm8GsbYWJu6hP81iBJEDJ66H0e12URdTCwfVeLuvkrq8cKR/Gu9
iJWINX4SMyLAZdnT/trvRpvcvBY7I7LqvU7Cn2LjuAzJZrW3AAudAAO7OgwX1pW/ps9UhdMUhR2P
ZUXRZ+eKpG3Hggut6WRGJG0px1m3lRdXezlLw2NQjrBaPSXbZrmkXShQTZPjy8SdjTzb04ZuSgH1
e3pBRmf8GkulPmYiK2gODGjbyWEFVhZb/oV7vTg/LPOVEg5bzLzzq42W1ZmxjWu0xMOLy6yu8ORQ
qzOwlTVlugvi1jp6uQU1bgRpOKKmOeYitm6RotYO3j39ZybpyVOLIPdgFIHympt9i+ExLDnDA5GW
rSpZhfmYvGRKxVkNoAr+eiQBagshRO0oA8pT3iqXL60gi4wMzV6ZzMT+Nh3Kal8PNNj1Bh4nFnr1
IZYBNDRcnRIRkctjQEy1DMTHHeilWy4UpKtKuhtuCbvHZBQH/dbEur6eZH2/kDdBxQJLAt3t+8Xt
rz16dm2Z/cYkEtk8q6SG4+kY2CRiopOB3IyopJ4uS1TE/tVwhHpSpGWZ49dsIyGfL9xNhNZWNDlo
CFnH6R3QKVvUVQwbStKQcOWtFv7LXfCvIae95NPihoaD4LoutB3Fd8e3ZOry+b75Rh5KdR+KyFqQ
Vpgu1aoWm7CH+R0pCMa1tCDNuyKhF+pb8eP7lzD7rf7zF3EQNKkhUF+ebygKRAGSxYhtkaQJDGGr
j1Fn3XCbevcU773vjOtJQ/r9mLNzx/+PSQeJQ/ifQ8HXt+DGuWmUweA6HehhYsiRo4GFis0Lwyiz
n+V8nHlNUIUK1iLbcTntW/socbjccK3B12Rfm0uTSCSS9hb1EkXNxdr1paFnU7noytLXh9QCsp97
WIu5ra7DMCyfClLOrtTML095VV868czvN/88salPDCM6IKY6KzC2+YjsybboeSs6PbcixMQZlgOE
NC0I6HdFcBSkAo8wqShiPxgyIYe17/nPIJw9uB91plz4COdehEZFW9VUKkLK/IzZDKkcy24gkRSg
gxmU3mOZ5pbnHaOgOIyG+Pn91JqdHv68gM/DTf/80w9MUVIzFzLD5dj7f1gajHvSObIL2+r8NPvP
MFxYbR05CA6B2Xv27aErTD2wHfR2q+jEqc/JfunXxDYerKfm8O86EsiXWKk4E02bC6YSui9fn0r0
hRjaANsnjYPuKoUf+6h3cXfQkA8v2Wv6E7AZcfr+VZrWud+pNp1qLVuhrCpmq5U0WCFtXp8ov1Df
NS4c8lY7Gr0TST+YaBixF6F2pzZER0GSF9DTER1KWk6kHRGJ8ANiYKMwVuGQF8qWlW9XUQkdNbxu
xSJDhqv+kNWdm+PYHpZ2ufODaqtCbE9LXLRvskIRb3izSV2FlaSkyYbEG8JCAH9ibxzcRenZsNlx
3KlbtJtasvPwS2rHHrIO8ZV6ep3BT4cxUfE/23bX0qVPYZnXqbz2+C+RJQzl8k2qr0UVO3XL8azU
sL91C726wbaw1oI3F3bfH7YTtZ7JkE7rYRU08j4ednWPLgGQa0oyiy6vJ+hzPvQbF+/oBKQtWEwz
vVl2vljzXJD2+lvTB1b7VrpAO/vUaUscAc3tgK6fqBOwrXfWcNRaso1H7Lf8S/GEUwdREyJtyfKD
glm5b9Z57+9NJLEdOWddBfNiYoy6L3CTfRrolgY8kJQYd0epk4w5TT/hjVyK8R69dYkRIPFe8t5e
FcV9Yd5UxAsE3W8DOmwG7EZzf1pJjlQZrbkvHkNhnjKoSJ2hbRvN2vfpFUQvXxuvoY1zcHgLVaKW
KLKnmX2QwxBR8NILmRcNF9j4SkVb3d9JvbnNmx8WkEBPp08tb8HtJ421MhXoKOYOTl9ZERCT62Ql
oQn2IWaMkIkdzzhIOglM6At8zbFGZ0CqpSkfvj2RuL3bFPBu1jz6qbfIDbHQi4GkLdgTQERzNbjz
i59RCWTIvM6kgxJtG/+ngAxhZhqkp59Vje0XQ1ilmyc/PeUDhXs/xazg7vLqJs/LR77IJFGNV6l1
19n1wbLXJW/cYhOujVsX/gyReGg/7F/UURFDQLfxV0Sowu0mxE3mYbFYjpC3+tOUn5k/KeApRgFQ
uQZexUZfZ+SRQ6IiY+oUqtDfhhsbn0vVSyvLeKzJ1dRWhMGFAHDyYp8bIMy6vlh54JObrCdsTYp0
FADA8Xu+seEfGjId68rbGQHnwA62k1asYIH9RlRJ+uIpNjYCmmBfQnxS2AglAEbxi2ruhEoWO2mX
W+T3SyqNEM/oQfb8XsIbDojMt0Wi3RO5JHu/rWit+/VSawkHr072+DJiiVLossGtt2RncrmSv6Lp
H5r4IAB2R78GYucOpPMC3/4igNykeBmxx+6zXVWO4IYUIjog7tVr9KusBjhSsgaghDcOVYzSAul3
V+4QDAUE88oVIuGCOA2L7B1vY7O3yS5rylNb+6iI+cUoN3n6Ueuovb1tOaw8dyNDlfLDnrxBQDy3
dBcAnUSLdNJd21MeN5ia/KEv7pO4XfbqS5MQ+omDYFDcmxIGbwr/XGe26kB8wDl6iHv16HWUbwVh
O64GF7h5RmVPtlzVvcoDXLobpYWviXOCPEVg3FkOtKZ6MClwFOlzxnlHQW0vEfxCrqUBXsy96arT
lD+s9D1JLz45NciB2nXXQJINDFRS8kbN30orIrFLcSqgSDZGFi51j37yEkW3qk3ITmQSvlZvfRrl
eomIGZA0FD9S9uSEkA7t2DUUkLlEqy9m+g4lhbBEiPQIPxyPVOcChv0kFMcKXHZrAg48NZqSmXEf
vIq8gtZ3oOQNGSlYtjLgKv9RI4dOUpZ+AqN149XXAxCJzIRlJ78OypsCHMNurqLgmKZ7pb8bUxxV
KhNX2cdSvC2T4sUQGLFHsfP7/tkthnWkmI9BX17HykMPiRUQ3IpgAeAvBLsNuPgFNB0gFaoHC1ot
odT8rlReUltwdV7n0bU+2dkUJi5uGVe26DqgVmcVka813LpV+eBD8IRISQ0o7Q6qAXVm3BbG2pde
Bs9cmFm0HNp4FTYfQ4hcjsvAHqwiASG9dyhIoa+Jq7I2froh+XkhhEEk1i6RdsK7lsbHHFJOIE6k
crnYKapivEU/t/MbMDKDvE6zIwK9EurKYPhXsQokJSBBPPc2hvcS9vE2jBdVsyDdE1iiN1yT67zW
VW9f5OqKrPkRTpQhHnMyqf10Z+ELqQJQ8t3VSBiLF2/NjmgcZWnk182YcOMD/Qswv2iJfELKplpQ
4ML3hDyMwO4BfGACB6Mahx+yfyDjHZehyWIFyc8LHKVDGoXMqg5vXNznEpBB1Xtv2xqR1HM45UVg
LzPcBzFhX+J3y1e3AoRQTJRkqMAKHImUhMYUCVDupuA3e/KqbY9TPTPe3SSn5HqHhn0JOH3d0/4e
hb1JB5WfrWAbWnqUJoaMXQ3wnBKyu5JyLpvrgojZbO81pwpPpCwqTEa/iuLRJze78H+pnr21xhJO
xYuSPMEoleTfXX7bGbd19AxAqmsaYp4gJLb3MRQib+LMgf3GQCeBhW3da9/fKbVOV3rPFuf6H8it
2urerB7Q0AJ/uQr4XkJGC29jNdXeSaRfJIrqMD/os1L1W5Q5lOzoqUVd4LuEUTEDqDw+DpSr0uKp
bR813veo2YDUccdiSfZ+CwvL4G9I5En86qMuGzE5NgobXfjo4d6s8WOxi5jgByL8ikPTQTi787GV
uNUpy7SHPkZFmhCyZ5ebhCgZSgdsvq9KUC4GQnpj91Zp3QUWECfOryu+CNxjsHSEFk5njaOfESAS
YCsM6D/C9Wi1YEc26BZA60KS4105ZYrkU3z8qgd0ikca0e2q7knxTYiLEAUyNyQLWbKI5EPF+cdP
VqJX9n4IAdN4sMkimGjj2gAFSWUS60nvjNJTIjfXg1QuSaFlQnSrLN8bZHlHAooAd3s7/UFRA/I6
hLzh1DQyt5Vjo7/bITGK5o0NbV2J3kBAVhUJCtlhHB4MExRDfS3HCDSz+gBBgTQIC8YNGH0l2BWR
9Oa2AWt199pl7YfaHVMLQoz4KGHIjGTSYOGwvNtSuQrYEPphB/UEw1CKkaUk6NS03jo8nQlCvvHj
+7P1Py3YT5WqP0d6QYnVUlWqiogjvh7ps0rqm6KRXaeRSBlhXBnSZoNkW0jNbsiCbeqiAErvevY0
8DhDfe/BJhEmH9KC812808fYuJCEpJQ7bH0VYQ3W8HYr0hsmc8IKdlZ5IwM9jIizzH171WRTSQNr
n/HRxWyG16EbLS2Ejwr2S42qqU0cF1r7Vy6OP7QByxq4KITVsCZ+60hTh2Mprrrwl+T5K6uCtu52
bAzg5aRToR9Gne0r7+plQnZO74PjQA+aDkSsp4dCNbBcrq3h1W6fNFzLJblqEuG1gXarEcZGLpoJ
UCRDq1gCe02jk6u2sDAaFCr8nwF3LWsCC1Xgl1XI34mwIGVqpdbKYncmqwWkmwId2RuONFlq95hL
0sGE2J5U0VGMrZONoDVaum3Br6h+EHApisl4jNJ5zd08ju5k6ar3n4KiOY66jW8Xza/KP3Cx0OU3
sb+rm/JAQwa0uFjSK96YNjc+5b2Xnqc0eokDqptKD5x9HVG/myEwzLJdxSQvN2CvpizcQG03fkyi
EZOrxZkH9w+z4cdYqacsCW4HG4xTSWJrt3UbY1lrHg5M/5DAYgRp42htys1PXabVo6n8LOqPnNtK
azBf1PuUgzuZ6ATiPlZwT8ZMR8H6jHQOcxKYDHLZdDKzLPXOsIJVUt3TUF761XVmP3KkjYvbcDpS
j8DtryzSffx9oxbA2EpHhebdut1VNVxX5m8JNaomk9W0DeTnRi7ARvwc0t+JOoBlZJtFvixZyspG
gK7ByE6457kwx63sh12ANks9QgBfNU1sWiIlyet2Wh10Gb40I3JXBZxMQGg2PDlMOde0j1hyo7uh
IiICCBApVeGmBfiS3YHcX1rFT70hVnKUHJzWV1NcXvmznDBE1qZvV5Kx1rt7udgHLPoBYcgvZXc9
mO/c/DraFup460pbWSg4Kf0rpczXFappvFwOdX9gj6yMzaaMH82RhKG2XphBAUGXzRAp6RUMln0z
2tdi+J1y/evy9KYRz0N5L41sW72+UuTwyhDtvjJfdI+kuXTbsq1GLuZaQNSkeXARaHDw1nBXjVxZ
ehP/AdMqqpMWAjwwaJXdpDLjqyZQN5ze15QoJ27ShcrnuYs9OsOpL4BSBznn18UniNS411KCoJqY
UJvqUOk/iuHCEjcr5v6zwH0aY1aJiQUh4PJoWI5NqQKKRBgua6EhoAgqALLD4fsFdfqv/bWcfhpt
1nIwcFf6pcht3DzPegVFkbvg9yOcK5RysMPhpSNJVeYln97sKrfMydFLmaTs/+FPaBndEwm+uRNo
lruKzUZ3aor+/82joR/gzIhkEHnz148lRdLoVQiTnJSz+MEoZdAbbspx8PvnOzMnJh0IlV3DpH1t
zmpMRacNGPYpaZHSInHAq2mw6ZfqZlPFaPaZdCruiMNQnKBOmtXN0s40W9dT4AIYkuIUsbC5LRYv
cRmfEFVzRIruK4yx4PcPTdN4S5FDi+1b4/r7Zz1TlIR8o3MhoDOsUoX++koDr21N5qHr1FOolEIF
4laWC+NHi3OVyHVbkJlMd2BYfT+sOFeR1sWfsreiqojvZ9M07FVfCAJNCBjJljQcliWnp+KuGDjr
KRlxYGAAO/bU/jlubECBt6StLHrSAYOUeOdSWofiVsa1n3ALTyugonUU3smZcidyrVqRhXOwSnSO
jYV7rs3cpVaj+1c/GnIDgwSalrhGaczp+kEN3kKAdi4ekt7cwwtwuv5Ob6pFWMnkbdyjQ1+0EatC
imM6p5zHjVZO8QOLhYBZIQN0hZer1fz/B+yRXinfqZzNw4F/Oc7zTQ3HTJ+cFppPeeGxLbp1RA3B
U1cGFEAmL+zxhVxSg3/r/F/caleR9iT626588KQXD0RGzOHA2jTefUaMVsoBsHqJtCu0q05GxjhM
edcCo4hrx4TFzJlyJ00bzgT+t/tdX/2WEuqCPrmzxXg09eKBYxwKw/K9TMKrJAW5Gme3oitJhwIv
rZnVCxCNnUQko04cUKYf+so/RvRqyL2XDxlH3Nq8j3J/DbPnJEfJosUMX/XqqvWUVdCr5CiR+VoD
souyl4gqjWk3ezerIeQ1jjJye+4p32bWZqxqfE36Xq2tx7JRXtI23tUwHk2tWracAYcWepdxyo1q
Hfsh3uonM7eWQYS5I/s5DFOIyZOhfriWyxaysxsdFiWsrm4jZa969SMuqkPTkyyqu8Q6dZuhJFAn
wl1F4WCogttSprrSIrMilq8I1EXVnpK633WC7LF63SqgWMd9qXMp2EpkVfopx7psOKC2XCre88D1
JI/7Tazo3EnoSpFHFgA5jKMHvZGgUoLCJjrBassDWlCKVB3FnmYDxbqnOkIBFKilxb/QCepMaugE
5o3s6ovanGAmFNmA2NTGwg52mfGrw5hPBS2un8zhTeHjyuVjGBeLoduDTFnZChGtGx8AsqVAGU3e
83YHKA6AASH2O+4u7Gg2yJGMFGdzfDUL41ZSoEoDwBz0G/5uST8khJlTqyDGVxJPQ3S0h/cKe9uw
yWV+Y8SXu1x2AtDJNur/e41ajubfEQe9jENqTERJdglgfXJOM+JATfL8Yms9nbEr//fg8vPo+OIP
ppwcI7j7yy6gYrhIi70BOVip0k2lPGjiVyBdj9ZppKJiT4lpsroE4g2FV6oOpNf53q4GlBmVjh68
NCEMUG9RqUecRxzdZQr/sHtF+mTkv3Pxe9CVm6DTKAgbN7XoNp606tGNDfFulEDJctDP5feOrZE2
9Ru4VtZ6d0WP7DmgBjFyCSldUlV9ov/AAxdOZlekBNcPYxxuzJBaoH/bFhoFr2PkHkr5IVc23KLv
4/rom0i4yEwol4bxCmZomZBUo3bvqrlPzE0xHAoICfYdtrAiuyuNeOmRjcJ/fSSBj9CGgWVEkDDb
lPrSCAtiMcgciy1qDURqP5v9ponH9SBIoB5PY+Y5lsWJwn0ZROnUFXIxqOu+QTRL7WLCI7WULLuK
S6b7UoHQ0ItgAb0jre6lXwM3xkhzlIQcruBtJNGrhzkNLYxf3TRZ6uAZkK+PWI/jdHE35NchVytC
ukQNGKvfjeUTgZVbNxzvJHs8hiYx5U5Zc32HcdnxRqcL+CYRu8i/0Do+c/z4snNMx61PjS0pGg29
TmgFAOYY1rFCKFVQu9FKaOGwYd+YZMZy5uga5tvvd62ZDedP9wkVyeRoQmquc8j6OnQgNHsAE2w7
tSN5Kxin6jLaEte6fac7ENib4IMksY1yQel07jzC2dTEvq8rFv6Ur6NSIw71Uotsx2pOYf7EjUcL
LvS+LwyhzTSBQymJsilUF51Kqhxar2iAHAJSEWUk775/iWc/33+eRpsd4uqiqgscIQhTEFJAjSoP
gCRvXb/+lYekM9fqlen3/8p28//f7dOY02Hs05QZIikbrC62nUFpiqXITF7kZCeUw7r5Hx9vdqAi
7rTu/YCPxQGH8LsMjqe/lvNHKb/2659y0d79b69zdrlQkfcMdsV4NrntilS3wOLlq1GLX2u2JPQj
4LPCcHz9ftQ/9sH58VVYCCbRS+Bm0WaPGYtK7VQdSwJSPxDlyxhE8rK5wi4uFtY9gWygtyAmLe3d
JeXyNNv/GplCkYY7bBKgzeaP6enKWIMrcBTzlRzJg1cWmx7ivxUSSqmDIB7FUVWgRF144umJvht3
NodSTe3qmJAkpydfkuNWBlw++KGN1Y6A47Vd/DBIgjDd/GeTV69kpbeUKuKWWub3f8e5A7uwBfY4
FCoyPqKvU9nGMqqBDqJjqpaxkwYD54Kuc4rW2spkqOUS+9f3I565UOoCAaKsMi7a0dmiJ0PKVYws
tZ2EToKLfSbVLoxwdvX5NMK0ZHz6efYQtNOBwECnR+iEoG7lUxce/dz5/kHO3MO/PMjs1ZW9IkcS
xRgnxOtG6N1SMQk0o1sGTfnCHnVOfvJ5LDFbUHUvVG3JRKdgulNwr4xlJsmJE3Q7P15JokhXoivC
Q2ui90b9SAxo1RNErNmEL2qiviDLU6YfxdfJi2/U1nBRmDqblDZ7w6bhjaVV5pLTGiDy102RUmst
paSJwFop/omrdHZnDpp7NIALk/XMWUpOYu/NNgP1wi7692dQ2UGBVGAIsNGfz37AhEzUJNpKtmPE
wVbTIbhD00966SrM4833X/zviYVUQ8c1i7gbvuufS+iniVWzjcf29JtVceDLeJCBWiwh9v77ugSe
TSw/Ar07q9JsMRxGLoNKzccum3vuUi39gO+f4+xy+3mE2Srv9Z4SJ5hvHBKWTUgVol2XIDiIwujG
tzIOpBVSJ7g3TcfJsAS3oVh3VMeTjyQPlVWJup5Cr11vBFjnReOb7ur7P/DMi9YUVdGxJyNZhvL3
9RfstkkwSGmEtqksbgiTOQX0+suLiNu/Fz+m8X+G+eNA/PQ9/SImrd4MJUcNIi4UDTBtD73Mmyu9
cfVf/k/P9Oc39Wkwi3Rw26p5pgA0U+X9inHSFtWlAuSZXwOPhCifmaMIVFRf3xw6aIT0YyI5klZu
qyqnR4f7DlTTQaTyx3/xRAIf+WR0Qa81fcVPT0RGOFi6mFUgb7Ag1ziVt02KqiHUqvzCAvj3psGX
+jTU9Nifhgq6NjOHOJMcmzTJ3tO5bdYXfhRn39ynIWb7UkFEnOpaDJEk7oeSSUfZ8A61m+zDeLgg
pr70NLPlUw66TB2tVHKMIl/zbkmXvVAPPPswlN9kVingxPpsBAIDSThNmNl+TXPTnNKYEvJBXQRc
l96bcvZpDKzXCF05QMxrfiLxtCGvY9oASzTvKYY3B4zMFvcoLYwDOeNXnnNJt3dpzOmff5oPYzcU
ZUwumNPpyHrGtc76//3kPrPlMuU+PdZsdls61Cq9/fNYylp9ra6iTbs0FsoP48ldNf9+8n3ZWWbf
i+7cAJOCnUWqfFYjxCa0cVq53Qk/vFCi/fvAyyZmsF3qfDKDYu3XV1er6ejrFQdeeR9so329pcW9
pqJ3YVs+o+T8Os7sJwu6xZfBKtuO90MmVB5S5SZft0/2Y4jWA1tg4PgXJj0eMP72v84ln77ZbEyw
SP+/xio9u5nSInyQaER2ar+L6B8SsRE2yTUOYn+Z1fWvaigPHJGObWysDNRDLk4x4dHrahBEmSUa
xFZcxzoMYDVFwt6EcuW0Ha3K1BOIqmJH9/S9lXh4ojHDEyWfvCvESo56c8rid8OAKOvqmyQDg2hH
7bsxKsugDjZwRTaGD6gyKdednBEmD2+IHpYCe0PSHkKZHqZ6XdKR7YD3Vw1tQNKxA68GEre2O5Wm
MnmhRrE2rIdIL5YVUpFWQWmACofQibB8JnNxRfzLKoqpcCXEfftER9N3rFoAqraxSdWrtoQLGD3J
k+gA97hfBes+eZ6A0aKvllEBUdcVi1FfhVq8MHPaxeG7gBVH69dRlPAgJQR0loOj9beB7dPjHNbK
JGKxCxllmr0knXJB2o1DCjAxbSHlUHdjCWkdWNKqcX9pSPn6hFpgx/gW2XO9gUaFdEKXDE7WrZ7C
ZV7+FH6/NgnRw06zk8aDTv9W1TOnrW9whyoruSKfwAUJb+IEZEFYqwSKJlOAto6zyQ5xspdRsQ3d
ib2hrTyjWvZB8iETmqmaR5neqzyWP7JQJpERxQCAlkVEIVYjss2jqwuC87ocagpudXKXFv2Nqgx8
oghPUpoQPWSZ7cNIkzl4TWFL6Ui8bJEcK27oGfQfsA88pnmbyNZ9HdevcUN7Og2csg1X5CH5DQGC
fGMVlFidNNdyfV139c42UCBzsMZ8FaTPpIU4qO1XlEPXCq+Kw9I6HBQnBrRKzC3w1XIRKKe4hL40
6YP4TOC/9SkiSL7Upzv3i2ZFpFXGxmLqRK58XTl8aWjk2OXjWKGEmkAdajJYyAz3Iw0MAYhLAgcr
8WxKRfA77v3wAVk+GFK1yqstwVfgmrQa8vaFdfrvizTrNB6aSZlPg21+gdeweQYoAyQn4/66M9f6
k9Ut3isC/1YGArYFLPALJ7nzL+LTkLMXQaFQ1WuLQxbovWrVO8ZSRi6yJFivXI+rxJGc6sKV4OKQ
sztBputaL3kMWTvoTZekIG+t3Xu0M9blEt3y7vuXenZ7/XS/m52FxKB7EcE3kuMFVkc0Xi1dcanu
LlgKzp3yqbjoXNtklW83e6YBdG7WtMwnJdXJPWvIlFymhLuAmSjlp++f6NzOgNDAmHwFKiXX2bk4
rImCqUPOqoM/fuheT172pPVW9aMqSOmw8vJCjfDcCUwl7AC3HuOZ88IKrMYhqmEfOzAJjrnx4Zqt
g/NoAZnm358dAAxpMvQq7oVc677+LEcv74U6MDUK+aeLgLz1KUw2ZMWW/fN/8RI/jTTbXrWE6NRg
mhbJUGyVoP1RysOuUupDCAvcNMYL8+PsK/w03GwWJjBzy07hl92mrliGcfJkdPpDOwmbCWPI/sfX
ODuC5ZORzf9zxRjvhfSLmFtCBNZ2fXH1OPfj+vy9Zpdb25W7Acf+9FOWUW4Sy7r39iHgdxzb2S2s
jcDRs3/r2UY1glHoPy9zftcVkR8Cl+PbqS05T0J7bRP5wvc692BMQzJ8bEhRWGS/TsTCJmICFTt3
z1FZyMHrIB6/n3/nFozPA8zm36ireSUSBpA7JyDrrbD2FUaS7wc5N+s+DzKbdY0ZWaorT34Wq8IB
ek3IxqpQenTj/w4MPbURVIAZ/3lfsxnnVnplZwMjRU1GthMIS0w93z/MuU8ChEIRXAKhZYjZspcX
o1Ko0yXGA0W2JJPsZKXKw/djnFlav1woZi/Ms6XMrnUuFEH9KuwVhB9CJ/Z9h2orf/t+qHN3zS9j
zV5ZJYxW7+vp8rKZYPtHY0lw4pLj5XALBmpZ35W/LklazrzCL0POfq5qi/2HLhNlXusUx79TAO//
zUOZqm5obIVwzGYj4Kyxe9+jBi82o7cRP1IHIAWRv0dq7wE3DtCr0fLS/ezvx6LrqAEaFLY9eeBm
v6VuUFM3EoHlJPA2ppBHEgLNWl9//2znRrHZkhQTtzqlgdncIEnORi8KnELKrPLex1aA6ro2V9+P
gtvxzK/2SxV4ViDHbDsk+MJdR55SN4NxPfqPcamuQq4clKSkCN1As4vH9KExmmRpmJiLhP6i4hQp
u2YfdMd+PGUh3SYKJoGh3bhu69j5r3j8ideTOGXN0eWUToKEwltFLMZhDzmRxcwT9wp6oTgCth/h
GccY1+bpYvBuJIIXpauusum1w2gmSNXMnjirIhLIDxnpaxZ5mFFirgoDMTDaG6E++5h2ozHkGvA7
opUweJimzfDGDx7chIsVih07pg3nnrrAuh3lcQkxMfBIRCyxZ6DnzSa6aOQUqC3ciHAjvTuSz1xk
9UohjdlUDg00Xyt+bIqVlnGxGdEH9JR1nxPuC0p+0sRDSi6BofvoaHetgrSHTNcApQ1WX2xUo74U
1T087Lp4Qee40MxTrI7L2njtohqW8lOsvhYd4N+CwHcNZxSuP+3RqAC1Gbxj5WR376HYWbrTZOTp
2uu2wIpUPcfeXZAQvZ3sBCTe0KiJHXxwUakExUOdfwTkKeUk14mILJHnXsGHIT6G/Kfay2TAtA6A
iAxUGfd6k/ihOHvPKhwMHbHWWBfbQ2wei9pf1ma2EtlWDvcm0iRvSupIxcpPp2DrhQG6vn6rIRSX
DZux12xlnI6d6wj9jqq4kr1q9U9JXBeGuQo6aSHXv1yC6kxUUBhYTHw0pUaxSzuhu980RnIIgDlD
ByK5927suutRJjqXAO6RydHjffBNpICyte2mJ0dKgtDAokiHurXmv6eP6EX4Yq75TC1C9YelJRPk
574VtUtCMwYGt3kdld99EV0huGWioDyyiC+wrCu1FgjSiHHBk6z40UEbSZFUqGoUZJ8TGCGRwAmc
90Hpk22nV+DSjlkLbxR7AcZ8ucVnQbaip/6oWOtMVFVqfdVMeqNXN3II7BUpd/Rsp46PmVwthBHi
5dkPU5qtv45s/jkVA/4030eda4M6od5dsJ1KmzF5M1sMe9GirVCAEw1uREut+631R09/D/p9mt0p
Lvf/Hay7pe6PKzA+mr/VBSHfJFhnJdQzE1G70S285ChTUkDnJJJdVwVLgfqpr8OVLb2n9bPCzxht
HvAGxiIKqv0t95qD520xWcEQ6MQI5ow3Gwavdish/LMGeMt4nSxcfoP0ISmbRn0TximqSF2hlqnf
Dcp6HLdG/iNSbthpF5rxf6Sdx3LcyramX6gRAW+mBVO+aIp+gqAkCt57PP39oIiOQxUZqnu6B3uk
LWUByFy5zG8AIe+FJbpUD6P4bACl7oOTNgEeTOcbP/jl0zlStMYdaL8IfnOrsG8FBbi8D70UqiL2
L1sMOzmFv0q/XiWDuA3m+0B9nwQccqKX1OctjGw1JYGRqNxOChrlEordb1Pw0EjNc6m3twbsm1Ke
d0H8JpXltgx3YA6jwTV6mCaR+DuU0LI1aybYpZrsZT85MlDKIfzMH+zXFGCdAH+0wNA4k4/ylDqz
qtybxktH32Pwz4l/SNp7HXwVNttScaC7y2TB6h6mYh0kR2nO7aQ56MVg5wK66MFtB7tPitDdaokp
Nr2OAeSgv5HVHxjQtqm4rosBOsRhTNZGt6kxQTLA+il/7JBb9YfY/rTKO8Oi/QFgNMBBHjebmL+S
9O9zzHus+1WKBvwcEedgRe3L8awCNSuE8ygXaDH/TKP7SCodpJ4MqHLSVgpvW/S30v4GNSa7891I
k2lL6dgtwI6OnKb+VTP36QO8EY5m8nNKdpZ0KtKThNczJ6231lWT0cZYGKqJjeCmI5hHq9+lIWj9
uyKT8ZA7dYh29Oq0kvyjHG2s4WMcd7WxVZJ3tXhPpqNRHXvmsiXNfvWZ/NjUbTR/7QSWcTipawVK
c6u9QG7s8vs2VUcw9pqrNYQosIRtLONT+6NveSXxY4g/q57oaJtuFOFlwHwmpFUn8URJgcGyWkI6
dluG0iXedXjh7iAUUBS66lRhnPyGmDEc3U0205bH89WfJoO77C5eYIU9N080u1q6t2i1VTR1VmOv
OhL+TgrU7IwXTJ4wVU7cd3CRblXz55IXR7iYytCX6fgP9PHyAgQlmLQec+TXIHqNhN8Cw/44e56s
m7y61Qid9WPEXllOKd5PUgPdyjVghoi7ZPjZW9vGOikzCFWMmo0Cv8SJEn2hdx/i6Dcko0raFhX2
cxWnFE14Wl7TKUMYOppoqE0g/NZTHGJcv/Vj3+1l3kynvWO/u0qiDwUr+tQZcNuScwwHFJQrhVU+
Bhtl+oAgso86hRZnPDxJ7DoJo6IMqj53doXBqg4+pd5IIaatuNFDeJrLjZ4MmFu1BxnCyMLWbgJY
kosUrpwcfMGpM8je8I/DX136mGHFFP7yS5/PexuN0H60JyA3+7xKn5I5hdbIGeoDV9Gfg+kcV485
WVN7lyRvE5KycjBjRxauEs33wP3OiGJCILNLbLxqOH2S+JZN8xq2Fneu7KJh47Yy/1bxXmYm3AvR
LQlgVs2IHEJniUSK3/QwyboY79foBaw07JwA1+kIIwL4d9iYa5TZPb4BUTgcpLTZp81W7Dd5dFCs
O3/4JVTzFitHW4OgJuKvTZWxaiARN2lzk4Q5j3s/9gilQ3UVx5+peZKj9zZkj3UPs8ZzxO+9+N6E
pVd1yQarM0fRw3ufsA41EokWYOrRvWa+AXJAiJVPDeT6XtLsTvAS+TYugSo6BdjDUx06eDabjce5
F6w1zty1tpewg4JWbTi05OvhPSkfFNMWSqQMnDJxDeDacbAtJ7CpIdHVRUd90O30R1g9NcavSbAj
bKE1O5H3nO5AOFU+ccYJJG+MW1D2h6i9yaHSgzgt5w1+6FyUtpZC4X4R9YMMBNl/x5gqTxDr9MAZ
h6TxZvPcISuGOZhxj3Q7VDFIQ6sYx6/hsYTGbfaPhbS16DFP+TlNbrQQZh6ZgdcITxGKwu0KqFCR
3crqgy5Bv9lxLMj5IL36yXppsiOWKxcHs9qo5lbEBDlj0KK+hpwP8QG/+KHn+e2ouI+MHzWdGxjj
CCPLmTeBeFV2rWAHBF0YZQWk9QJBv3BlBLaQIoq/S7WXFH2I2ribUERAXY9phOxUcYaDhYFpe7Iq
J80ZmieldqpoW1bYS8qnwX9WurVfnWBVK8NtAjh4vm0YRGS63Yn2IK1z/UNWXtMUAu5qJN/RPtjZ
CvgWBf4rMayl6y3njq4/K3q2qvsz6k1AYGRq8/komGvgmrl6M5204oElUdIoicEDUvuAls2zWJYr
5FFU/LkqV809KfNa7WiOD3jscPyw/4aKBuZ8bk9oS/ikBwtZCbWKeZOE60HdKOpzJ2/ouOdwggfE
KX6HkUvqxcxiVSOkYVqvoGSgWL22/i7I9lpzV6XYD2yieI2XGkGiSZ709ljfGuWRgzSVh4b8oN4J
Mis4YUPas0+aHU0ZRXjV5y2RWXiOE+DVwi8f4c755Ndv4vQK9ViHGqAcQFfr4xnqq6+d+mRjgGZP
dg188/muESF6/ACpT5Iwvg3zWVIelGhXiOynfZm+za2Twm386NhJRXjUUxd333q+k/pXhAQmcwub
tezvmnhnSgLm8HajbmfaYK3nQ2kLX5KFJ7idyGIUDRuJdVK5aBTM2P09B2zdtLUtcS+jq96nT9iK
cj8O4gaDkknDze9UtkgHHObuqV70EzyzQALhD0KcLzXspsHhSg8HMiYsw+UXyzyk/kFVtujBVSbj
FG3QoZUkYeaoycwkJMHSobWeOdwD0iJJsA90W+/WWFDBhLjzM28c7Qwvh/CgSy9GhkuKIyfr2HwI
qrMZecxYRWlTTvthcAVI6/lOlO96jN8NxCGb1SSvae5j796Wq+5RXUZw7hThwJdsZJkkACHNofVq
/S4b+pVVuGFqG75smym3yMFKyxWusAnpX1+e0DTRxG2f7X1GZKmLsgQZ4lRv43ylmSfkVSZuwQw9
fGmp2Z7NaBO1CW5wZ3Feo9pR8jP42JVJtxrJ2BV+OM1dWTFs8e/a2SHZ0+fSSds7OV9HGmzEQ4Al
q7DLB2qoYN+ov8BiSf27AO26tX60ylOMvm6zJw0urNexuAuqeCWn8JzXYccH2y7SRWp/4M7H0HSX
U5rkT0b8WPfUYisZ64ulLRajEGGgb7Dqxz2RvCGPZ1uIwh0kcFM/ltVjkR8VauD05MOntZJfGYaT
zAat8phFXtfcVsluEG+U6s40b0M0tv21lZ6QF4w5R8JDLlJTxo40MBcIDrHpxhAZ2+EZHgp8ScxZ
PUjfYY5TpKd30UowZoA1SiO4lfbcdx4MIy10IZ4HKjFgVTBRpe7GmloY9kDiqd6zeptxhPm8cfgh
VmfmsU32JNewaRdRlKa90wGbJ96E/KRKqFwNzLN0/mODVO3O7LAkcrBoD0n98OeAjrMq+k1FSmYh
QbAu9Y1mugFqw9mm8p+1gO3k4l8EJs0ESy8eAmmtyJiYIn2D4MZK7t3wZ62cChGFZ8nukl/160Bh
u2qbW1jHo4FMAiJy+9HcQLOp6TtA2k93A+On+ilPf1nDCv+SYbxH5ju0dtzlzEzt0V/r052Kkanv
5dML0iSSaefRC7IUQs4oeSMq28h6HEVXlg/a8K6pKx3gk4QiARxmvhZBK0uOg8V+xhtHftAt8v7b
GRPA2O2FN0k9aNGjWpy5PbJoE/NA3B81yfEPZVZWYeeM3aYUbproRqvu6HrQS5gmb4SKSa5W2zWJ
kdHZYXeO0KUz9V0M576xM+No1LvSOJoW40Njn2cvWuKhbSoqp0Ei6V235saMcSoUb+pxTWKmJjuN
a3xGI2VpZqV2oa5G61bVf7Yx0fvWBD1tIrCBCIT6YKjuiEtQlP2oracBivW8zjJE0D1ffenHMyxw
ebybUjfrN2axxIdC8iS2TJ2/0bdohh2Op3x8tToJCYJMw88Cj0IS7/FHmh3S6VXK38voVzS9kYZD
wS2WzQuBelenkHG6D+hdpbrxxa3U3Oj8PU3zpnqnVs/D5Ijyj4yRbgx7tXmCZQtzpNC3sblHLqVn
aO1vZpToDWsV4M0kwa4CeAqVxCJ1efODV4P6fH7RpLPvuxDg2mETpZWNblMo/fDhvVJzYCQkONqI
4uh2FN4Uk7G6xy+yypdG3/f6vYFuR/gTfreiAh21w3ZdSydD9gZeDyawSEhDpxF2Gn/anWbFkcc1
dUj9ow4PQbxWsUNF6+Q8zTdi7oTj7w5+SBja4nButfvM8PSUMg1BmcKzivcehStrO2UnS3tDSY30
pzVOtfRS6Ee5OYkz3QsY3sEDWz3HVZ44k0OXy/P7TPNg4NOXaOnGlWg2borqSaFH1LAXpOCNXkoY
ngbNkdLCaTM0Q9X1IoxhZZIjSOoWb2YBr9scSY6ipiCFRIb9B3sPO84JlI+PjMrNIO4GFjGwhEYN
wBpeoX5n42NieWr/FGj73PjRiY/KuDeK96FNsMIZGOgj1LDuxxsVyIEYPRb6b+IBqbvSe4ac2cV0
7qjXDfFG10kvXsS+2mkj5p7SBF34BnPQYXyUhYMMEkhubeE5GMhKtoH02LQ/suAckv3L/lOVndE6
1eSnVsWSzNOKm96SV5Py2qAblGmKnfhszOZE/DcDZ6xtv3xsuo94Ogv6BuWFQN20837At4lLoRnu
VQCfw16Nj+P8Mg/8TNXr5M6eYQuW+lqwNq1GRpHShWEvIV6GwfFa7neVdN/Lr0W8nnPJCWLkqzyf
Mjen/WhXlNyLC3qlbXvI47SPmtCe0Qo1jV+E+yDfNyAscArr2o80voeFCbMAAEnXHv0ZKtWm1Ley
uI7Trd/ux/FxTm7H+CmdUBWMT0H5U503mTgDPv3Rjb8lkDVihcXgoaweQvA4ud20CFJB7eMu0LbY
g6XmQYn2GQY/MNLldYaZAbT6iuYZCbxPaX0jajgS2IN2aoFe+auqPAzpHZzzFhAL5oywqEQSYLm+
NyGgxd5QwGR0xuRGyOjt0rzxhCixy+KmjXZh4cXMzYFk0FbHmKCgTmnWESJjPr8YBYpjryOpD6dR
fAyyndGdAoUbCMnqjY4mTvDgN49GADzwV928xNqvKOP6cDqUnfu9Kb02wd1AN2RCHYQKP+28orrL
Mg/vhdVY/gb3TGm+DlAoGKrdPO6K+JW6gSJ4hrwW7pvi1uxug2BXIPUkUjqrjtk7Fb3c/KlQqqUz
5Bido/UFejwJ1h7KKnmu2PhIxuj72kS47YakPsary9jMDQ56ya6kAiUDynZiiXsbVCZor9Nm7NZ6
HK/Et0rDo36X1Q8W+xCZseVNteiKIZwDK68NUZN5HoLxPKOugeOYQs+XFCjNIIE9LcIZNAuVh1bf
cV2m03pMvLhzdSoZjMsqzyzXYbSGHsuHCMTtVHE/00XZt9O+lm+1DreQVZDu8HZNyr1Yeib923jb
0zFG/0e41QJMYw4kCXRncqXgBqMZ2G6snryHg/LDEFo2xZ2A4bZa/Rh6OK/HNvGC6lBVVA9eWG/U
Yt8q2zwkmrAlh3KBLK3MGv07VEdqGnvmEUqwWsGuTR9RV0owEG/036jCk6RSO2wE4aCqlY2hm2we
a2mj0UkcPDG/oT9TclVCQnGn4NBF26x5SbIanccFgP4i+SiUldzoj1l3yIpNoOCnPMP9vYmCu7C/
bYcdOnK7mN8wdL9FcqdgXnP+RUKyVd6YzSGVvRG2IuzUBlVbyqny1icNBavQ7VIu4IDeqbGr9JM6
KqtAO3dJi50s6lduGf9pwwzxOUXtaKDRWppHEfCL+NF3/H+vpoKKXfuYdx3xJFhV4j7ziRrcNbiu
BVOzyulZ19iNW+FvUXr055MqviSDhD4P+m1m6ASC6RRR6EpBtx3Ecxedpc7g4qRmiT+6CgvhoDil
XX9awAAYVKzj1p0TXAH7mra8I0tHJbnzq98kXMxAwvYVTtpKr470Feb8l4zWj1Z6dPIlcWu0PzNE
9wKd2NaV5N1MdAQuLP85aG5F+X7UXhT5rmsDu6S7klP4CQ1hcr6BlzR0Xh69BbTefBTxlP7Rxyl0
iF7a6hijgdOeEwmlq9+tcd/mx5y+nzy8j/rHZJ7+XG+AXlTQXNbgu6Eu2nlZu2LxENTHtPlVWe8E
BoyFPMmnPUl8NYNHOkfKzGI5/hXHRnnAdn6O99EE4e2HIB3iOlpzm8VolXapxlVPQwgrTFJPJByl
D9ILzJlALv2O/c1AjSMoYBeRdAnfemYDYXwr+Uvmlm1G7aPo/feqQTiSG7GYtqIenpJCXZftbpDp
sKbcHmLQoFFHDgOsvX8cFQmTvKFvrNdwmqh/MomZtth2P/QIsJtTy1Z2kBh20i7COhqxPNMO5rHk
zi01izrT1Ixj52PKvlKRrWlczZqn20ENqI2SLp+RwxreZNjjngh8zrRmnN5nN5rrhUmPQkvbazu1
fxablDaLQfsxgDMazx9ylI6bxhBMpK2MG7/zzwZGqghsGche1uG4JhMNbbUXzrI87NvSGh08t1lT
Lz25kiU7YaIFjjGgHwQlru/2Vh2jWEltpZ0bYIVhQu1i2GL+EZI/Zq2M7lSNmpBJWc/V5tcgFXqk
8lF9HKpnBcU/OKb2/4l1n4cxmC5LGt6Luhtrbn83N+8W8t7XWBXyV6gc3nngWPAKwJ4EAuPfAI0R
dSnTSmZMgHHVXJWlpq1TdRZgfPXKEYsdfDgzQrxYUUobwLMY24jymvzJWHfL6DHPh5irER2EsjTR
SSgbytla6DbIf8pw9sTWiSOp3RZ+XRxGpRaeKnWWroyUv4JAVFCISNHyHHgPaMvI+RP0e/Ee0Wn8
mrQyxFcpiTZdPLk1jJYrY/mvE2WE6REe11UJdwsUXS7WGfWh4z4AvzyVu3pJZdqi/Cha9YiW0xVC
1bfPhJIvWH0RnZDLMfnUID6S9/hrqoa4UqzOrkBx+uM1S99ry1ygJ3woLqbQzb4j6MaNUWb3aUsZ
YV3TVfnuzWE9s6glY3FgXALSer+rqixCg3mqBzouItKPGu9spdVWuiliRb+yI76hM7El2NrgQDUM
aC6BRwVyq23S4wfWuMZKtsUnxu0ogDS29Ka/WE90i3AKfRwYtf4/7BGoowvxzJAVXb1Abshhw8kO
YWp1k1Efa6XUEEdMcrR/otBKPKZHmfNvqMM3tASe9T9LahdABz2K8MpdMFxIxuWuD9/HDlr6FMjS
q0x5k2JcjaIl3UixCM2/MhvFlbQK1ZI2ZEJbxWp/BQ377df+dB4vUJyzj85TUeJOlRohkU8wdnFT
SRSUWCYXyvnfj//dYjJGJ0w7F7P7y63VNB3Da70wHQntNkc3hN1sKBo3I/BxaUiveess3+9vPgFO
IJAKtQWdipfScqA+xZouHltEMgGYc20FMf6qcfqq4hBv9ylysn1gcAGCTaz2cazWN2FPr/Pfz/sV
W6XicmRhwq3oSOpc/oDI10Mc6rDaHgYRibAJfywRc1eSsoWS3M5C+6E1V20XvnvLmmwYOl5gqBJc
upRICcbtrYFTSFaglSu2+LFJ7X2SBoLddb125Rm/i0qIBmGrBmlNNC/NsqauiGURZTsHNg6CnWFK
txJL4Rnc3b9f5ncLocWtaiZYcVjmF2C4SMf9JU5wQYiD7FVJ1YeURo6cZHf/Xua7t/d5mYsLqi5U
JTAHxPE19GJjRCUH1DlVWqURzJJ/L/UNvAqmn8geATlmQKj+e38OepZXnYqCVakiGhhPCFtLZX4t
5Ijf7ULTNPlI4LgWX7G/l4nnDDZUQJIyy4I9kx7qaNNWaBJrPi6bKnlLtdX04YfAAcRta+v70yHK
zLs5mG/gmr5IXeRhnLez2s6rcmojId5ozASH7C4wzQdTzD3Vn3dV2b1q41kiw45i8FWa18gQSVSk
X1DrVukxo5oO25oWD4ijngw9HBh+TR47edUb9XqxKpSw/NJH2AAW5WW/GVD8HPR1U5yZe1KXnVvD
YOgOIkUuXW0AFKHfLqCcYLrp04da011YV46aKndCdlSkvYSInOjDpERekBIztG5GCe047EYmp46B
iMX7pk4BPTBuXMSpX5v0NgpreyxKd6R+0ctuq/j7mJ61P4WOQpNWpKguRGZw2yxONlHVY/sMbSfq
BFto0jXOInulP3HZrUcmsTI9iaiuzziQPNbgVixNOPdKfygwWf33ZvpGjgQcoAV0RYQUK30Rw9fC
TglxfbQg8qEvtYlfUABylLW2Yw67x3PJucZ6+4bVoHNlmziEKOhRIg7498byzSlXpJbJjHpXHsB2
rDpMUlfJOtlmt8MZeMW1rfx1J/+94EVSZwh+XDUiC0J43qp2ezannQDIjXIvs0e72kJjXwvDq1a+
D8/XVv8aGFgcJ5vFuYcs/NK9rEcRBfinYaLLmehrf6QEHlrpRywq2jYK+5///pxfo93fq13EBgnZ
n7GVLfLk4DSpDQoz9Dda67/OXJdVUM/DPAEhOfOipAjHokbQgWfqItHaCOM8O20N7icljFxJtr4B
/+K5uVjAYZ2ATeWf3fTpNqas782o7EynLn2Tjm+MyixeBQwRa1RL21nCA1ccga1ok3if5MGw6Vt0
hDUVTTfUERLPmpBNLg01efqvXzUcdfD1yPjAuL28wbCWyE1r5If1DYJcPYcczf28XBP9tSvv+5sN
zFLcyWCFkQ66FEoJhlBoaABxLtMF76Y351r3mdomGUpL48LlK17//XDfvXZTQ/UAKr7MFawqfx/S
XCi0wUIvGb5C73SnBJMDdQV6YdW6GjRKmroucLorSYH89WrT/1p1+fNPH1urJjUTY1ZdbO2anYnn
yr31g76LjdBp6zYgbasVM1mvuC2c9A1FvlXxXtxQvLdXgoa8pNR/Z4E4vgKVxhFVIge7jFJxM6RC
b+g6o4OV5L01dEdWlS3YPU3hFeNbDyFuf/W4kzfpergr42v7fglKX9bXSY4QqMFf8RIfHoUNvFZz
WD7A4EpO5AJ/VB3Mrtx27d9bD1e+9zdhyoTr8n+XuzT3gfHVCEqM1Vd8sM4l+A4n94rHcsOYtd6M
tonU+woc2I18hZj87UYzsJJEQJUXTt799yevrHrINGSqCc6TqzNDo4+/QsruWLuDw51a+B566Fc2
2je3Hot9WvWiKI4NUJhTiSVfuPXXyYauKFJ+K2blLpZmK/9ZQGnwyprf76hPa17EZiB606gbPKm8
NsE6rXJnIk9x/e3CMGca+ViyuGJLj8Vr5gTefM1a8Zu74dMzw0H5+00Pit4UmhLhKDy/+amx6mE3
ZxiOXNlJy6u72Lh/XKjYspomf6Gah5VszmMFKF+Od/h7WOfAAxKDSoBykDZ+biPvFNmx/DA5rX3d
pfIblRrUCEyVOlHVEakxLkLI2NaIAEFWIoRgFLdBTNCWt4One+L+mgnqN2X532stb/xTuPJb08x6
tNY4o/UBf9k/vBT1wVoXzvR8LZH45qQYNIrg4IoI3vCvXuwfPzN80Z/1hcOf3gKGXWdr/ELW467a
Zl58jM7XVpS/3jtL2rJYvZIZwrW9eJdB31lZygXohHm5afUQdVn8DqnBxTjbz934po25F/q9HWNt
AkJoW5fM2czB7sBitTpDIuzXFIROaRKspvihFnpHGB66urDHGhMLIDxj9dsvnsP8GqHrm5/OjzbI
GKig6eZdHHBFETMhoesEhSGwJ5QEM2T6LcxbouG2afzNlU3/zXKkJvQneFUGQlcXUSxIU6sKEhTL
K/yeJS/YDOvl+1gu7+WnufJXmQP8Ol1r//01ZdKJgmgjcthUdID/3oJmUKYWytm6M+2AU9l4XDvV
0dzSUcRYYmWsFTdxUN2CK3BYKMpXA+myBf4+7X+vf7FFOiXHySVh/YXXODuK0xwFF07Ig2QDXDoy
FVxfedXLE12uSDpIYSqh4Ixr2N9PrIqVkpKyoIp17lw8PTZYSdChrpzF75jHjm0k//+95tfL0VQ+
Lfmnxf7pnIti4gcN42BHDZGnLgmijADKRRKhZiBf6coVTuXX3iZizjKfE8kp+l2iuSQHnxbs+wqx
eIXRRiOkA1l8WGlHuYzF22EKk1el9lUTBAk6GwAGhcDLTWXs4M+o+k5BxtiZUgVZTjaG+VpGIi4I
kpZWVOlYOf23b2b5oeyARXIG90flIiYV4tiVlsigUhfhR+TZUWh8+ADHwR92//4GX8MfSy3NeRzi
sIiTLhs5cTSrQoxIlhs8jS+Kt5ibB64KVtc2b8K99BG+XYt/Xz77xYoXXyHF5zJTOO7uAEQy1t5L
wG5S8y5iWvLvZ/tyiC4+98Uh9qml8i7UVdcoxk0Si26TvP57ha+Z9Z8l8FmQaW6a6pemUTYzA0A+
A1w81kfCXZu9ZsDscM3AL+pGD8DANs/pAsJOXwfwmHkW7zMm1oWIgDBKtYrILJuOT0tO7iuG25sZ
mAxM6pJ3BQjuv3/t10t8+bU69FUE9cm9L5PCUS2zouk11e2yzNVVYRfOeP6IBcA8YHEl9A4p2iOM
uU4tbIWy9L8WXrhY/+L2CMJ46LXOwkJ81TvNKff6zU/jDg9qJyIv1K/1YJaOx18hbVkO0TWELFRs
kS9lA5KZflrZymy0XbkFOHIMDsWWnU0WeDVgLyfyH2sZF+FTHIW8YScwNnDKLRhx40XzEMaxkw+f
ble6Ep3Myz/kHy2xFJDElST4a/NnedRPAePiorSsIK7N5VF7r3qX3WCHpcrWXE0OQ1bnerPpS857
sdzFh/Q7sVVTIq3r98W6b7t1MaqePl3zs5a+e6ufg9PFCRbUJDEG2h881oSs9RncBOSAFe0mN3D1
LX5MyN5UTvIgOgDYr1/Df1SDLz4rA0uR+5BeOv2mi3sYqYtBwtREd8e+joBKqAAKqsY8lYqWu0Ye
t3YVWxEsnqQmH0qLZG+Jtbxt4lQvV3qQVO/BUuyqfdNbOKcA/JcSU0lgrHXC41w25dOk6+MvX2vF
Q2cogmeMA/GjZIRxqrIKWTuUH8EiWwYWOFFa37SToeyltpdBrCUhRMal2AK07EUd1AqmiN0rSCCL
Rm1BoR8AkFGTWNpUAkP/LJGT3aSZsWfMKTBMYQa3yg1TAu9E9z2ZxHo7THRUg6xp3UquhbeAaOaW
QW0draRAc7iDHNGLY7Otx15+kYTM30590jyqY5A8GfmYPFql4XuyEZXI7/h+WpyMoMfOlpHP1ihS
f4eQVUJyYSHl4RpaPYogzXwTduHkG97UTdOtXlXthjlYG2xa1awrLxpQLPd58udBDbtj2Xa4EOSB
OR/aQetgSwkmaLaobU+pOIH4jgxAGZIxCP06GTEUmJtOUZH+SURjq05zcEz9EFJAPdcJ/OJYe6nH
n0oo19sUcSRScbkGyJXup1oGQDPk8GjNRq5lBhBy8dRNFkZYoiHHbl5JYJYzGWyvVoyo6Y8dZut2
608VzKkiFE9Fb4nQPLKUu84HYDmMNXYtjUgktgOFOTugvWCOwUNXyb6KlQy2YzR5LU5CbhYkwwZZ
9m5byaF5X6dyvy4CXP00c9R2jTmhxt9aA8CUYKEgCDrmPbVhulhpZb/KtEPARI6Hm0Ew8h4Wbzxg
tRlqa2MccWALwZY4+HCDISzntrsRmihZw9xDwHzKa+goPeYbKwZz+pNWVP4jmbgIs3ea5BaAi1S0
OAio5rOcBLVhx3MoVWuB+e1zFkfyORoL41olsESUrwdRBTyAwYiBXupF6hZFqNvEouYqzQLkhRUH
T9hbWlgAxsvJTgAw4xKxG916VfwvWhvf5BIEgv+sfxEI9Kb2zdhn/WEwXN94H7P/WnybAufzChdV
r1G1VPcdBJu6irvN4AdwuaeUKXwGp0AaU4nBP5zFRouuOX58LbhZWgIsgRUIPTnki/9+uRjmqUFB
SHNHrz2obuQKrpjTlJxtBErXQ3nlYv7uXX5ebkkQP6XhVd8ixe2zHK4xt4EOTQ50/nAt2Vl2xOWO
+bzKxZWYj+XQBJHKF7Pnl9EBY72BaPE62oMT74ub7toOvbbexZ0YQekDNcVTDba8a7d4LaNyuPQ0
w029zo/XMo4/3el/Pd9FjSCARmi6ZT11nZ3SbfwwO9aCidXXcMHup/dmyeOdbFufYAhsmwNX5A7+
8RGI3ApTJztzCqxsf4r7a/n9d7f25+10mQupSimqkEcps1y8/AY3/bX8ljFYxTfBZjoV1O+1y9jQ
5MB+BPRAnSt57pVPYVyMwjJVYXD851PUK6Z7dMbGFQMFu8Y6cC2vYLv8L3KFK7vauChrwqHSMz+V
l+9h7qYTdDbHehtIwEAmOxClr+ec1x5z+fNP56i0At+IlWUH3AGQdqq72MOVEhNEl7zvRcTB5crB
/a6A/uvLXkTBfp7qRJ4GcunfOZjSDW0qD7U2OhOta+3K37PLbe1dzW6XV/ePrW5cxCchNysNaKTm
zvhJjhh+ls3Pvlex02hXlfKctsgvhtAIfo/xm4Bgw7+30xIo/rX6RbiiaJ7TdFndYirtgzTMmjtF
epkihCmvCfB9GY/8HYkvUYX4DZlZlbBWLtCoLyW3I6FJQFHnTMTwEW7joyqOWGxeLZaWd/ivp7wI
X3M2+0ZVs7J2finxO9/nTrEufjKj6NapqyXueVhdnVlf+7AXMczPqHer5eLpPQVsKGaf3nRLY2a9
+BNowaa6UoFeOaPmRZXWm5UZUEiBbc0ex/CmNq4BHb9dQEV9CL1xQ/7iWTfLKCxozKDdCTapCjOO
wdq/d+N3DRsm2/9Z4uIMjhbYvSnU+VCrfKvvujXIeUdd1W5029pg6R3TvrLit3Hm04oXx6+oxKwW
M27S/AWc8C7bFVihM7WcbWFd3/0vhg3f7sVPC16cuN5MmnLwWbD/aaxmR/8IXOO0zEiJ3huuU/s6
muGbptRfb/UiW7CUAhlQk+wrqFRnzH7jUAUx516zfv1/vsyLc0bBM8q1r2lu8rQkJd0xusMQebXM
Auv7/vGa+uR3nQHgLUwBgd5KKlqjf18SktIqUdq0MmmJaBegJNb+9qeOhOwK78ib64Ke3307hhvo
mIMsBJ9x8XxxX+tz3NF0q4LoaCA/MonTi6pq1/qW34WOz+tchI7WmKYIKw4GNq7kdfeR22+Mx//h
7Ex7I2XSNf1XWu93etiX0ekjDSSQu53eyq4vqKrsYieCiGD99XODq1/bOMd5plWSVSRLQBDE8iz3
hZzUsAw0yb3kQj/XPN6VtmRG9BYEICLwBfyKCNDVDaTykPxZIs0VjdrgP2gi7wtbTF9YVKA8eXq0
33boBOOu2vUehQlJ8aYv/JJ03tnp//vypqp+N4+wmsJmHMplMAFj/fcDIQi+BW1iXw7U1YA03Es9
2LlB7n15i3mLzG0JYl+oTC23w3Swd7WSP3ejCKEUiMxfUzkoInrU6+G21u27/6RyTUi8TnZBdPWL
9il3QOEhylPzkSTZeQhIO4CN68US4DhOaAMRdWk2qk9XXI6siDj9u8RFS61aAqphl2q+AZPGSS5A
SotTwjdpb2ZXaVN1qzYjFLYBiMZEDlJCNZ1VwJEXjRo2VQMNriGRWpCSKVgyuaavnd4mj2PaGDui
iuzBAurzm5EW5ktFSCEHsS4DqDh0pIc5AaFTN9RGrgVMpP2u1zpxI5XIkydNZVCPNAICMFIDIYDC
ygu3yfV2R2kz7mxS0/skIc2haASiE6nBroVSxy9pQhH0rkJDGCNNVWOI00p5bUsizV1wYOmJw3UB
2Y6ieo4GVl6YIH3+Dg2o3Fo26DqGpqnGoulQWltIGhoVXxckrKMi3XZm2sNNItNVq0j+141F/fzq
UNzspjVg8dTMxXwhBcijNeCh8aMDQjQ5D3rgKR+QzDeuSr8OoWC1YYguQC6Y8K2baQjmm/yxazzY
ItrfmgfEHLIw11/f1dk6eHdTi+6hQ6ZAk7etitQ++zBCpKYfyM+8zGA4cC5UwOz1+9h2P1bAomtQ
rKaN4SXTfLv5FbcatCqgN9ZnHstsr+zKwBgOI3R8DLPYfP2QnydSHwtevOiWy9lACpA4odXs6s5W
jy84A8/Woqog9QWeL2hdL2rRHs3a7EeoGo5atiYMSMuou1Kt/mBb9D95lndFLSoxa7K8F0oDMdrk
xOR7GdorX1fW5xUKKutdAYvKgihE7jANY3wNkQ5IWfTtQya+ZQq6tIJfGHg/fxJT/Lw90YF00zS1
xSdh6ZXeEIJPQrSOmxbPsFciTRsxwO0dNZ80Jw2/fraz84l35S3eE6FmxIZkEnzoLQTvIm662Anr
4etCzk6qofcOw6KJuHl5GQQyIDG0MwlHc4Nnqh5W6lbbx9vimwXxkBuo/W3Kq0uioednZn+XqSwD
h7Qqj3I7QpkwUAXjKvGkNohWkIVEAJzzwJrVxcCazx8V3t27Ehd1iehoHg2agIXvgbjElVwNYgMI
ltpM82rI511olnM0yKL3UBB7BhVWjLXIFViUJ5elyOAs0IBBndSW0mMawykGzR+sV5TB7+Fz9KbQ
u/YGRpkAwhhfv1XtzHcBi6bqINIPUUsg4n2c2BRWmTdmBtURp+vb77VgEIHlisUeDZuQXdtxCOaV
pEe4f6pK6NWtXnTQTRvGtoFXolI3VeawX4ZTYdh2hoa7MLJDHa6qaYoZg2wFGk2cG2ZCMNxVmkRc
DRrosYyV8DO0UCQxgcOEQGEkB7lSguTJLDx/1hXHWoIsKcjplc+NZvTVGAL4CAXMmspNSKkB0Tsi
/7MTzgP01kTufV0vn5vBx+5i2v9uvse0rOMYQDS/SXq/5zZs2jz4uohLvev0Vb8rAvaJvjcdtO0M
gqANbdzW3CDPwyuV6kJJ5xrZh85vupV3RRWgP0tZ22t+tmf72nRlH2PSrv7egpoDOUE10Hz9m+HF
j5endmdmzhDAh38Q8fYWciiX7n+kkshcdIUGwznyepCIHiJHz3K7AMnF6wQioRc6wzMN+n15y4Q1
yax5qtgUqkwRCCtgOw5IqKeqvCrM21r0F0b/z13vh6dbfr4U+A6q13iJCgQ+OSE+HKGuEw2rr9vK
+VpEkuMUD2zD3zg99bs3mNsEoHgt03xpTTfaflKhrnZTLxjtLltNzz4U4pyQ4mjJUA1fDMaDEPBh
cbBY2q5c0wpqCYmfyfQ/+MTABfq7lMWIXFmJRGr4W/1c0RVIo0EXIhvFeKntTzf7qYN96+CWQVsw
lEBGoxOTpR3GBNOdIirGcAp3TcAyuah7f+5NITAHkXETrtAG6fPjmyJJgX9mhmHyim2a70kgzV6i
+rqH9/3i8PF5nYjE6mmSgUEZ48iSrtRAsJkwoqloF3Y4jcc24jfQJlaXlmj/j+d6K2nRh9i9NrRD
00zRG50PJNEKZjukciPQj6zMn+bNhQZ/pg0q8LbpUxoigmmXc6imkAw2QAjHl0MUZ7roH7NA7MZT
740P7Ga8nzBfytPXpU7P8KmtvCt0MRgj7q1BCi1sn5r1PAooUwRceWFg4HxdzKVnW3xfWqZwrvZ4
NiyeXIVB8/aeZxce5cwAhvqzphSCKbNyOVujCkGmPIHOpAX+PJCVEG8aoFD39YN8XQhihD+29UpU
vFMmMNKYWUGqgukO5/alpOfzLe/vR0GP9LGUsR5MKY8r1a9+TdYIax37EAtz3N7/n4Rxn305CNNG
gg0on7a8GPm1BMyRXgUWo06Gq16FBA8G5JBo44VFwjSx+tTW3pWz6CfKvBbo9ySMyZv6qO3EGoI+
4f/A53pmPEQA9dvzLL5bqSlY3aMNw+dGjoij3vV3ud/v0nAyp/apJwPFVvjQhdt83TYuPd9ixLIU
tUamEOox24DYGrZr5oMhH1wq5kzAHnrAd883LcbejYyNrbVagRn9vCzRPYgF3k9pOog+vr1kBTzX
NCbAIciS0E5AoO/HojpKi7ZHMLRvQflogDxXbrx03fPX9XahkE+eYTnlGozsqk/he9ZSKK8jbaGn
8urrYs7W27uHWTqASd0g+sYkr8Zh/QVCG7toTTZ1kAH1daEtXCxs0eMpRonI6Q4PVe3TdbGawtOB
FXahlbeuL5h+zqxTEcKFRRxyyaEHASP7x7eUOYMmcRmr7z5Ahm3ryQf4BF3TLVKYhqVtf7hsHv68
4P9Y5KKHchD/3MQ9ijRyHdqnD6Ox7sVvuYAsmQPhwLsLr26aGS27jvdPuKjNnkOtSCBx0RdBeoRK
FpIxoEoaTHMa5l0e+j/ruEzSGu9qdDFT46aZ5EUWmxC+KUFiE/VoI39HG7Tnzo75SekcxBrVA3AN
rDQgoQhVaUSXcajHO3yAkwgJfdFqcOLeM1uVlpDgLuqfejsJvJGMTFJVSDIkLnC1xTYmSnlSqEaB
IBGJrm5sVE15wcd55huDBUPXkBVrYeltL/qMUdGKtNcixa8G/mO0pJu6k++turrwKZ+ZTnwoZtFf
tG0cxaRBq1fp6BXFD7uBwLJ0HNX4wjh8xk6C5erbAy1z6NB4erug3PCb7TQ5s+OrIshDCC4htmK0
jhAwCy+0wamNLdrghxIXTZ7DDE7lKYAlG44VYk2rq2TVPOVsQzZ9mAeXwirOjGIfils0ea1ytBbC
SprPo6i8MSRFvYniYbgxTKpfO8zOD1IvSRfe35lCP7R7/WNPYiZdY6rTd2bpv/XkJe2uCgkSuwP3
GKADX1eoem68dAy4W2x5it1b6v8M0QjriQ6QJluZPtQlbyk0nX4rge6RLYJD7xHUiD4zcpUDgx/G
ggNqmn23WHi66opcDetLPm3tzCtW3t/R4rPXRkvvk16ZOtLuIfGKoPTz/Nq0/fIeiAsF07DqJ+Ag
nnOAGuKKrBCvGbDvzbf+AJgk20I64WDbAYFE+rN0IS35fCf/rrYWryaqoBLfctybfYhv0l0VTNoB
ynf92jpMHEZ1DfbI1y/onJ3/Q3UsJmzADtWpgGQFAiOS6KixXPpFqpIjChUDETAGCYPwpgRCAOJM
oRyhRr+02FAuJK2eaSUfvoPFOylzi9GcdZjdxCoBm65sqWv0bax7Bdwc294Q8RVws9URJhDYy3gR
QUT764o4M9jhFt78S8vxdbAlczQGTPrZRkqBZqggcg5V1BxqyE5d+xLkYr8u8cx3+KHERV9jy5Cg
iZHtCB1FfmDsSa4zX7YryJ4lQVpUF57vUmmLrobK6LVph5WT4TqWABIG6QqZVwniQat49fWTnRuI
3ttAFs2Y0khwxmrVL2oIQnYRiE2IqcAQ+nUxnxOAkbUJcwQkhZBVDkvcYhFgSVrBEOMMO/rWuAO5
IVBWLCg2k4suuzUz17p30JnIQbZDsjULL44W59oMMl8R8ICoB+RsLd4gjyGRYsj9ZMfvfI5liIp8
RVjVvV9A4WCQgn4qVFpgtBCP6dUl08W5F/q+8MULtXJnGPVRxTAsYgSZK9tuhKD/kK0qiyJHNPa/
ruxzo/774hafqFQaghMKX7ZqRtKBIR4cQpHSTSv05GqoiXKpK5xu/20khrUCOka6YSAk2dQh0LAM
+zY6Jg2RBFEwsRoDseFhu4PaqQ/Z19PlrJbFTP5zaYsWa9k0U50BokamXRpXU37ofY+J3NpJiePW
pWbfa5Yo/FrokEhwKPZmrLmuNWacvq7mj03q9UYM5BDIgN8qsLMtqrnvWEmQnmCvuvgQyWmglxQi
OS4H+yIrkB/Aogsf0cdv9U+B+HgsE24aHYKGH2cDCaMmkuUgftQklg0t4qHemxp90quL+nJTHS7f
KGzlkHiDo03/BKqt5MEqWx2CdixtoL3A06oPyAhESJUaEFlPIJjb6iQH8YU2Hq/aeMMApN+JJIVC
LzhMrgLhPc+ErPr66zo/VwWIhphuSTGQILfoRjIITdV6nCPMXo0zSFlzEzK8AlKfDRSRvi7q41f0
WtuTtwC9he1M+msfa1uJFZnUdQsxiCht7s0izyC5SWDGKiwCDo2QHOv/K25iLtHQ4aOA7giyJ2Ax
/lgiAEYZEkqhowV6rtEwF2G8yDf86aQXFh9n3q4B4SMoSiKTFPomi3ZkaNxJgS4E/rtJrmUdYe/0
Ipn+TJ+ARop4GiT1yTZmjR+fJbNVCk6XrUCKQAnkA+BuLSaNZKN440sVjtdfv6s513bRYMFYx2rK
sBTIqi2TJgspVQBKrRxIf9vsVk0wK2ijXtoTMwa6LTKcq6h2BNI3Ce38FCkN3og1876tI/WU12DA
V8gPDpHeYW2SKrMQBdQPATxWE+DDhto+Z0PY6lq9keO+CZIcqqWmZHdXVaLGe8nW+Y53bYeEqBw4
dmFJEPIAnQqeRyDsrBY8u26U7rpKr7/T1LL2hNcvHNYpCMZP384wDFihlcWFjnkxf7bRSUDRTocJ
G74vQ4OIwceX0GWSkca15PhVZPsjAjSkFC1XkhggGuWNXsmnMcdaaWhAyYEV3YEsWM13E7gZWqBh
qxDfScFdwATHBoyBZtVKd/Jfdp8Dt5BuI9PcUUAUka6KFLfadZD415KjaZRuQ0bPYjVYDmTz9Zte
drrTI9nmlIODF60q8zzjnbHNBjnSgoVUhxqzDRmkZGVk0GoVrdsYgKB90y+GbSyMv1MlwgQLkVWE
ECHKCKo4HyvRqJNGWNUgYeaibo1gWtYOz9Bd9tW1fZSCrx9v2eksC5tmEu8eL4nHEa08AcKL5R5j
WD8r9UqIZMURSf91Ucuu9LUoZ1L6gYrTpz4+0ZnsNCoaR5/veVtCy/xWaMaFTnRhF5hqDw4AAJJh
CUP++idPXm9FMUsdGbWHeVe8BhEFoa2A7HiKp+/TK+1C87hY3mJ2oCDNjohielsoD1zBw7RKhcSM
l62tl8uWqY+roc+Pt/jCoN+j5NDnk2Dbjtf8kIZGqK5AE/K/fleLnI7P5SwaYcNV6K2qKAd2rUCv
TWivIzkIKtrR0LtEpWte14eCoafqK6+CGWSstqOShRipQzZCme/ih7hYjX6+pUVTRW8a0b6eHz1d
l9tk1br5Rg8ux+DMnrb3nfuyDU19wruPoomcksYc7xQJCJpnbNiqT1YwTwcM1NkD6DbFKll114AN
eXZg/6RHGcJNO45IXHk1iXF0G8DlgkvqTYvcrs8VsBiuZT0hqT51DPK2v+b+GKBzWAGa9QLRrBW6
xMy9a/fgm/ppaLpgX/rGtrsDfBIZ0FCJcbFmPfbh5XiHMz2kgfAhBxpAsC+i6/9YW20DayjtGPL3
gWxK89uuRir7cNsAc6JBJAV0lwttcxrKP76ej6PM4pNLm6GtjA5wCRkgP+jhdNaAmFYpM+h28ns/
6kVkgo8Ij8LvTo/0B2rqVuXGfcHXxIq62/l2/tev/n/HL5A2K4aYVPy//wvbvwgdoACZiMXmfx/S
X4xw8lv813Ta34d9POm/r+hLdSvYy4s4/KDLIz+ciOv/KX/1Q/z4sOFXIhXDqXlhw80LbwoxF4I7
nY78n+78x8t8lbuBvvzrr1+I6hXT1RBfXP31Z9fm+V9/YaHx7s1M1/+z8/ijxHm3P5rn9B//h/34
mf74dNrLDy7+9Zdh/BPuc1ic4Y2CGAao0n/9o3uZ9mj6P3UHbiwoGmoqhtBpT0WYSLBL/acCLSuY
WyDLAgUmB++fI+YYuxTzn9OsAgt6CDPJSGn5699P/+E9vb23f1RNeU3SSvB//WUiruNDS0J4J6b0
E7Udc1O4jtXlxDQerLjgii4B2oDhb8inaC+ZB06uIm1bhv2jAWvaYr0KPdTJGqLC9N/Ht1otECVX
b3qZfVML5RQXpPKUuq0Dp7aM0In1HUxC3xoLgh+VEm3SOgJ6ohxeetBYtLFf9QVoTQC+pj1IYLXJ
dl2O2IKkiQ+xKLirlOXJMuT7MnVCFVLXot22eQoag6GkK2BXi8LLf8Rt6kNiFKijMu/BsDCOqpn+
Im1X+0ad4iLsyhhU27VloP4iYAhMcR9JVe9WeusXUQ9qyGDukay+0Y12XVgqX3Nfj76Z/Q24wdZK
SyPm4Y3+UnKRQTNVWWGBiylQVR0i0f2WKgo8jaU/RmnUrPUG4A9zeBLyGO9Z0gJemLuxbYHjYk4A
FbUOLEygAgRgpbHsMSRoEwIJfFWHxrKuEdAtyK4hv6YlHyMgh0DZbHDH0jw2Bgvt8hHJo/gi6KNh
EGcDxQW4daVUCrOOHR2Yqwteg7nRN7+qrMWiSWxG0zNG9tJR6YU17V4A2phyGXxo0zE8UzYjj9Em
FC1cf7kkdRAe9GTEv7mRjegLK0YCfPliQKbIRUxV4nEVettDOm7LTAXhBtCCbBNrJXRu5cZ1FIuC
IplAfq2m61Vm9bnbqD96zBGl9tjL+l2aAjsBYq2K9GlJOaV0uKsaJxCjvUcYfYEUPiNzk1ocraL/
7gZ9CeqcoqffkdvdRNNUHoj62JE8m0v32XOSx0fLIY9D9cug4tAV4y2MDXQlDxB8U/i1QqE6AbXe
MqQQ2HdHzbDBHVE0FzzzVkbsarq2U8tF2JV2bRnFPUgcrnHAmF1Y3XUjU7BcRkAng1GtHmkM77mi
hxkfv9MqAqLYzE6FUEAA52hFAkzQlCjbQEmVnzTpQnm0gEmLugOn6gFyS5is+73iIHwVQZ8uVKZW
Ra2dRsPZRQkoGm0qu72mDyuDliY6tygEEKlEgF7B/JEaYNeIIgtFU/4QZfY4aQAEVRWHRRqXPlet
+6SXnD1ROg1rPYIQ3dgEqla2QMo7AVY97AhUYIt8rcX1k0Oib7pelSEcqN4QA3g1MMA2mnEtFW1Y
EhE6vPZ0pdF2VgvCVisi0JSiIva02E8okN2EJHelnOyYaQE9CzRl2PTFnUYS7hY1WIxY7bVM8I0J
4TJw1KB+XBvse16rgK7ToduTskFoVPWUgF1ojJ1HO6ik0eoqz1IeZkZjQwJC/0kc5yfX9W/pCIQq
LDw/BARfW+1X3mSbPtd/a1H804IFfoBcRrurNayaAJYU0H4zqvuoTn21Ge5ycAQhUlVSaDwLENtI
tRvUkfgRUZ/MPH0mAksnaMjLXmyQu0JBgBO8BymRbx0T4QR2drKJoj2qXNT+ED1XJSDjZUagbzCO
oBfasavoXF61Yz+hFgfgqOVvXARg8/5qzOiZKUVgGMl9Uxc7FufmnpZsDf0tZWUJFVw8tFM1rYx1
JKQjFJhEYBvSi2rl9xLLxmsd6BsbIhw3Q9VfW5RDK8fsgMDRwdtEDldqZI9x1QWtAB1XHZzQyFTc
OjJk0sxgntOiox7qDsBGCCO6jVXkYUe2JW3aTZ1oK4WKl6wurI06JP0qj1TwoJOnFgGNAPMBeGsO
UPRIkauRERNcu3uIsNhBAXBExizLlwfnWw1RImIYa6gvbFTTue0ycW0q2nElO09Ig17nDq2fYOKB
MUuCNINV52vkB7cua5XyoKeAHcuQxzFygDuhk7xXhPM44DvOzOvMcb6LqgYU0JKFl/UUwmN5I2+V
Bhg7G1IyDTM2XRdDiFw3XH3ERfUOgDy71GI0fFBjMT0LCo3dkdTx9Aw2hDwZuVuKguyy5EFSZZ8Q
QDJXui3dQDiSgeBWrGszhh6MOyCXDZRn5Kd2FgCScrQjkIcNkA4r+QRhzgrr74AHCBNRxa4QLA5j
p7K3+SDt5NAgstjotVOtoHRTQA6tjoAy5qCfJJ4V8xuJj9mTjuykVUknKayqaFfJWHBAE1OwtrfJ
M2CaatQ7WwTv1H6fSWpAB0RiI2PpwbY41ObkHlB2KQkGhwCHzlO2w/cVArCdeaUBuKVdAsOWs+i5
xhe174yauavcLm9rMHZAYgN0u1Sg46JJyVYSFNQVemj7NtvqaYQhixmuXNTSqhcQAkicDCyymO+E
bNeB0cqFC792t+9GYgfZGL8ggL3bjxhnAGKxUREj0EbNaMXXcOjfyyNoq/NWn9TAILfkwEsMdKOd
9RtTbjBhSB2+NdMMwo2lqZxAcUCXNEhrI6VkS9SebOf/jVWfQAl22o7lqEb2Vzk460xRwFozIR8V
Kw4DdQvqua//jWRszz/aNiq56XIrP6BHPWZKTzbI56Or2mikBxmvE6zeVgu1xAZCJi8xOOQW3xvT
prClDS1UehM7iXrHGV5gy58h2EPXyCbp9q1M+/2gdqiit+1GzyAuNXTmKk1i7JaZUa3m3fN2PP2o
Us1cs4LvifVUt0O7m680718cOf82/1F4c1syDQ+jRdSbT3g7dj6icjIQqeb/klEAbaXk21Ltglgt
7bWlCb5TMbfZwa7Od2+b8//m3+a98+b8h4CRqlV9GoJJDuVUKYF2bFdiVpHIUeR1hCIniKgwJWRj
imxZ5J2A4FVtkoHr+0KS9P38vzIxdhwMts18bDed8Po/h9o+i+U6tDtnpyIV7lcSORzIPprAX9Kq
G4u1UFwmZvUNmfd7gSSaX6YjMZCtq/yGN8QEuhJhJRjzxqAiQ/nN6fleny5UD6DqYtTIbgwEerxe
yJRb+i0y49cL2QN6d7sb4huziSH3Q23QtPl32x716K5TOmNb1OAzRqNmba2+qB7x3bm6mcUPCEhM
jjrSlZANgd8RmK36A5Hj9byp1dJJq2L9ZLLePNVxf5p/jsE5X49pqfhpOVaPwOMCnQg4GQRXb2jO
o4PB0TRZlt42tZbclpIovF5r1fX8WzUdYeGIeef8p8+HAh20pq7nTTlKooNZya9HzCfN19CnI9T6
2jAZGJuQAlUigpnuj3hIyIvCQE9mUM265RanoSy3cOgLjVzFA4y0TVq03wdjwCwhpi95NdwrARJk
pAcpmvy8dgXCl0GLfSkhBLR25PIh7s3v5nQw4nz8FguRH0OUKJ4j8fh6JNUxsiyM+rCHhbyUYANt
HCQj6LW2lSRkPZgqQNA4OatliAKWo3FrgOwVYM4g0A/YCnJjSgKKJkBMOroMK+vJCwaBE88d85sM
idoVU1pwcRx52GG6nQRJSsS9w9Lf86EO5GHNmtCfo4MJDKKLleuol+21kkvVOs8BpoYUAeIcqMPv
mgpqohHkFjNajruIVdV91kBLLXXMdpNkMmYXlgTnhOByOO+VejkLshTZO/Z0cDloeqhrSASY91qV
Lm/qvEFnOp3bw1y+6xlaAFy15X2nadkxSgHdnnYKrBCvY6XczmeOVG5vMWK589b8h9n3w9BHt/PR
Y9OsW8vJTvOVEJf+UJqYaM/76jZj7hil+X4+D1k1WLWNUvT6AKmlgEGcDcn69SZA9vATULSC+eAi
5SyMiW3/eQBmF5umcPAupzs2s5Ts5EhTXm9LQ8jsgWbsGV+q7hmW1vjI1MHnlYi42keOWr7+gbpm
uS+hMeqSnkHb7O0YI08Ak50Pf/1VIqeMUb6bT3m7wnyE04hyb2fq9P3O15aIFHR5/uPdBV//O5/4
7qo1TFmeRDptNe/RewelfrrcdM22NxHVDBTzvPftOebNdyenWszWVYX3N531tvftRucd85+3Z6mK
Bus9I9K9t8u/3szb0W97OmU8NkQma0TEHdNMBTaiirWDRWuA/2rTGtzWhqqNEFkawpWQRNtMQ3KW
YAfu8J6FAjNTUCayGLTxGtTft7PlKKUe5yWSrN72zLsbVQudminb10vUlgY+qkL31sDbAbQlFD0f
h3x0mNsQbgnLU2MP0F3+953Nx0hj/OQwRtfZkHcMEp9Fs1erDOyYaVOKGs0fa6PFWFYfwYLp96XB
2YlWOgNfvL7q0Eb3iCEUWH0AIhqNdbUvMD05zYdlsXaqmjzZt03SwLZdmzc2Kezd6yaP4jt4X9Td
fMJ8ySxj98jN7HevlwTa8QH60Hw3X23+E1fJo+jl8s81tK59GqF8+3rE623l5vcYXrDtaylOxn7G
DdW2r5dkZfwcETb82az75gWzRPHnYBv+MExia8zA/35M+Mgx8bEw9fpzU0WbgZyqRpu3u+oEaOSg
qBib12P6BGYE2JLkzXxL84HM1pGuaKbd5vXGFAlk0tgCd/z1HEycODIM7fLddSUD66Jpgvj621xR
Zj3C5UwyB5k/eAvztYuiHdxitPX167VbrcW0vGrlNazi4Ow2cEFgGBnb9WtZRmlDgVvp2J9tOI4t
F7baKZsI13x9gwIh/J3dpn+uaSK5H65uGoU1gjOvbIZZGBX8mo7XiY73H2eJFbLpdLmtFXB4cjMg
LdS/LafVw7lSSVciWn+qWduABQuhEkoIncFAgnTxcf6d2knpRXEScj70/vxTzvts52jxk7AQUuTo
vA2hzwjseQ3Xu4FFRa80ylVn29SjMHuG80kRlgGhrhjIQu1K7glGSPjaOqISPVFFjgDNNJg7QDJw
/p3Pch+t3CCWCCzqHGtRXk20yOluYTPSjzAPr4hSyF7DLSuYf39tuOk9h0ED08lCC/5UNwEUXoIq
gQmM0Qo2t9cy5sONlkUeMuC+d0afYEH97+oGxSNdUQmkYNAwn+kgdVObBLRdoVeNgMpwWQGyi7zX
Sql3WiKSDRgQwG/SMlSzNjpGIM2yJMQ0h5wUBb1z3EPIH5G+LNT1px6atVe0RPDztL+FU+aKYyFc
u/Ohtp63e0cMxxIWrhCSmihNP0mVSq5LU5ArWpUemsh4EsV+xLo4y9R9oytA3AL7eZr/JGrh53xg
gZb2YO45SX0y9XzYO6CC8yYOeNfrR96N5kk2unYHY9Kh1UE5TS12Apx6g1iRbk8FKEkRPDmrGhxO
oxqSY6Z1xgmBpPY1OiAhzH5lSpBdLuNWHCvEKxW8V66srnMhEYP6HJBWs9YdfKFwkrq91PMTV7nm
jZAcDQypaa+0CrhhIW3iruEHKkqQoXJw2TnPIEwaH5vksZ3Ooia5KttI7KnVWfvMICsSA4g77VLA
YpRihqkejC6HPotDRFo/OspQ7JwSUz49g1fJpMq16LJqb8bON4nSdTrWZdjAGpdCMBT24W+0QEiV
ZgKiDr+3lypWsc6H7DnrVedqBNGNAjES6qYEUKh4QmTUvS3HxhbU2IqvGumoOnl6nRgtKiRFdrDs
FDfEImA2W9EW0dJFhoitR2Yb4/VchVkGVWYrEpOpoL7hkJdBwhi9ZiIGs0WeNDNrVTopY5Bghn5S
obrpMwmi9epQKlecwYk00uyUkig9NZGcnQxUI9PMdjXYeF2FrjanEQnKXiriIkzQs3UghniQgkSC
k4EBqTaRfzn/T0QQLEBLNfTU8ozeIQGbQHJp0wDNrTiDB7u/FuAheZW2pwrrGFepamQlKKNxNdV9
ZKbIx7VEuy6rrnfjrIAfuJhMZKrMwoTLflka7Skn6m+Qffq6KBDIgHVCx7Pv4AuokOFldqjUiXlq
ZPLDgdsMoregucfpJkvG0c9K23rKoPtRsD5ft6RC7kWnk23UARfLI1S/AmhB2zr6vsLQ4ATIlFz1
hrVWVdk6pg65YdSKDyaDIgs8UWZQYvkf9urIPCymJHDHleJ2sMlNotiJZ/BRhUBJggj8Ic+2FHbx
b4nmeJqgMdC2nQkLa66G86ZkhAb3VJhlH0u9LzcyzyEWanfRU9Lpeye2yF1nW/k+S3XNI6qDWFML
XlCjBUQBgDB2nVikvbJ6RaDnFNJTE8PUn4o+Boc4z29hwrrRkgbs3qwf16JHmHCbdsaDrRQw+6r6
eN3GZRX2Is82YMD5dZ6sx3KlMqg/ae1LFcXavoQI/x5jvrHpaz2srIaGcWjU8Q9lEOpeaNGBIBp2
PW9x+F1X8qiA3QN8ot0OLxZYMwGtZW2fFwDZA2GUuwQq5G3dNevsda2O9Xw3Leo1bnDfTpCXX+Qa
FtVwNPf7t2Oy+ce8yOt9g/nM3+emrAa6fd5+O2PerGsdIJ1exgrw7ZhhKmou77UUvXIqUOjV728n
L49+u7YqwU7N22I7X+Xt93q2ArxdurQqOGdjYKRfC5nLmw9/O2b+n9RYUGfB6Pf2+5+Hn57v7Zbm
3TWzbukoQZ/o7XHeDnk9D1FIMNxCl+JPjUyXeT18vsS7exghctR123e/zJaV6c/ypmmvI8mk1qP/
S9Z3bbmqa9t+kVojh1fAOVWuWfWiVjWDEAJJgEj6+tvxPGevfdZ9cTPGAWMsDfXRw+afr/zP6+73
/n6G1G66TZb51//3df7zW96fLXkXHeweetQChzssO+mKwsKG7MvhK/XGBogJpNrfsjoGJjcO9hLq
gSBtr9+oCuHRioXDSUvybdCO/YP3UFEf/C55JTIHeMcrV/CIjpbeuUjet0dNq3k3J4F5TBqkiKEf
M33anp36lk9/orLaVQ0NvnxMwDnCZsxTkIzpVjQDCpVAB2eLMMnN0Hb2RSKRK2ODb34ZWCSP64eX
ZfmWlGP5I/UXVVRkGW6Ny5K99IN4b0f8P+877k/BAvX1f454/R8E/a9QlibzQ7q8WL4gBJ6z4Hz/
4EnwdBvO0/B0P6z7ASKXBe0IfGa1VKfWROMnhnSTB8aYx/tXdDynPd6/dmSF3IwIzUUbb+UbI2j5
N+yV4UU9/lnPG6y14rdFOn7B4e59RYCKPcwTRX5v4JoHt/OivIe99oea2cPfsxRURdQK/pOUBC5t
Xjw+d76BtWYr0xP4xukpdlm7HWM5PQ9djPK0tfynm/DifsTdyB/QRUNrjq0G1n3dHrsgQfDyerPo
WQHjNP4B0Hl1cBY4mkdSXqXL2cGmSDm3/qBzI6b5LXF6XQxjv09K1701nWiAuhpwvoRVWN/AsDuI
O+jOaJixButZ4ypxFCFH+f48A7H8gu203fRd+FLCGRHpkym7uBM6Fv44uTs5BsveLPCeiEeEz0bz
ghsHoExn/B0nKNDg6MTPlST7tu0qTIij/LBx+8Er4Cim8/MYc/UOKcb1QdTwzoZwpr+EiZieeKCP
TtQix6di7aaC1uMSemCfz10KJ/He8S/VRP1La1Vw4XML4nTNC5ZWzr4ZhPvW9MFxdv3XcsT7tPUs
nsWyQNln210L+6knTKl6U9W+fzkqQV+8Gdlavc9RSElABxClvjnIZ8bJgTFUukRowqH6TkbE5PhG
vI6sYq+dgbTFWO9sJ/QtERkF2uQL0ssxl7/7tkYsKNhGmYXZXDymCK/oz4kz3cQ4vbqhvY4+OaGx
XmcVbT/Tmp5BnANZtt+58fwaYvLL03nCbG/kxvbqOw6ZxTI6TLMo/B6hR8sANNe5CpbHqPePiIEe
imaO4JwN1/YuYi9D8+GmTKCjnJY5RaXio4hUdfUEt4t3VyMy17fXhgwzDD3Q7es88EFonBaASGQW
LPFJkeHoWe2DwUchnKn6CKW/kwP8QocauGJuu/AZKTcYA5STYqavj1NM3/CnCeQr+kOfIPnaQk/o
OqrphbH5qYLjelY1Yoc64TkG1zIPvKpYtHtUMbuODTDtGYocI15iHf8eTI/sGiBysIwl+IlDue1T
vQ8nG6A3Oesi8BjduwFSFlE8gGR6U2lSgSk5HieNCmfCCjNv5vQHIMy9Oyl2mBL0nymYrXyasLqq
/YMrIKJYVm8sWKtt/UUcw6GKALPCXd3mQ7gMxYIFRxZy94pu/nJ1LvCrB/Ko5+rSYkY/uBw6qDqx
WNjFXLw7HqqoCfKfwtPnZujIOQzJdFGRni+NfUlkgJiomOl3sSaOAFeF6Toj9kmjNasVUn4dFz2r
xiEgqOoQ6eAqfe8Ef9QTcR5LSd0nRIKcQqqWHB4waDK2Fu5deiwSD1zM1kxkySIug0ttur2Bq8rR
c5YJSp9mFVO71Xvp2RN8D+NveMwDHWuxbqkQY5u16O7vIyyKMhai5MVICDeIlqIJODrlQ01eonS0
sKDzEvGIIPgs9ujexBH9bqs4b0Vbf5ehAK0pMv5DMs/BHoHUZs9KTz6OvNp7QfkLLi/iigZAVFhX
NBuO4NcdYrC6/H6KtEYfH9JDMGTXk2UIirRupPWpHqcBKi3MMAYwWi2NfaIuUi3hvvDRUkKyCEXp
s7UUdm5yQv9jGP0jAiAfWZPqDzsG4GoI3h3mKpBnv2unrEMxW0EYtPjdmXWwTAd5ZVtFjnMowUs6
Iq3q2ikk/ZW0Q7PQCZODp0AgD0209Rtdv6P2tAVSFo6AWeKneCnfBUCYT1p1cFQbmT7DfOu/Hgdg
/wOOgfTgaBgcFXIcH9jSyaN0VHcJWtUXjiFYlicJrI0QfVQ4cW2OIBHLI40BgAjWPURDdCaIGzh7
DlvOIdbap2F59TBE3dIWuL+WaXxspeI3wdmm83zkmyIcMWyaj3aO051VWm79ddNo+zjaiIGDvKi9
6/f9XgxjvbcJo4/E1ZmyzjuZl+7lflMvL5FF+ZwsTXzSvPJfKaAsJKwD9W1ho2nm7Ty2qmideETW
A1+KutTqYsGbQVy4PcaThh1MWyfgNqgEED/NuD/Rd1w6bLcw/62aEkyqsmnOhBDgvzoeINPVwbYe
WPDgD725uJHccF/NJyQ4TCcNk8VTj7AnpqIfGg1TQBd0xT7EE8KYqqcKODou54cmdVE0aV0e22hl
gbgkerKIDQarRLLTaDssJT397FFrb9MIKHIhH8J/86V89hEehs42MU+qCmGNVukt6FLutqGJ3fUp
lotCOw6GcOpc0dr59iVIPkFg41vad6ToZBsf0OT/Efa6f8TcNmThe7ueO7BqQP3AKm5vGs/7u0k8
9zDWTcYC252lTruzC6PGrkzU2Z8r5AsJB5EhqN7Mxixl+aLcUD82vi1C5tInzI7PxoaimHjsPBH6
4sSVuZW1N19DrL8mv73hWIMDGWR1cjvDt2Edomk8hIiZQS54Tmp2RKvgWpcy/gCi9RDprj1rKpFp
OV6qno0vVReOL3PFXxDZe1SB030s4fsC989PcEtAXAy5OYZU909G+BiEdNIcjTT+BpgEDOP5MG8r
QcmmBXRxut/MlRSngb/x0subaOpuFt2ZRyzBvQfa36K2bnZ9ovxCajk+tYy9hI2ZPnxkpmymhbDD
fRMFVtBggFY0IQ/Wh4NsaOBurLDChbBRHNodvqM92BrsdrRKQOKPFM0VjDrgaZu4l0iVAkM8WoZB
42oEsgDgSuqw/KpBMxnaMd7ECWWbao0fIa0Oj3Pt8SJMe74JGQVNQgZY/UIGspe06/CrUkS9wcfx
GKYG2GDtHIxVCzK7o+bS+xqNPiz38tj3vFvCMVi7w5QzvuhPqQcfRRnSntF6eMHJ5Lkqm+YQqlDs
pEGXkorA38Ijq82GyncPYd/XWz2b4OAz/jWHKX2JI430jomc0PAprwkYB+BRwOG5SyV5rHRFwd1f
MIEJG2UzpuQtLNTUVflXs4TBCdfGdGbDcOrSHt89WYe3uJSrzeGVpYN7orou88kTWOdL0YAFMW0d
Xyy7IfGaT9A3hU1lThqJbM5yqk6BmuKDb8x2+m7nABHWddBdHXRNv2b8qVHTgA09lfbMJdw94jk6
IMREZl4fOlddn4jpzV7G5qGJG3rttRPmXdz2G1a5NJcB8m6jULVHUSqxr0IDtkLMXlTrjldau+qF
A7sHbhnPtyYKVN4o4hwxj6IKUQL54rAmKBZvHk/EAwC1KBGeid5FrQ6ugrZbx9gYy6U0PSKqJD32
VZjuwJF1M0yDGgNWYo5TQmgxIC4pq00f/Uwsxs5t232mIbdvYtB2C0Td+wqa+Lvm4sYE+LXISJu8
WT7FFJVCUnZwPEZeByoi0GGitIS3XmKS/RjIPJpIfewRGDQlYjmFk1ttZhpNpwqtia1K+VeiQVFA
VDqyC4M0c32LuEgykqMmA6rNiKJ8ixjMmt1gQcU2GI40ybgHiKW7ooc2rCgRhL3x5gluozAn2Y0M
JrNRQktMt6nzK0H+eh/J6IEiASgLvC46OwivBH2MpA9LegC5bH4WEo6brqWI/dCLn7MeVocdJEu3
cuRfqveDw2icJgMSiZw0GYPS1nX+Tin2Sy1leKYLktxZFwwX0D1gsMpne+oo9TE0L8F+Kn14GwmC
mK+SgePZLyiu1tGproifm9anUU7SPi3gKVlurRt1z7Spr2SSbIP4BnWIRQMFgYMlEKHebXF5/0xr
hHo4TfISzf7W92oILCepM1gOBYc1SmjjVjb9WFL5KD2wcWISLZckAMwVdGGZVW7CHkAwvOnR9W6B
daDhw6Rax8T+Rkv7cY7jBUwLip+jtzVsL5jq5stMORiViiLAVj+MSh2lV+9Hx+M/jMdXql/kbTvk
Y53wQ8OlGQe+OPN3lSrzYBw1XdK2ueKXx4pjLPknGpKPCeHLVxkM25jqi3AYBOwtCR4Hb4hzyyGn
MogYOpHuY3UM//BylUYDYoLTNm8ntWx07InPNEbGLNQ314RZuvHSNwpC+HfI+Yi6Y1i2dbRMKOMg
yx7XeVqMAPwWk4yINRrXqGeXZTrg/tEjIH2F9TRdYKL/OQ5p+4ZqBIEOPGUPxJRYSYGGuwln1mSt
TJpTe5yrwX9NudsBqUHDzUV8yeAkp96hsAcxepMil+s4R4Cr5qdY/pQgxhUsUvupdTxwozxzRBgz
WoiePTfrVm3V1TFlsp172xz8FHHfNIawVfrUHHsjhyPET2B1aDSM1q16QnurKnuNX3vC4iaevkI4
fmwcPoAugfdBz70BFF3Dw8tDGjELA5g5zgsQ844kOSaI9Q9VI58FjBlUh8F6s4zHqvlF3AAGozo5
18BUciEihuu+HY/oO45eWx9JCWpoGIEeCaKgN5XLEc1LsUdm4twQP2MQMRTNeB47i1KmYvSZgagG
uDQtoMOZTwEhVQbNmJvpWrhZxUBoaxHfCkoyjEuw5J33usL0oEPFD0pvwT/JQglaJoJLkkVtZ50u
AFcYCAZsr+gxxKUFXVO5YW6rcxlRAN/a3qDV/DFJULu6r6DlNz4vRzLDh1p5b9EUbn2ojXqTPlAu
b4C4vit8yxm6tJH4J4Aw495b5luZHgNXewWp4ShbV96UadVe63gGHhKwnRWqPwl8RpciCZeiW4yB
ajpK154W0OD3lVOXWxAZx4WLjZVtlgz+t19ievAnxLQq5LKBxdt7WwGmIBYjVzqYbdyB4WdG52e0
IIkI8Z8vBjySocavZ7pw10OWuZhPb+zB5hAJIn1GF/zN4TbwX44Cx7ONfsnE7GfR8qMxWVp5nyVc
n7lFmpgZ4n3rdm0OltkH8nERNybjAwS/I9aTiH0fR5o5CVS9WAc8SmbjXV0yNOy8ZN9G/G0e6mmX
osrOa2JEoU9zjD0xeEujVXCN9VhZOBo09pU87KbyuUrqPzFYxJnrUQhV1ATmQsOf2sSX2yWmOxbU
87ZnwW9aNjYjsoZtNSXgUctw2QwAfvLUpU0BpB02ewBUy/RjhjWOCNtpQ80FzK/uYGOx6aP+fR79
ajdR7uTeQLw8aUuJlBJgPwh13Xr8FMzk0oeu3gHD0NYfjwpr4UErd4Ma22ZtON2QehaCfuvd3GYl
x2J90yv6GiZjcqbAig9RPO9sGvZn3k//e4NmVM7GCRj/4qgzwjagDY/7JFPwv8xM4gyYmHBjkN2a
RRUA7Dbm/cEvyRZFOM+0SQ+2A3VEee8otW/lzE+INH6ejQ6yFhLGmqZ13ie4EIeJ7kqbQpTon3rI
gfe8c3/W+KO01m03DnMgxgm2QdU3B0Se//Foc52mxdmLXpVnj/VvsC2tdxrR5Kf7zbI0oK9O7JrE
bT7Wot+pxnlrpzY3pRBFiM4i+DkN4g2b+i3oAJ6kkvb5CMo48NppBCzcMzBnIpk7xP9di0UjMyXC
ARmA/ieROieaDBph4C7cQe+PcZvCfW3dG0GYu8UZ+4PINnXgmITgq1yBm40qx+FRmodVp7YR3ter
JFZSVTMXfZr8AN8GI0Fl9+HYnlmUtPv726VxE/x94/vmPx/27w8PDE33TLbg7uJ/i4ZfkFeDKMji
DEcIySrCEYjaAkRUMgL/Jor1ic7+cmT9jUsoAqDSQGzqJGGQMQTedGjqAcRWXPLKyN9kPQrp622p
Qn2Q65lGTN2+AZPTqWYGt/b3QARHJB6qLOAe9MKqrc4DQN6s1t1SBFp30KSylVO+AMrHVFWgxQoL
YAkTNNvVSeZF43pJN+IksCCanPmo0aKFbhV8fhi+LiSaN9MQb8HeCPNe4xp0hsdx7A8OqNsmrAsg
Yl5RtonK4fmIEhSo9ikS6H0NwUpGjpGyN7q3lAu162fEocHzcBcZZ6dqfatRbnpT4EOKB8oIFsLb
3sY/4IUSZ2EJr5o6ijMDt5JMle0nCj1y6jpOD26P5ETIS4pZNWYzjnWPruL47qTyd8JZ9dJ77luA
4J0bpRIrzKjfDa1a+8Y+Ru4SLBwfw3IMJmbHJbzMxro7plo9UyjkEBUxgyPvma2QUm1KXCsnICvO
AwioXsbhwvxdmvQkmEnfhiAWu94rAbIlqXihqf68PwFLNJahQVo/q8XpD6ad7HY2LXlHR25/f4YL
SCwPUOzdLIsJln0uUOkmFt8x7Dhp4n17XPcFLhi0uipFrxoSg/z+SlY2m9ra8gMwcLVN3Kk80nKS
T3L9OvdntI15sZ4Sr0ETYA6NmL8LMfe+unx4uD8B0guTlbybH01K52OwwI+5g4P8h8Way8Sd/+0N
M6JvSpRBmI/aS0mwOLq/tBIvy5DoLxZKASexcTgNFRB+pE2Hfz/cFSn4vV79DmgBCAY6H3s7Dckz
l/z7/g6+0/5u+GKeMbXCeQpyq63FQhc+5OJw/+ymY5gy4pjcVtvrk5zgjSEAr3xRwALrwbHFV0VN
OnoORedfkyCFkeT6uyTDVMyQW3y0JWo327vyGGP0eATrD0u99aVDWj4TLfvXxC+hp1VOvDOhsa9z
Rx/v741+BQYhrkNcjIgXJch53IjZLh+UlkVcqeFFSPYDA4mTUw9lRYo1NXh0XabnHpVog86ATixs
HRKyn6YXHlO/mIIF1pB+uR/kMr1TOnwyG1lkyyMeEKorlGeevg4s/YLv2tVGY/oVJ1MD+UbnXeux
K8EtbKGEx1T1RWLYtvNofJPJUO97ZInvpllUPyrXbu5PaPVUFgGuqTOPcAZLWG1ndlySLxHKNyw8
qpdwAJCXJjPolZN1PyNzu++fEoZyxzHVCVyH6qmhAL3/vpBTkUmRJo9+ib+CMzVYLK/v6OnX2huG
z5gHYosZbTrUc9e+zHX5et+fQt2QNdxEN8ktORu3QRt//RLD2GxdBLu9qwh/zK7xyj2XxH2jKTnc
n5DAWjuXs0oufkNjCFJbJDGt5wU/362mdnhV4CTv49L3sbDsEUiNRdn9lSkzQzHMIz+H7Zyck4Q8
6ya5St01zw1GvOfWwq2bpNY53DfTBGWA8fSv+9bfmwi4RdXa8fT3VaLkR5bqJXO8MVR5JemjpFh+
YGBtnjnpu73gqEWHzv+fj0gIOK9EYzW0PgONumgbe74p7u9+fyygT4Pq+NP9NQGqyg3s2MDoXw8w
Hkn4OPCf/xxyKPd1LSgIWu18wqBi3hVKYw7VwfMEBhikDwZNusa8a7PwE+ocA1oxNpsK4WpuG4Ft
sm5SjKBZrXBS4fLXvw/yKRGmeSNxGd36iHzc33kcIL5ILACO+2vARtQoaeV0uL9GGPe1Ie3w0IfN
8Aq8aR3jzHsihb7ITk4o/PFBMM1o0NIPoMNYN2u49eVaOVjCrp/bhuGOVUo9t1gaPMEy7e+xR9Da
nVgTDBgU8aLYULuxruPi8sCL2IjFaGtGernv7YJbBS7Q2wSS0a2l9vP+pHlAG231yC/um6VG/xQp
s8vfY0dN8WqSYHoIO9O9ugusZjxUAVU/tid4YhwMhoyDJT+aGlYIweSia/2jR5P2TIE9Cp3CiHxJ
YNEzM/hxDD06yDzGkgzGmDmfPHQZ1h33e//coGKHVnnyY3RU8JT7Te3OIOPd7w6LarK6EuXuvx78
e7clQLGhW0D+8/++0G/tAtCYX+EhFp3Z+riAthFNgfWTe0TwnJph2YjGnef/+ryy6Zs9+lkf/xz5
33dCBwFBrAJTKx02XkPHC22W6RIiyOdy37zfM91aM/WY9O+btCcsV+4KNLkMEjU0HJsV5JEe3VJX
9R9ormRgFa3dp8Y5R+lSXgCCRoUoA3pFwCyESYvMgR85n4ODrADqwqbBnYflPVAVMBLS5kMEUnZp
5b6dzMFXWsEUCB4OziBAYQuZud1v6NSZ2xTIctch5+ffO4Tw3C3pQ/LvHSqBsLXCweX3d2Fgcd/u
bxX0ioDLqoCur59xf+x+zx0IMhFl4P57R2njdtMScHH+9Yq0qqBpqyqsMv7vW7ULmMtlQuEDuB79
fe/9RnZgFvZTDF7z/91hS1qjbIaB+792VCO0G+hldv/eAV6hmyNhGEaE/zlX93sAwDFKuSV6lf93
hzNDpdhSVJT/2uEaUDqxtAMM859X3A/DJgRJya6Lc7/u+OckIhx0yYyOzN8d9733VyxODHCkq6J/
7wC3GMhjD2rpP0++3+t9WIv51rf/3jF106844iVMk/7P7yTA3xqHcPj7eGdLRKqz8RJ5lV94afRD
qopvGABGsCJGAV49rI2XcRfDfivXtkoK1gLul33yODU/Uub51xl6wrzGL0NYUiw9oAfkVbNND6AB
SwvnitU3BckQxT3+dxTMaNR/B15B2+YlEBQiqz7InUkcodYDtzGNDiOm0iIpP5xB7RHuefSRMH+e
O4D06UOw9N6bRoOiCxP0q9JyPilw+KE27sJ8lI2EYA7CzLJG3woawo2HLNxkVnuVhl1hhIu1rtq2
POVYcoHfQj7q9pVSYlcTPC8PBzRWE73Gqa8FNeJfwnHcLUN6yuPyjwecZKfHFiGYE+Rcw2PvzyAf
oyuY01R0xeKC2LMAt7A5+tk6k8mEoaN1jy3GxYyU0WGCZrzsEK8VzHCCHRLyAxXtbyzc3wECfHsA
sFrAGXU4oREuApj2pLzBetZu/8QC4Fzl9D6olOrFMdCTU8mA/Kflq/zNBmd4JZDZZpIBjR7hbuyS
vHQwHZhqrjaALiAB9l9FJfoibGp4AzvNn1GOewQuvBrljL+C2EKCeHaGBxZjLgz5GsDGEpJpMR/a
qIMhF4R5JWrMoXVvINywohSniil2kyBzeFCaYeinmQgQcIKT3GQReMpHrKHGwzJcq9p14H2HLiqB
QgSd2wxngsFjtC5dhW/AE9qg1u7Nh7z0cLwUWVGD2r5jzpxecAXNoR2f0oC0xRJCmbzA+EJ6W6YJ
cigart6kekoas2oHO+QdUMjPnab6Y9p4Q5AegPEzAkILdC0fMFlfXb/lWQzeKsjRcFQyvIzPJEC5
PPeIteIYetEGg+m/K9bWaqoeE1xnsSvVm9dCe0Rt/OWg/wdafQemPgLYs+W+uTjlsSbJDOEi9rpD
CkOYtg+K+0sFof0WK8Rme987J2laEOD1u5E47rGEsUrOKDJr0dEZT/ja0SvOD1aRfVOe75toXreZ
mBz7dxNuOKvePq0v6dDGr7Kt/4SODS/35wKD+qrjsL/e91WxeTO6Km8uQDcwIwa9gSIzzusk+A54
f2v1uHUVWNymjuVWa8+urN8Ik2bZe5cW+vklo0HgZWqI+LZ20ZX/7yf4siuE8scTKJbehUz+e1kt
0XZaIC4ZGUeoVv3TpNCqTsPqA7CgDQs9VgcWeOolwITQKokxPyQkuS6juEGjzFYyBC1iTO5F2QA/
r7/86mg9s7OUXpt4OPLoHJrqyCxydZhN8wlIftd5uZ03oES/pq14BQ57Skj/JyVV4T4OFYg488LB
1t6tbmzoAWGGGXQPb9URSXJZPDXhxhlSmiX99K49xPGIqnoQQLGyNAVwkQyJvNZdJjvyOkrgxUQ+
037JYVh4yScUSJMkoL1CDV5BMB/j4HTiZosQUGzFoNl7iFIvveqQ0GDrOnyPAL0fFSlhZsWylFU3
jXxqcD73pSbhOe3QDIb4+WZ6LLJm501rTjMb9GYnGLS3DXuPQkIfVMP/dDNB74XPpyqS3hGyoRJy
+jYnQTrsezaEG7ADXvjQ/arKcci0Tne9GZ88idgiA87T3ARIDanRMW9VGOVBQ3MbNudK2w3KokNa
iyIKk0+nSUFCVzVIPLiG7BrogJKmNvWV68jBU0O9ARjsoNKKdgrco6PTdg+DxFBgxoBnmV9P5c6z
ZRF16mzaEi0sYeK9gr1ZDvuNo4WSNJQzeP7UcQqouH8t+KZBxS591LJjO5abhXUfTVL/5HabBL/j
uYfL2Nyxwq/gX2qA1wwgMmdGiSRLx9KiH9pB1IvWq8Ob396Qo6oMUcjJE+XjNhYKxkXLDR4KwSYR
ClEBz+lADAJaZvSszAwhhv6d9jECkFFCoYRwf1LToppXb9UcFT0Zn+IWwQZD2kDj22V+G6lioO63
0jbdtT7ixglDVnWEWkMkyWcPb+UZRK2XKPFgkQZGHKNleoGVFDqWSwJcIhE7AO3tk1vNjxayZixm
ALZRNm8UGzJIg9mDLOt9CNQ+U0kNdfD8jC4fVHfE+w2RuH9NfSiPHSQBJx05VmhQorf66gYGRnE9
gEY4aAtMcUnMwEoE56YcaudU6k2kxITgO8RwJY3YozOes4TSDR3gueZMWm+kdTezwoIHCBo0gtnE
w20fIjKyeleDqDas9H/BVHYVTYN4tQp3/Xj4tqZ9omX0Vrv0p0EzbmM9d2cDeLMmHETUcihg8AcO
jcPn3UAssshUMF9FKXAJ2m4qbGk05gMLuq5Kz/ctTjx9ud9j/7l3fywcox/dNAIgCtH0hZPiJbDT
B2Qq6U6tW/P6XqUM1WWVT237SIPOve64P/d+75+b+2MGtDCfKH5cFBqeEQVrPAb76xKbqb9EpMzH
6NG4U3C8H44r+7og/gjbv/WT7sfEJnh+JC5qGbJzatZcxKTrjeqwPAiNiuFKgpZAhy7XFCPzpXK+
ezQD8Os+w/Aja8lvSJkzh3mQKhwC/F2XWKlHZ70Bjz86z1FzllL8DkPCt20YgC0CQ5EyrvtD74No
yJK6LwSQjKLs2Ca5d9kQE/Tk4yLf1z5ma4eU7CleH9OEd/gdYM7Wxs4rgPcZph6c7mvissuc+r9C
4A4PYOx4+8GC7xbGlj57YXsgaRDsGhAxwVXmI8momGBP40PmOFaQgFKxnbn8mTZpcnRsOV8l9/yD
muxj1/+STu2ewUXVNoNUJMJiEc0Mz5UoeliN0hAIx+eIVZLohmpjfTXtB45hlrjOrRTj8shMX0CH
Pz+Y2uxKdMaeGIdbNnwosA61pFgcxICJemgOnLdmgzQSd5uytaRFysuOkqHa+bRVm8irQYjmukZd
RObnaYR+PtDyQgZ0qc2yTE+u/8jr5mMGVnsjaarfBjND9iX5032Llzvyp1y64KF3F/x1k6V+cNvf
VdzCG7cuX6YlJIca+uCbNJ4oBEvdDzbOx2YG5X6JWHfwSO0WQcv6ImYQEjr4ehvAi5CgJ/PD/cYA
O71a6IPLOVQfsQrfwMxDyKP99Ko+vPVYYELeBNNW4jjTBrQS9OqoDn64kd2mYfrWIojNR2uZo0BP
YZid/T/Ozmw3biSLtl9EgGQwOLzmPCs1S34hbNnFeR6C5NffRdUFriUXLPTth4S6UdWZzCQj4pyz
99rxEBX7pFL2WpnjIUSac8Q3XMB+93t3XeI5Xiit9BeFYcWHIWqtHYsYmB4bNlArZw6cX95axOHo
iIhfw7poV5Ysi2sJXGI1oUFcxLj1liXhsJgnnPQNI+RZGFH86HQPHjPVC2a39jDkSOCKLLnAE9u6
CRti6cn4TtfKx0LE6YkRYjXch04fvQDSsSzBdFfi/myL4J8qsusN/DnUTmqqCV6zqpPubvIgLl8y
M9b3cX+DBic4pyHXBWUrekrowBzdCVO98DwgKK4ODYSKeiuHrFrhQG9us1L4u7rzy4eCC9h03egs
rc69GI0hL76K9FPTCLWCQTA8B4hoDDgInhUEv6ws/WV4k/FcCOjoXrySrp6eMgZuqxDl2R4UqFxW
6MvXHT3VNeNx/ZLRo2Tac1fPyq6MkXhmFcFt1bbryC/6u/l/STsePV12r7iBiACgKc4ZtdM2MpHf
VGnop7QsLXz81BhoNsus9M4EpuJUKiX/L6FGOCynbEaByr8RKLb0aCx+uIGygdcYmGXc5snTkuLS
tJmcB2/5Iq4x7SuTprDQ6LsNfXBnOE52cEKnwU4VhCfEIu7ez1vYILa3aGZJWa0oySgV4oOmJvfo
o3peIjx2FhyTu10dmtkuiKphLcC1g6/pyu/QN54md+hPduaJRZXm6mKGHkfR4tbUpl2iUufVibRL
E8UMX/TJ38W9cXAQDz1w/xeMnEVNDRSku0h06pTreboL5r9wqKcIqlS61xiUaQGig6UWp+qkqfJG
6km794uOVdcXzm6oaQCmDSQgPYrVtRB1jbm0y5ccWuIbJA8CVIPtX4eEd7QmDRZfoqYDcmZo4kUR
L0Y0Hz5e0G2Lcn41VGZCzzgZl42PESBkjGd1TXkUOrVlZDX+aWByv3Lc1KVUxF9X9VmziwcXjld+
agmqPIt5V2hnNVXevqqw2jOtkk9l+y1PMFiM0utv1FxMp8yenXG6BlVrrLKsjFZeTXhE0nrNPtDL
dpM20SukIXXXl6eysONXHATGzpQMxyViw2/01Tdu4Nl0jRyXBr5p3tkWZTsqw3ZrBOIZ5ER5V4XO
S8YIENWAzimLWeV6TJxxiVBUPvgMtwuj0Z8NHSiMstpoYWbxxhJKe7JrbtI+QeCASeNZG0v55ETm
q3RwjcAFRaCpiZVELLvtRSjvOeBxBPHis+PgwkefdOk06zKozDx5traOxr5BWDWa5zE993ZofsPu
CB6687u9rxQnlqrNdnQSCkTQebhzOGOjhujFqU4lL1l8N2ItP9eJPt1nDSP0pn8w6gKgjy2WOg20
vpism/cXL6tObmt6xwFiywbakFi6U1RdNdVSzQFB2DsOnSi3+Ecr4p9dHxFU6Js/4s70b+1LjPzM
0lp5//4StdmzcMyTSazBXTwhrW5r0FqVgb5A76L1EJnOHqJwuxZhFGyR24tHkbm3OX/txVjlB1fv
4ztStNgNoNq9RkgUAiN0f9QquQyu8G+LQPwThFa2cV3yBUnRc+4oCX7qNma5ZpaIpir/CdVl3Gaq
fmAapCNhDs96YyV7irn0MMxzDDZmYx/5TGA8r3m06lBuZMmzwWkMdyaE8iffFudusrQfmjNApw66
CHkutpBFUCYkRqCRurpwR7RYIL9uplXlNua11hN78Y49aZBXNnHlvZTxINdGZBNljoxn0ExzaeHk
/RENP+vOaPcO9sq9k3o7EXrJs2WW+jaxs2mNY2TTzvLGHlrPGgGus6w782AmdXo+SLtpoNFD3TJ1
tlIdZFqdJ/GJZQOFvkG4fAvM7P1RUoH12IwKXsPsnGXy4Au6zUPZaDcAu9yDncTdKhj96j6R8S6t
ATjD8WlWoczihwBeVQTq4jAifjins+gWB0xy7vVhyWR6gc/4olWB+1II0RPeDsOlj6JyhalzzYQ5
33VqDCGiqOWQuPfpJIuLZ3rrVA3THmtH9mDkCr144l9DKoSuq6N1l6aHiJlWMuLglsYmMlT5ktSV
cwiEQhNQMFnxe70/Is2WzKyluKsKmlVBNTQHF0DmLkqLdpEzp1iYUZQ9GaDODoZO4oOCOJ5OuXrD
qxrUyvunM3qGEWm1bfiYa9mpYB+3bree3MZ9LuuLYEB9Dk30UdS0KJcqyE6BN22UY9570g6OuF7j
rRvQ30sig8kEoJrr4JXJilD4auNGHTOevrR3qHqMNa3edCU0zWNEyG2SozlH/eysMFLl1yZzDy1w
+Ju86cOdZmqw9Jo43au5KxHq+oOLf2BtgnK+77uDxLRGdHtw29pd+STMkJoLAzeL0ahp9mtmOXch
4IYk/OYg2acPIWL6AeXsBTKDx8JVm7ikiTgBfNmMjaL4iLLk7OXf6zCvHmPR19tCt6bF+0toNcZP
qe2S2XrTulJwYtXyzTQ/vGx0wyoGXb97f5bf/2tfAEvVQhKrR5W+Nna9YnAt78PSOUxeUh1brYwW
hRalTAvwoWCoyZ57Jjy9quWvxolWKYjwldY3JQdo/Zq7o/OmsVv99gcCWvS7w1bEY3Mx5pdUzXov
BoFQCdxp3pXl/v0v9BRLCXzqEjvhvZiNJLrVaitsCchSK+PBVuqYytS7SazojtsMFY3v1bd56+Kt
6ICloJA7USJY+07L4hUjnmbndUW1R2P0EwdVdOdYjPYt05T8LG10F2m6e2kyD9FutkK25FAat+mm
NTQdCADRk07Gby1atOalzkkcibfvNtUu1LLT9z5eYwdur1rD99rWgPmDEPhLWesHZEjd23isR0vt
/W6i/dML45jY07ANav/eml0zym9oEtNk7s2uOJFAtMgLW95HozbcWHLclyPt5qBBZYin1jxHVM7L
ZNCcPYPYNvL873FgBmvBrnssq9q4SpQtCyfo1I/Gj29ScKPbkjt4mWYe3RqK+4TQgjIom02n08Od
FFSsMdIfQoJFI76/wV0NHqM0Xdr+ESuxRraDo78yaV+n5Jw+CRB6W5Vo59acEuruwX6N0wJv/TS+
BZUyF1MwVremTz/WH2S89QrMm0PoJE9+1w0Hp+aYkrHxmmbqv7Qssply5IupVLruWM9PjO3N8zD0
SGcbjeF15z317Zhs0hKXdBZFpHdlotsnNnryzuF76DTaqWHfPnaN+s6hWt0YLv6SwhldRHF4pVot
uXP1wqMjFOq0AvLsDbm8uLy/xP7QndqyQP3NZhBUfgkViZNhW6XabtJb9NaBBcoH6ScKEx8x2/y/
SaG+dZyir17vn9I8dZ603tI2cdcmwPYOld9gVJlffM2hjdjrco3nvrvv7BDmUddeGH3Mhyzj7Kj4
ubVqZACjgcittFIkM76xNQsL7GNkyoUj3OroEf221xyXamaQpE3FvUTV41Vt9BIXNae0amiXjTDH
Dckg7UE00b2LGOD8/qK0/KVx82xtRnW9dNpyfA60eamwaEJ4Q3IjE19swA84Z7dlM+PwM50sQA3r
DtglIkZ3WKnch57YDi9Fa9JrynK5VHVVPjVFla88Nl0Ua+br1PjRjW9N0Q04r2Gnxvp7NBuQcgSp
p1KU3iJQrb8Kini+/dDGZo2mdmM+YY4fissYWPFOi7tyEfS+2FahYa8qxdM7NrdC3ncjvljTq+Qt
Oz2qoS6iAZJaK3Ic1I3V51fGxiNOwXjluzZa7cR2rhAUV2nXane5Yay1Ji3OMUs43f49p0v052w6
a8tl/iM1MIMYV5fv/h+9TOlpRHypruTMGNvmcAuN622UgbdnmuovQ8MPgfHRKhYiY7d3puTU1fm+
7XigiFAuNslMh6U5tpFUaZRPIzYy9V3opXNfZ322yAQsVOh36rVIliHi5FeEzm9BMtpnw8ImmiMt
POd9XKw0yfNWGEiMZDnU68ITj3yhwyKrinpZ9N/trPHJNIicm9mlfYi75rEaxMQHDXjYHNRpnm4a
F2/ER48Dz7tMQ9Gwf+MXQJJMmkkChRRtyXhF2rQvNJktOzPDWjVbjSxYqU2I37a0AuMHdRU7WNG9
4ir9GTDBuFZJzZHWoobI4vqu0nUfMXJ2GXKlLnVTiC3SOYoMjg3HDOIAKRXokYLhrNeJfweeD3ri
oP1Uxy4cr5Il7Knq6TTncbIWfVA9aKHyr6KY7hlkxuue4cYlHrdDAZqYDpC6zfRMvmrTWC4r+IF3
iZ7Xm7yvu5OOYmw1xIhrvIcwj70bXdL/AzOc3rL7LH3DID4FhM/Yseoos69WODadQ8PpirUnHe9E
jy5D1zIUdr6JX8CZ5ENVciihoc8ir40CnaAcVjA7xJYRV3F1fPNtSNX4EpvR3k3SHmNqPL4QQHHp
SjNcKLBgG8KwsTxMFnYr1/EX/YAQoq+iX1HYJi+JFvsbSBX6RmexXRaybvZ0DWEB0DDCPp3LOzaN
4IrheGvlFByAcV5Dv8fX3b8iHKVCKrQfsDSB2vl+sZFmjHNYfjNAAu8NV5eLjoyH+5pmDQDpQW7p
UEDyE1X+TSuwTZeYo7apGf6srTp6Foq5StfRQvWaC3pL1p0m7J5dY3C3eVH0iwJJ6rIqpb1rNbdf
lVght2Qtxnd5eMsygFTFa7a6UaC6rqyHhoNKwc/8jTYM+Etn5fhFddQkfSTod81eDUwa/YwaKASY
NYnmzR/s4qhFhb1KDS04DpOpLywtiDcNiqEblbQ2aNxqXlbdN1HmK4fpwa/GdRZT+pZWQ3jPeAyM
X8/S7NUj7shAP5rdveMUwZK5sb98X2YprGkoVd2rKvX2Gojon8m0MRo/hQ79wcwJ29tUMkrtJm+d
ta22gSbbQUhK6FoyE1+XPh3myc3cu2wkAKnubRzGXZJvoIdtUpep4JRP/Y30YmNnj8lA6e092l3F
MKyT24RIrkM5Tc/AO2AOlVxnIKonjV1hmbmorwp31G7ixrUOhMlMyxI7Mdp7ejtaD9elsZ6SKEPw
FRfAgtWT65XWD601z33tXoOyej+PRofBMnadMwTH9xfhgAHOvfKUy9q6CDP6NaiqXiH6nOV7A+bg
0joWoV1e318MurUCzsXF8RFDOoG7ARztn2tNJ8oixPlHAKR29dEQbiMdShrAGrMNu9cWfKLHiKPV
nhzQ3vdeNCUPeXQQyfS9pSXP3i2qM4jga1aFxRqvZnNNHPUCTCHatFrXLedkiRvOWseqrgH+Yiee
kB1ex1AMV+X/GGTX4Q1lGzIEikUq4YU3QQeyVVVu3vstUV7Xa2WVzlWLWTqxo4IGDuZkEaTDZ/To
zWKkZDpGtn2TwU07MGdDW5J2+/fTMbvwOWlFi3q31TclJmSKqIJWdhO92YNt7wq8R7RY7nzRlT8y
Osiruq0MViUNWhQIw3rCy4HBkCOc3FZEFaBYUvKUC9qRtpPlGye21clSm1Jyyqh1ExLiGK/TOvWX
9GqdOy9M0FqFJaNJh/6VPk57Iy3jQ165BCvUuX7U4nynbAzLUpzLDnVyIJ0YRnZBPTe49Pa54mSw
NxNOtw3FdXIyaYRDdSqOuAD9dcAV33Z5liyjzSRql2e+lQ+qtp/BFA3rMmUnyabyllldxSrdvQY2
nySlCNjb7bSZOFEztFX+rpf1BVBNfp+ORb0wewyZ8EB/cDjH7uhVZ6wu3LDSkYgpm3vU59Z3mfIk
aojJQfxFv7A0+vhP9fDWkrPOkNiLBxe0WUXyLZduZj+itr4Z7an8J8S7Y9Z+cIuxKV5lSbk2YRt/
z2knLynF4muDXGGoKvdqVveTN+C8bBzrrnLKH4C9t5UmCVo2iIPNMF5riHXvgvsud5ga+WF3qnTk
yZ2dkOXhOohptYLDYweYREdCC2jzSeWYn8e+m9W9er6AJWZfmjr5mYbiRyQicQqZrW2chn3bqf1q
59rhtHK9Jtl4BsMOTv/wHwUrnZU/9rPo0HEbY8+Ry190vnnI1Vi9FUH1E+5r+po7lbOAW4GOxffh
C9dNdPan5E0E+Ax7K3TWGcg7eKcdzKqeZrBue8z9lQc9F/4qRPJrA6tdD2sTPEk9bNzeMJe1IZBI
x3CVm9yX17DX6m1EV2dBBdBaEpOe6/Y4pYAW90kb1TRUKoOmv8bvRR3gdkFzqOkaLboKEOXCPzYg
ng9F0wbH9xfZOebWxYB6LvucWX07escxKr2jMf/VdJO+cmqAoyznJsLb5wlO0aFH/cumKYKHtJiS
i57ZPgqrcLjzOr5m06o5zySdu3MLNtGk862VaaAdB4A0rGBypafWHd6CBkuq71ngNhwSMltukHTS
EYv4Xgtl2EB1k/N7RRCUbhDUhbggkzW+yGPnDRjiMuPaDF68t0dsYAhYAbBJLaW74xzNCnYVEOhi
hW3D2ZAQUaxRDIilVrNommYnsGMgctR46vMmm1aBY4kdk81vZpcd40YE9zJG9Mr0WFuPuLHWyjdG
8jPlHDEuix0n2AJmdtDQ0TGidZx3y9kVsGKVae8Saql92PuPhT1wZ5YEAOLj+DmpGSuGTUnqfX07
6TX+hAwuE/8eY0tv+CVq51Sqlq02MH41rYCMlObDTm+WTKC4byLTgK2IjVl3XpMg146ATfd9gEtx
qHisGRz16z4L5mdxLkdDfrwuW/SatmuNij6RKsANBKuy0hjZDYzvbearcnjR9CRfwZqolnHUgjhE
PFS61Ph4/L8IchJzyND/C2DBfCeEFLZBZhxyBgQqn/JxprRLEkuhMzA9+Y1RqIT/ENtHaiqWy8my
d07jhWslOT3iMwzPHMkpMhqzvYA2m/b0PX8GiguKWzNel9I8ctzaOih+rtQk0bUums00edZ33cRb
HMLh3jJxQvjiTUtPkSlR5Zi3ujjRz2wd+hkW9o9E8iMlgzFQ11oF+RbhjVtJ9UXsm/kxeubfK5e2
ZXuWQaonJSPfzG/JQMQvppRgJb0nVWocZt1p2U9aeSVIhHSgMgg2Xp4a+xwAbQYwf26OAH01IFKE
0UBabvA9b/SU37UgKmkK6Mji4IG7NbjLKvDGa2RLStKx/iKA72NEz/vHdhyP8DJJgqGNiO7jx+bs
VE1QHApO7eMZ7plxyKNsP3TTuBIJrGga/dNySt3oizSujzmk8/tajkGwigvfmLnI5/C0NtYKP7Ui
ICSjsDaK3oqR0FszwOXC2tm1pNr9lkDzfzNePmS6/HFnWo6QFBuWIMQD2NLHC02MsOidMORCgU7u
e21lVreh0SF0sfz8iy/V+PPqJEMZg7rMnNvo+qfHQA5uLJuY01rkD+FBz8binDfjrW9gerGSwr6a
udeznBf6o2UxKUJzK9rePvnKfMECot8kxCI0mtDwvyYAFBjafHG/fkx3w/hv87O7rm1YJpmpDBg/
fh2tk41REbv+Ip0ZFDkrizk3JTVnvAlDZf1PWXLv7+bO95ft6ZbkV/j0fWSqqEb6a7MtdVTXLlsX
DV96OBAtkbpN/8UqZIqPv/V8ca5FkSVIzNT5c16lfnsWbV1EkRW2/gIY/yLFCrfMfJNwlzKmizJT
QGvSizd+jvkXh1Z6GaL0R2rrF7vx61NDlnQ8OvmNExuAp5zyrVfipDM0KrwgPM/lzZCO2cbMG/uu
aO3miydjDsX6bQn998NbUno8Fp4hzU8f3h85BjgkLoB7Squ1rpE8lEVTT04inX8Se7LVHPy4SIS4
w881fPGYfEqt+/ensl1PSpP7V9pyDkb67bub5ewG7Xpt0cedv3VG/U1z/fFbbuPnjT21pS7yN3pt
3usMyPYWrqaFspIfZdeKK7zYr4LX/7hPWSUMw7F4bHVTCPvT+pRksUdvwiNUqegufBnvx75hDZfI
QTmy+vsa8WkxhBnAzWJDiaTjDMTK+nSbalNS9xbvxuiN4Y0v2mXPQDULNoLsMjtGSTxiZ/uf3pOF
0OHsIVkNSbTijT+9p3Clb7e+otNJS2OPOxO7X1YcsPoCyyJYfcPx8wJ2JL75+/vOMVq/32e8MaZr
CD+2S6AsTo5Pb9yXiBgp2QCNCQ50w7On8vyBQwlDcysCSdVZV8N9DUrNuvfgRPl8dYTTdPWytYr0
rhpNtcpklWze/2tHEMadcIyHoPniYf6PtdR1dJuwS89jwvrHHUDDxAu7JsuWzZTotFqz4sQW9cur
yQbVPaxEBqb0206tNZwyEcvZLR6DaV03RnKk2eVtQIoZd+2vkjybhiHMF0vbexTub8+r6VjQswyT
WDKDdZTd5eMDg5J5MKUxZUskBUcTwQPBXKW3L5zQXDdWPrMEo2KLZjddcwG/iqgPHnw9e8y1Md7Y
ymguGGSaS2HRnRurGj0GMy4wrJR1mRLtQi+TdIuzXBykFq57lW0qDDdvTlWR7cGweGMlOv6buShs
8uGLJ+LzcjBfneV5psNNImm7vadB/rYcFLZeenAygI428kEietKC5mfiE1MO7jFI9H2QGM2vzlyY
dZh8i2T2lMPJYgFtvkqQ/bSoz59E2jphwa7lMQj/vIGbtMSyyICsmwDErmCmTK0OOEXpZBoFhH5B
hyNrRjvZmmxPsZd/s5r05h0pMsXaBuNyufXpyhKl42xHAuReVKsg6qb9xZpQItiT2pujCFdh3kyH
UsX9Fe18hftdI0iaeLBMVGgRse96STwuAe3gYTGSYA+P94sv/f1SPt1SoCwNg2YJS5Lpflr0QGMi
JZi7v9ToAGS4wfaWV+1I65iOSEO0e61Rv1qvsnbEEm6KaDaQODAC3iVO7tD6S12EqAXM7MZy96Np
+Beroh08xNadNLyvPq/9OSyPn4Y9lb3DmE/+8vNSwkqZTZzeaJUP023h0RUxkv7OaOJpkQAxv/R9
gr8pc+LdOLQPDHn9Y0+xszURVBMM9jKMvv1adFDXTMceljB7v9ciCsGMSqiVPvlTSO+ZzIhym062
BkSwIi0oZWzSkOMF8IfqFD3czbttvktbhy7cUO6zNgnRWIEQTHt+wcGBEtMm7nSMVQ7NNg/kpoaf
vwmrHGagBTswQGV4skePVrxoYJGGYbyPo3Fa5j0scyMLYR6b9lNf9Ompa/q3jMp54YcYXFvPRdiq
Rfehq3SAl94eokjJ8GdkEqzug9wFPCSiL+4UYz4MfLhTJCccdz4ssIizfXw6xjXoVKUehdmSsZJF
d8hH0fAtonoo0D/86FM9XBpSZcegN3KUOCXVyShudKJm8F/8SjNN3hWa+B+jb7kRpDR0Vm0DUQwf
zPu0JiJ56HQ6nczWp8pbDgVv3gl9Qk2KJ9wlmm+LfBMGwyh30zSedbyPmZp+9VFRLaKu//H3re6P
bZ3DjGVx9ieTkC/q86cpvbgNGepGy6w0XNBWDjpvBOgxSkCsq/M4qevt8vD3N/0USjsfpEzHYVfg
IMUxlFLg474gXTy0pYf814YgeOtP/bCmnxD+e84WWv+9UGa8CxlB7SsYcd78D3zxET7VpP9+hPkD
mJKTjf35bGFDbifhqoyW0XesajgcS/1BOfh/jNbrT0OZrw07hKgB0sox+92/o+e/f4ZPNygfQTA+
sXTDkvBvoOB9/BYa6dQqHgGMCk399BEdLL2i+5maPOZ/f6NPx5n5jSSAb4uFU3Kgsj49CeEYGaVZ
x5idnJi8zuSp0/FVjlBsakDsle5xrGneBPT+v7/vf1ygbRu2LgXv7lnep/Oy0mn9sJZpi8EvGXjO
V5hqScwwlL++eKv/uEbXc6mXpTkX0O+hpb9txoTXSnpXzK5LEYzLosqGq1Qy3kfBs571LxaiwnPV
xNYuSN+do757KWj/Lt5P8ARsQzMOYWeaZbZXdB1vEY+73skuI/xLDUHGlh/AnylUt06K3sPrlG0J
DPKWpRGJ2yRtwTOg8QXKtwncYjwqjoBjkEGQm/GflTsrg8QhQtR0Aby6Ru6wc1qpWzxupFtgg1v5
oUi+1YOOhTkQ+6QFZ+omQzcDfa7kFo10ipPuthIsxaaJRbAotGntB1X60tgkGLghslTTJfedk9RF
pvZ00cp0+uIX/VS8cyfhUbKpUw2dDi25eB9v2bzt3TJuonAJDcXEWDXcOjUy4N59ylwE5h4D08UX
P+zHVfz9HQVPBxp4qoA/7qEZ/TOQos1aXfWontVjn3WPOn///W3+vH0si6qf05xh2Ib7+cLiKEat
jsZ/iYmYhoNhPQR2NWJAhPbb+muLxGStKS4WKrAvLvCPFZiv1CWe18EZ4PDNfnpIoo4qvU/QepUa
IWeeRh5hNPkXSrBhGXmmflCdjdb3y6zyT2fG+Yu1TSnQrRMnRO/o0/tOo01WgQnAFT0otDCHBFM7
LenSMuo42u2AlMzx6A4krMR5WDE/r71+0w4lDs4ITeMQNte//wbGf3wV7IlsQi62YS7707bQ5xj8
YgFOq27yDM9nsqpQdR50bfQA6rl3Yxzp+1Sv0nPItHwxOrJfTUHFULcoGBP7mtzAUjtGyrkFfB0e
kmycFgB5+93fP6g5HzJ/O1rM353Dg+DSxCU9lZbZx8cgA9qHDkIE1MA2AM0MnlDgquEX4Ur1KHQQ
xWShlm0SLMNEbxaFBODB8lctp9h/W4eE1y1rzzdXud8xHAY3PDpz1O5E+myk2eZugo/Ggb7jH7VR
outdsP/7Ffz5HPM1I48ydCT6XMqnU3SWpWXnYa1YVPX4aEz9PmpMXF92+8i/RsiK9cW68edOQFy0
Q51kUT14f3ROjBihTx+OGoDK4f0pZoby//UU2zbr03uvwNU5eH/8XdBIDfSCO8gBLubbMeieR7xg
sBFrPLHBGi1Wvgp0NyHXkFHi37/S/7hEmgYW3yrX9+dBX7WtGwiD/ja7zGFeqDI9wr/31UL15y/H
PWfRJDZoSTtUQB8vkSlM1LQVWiZnCsQBuLSG9iUs/CuD55y40vbn/3pZDpU75RZ3Oafpz81QGeJq
iluPmTAMp4VW6sDCSc5ZfX1ln8cE7y0mDmSA0OeVmCXp46V1ZdxrNoqbxdhI67VAVLWixxWfvGJU
60xH8h/jqly6XRa+mYD1mjjgAXO9l6qtyxOSnOYY5Q/En16ZlwREJiy8zo8AtIb2ORsqMDMTjKq/
fz3GH+dITo+Ozk7Nf3imPp+thk40ro0mb9GFJZA8S90OXtbuhADc42HRXNlD6WzKGL1oO2bkNt8n
Rh1/0QD4497jQ2D0JS+eZ5lT0Kf7ngRhl6OJ4CQxS1PQC966+mz59tz4i6Xv8xRr/pF4M8GFmkIX
f+zHPqVEEVfMgCfG7PvuH1TshRXY2wlPxGLKJGRaajkIxOpXHzIXz6gbD7HTh0evac9N23dUl5gT
zQnUh5VV7S7Uw/xaGuYx4Ie60kjGzJx11CDYXpPeG78ZWtltCOIi0jEvb+zZ8hNicD3UVMZWmOvo
xZP8PpyokTkeGocJE8H6i5/5jxWf25KJBUJoj/EFJLyP9+aIWxfapprvzRbvsW00TB560nY868YO
jP1QZsaGSFNyHA36IJyrQ5TF4oKjMbk1x+hatt7575/JfN+iP2xDfKj5tOIxvaGh//mBaQKFXzqk
Hd7hHNvnsA8RFX5zO3KfamzxC3oIF7puwUZFtrugE2Sc4LuFeXc1O3lrCe9Gwj3YAYaGhxyFxR3d
9ZcobxIwkYjAYv+5t+tsNQyFuhc6edcyFvkNBTykfdv7QZCDeUsRh/sYMbKMCUJqJhAFutqVI8pZ
+HzgxVyhdlndu+yHs9Spw1ehEc+t8lXjk2sIH2up0AvtyoBA+VoSNJGxTF+qQUGx72msMopB+t97
5c1oOj9zvO3HVIPO2Y/eQZt8a008oly4GTK+qOfU3ZT5o6OdU6fN9rVXhyvFfItWYfOKRyG96ElE
Vqrjn8uwPWeho11xjRKFwNSJkTsNLZNHyIT6R+XmnkTZxwdQiDe2VtY/V6pSx8mzpwPmcu+YleEW
OT2uMak/9Up76cAi3vZVFd0ys//HAf2GNuiQJl5HKgt6Exue603RqIAwDXfYtCl6ayniWclcPqus
s7AzzoJHqw8Obh+nyxp3/AqLFu48o3sMUzp6GjOdnVYgdmzGZHwMGxwJY2feQvr+VQ1EQZTEaR/M
Eq+LJRzYeKYVHEKpyUPsJc4ChhgWe4qkqzmDT6a8+JkFbbEvqqZe6tS9gJ4BnhN2aDq1hR5ekmEg
i+TEIlxiPDPP2J60hyx/sespW9uxI85umV3dWZiS9ERfE+zgnzzEC5MhtDOVziYJTHfZGJW+bQE3
n2M3AWVejLsucX+B/rP3Vh9zUqJ2GpjwLd4p2DGsTHMS8kbNRJHA6apvwbhK0Fkfe72+YgRoGNkr
sS1TpH1NyBFM7/twb4qhXxUU3LSk0Of+H9KutDduJMn+lUF/5yzJ5LnYGWB5VpWukmRLsr8Qtizx
vm/++n0p97aoLKKyxwYa3W2UrKjIjIyMjOO9PCLPQh1Hn8SohKViXvOiqkE2NS/VcEPiaR8AhgT9
xuYCJHoCWJbekG6Innwh5jwB3he4juizdAAwEV4YfVo/FM3nCEjodoLBySujmSNPCvtmV2doVjYk
ADGbS5bepFn7Vc2L8sZMtVdNjcrbrgWAcNHdtLSKUBXiq57H5pWRLo8KGgTRto1JNam9iqQJjBwJ
GhT6EtDdi7gbRH2+BxBOi2G1wEZ0GFwFs4Fm86j5KkRmBpL2WrbC+orEFxjjHI4S0GiOeQPAxRpd
kuDPNqMdUaX0KJqYdGlHgZdeoHkKxg0huYmEFio1CEzYK7BFmRKIwjpGE0DFF0oIE+oIbTixKAM3
NeNeQWzeHVeQ8RaO6Aj2RBTnmbxJMC6VqMkoYVL6uAldN3hcD6hHEa3ZmSmaHdEUUNsFLv/rqcO0
bZ3CHtX4YVAL0FILxbfzfph9tcDzIekgyXAH9AHJFjlAGJg1egAEqKrKAbUdAAw8kUF9gThA8TEp
jbbayV3i6fN5seyqQywKcqiho/KAHgW2nSQxhBhj+hC7AJxhzA14X1oKNZA5u0OT8XlhJxk7SEP/
tYkiE65+lDyYp1mQxXLfgszbGoq+vACybXAZS6CSEvt8dgoDGAdAh5P80kAviUyQnhAw0su5hNk7
mH4HxB0IfBX6cGGzhgAa6OOy7IHPPyKrX+aoN4alqVhvqv7X8/Tf4Ut5/Gm47b//B39+RgmgwbXX
MX/896cyxz//Q//OXz/z8W/8+yp+RkdN+dqd/Sn/pbz+lr+07A99+M2Q/ue3c7513z78wQXUcjff
9i/NfPfSIj3/9i2gB/3Jv/vhP17efsunuXr51x/PZV909LeF4C/848+P9j/+9YdMX7n/tf79f35I
FfjXH5+LuHv58Y//bb59/4ebx8237qU9+esv39ruX3+o2j8xRClLqJ6ifUZEpfyPf4xo2sIn0j8V
Gi/DlPADyPzi9VKUeIpDvPZPlDFVNL0gvoQ7kfBtWnSm0o/kf2qExjmotukqUKnMP/7/a37Yzvft
XTe7yPSFtHJXkIrmPJTJdHRjocdDoS+sVaYwH+VAriXkdrN9flE9RX7vTk7uJh4wDZ+KygEtkY0G
qsnRHzAB4BVu6iX+aun+/E7r78DWJt6+AyrbIgoBcB2IKj9+B8y4aCMOt+IAR9cDTinSWxY6tZ3W
A2dz9B0on3bo9D8t+4Nhr6Vuar6SqjPPBG0Kg2qaILXECLSlIP2OqYvQH1tL2gku6G9uhtfgqTpM
nzGkI3wG55IDqG8n4byUWQfOaq8z/WBATVcWY5EUR7nqXVBQ+IKbjhaQOC3iohJpz3fnl5txHCfy
qEWsdrzV0DmNbkzNAeh0rDyM9eP53/+WXGZNCs8/pAURhMMjMwsrLBUm1ecIgDYuaImBQWZPu9hX
fdkZRSf2dIcjj0kC/FRoJY9ZwGBORQ1HByMHwNd2F4D53aUuZmNtTOD9iJC+Q9iHzQOdnMOVTXU5
pyuzmODS08JEDzVH9rs9ACqcbjd6moeeX84hYVKyfyqJF5toKjirhEkHiGiHagG/CiX31Eb+rhi2
2eNNDuCN0fSFGgxQSxiF9EwGx05qoOPbBv66TZz5VfWmfftAnGUX+uaV0Hhot/by+/a7ysnDbVrO
WjijZJoCdbhsZNXpHOlJ95adeGxcjHzaKOf6vIYh9hY/UZUelNVBECsMa08FpImH4ECXNN5HO1AT
8B0cExT9lKQiG0YdLWpOTIw2ofKlCa2gOsm+22cORoqPsVvasQ2kgsNkIzJEQ7UduBhgHH/FveBZ
8pdsenpWWg7olJhQVdcc6Wbx4p20CxxUd3zdJ3biAlCDI2/LTtfimNCoRm4/AEW35ig+tVPQIXjK
3zgOm15zLYe5M2RkmVTQ3uLd586uZscu8rSPyLnYkivu6guJZ5pMZovdQjasj8UMU0ILEtnzgXiV
l2PjTB9vRMvk3kw83RTGoaldr5VdB93oGZwcyalvQze1J3t0kKzY8VzL9kF4NxGFOfMJEqbZVGDP
RhsE00dp1+2WA4hD7vsdx1Vv3T26BmsXVQVvFYOm7lbGmApdWLRlNgKBSfoK5KbjmBPQdSa+qpJ9
jAqBqmaXACK71PrLAQh8cTYixlbsXJCOnK/CvBhEhGQGgBskgoeTaaDo9PGrCArYX5YY8F7F5egu
4OUadsFl+dQ7mpfioo+dwMXbl2NGJ/ozQpnT0Uxzr+TpCJfTxDvQBn+NheXTecW2RRBga9A2beRB
P+pVg6C7VUoYT6yUPlCOAGW6WOdFsKWpP9fuXQZz+Mye9GGdAxoEOH9OIFQWCAduah+T+35nAUHz
EFwAxWKR9mgM7fyWZ0XUHj9cum+r+Jd4wgQYGiD95aJ4Ox/FXnQzp7RBeXIve6WX+Y13XlnOehLm
MPbg65wIiJocEdTphtwjwVv/klW868OcvzIBKkOB9cSgPCZgAA8JLBdOevQ0xmbWjLlaw5Tog0rV
mA+DMyDzCUi/I2gsrfSTeZCt1Mns4cv5lTv1Y1SmhAiQTnpo6LH+aIqFmkZCq4jUTNLrML5S3NLX
nMEFLEpjNQjHuLE0Ne4Ty6CJFxRMiXFSycuAJogJOkiknsw4UICoFqPOt+A69cGfZet++mMyLjAm
YimXjc8NB09uCaox8CXwkqH9siLjVNCkjQGmtqeee3Dqa+kC2TxL9xUvOWicIuJpsMTIYg46sNNQ
SAzedBVttAalFr3ZZ0SfKL3yl5Z+dXZpMaqA3TTwZMToysfN7GQD7DEGLgl0kexmZBwOCGTc7gLT
+NboYDzABdsjQHwUi3s/ba0qemclQvCChqtmRBuoog4gyqTh03SJQTjwbzits7gUA5wbaL8lzE4U
XUljDvxAltxUQHTgYDbN03w0lF9iHsoZrOhRsQxLdMjnihuMbnmZtYqMC8h6bUrnGmwkjQHA5v7a
lLjt0fSEn9OL8QDqQkBABlrhN9ukkT0gwEEkhZcm6jj77KvO8WqbLmetE9V5ddmbfa4vS4uFpCHa
grgXXFa3AD1CjF3Z4MnzC/uXHIBCCNpjdJiLyhaEyaxmPUpHCNP86hLs4HvDj3fIjTuGE0vOfDN6
iyvv6u+a63CcHQ1dTpZXQZxI8yj4D7ODuWlGOjBRfp4PdZfeorssvgLdpqt4xkXyVT+SY/z9vFB6
z56TyWxpVA8YptRjKlP1yM50/16wvS2GoN+I9uihq+zjRhIQADWmATEKXUz/pxiRH4duHgKUYf5f
DuPRiAZU9QQ8K3jjAsPKyt195MV279SfElxQf8Na6J6crJ+BPgwVTQQisvUfFQsw/0WA0Qq8ukMM
iEz4s/hnlH0D3q8QV+L57dq8EDGgQjP2sogXGWMjEiDwCkxFA+XiCQP3buYJgICx0j2xG7v4jF7i
43mBWxuHVngcA9pLJZnMCQRHL7huE8hDq9KeIKyn9pEcuA56y/bXcpiwPgRm3IKy5c8HhKyBCfCz
qGI1Qf7lo/TR2Wn4uf9Rce/brRh+LZd5V6eGmUcdkqWOCqKXkgC3AOhjvZg7YZy555fy9JGE61bV
aHeQhl57U2ZkAeBgNJcCOhaX4W686nbPi91d8+8fdi1h/0iBorUE+ReYwptXXXlNtJlHIBgN8egD
HsYR6Gq4z2NMMrRjI1kcndgDhxkJNNoiKYEBLpmAg+Cj/ffgA0VNrwHN58HwF4fsIs+0cYe7gCSw
ZStyI14Yyp64N4kYVBAxxYQZJvYZbSZqkC5LLTsoZbqyi0bvR/GePmyJO+8GwlHwdC2h30oac5Wj
NxXoizWwX2KjjKzUmK8xS7sLy4jj/Nmw86dWyFCjUQ81OIOew9WejahHyUApkx1N+hQB109CNjkG
J2MWHs0CPR1553N2jrV8RiIbWjdhgep9AyTnt0DXBxjZPQbtsXeLLXrRTnYaP3R4uZ1NczEJYNYQ
BmIalDGXORT7ai5A6Fp2KLTVR4r1x9GLDVLe9FqJYK4AkC2j1D1HMmIGcQLxzL71c79xQ+15BCEG
crixx8sDsp1WdFIIc2nvajG7N6ulPC2A1sctahwgxZ7dFiDabryrfRCv2slDc5FlyCFLLkH73F6+
4DrQzWPx/hXY7RRSudAWFNudot2BJQNtM6IDKIX9oH7Jhd6OqmswZNpyONlT/JpFPe9ioju3vgiZ
JTCZg9JhSCNvRByUxgEsw7feN47aD/Eefa5gbHYTV0A2JPKrp4V3Qjkmxd6IQ9K1kpkIEk4Ornwt
Ra+Q8SuHc7W2TJBUAI8ULgdra2a3efgFwOB2O1VuYHoFKMzAW3vehHnmxF66baj2QPCFM5DaEQAf
CwFQldYC+WfJg9lFdwjgwrvWPFLK1GcjNnKMKmXiYydOzxhGRqzcghxhwMyar6FlCThkeNVaypjC
IElUoxqZHxYVg1NVNGac777pL1dLRT9f+bGiQ2NJRL96Nd/PyxOpjpPyeH55Tp6trKkx96gUmWOk
RTC16mm2w13vB874xbhXvM4HCNPuvLRNN7lSiPFYep6B98OAQkL0LW4BAzgVTmbqjhCEnJuNt3SM
48rCTm+7EVbWJ1FqAf/QX8YBMFlZyTmrWydGBuQXxhsxS4pA4eMe1XoDwIoS66cD/RSdFWj3ds8v
2kl6j27RWgTjEHujXqoI0HNwwpNT3ykuuDedZoeWaAuIDy4uFxuY3EeA13ziSOYox7ZuzkoL3PAk
kZ3gCnw5lRe6gYM6oqP7kl06w9XfyGuwyYU3ZXFzY5wb+QUMWX9cTwDUaAuYx2U8boxDi0Q7OFtx
i9bH7MB7Eb+9J1g3i8wCIkmNohy8Fd9W50vNMLCCxkzs3Q1N60d7gLRWDs1UoYIxWQD19ttLeotr
lmQvB3kvHZrr3AP6fWLx8/6bi43ZbhP9Qegw0JmTiCwaWv0EmCyqmIB5/BQEnznbuXWtYcJPRjbM
xBCDyq5t0WSdWAT0WpldxUa7uSu4ulvuQXl8ozrnpW2qsxLGHIwYnPZTriEkSqf2uo4+AaH003kJ
bHvzW6SA4XugYWCmCnMPjD6kH8JpovrQwsziSNbySLWZ/OKKp81JGurNLgG7gQYjzOMhn/HRLqdo
ltGbCeRp2Qe92UV60I7FThZwBjWLVtQAXpx8xeAT5/Bv+TGEdypGIDGijpmIj2LlSlXiroNYQVOv
O+Czz1Vxq8485A367U9OgmmaBK9v5BM1xvZUGfhIei5LTgY+ghhktFp/F+lA3k4/5TFSYJyN2zTE
lThmMVs9bXQwpdPFTK91b9oNFpqoLwEp/TfSCuyrm+4cusGRx6DP/JM3zgjquAD9jbLTifnkx5NO
cTmkxJ8R3BW91nt1ruQO0qlAc5p5bS1bC7sWzuxfXSvxgr5UPHm09iFpjU/hQg4pJSbJNXCQ5I+/
sLJreXTlVy5NngoxMZdJcqRn9O5chQeaUATeLV1aftPOSQaFXVsmmFvaCt6MQFyyB5+uAW623bJD
bm8fiEdi/53+nO0Fhb9GzhvdVuyZj4Hzn7T40CHy+JjGMXoKUXLKG0CSw5sV0wNnQbdCFoyX/CWP
cWNiCabOLJSoqWZ75Za+gIDubmtfdDvG5Qtwml104L3Lt3wnbFVFVVZE+6TC3PgmgCd+vj8qYXis
ACjSNyZvzHlzId9lqEwWX8+SKh0mSj50MKBWfVddwoU66DTzq9fiYYwtw+tww3Nn++iKsb5mpZzK
HImkmtVEVPDGoF47O/YPCxrcMsQWpls7nZvcdXZ2aA6xx3svb27lSmPmbIAdMsQ/uGDjokSwVKD7
vgT7HrrpgMihhO3TedPZfHmgiogRRpTcMJJKd2B1Fmug2SYz3C3itmafdWAc/ozJMl/vituYXOk7
2KvduIKvhMe+qwD2rFoRcIg7NfZiUMm5vGft1l2CYWfAcZiAjgJW7cfvUw5xS5YMpjwBXF47iPEd
RonP60wbITc2910Gc5FEDSYTcVUiXfZa7QE8aXePpg1OMHtxSyd1TIdbfd7UCv22uJoxXI1x9Y9a
TdkQxBgLwgG9VV4lJ3UjdIOESFIMbmCptvH4N9rMeDIZLRV50cWeBh4gGHIVdAmmrpEcAfxuAwKe
utqsvAPds3N+cd8K6ScnZ6UqY1A9ptWVVMDiSgUYf42S6HjaoK/jNguH8fNECqlyhmTR/QzEUMAf
SrO7cBRzbxyU7pDk02wv0jRftDpq2rM+tKCFU0pg6/YA1MxF+bPaNKg9DWAaAgJqZpN8Mm2hRO5z
KMFOPmE0DJQHaenIep86bZopL0ISjhbIsyVeImLjZkEfLlBDkOoAogoAIJhtndDFjb67BTcLaAGE
AHRIHq119N4CKvAGTgKDNJwF3ggoIZQoSL6KiPCQU/soFORvRF6WfnnrlkqeaZmKpujj58jlpblO
TQjgErIumyiPYdCZHXKN5NjMmoRe1LJg97lst+DjUsaI8zzliWFOh5EYi5xpAx43gwRsospXKgO0
UAUnojv16R+1YQ6EWnTCmMg5XF2oFSDrRPFGV4DCiudbEQMvJJnBh6uHnMnCU2fzUSpzHoxhGLt6
RBhpqAPcZuYo1cRR7PTO+CiCuf4XgIdirIquH9hQesD65er3TtxLo8gRtOE5P0piDB4sDA1YmMAS
R1/5eJx5iRM5qY3GZ48m4/sdLzTdNA3A7CFcROmLsB0EdZwWxMihWhehkK7V1kApkmXe02JzBVdi
mOte0DWpSmRski5PlhbLNugknUBMrKkx3fMOciOZhTVcyWJu+DqJiJwvMMPBMw7mBe3SSy8FH+1j
XuHz1u+koI4ZREhT6KyzgRCR7QEWxCRVwL6DHFNjBT4I4WrdN4rSTRzBLl51v3CXQnHEqN/xY5nN
A4fiF25aIDPq7MinmTS1MbQRVrXJFUzwjt2FDLLHz/mgARlZyPQDycACiSxmtTu/yCzIFV7dUPtd
9FtlbhXWYJK5BvyyLr7Fb7Kt2dL3tPIS7WvR3IO3mWZJgIFoVT5a2YUJyCP7UD/wXPXm0VfeJjiA
Xwc4ho+eGkNWLSHFiAx9IwNZWLrr+4YHtEct8/S6RQ6KYIga+T1GRq6XkxaFCn3cCE8FogpwvdrE
BoaDx22UOD0leKTSfNefspjTn2ZFQwIkARxZ7SML7Sa+PIJ+qw7jLz2RALk9HpR53EWRAiqC5qh1
0mxFfeUkOih0tXjfGx2Axv9DjJy3BAum75B6wkWMOV7meSeEIcCf+wWhutYeBLW+qNErOVXi/XmT
2ji30H4lh713TRGcaiN91JHuFaO8oxw/gzLoOC35ITLCh7EXD6k8OLPSHVUx+BYkvJLhRpIVVz9e
WzjGsG5ZYW8weVRitQEJE20VgxO2NaCif5YQCxmX5i3Au20ETjsBFGyfiH7J2//T7afSKcoKIAfB
7M08xkoCcNkUBT0QY4Hhve4LL1sQ4ckYgm0b//xqU1P6aNaQBYgclHwBEYhl/3h0ukYRCwNEDghy
Ar9Hny0YRvzc42VXtyO4lRzGGYtdKbTdBDnRXkLwlnkg7HHDy8kG9LYHOgHvvFobRkT1ArwSQY1Z
A17wR730yVQ7ZNIWBOUDLtAWdNc2Gjqceq9dYGKf95o8GViifhBohoCDQO4YAzaMe0jSYViAvSs6
wkVxmV/nQES7jAH3fx/eVrvoWjhoAMq18K8LNMwA999qb+TO4qUKThoh2K/BeA6p07W8ATgeunSm
y8Iz0OG42OM+97gvrU0jfVeYrQakGFMaxBILrPjzg4quewwvHAF37I2eehAOgx8dMp/watBbYcr6
IcD4oErUa6US8RCYGhTuDPhfBM29NDi/Yj6rBwdjPniBANiTIPZXb5SD7MYH41JDf6Hm0UElnvFs
G+tKGhOXL2Y/4i6YqLvBCxLGCqgKwVYskFl7AMfgXZe8RWS8WwJWz5aSnzjmUFvE/ASkLCtHFYOz
hjTgPnEtK62YgBxUMtLc9NgrQGZfybOl2N2xtssrGWHBMXvIvgVP/c18YdwJnJcAdz2Zw6gXc6Jg
SH9xytfZBfH9Ln6pHfA2ITWP7cu/cxSlRscqSrF/0U9NXQ075V1XSgFoCyI6qgWUJ9wWtR2hC5Y2
FxdudVXvzstjgbF/xlwreczC5o0KR050Ko+OgSGxApDhg+oVTuRpzmJn4o7GXLGHV7slHkq3voi+
cjN3PK2ZRW7HbqiT+mfAS6d8QqI9JF5q988mpgkFAGzycy302J2sNOZuaRsPcCnZldazWhmiacBt
JUV3sQ6WbyniPBu2/BqQpgBOA7Rc86RdCJmAaNAS0KhnhvolqJ/SefLBO2ovCo9mYfPJAGw6DLvg
dOM/jJMZ1EzPAdEv4pFXP9TR8AJwMzu5GayY9sJH5WtoZ27Bb6I+DWUB4C6h5ZAgk423CiN3qhIT
pErtz5gdiRQrRjUz3xNXvODZ6taGrUUxnm0A2VIvBZ0IeKTUUtTvTcCL1TZPw9uzC9c5okZ2BmSo
oyaeM5w+GqtR5xl+TW2MTrjo3XiUbgmq0+BR3hFLuyKfRhsV2xtewEZNnTXL9VdgghtMlzdVrYOC
BdQj9TX6HImF0b7JC5NAdQkIisHx2S5HoxN5zUFbrhyxG9pIgeaADBjjyhGRCkGRI1bWyu9o5wY+
ow/QZPu8w9k6EgpoTRUTRoOReOakK0swJ62Gi1YwgbFqWEr5NUlT9ID9hwiKb45tLYiJXpZWzVpB
npG3zQ5BnNlphQmp8OW8NptL9pc2BpvpUCtg1yUEQhQw5ZT9VxmQmVl4f17I9pIZFHCbdviyRlmC
HVkQpAYvUqLZIDf1ddpNEP5I4KrPS9q6ZZHA/0sSY3udppqxmCKPn0tILKjELuXaKsBGY4L1vk4/
nZfG04teCqvnfjnWSgOwbuRUlmPdfAM1itPrcFoKLyPKE8T4qCoE+TrY4jEWYAT2gLawmIAMNaot
AGSfV4m3gIyLUgszHTKQFztyEVuFKtk16GVFzRpNXKJh7ZyXxtOLfr5awBS8YnBheESry7FdbuX4
ex1dGMMv2fi7UTARQt2Yap0tkNLXxwEUt/MIppRC4pje9kl6l8L4hX5ZwJwn4CTVwX2vDraSIWQF
U+35FeNJYZyCKWgzKMigS9IljhpRfM3SUmrh95Rhm5/jpAdUKFCxgKMMhlLRBDsYiEPih99Shp0e
nvVYHJWOntbxDhUZq9Lvdf03ZTAeoQeBdozpArRviIUtD18MEC7MoGP+PU0YT6DkYBkSWkjJy5eE
ZHYMciFF/z13w9ZFCNjlh1iFhbXCozGDULM9JnVkJdxYjHMs2bphAra7Hj3NaIZqa2ciqWWCLwQE
aD3h5BE3Q4V3d81mltouaaJARZ69VpPvathZ/TQdzKrf5YJ5p2eGW1fTj/M7xdONcQb9nE+dmVGf
bX5WtW9Gi8bhAlOlNa88wjmpLPFKFS5InNKTaiigXVNBegEDHAEhd14fnhjGIaht0WiLgKshL1+F
PncAE2cBwun3/AHbEVGL3VwEIXLKYqtbhZljtFgGP8fnX9AFpWqk4AC+oFL8ofV1gKRyih4kGHjR
JrZoRhZKjlYFnurzYjbTb0DA/EsOYwNo78CTKiuQU71ZSqsB2hlaV95GUjH3u9c8kds2v7lLK4nM
5ZCWrR4BHhrZ4mWxVC22RUCaBdUv3UErMYwxiEWVhgNtieub2FPkBJMkaXszz+Ld+RXkqMOmu6Ye
0IM5NbowRqeK9igVyKtNr78nhEnGGnjYlwINtEcwM04mqKErW69ynjHwdJE/Gp2p93JSiyiMZU/y
bbUnDpLbNsjLQK5Ox4VpgRHZoOnL7ynHXBjSaIriWMPz5eWPiY6CyajV6NX+96QwcWPeLPpoVFSK
BNBqpbMKMKTrKa/7YnsJQayFVARYCthEhFgVJCURvENGHtTpoe9GK0qez6uyGZia7zKYM5sSQG0r
FXxDmb0O1Y3Rl1YyfQ3afcTLYPG0Yc6qoTX6EqeQFCeTFXZfQwRyzcS5y3lCmJPawteBXhE7E5cv
prLLlR8trwVg86Z7XzGWR0UQg2RoDVSXay23JTP3pby1ugpQg+nt+b3hSWJO6jJ3yTjglYdH5L1R
vxSp5gL2wgIkHOcaovZ6klpYqcSc1TgGq/cIXnInIuEPJdIeg97ggBVw7OwtwbJ+koh4EQ86NsYE
F3fT+/mEdLDmmiTeZ7J3ft14spjjWYh9No8FXI+qfleGm6b4Esq7PgJnT8mbqeetHLXHlVq5FIZg
n8UW5Wb1DW8VByx3HEhtnghqJSsRUxJJSUajRkkb7vQluTA68nR+wXiGxjiBWBEaMxSwOZ2KRpD2
ISUjIPifRZUTl/LkMC5g7sowmmZqZ41hT6Indlddfp+V9+fV2aysKit7ZrzAVILmSCdobBlt8hz9
qC5nN0d5RbjuLgJvfIruzIOxy27De14mkmN5LC4NiVQ5C1r4hkl7VqarHli6U/kgkcJSDB78J8fV
sdmfeREBGB3C9LLyy7T8mAMQNqecU8vZMJYUo4OP1oqSntrEsBZwcaigDSjQRo7+7vN7xtOGubiX
CjEpCXDXTVPkBuPgSdNVnVTueSm8/WE8wwBoiECecZZ65Qk4/lY4oQUfhLJK8VWKeA2FPJXo56uD
WwQzyYUaKnVkspJYdySpsDDgx9GJ4x/Y7Ow8IJIPDBi71FYABifDbSaUv/Tqej9RJzNSRS8B5R4R
sBEtFzJ4mStz2I35cnd+f3hLxjgIs9XACJjh/AgLcAeBHl3Fit0Axfy8GJ5ZM/7BiKYunEuYQakC
CV25bwfgSteXgyZwAkWOvbH5niyJ8hwTQwhHhEc1XqwWnZdVf93qd6DC9M4rxVk7NuvTVIYhA0YV
eW2wvMiC7DUmEAWrhmNuPDFMrFCAD2U0acAoqK2lVuixMGorEV7OK8PZIYVxBwpJSNdW9Oy0lQXm
Pm+edYfUvVUPvBIyTxTjE2KgTeYKTTCW4mSj0ajuZicLMCdg8DhjedZAl3blELoC/OIhTTTV01fg
51thbyAz85gbdwTMvecXkLdNVOu1LIlU82JAliqWhzxGElAjl0vAexnzFo+qvBJTR4kg5w3EjGmw
E4edvCQuEWa7SDg3EU8fxjPoaqUNCnVAMWocJWiaEjCftsnIWbbNVkNVQncl8A1kEFAx5k2iIohU
AzeeeOgGSyAPRGuRsAflVA68FpSe/c6d8L/obV5MwN71399GnRrgE/M6NrbWdv1VmDMwB2WLjm04
QwmQTa0OukO5s8skt+JfKbisJTFHoKoEuSU6JIH3zsKAkCU0oauhIbD5leZwINSjC90wQU3E3iNy
BZTnjDY3C2lhVQRJr+IefWj2eePfOmhrKYyxpC0BNwB9n8c40gJWLCXPNfYxFu/T+fm8rO1deteI
uUsmbZGFXOywdvkXsjyb8+IqWWUJc8hRauueXynF3iXA9I+NIcYmhX1sS0sHBqKH31KFvUFIoqRo
iICEeo7dQI2cebmumtyKoo5zzLZO81oX5pSBYVapsxYbpM2AuggTK8bLbEEf4nmFeGKYE9T1rQDu
UOxNJmRgEMV1mOR2AP643xPDHB8x003Q00OMqkTIb32XyiOlGzovhGNnbPGgqdvIiCQsWSBeGai8
lubr1KIaspgcO+MJop+vXLqY5Z2hzdQZVGBS0a418dVQLuXm/rw+G7Nq4AZ7dwUs7jxQMia5m1vc
u0Z8I3a5PYqVX3c5paoIcgudOXeKXCBJuNyldf9dowQxJPhWjV3lmJLs5iFgxUcUvePkcmxTXxmr
+yovMMtufD7/VXlmxLiTqS6w9PR5TNTEauPYMgfFifqcs/A8MYwniXqjSYYeYuQC+LPqYyFPtsHt
mOP4RrbkEMvmaIjol3GK+moBEVBjgmCnaEEL8m3WOAksjkZs32+9qJgvjyBLw8sHkIpWnNy1Gi/V
zDFYlXEmoxh2pCJYN7D4WKIrhhm4KdGDF+mcI8hTh3EnidbGUIS+UVHsFEIUiPGEqFReHYUnhnEn
dTuDFUilXsvs3Ln4PpqZJ1Yax9p4q0a/xeqYh5kZCZOCVYul2zh/JEXpRFJvFQGvhssTxPgTLYkq
dG5AUBAcg+Y4iB1Gf15i3j3Ms2smEg3TuFQxZAt9wgn8L7t6EK2xqcFD911txd9cPMYjlHEPajPq
8QcV/F2FJRqR03cSnH/GaTNlCebe2pVWbhJkHx/2KS7kBsMmKSKmoSucsQwGb46iDNzQSuP2XVGA
Wy+uEXuLAugPo/FiypQCGP1mdTUranUhBbF4EY3gAi3SNvazsMKErBABKc/oOwCNktyOor6wmlZt
bF2oELvLs+aHOv2lFYC4O7UdLptGKC4Xo2svYyUd98LQK/slKTov6PXFa82J2DH452w9KSMOhOGm
/VCYGzS96kCqY453lAXgcwYXjrMsxyqtLLN4HtUIZLs8oPzNAGsliDne7ZhV2ojA3snnEJ0zIIzK
E4MX+Wya6UoIe7gTUlZKhgfTHHa2AtZGRfiapndxdiP2r+evrc2Fe79g2WpiOoaRltGLvJImazYv
O03yk/IRHLLueUEch8UihlR1pquAsMbRQ0k+x1jfYibgquOos7lyK3UYOzDq/s8Kwpx2TmKil+F1
UZ/i8DgunIw7Tx/GEIhWTXJBsHApEFwXtXEaNANVycP5VeNtD2MJ+WyIoUkfDllfg5ows6RGt8X8
U45X0XlJ1Bux5Z2VC9EYV1+2QBxrAipJ0axMD60pu9WJH7aYbDB3FZDtzsvjaUY/X18tUy4YPT1I
YXU9SXfEjF2lviGlzrE7nhzG5S9KK03gZMZ7RTrM0ZM+zUhIxVYGqr/zCvEWkHH3aZoNka7CIBK0
6y3Craq+BPJ9EssW6dCA0j6eF8fTi3H5UjmXek+rCKZ6N2fXtZw4oXGHySbnvByOnbM0PeIYxz0G
67FPQWvP6mjFRmDpUcm5LHlimDImoRijMg2fi+BbMRgu7dGQgPH7C8q8O9aT2agwruVQwzWRl60V
zJU1jd9KkzeBu+mEVlLYrQkmDSyjCPvq8sJ4rYPZztunIkMjQ//lvD6bRvAuifXeGZHGOaHlcqNb
LEV+kpPOkqQvCpk5xs0TxGyPUOCWX0yoFOizo6QPtfQqjiAy+qVmJ3WlkfzRLeQIVhqpxw6pxucx
utdwt/Zl/SvGthLC+G6pFIe5TbBsWQHCxz7Dc3CwQ3ig39sdxnk3zdLKPS3KmsZNU14VQKNoy9vJ
eDgvZvPorLShn689adhWhhxCjITpswZP41p8STvN+z0p1EJWUpLZ1BuVAg4V5CikL7nulwIvH82z
MsZX90I65AXt6Z6H2F5IaVf1c1FfKFPwm+bM+OoY9XhBXGAAhQom3TQGNMQX5EssPebV9+gen1yr
q81hfMGUjk2KGR7Yc6x+EsZgV888vDnOqrEeGsBTgqDn2JlKe+jGV00oHX3aRYGx/y0LYBnoUiFX
B/Ry49Rkoi00g1vWACGMecEvx5x1xpwrWSZz3kGMVv2YxO9V/SDwBi82mxBXXobFNMS4aIxnEPZf
jMFRAZjPL2qUP/cI6TPD8PQJ6dl+sOfecJZs+BYtNWjR6+GlziROxYJzVeiMxQ/FOGN6jZ5d9YfS
KIcJXNDmdNe2jTul/W9uIGP1gLiV566CLbZ16ohl4YB4wWpN4/c8hc6YfCGqExBtsbhdP1pqgDlA
8SZofqVLfrWF7Gh6UmuYtaL9qtL8OFUpOO0B1sdtJOYcX4O59yaBdGlDYd2k+SHA3GZtBpyQhCeB
ufDkTg4ymWY+Yu1TG3wlE6/7iHOeDPay6wdhyuich5DM9zkhN0JIXgUl58W/HDdkUEVXF0QnlElW
h1gqrV+scQAkdnUV5F+L/j+G0EVK+N2jsuRg0giE+oBacdDnrq49BEnp1emX876OtytU2ZUyRiGY
KqE2HCL/0WumlS3V7wUhBnP0QZUtAEEXZf+J5I6W6a4ul1ZGeLOdvO1nDr2KKPdn5LaM4KeJkOoB
tF7Bg7PmSWHOvCbXZS1MWC8zulPSI+ijrQax6P+R9mVNkuLK0r8IMxD7KyTkVpW1b/2CVXdVSwgQ
SIhF+vXXc77P7vTU6dtpdubx2JwuJUKEIjw83P/8Ui6csK/y5zoclIgHnGQy/oBtc2bqbdTzfBXO
v1zoy1evFvSEqMRCregzE6ZgNH1X3s6Fg/Kfn+jCtn3VNReuk9YDSL0Q/NOw/X6TKcZGk0sDBJf2
7UsEoDAvMbHBKmNyotCDGHTeebe9e6lIuPQ0XyLAGDWN02ocAuVHmevIHPJvWcMufJqXnub8K375
NF3azcvs4uVMKxSP9SOdhiJwH7rk8c/v5vxh/CFzS7+EgNo2pOsFnmacp7zW/VHZDochzow/YvKr
7FLy30QECF55UQw/CqiI/vPJ+FiNseZ4TyuMIWDIkhuKrnR6aVL3txv4yzJfHsyv0sZO59fk6xTo
9/swkjzQd2Hw32Cyv6zzJcAJ+Byl9kwCCu1PHySMwHvW+sn2ZvPnF/XbY/fLOl8i3KSJ1zvnO1pU
3yXmsVA/ZlBfvPByzhHsP47DL6t8iXBSDK61KcJ1ONxBMbPluogDmdcECZs0WdwcyXQJY/ztEYSU
F6SxIxjYfL1ShyaqU8hWgttNr33DsnW9WRM/G+RDvSS5I5vdn3fy93nxLwt+OYGsdpl2z3RRFyIO
ar+camiByk1HMgcupqwAmeXPK/7+LP79hF/PouymqfmL0bngjl1vh07npGqyOlIXTsmllb6cxnGl
3jJHeDRodRbd+uhG36O02yzUXDgolxb6chy1rKre1Ujo0ELNifMp2iqr45thvvvz1v3+2P+9dV8P
JPgrnT1fUhRDVJN2s847tfUlWPjC03y9c6WZHdQoWIWHnxEbD2CLZbb+IJ76d9v21VvExG5Pxhjf
F8EhI8u1r9us0vuxvyAwfL6E/vM7/t9t+3rlMhn1raOwjr9CBM4611HnXshQL+2Z/884PkZ2HWqJ
o1aBhDNHKg+Sdz94DPmlSH7pWc7//ZerkIUscvwUC4VdeOUQe1DBpZBw6Vm+RAR/akDgTdHOniDN
4/F3Ctx8mZI8WS7xcM4f4J9ezPmX/PIw9dI1tb/gYQbwy2h3quinTftsMTIbLgpJXPh40i/RwAYt
o/p8uQcDy+YOfj3RT2ja/asv9KtaBddh2gQER61a3h3t5H41ZLq5dAgu7duXOLAKL1n8cyMF6EwG
CC0P7TMLzKbWL6goyj8/0p+Pw3/Ye7Kop0Ek8UjO8hC3TymmKEfnmgbNhWj9W9lRqIj8/6sPt/c/
T8PYRw2vz4T1sxq3XN/lgR7igp1Cm9ftFclcGO9dEk/586GArdo/12xdKDygdY6IOqPJZqdNbIbN
CKm9f7eHX8ID+tTrHPzVQp5UPtY/1gAqcPpBd5c4L5ee50t4CKK+I4lAYjQAiBmjU40Wr+T/6pBD
Y+Sfm9bP4O9EZygVcShn0TsYaFk9/stFvsSGicvRxgRRSK5dpioB02iR6fHbv3sxX4KCE3jGI2e6
zly7uQfqDmFPKRpFpPqvOkS/nO4vOUI9MhnQ82zBALbumsbZlLYZVybz21vjPf27x/oSIPgqfeiy
YPM6B6DMOGUMrqPVaW0u2c1dOG9fFVijboLk9lnU2ZgOBw1PhfplmP8r4OTvzftLLfuXiyIEy2Tu
zuOb1jkErC4HhFXLuuJf7dpfym6/rNJWqTPC0xu75j9aTGXY5NREDI1ddSEc/Dl+w2n+nx/QFC1d
HYT4SuMFXp99/AK0jmZsqdNsdpZiXtsLsfXSgl/CQkRjnpLzFxuz+3Y5KbiHLck9W4ecmvt/t4lf
gsM6TFLX52TLzNAtW5+5qjZzcORO/S838UuA6FJRN/GAhWAQdwx6fRwnv8Shv9NpWtigf//zc523
6P/OVbyvrjtQnK9SvzvfFBjv9acPTh//vMCFe/av4cVfTl8z2p6oc+qgh5sZ+hURF1kV3fSXsuFL
63yJDeuC6is8J11U4uUc4vEnD+6I/W/ktH65zb+OQ8dQ7wzHCvFOwsmmjes8jOZM1JemdC4EoL/Y
xL/s2jS0zVj12LU6QV/XtluN64LMbP/nl/P7ZSIoL8dQyPf/UmD9ZRmlpdfa8zxLBd2u1UILN103
8Cn48yq/fzV/r/IlLswB3MzleRDI6SAWa647qGnZKc5ZE+d/Xun3AeHvlb4EhFnOc6Ca87bV1/6w
ZPOkCy2/L80Tkp/Nn9e69FRfIkJFY99W5zvCBW1KqivMJeZQqmOQsP/zQr/VNDw71UQJkJPI++q2
mui0k4HGtdfuRwuJuHcmvolNv40haQhaK7gsxf9LIy8hRbAu+218+Hvtr1WzG08Lrg86bZRAc/EU
Uxz1pk1Us/VsFwc5PJ7Wn8q2vsxtwhqbe9BW/rbCy+ulqpLglkLGD4kOvKH1kYNoT5IsjhNxXcup
ftQtogPU8Y2CWj28HyMvM8KDZWGSNGhUmkAmU6aCtdsKKJSHm76R6TeecE0yw0mw5XMi7uORnmBQ
Tndi9iBrpkyot5BP5NfV2nSYh+mSyMki5UZ64zn+Pfjzz9GcHEGUWPYpvAtPDPN9a+ZM6SdYpXHB
60jv/D6FgGRIQTylfH4JKtM/dh10/iEXYfRVbPBceWpkcr1Odr9SCLPgQp0x5u3Y4adT8+SHR+i4
T4O53fVNdZJBosrVii5L5tjfyGWF+7VKxrQYJhLuG+FN9yJ22H1no6OE69vWVw2UZKmChTym6DZD
661FyjX+WZVUu8W3cRbDVOAn660vszWRKcffDuAIAfFmIBxN+i6ZZZjDrfBd5NDOCzGDxBqnKiqq
wiazbjism7arup2oRH9oTMu3HSZgtmtnWjiZhNNLOFf+tgpjUF279h48kInsROjXohy9xOEwauVh
XIzqzKNWqe/gNYas2tM2tsfOC8wWE4Azz1tK6WE2brCFC4MpiUFmsJ0XHm+huZq8KqMtKVaWRJkw
2ivQTVAnVssmjyp5FRMYTE662ndLHGSRpNGRClAum8SHlGHHvW9TuEBshXMLS78EZ2Nqkx2rh/RJ
Lx2GOkL/xW3D9liPqYKxFDk3i00zW5lptEWztTbxlaCUv/SSCZ77y+SM+SDk0OaJssOBQ97J7nnk
TbuAJummS+p504N4jNE0xk/BOKzwdqAORR7Swjd2TZNcJcgarYnYLq4kLQcaqazrwuHgsrnJg1oi
Zkjm7xpvBSERwrMebkVIWU4BVbmr2w4YMCYyV2w7RrYtQNLawIbGhd62g+Sts3QD44Ky7oMqw5Dy
I1FmF4j26A1LHrIV0txuyVt9NLYGN7UvcH/kHW/vmVqvRkf+tJzGeT9AniYh8qTqdsz1yODeTCmS
J1L0TVyYFEZRY7UJqdivzryJYr7xhuBBWJcUk63fqgCQkIr867lNr2e/fVvWqXSiQRwI9QH4S/M6
e8teYB6zB4yt+zgsvDUZNo2FvJRoc28I99Zt824Yvs92fUhAYLEQmchsPBxdv+/zwELWpooZwQaH
pSZk29X+VZc68AuBtencbsYxLhcPFuhqpVnvVisOFjyncOY/x6orBPFfIexfEOZufDF9kLUZ8mlt
rwUGHjnvrnmPBtzqzjj7sW+uxOReL7IF+cTmmN6DSRcnR2L8Dxo2byLAzGy/vIPXcSWkzuNIvC9D
ks9WqQLm24dYpRkJpmzwYCXAIQq2wgnGNsmN46b1ntn1mnkRvvZla0mcwYvy3ee8yQiBqJeSR9gi
47wKVlYQymugGqHS6ZlSsm9Xb7d268/IFd9jB/YoVFfbCu6Pme7NHdw+30WrdFY7bQkYhWSciENY
LzfjGt+ELT0s0PWNFrZjyWiztnHAmB9ptjh0X0duHpnoOdHtPpzjx54P4MCjJBFz0aKyywI/PbZV
DWBpSaC54Lsya3HpdGFFyibtr7q57eCUqqsJ7REe5ZpH6cZEtN6PqWiKZnWBdSweYI5VdTteWQxc
kqBFa6MmtXe9QIngZuIwPfLFDD1bYp7AbEyvprgXGGwRZCsoYIXAma4jirblgvVKiV7j1kq3YLMP
K/DElg7kITLmLjdxMhVRqg69S+6Ro4GhPZrh4KX6NUzsDl5wNysAzaLGjNymc2FTVrlA6WoESXC0
5jZv++qWjE2UpWnzZki6n5rmp6raeTPEcVvMEXj5ICuSTDnpE69HecLJEnkqwmo71usROoH3vgtW
qbTksx/XdaPWmudwBvqMPAe4VkMHkAqmzeDAHIB1c7G4ENUO8elX/nEK9Dvg49dZ8WYTQt//sJi4
nG1bOtRDKgObM1qPG38cYJkNzeYBfMyY17DK5jbvGRQpz+GkXbvScdC2dOW6ZKvvPq0V2yLcAzwZ
YFLFOtpmTLNhh6fxMN+Vykw63a7R63we6tjFyfq+etCs6Wt3LggE4ZwwTrKVBleVJ3TWO0t8FUWA
n/E+PHO0Y/QQz43Y6PbcVhxJv6/wW+u+2gxzB1vEtN037ruiy1tF2ha6ZVEE5CO6l111V+k4KZSS
paOcQy3EHsPvH0jm3zovgYSWLPx+fO6WZC+4LGH40myc1rtbGlkO8HyrxFgmtL5yEvfWi3UM0YG0
4BPw1lCo9bbqxV5YthvAftBOdcUrl2XDGLxC0nU/Dd4hRmNj1QK9Nr3u0bSUL13KUky68FM8VH4m
xeplo4Bzj5nVoYPURI8aehlJofGoCcQhwIrGKMxIN4sfIW7qjAzOrWuHglE/TwTN1Tg8QTLrPoKh
Ae6VdsykZ4sY7mIbj7YQUY74FuD0sglworXnlgoTUXntQtdg9m/DKTjwJnnkczVvePsRBW0ZU/EM
V6/HilSHqfUx6dmtnzysfrhWHXVXPToSUzFJi+9FkxkMeEYfVp7eDr6fYZDwvY7jjxXvBdH+Gf0k
ldlZb/se71musf/Yp7BFgniZsDhMuhUkbzi+BHlWJ8D/EyYBoyhkNZZas8LEIIMSXIZV3195KfTT
pTdmYxOooyv7IOtYeJjrRW8aNbqZli5m8/vwKOfkSrVkJ5Pkyc7TSzfzV1Qp3yz8WzaMKyRq5nn2
2ZaqBD0bP8Y1BmlHVq/vSsVFJDDzBv3aMVu86VT1OpeQmY3ocOXRaUdl0GYxoTsvGIONRJnW+d0n
Gz4khCJ8j+4pk+AQ0GyqRnbwWbA532+ejQ+qxo0Nm6HU804ORVqqO1HC1TX34dyWJIpldYpMclqS
7TBVR0Hbo4h/pB1uixDJKDqnrzTojlMH1jfV6rvsRNHJOnpFkNhpSPfnMNg7BdRfzmGYlksNfUrk
v+vJJvBNDbA/uWLwcPL4rh54SeL4YWZJj5ttmXP8/B1TM6KN2ayJKiQUNbu5Q6Mh2MCx7ts0qj2b
YDbsrhBWZPCCgudMufaw7CB12VjS5xiNOjWEPWNK5pn16lts5Batw+TgJxD6wwzjse/pumtE+DQY
58BEk9OQXPnAqmPbf1hbv9aLd+dNzjdHcGhi+Byj+nMVbzCsXYZgla0py4kddn1ndnBLLbirdjB4
KkOvuQcV6cql8XYR/WPMzU0UdiprW7vFGMij9KsE8sDhWiS12fSs3icBO8evadi0JoBxNHrT7tJd
jQ09dEG0n4Bus1qzzFQYzVLDcVLJy6SXsnedo6wTTLS4aPeE30SvkDmOZrmaBTBK2fBlV/vh3qRI
tGAxVRgMgkkPs5rGwSmqUwjvyvE5oF6UB8EMj4OpRjS13tEdepmlflo2pN9OCUV9UG3RZ8ZvSJfb
em5xFuf3AeehHIOg3mFDgkPcW2bQXBesyePG3CMtLJYmeFYDw5fiey9DH78bXn06qd27I5Id+ORB
mNW+1ZV8Xqy7HWE/YozT5tHasDxNxWcVCAufTZJCiS8tRn988oz8jHxTcg50nLkYGtOpvYr91c0n
X1/3ffuoMBUjEh8IrYN9n5xlX3fqQ6Jiaoy7W7gPCmlfYQeq6hQ63nXtdYXl7AAR1evJ9m02i5Bm
EN3ZxGn3No4jhihY12eNR37A5LfJWg2ulGKIDmkyZl7r7caR3MEt68pdIvdqdv0Hzl0o9cKPz7Hq
ztb+d9DWkQyvOEBnIa5K+A8RJnSzduRvZggOsGraAcIWWd8Md+AybZ0OYT1u7yIv/gn0qkTSvmKy
Zx52IjVV6UmOWkRE112KosxNljhTaP5leO6TaKXOhgHz/oQHu0gDpqzUXSrTrQcVA9xGY389IpQy
1ewYhairiLwc9f0NcocIqtzTz8qVn23LHvx03bp9u8PO3rOeeKcm4FdwCSsMj4pucApnnaYMueWY
Qf/txtjOwFNFPrAkvQm82paAJ7ai6sNdhNJtw5bl5CupNjVzb3wedhjrGXc+Sd5YKpHkoW+ZmQV5
guuyjeOYrR443ehYXvX+SK4S7j0FErIdqXFuwm75DLWrCn8VuyampUjqozMM1QuDP/KVBwWHbT9E
hTB0rxV9ThHh986EPBuVRZPzFps1aXmOWxPYO5O7mwbm5nr2nxfRHCEB4WRua1JQAoB+zk7gZHPa
U3hY9neDM94FTSfymT8i+bifJ/czqMmnrzqV286/5mQ8sI49+a5KN76LuUoa+uoejMs9qERlqCea
G4VUtutpXHhm2vdjv4uM2c3pcE8SuXWYvGqjdrfAOitfVxSeFqNWvjOxcllQDqzdq48ftiNd438i
otwsJgBmMVd7E7RRNjeTyAMfcNCqo60zi30EHed5VqWnptdKjlvqJ+NeDN12HA0rao4mDZNJbtoh
X1CJoIcbnTh1HpfGeWlY9bBM1YusJiixTqg7YgrraRSb1k0L1iR31bzAqkhwBvCW3YPg7uWALpBn
Onar6vRuMZ3NMW4lN0AVq1wO42flJt8WNX4fQw74HPX5dcdYtAG9VuVDyD8nWy2Z6Pu3VLOtUtEW
ZPYXEszFSsYNV+HBKOR4HuwUTbgzqGlwI8d3RLl5rPsDxLOKRcFMJerL2DxKKa6j+Ck4+yu4phDJ
uzUt+l6IhQBmbmuud7FA49+VwJlEjuwddSU52NHch5CfzOZwzKE+mNcsspvB3NHAv2m7764K0SIe
wXxwH8LpztpD34dbgb8U2TKGmMBqImDp4iyfs3HgBdK0j9HwNuGh/D1Z1oMIVA5qWR6DrtoRUZCE
w0O8f6T1+kzbndRu3qvbVS46q8Y1N+xj9gYvk9HT3HdZtYJwsT7wed0M6WuofHi4IVuSRVotT9bw
fc8BznBTNtW0dZqtMslNey5vzJ2RqDXj1xryb8q8C8EzxHxUineJpLnH9ut4UvjttPluFCn8CSEz
CIGDnfUWScGSqlRnSJhXmafbW4+NryRZj5BvnjKj4G8dO1lj0ydIx2fd4CErTUwJt9tiDuhhSE5G
RH7u1jGqGpMnWCIPUhSUPeyL0fvUzZ2belfgco+nqIqOAwpVHElsUkYxwaQTN5vHKY8NJBXmBUPK
N+HyuDBQJEGZXd8ovI869jgYkRnZ7dvaAB87jYDk5wHl8RRDVXgpkjF6UvJHr2E8k+CJYvoy6mmr
JIpueNqS5WqRAoDSNXHe8D8mnpYJ2VsIjujq5OtvwtkvaZ0H1U2dfEMhWtM5Gwy7XWOMfkrF9pWG
4MU6oafBY5G1VRU/G+Ce2djZ8cX1ukcXEhRT5iHwnoEJb63vUS7DIE6nzg2tlptKN+UKIh7EblgZ
1PymwuEX3q3rx9WtNBFoRIm+Hrxgn0ZTRsEXBjMwZDipmPSxk7+NYnvvYlDcfBr8uGUct/NKNrAE
yWJptmKZcAO/J+yHhjSHTpKCEPhZtwTpJ8niAElFz289rm+75AYevtcoj1/gMFgy2uW88R6rJr4a
gXMsyaHSiEIBgCpkIBK69PWMgxDH6ilN2EuNSVuwKHMZfZORzQ3pTrZi9zRRVzxtijR1n7lr7hYb
/ZxJdTNzp6gxB7qxhC0b6XsnuCSXmJ3LMQc2AXplL2IErWkiOI2VJz/6npz84IoKA5ltXEXoxXXQ
PGDQ9WAAW+UCpW8srzqz7Vm7sdOOp9NxDMVhNO13C9uTbGzZdwhq59oCHZI/qPtKIrKl6fwYAlsL
2UGKcIuhvSBjPYea0gZ4L0xBq2+rlj+1rxCQ+6xi8RUicO579XSViqgYUcsMKI9WmL6mY3XQ/nqE
j8MMKAK3SQOLJ9sgEtBylsOPxjbbtX+tePBQxcupcQHIdN1PgntIxR2gT/zMAHhdBtTkgXpDxqnC
63Lq2xjaUcZbHrpaZYaaM7r8BAWQB0jTvyQtqN0rRib7CrSzLjEvo6lvDBULVNcmxCNYP/PxWwhH
6Cwi9Lsz9R8aUXEaF3ScASFGLX/DW/sMIY4V4pJQ/nhLG/pDLBadhxXKbQkoRrG3NEjecdVOCe5V
aF4D9vlO+EdAnHI2zlMjQNqBe5hFRQ4/tLPctoc/k8Gw8lksr9700+9qDzU9u/XD6jWFzx2AwyfU
vJnPvVsRwUIZHf7JuQZq/BPI6c3s3Szrxxw4V6wZnyB5XMbet54szxIiKMsQfzD1YSCwvK7QLDf1
3aq856ZB0CTsJ2sAtqYzOjSENHnXPq7pfSTMG7geNGum8Gby4jev++Gb4TGa8aEtGpg2RLx5poY2
I/1LolKE4ym617a5kWn6kSa3TUI+aQUZszVMKSa/17u4fR6AdVENeSJB4GSWaPUgXHnya/j4RdM2
1PiTqRN8cD3c4gM6Ah+DG8ZPr+FtFonhiU+oW6e+BVUQyffIH+0oHlKnuncmcx8DeXKRRwcJYncY
A+qLU/pAcFCamd+aFcmprpzDkqq8bzzgMXVu5HAYOT+SZv4kCeor2CoPmHhVwEiBk8anAZgclDA2
04AEwqRZbftX2yeQwwCmm62dV7hTciNbtQnNmsdxQEGCqO4wRPTdBcEtm211IxC/KCgZs90yz8tN
5Bb1aE8rdW5qyx7TdP3sGG5NStqN0WrjROlj0LH7gakfbQUCT7Ugd5UVPiJsnn0WJNk5NRoFgzfv
ZNDd8WTFv9b1z2EKD+hL9oiRqOaBFOIbCcgH3JPubdA8euHt2P0MzbLRHYQvzpoZFGXHwMLMM7yk
aDybIHkORBIjXxFPuPfzuD+2nVEZGGA413I5NsltCpDcelDq7ticr6zpckVRkIX8uYKoIENBEXjq
zdTrZjXpZzKpcvTJDTQIt93kFshLtgahTNR6MzCvbAbvhRFvC2VZHHjkJxHwR6RoLXAdxUXe8nTL
MSxDGvbZO6AeYfQZ4DZgXK+03gBUkqCmmH3MwLLx3c7V92gk3wAFbluN49x2awnlhoNuF4oyFRfk
0tLrdvTKltWmjEOF5JXdan6eqRaGbOswLUU9b+OUlaNL0gxo/T7uaZksUQlTp4M23U1vw0xbeZ1w
Xqqe5YM1myS1t+sQ3sE1prAdc0uPA+B3oh0JgicXNWDGo2bXqpRdJ858O0Vi7zOOUkY9Ms3fHDPY
TIZwmHEow+SexAUaece25wfrL3ezWQ9D556x7/XNCTgqdLwWV0cPVNgrL/SPWPfUSzR018R5ammz
YcYgg0Ubb0X61DfNg1eT5qDS7uSNFO7Ujt4SwUu/S04OlwdcMLtEJ4d2xHxdNN31538rNRJA4cc/
mt67Z5Tqu2ZmE4Wpun8VhZAK1KQczmwFqK8sblAixSld38lrS8to4jesb35YV4d5O0ATPUE3+BjE
cBnOmpqM23om/U0iASk4ZIFrEONvUdcDvQjcu3kcvKMD1k/Z6o5Bv79CGh5165GLdc17L01zM8zf
W+aPV6s/f0uQK5etoW8DlQAx0RXCTMrYleskACF6Xb8Le70CFUYncmhqWqwLsgG71LdOIruCB4aV
lDTLNoDk8L6a0zrTJnKObmh/SBsEeUojiIxoiUFbk9TbyhKBEhoCZYsCnkJH49+gQVbdOEDodrgJ
x7slie4StK32FSiOe/jO2r0Ka71D193LU60i1IlISUk/7eGIaPceQheE4wVcoPqk/eh0Om6isLqh
PspYx9itlqQ51hHqbRIQeSOt+VgGdC3DZX0G/++Mx4UkJ367FE3U9qWp5/k0zeNTfC6c2gTUiFWy
5ZoCTSm9wGmQ8jjA9vh6oGjOIlpA6L07CyWJNgy2cCGZnmBB/4nOELKkuKZ7NTdDlYUmweQS7bpT
1JOgENw7d1+oFaekDfvjwtzhSIaE5RY4fQGUmMOYY8Vtp4J+EyCQ3qFtGF33ymEfplX17eLDFiIT
I7JRlrRL5hH2XUHttaCuYbnXRxjAYN2drSSyk5SpAmr0PXqGLCgS4Z+bsWioCb+7ok3wNBtxL/l0
7YUNeJ4e/pzPp3HbNvP6uczM/HBA9drimcQN5Oe7Xd/rCfITcJQBPlFXZVvba1Hb4YQLWpTU61Yk
AElTxgQVdDQBe0GDqOa30br4Gengm4zsI0xPSeUkL2Pt4oasyDAvhRpG/3EKBA6hdaFoyPoeUQdf
juapW2CGrsL0bi0fCKPkznAZvRPPqn3VtjGgYC/EqFjzxv1UHkJqxpsk1elW1qQ7EJFqBO1F1CVs
sMjtkDSntfK/sy5NyzqELgCqLpGJ2EfjD0W+3+oJiRjaZsCRltsJ70tgMBCJcTdYrxQsSooE92hB
AgA+pGK4CgcoZvRqvO8XXh1imCBeDfO0nLuz/bEmi4AUTpJc6wlFTxJzH/XuLPJuGtwZ8BYNruFi
Q763gVTFFC8/ZgX9V55GI2qLpc1kTV8tlzzr2QS8FRDPpmUaUd12H7F2o9ckTZOj8d32PqiBLRr0
lY/Q71jLAYjkyxCmagffvJc6BoNgg4+nAlbfC/jTj9OL8loXMO/atZsGjdmwCHEG0Byp1ltVV+k2
Si3ozL71bucGMlNgNowPqiJkDym6dsfsCEFI+KOjYNeiXV+FI5o3yF9d982MpJrWGKtbQzqh+tAE
LUG/2oUa/PLBQ1xs2umboaA/eIDNitkEyDDX4ZZNzL12W3UnQvfYB7jU3QYSeMusMuHM7WPrVXeR
Bg1eVw98XV5x2MGsXPiuYqTNQvQqGsZ2ZEbFzuV50lKjjT/gQ88oS59aF16wAQXaEUfFgPLFJM3G
E9PtZOmJWSUPsjvz45DmTsjt+LSe8FcOvUdevNU7JJqgYwWP7M3MO383eWN1nN3qLQrSZ4gy9jlN
+qeod9Hh5fRYx/X/kPZdS3Lj2rI/dBkBEnR4pS3X3uuF0dOS6L3n19+k5pytajRPYbbmRfMwCq0C
CCwskyvz2JhjggHGeJcOyssSLG6h1rs6KQ8NSi6yJLkFtA4dpWw1K0lD+DpzaF7GTjqYSYbLI8un
oZdRnlNqXNtm3EMwDNWfjhzQM7wZa7T8Qwr8gqnCOCRWeiefjMbNNCwAXu6tkyh2Me7HVQ5wOkly
9JITpE5offQGm9Fv64JTrqfSXaQNGBQHCZxVACRRFBVmGtJa6a5DtHn9XNMbyQoJ3pM+TGubGnAE
UmUWdrgYr6DvLHwS6/0hBY2jxTI8/0GCBC+d3+V+OoH3+hDm4TcJpcwsmewWLXM51Z2xPw0DuYrC
exrNRyI/xvBeEFP5Jg3sZYnhFatOe2rK5Y6x4aqru2OFaFCq7uJ4RtNTezXI9MFC9Pa1wlOjV1ky
vTltvBGf+VAgfQNB9WnUDa8CP/CgzS6RazsbTxQZW4tetAlJ+wAdWaAjpOdeiXy0s5xkyU5Z2IJ4
0rxZcuUGU1+NRXtldtK0uerIR6WmidXHD+WgFs60eg+T0J2kNI5ZGW6a/GT48Ginqa4K348mKOgh
F7+vRkjUQnm1RBU/Cnyzeq6bEDJjlVMgpp4RT8tq7LSNuYvbAdmODH8t7RNU2XYQjVWs0DRbl9AG
LbaB/ZjM5EHOUxAZyMnRaKBooIDmRpYzN8cDU9RZjY7Q4C2gzbcZiZNruLoXzXjt5UaxMHW9n/Ps
lUbRO8ACoV0GePPS733yaqCcXVyrC7AqiTk/IyGlaOSxGClCPdrK1AGaYKhOMkiePGFgduotwl5j
9RnZ8vVC80M2oIFnSnZgDM9FG49u3bZIl8xniJL6agIVz3yu9nWLweEW8GGavczD8F0P5H1IldEy
0+OM9hmmPw+ZgSeMtMRTZNQ1mY4aGb0us9DWNPm+GdBJZfmOZcaPUvuQ4GmSCtMrCIVxKe0i8Aka
7YsxoR0+ze+ZZNzXQbfY0/jUZwG6AICZyOGNWVY2zdCBKZJ7iNIvx5422UlOkTPEtbRcSShnXs2k
9jUl/kCf7sekyY2zxKgWjlWuWqkmnVBD/04Aq7M77PpuQdfVCEdmN2Ssj0FITC8Lk94bDJQ42oZ8
k5f2powDxCvygq50JaGWvwArhBzdJmArASAiGPZSQ3FPUIrT2vhbosgnIJjcNjU85NN4GYLmap7G
6a7OARhk+aPeTXDW7b0SKTGABvVJ7WvQUMsUraHqAzzR6M0DA4zBqxuk/5IlpewUNKSx8DS9mMXq
2oe3qtB3s4LmfZiOxCqnLr5FEV9/VLpwfAcAbXjQo/G5jJDUxBqY3QZAYPYj6XrUmBsD3XbAcY0K
M5L9AkJiM8cBL3DJmw5lu+E+kMtrQKTGQ5P3t3GHXsYali9a8YDeC2pI8oiWtYR40yrCAVI95V1f
GvtWyzrQbUeA73SvUFfytAS16VL1tUYdX1S9Kz9yKLngxEd3acFUhy2dZCIRnMxDo+HVJ/FwHRnI
Q9NFP9AJDj4obxWkf/Be4I2dcfpJU6EMxrTOreE2hzLNkF9FLHnL8rHZRSxvT1QpFYiURKcurJ6T
aI6PMdMelSJPUFYxEHb2rUWSLN+ppa6gqKNAkdowV9XoBsVsQNn9Ipa8JaBoXY6+mQfPfRkZD8i0
J1Ax1qkXJ9o3naA1EMZa7BqhglZmySKnUHLVDmpzcCM0SlOLGDO1h6xorzHgj54ORbhgjaoOf2VA
HZeZNaAHhQSOfGXQrpDjgZoj1hHXAD+GGHq+7ZvWUczyNDD9oUqC67QbW8tsh3cStPFV3023S4A+
bBEbDwoIIG8iBaCQpUDzO6YGYBJAaaFV07uzEr6MOnODvPPgEb8jv1y8LBieQyahbJh8lHLWuEWG
YuoIABfkiedv2WiatoGQzFWlqECBH823vDfvALdhqGYEtaVO07Eu1FOyjJ4Sx7mn6gaY1+WkASIq
B0hH0l0AHJ2Gxd+zLAQclyTMlmIUORq1n1CMrjR7hLKml8TNo0Kyu4EN76Eau5UKSKiSUhuiLMQd
l3BwhhyO1tT6x2GIsLwhbBw1lxqnVJtbWQ72Gpsbr8y10AtxcU5mFL/HGMa1NCk0PDlG/gAOYoC3
2l63Ad9/IsX8Vzsa1zmb/yqhiYG0UoXqYY87PeQKsaK5YNaEooSVa53hNy3Y95QyQYbX4aEATuKF
5HiYS9J8i6boqU9gnqF95hYjO0DeebA6dUzveq1qLQbkoAWk5gDsDH03C+SW7Tr9s+jXZtvdKYVU
X4WJweyuQR2AIGDGX34HAu8bWIqe2klVd4lmHoeqechQUoGGL9gCNHM+Aou3B1L1SMdyn/f5iRbx
SQU9N8YvzNpd5DJ1lwHV0KbVrmSGEV5keK9lFCb2nAIYSBrQB/cT8FSy9jZ11SMS1J8RsAkIghmK
Q933aazK6pgPbSEnkJIxQnR5Mjqb6BLEQY9yIKTtF62+70pJQmRAJNR3gfVAdGWQHxnY49rI/n+Q
Ss1In+gqWq20uNXU+X6Yh29QSYNfp/rjRI3qJpXqO002nxGwETdX0HbKmxqlyDkzr9HcTwG3rKNT
mUtH2tLeUhZU33LKrlZ+i1Cq1qJoYQeIr6Ez0N22IfA8FXoPcJ79XyRbGYzDFh60Sv6aWHDE/qIj
GsuHqJxiG827722EDiBpO+qGKD7bodGMb0ZQgEm7yqqwtHFi4dwuw6E3MetniGRunm4Z0vLvoZlR
fVsUamnN+x9ppJ4hrpnyeZIlDBuaBxCBcfJKtY0JlVyEVeV4G8XPlxezCSI/WwwHjdemtEzGlZ6a
oJid5s+AEFlTdYxFA5wiOxww3mRtlLcV7Eztq6TtgVf0x/SdgL3/8nrWKYsv4yRn6+FA8VOdp00G
ILZD9c5tgWzEjQWDOKJzFIfBfG6BR+Ffnod16WczDAECGHXpIwzAUkBEGIHXi1rgrNpCwCkgOnjc
UN1MEmhlrMTbUU/egIvd51J3FanDn8wwnG0hN1G3MukY+QwzLEZPBV1CNQXKpvuRmMROmklg7deM
2aUvxs3N5DK4LZQkBvtrDeaWhC27FlUtNlC3RtphdIDC0AwF1azrnKWJTyYgU4LfcPlwKoR8/oJD
r6hJOeFwZqhEsOhNma4j7XEsReotW7MMOkO7lIKInSm8pESQTa2K5JI4U/iUaSZQFSLmqM1RDZ2Z
FMKzhBk64XbTMIdo0lppcQYv3A035dWMJD2ziFdAABSQ9Z+JX1yJpn1/TfDx39CQFVmhKjQGCE+3
MqOrsuRZSWB18RQ3dk3Uovadq3pk177kL5fv+NY2nlvjLhx2OC5nTOM6CljljEx21UDASCxcEHfV
WlOStQq1BMxMy55qA/2aW8Do2aqXe+sp/YMDeL4i7sqVut6hVtAidU1GOyGLq1ca2GEpUtziDxyk
gREekG6BC8X8tfIzb1XKS6+mGVucPLqDVAAyjBryDn/J5a1u3sdFcARtiWB1m1ccdOJgDdcNRaMm
/Xy/OsA4845qiwNspr04rVU+aS7xVk3aWvDltvz/uSnunUEpGRMvGj6c0Rs7GRmf1aTI5xWKqj/U
PID0Z+gOR5WxylwVAkKML35ExQJV4F5lXPCve4s4t6wVk6B+xZ6qCHhihJoJ0dALos7lK/BlmZwl
fkejQtLksIV6pA+cid/tRi/akV3iXzazuSCcFl2TZXw+/rAsdRC1VMKCMoYR57gt37WCvplhCuGC
vBQYWw/5JyeyrskAxNYgusZM3onobSqRdADwMlZuZPaGF2FqXmSG5gGeg7LzLi/tixPhrHFOJCJT
0tRQFUABK34yTYxXq3knutdfXmzOCOdGhlSpc8xdzI42vrbrEEp4rKNIcBYU0VI47xH1McCBNcrk
AArIN0aPZNULruJrc3SCO1M7Zvtmr7qJg0bYKQcCBvl/Bb6/ZDe5mp16Inp60c/hniBlSOVGRRAB
zmb9G0Pu0SYibaZfk9wXzgo/FdiDdlZRwxRL9vtn1Z126H/b5X52Qjt1APcXhHiCo8kz6rRyFg/1
PE8OEsMEGFQTQKkB1RWyg8QqRIIHH7NtAuqb9WxcWiKXAkjLPLWg+scSUV4Fmk4DgArJopHGD2jb
Ao06BAIapE2nYiqyQQllpkK5K8HqUQWkRl6dSrPHZJgP0JqnCJ3K18d1vRVndrhbwXpFl4BWmBxM
OL6vH+8DvcIP4Dcg6ia6gb/mx79s45kx7nJgXm6uUDmcEJp0J0AE+vvSsDNHcjuooqNR6QB00TrB
sfFFzlO4Tu4izJGRxxihnhBEAL36WEDMrvcAjnQwgWBrAoq47Svxe6F8cDnSfMmIiTOKEoI3u9SJ
3dxndusZfuE2V5HgeMqC06JyafBUocU2qbBH/Gzfnerr0VcAtnBbIKe9wMHU5gfAZSgdjTfNVXYl
C9a76WUQQ5uE6TKlCpfoYQgoMAwJXqYHD0tOlpsKdfP//olY/3kMPdNVOot7ZMFbMUMSsJqBKKv8
oEM7pGkECs1bqzCBDtBNQ1OIoq///ywaM2YoNLMJPH6Dke4xxGhakaqIGEU3jwbus0pUhF+mrvAH
0azqNpFghRyYpduYlG7tAY4FN6DBrat+MEnwlm+uixKQ7ekY8KA6d+vYosckMwE5D+XSbfvJ00R8
/ZsWVJUoRFvH7VXu42C2BL1nBgtTHzmqgitW7i9//i0HjMbqfyxw3wZ1a6DRG1xfBZDAFENnBSZX
lQ90ClySGoIN24oUzo1xxznXAC3Vk3p26jo5lUXxAcnun0DIhO7lRW2fBY2YTMGJhnQ9t2+kW6qQ
6di32R5d1ZYxNe1JLqBTbmgD74HOFn0TmNz8VGcmuY1ESZj1GA6anc4BhsvLMaWh+4HTWSqz1oQq
SGyp9ITud3VAvOc3z8xyW2oAxQPBbny/VG+GnZp02a6N2+mjH5bhBI40+W3EBz6gr5X7EKqGilks
Abkd9yx5ubwDW2H0+S/hHtYyGwETVxOcVQpEg9HNmAMJ33KF/shqDDxeNvY128Lzaq5IC1NleMh5
eaAWLWVJVaXJMWm0gwznIfdpATRS/1cZRHYQUmA13DFS1g7R7rLt7S/92zQXs4xLCoBSRvGyg5zB
MbUBM94NCrGd8+/scIe4XbQyLTDM7Ehzb5wCxPGuVI6NIJf8P+7K7+VwB3eaAMsAWwLSn5PsRbqb
upEHXLxbRz4GOpxRWAf4RUbz9cz+tsidWTDVzKjI4lFtXQzS+ZOX30MaBJH7eEseOpc4+lFyervw
RRHu+g9fMswd0SLF+NGwQm3idgZyGajNGvDeQXQ4RQdk9bln7x0I9tQMITTYJMrQ1+bqrujIf12P
Xc+/jkFqaLmZxOC5swawEQDPF8LDqR7rHrTsgc5/kOifm+Bin6VBTzCsxwk4eAA1xh9Vdp1D/qIb
REHWemG+fJaztXAXCsoqRiJRDJGo/vhceaUP/iJL/qkggAwd0758qzbd1Jkx7lYZaQeqEhXZvszK
+SpCJ01e7qCoUOyGpXq8bGv7bp0Z4+4Wa3OtKUqsrHWpNz2mbqninLvoSeJFMEBOkvlUYFO0Pu5y
RUsio9du4jpL38L2NgaGc67fgkz00dZ9uvTRuLvUF6gCafD5jn61eM0j8jYHfUVgiywwKtuSULh6
M9E4P47crRopC6msYi8bBywfhrfsdEf6huzfyh2U0J3Ln279MpeWx8V2Q9I1E8lwTIzyzTQAlQKA
7LIFWfSluIAVbXBpzsmvY9/tY3ch4KI4afPP2mfu7BF0ffcmia0Ic/aOqHwhOpk8wxZJyVwxA8bR
b9DuozcoJVup3zqQT1lcEBEI793/YRG+SqGmZqh8mc3ISDnWEjyW6oe7GJVf13Sqn7IN3ASwEjgx
Im+/fWIMdCJUCvo/ALI/++FoKAIaG9qaFVOvcORj4DAbswN7dcecSZCqbUckZ9a4uw51tVEe9H5y
HKCPfW0X7F9Uq7jufEMQsm+emzND3A0PAjXBpCZCHzxl76WG5wu0DodRwoCLrKp/krudGeOueanR
Gs8mjIUmVK7Xi6eInrLtk2HKJnQYTfRVeOb8CTi3oltv9tqHiDGMaU87wCvBhewaPwu38GdRwWQz
EDizyPkSNMyLNAkQwqn5Szw8MvwpojIUmeAcSCDroSrrWFTQvzdIq6HlhPkFUfb+lfd2jQNMTdEU
RVOZwsfBHUD6RZPC3WPKAuGhpSB+i0M7QuJh+LLbS07siQjLti/WmVHuwQ6avpcUYFqRamffy0Pk
5LZqgWj3DVOIwuLWpic+M8bd4rELMX4WAS8bVIkv19rNzAIR+dv6vb94+zMb3N2tl5AaWaAD4FuD
aQRqts64VM7Kc4HxeW/o9ac/8f2miU+nKKahK9yiAgqmXXDNrIEBIJxXgxPuMi8v7RWaDa42xD/z
qcF01o3o5G/v5m/D3EpZm+VVs+BYor1hS9mPNEw8wdo2wzmGPimosRT0OLh3bVIbppVQ0XQmVOi0
07LTiB2eZm/thGlg73u8bG/zojENegeyoQOTw60I7EphpUcwB/I781rVZ8PKp7LZsb6i/r8ztf6U
s8B+1AtMBNdIXEyizMB+VbKrBKpfhyAHuWyJru7hy4k8WxXnd6FVUveBDF6jQtPiHQEydz/qPblW
yyU+9HqGse5OfiS9jq846vFhxIS4Fc9lugN90bsUjN31WCtP6RLeJ0vNLDqX+nXRgBBirFpUovMK
zEdSQqy611VbKwzZB+bgGWDXFAhHQJlLU5NsvQOXEpPjj3iWor2aYgY2KesfXaLmbgTObWeeFHKI
KhlcWGkv4/P2RJCFbHzetc2Psh4eL6ryFdhgGDCnk6c4sHJ1CgbjDbxFN2OhCCSxf5VSuQ3/ZIfz
aVODCc4IsFIMA+4ouKpqF7hz+NT6vnyXrBZPUnhS3gabePNjcm/Mdslu2uSEoWB4WFGSspUif/o1
nH+ISbKUuhmuHnYGcYHdPlU39RMYFnTHfMAAFOZ7DxgMewhvlrdWpOGw5d8/Weeu1FJguIIEFSoP
x2IV9TjkNtnne5ClHACItC8fdaE17lblzRzpioK1JnvglUE+5MU2RnQtc1cDgW6L7G3crE+L424W
5ggXPa8ivJi97OLUxv5SBF4tYZA0HTVgcmonD0HKJVjlZqEOzhClKg0l41/9zTPfkVAFBPJ/J7nZ
be4Ou490r3jqLhRu6K/YnTvKOiOgo1t9sEx4HYEc/J81TZG7dA6qn/QQXOE/bnhQ9tIT2FaMyAZj
lpc/anbslSB2CC1R9rRxaT/9Au4JADKjrtMpwy/Q4TJkkGS0bbHYaTkK/OTWRTmz9EVgoNYqjLot
WGvr6n7xiInu3K391B/fPozBmb0Apf/obqS7u0jwGGycI53JCqAQRNV0hXBXdMSM3TJ2iLy0HFyT
gSlFJ4lI5XOW1Q2YL3GgMac4yYELWt5BVLQTGeduaJpoTR7MqGQtH7Or27HbHRH+VzeLJbmaCz4+
kCkh8dADO374o497tnDuvnapiimjBuWtpjtU2lNKbrXmSXBb1kv45QjLuCtoG1GFUc6GOphqyNbC
SbLv9hhSd3pldOQdcycbqgEgucEMhKbaUP9FsQGTQKK6+rp/l+xzTsKcowDTdKi9Mjm/k9XytgPj
3OU1bi4RiSnaEwgEkZ5+DibabNGyOUcBpcPkWZr6NcEg6jprKsjgvqLlkCKwM0PcWuAfEpJECCXW
Du0QPBmosOmAeentrsod2dYg1NR3lvAN24oDz+1ySRbrQEWgFQjc6Q27iXfybs0SalBxOBioskWn
ciuEP7e23pgz/4oe7QjADUMIL4+PDWhSrKjNTXAgUtQuq9Azsk60sdsmV/E1tBtVw+AWWIylOec9
DkmUeYMDyJdNd9EDNG6t4efo6F59WkspkSvc2dW1fDmd9Ldhbq2mBOCBsa61deFkMnBz7uMDs3tM
r+5AhIhaiujR3CxWMbQJgaaj8Nl8GAbaoWLIFJiMgqtqX3n70mY26S0r3Rdoglihnbjit3qzNAAk
qa5TVAZkgOw/f9W2aMALw5BpjvELrfe6jwHIQ7cbEhBPva1FssYXlcZ+5V5fdvfMJvd4BXG+0MxE
Mqj6gQ8S6SsMcem31QuoqvzKAxLGblx2KEJr8FOvP9ZgiHaMxBK9L6K18yU6aWVIrgHhcqI96LMO
1Ks8+bgGR4M745D5/e6yQ1rX9XXdBmEM3xiRClfvp1FPjTT7H7hd4XW7BtBWZScys+2P1N92uEi7
YmbWRhW+aT5bKwin8EBTkbgfYKz2Op850qnyRd5hPSeX1sY91mAlyI0e0+gOrvFbOnpZnXybzdaO
MTrhELB2aKnoiV7x1JdMck+0sdBGyod6/XyBXx5KO7d7r0I9UPRWrQ/FJUP8QwIaBqXpkQCzARWE
NpFvElA6R7MiklAWbSL3kDQgcJoWqEw4UmSAWa+3pkxzSAoyjqgYbUzX9FZHS/fyqdy+BhplBiBb
sg5Hi+WfOfZOSeSqWcvkcHaOilAnemD3sf03TFnHYKwoH9n8cGcGuf00u6IbTQkfTi6Z+db0UPjG
hCXoV2UDJDxymIPvL2XVHroEiTvN0nKtlFP9818um9tskxTI2xOEB38vO3Mwlx04sQQIoGyvRdH8
v8eDr4HC2cK590wrGyUn68VcK/QYfkw8E/AZoHWOINP6B2XEjYMLQQxqGPDuYFj99eacfVlWGfkI
TnHUOE6V3ACqfNS81jedwU6Zb4CqYPlZXJdO5Ytc65ZhHcElClQm6gr8KESrS8ZIWw29o8wYMSc3
vZSV4hmpJlLS3YgQDPQ7AEYyDVkmKnd2sznGzG4hjw40dGy0va0FVWAQzdtV8JqAqOnymdlaFmCN
GkEp3TQMfp4KlRlasD4ewbjdY173tGhO0A7uZSMbTsA4N8J5UuzbPJXaCFhhlYEIe+l0p11MkCrk
kOwhcaA5a62qDUbvst3NMsG5YW4vlXqBmgMGwXE6o1sIrO+ql9YhQIRHh1HY/hNaW/f67GxCtlAN
qr+t5deFB+ztYbHXZLL6J9HVummcC/+0qdxlzzSQ+dDu19rG59Wa6rRO72D4Az1wthcFkFvf0CSY
m6EoEuCocBHOEhZVNsXN6Jgy9Yv6ppe+D1AdXVIwvBtQ96hEKLMtgCrGlP9j0Vx97tl2tjQtmlad
EBVT9TsjkYd2mZ13oIpgBNVJUKtV9rxIr0W/7MwKXMeBJu+CofAnCJLoeGYAsDmi2HlrTMbDHxws
jIgw4P/ZqvzCxSOSXMb5IIEfC5U/0Jw6+R38rD2b/uR2duWL3peNMAv4fxUWQeECgNr6cc62IknA
MMkCpLPkEO+WXbObPd0T+7itztAnO9xHzhtwE0wggcMDEj2Gu94vnyQbCiWPKA1gWdJe2Bba8j9n
K9O5jxwVGnjtFFgEXh0scmsdxk5H9DLg/4BYz57AJe78QfRzvky+ATYYFJxEqTo6WpCCn69KrzEw
tVf7Mhd41y1ffr467pjQVWEtYiXiuaoEQw29qvvq2Ab9kbARQnyVlok83uY1/X1SeGgukxqQLuo4
KapmYaBzRUuVB8XFONNupW4iVu+BocBafqRvqRBZKFou526BXNH7Wsa+LnW5fI9jnV23E1HdtGMq
pveD/H2pykWwx9t3A1MNJioWhs5HBFOsqVNWIiKQosG4DjG5f+gpkJNGaMwnU9df6ABm5oLlgFWq
JvtL4Am23LCJ3Pl/zXMB0FKSKsxNMqJSMoM7DngWjB1hoMTO0ING1UJc/F53kXf85xY5ZxAvElOL
tfZd5GDKqGdwQYpwJiITnB+QlrDqQHSI9KCbrBTk5vA9/r/bOD5VhfqIOuY1lgHeBTsGg+vcPFEl
dII5tDE0YoOjd59VvT/hlYGSy57ooCKW3i7/is2FAkRgqsBja5gL/exYoT8A1aUCh6eTWq+mLRhl
1My0/sSIBuAdSnYYceW8AOnafFilRZ10TG8JGAOLqBJ0vLZq2gZ6+v+xsR7TsxcCfF4RyLfgadbm
8CpB1i4DikqZBQ5Zq3MDa205DRLGlW+M5jCLmuHKpt85s89d/aIJoTbU6GukNbvmswyhrh1mzN3y
WrcnD3SHOcZZIPawT281G7L2hw7enfrpLeQZOkgVCTPcrerTpx3horEgysaUEOx668re+K28l5q9
4q4IsAWMjL2fLW4JEFjxIXpdtrLPT5a5Q2WqnTGMDKnCr0a9DsrQmyG6zjDlslZHxqqy/8Hs0OZD
yv6ODphM+JOcEj3KjAonOdmHuxwTLhMEGhp3jUf+LtXeL6MPBt5mFPjf7TiNaapioqUB4BT36ccq
0HPNAF8p7ZBg3poYn1PQF9PQydftBWFpXF+p6n2owUN6iiN+djY3HM0rStYZa9BRcz4YzGAyCUZU
MwZmwZHk1xFGOSKP7MG2DhJpyUdfoxAse+vAn9vkvPCgNEatrRCCDPTuPaQMkv6H1HaWDMqTGFyo
9dNlJ7KZXUCMT0YbEJRbjH/nIIIcFuCTQ1nzsHjxbi3eLj49rEVUMeJ16yWHCWSfyO/RrOIegBpy
Qyiioq6ngS3CYOAbYZPybR6q1zgD9X011yLRxu2PKDPMLWFGH39wkSBovhqQ1MDk2kEv71s7PGio
2TC/uUbt318Enn/z+52Z4yqXhjo38vwLZktBhNemNo11C2koFHPeqmqyWVkInoGtHisYYagCkIuh
yUBecT56Qv0rRxblLPQp1Vo3LKabSO9saYigpNS/jt3zSjFGghsZtHtJGx/rsnnuIRBV/9KCuguD
zI9AdCPlh2Z5vXy+tl7CM8wEv/1BXRvYETzHy2zspmRPIUHy7yxwO76ANH7KV3yC2niGGkNQjwp2
eMsHnq+B2+AIytBpRFcLEIWKVvDcBI5IWVCl3Tw5v9EllHtqMzmuAi1DlNv3gx+V/Y7NIObrIe8S
V9cVNDLB8fnj8taJFsa5WBVtMainYWHG9LK0DyEAN1PyfNmGaFnrbziLIPpALQu62oinx1LW/Kwq
d035TFL1FCnHMdAFAaDowHGv5EIScJuUiFhCU2rcaEyyK72eTRFGZ/3mfLR8fia4tyHPEwjUracu
hVKUlVw1TjVYqg3WVFtHtbAEAl0FC0hwpLZ2J/mZW12h8edc3lvRWte9P9vbQK/rttHW76fjhUDR
KxNySYiOCOexgSNeQj0CRKWTbxdIhmIyZxBcYIEJfpB20cMa2rpYRQOVmOyxqz7iVNAf/SWffOFz
qdznqszerHTMJUOw0yqfwT7fPi/oTEIL53X0cx+UY+Dtc1WnSnf0bg1uYuHH2n6Jfl9wlfta9aDT
PFzdCLAw6Aa761OUQSXRZ9/qvXkEtF50PrYf9zOT3NdTpplMIBJDdflK9tZQGfS8zlo8BCzXFQWo
6826sMca99KaUD+TqgQV5o626VGCbu4dxMANsJaCDQrJsshhbp9+aqoEZBkymnifT/8M8uoQJLho
6kdafFNm1HRKs429y3dsq0cIkNZ/zPDjTfqSGroUo16I0kcHCv/wHhJedu6Ds3EBGvKvuPdX4IK4
Ufh/fL3flrmXTRqmsMwY6tvmFaRQmz2Ajmi5Fsn+n1UDt8YGPq2Ue+dSow7qfALWjt6YPrkKD+TG
8ENb3YmLDRuvgklkYJbQkEBszePsWa5LQIB2mIc2UslZWOfG+Y5KwUekD5Fl9uNHUw/fBF9yfUG5
Awo0LDSvmQZSKGJwL6xKi8qsJfDhggfhuUE9ZXkx0VVSXiUfIsdPwtu3ucgze+sBPnPPA8vUTprQ
veucAe1CzIAPtzPYjd3Ynw7JfWeT3Qo+AS9tNV6JRjO2XB5WC5wJ8MgoFurcQ1ggxB6gwoxY2wJD
2mnY93f9VXslXRcvgQeiw8PkAth93z80aN/LMpiQ//uw6dMP4HwuHRtJH3QJAY1yNwK+bl6X7Yvg
k64+5esn/b1IzqdSUkHQucAWqz6qoXZ8wJSjT11xDXvjkfq0GM7ZyAQaNTNDdJabGgSTlL50oG8y
71kBLZl/tyiDc6Q5Qlo2JLiH2SnwR3/adQfmVwfUsP77ZPN8UQbnYHoC8bGGstGZ6z65HQLwWdig
sUoSC0MByr5p2PK09JIZQqg0FXU+t2pLn6xz7qaNmhqj3zigyV56nR5Hv78qr4YjZIj8/jW6bx+n
a/0l8/UnVUSQtfFyfLLMOQLIVsjgwIcjGIa5PbQdA763ikSp/OaRAUKJUDgb0HBxF7AvJqgkojzh
6OkMXOSiQCBW1hkIyqfhWnBk1i/15R4AmECZiolRpnB3rRjGJYPO3/pUyCCEW3YYjSIPhq+gZf1n
23dmjLt0zEAaWkLQ1MkgdmDGP7KxFBzM7a37vRzutsX5KE0QzhsdI3ivpKO5gA71QbBl6/G6sGV8
ZqoEQQo6WmzZ/1DOOZETPslg4IHmyFUpSO42T9zvLaPcTVNIUiD6xJaRVHaZqUNPSzRjuBF+obzx
nz2j3HUqFDlFcIn1gM36ak4hH9c0V80EYu3g8fLWrYfp0s5x10cPx54ZGRYDwYn9UGV7tYyPaEjl
FkQx9jFt95ftbYVgAEfogOCq8jpZwx2HqpGpnre/PtXoRpUFFv31jK8gzqS2i3fFWX6IgYZb6Ltz
s3xACwxaRpYRrF616qXvih0fQeMBAgu7dbLrwQVp9QEf1BmumF9iYspi/uCLubC2CqGffgZ3dhKQ
yah6hhRsPaiKXDm5vGfqM3WmHbMNfyHfMOicB+5KkfAPcI+bX/v35vNtBgM6hhApjtf5D5meEhO9
cOr+LzqmKo9zjwCDPnbyFQhNMCWfCXzBVt5kgnQGRWgghwFy544bkEBJhHoIAvB2gE7oGJXmQ9rr
rYnAf5px+KBfHkJyCfUEynxa1tCFr1LdjbRm8TUy5+8RdMxErK2b1+3sV3HBXTkn+RT9clGT5iAI
AGk1JBRA6wwpgcvHf6vAB8ACypcyyAwRuXIbgDErSVsaoC+zE8YKdu237ANx3D30acH7BIYtR7On
GlhmAq5wR9pTwfXbdMZn5rmVmkqkRwWFeVD9+jkkXVmz/KUzQXS+/itfnMqZlfVXnAXLmTy2WpQh
6BmCzlom8E+7l7dRtAzuOc4gbiDnMyCDwIB10HIDvThNnwyw6gvit+2VGMAnYw7WMPlZ76yfhhby
NEgz5uwYQJ21rjRR0Xf1eF92C7yNOsq+K+Kb262ZRlW1GKjar22Z3h921G/3/6D9sx6tS3a4TVMw
oVSETfd3EmH+XBsvwfcYXqd+VNDlEk4ibH6ks3VxcUwzjBCFGFGthzdwWDrcjOV0xBD/0+WzsJmZ
nZnhIhi5zzEdGK0zHc3j/yftynbrxpXtFwnQQE2vmvboMY7t5EVI4rTmedbX30XnnFim2Zu5OQ8N
NGAgtUkVi8WqVWt1IAWWCDDky37o93YEZEhnCFyC/7mQmNmYQ0WfhcnopdaoQpQM6TOlB9MfpQ8d
Du2u219eFv+iRPql6bgmASNiIgVmYaJGgaQN0sDuuLjw9aBxRxCpeeoPWjSobsSMf/y1vdlkwoMM
ceOkgiQOcjX8NxpOZi0+VJ2dqVjcEtMcCZVbDlNPsFZuyrtZK3ME9NzsIFb3egQWEGsluJczVzmC
LOwk2ldurN+YYk4BGCSg2anqKPZK3TGKpkAJ+yeoSB8x7yrK5Pkn7m07mRNQaCPYYTPUryFGeE2p
RTJUJyHyArqwP5lV4R+4N3PMSUBDLrFsehLM7mjV3xaSON34U/CpuGvC1QXgKRChIMB4H9sljJ2P
tY41jQBqB3qgPKTgQIOAyRSQIHn+g1or1zk2FhnnQDe3DesVTkmLH8q5wxheDlqA+KTuRUMarwXA
DzFyY4vxjjI34grKDbieDx3wmdmOEhBMh158vLlPlo0l1jcUtYEMGSyRnXGUnPRH5GfA0UFOE4rx
QnIP4cIY3xjWQhpDHUNFujP5dK7H9Hufxi1dkGHQf+jSDtIQs7n7iRqNpQzqTq/L69smJAMUTRa/
ScPbLKn3VZwESRtWgpjMvabfNpNtO0RrXZqxSUBoaTZ+Pw9QO/922e+5kZGSDIJqHLxw7PCrOehm
vqi4PCMATgPFjCFhk2jZl64eDEzqxHK8+hbGXDIHVJLGd7PRhEhB7vHe/ARmZ0MpxYSkiuNdpE+q
/qkKr/JC8LTllanBAP7fZZoshN2uSQPtG9igHfbhmp61KWgOrVMEkZDwQ+fG4o015jVkjUMuazmy
K1JYiT+ZJNylUa7uaqO3nlFphvRPXdjqz9iAuKNUzV3hKmlOoEZc6NDfGfWgmOf0htT6Ck35zLib
BlTwFA2DqroF7VDaZQ/yDnjCDIpeHgnV0iu6HHCXujeVAGI8LXgUF2M3lFLi5WmqeAk0R72QALIP
kcLIM1ZN3q2rHl+rhfkphmJpME1ZAWm8vPJkSDK7U9xBjlg3MSGYdegeqhBSyuquhmBQa+MnrH38
M23m73UX98ey07QELyw7BEuCCQ6tKMOkgNb04LfW1wlW1RhCSMDvIQjIVSS4Z/keBMVDDfGbMr2/
P5sFabuRUBG5obaOut3tpTk96nj0Xz4r/EcO8If/tcPcEaFayVZYwovko6562Jmz7XylA9TRUbpO
wHUA7ecbBbB+B/v0BzcGt5K8sc/cGJAgq1sjRAwye7P/p66GOKgnSYW4kUFOZG3bfdsZo2ehbHTf
rKC4b4dWNNXELYmCdggZIgYcLdViIm5ZkEGeF8DdqhgyNPDQ+gxaQpfScJk1nr4gtwBEPS5+WsWN
cYOMbvcHD35eNFbQUsNLU8G7X2NiRixVUgfBSbSBPq3P3SMKw4f+RtnHXviiLR5Iv8+QLe/dHnPP
IFkT+AH3tb+xzoZlIyGJ2azo6tFoQlxIM51isNAUZ2lXYMRREjTyebfA1hwTTuIoVLWVNp+19To3
7/Ll7rJf/8t6dGgxYLZal2XmzpagJ5pBw5BmB8m+jB00mwGfDG8SdPEqvNZTEQ8T78Aiz/ptkPWh
EPSnmYQVLcCsqfo1iqc1tHgEy6I/m72yt1YYJ+lCG9yFE6xYV+Q43VMG6nVnvOjIEIxg/YxREa8N
9IPhX7bLj/5vUYLJtYDszafFQDQywZgOur/8GCnDOWprAacg7wzIm2jAfDXwvJK67hCNtOlTr+dO
PRxTQg5V9E2S5H0OucHL6+K/3DYGma+29lMLbS+8ZuZXpiIZ3FmhF+3Kfyg9o+Rh6uSzqF/Pc5Tt
GplPWNlhWEOUGLSJ2oNePw3ZOZK/C5bFz/x/fy9WN0DqKrUDRJ5G9eGRTkqNT7ar79J7KoQwPIka
WrzTvFkSOzc8z6vWRA2WFOfNSc8kF61R9/KSBLvGou2sWTHmrIZn5HHptUoIuU+QGaSxwNF5zXgk
p5jMQaNaMYhJf8cmJ46VREIvHMBbGgdVNI+jY3mqDhRb3OwvL4k3n/POFnOqAKKokoTO59DXEvnn
Fc6cOhDa86MX2kzVoZwq2EZuXEQx08SLkNAyGePwszFl9RDC5i9cZulFR+2+d6qDfP4TXCbXHp3b
xziHrSk6W0TNIjC+9Bo6xXSINTyCRelUnwhq9um+Bb+vKnjHc+PjxhyTzki62kMJD+XMWa99u1Bc
sDo5ifIDQ/RO0yjeX3zB7eoYbzEKdVyXFrcMRaUbbhpgyDPWd5Q8mXKgRp/qUahCxU3ZtkYZtwGP
yAgxzP9c1ZRzolfcpnGggNXZj/OpOMYB2Ghw5R1orTAxEm8Q+i7vxG9/AxOoR8scIcyO32AYAR4G
jgGOKsHeij4l46kkjCdw/cEEhXFEq9M8Ln7p5UEP5Xfvp4nU1Mz31l7MM0v/4Q937MaHmACtK9kK
QQYYzjXcpoaKse/YNWMFcJHa7YrGGxOB1wpOCSDa76POAlJqCK/ilNBTWd8CdLqXb39Uh/hED4n5
INha3vXw9vVAm/feXFuB1NmiXy89F4/RvkRVKJnc/kiTiHqnfclE9xHdsn/fUkNW3xus5Diy1hBj
VZhgW6+TOHaH8NNoAn4E0kNKOps0nTdWJ9s4kepmhvLvnw1b8TjeXmlEfoUjg6VsAk6u1KUO+VPn
Z9frOTMcHZqQbrLXMYiJXOoeO4HODqTrFr87Nw8N+Lniu+4UBaK+8eUTBGz++y1RlKY0S+re0Xjf
YtaM6KIOnsgCE5xabVDGVMKrRonCZTe02mmqk14wqiQywgQjSL9IWjQAoBO21efO6m5qYmSiUEDd
45L7MNEmbde0DKPXSzm5jvYU7avdoxzsj1d/8BATWWMCj67PmhYO+DJkpwWAxTVuv2+eVxdUPoAo
KJPzP55GJt6EKYa/K4gm4vCDQ2h8na3qflC4aO+S73/AikyP94XtZKGVUwrG4CrDdkJKtga8MTws
JeqZclB5+VdREZ9bp9oEm9eMa5NRlWXbQGYey6MsKASjTPmpdCBxjq516ere/7aZr79mY2018r6R
YuQ3LYoZ44HmbzTfqA6a/yf5hihyv/59Yy9rTLNRO6yO5jeoSfmR4db7HvRABTBAwz5cBe4iuP5B
YfE+cORahbZwiVgKXisJHEAIpsWEpnxAWXQajMkDp3FfgI4IN4ozVc6E6W/LhSoJsMcirCUNIZc8
iQkxub1kw7TQcCrfqOmP1DwlmHURfFJ+iAFlIjprqObazOmfsjSJVwpDgagImMrz4QgRVZ9WO0tU
7bLx113xVyhu3BVvVSEaJzaf1ga0Z84y4G2M2pWhKALqJwoEhpA7LSGI2VD4m/lmj97aG3uFGWpR
M+NYgjPYmZuXYdh32cNfbeabEcZ76rExoP8HIzLopBZoyhW7w4/0ESLzzvxZDOah4f+jg7yZYxzE
lhIAS3L6xAEe2YmTfF9JKGRl0R10y4WqsHxPebPGXEZrrBV5H+Myojx3pnaWMF6AViy47jCq2Kbe
L10C4ZtKZJZx0FlN6yilrAeTSwHO2j66swBwrh8pz0ISLCfRY5gfdd6KTWwEnyWoBqz9a9RBHf5H
HiQ780r3DQxHqns1dEXJCtc1VRVddHC/gYWJuRKXJdL7qEIHDJL3WtDI5Tku69vRmgfvsn+KDDF3
YbK05TJTEEecK1dJC9EMzd6XqeZfNsN95itvC2LLnUk2FJ2SoGNPduN5wCjKumsOqpMFYiAZ1ztU
HQxHiCYyyFjfH2tTGuVOzVG5GJrFATIcaCWR4wtMsO6gWVM/KwmqWMWIRjIEyBMnjRZBw4l7lN/W
wd7jednWBYTC4APppDihGmZOEvekdCIdLRDQdhnfBB+J+0xRUYhBnQJgE9bryqFcSGH8Z4YUwoJ4
FYUP9C7vr+ldLpoh5T8ONvaYLxXZtawD/41gdZPd17e15rQHaCF5mTulnvXS/KDnqwhiTHMeQ3fZ
yafx83ylnsqdKI3h7/XvlbPu2S2hsqYh7tVGs5aDapaqF3dL9qJVI+bBhioWcTrxI8rb2ll2R4Xk
ahanqBhS8bL0hSKOop8UcRQ+9+6yB93G33xc6BliuF03IeTF3K5tp9eWVKBSU+eusdODtYQeSLKr
bGehiX0G1RNRtsJ92G9MMhfsNNbmauCoeKNhtRBXiW9zgGrBNjTeGW3VuF0v7aUoFc2xcpGkysYu
Pb6biz1PswhFMNjVnWeU0FUHjA5ucTU7tq/crZSKGYfWm/ZCZUduNN0Ypn/fGO6GobGMBWG7mr61
Mro54W6ZXgQfktfB266OuXT1vJaNkNbAyM460i506ytYkxhmxQUGby0x92wyQKoSnWd8vwp6ODFO
42J7mT74ein7YV85c4/OZZU+TASF/OLJBh0QdM381ARnHoatQ4L+Txx0ue5gNArywa07YUInfMk0
W/Bk5UZkDfNO0IVUkNswn3wkIA5LI1qurr8QtDMJeneCfedGx40J5uNGq2WZaFnTE0sn7H9Fx1+V
3J4WjQTfmW7uh0yOsh8ZuHIRkhlzmjKSSFExj2cn809SFoW7NutzMeFS6+fZOOtR4wtWSOPtJZOM
Zw3tUjVd+VqsaR7NZ/JoPkVH834snAmDKsXta3Xs67SX76q9UPeVu72b9bLOpnRyB5GYX8V58xlP
u2P/BKhBUIE1HUWy9K++JyghVBUC5JTz4/1hXSQCUJiOgKj8UP+hCLR2TxFoSo6p0T+R06If7MPu
buwxOV0KIN0ShZgTq9abpT5X8m1fC7q8/Lf/xgZzo3ZNq1aFhjW98tBDjzjBnWI4lOU18qqny/7C
fxm/WWPToEGbFas08baZc1f51HuvsXbYxZ7t66tTPFsPrb/64elX+oAvKJyt4jrN5hcwhdUlLKYo
AxHEa0fHfDZcZf/LacZHSiQndhrulbYxyNyi6awbY0rH/HVH/zHBVU79Tf6pfVq+aFf14/hY31ce
eZI85aX4fnm3ee4D8kxIFiiWio4SGw+aIs+KCK9yS878PvtqV8OuXP9i2Bj/+psVJgTYY7y2VodZ
ECnySQKAWi0sLvJC9dYEc+4yosXLRM+BfMwSt12NJ6rVTTzM/qnVFyq1TscrRC8qnq40lH8gBGnI
pglRE+bLaYmsjeWIlY3BPKJ7o+yGYw8RIFqMX26HH6jjSOpDjTLggMpjv8v/6lG3/QXUmTfZATDf
ZSiVWHhCmkp2Ei0O95aUyV+MNRk+X/YWLsQGXFlEASBDAyyPWe6gzuMyFVhuejbu4ttk394UX8Gp
vZdvpDv9WEJ7DpJz9l6/FWEXuKkt5djHOKBuYrOZdQ6pskiSijpO44+eDh/y0Q93pG/6ru7oRP5R
1NilHsNG1q1B5vJvaBgyJhTebSAJ1G+GdE2a9ay143EsRTgxbnK5/YqMsbAaZalfMbPXDq68OMn9
cG1EIEzCeTk0Xnqt/9O91PcWdMGEPN4q/WjsQjForeKIgqsMPLfvPUiSrEHXG8SAfo32Jik91boy
4vqfLO5dKxxu1PLFmG7K5pM0Ko5tqe4CuHjeObOO/1WIvySyZ6Xl3ur0CIRx6xcFfMoKRo4Ezsf7
IBjYMBU6foppNuYa0qMQzHC01wK6kPPiy34ZpAFQrm7uAC0IFitaqw190XXAjSxvZtlBNqAiIQht
w+fLRb/OKWFZ9Hh5ZTT8ffwAvxemM/eNWoKhzgxDOrAJOi7tKY0+DdLiVGNw2Q73+G52kH2tAUkl
NTWl9+v8/kxaJ39pjuVNHEMxEiRL0lV0u5yHB9UBQA/oTCEpGe9eRekBbmYBSgCoyXtHS1LFiisV
Tt75Fij5Cz/y4TG6b4PhRf1uC2u/XIexUZo0KZUyoBLv7U3aWvX4JRi1jNertG9/QgjuYVANf0rK
0BnSWOChrxTm7IcE4ZllaoCcQNaXTcYAd1VjzXzlnSx/UuKH6JtxHHbponm/Cs8gSYlb9E6iQ3WQ
jlkMxYU/K2fysm4NmsK404mtgyni/dr1JTYXbZ4QUEh6PU265QySmfpWM1yVNcnQVmjugVE/9gVe
spfdjJdTaPQ6BP2cpn3oieakwJ4XiCeRQjxl6J5LVf28WsWPy2Z4pwakxzLAeuAIBRTm/Qr7xDCy
KolAbJqpdy2ohq38QSqMfTUS97Il/t2jghxMV/HfBzY9dSZDQkYQbtRrh15F06WzU0Jzeh+PiXFr
W2UVDEoxnqrcVEBc1FjRUQlReJKWtvH1ATJCuTlEqX/5Z/GyRuimo5SrAmgKHuL3G1Dr8ax3VY3j
VN2S6AEYnZ1UHIh9syyxqxSihxzXHNF1TBHjWjR0Zr9L6KXTP01evNa1B+iI6UNnq/LLJAXity3O
bZKmbtLo3e7yOrmuvDHMuPIsgUERHDa4n0JgZDApTby5MR5KDDIDm/6l1mrZ08bpekzA1XPZNBdZ
qIGBFqz2OEny62Nlk10NSd91IMBDfozXh7PG/urhUj5q9umHbDvdYbqhPOJJJ/I4XnN3m3wwm22U
GtBWCzYbWmpnsJ/szGs6gtPcqnvR/Ub/qQ9Ba5NYMdu72OPcyy2CFkkONjTFALr1VhHPHNeIgaFO
FM8RG1nERh4t6qTUyAnq5NzFn6R8lxcC+M0rx9uHhWxsMOEeM53yYg805AFqND7EbnVnn3JPC134
a/qUXFXu7BR7QOIxg05Zh9qd5NFBi6Z08qt+ctPP8skcwGsonHLiLx+KcQbGAICiY34aWMkLa5nh
wvF5DaZrxYlBcSY9Qh0dssmpH0IG4q/6Wajx4FEEXiLKGfk+PEhxmCkS2K690AgHrydzfT+ZESqz
/aB0/ckgKbmdhr71FsAbYx+1DCV0VVPTUi8v6TUBitzUUY0MU4i6GiYCkDCPCxbsUxouJwi/YTyb
yXpkuwzbuMHvU6LR7doXi9xClxPBzN6n5FxmJmRJAhsvxmyI3GVadysB7ojcyZiOHJNEcNLpF2Cd
Z/trmGCqZX0SqUODNnExVjs1Wm2PLGby+XI84d1ZBDOsqJRriNivz8lNONHkca4yFXeWqS/oIH2J
TWtnV99nSVhX5K7nzRIbuCJAUvtqhKXOX/6hkLupug89+pRoIX5QFHe5+zdIJSh7Yh4RwRqj1YzD
VZkJuN2wjuCcle7WaTpqsbK/vH98p0H1EjJ9Oga42akwK13bBSks7gJPCaQO4x0YY5p3S+uDrnCP
5y84sc4xnvqB6AxzN3RjmXl9YCqqXmOabqRL56jzcxTl/uXFvZKMfPDB3yY+zIIp5WBX2kJ98GoN
KOVVXDpm7q6eBPRS5AMs9TXKHAXoSQjNoQAHZZcVT1+Q935OPqHXAnocKFvgCR55rRDfxHVdHbk7
puaJ/oH/KydqPEAe51dXHkyebl57+fdxn7nxo+7/wlb3GKV/ubwp3OIj2dil32VzZKS4kftSxw2s
LSRzB2lOIItIHqEeC+2DVPtpkdSXsxFDTUP4jCpT5hVDQWUfRBow3G7z9pfQIL/5JWpojH0/Ygfk
I11/95kqxEFN1VdPorq1aLOZO9no+mYmGlK7Ge9Auay9voJWYh75ZiciXODi17fLYl5lfV6NKc4U
eKyGdJeRZVdWidesxDfD7koNu91Asr0FNianMABMqkLNJciCF604tcbQ/sXjgeZ6KKDblgb+6veb
bFtNaCe9NHphaLnd0n3OBvtYyX8DeKSDYih6ICexWKiubBXR0GU0PGbEJaPx2C7K/WXP5d35BIrg
BgI+wLnsY1Ct7Nxabexrq76Q/DFUzvFfSGbjWYvuERD5ILJns6p2tvWxSpAlarXq51Z4p0z1z8pS
BIGJ947emmGOoJVolW0uJUqMWTaDNciae18byeCAJHZ+ImMdnhotTQRpv8gqc9yiBHWpUVMQcORD
E/+jgK0AMwDX6vLDzqAufPlj8aL7donMgbNirV2hlog835QdS22/SFH4FxwtiJuyBnUaeN7rbO4m
fOBPamxrSIFTsB2lxpVciYayeR63tcCc5EqHCF6HwTIvSYBaUgZgVYajubaHy3vFewhuzTBH1Cyy
dLRqlFUS9ZiXxLfyyony7+W8OlqyOEpbBJcN8qIhEAbowiKVRQLKJBaNlptWXeP5DS0c09FLAnXn
rj20evfQmegKX7bGe25urTF5aaQgOi0SLpwKj2tHmZv7WKsfcjt5XmILc8jpP1Yrv7TrJLxgVE4O
qivI2SlMBjkis7GhndZpTyvOVKOARIHcOXlgebTdJa8nyjR5eaVcf9nYY1KaaOzSKZkQPgxSHxXL
epTX5hRm7bfLZrhnSwMGU6O0Ph+o/KABbK/2nNBAeDvnaP9ImakIHszcYLGxwbp+MWlqSmsEq2a4
lvRzXe1DOSVOrX3R9ErUEOWBJfSNNeZDtaiEdGBLR0m4uRrIOl3Z+mmuVNmdumlwVGs/okqcoTgN
RvXLe8n7ZAbqL1R2k6D0wxwFkLzKpaojB6nz7qmag7xW7kyh5CXviwHnhixeRrkHF8v7S1gxB3Mx
Vn3BS3ry+1sZGDHfgtKw5dT3y6fUF0+Q8ywiLKJYiABr48p8b7HUam3q9XT1tBIsy3rjRakIjcXN
JLc2tPc2zDxcJbAZrAB4KgEFeasVgMCDRyW2J8XNnv7/n2prji55E+/XUZJ6qF+vqE+OgdGi0G3f
VpK5u2yFW9O3VQPPLRNH2WLLcigsgmi0HBZILYFohPgyqBdc1TVc/VTtyqdRR11fc6ebNQMuUoTF
4rnj1jhzbRaFMcndosI4busgUj8ZczkEQ34nWCT9NOzLaGuHOd4wQ9YUICgvyxVwOPRDG9iJITuL
iTGVPLYAe1600dWiElWDtZtKx6oVdBjqsAaC14zqY1UItRO4i9dseCvVw8O1/v4DS0bWR4C7L55i
jusuTIChKYyKBE1EBBcg/yO/mWKf1lEE3b2qxUdeczdFCUn1Gze9KT6Pe8pHLF1Nh+qm/VwB9yoq
I3EXaaCWrxIZyjwGs8g01ge1DtvVIwNeIctxzc95KdKE5F259psRlrM3R2eywAzC6iVheG+r6+O8
Vl+aJLwOW83NBilop/WmN0UshNy6/tYuc9VndpW3k97RiDD5EiUmL0wnDsJADkrfBLedGEr/Cl/5
4MqbtTKRbkUjIZlB7Y5XZLKvb0LgUsFu4ud3Ig5rbkjdGGLCndQUYTuE2NTBkA9qbH1S10Rws3Np
smmDDfKTEFyG1M/7I6APyoCZ3AbeAWq2Epqvk7+iMjF/ST3JDYPunO7r3WreRt1u/tpnXqb+ieom
Pf0ftnTzK5gopIVl2ScjfgWA5pVT/JKflfA4t9p9+R2EiBjCSp0Ej3ZfFAC5DQKbVvLAGKdD6o65
Kk01saYmrVZvcatHXCsPiV9AaA7Dh+fx8VctRnQkucvdmGS81mjsTqnMYvXKrHCX7qWrVQ88Wk6o
HUCZ7AtCLzcAbKwx/mqVEqoD1Jp8zG8xpHRMvfG77kcPmis72U14T3vul22KTDKeq7Yl5PQmXNR9
tx6WBZS1RILQ6N+o3Vnbb8fc0JYuGUNHl4YaqU9RXmgm7Qe0BlDquMnd5PvlZXEP5GYn6bI3CUE6
D2ML6uzVi/ofOfATyfjPZQPUzz+cg40B5hwkrbUWeplgPfmeTPnOWp97KBGEtaDTwrdDKH2mYaOj
w3wfq0GTr4rg843kRx0KAiUEivXSlwEIubwifs4GdNV/TTGfSNGkTm6pqd5rz/B4DA9o969DjkH5
U3iY6Q//uIFv1pgvVI7GkAwTAknvZdf9IfdCLw16zAEaQf/1D+4CelIv2WM+WFNBkUqpS3iEctUu
xa5O7EAeE3+M0bCas+MynUCjspdjO8glOxDsLT+OvK2WSapyu8DUYYrVGrNv3pQPdtC565N5r1zb
V+pzVDuzrzqQWBGj5mjM+Lhu0PJCohMgBZP5qvIaYvjIQFLReh2omEG4fqDVbAODVrEvGrPiJhfW
mzHmow6gZEL2DWNLkTmm/U2TwSMBNfIeCvRm41Tm4piTiEvlXxz3zSrzaQu8Q+cE2GqkFuqRDjuv
TnJFuQ3l8x/oKvId980a8ylxRssiaXFM5GMfhDvD7a4gfOAY4FdxCHQyRLhHbgSwKfuIisImCOXw
gTehTO7mubVGhDIoeTtxmx3qxXRtEPtMaSpwU+5lsDHFfD705KOpsellMFvnfqHva3n6nq6ZUDlC
tCjmk42GHGb5jEX13pA7GYb5j3XQq9CN+TG7aRcobvdCIdxEJNTJRf/ZKHdTpVwUv9kk216XTl7T
kTrLiGbPqKLJM/20Idh4tP0Z9KUm2FOD8H7Zi3IJnmkb9NiGjqlcZPkWs70LGBSrLhzxsmrBqz+H
12uoQq48X66jvjh2cp865Vq4c23fa1lxGqXsVC+aT5R2l2nZYwupXQewYj9RGkGVhXNdvvtlzOcw
5hDSwrQkUCtRD47uDs170un//xrYOyvMySk7o0vHxQZAuOtz0BiPkNfFVIRZqJ4g3HLO6DtLTNEI
6XiRpw1uZ/CPghnjKLvRXtknO/Jp8BLowooZT0U7yLzdYqVv1ajGqzk/D/JhPmdH41CdNTh2gPaz
BkpcsSoKr520XSZLWlXGczOUBMukI2hVhXHrYkc1b/MuoNPr+V33XejEnHrcO5tMRgzsHxDmMd3a
Kox2qdQ2e3VYy9vZtMpbaFynn+u8tk8k76TTHA956RqrZQuyIuHKmUxZLVYLcqBwWHmXHyiNAN7o
n7LPVGZA8VfAAYX5Cv8Do2CmG4Ce2+xo5WQTtVxtWGz8wYee73xYT8ZhrXywBzjgct5rpi8S4+DE
Y+z1m03GqSq1jyyMkGKv6+vItkA2iyb1PDqXTwsnFm+tsOCVnoTIc3NkRnBitzZeJgmzdjOwK+PD
ZUO89zjgJ2CYNXULKuxs7SGul9wwB/iOVCuJ065x7lRR6IfhfB1qc0DGKmgl9XawE/QKDREVPa8E
gcEPoJlp8MWFykSFpRuiOqYVtF9vkMTHmkFWSV+Qw0HeW9pBeFo4WSdkZDHSBk5FwHFlJrCOoT23
SoZi0hj0EKKvgCXQdvEebIDiTI9ry5QVTJwBOGCzRGz12FlLtlSLt9QgKaHUC/q1oUDbkVKxCSu8
PK+Blt1va8zKUgK9TKOBNSp4XdLc/fSzG+8UkNN7oCIKpn21uFn2/BfYEGgAA4iJHgckj9nWHgY0
eytqYVevQIdSANUcCs4DL598Z4K5p2RStMTE9DDECK1dd02fJqMzHjFFfSfmzuJVNd5ZY7yyKOal
yI2UeuUrH4oC9erwMFJCNHVngKpDByMCuRccRRogmWfBO6tMaDHCZrSBWsI1gatDclBsyPx8CIiD
SVR/2S/97WWDnJfB1h5bu9FtqYQ17GklSTsdeDfHbOK9WY9QtEzVUx/lX6uKxIDDd73oYcvLBjYu
YzBX1mwlc50ULXZSgSI7lcfR9sUVqHpzN75WfAxQiBA8vMtCQZGOGBDEQbOZ/n2Ts9s5Zv+LChZD
qc1uJKssD9MqFf7lPeVdD1srTD4pW629KOaK0wbw2acul0o/A0fDF7WZRIGMuvxHd3lbEHPaJ2td
qkHucdqLFioeymxCRX5anVTPQSwJhmsvbjHN8r+tjzmHjUEaC5qgqMQTVImyW8vMHNn8/0MF4Jhv
K2OOnxUXfbYs2ETb+qxDHL5PRX1E/gmHIwD/YlKWTGYdMbjc0sqG79Mnh3IGZZU3UNlKVC+jg7TL
SsDKhPkK1+ktzYYaPDQ2CGGMJs2cFe0KHSgCqgD7RAn4OwRmlNworZMropHkIbZg680es48FFD1i
mQaUad4P1pfVtHwjB6n4zYCxcyAxnV77Mk3NyepFMxD/YtqknVpoZn4A51tRpkCtPYGf9E1YO1JP
8odysk2PoJ7qKW0k+RB8LV0wr9W+lBT55yXUBqczFiha/oXLUogtHVUiis0cyQLz7Uvc4IlXD9V5
QQcexSRjr+l1v7tsiH6+DwdyY4g5kKmkDIOtSKA1Bhb0sTGA60Vz5ZvZKNKBNFp0bCQiHy7b5G/0
xijjUz3Uggp1VsDYTHnXPEhxHtWDuSsBqRYpLQhtMf6EIWhZ78Jsee3dFF9jUGtjtNtdr8SSmdxo
vVkWcxcOirLYpQ3/yUJjn5l5UPWCnePefr8tqCwETk+r1ioKHA5ryq+aKEG3a12P62xe153sDETz
NFP5XmWrSNqRvzSC4jFyUBwO5uqLZKhGhWDl8pS5ei706WSY9l9dr3j+/NcGTTU2l91SlmaaDjRd
+oq08wuowzO3Rz0lRnUf0nO7+JiLxnG4qbxim5Qjh8Iz2H6w2kEGQasR3cZAWgLKWGX76zEvXk2m
/vIkSjv/xR9/W2TbwmkT6aERwSIN4ss3bW8diAPA3EO/E/FdcwtFKiU+ouBrG/O/73eUKL2mNGG+
gGNbCUZwGrrG0cCEauzVULXqHXrklugsrpLzkvqtYeYkTPZS2FOKRdbW10p+KIrTOhKvTE2RzwgM
scQDbZFb2koN0W5wc615RnTQQIzkG14PCFaN1D5yzepPOpi8rGmzxtcPvXHXlMwgrLZxJCbXAgdA
5cSTYy82SCSrVxriRNFfJ9iTv+nvQ1br92d9fXdsLC+kT2ez1kAiO6s7NQfyLJPdZX68HKVFW0sT
g40Vg7TS3K0g6pIb8qluehd3HbQX0Q3uBWL1IktMlhutkw3edMjuTHodu9naPI+ddFiQ2B9CdRSE
UG7JZ7t7zNVag+9zWGsVnNhfrV1/212jp+DRt7tZeBij/QPGAZGn0PVvdrJYDGk0SyS9XbE8qql2
iNYC40umJVgaL0irIBfXCNIDRBjmWq3G2ZhnHYdBtm5t/TnE0M1ll/iXvXuzwAQUrR/ToqCXaQZx
EkrS7uReUaFrnzvNiLEGqIq7oicD787broqJJebYGbPR01XRngxYjjRI1oqV/3iJ0MYMW1NqrTzU
c7XBQ1bt/baCdLEVN25TSw9J2SjBEsX+/7aZJnOnpnMqzWWKx535CTeBb58m4uTfZxcQyNaZrzIv
/dkImOTo92GzPYDObBOwPQtk0MxeDhj0bDO9xBVbdFcZeIMIqoEp8onZQoVAKq+NWP5yeZl85/9t
kgUCL1B4IVmJfV2s6LkaykPXm7fpaN9fNsONIaqCWV00RyHkwqwMr+dljHVqZqwhSzpEpa+WmuGp
+oKylZLOopuHV78G+8N/DELn5P2hXux5bEMN772MEnnMdph4Zp/nUBbXDvUwgrK4bcM9NFLutQGF
AlskH8qtLoEYgE4mKgqwhMxZ7EIrbLOZRhXfAGUcjobkr9f1PxAMqu/F4mjc74gRD6DjdEhus8Pp
WY09rKEn6sXJ+LmU1NYPh8JyqxGjhpc/JT/KYMRQA02LRfDgfb+1vRai94V2lpd8A4AgcZJ9dqTS
x8uP9BqELH+AXuGeC5rYUuky8N0yH9OMcFiUEvyDRmRiiMuaxqPRSn3sE23CwKfcqpoHyhYpSMHj
LTiT3Go2ZjR/G2figDaPkV6YeDYUxiod+ybKTx1mEZzcGpW92RSRP6bZ6i6V1ruDXpbECbtF+Ytd
x0y6atBJQM3AfA2TfoObLZoUo0Qz81Q8gnMB7pRJTpX6ND1VPXmvpPghom9Ns4j3EQlWUYAFDg1j
xoDpM986TSvLxNSjlzzqz2YAzqibEmKh0L3y5Id6JwIWcGoo7+1RN9/cxfr/kXZd23XrSvKLuBZz
eGXaQTlLfuGydWySYM7h66egM2NxQ7gbvh59gHqDaDQa3dVVE2iOZa0ZEXSbZznovOyO3EheHQwp
BvHMsPDTG0NQs+Qf1c0OM582k/UpMRc0hJMWTab2sQ5jkN3bGW3pgWtcOCTwHwxi1hKT2x9Tq6er
VMAMs4D8i3IN67+oppRSutGb6Vetn77VsReLht+54deW8W1lBWUwdhvLxZKGujdmXwIT9TRDkCN+
bFs6tNqF56MDNw5tLDEbGEutCs4bpKU2yQBmUl0re0kHwY6JjDAZW4sBaFmuYKTL2weV3LZlfq/b
d+dXws04bHQeFAi04NMx534ZBwypqCi9QCfXlZIqzDI99rSIvKmQTylGIZcLNz/cGGTcEIgCAtKg
iZLxTIH9a9gN8THzZo+Swg2dl5ZuuxPWD2noPD3g9OUJ2kIFj1AUsphPOTbpBEyrDUY4Z+13kWVD
OgQtrru5NTTPkEhxiTkTC5op47z66gxoWl+0kUArgfsSBr8JxjAwGA8JCmbp0UjyMZewob1v71aQ
mCd+EvnQ6S3ivZm4zrfmQEV4kvlYRnutFkQ53ofXQL4FMB3GIy2bSU6seLJkaGCibGM+kPbdjgU5
Fi+qyaBUgeSmg1mMLyzR8SrZYzk7uk/M+GFqVBADKRHGuhJwGLb6cluNUKVRoQcAZoXsH7y3PJXk
M+h0JMurarsHHIRoXj10T+dd/Os5wggYytUAHFEKoS/kRfkIBhsZb2RtRIN0JXkQqwnYyDNRIUBk
iHmsEkuNi5qA9TNuzYOpo3YkL+v9VK2CBX2Nc4qKIXYDMzaGAr9m7BioiypO0o9+Bw3ciyRvq8Og
O1XhYqRiOZRpkj2f/4Icpq/TC4s5P8Q0zGakFxam51+jpwVzMJqv300BZsr9JCwv2sUdCYDbK87x
eC9jTNETgXs5ZTL6IzRECAww2ehEn94njhKtU1XhR5BDfVAA6ST+fEHlspJ9BI5D0ZPv63mh5uDI
mFoHtxmLR7FBYgG1a5iT893oTG4hCdN3kQkm+LbdlFgzXdEYaqERAbWV/bT9DozAeMb2VzmyzQtF
cEw5TnqyLCYITWaayoR0o183JNBATeZqYxVMEFkRxBtOkfHUTenqN1lOZZepXEkjLMX3xWAdW3lf
aS9mg2ZFfF9N13oGsJo0uRKefuf9lesqBnTfwX+mgl6aHaFO9SrNqg6mASwG98eBvMJNMTBhZqG0
q4+ZkOSB91UxgamBXhBzPXjona5VLgCzVbIaHTGMGYFrwB3Xb/my+5tlbaww/jKvRVOuyTz6k+XN
YbxPchD8OIGNdsluDRbKMSq6OnkuaiByUqugy/r40ptNlOvUzqYC6LYi10LU4ly70P97Qhc4ysYG
4yi5FmPQKplGiK9TGbX6xsmv5iVy46f00tgpnh3md2MMaUZPqKJMv9hpYnBqmu7rZnmaNE+So0Y4
5Biqma4i/126SjB6Mu1FwN6vidapJSZ6WUtMEkWDS2IeC2wMlQ+mBjfPXxzpWdJEhYivT0kYwytZ
dzBeg7ueuSHKrlokS8EXla1+cDULE2aNnt8OBgBtTf9WtGkQ2bMow6AZxJePubHK7KM01cYox6Bg
0He0EtDjCUVHJIWSQtxN29hhNm0xJKmeWmwa7V6kUElBqd3xwJhqhkCuieAPnEoA/Zgapd5RIVrL
tp3yocjGWQc9DUWX5G8a3ofFbka1fSf75RFopFuhHC9/hZ8mmSBdmCoFseJLkoOauxpUGlPcc9Yv
1a090TA3P05v1sc4y4hkAiQ1MNbOpRePvbtU8TEGH0pdvE7GeK9Z4xUafKMNQcplEer7cL1GB5wf
BSTEF5PZzX5KyqojiDD1q+w5r0URzKERDi3Gamzk6whtEUSM/P7XGkwPpScKcJysHNuLapLsyICa
AUV9GgLsRbNyCTyqfjlD8I/Mk3ad6KXy0sVKvlfaVAmGJn1Fuf5HndaRJ4FT8CJR5CGwLPK4Vkvq
JlW8hHM3V1cmGIb2cd3oB0Hk5zrE5kcy0SOKhypaSvjgkCeuZAAq2vY3aUV8qMS4irO4kl64aI26
S4ISuJ6+nrdP//2Xkw3mTfD3oKpvq4x5QHNAkVcgUZkwEgh05VNGyiAZ6jCFusB5U/RznzNF4+gm
IqOq1Lbripu0KU237CdvLnG+JRFZA6c6Qbf9c0lM5TLtCiteU4TILpgCDZC/bHyzgFOTfZBdmsdC
xIXCXRfkumyMPdGZXyY4otsy2l2ujH5WpG5V7MFaFk2NKOfi3jIbK6wzRySJDSKPPvCKtDdCZ2Ta
zIvvGn/1psN0qVcuIHjAb9d/s28by4yLWGOkG5HdIlFIk/Y2boh5IInjBFk8N955F6Gf6ouLmNBJ
x+AoKqUmEx1bMBzEUQtvlGTiTuklmvYCC/zN+rTAhERSdE02tjhubbR6VdK5zvhNB4vU+XXw09TN
QlifUFYH0p/ICZSHIQD3N4Df/b6D1iAIFICTFKUgfHsUrIzihi5/IUIuiF47vYnc/zcf/509uXhx
+FTYBi93YXClH4rdKlAZgW0U2wTiOsYf1bUkTmGk9KrGs3ifQFfGPPzb85cvxG823r5tzTFOqJJM
HlDRGn0zRQoO+om8fTcGXXDKeDcWkBqo4miWg1UxoUO28gS8YghRqgnOifjBAcfWqN+oVuTquK7l
9kcHacXzvsJdGVDeiqmBXAMkwadhMV7yDEROOTI63IxNXN2pah6MViLqA/AuGhP8u0h4MKOpsGBP
NesXJ0sG3MakMV0k/a6T3vfkclbwIrXugYN38YldQLRM1OqEpBT06H7xF1OBXZXi2llKcTUrTHMg
hEZlKMpAMaJ4iqEP2xzGXRyKiDa4+7gxxpzyupzmNO9hjJB7Ulw5q/aU9VcGZBqMpYO6+EuZZMH5
bfzA8pxbIHPk627VJdAAI7KAhzCrAqV/mCM/3QFABVFclyZ4tHu9eFp20TcAnneiKiT3SG5WzRzJ
GNhXI6GfmLLRdd4EaOMEJP//VmBR8wVHr2DVvIBtbkwyzjuU+dB0OUyW6o9xwueNHP/8d+UdD0jT
YODXAnO1wfqNvmgqOnby4I9dNd1WU2FcSmSWL0nRioYFuKYcvIdBbaGYKMCdnkS5tB1MY5kY1K9H
5WCiMe8begI0kzEXf5P2odL1f7bYlqC51gVky0Et20k2XouFeVwKNXZRwNnXWf2UxG69XCtG+WhP
87e4UEUcf7x0AgxxBqBpqFs7GuMr01TniVZpsB9d95XkoQBRuY3ztGSPVY1pw/ObyE3Ft+YYPyGT
WamzaQwfDzu0QN35UtlTOXOq+maCNRn4uwDiLqLPzIs6Dhr29IJC35EtFy2lBBmDmC4z0FDYJKEG
pDEajlpQ74off9dvBMYQ8kIYvgIjKeNCTgvWuLHEOv+d3SF+4ZEflKbZDEGK4KUvf/NdP+2x1SnN
BiuCnOsDNHgnMIT1qe9ALjbNPmpifaCHKWYJHszIlfeixzrv6EMGC5xXyHtRF2Pi3QBuptwcQSmX
2sY3BxM4LiDqopDGu7RQdQOjOx2GBY/s6ZEcjdkCwSi6xpmRhS38Mm5uZdJ4Q7EfS8W3rAcnUW6z
6G60G0Hg4TTOoWlC2/WIOmD7ZvFOgGI3M2mlAWik9kFZ5zBV0dF1iqAvyzslrQ7gP/0xqtFlaXbC
yWPO1z0xzmQietcXDdj5aXqlvJIIIIVmZ2PcBmtvv8sY/Y19XTCtyAl/6JSDihC6ZriiWcgJ5qfV
VtJahD8t8kt9VP2lcuJg6TLRqaS7xlyVsITOMVVhoDoap7taKJmhGrY6+PkBA684l9Vulj11eU0l
MDlAiQvr6+NjNPx0pN35E8P9rhvTNGBsHqFZacyj1eA6sRLyWJbF49qKiv/c74i+KxU7UOE5jAlw
Ak/lkiyDb5bdsWpI7DadTdzO6ffn18I1hBFxqn+D64rN6NJanpOlHsDkPXejC9yh7I3yWHt2LXeC
AM65LnDQAcsB8T1IbdgxjbE3KuSENj6b0heXuNXM3dyP6VU9Sq3fFGvtQ9dApH7Kc5OtUeYM2AVR
VyhRDVTlMGlQH6N8Zuv1tKx/4RRbQ0zUNgZtnfQBhoza2GXdeG3K1cP5veLwIinbL8hqxqzyAD7R
Cjash74Lil9KmO6LI5DEt6j1dG/xZf+hrkjFksZ71KGOwlk6Tiw9+QXMqZNwuKUK60RImYLhWrtI
dzmuQsiQigWEeK65+aJsZzY1R8lMc6yWEuuVnW9VblYiiLvNt+6+usds1t66ksPsFolOHPvx4CIj
DoFT1z3ru5iTie++Fkh9IcSCzh9zjdiRJa2Ut8x3sm+Yjg5VY9yt7cs4zrfjYAXnt5p6CxvdoPL3
2xj9MZsQ08bD1BMT31nVLmrll0Mel/K2VgEJWBYXV1xgARV53iSv5oW9/bTJHBVFyropnluad4Dx
D6+rDGsNOr/D5kbEE5FR8+3hMYdCNtoQss10xYikzfO80vQ16J7rcN6vuxm1DQLpBEk4MsyL2SjP
/zbGOG6qlIW2ati9qMBzHGVsFaXZ8x+Qu2cbE0zMBqhzWe0GqT9tcGgXVIM+2at/kzNp25Uw79Ji
bdN+GfDZKvVqqAuX8qOcXwjX0zcLod9y43xDJK1doSBQA8KfX6bJGCfeYrVT5o1d0XtO3+fuUIIb
+rxZ7nlX8EYDezY990wE7ZJMJkOJPNuYGv0+AyL2uMyL6Q8IA4KmIt8bfptiU1683Ux5sRBaSB6D
AwRo5qYQfETuaoANVUxAS0C+y5wmM5qcaNZpfxtsyTMAPEC7HJX61/lvxivaaSBuVW3bNHUZ+cLp
XiVUimq00e3qoU7iYHYUA9VodWHMA9WC4uYvDxKyaLCPo76FXO/U4GSusRSnqCGnqr2TAZae2/LH
+UVxD9LGBHOQutXKiyzddAq1HTicdiKFGq4TbMwwB6kv5U6RGqxELo5l4rhmLQlCqmghzEGiOaK0
pmhekYMRQhRrj351ICZc5mGrICRsOLQDY6FPxTqB3tFaAIX84IUql35auNo+2+luprr2a3IR55Cp
zHcg3Tm/Ubzm4Ilh5k6Mqhr1uAglY8sBv0X3w1lfoaXhTctj3OVQi4Disr0r0ouWPJ+3zA1RNsSG
wedv4cpi9m7Ju6RQVPRnAMy1b8y6sicMhS7pZRJD5zDqZwKU0ZqLKMP5d9bGLrOjaWOmEooe/1as
aYGM+NkVlQOtAMoVSUXSEMEmAcA7Y7YWitMgSWUuyDjuNK2qUB5f8p8GAcuXlrma+j3PnN3Sv5iT
gBmJZw4zF5gY0MBagkfV6cmeG8VpUlp3iHS8BJx3jUihbJu+IkFMaNlbnWCminf+QA4FggtwU+k6
W75KpG5omnnFGycxjqDiTSD9SO7O+wl3w6DnYtl442gq0DenizK0Up3zDpfy5MmQPOnc9YXqa1QH
vExfRA0NzorAaw1EEeTcYNNhYqPS95PaWfHgF5p5wAA5+Osn//yC6O9lfOLEBLNJyUhWpTD7wW+d
g5a89ehkmASiSgIzHGpggKNUiPypSHXRkWSur7RbQGtEa4tQjvHWyATRErSdQKSdNm5Xm0+FLgWG
nXvN8hq17VsSv4617VfoMTurtG/rwZ3JZT5BBPL8+jlOquPCA2CTIscx8H+6n0mnTdVCP/Gi4eHv
yKC/vuur2Y0G1MnQ5TYXYXddZJJxIZDq5mpO8ESWShddHS97Jrd12HiAedz3LVhLCLiw9RAqQaFo
GIrnUNvVMs8AE6mYpRcwjSiguBDiDWc4n+CW4uUQlGsXaQSq8MaXYkOVZOkMYgG0/T4YzBtvvjAK
TDb/y2FuTK5w4p23LtTGAXNWgNRBbex0FyfTnrNJkiHLFSghNH9CHSTTCAT+EkZu4ZuRb9/Xusin
6fFjz87WKuPTGjSVDb2H1TV9ojqh1S71jOxBDaHi/DfQOIq//b1EJputY6i7ZiaMNbmKAv03pW12
548CD3q0NcHeD2AqLyhEFajbB8ONdihN+8DBYSLdpffRXGFO9C9gryhJgbofdxKiAttoBMGFTYDi
Qo6e1548vvWG6PHBcw0LmTlkZ9BRgBj0qWuYVpJp+mL3foLBtDDvHUQSiVT/fZ2S6gXSVaAnBLc/
tSJZIMfSY6v3DQK+I3twk/7eLASvDF69RrfAKIZZXkTQL6P7cpo3eTNNPV6E+W16bYXlQ3mIcL7C
JRh2ERAlzs5aA31v7SY6ZPMHTFn0PmB9fvMT2Es2moxJ6tuxR5k0u9cxWE9usp2B8dQRzLN/U0LQ
UXnAMIWMiv6XPvRUEaVopw9rtITQQEaN4vzMsDyKp265cQtjNmBDAVm4A/DM6SaOllobuA9o3GpT
qBSoXumveHdbXvrY/SOuAPHSXcz6fRpkfLOde4Kezcfy8lvEY1TTKbS2u/kDwkPO+3Fri631QXlk
rfMItigaA1DoXXFXIF6BAQI4P0qfWwkrbqL1sVhGLbXrqQTBDPxVeqcVmd7VdtbRvhATBPASs5P1
MYlMgWaQ6kD6DAQrstc+gsn24t/3UfQihvGp9D3AHoPNzhnMewFi5JFU5bBG08DYRLvA3C3FQ3yh
7E1Kw9B4keO233GbP6CGmrt16hE02//gQPIuoe0vofFvU1xZ57IplB6/hBxaEIKG8bF340P6uH4T
O6zIh5hkKRvsbrTnASTXUnQHMlzoV3R97OmzGgquIpElJkdCj0sx5RKrohf6+E97Q0mY+iD+p4SK
+p4WpNVr7VFglLupNK4aoAqGvAuTRViGpKnQGqKbOv1aKxfpvZc/gPT5RvGWAjqsIrYSXvJtbwwy
ASdX0H4Gd+zg16N2Z5fK6iaaHdqEvHZDLpKs4xQPgKU0IE6FhwRYu5jVmUlU9aWC1RnmP21+X4/P
sn5XOz9zLZDK91gRDftzt3Bjj1mc2neOFVVW71f2GCoNsPzakzII9ox/ENHWxrMCY0GoVpy6f2yn
6lo5Jt0zlEXelJCmYc59eeEE/TGw7pT7Ak+z/G56MQP1ON82vSvCFH+EsS/BAJU5zDTqGEczmDCe
Z5lq5KTDQ9dUQWGgLvotyIeTW61czavFSqanJpoLUDqCG/Gmdqr5GEdra3jKaA57KUfVQbKt/Gkk
muyqRC6QQRhJMXptNeb7dG3jqxi06wZwyemK4QuIgez03JZ3ZDCgsRLnK5DMmrKqrqPk+c6SC8z1
VXLnQdCqOmaOVf2j5QUKeEqkTFfgeqhe4qx87+t8fFtMAoZqaclmyV2jDv8ePMvSAQSRyzXmlKvr
bgUvf2JSWmNTAy5bX+P8MMZmmx4V9BpTt5m7SHFlNRpQGxyN8r4frU6Q+HBuZtTzUVrDo142QcnG
BJ4iXvTEIjFCKy4v3VNcGtwhqUMT03C6MG7PRwJ6FE439NQcE32UKiPtgJE4P57SYDWf0/LG7jt8
bwUAvB/nbXFgKKfGmHNpOANpIwQCGnUwku0Bkb4fwpQExRIax36X7wZoanrR6pqFK2JI51zRsA56
dAQFNIcQ9E7Pz7LMdq6VjvHRZJiuPsaWwMqbQMdNVB/9GhBOTTELje1mhSPZBop7k1eoF5MJNv1R
sHWc2iWsQAbIRvkSoIGPz725D2NS92q2qNi75/haAfSEkkQgmMZXHeYFad2X/JRFxfmvgfzUKBPr
lAGqj+WiGT5Y/AcoEkwKwNaxFoGFqTSj3aqqs4ia82s4PzXJBJ2uSohFdN34zREzYdhMzBHDQZyc
2GETfjmxDLVbV+og2b22H+Gb1tG8+IP0m3vqUHUGEQPk9wydyammtEqgMI0VdUHzffk1eQhu6b8l
UW8EgXNYPOrhcCN+WnMdE6AzlH4BVoZO1ukZsPWoQ7mHHndzCfW6PSra+yQSj/r6DsV3RH8DmFqF
Kgwy+Wk0JHUrtamJ+0HTXJDgvI5m93w+lnBsUIZmEBgDKggJd+YVmg5apUsqCh3NkLl1+cskghIr
LxDT8ItaI+YdUaylv2BzuiwzwZglCMj8BmABPeh2NGDMnoTzhZaAOL3lrWhrjwn8E1QR40YyQfKn
XK/Dd6f8fv6L8dz7ZEHM3sdQ5kzVMtE/8geIQ4XQht5Nl39wkL6+nBGMNp+OCX/QLUOrpcSno521
+ZHSOrWB+Up1zlNfE4RBTkA6McYEpKQdc3tpIs1fUt3Pi59VvbfGh0ltPcH3+5oz01U5EMzE6DJN
w04dYlklTesHGKGrAs+Cdrm6VMDdudNTjN+7f/MIObXIuOBE9GpGcV/3O7s+Wm0clHHjGtrD+YXR
D8SkAIoFlhZk52hhYGdO1zWoC/CvVqH7Yzl6DfmZzsi8QMeagAd1Mg5lI+p9caLfiUEmnheqAzb5
ptT9ok52SXxVrqtHs66lU9w0qsPzy+Ndk1tzH+dic5AHuQYVRwVzxk2WeiiKtYduF4EkUX/T0e7F
A1b5DnpGUSLHPQSfn5Wtk7VpZ8y9g89K33UaJOKznflIsaiod+8RF8+vkhs9NtaYmKtNoFRyNFiT
im+WdWcUf8EgBGfcWGDcf1VT0NxRC6MD4MS+PRj76IA5oeIVaXV1cI5rB4YR0bvxP+weRfMB2KtA
GOXUOyOUzEhWV7qfLkH8vXlegu66fsD2Acv/CjQF5q662z+IYZybEsv9tMucPQzxpibuaRotDceF
yDHNrlAf7iostnav/0iqg2+UkhThZU6BzKeL7VIFKHsZt9r6/i+OqJjdBLTyUzg+1/c1omcUiDoK
XM8BLEvF8BK9SJmFtuhk1U6DhdbVaoCqW/XsRJg1co/8xgh7udUt0Rf6Nbt4dnXporbuWwvhM+u8
Rns6fxQ++Cq+BLSNMeaicwZLbqYMB54+MygaCzC/2lWHPbSqnacVdLNFOOx7576yBKeQG0o3lpmL
L4/NOTcxyO+XUmu4ULEI0XwKCCjX9Xk81r1O/LSUfMF6v0YaFHA/H+VsM6No9D7JKRC1C6rvOt5U
2jVozcDQnwfS30yeYWQBsAGAzsEEgR70qY8WRdzIZt8Z/vy+eJBkCynpMmiDL82QBI4vZBLgfNMT
e4x/zslojpqDaROqaJn75KEIus4F0e0uBUwsvS3e1ivZlV/KJ1FNnvfu2K6UcdrVsUebWMu/D8Z/
x+6VQN2Lhni4D9OtHcZf1zYvQOc1GWAroaqHEMmoQSA2BtIxuyGiVh4nxOBzooQESWd0WNi0tk5J
PEpWZvimPB7tetkXufHY9truvFOKzDDfzimiBrN8MJPML1V1nwKioM8C1AUvRQfdJVj9IHYKtU+T
eQSotiNZYwUj6l33K7/Vg2ZHEQrD4DUHLfgDunzuqqCZgpELNKbwiDr1/brLzQSCahBXvJovq2Ny
0/bXOjqvCuZZmhfyE8QyzqOINJ+T4FJSz99GmUtBjZC3yTVWaZHiR5pBRTrJXJCRH2SbvP7Xu4by
yOddwJgCvxeljEfkJMB7j/pOqUEqDWjAeSschARSiY0ZJgGMu65BgQlmKPFDd90/LD8rz35zPPJr
Re0OOK/IW+5ROonuhaO6X4MlbEOnXcPAOHaQzXZVqTSqPM51X7spAS2jXAjaNwouozMdImkm7t26
McYstCKaBLozPBmGJQUYs8W+GdIi+JycMIUVocqNc40xBLYuXDRyhXItHo41KbzJSfy2Sl2l/VbN
V8Z4oQM/qZd7wQ5+bcXgK2LuAbpTBtyPZQSUnMSZlB4Lo02h7rq8AZ0kCCW0wHwRDTrxM8CNLSaU
TOag9MaC9QG+DsR87hb3FDwW76Sr7j25Vv0a/R9RBY+7cxujTExeiDaa8wSjnQx9w/ktLmXv/DfU
RCaYYIJ5cWlBT0n32y7dqVO2eKXe39XESFzbrmbPmvs9qhsvSiddRol1pZV64pVD+g449juG6FvP
tLq3SJlX1+qjy6FKVpdKZ6skOpoVyb1lyG13lQA3iKs+tEvw0pht3np6nOfebE5vjSz/0pJ6cmuj
PowNtOkQV0AjZUxaLbgPOIiLU49hQgtITpc4nS3Nl/b2Tg0sEL/el5g8AneU26pH7OKuFzLMcA/7
ZheZ89dVVlxOMdxUBqUa5h531ZP9MYDY3v8BfQ7NfL7knZ/W2DwsVSe1kFMHlYi73o92w67yzIN2
ReUikYkdRJC5//BJMV5J+WVBuMH4aOY0CSl7ZJv5oT9oP1TdpW1njHOOFL2qhnkw7S05PO+2dJ++
LvLTKOO1S1HmUd/AqKE+q8m+LL9jpsuPLVTH5jKQprvz5jjNbuo3n/YYv1ExBtg7BPEarXVQSVWx
R694GmqiHmrwovuBc8OfmGM8preNvCpKLM+ZCSCceiAn35da1KDkP1E+V8VCFCI5jzGNDzPJASDq
AAXfq+7JfMOzGkOj/S75FsWuI87dOanEdnUsSqEy52LOJAlwJzD9yYF2oUFhuHuC5CUOPrrNJCAQ
GnKFDIMiu/ScbkowuRQb2gCycN95MPtLSjEYf7N9tP2yfXWATPWLCnJ+8WaKTgiLXaiUPpahJ47P
nLoo/JiQj40D/YAeCUFD7Y5OBVsHkcvSE3DmhLB342j0hdHV1GOV2F3y1FOdJEiTyJtzKFNFqeBA
8p4PJ5vK3I/y5FjzomCR5eV8STWcRpfKGivPYppw/pX1+zCyGLYollNwZGNpeUrILbgBVNUjo0YG
wZp4dsDjiklHBZQD4K869ZdszlcnAdsiSpKvVau4uhUHgrhCu+XsLm1NMHFM0kupigbcRyAEA0o3
uywL4xrK2LdjlXzLqXRnBXqscnChPym4+YVuydiGep2cJ/Q4pM/2XXTsdtZ1g0bJ4mYHSMMiatsB
MURG+bfT594xgdSRY7myZRilUFUd8LIkTIGKMl1KUROHolcL73F24pZsJJ0kXUp12FuOH3SmYYSR
uPGYHWh+7/iyAJYoOHXs5euMRZI6fYaniyRfNZAPtFfjujWL3SItd0QeRHwuvKybzhhi6gpXL16g
py5aVnNaGfNHBgz6jVuQVayJm4dOYGKoM7mYv8+rF3sUvtNcDEK4PPcC2ZqnJ2gTURs0s9UqRq5B
LpEUS4cqANnp5bRLHmwfZbz2F6Ti/eVClHPwrke8mxTIOAEBCvr+U7PrKJcJUXGBWOllWV7Vzbve
ib4s92RubDCOIzcjsP/0kpKPVpj7ldcC5Akc5JVoMdyXBQbmQJEHtCz4lZk9TMoEcAQNGXgfriCK
NT3lIjoY11Moh5qnuuQu31X783GHG9k2Jpl9A3frUowYBfY1KX1VNeWqK+Lib476dl3MjbCQoYfO
A9ZFC6DjoQSdbwpop46jbl5g+EHQgeM6xWZNTLSOEm1t4gVrQslHc22zuRyX0get4a/z305khwmb
dlSgD9BhWR19zWB807lMRM0w/sHaLIbx8CnW8qoccfXEttdGV1EL1VMFRXjzFlDntvGkxZNqbw1U
zCyIHJK/QKpYq1u49GzGOQxFnzI9waFus2aXmbetUQXWKmLz57qgBiguoH+gmWALuGU2rla8oDuL
RPehlZzvTSZ67YlMMAtZo8Je81WDrEbfuE6ZHPtO9A7hXqL2ZhmMkzdOkesQM8YLPVgCK5yu8KGM
Hh3Z0VuhLzHPrjyGwnYUr/Cxtcr4ui5ZvWm3tBjRYWqGvDTpc5miiUHgMOkvx0Q+ZBhhHRleKf3z
F+6/WTDj/qPSVF2awrRl75QIZFLSW1a/nLch2jjG+8vEVCu7NTTfdjA5ai1uWohI3vgnbLMOJr63
aVkRfYQNcpjyo32XVK5+xCSLP9dgY6XFVEc+VCmtAgZ/sTpQaECBVAGGkaVYWaeizbKug+XWORp2
t7ccUYziDC4A1LOxwdSkIXerq3PZgsV9J6MopqGOo5meWQItWXePRpgeHUis5tbFsLQ/puzJtCQv
au+U4b4FCUMaipoY3Jiy+T3M08ta9IFoORRuWuNSqYkPtRIvkWVBDZLrN7hEgYO0bcxbMsdCm5q4
7ResGoNCnoJBt6E7nN87btEYaLffJhj3h078YNkjNq+nwMjnFgCWea+7gw9tMvqWLK+hP4DPlx8q
waHgprJb08ypMItlWK0SHjt52uuK12uFq/R59mxX8+an9Cb7cX6t3D2DWg9wWuBcA8aJybIkPEws
GmRyIh1ykADFk7pzlsE/b4b+7K9PoE8zzLI0cMmoTgnkjL62oZM797IZPepq7Cu984CO4+Rmg/n9
vE1uPQdyEb/Xxpx+lBZnTR+QLNBtVPw0qFPwkFE5RzTxTU96PG+Pfqr/vEYgj04/ZVzMhh5pkE7t
wcFMqs6rAf9tBgj83hSZsLFBD9M5a8zh7yVn7bIUGYpuYKxmjaGppBoHUE0EmDtdPHARLOin9Ldm
v2aHOVqk1yl2cH/lRfJXOSBwShDgoLQzFj2xmwcC+kV1o2n4zsZDfB0ds2Pkq4chlF9XBNZpbwpC
K922LyvfmKMuvTFnVbKWqgSpS2poL5Eude4YFVemFF04kwPxpRJ8N/NyFRHj7fwG8wPuxjITenID
iuYWpvngUPYu+UcNNCoAg4eY41Wv5XJD39QUWqyD2l9xlYN1K0rbuMi6T5/WZSbGjqoctQstV1hr
GyRm4nWydYshYH8iSRCXljvLplcNNpLHVBAWz4cKnZ3mt6FYX64EWVA59W3gtIMRgpU+ubATW4QA
Eh0lxqNGjMNBBx0e1cqJ12sFNC5TkBLP+0x+NzC5/Df7+jtQ6DLjUfIkdcBDIjqNr33qAi2uvTuu
GqTQQzcR7m3NS773eN6/Y9AagI58RyqXiCSE6Zq+uPXmRzDOpZsN0Eforvmjof5UFojPSquoSSja
QibaJ5Bmg8IFvqtedG45JEfQYfmyKgq8/O0DGzvGcEDCpDNOWqTpYFcpzFCOIqjZGqprXMYBVUeb
wARlYdrooruRXwDCd89vJf/+ND9NM+/sSCetuWT04fZBPpsF1VMBFYM2oKUn8COJDiR/1z7tMZ5q
tEo0LbRKYevVVTNObxh2vD+/Jv6mfZpgvLPVq2UtGxz5OV4CzZp8xb6TrW/njXwMe3x1v886KPPh
5BXc2PGEImVbr6tbTclVNlZ3pdZYvlStphvVFQTfosxdJvN6cKrDavR3loUUpTeu+8x66wb1sQEm
yUXlNkAx7kLpTDT5LN3FaHyYEM1GWjq/A8xbYfKifVuNDPIgS389lMNNPtvP6WwTP+kb8LdP2S9i
JaC3a1y9aJ8Wu7herPU2r+gvyxVXk0w0vGKduGtht36f1FU4VjrQlohFguuNnrtzH4bZ4UZdFBnL
Qqst71w10lxoQUVg+ZvRNzm/B/yN/twCZqNTJ07JUiJ/7rq+O9aZjrHLKUYhRZ/63XlT3Eo+sH8g
vcQfij+Mra5pc60b8Wzu09hLp9rTmreykzw9Nd20+dZC7FRG0oJXS1h02q//p3Um1iFBSZIxRapk
pdZrDOJdgCeCTstfpX5SglStd6mhAMEw2xckHn5aQyaCzHK/NTIWsGBiFvrLhBuWPzZZgVcEaLE/
SKpjzHrTcUigdD1pR/bkKKpdcWuADkgxQE8LThzdZlYtZbKVRp1Na2XGu4XnGVG83r5Lr7Rdspcv
9OE28jJJGKI+lB1YD97aZaK+3pg5DlyE7j/UgUuEql/0QRyhcdsEQwDxFei495hAqZ+NZcU7A9Rr
qGsAPBITF7vwB8A+mpye+0XMc6Axssqu2tTAz8hv+wf63Tsf46CPf4Dq5V1G29UzrwAInSaq2sMW
vYyy2J12zTflwn77H9Kua8duXNl+kQDl8Kq4U+fgtl8ER+Wc9fV3cfvMtDabZ9PXZwBjBtNGl0gW
q4oV1sIxYBJM9Rv0EsrfhIm776w3z0YwTT6mtKFey5aAPml0utpRA1YpOZvQM4Zmd6UsHGQy/WGq
eYOTLI+0FUs9DNIubkYrRuNYNeuELs9NGg5WL+vubCVQ7l3R6iEXlxjNilWKPplbI3saVY4M3ioo
d5S0IKOwMmxeEk+xJyX1sK8qQ+WYQeZKAP5G2toAUPWhSD2aVZhLRA/NbC/LqztOL9rECS+Z6QTQ
mP0rhdqvRq/TIdEghQxfhb8kjIbmzo2MFkLDq3/Vr+Fdftv8EG3g1nNCdmY4tBVNbSOQxvulm6EM
pP2t/DE/pa6Aq7Y6GebpbviACCxnuZVHOUsxCWH3DKiGpawAcBxf5VC0c2yNjSEMTk8mTxblwuJG
ntNSwbZW+c8knQCYHHlr9FBHnPNjTEMTL/F+fpTdjtZ+yuYBm2gCWChY/eo2uQVslBggZY4zlXzJ
1RKbdEM3biYAjeFB9AmPG69hhJmH3n4IZcjrOiyktcGH5KcWxbhf9b7wAG3mNN+V5W70CJgyL77l
ahBlqhWtN6bewi6ryCcEhDgrdhOnhNrirfsHBCdsb6UBKRGOWYeHplRWjDBQrdX6745NNFKhh6xy
xl3tT0ApkCsn3Lfe5JZe9JlAsSh7K3sdKzBqgUoDf09r7OSO1zbN1LTNJ1FabbZq2sdg1nOLqbuv
8vS2XHo/WjN/zHJOSfI8+fnBNW5kUVqNOZComNBLDcUCf5K403xtj9nw/Xos4JYJt1EUjL+awgnf
CNEErwWSmeNAlyVg7dG0Tci8LrMrfYjxgRgd3ej0st4sE8hdfio46BtyhchuPdGXDLv2GqDNjtEh
njzRtBN09XGRmViKB1h9iRDgYQ4OiC2XH2JkE5xjiA/BiL43hjZhbKu99deC/h31U/I3sDjIgeIU
8dJCIgu6dymwa9UJLlMiOz+7w233hYQlpF13zjBwx0uWM/hYiThw+OoYzEUVkDropmiQQiHrM2+S
x6WzB6BCki7FeifMXpP70i/FEXHC+ZlKJMGUdWQL98bz9VCc4WcvvoKybaqGVHoSLzjuufqCR3th
Vy0PEZtlty6EUHbLCOMwa2MRS82LL3kdf+tz2bNSy1XAEtlV4lPUzIcsTB9jsXkEWeWdMlqPeTY9
KbHuXl8vKwiXRag12hgJmjrdlN2qLea/iH7/ntjpHCEFcwqpV6dAQCmDHumdv8lKXAilVEvQZ13Q
BghtXTCbJ8D9FLzBz56RTULXRsavHZLLQVkRCDTxB8PXyFhSuWh5zKscbMokDRIGJZghGpv0Mi6+
4lUCRPIQxxhB9oU8Kuhsq65B6UJD97n6JKzGt3Yovil69nVRkl/m9INzhsQGXVsdZRrCuBKrzoQ0
0hJe35Px4vSVVEhaEO8MR97iWIWEi9VRNlHtDCmroDZnhlHj0284h/AOsAeQxyP3JbpwbXHkxm7S
2zPe61PcQld+M3ASgGrCwMktL/NUhLI/sjUK+WxhUed30VGyU0z/iU/gL/et1ObtIflt11ZF2Zl+
VPMK8/uqC+6CY6MqziiMhxI1Co5qMFz1xVFRpqaOZlFLgULm9mdME8Cjz3aS3WbKk7rP9qQLU9Gc
Yn1M+iNvR3kHR0VKTS1ZcxFiQ0mPNBCrgDomeeLO2HOWyDs4yphkfRkONeD3MBkUNq9krkR3O1fu
34g1IWVJjrzrtw2ocZcK2RpxsWJchyik+otEuet55k+GU6xgSnhR7vUTxKz4pbglDeMFLLvYRnn6
AaakwChNb1DE11oPOY9MVn/ARlvQDHMpq1bTdQYQAkjz7sJgfDZEeCR//aQjNaD7uuREg10NtpQ4
f2CiGTmQC9mUUSnLTMsHA7LFA2I8RHekNCn7KSabuX1u11UG45SX6xSKUZojBFm467ObHEmnm+Do
TxZy4kBJ+HxdYcgv++9XHQ1vl8JqM87lvsUBys1RyW6GjtvSzlsOZUzCrK7NBkBJSB9pfn+HPhx7
dpQDkmh26XDTdryDokxKEVtrqc7ngwL98pnPwrRDAEz8z3dboaOTpEOdvlvPK5MdjOA8kYnXYg+q
sKAMeDaZVUyURQ0YEwB4JvgmlFrI7bKqVTWQmw2LRRiYvd/jaTybxbT+2nlkTDLR/0gdWNblWW0B
9Net9Dp0dbkEOFso4ClTlYV3Xfv+y6LeZVHHhbEjE1VSLCqWM3tdzOdpDjJZeIqTed+vK9CnXtso
ArYFF8WaGMIPir9ZJeUAdC1vZkOYccuifper8SES9JPctpHTCL3fmwk6vM3okwq2Gzsecl4FhyVd
R6ICL2eMTdMZ/ajPckHRCUwNsMiVobBLbhzPXOBGBHWMOvj5mmrqfocM2mndyfBxCmYqeN1T7Mff
RhJ1iDFySOEit0AKwKA5QljVy/CwR6K8GxwRrFHFEy9VxlJR5FY0MIBhygnIbpdWawH3SFdHme6C
AvRRVY1joutPdTFykklsMSrquHj3EdaxSzHSiP4awcp1t1yW0zQa6OqLv4FD58f1W8ATQzm2sQY+
XVRBTJNj1LXN/X75osyTe10Ky1VbQB//ZzGUC1NSQwGbIKSsY+RYxrrTLP2npnUo0/OGJFl5EXkr
i7JVmqWVrbSIBKwOYNRvc2XjuewnX7JzBkwJ8JyK0dlDYH+6b3HG5b9kPmK3H0C2fBOXx4o2zdEg
kw8AhfyP+in2ASnoGKjd5F7xxOfwYNXoLpZMXbcKdOExrBZUMjjjRt+1tdfbo0ei2M70r58ly26C
mwQonQp4cS3VoqzXas6hAXA1GfkWICkBtyYLqhNACI68FBMjTkZeSVNIVgdg/7TXgTrFdVib8vmB
Q/ypAqBjPjMVK7i7kEMdmFn2a66kOmYTDuFD71fHyan3qjd+qo/dm/y92f8R3hojWr6QSh1abPRy
OIbYRkg7LV7skHYoAh+BR9wD/+HNXiXYIGC1AOUCNu1LtSziTNOETiXy2tP6XQEgwW0JjHHjNtoP
id0DM9eWT/wGcra+YJIBJDNAXwMY+KXgprYwnRlLMqAkSFhk7pXACiJH3vEINljPb4DjWMAARRZJ
Ahr9paRuEooq0jto5hMIbXY5xnvEvXCzeilAR3i5Xga7r3whjTKdaS+FI0iFZXdwylN1qzpDkPqC
lwSN64Ex0decHK+6yOdLJjtGxQ8XkilzqmdDPwzTDCB6tJkriWcUyH0D4B+JT4JB3uQvjfZqhrYx
/wESPlM4oArAWgUYW4SFl5s81YW+pkaLW6kf09AIsvFhjJZ9LjxetzMMzwT7Ah5RBTSGRHku5cRm
qLYCxpfdLkZL4iyfhLZ5VueSg6nHXM5GDLWXRWoSWieIEeTZboTkMDR7M3/Rx5STsGcLAm0Jbh8a
d2n+u0WcdFC1jDISDYMdaRiHDLVDO1UOMr/29a1jXwTjXRa1qMWqQyNvB9ltwqlFi6kiv4xZt9xj
/m1wpDgdT/Uymn7ci8mpA+eODYoA1ZkmY3kBC4j6cP1z2CdpSGeQOgUli8uTNEEBMKI2JrvRYj2A
SPm2jUbPbGSOGJYbBBmlilQm1BJoKFQsaIbghpRSWLh0v7wWXhFEJ+0g2/KRD4zI3uGNLGpNqRKn
s0qM2u/Jxdw1MZUjeC0e5kiL4b95zvC/SDSQq0UYBc5CKq5ByN71UgKJBLtNd7ob8jQfD1ZQeuUN
9y3L8k5onAdgIiCwwbxK7aU0zaKcZgVpL5+81SVJP8KMJKILIvF1zpwkK4onPPT/SqN2E+UlZZzH
Cq1TIEMn0sDwQ+DxDTwawCDHLz+zVHIrkEqN9VkXtaqSoEVVKicMBsgBUGvvUdjhpDiYp6YBoQ7v
ZjxoP3AIVZ3SraaKfewBFTCOjrJLbkZQsTT3OkFn5DologW0a9jKo6zmXGWNUpqQF2OaPjuiT84d
/Nz+PTyIKuBxd/1uMxdoaBpa79GPJgG4/fJyG4MwWmINd0AUZbglKXYVCMbLSd39Ac0Ay4hupdEe
flyUZRThc49qMJ4I4Fa49wiyMKDFkNQHYTjgmq+vkBWFGjqYJlHtw2gtPTov6c0UVmUDFPN9eEgO
LVjfkM8P/v/cQDJYUt7FUG61TwER1y6W5A7a4CG/WJe8wJ25dxsJ5Oebd0k3h6EylNi7JF4PtR50
8WuTgkIXyOXXd4wZGW3XQhsP2eytbqhlVLFWf0Y5WrZLQACdkl3p/+4rEda9/mb8AtUrZhZdXhaJ
mAv6EmzlU+akSPokHgroZLuUXmyqt2mS7cdcCpJwdqVZ20WjwivdkTV9kAnbTFJkiqnQ90Cqszit
CpxfLeQ7MBncGvUIZLgqjh1DTQ9rlvJy0uQq0xJRFEaPIMabVCBuX55njqwI+N8kycVs075MhJNQ
9l4oSPskTb6WgPULV5S6zPYTYAd9OU92ujW9XT9pxqKBcAbofw3QkBJe95efMPdtYqyNjko7+sh+
9U0snsy0Q1nD1MJAlNEK3/QKYGivS2XZnK1Yeq/VMUmHLDIWt/FWf8VoBaaRbsaD7PeBwOVA/3ht
TIBfAv6e4JmLmNG7XCNAo2VBR17OVUUgtSrLrT7Nz7WseRloDzgL++h1L2VR1jvSs0TWkrKHt5i8
6lF/nW6E28whb0LhT2J5xqPwUiAVKGpJX62dHAI92EfuzGnv5tFXwNHwUntWgLYZUIysLibz+NRT
H80qaMMx4449BY2fqVN3VM5HPO3HcXAHozisKPx7Qt97SyE66BmP7FlaAnNGAsdE2/H1Xf7oIiEZ
0aFCME2VD+Ci1VRLRRGDZyuWat3X1iKzw67SOUrKUhsLU/xnxigy3nmpNnHbV5WCLk5XV1FIN5E9
R561P0Vt+JzJHS/BxrgSZxZ2BWlJUK0j/r0UVwMIt0P3P/QGuQvzgGzJUQowsuHqxz/IJRCdvzQ9
kGYCagiUXqBqoce1sa1t21QZ7gS4kdM3AOWhEBbvJiS3eFU+hjO5lEXFvWpUzkITJv053QQK0Gw4
AbtmWp04aE+yJ89OdCBMc7r6KkJvTfcPSuAfw8XLb6BM7ZzNIBhOpd5VnmZfLFwy8tPvlAcwlHYu
gUcpgzx1e17wyNtmymNP1SDFRpsij4jKn/yS+hYqf6ofvfG3mb1CoHYhOwRoKxr8SRyUuBgSqOsc
3mjTG/jTpvXn9XvHiPLJLhqoOABKALkDyluMw0SoDCKio5iWbRxSIg4BtlS56ytgSfjNLUwb8y7w
nJnaRDxVq9SCOjWgetyVb+hA82o/9rVHYHRZThHtym+NO3tEslL5ZYppZI6lYd/KzQdQvqMprGk2
rBgrPpgg9AOAAiabin2EUJX/pvnojC+29/wxm9XmaRbLxQAeHAPEr240TqttDou6i80hC4q2GPxO
0zuOmWMsEbcdGNhkqFOGPaB0tM9rRZ0No8OjmxQiQeEpoEA9oEk/eUMPxf3/W4cuxVGh5YCpxdRa
ze6c+tKBGIT6HTrl3eIHabEJnbrknSFxgZe27lIiZcizvAUpchYSib8HQKTQCT+rz+Uvgzy9g0nl
jZx8vPaXEql7Ujb1oNY9JM7fRQ9AKTupsAHpD66d+kXg9EYzIoALYTRG0bw0ubCYOD+yvKp7rf0i
6HyxspfQzu6JZVu/jreZ/xcv1UvB1N0ow2RuxwknqQZAtpLW2yjfkVZ34kq6crQtpG4Sn1swJI7w
ynHqdIgFMtoGY6+Yg3UMO4SjJDwQ0yk/8Lp8uDtLFGtzHyWlRY8oURxhJx50jzjmgkSqL7Cyg0+C
1VK1/6qHEA9V8DWBaRZ0JNa5b3ojt9OtItIJa+M5O4xGUdN8NdAQrHjLruptsfZUHm4oI8d/KZO6
ltm65EPZw7SnaGmq72bQzWqk3nXgPe0YSb5LSdR1XLRu1or5LCnZobaG20/4L1tY8Zh3EVlXf7uT
1EWMs6Upkxayxjdy9RunU4G6831GtmH4kT5w6xcfY8aLtSlUELfOaxRpDeSR8L+77dD+CcZlJPdh
4JDN/4qESvAHBRqWvdksk65oVxaOb7SEztWByroDk6lrnpoETMg9EircOQFywegLuJVGXcBFIgFd
jEV2HkYIEUkdMic5aUH9CIrGv+kOx56iVIHmVowKoJZweQvzqSnzRbHIfZ88AcBJa+ZEgDLv0SAv
IgX3wLUwzAVuJFL3Ps2BO5LqkDj6iDEUj3T4EQC2+RYAOYLLSwx/jNwuF0jFx5Y8J9IwQJwh+EX7
Vanu0/z7X3jd7SZS8a+RxuYkJJAh34ygzBbs3EV11OsRtv0J7ZD0MZS5XBMVVCSTJuZNBXnHwj7z
vDtV/AvJBHdyNUebnf6m/ilEu9DjPcB5Z0fZMbWsgU0VQzDRFswA5tkZ2tUIULbpHcHVOALJ4Xy4
DBtdoaxZNZSRIMXE1RsAEWg/1QCp+B/PjjJi5mzkciuR+/bL2i0OwaipHOD9oCjiCkEbZDzcHbaJ
fl8U/RYVG2CNSiqiXs2WD+upOPRHAv7ZPvbB/6j85yGVja9rdX1QpQyiyma81wsRs9fSsx7VHmcT
OZeMpg9r0zBbMGdIgpV2L5iHUexsCxOTAE6a/GFv/Kxr0Oh0L/xZLo6G0AxPQhSDO5D4u1VLb8e4
OEq86gtPAvn5Zg9lo2tHccTawth8LRvjsRsxzsPZwI9PMXKjSV1e1kk5lzKKQOP7jxkmGQNUWqdk
t5YPOnquD1GQ25ITJnbdYLwlKA/tw9igP5Pbxcg+xPdvoBY652U1JA0WSgaFVjd3DehMdiR2ZSTI
lNpeVHdCyq/XMx3sZvGU+RTltcZkIAST6Egw7dQnQa7qW9FfO9iNNMp4DsYglsbYAxMAjSURhrZR
Yr4lwFDTvg2GHedgmTHSRhplMeUoRC+QBf1Ug+lV29Win3mkDjp7JkbF7/4q+XSpSpTNlFugqPYt
dlM8gCLYzr6QgRViodsX7up4J0cZT8xiA1+GxLXTIQaXx7qbQWirAEK1vOEmuti+51/1pEdx8mqM
zJzc9CV20Ma1KxzLS1FIdlcPT4UbifeUJvv00fe8y6MeYFXbzlI/Yx/JlQRBpvmzejBRuwMqHJCK
Fl90pXgf146hufygk+3h34WTzdgYnTSv1KwX8AxLVL/TK3uwVC9Rvkb5qRoTnvHh6KhFGZ8UwLR9
TkKkGWQ2gl3fgcKqcBI0iCpei/whP2nJO0vK1AimmKkKunvPScvwQJhdCWMW1nrHr4qyDfj7XlLm
RTCmsFhLxO+gHfYqEfAI/afrt5wngTIpWqPNSltiA/u08dslPRpS8vO6CMa8HbnWCNEtFEExYUFd
tUVp62iN4cpb0rf5WUP7FkGbEPeTLznxbgzig8zjxmKv61+Z9IPLWgCJbhWQ2bc3tRjurHbec5bF
tiDvIqhb1kkVTJVMLAhG0P55sRb7+Fj/Db3fxRYq1KUaBLSHpCTB+jsX1wM1H89jwrvVPyZ33GER
9rV6Xxp1rdCsDzhm8azki0OSf8NPYopBK4xGwvjAi1PYSYZ3DaE7YOosL9RFOS8PG3lHBmEWfzmJ
O97KGLPN2EgZVU0JuFQgoKOc2ih0UoPebxIpvEl++QMAN8K4wlYdpZ2F5j7TVv35tg5PS/Slzn+Y
3yL/4cd1xWGq5uYTKC8nDin2VsViW0DVrYpqo1bHs4vMfMNGBnXlYqmVWh2lenc4DB6ZD5vrTzCS
Xmtn4ITDaN9yaCpXul+C62tjep53ubSnM3u5XtBXjMyY8DK2vT2XvROJUdAti5fGAOIKpd11iYza
w8WJWtQ1XJJplcQCSyUz2yQN0OIt7pFnieiWD7LI79di3o7NIqnL2BbyYmTdWYdItNk5+Xgb++c8
rpuNt/w2cHJaH/z5RiB1HRcoiVCQ01SDZJcdkuA8VnjkJW45immRn288t7iUk5aQt/kiHZB6wBiE
7HAOi6OXFuXQorG3lko7r0TxR8AXOmb3QjLD6StG7Zx2uhue1AnN7dzcDdNab/aQcnShCIbUkMRg
LZkK/fq7m2n2lK8FvzrF20jKyBCgmaRLuh5U6eohnZBTAYOol96aT7Iv2/lh4iL08yRSNmWpjTyx
EqwOU992VR6MmXt0zMBns4GUSSkwtJKF/6TblFN5h3wpmZFcX/gtBJxLDeqBS1VMlUkylgrrEYPs
Fbk29HvXu+QEZC4PyZo9N0InJ/LxhpnAGwEFCDprqBNryl4CFBr0krzjFLNypMlP9X0OV6S75IXV
3UdW7ojTbT/bQsrlrGHZTaDUIjZC3V37AEkQJVqsVekCBKx1Tt0FtOmOKg17WUqPMx4Nah4dBWWp
OddRZqkNOhhlHRSDJihgqUshibU26UgTnEMY8uTSxtyfTTu7VT1UF0oH2FFFMJ7nrVr9k6wHc+aF
sqctwQBUlmrHLa2wDmJbdKRsUBPnk5iGcCCkxBG1dn+yUNk1vGTy5OxW8EZ0wVd+NAFjkItgwK14
UtZJNlRx6Rrk7MSgwFR1B37HIbUHBPepV75wlY65++8FVpocE6xrzaBGENf7GRCmCU20VuxBeXwu
6Aypk/78i0nuy9octUSjFcW0CSFTDgAufWqQQhDAM2+0gE5AaPCXewoqZVG1COIdXZVLwsTKSlIr
I+5ZfyUzRcMbISsBLctnbgmCuaUbaZSnFORCCfsF95jUWaTCMaUb0otAimS56c75brrjFz7IntHG
Q9kIpXTWjKViXRYsMW8tW9ILJ45+zO0Lx3Wy7O9WCn1yZhn1qQ4ppEs8WtwOY1OzMwFd3gm//cHB
ka26tirKNgxp3Idj25D0T70HxucdGXb73QBc3f1BDo93dJQJXo1KV0f1fPPPNCJ+i7C8/oquH8z0
5d463Kk5n5SFZXi3u0o5TmUYRjXJILV1QckyIfQAznsC7MNptAXzTU7sXHS03B5+JJ2rwPZzadJ4
2kP51SSb5TolwV0OtrlQq3cRisfJzK0WsAKgzUpp4s5IrEslJgUQoj/DQ/Kg35OQFYOLmcONtjjK
alBBuTZaI6zMWdjwqp1AXoGkzOpYv1K0xnOdBkd16IGiRhs2tR0J6d8kOwKe9XezCvAJn+Lslmtq
eEukTE0aKm0UTriPIu6HjATibx7s3yxMXF/BegJsT4+yMeMwoJGSdI6oAGDTTLsEeN+T1qGG9V1F
PXfN7Om5f0Utyzcju55t7h4zuyvejZxBmR+867TIyHFR8j3gQm/a3eJj+s6OD7xaOW+llN0ZZ/RX
AvuRrJRgqPToyid0udx2A/J7rtg3g7I34HxSm5EUc8/4SOiNkRvV7gvASPyn7a94VENnOIQ3OQ/n
mx1obDaTsjrDOGaNtkI2enL9Avjxg/lKOtZI15Go3CXf/jffYVA2BlFVrxYmDo88IEUQSi+H3wOF
lVuln/8gk8+5HCYVvy9LmlRChsQlQRbCjfTlEvkjDHOADqD7tPIS3hxfZVLmpjMUpPNr3I7wZjwZ
u3BPclXNnvAmkSo2D1+VMQiOKOr9/Eyy/M1LWW4VJGUlnF/jVXiedAE4SMKT9KAjeyTvLBfwAY//
2xHSZbZIkjWltiAyPRl3RKS5bw1bCWRMrAiKzWUN5LgLmh1qGdq60MhLPd/Xz9puBNfr6qyv8u4P
XD/zKmK+Dyh/qCB+mLCwGjRUl7OE2SkpcsblV2zWgVWDOSPRnLhDI1X7mCnJ0eo/qZOG9lUMXizC
YVBLL09TOx9H+/pmM00QphlFUVfRyUUTeRIM9KhEPxKuC+mayQIlEAJ5xytxs83ARg5l1HO5iut5
hBztbj6hkoDiofDFtMEX6iV3PHQLrjTKgrdlLqjrAGkp2shrTHN9Xw/NnqAloGHAub6DXGGUFR8m
BP69CGEEw7K9zzGtFgXhk+Sktrjj4aUxKwyqjNMyMYqKf1P2dJQqkCGnZ2n96WzP3RUHRwbWcCXR
g/jCt3GsoAODjWiVlzB2D+ycSxuwtKDCLkwZKdb4V1n8bNaVs4eswHAjgJ6FqdpOlZZk6VyzGb4N
6VDa42Shrwpqy9F3BhAlVgAwBkzByGimOjc8buyZFJpqqbdYC0HWmB7j5wZNHSfDrwLwmolQSzCh
oz+nfADSvgJyaflGqG2e4z8nWWiPvP0KyiNrndzk0zjBikuy04jLHoAbbt+rd60EuJxcTu7k0DgA
veXGkhQ/HtsnRZB/FWr2Y5HXhzkU7lfUdO1azF2ONrOCn+2XUfoVxbqCVjOFXJ2W4Efsai+574E9
y5s1Yya+tpIorWqNQtSzZSY5AfVAkjAZIF9JWeKcuecinspsJfv35D909GR51HcRTr75NWP4YQAz
mjOdR3XFAybqTu2eoP0aTjt8TZ7LR6CRBto+eY35TbUsH64CfIAgFwGRSqVW3gxVMSz1+Q5XhG/L
TR7G43ggcLdthqYRbkjNPNR3gfRghKyltV5lAzycWAOPPayNOajCVVBtQLJVklOAGPihExpkuYSh
doFemLwIg9YYnHvOPvPNh1DRC5BQl6rXVBIsLZ4U3RK0BxINytEtGicRv3C1jGm7NhKp+KXvplHI
Iux1hYuNEgZO/W4I5h1BF1YLkJHyUYWZHkEF2C3hjscp07hmEbgekraTiEcAW9W5H/wHqdLI50Em
3umyQgoMZgPHA5VnGcMvl9ZZruVeVzCV4pql4TR965hrbQ8Ykki1fM+xDmS3Ptitd1l0sDtjPFRK
1rVDnDm6/TMpLXzPX9GBhxZKnqtjrwuwUcBR0gh5x+W6jKQxtL6HfSjj4Yjm/ntAo6CIAoq4YuQR
wjBtA1zqP7IoH75qSqXMyES46HBykty66a3G7suZo/9nG/Nh/zTwg2LcFaDTdJcyhloUoEvC0cVI
vi83i2rLL+EvjA6ooGmM3fhb+LRgasGdnucX0fLzxualRZn3YfMF1H3QUn3UFlIcspoeXGKLfCxj
NeF5EaaebKQQC7jxspilFyJFw36SR5Hu5P7YOcrjGRYo0EOH2+TOk0dWvZFXdpG+dgL2FfA8z6oX
HVCPPRDotMznB/G8LaQUs5WSZBoyLM7QMHWZLLahlbwNJJf2mqJQClkIIA5aTSwIUxe/5CBzQ08O
6ufOBmWuL2G09AHN7dG9dLOggZinI8wmBTwHTMMC/hAgySmTUrX6Wo0DDBgBdy3/06Qgef0NNzXB
vHj/SgI/z+XBFUktlc0ESSSLXf8oHoGtdE9sZfZjwlBi4dYvXJlMZdnIpJxQnhn1Ig7YW/Lm0Z0+
BhYkPMEdyi1uX3FB5nlLpG4cms6XLi2xRFUOnVIBH/2U2UY7eH9jmzfLou7cgN5aq10hh9y5/DOp
d5RHDS2F9RfUZTmWjNkf/a4iGg2ymiBDJ+goJZ4PbrrFAMQNaWBUvCK2eR2M7B0EMgfg2lAw1Ch1
lCI9HVbSwAi8nf6bFbfmfhZzzUORs3m8votMp6P/K0qn9DEyMnFZOzRTgZ/JlcfbpjiMpuSVncyb
y2HGZBtJlBaK7VAJRYsnQA+iszUZ50MUL3tFBaF4mJ3QT/91rcTTBPrvoAtTnnT2HQAWv4QJaEum
O7KlFY5cHLClmr2go6t4ACuV05x0P/OtPbdpmajeB2sG+Kt/pFHm2WzitVDJ+44kAUu3uWkmzAMh
7CMcHs/xC9eAMY/RAGEweG7w2KM7ZeQB/XBahqjvDN7hosBJ/Cted6Mj3JBMQHFnuTyqTvbbfCOV
uulCN2VNoyI6aqxSah0dBMXuKMi9D2D4CFhOxZp7FU7jrrIaMBKCJ9Yx+0x00mwtXCQRtVOT9fOj
bs1fxT6SKvu6bjPIRixRBwwn6tyoUgKv4NLY5lY54SLlg4t8rOFlcXc3AwQkcsduDAOta6tDhCmq
tzRf0a6lWosS1KagB0253HSgO/aFDLTSiB5sMx68uu2+yYk6uZOuvxhrmARWbwAkQC5EzeknUzkU
K96whhbXuhMaVQ3i7olzW89qSimWJIHbANhOpqYBCuFyRWFfRIsantVYdPTCHZ/BgYjBEIAF5YH4
FXiEDwXeldrD6ompHyl4MTtDhhkYroozgoKLL6GuM3glYOdLYjjwsikKWzsS4HySTKh+EMRMfhjC
0PELiZS2mVlmpeKES2XkL3OHmTC99tVl9vqi47kWRquCBPgqkAwgHpDQ03O5zUJmLYWKRuvz/TVR
Qwf0dGlHh9SvBWcZbyzU1cksaDvdaElqcz02U74O5jpdx6CITiehp0jXrahuSFIiIkl9xQcppFf6
WdAf4lcjQIm4dyoAN1g1586w/JwEqf+KprwqcCqkNu0g+nfra+lj7i4AUIPf3vDcHOtAt6IoK1ko
i1VGaos0Wyk7bbR+jiJAphgicMW/X7cE7Hc4FqUB9gIJPYWyBIOltNo6IsujPnSv6lfy9iAlRDkG
3QwZ6+ddD/bDZyOQ0qCuAab9pOKRqt4MHsnph+50T25HE7RHA1030x7Ntl5+QhTIHbAiOSvKSgDC
5H21VE4rjJpwDrUROYAuirylKkcgpmTGce4twL/mIjhKrHoIn2Y1KZ45O81Q3QvZVOwC0HEjEslj
Qbkr94Ddx/g02hrxrnNBzY1xK7AKqEA3Gf4GSBSZzvdV00lVqVsQzeiQTIgQ69rugv44Y6e7e/MT
/4SZk+KaCAQ8ZNhgl+jEdNF3FbDwYY7aNz0Qve4h8fQUWLDhHTYW1anyS+Ljegr+9Q1mna2G9zTA
dRX8c65fbV5+qbosnahP6N0IayizPImeCiAbLy0NcGuuk/k8ZEOxy6NE2V2XzEziAloQ7FEENspQ
KZ2Gk++q3rTQqd5Iz4pZS4R9MPsqDVqL5KHxpBYjeFo7rx1v1qF5SJeiEuzEUo8VejEcMVUxOJYr
P4GKfAAbn5VwrDbDI114exJVb3amFASwmRFYpFDOH4c5PJTGwgsjeTKoLciTJlL7HIg9WOU+xFSY
vuRQNNK8NnvwBCPQWxvlng+Lwszj64ohoWYlAwKebrbqTakx2giIOrMv+f2T4ZPOU8uxIlu/7+0c
wWXlLvb0DZximE8T3OLI80rMtW++gPIMgJBNW6OB5q3p4MJHfMmT9PW6ivFEkJ9vjjBSxFK0QqA8
FXrnqZi9BgX6dQlMJd7uI6UlUt9kgzBhFU3bR58rUBYcG0QAXqdqw04V8upZVUMxEJomqfA/jQWj
M3nuDFE3oje0Emq/SkyMoBvj6K9rCviLDPjua92hv4DzqWRDKTN+4YqpTx3mfLGSBv6RuOJKEn5n
VmFH1eXTMjjzH6EmkSjqmlDKU5Z1Bn7RAf6f1NrW0lZAiPR7Ug+z1CWXRpX8umviqAvVNXmUThrW
mI1SEKq/5HC2oxIQeNLIOXmyW9ckUU5xLTNrWhssTBZKtwO9swKElmEoXM6pkcD3mhzKAcrqoFTN
CjlxWNjAFPZHVXaKybLrxHBi4UGRkYPXMWW93JQNL4/G8L5blaHfB/OaVWOj1sghl9EdepgmV1m1
0c6WbB+Vhe4Wy1JzHBKrY+JCJvUS0I1UneJ6wAhkh/JzWhf2JN+Ksxwk0bFE48YMl2BEsacbjS0o
5R4VP2cSYzTFSRy0ZlbJ6+JTqCfCoCn5mC//CV5za6+awLEE87N0EykHIf+SNp8BnCkhCCNcKOns
auK+Vz6LU+Pq3U6rjnpzk+hoZOH2WDGvlQFiI1knSQHad4pDslSFjoPJfi0YFCV4He2ue7MCQiXK
a2BjxAjAbH8XRql6Z6y1mJJtCJM38BG/qWW5T8O7shictPzSLRPnarESARcCKZ2PVbyBWxm3+I2Q
GUy3BMEWGWkn+fEba4Jb5iK/8MMle18hXeDLdbnNY/J0IClN0niMeZMd/9iYNgMZFThdIPAbNE6W
0PSR0XVr79ZquRel8CU2u4M2dC/XbQbzvFCa10QCBAj2Qqx24/YwHNA1iwlYxUK0pGBuu8lRYjlH
C8wcefNYChlAzk3xxmy1SuJ5GYZmorvCUEHPhj6dD1hgGP1QG4XMgitP5kN0VI79Tgr0738GJMNY
KUJmpDRNyAOaI7XSOc86NYWxcCW0bmTR7E166vXDt958jRI0A3HiNWY8sRFHxRPS/5F2ZTtyG0nw
iwjwPl559T2nZsbjF0KWJd73za/fyNbuqrua6PJqYcMvBia7illZWZmREfKCHG1BPiHgSgmMXSt/
u//lVq6vq/UwV3QHoba2FCgnkhu7kb8q9XuaPmsKJ7Ctdlgv9425lZUijhLLgJ0BXLU7AjIvL+aj
dZo87R/Ej7WQjtKDickRGWp6UH+7dsjAGMBHEMEn5D+xd9+IRQkv5U+iNJpj4BU6foBcublExCxy
RF3DrAwTulWctGZKYLJzDcu2Qpc4TyI/+xgTLz2lDg3EQoam8qsTLzivnHKYxqNGlBXAS9iejAW1
sZ8TlXkrPlvtg6p2D1HCRRauHTTDUDVNUbGzKERcb2qOLtqQStnPoeLzbKFAZPCYesk8FbrSn/dd
c0WY3BKpoQW+VsuQUcq6tlcl81zOOc4a0cRSETrRTqP1HvyNh7ijYSSkApMZTuJoD58iml2Gd/8H
rH1RUwP5LmGoTIwiXdsfu2mBVgHs95DvNqMfUb5bwHOEV2OrcWEPa5t7aYzZXOi+Ll3eI4QOvt7Y
hl9vBFTcS9kWXZp94Rbc17oZ1NEm/VWkHCyOsJWiLJHUvgf1JsAzUnNM8fx0p0RxlmjYKUv5UDSC
reZN5czj8hspl3hpnTmfUVIVQaijPgl1bFdyjUNj+UDFE9V/4cWvpf5P8EtrW2zJuKF06Ppg0Yw/
6fDpRuhAbEqkg0tgzyfC/hOaJREhDMM7lWflB+aOFy0wuKuqDBE7PHqv/Ucqg6BoVQCNxb34nm/7
N1Wwx/HMUxktdvmZg2ew9nJ83cxRILCcviCxc4zP0o28fwCsWfviYMvHNSlBjke6AbkEIOIMzrxy
fvxCEXjYlxAZ4o8ErxYrLcOgPo4CenkWn5skRd6VekkbjcEVkhh6So8kStg5uR/6Mk/IYfXDYmDe
Ar8reGTZlaGppKidCHuYyXSCH9KxehyAF0I/eoBBXhlhLVkEe/Qvc8x3bZOyWeYCRzWUvlQLRBzU
TzWbHlvZdJTWsCcLqr+ZsbXCGGTogYO+qz+Tu6mSo6XK5n6QWr3qLn4NSzcbJpWpQCcRxNI7dY8T
+7U9Ba60WSCspG+Vd35yvpaTXBpknkvdNIRWRchgKZkOpSWiez0ngnt/WWux99IIE3ubOegabcSq
qn601Sx2oylzVDQSkt2o/tbNdmmNCb6LLkeyIsMaIYKX3DE+gh0VxNSj9JWfKqzkXKi3aiLgrJjm
RfH1Oi7M81CC3B2FVyvMHcBJh3zZ5MIXAWTd9zdxreZ2ZYnZxUBItFmiprG8kXxiAhYFOylsErkE
D1tNlMAnijaWW3p0dlrA7b7zfsVaOLj6FczuTrVajHmHxjnCwR808pg6017bmDbucD9zeAXmtVzz
yh5zuUwVru1JRGePxjplB53kCPTAmV3upo3AnetcG1S+Msek0H2khHND0OD4HZpG8Yv+LO1az8TU
KkippL8g/0ozykd6TiL3tJ4N9N76HDOmvHbU2pvyorfKKh4BpWnImYR1/5xOSs9UDPw35VoFEgv+
bw/XZOLfMvWWJhnwqsmH5JDsaMceQ12vgvPiTUgG28qWTsMbBDY4MWGtY4Fb+9czk/2wwVLn5oKD
k2DoswWJG8p7kR9jPwOkScNG/mg2/LbtGi/LlVnmA5uZVkyzBLOtl3yRPcgTPxBCLv8+A3L4l4Fk
VHTHv7tTs08f+4+EDz9eCYZXP4B5PKlJ2qd5jHYYaR/2X9W94huHZRd7AiYX49KW9tDCMIGGt3m0
G6tnyTBVAxm4iWkC9iFVVMMYpLXQYAxE/EFkLSZuvTPrgOSh/zfzPvFa8RE5v4okzVSAZWZjY6FF
cigXLQR4u8Oi9YqbBNNzUHYfllzuoEjtDZrlymES2kWeb1Mz/bwfM1ce+JIpIYeAnJ8ODh7mB8Ri
MrapmuMHtJh0aZ6kUT1aC6aZpMIW0y+JyKuSr90GlwaZGC02xiIXMgyW5ftcqk4rP8RKsp1aHpqE
TgeTjl6tjAnDZYpXS6imqGcap6mTbStROV+PZ4H+/0UZaDZDUEQIWIqqJZsFGEt5DjlX2urnkQEw
poc2ilp0VC5MBHmQ6nEXomkpKq4hHYfuW59hqlQHSk/bWzVPvmjFniyauKoVDfo6EGK6tifrKMd2
4EtxhxIDB0E32mj6f1sAyrfzqP3DhLQP1KM5Od1a8/3KKnPg5S6Adm2EU5ftsicAkSD/AN1MBSQf
YGaPIMgQxH+eOWmc+DHb/gO+cvIFxlfQE4b4DN5LooYn+PWy1SgZx3HWmzNYkGYk29IZEF5csCdB
lT0Kd7zX0orvyBLVKTWq42F26dpiMeTCEOfYaDn+BjYcO0Jd7f7JXqsnXJlgjnYoRbGcThE4hPZm
7oHsPZ+QXu6pmo5R5amxq2LTR97wPsRO/cR/OPCWyJx0RZiCLBqwRFEufct6UAfJv79EngXmiA/F
rKOljxX28oL569j6o611XsBaa1Jc7SNzzCNTrrK+xjroOqIBjdDD230ChCq3S8Mrtj9LXfSILQ8A
J+5phs94nDcDErKRExDWl2xCWUcySNSH8Zu2yatqETApky7o5ie5M03b+5u6lr9ivb9MMH4ztUM/
JzNiDrETYBwFT+fUQQx1zuBLV3y5b4+3IsZNss7MmgZ4Q7dSpu+lYrxqMW96Yu1av1oS4yjBNKtR
KGBJymsGhBaxyRQf3YwRYVCfuC1PNIx26CacqED3QlEc9HY3A/qiPODcBQ0qIT+RncSiR7PzfKr+
tYAtXZhiQudSWp2YWB1ep7Nmx+orRNFsM3uPx+RFGRW3nwZeWFmpq8gQZoekkwWcJsrN15FLE4K8
l3vEykpKHpTR2ogYmXLFdozsOAd4aNRTRzbCY27oeyMsLc5lsVYAuLLPXFGRCK6HObUoVsfZXoDk
i98D0KHaSu515aE9anhr8BJD+qM3X/Ri0cw2ywVK3VMNo1ILXmNd9Jb01EgiJ56tvGggHS1KgOqA
CP7mtk+FqrKkRmnwfqVhv2Hb+8aez+e9fsIv7JBTXWQVahMvIkDroF8jjSAgj8N5j7I9qZkrgLcZ
BppYvKiyeswvbDKvqCmuS2UusLYEpBXFI7UoQs9CmyB5iLbVpuDyK61mFb92U2fbBKXWRJDphMXW
q4uNZqd2C0FL8pblCI9xoOJcPhlAFS4eynSvPJdZX7AhqjpmoSmaXm/yAs4VYH/lxjXj2diOQ1hs
o3xMd/ej59ooDHzmlxnmW0qhEEhDpzVuHgDV1fTCox4pft0nD8Vc+GYZuYKWHZoGECv01TjG1/Im
qABDLleX8Xxgi3GFos9dsizkSCg9QA6YxrzLo7DBL9mEPm+ScNVxZWDoRMgx4voTmT1tqyxUFTog
ExhDVS8h8lpgqcK/aSSXX0NeO/WX5pi9NaV4qkTFQBzvMgfr94vuCBlb3tFY3UU0mVRw8hL7G3On
a2MYlmmA4zj43W48lady8JofNB02bxfN0V8kjtOsr+uXQeaGL5pZgmAWBshbSAe0H6n1Ypa1c983
KCKyEROld3QIFbQ+JHaOHdXMzBADAChqrTpCrsw1ouXNMFMfCE1eQXztvr20xbhFVUd1rI9wQ3UT
7GlUpAMNtO5nz/zqyGoqgcsPsyKGBGwlm7irtVkoE0HNCVEY9ZBsFh6oj6N4ugS8FQ+YfGZHZvcR
IE4IwQNFiHYnc922xtSPoMVAlzV+EUyMh0AyqtJUTy9CO7G8wXwDXYBj6GjxzD9yTG8FVWK3YLpc
UH3Lkt6GiKC9WL0tWrIj9wcFIpt99XUswpcpRHdGVw5xOvi59r1sxa2iCJ6RhLw4QTncvUUwd7aQ
Snqk06Y1aBNHjnQwR6fbk36ZbMsfQ8Kxt3aPXu4Zc1trgZy0RqrROIC5J8IUDIo8yNuIl4qsLwuN
PUPXEQAN5ttY2Vjlw4jUlV4G3ZfhEfrdaBCPbpjYfI6StVOLOpFqqRomnCWRObVxJi6jGoKaBReK
nNt5LpT+Urap24aWUXKO79pcARYETAFoYMAFw87P4c5ph7LCm/w/VeVlW2wNTCDO3H1cCxWY8sLK
0KczcFVe35R9rHWpboaA01gCxjWyBppMjaqdFgzpuloQLB/3Q9NaRwuj778MUkC+yH9mq1KMcETS
PO+LI0qMD1Tnmxw78Jt3xcmhO8Cr5a55JKopaH5Av1dF6Li2mDVRJcsz8kfCP0nbdPNz1JhLY7O6
lRd2mK1MOzkRjRYro7cbtAlry6E8svGGDENR3uijnAF5JGW38B6mq4kIgOs6Za6AoLAOMw/xkE/z
SA4DNaFjum8w3Cl5+SOv7r9WkEdDGyonBj1TgZi43sywjhuxaQg0KWSVExlpYechJqpi5bHKxR8j
sRBZarCNi+ZRkExXh9AeeMzcANFxaJZjLAC61KIro0AT4b5rrZ3Ry5/G3ERda45Jl6MkmAUzBG8t
p6wSQBW5eolrkefSDpOZJHmpidWALZCfR8/woe8Sf6O+C6GLJuMYlpyIunbtKbqFO+hcJlZFJoKr
ZtVrBTEWqRuMj4EMBYDMxQbU2SWitIgXwVf8GNNcCrkTqpCGyPhxZEpj0wY5ei6NCWpEvB2cIDeU
P7WuMA+qYGSP97/b2vrAiooqJFFUgPyKCeVyJVYJYDHURAs2kaNsw3BHMUH2S1+s9rzHwVp4vbLH
7meWy3qStbg6GnilWmHmLzeGTSW3L2nbPYEZ2XiE+jYQuNZgR4Vq2U1pcGQpVzb56jcw56i1zDC0
Oqw5BbWuXuxm4Unv0V6ZeJfJ2lPsyhJzLAJFyIulhyWoyRzFH/FCmF5A1NS/0+2yzT7KI5CFsSf/
BeC+Xbzxou/au+HKPnNcGksdlW5BEiXupdhGhxSAiZ+YAfWIHtrmdx4qVwbpPri4YYRMiZaeFkyo
/PrZ/D7WEDXsbBLEU/Fs2fO6wCsXzKVB9g1hauVUGjEMqpvhiPrWJt4JG77e5kp8uzLD3GOpIOmN
mCGRs6R3oEE7EzMNucwLNisPoisrzOnPtaS0whqLCU4Y1yH1QtVNvpLUNrXQ2wMXHbZuEFIUNL1p
6Gf/vfhcQ68nsrnAIIBvuKC1LXTinMEeSIPyid9SXv1YmqXp6Ovgycey+48WoncmlCja6QpYcYZD
qNaOPAAYNUSPtTk/xUvznuUxJ6dbMatJyFNB66Qj1WKlocMuCGblZz853kqHnw1zfv92xUc0tK3B
ywHglaKyw7jzGAEN0qP6GQflUzQEe/QBTpkSPt8P2SvRC8A2BfB8lB6Ae2WSOEyjDqJUAFIOzTi/
nNqnoW5eMyhO9Fnr3ze1lnHg9YVaLuFOMcvHxA9RydRATSYqXumms7jK1nyidrSy6WWbCC5B/Qjy
vrrlvv/WQABXpplIMuhQYm3I9OT374TuCPFAc6gLX34JnWxfbEovO/GenXTdMQ+2S6ssXl+Xkq7u
DCRzM5rOfbk4hazwyLZ4NphYAsxKm4YD/ERo8W4SG9s0/7z/3dbunatlMIFEEEQ9D2nzfrYy6g0q
aRD8Itmt3NdLN/w7BxxIT8C0NvgINaX4F28n1x4bV7+B8VMoYmG8Iz9/QFD/QMDn/AHDzYS6FSgY
o2fdS964VlfO+pVVJp+JlqAxowhWz9k4hFGU0gaIZBPsMl/wlI2Z+fTSobnD4OH/ts5kN1Ju1YFg
DGTdeqSWWQEEi7Id/iKQr7EhbBDwG8duM4o297Knw3jPd5m0Jp/zbOrJOIoeE2wnT5KNZKMAKErZ
qL0DUuHGmW0HI2Vc2ysXCbYdnXMqiGIMkVl4nwVBX0c9yhyAlyXqMUKZO/9OtIFF/RA6mDD+ct/F
1xLXK4vMapvaIJ2vjtohqEHMB7CJ/kVa7WpzkkHwXf7FscdbIZPKCXmdIoPGCqnmIaTHFns7fRCr
vxWdSGox573WeRaZ4BsLeZBELSxStyLKjpVfA/IZw+IsPpB6Mtfiyg12tadMzI3AUjGCKoP29PwV
x034TKzpgzeIjx2+YubgKnA4O0vB6NZv/+s7bAoXxTp4MxtYpYoLdrby4bOkmpnVD4SaNv7mGFwN
wOgdAn9Etyj75kmyvDSEpiWDg3ve2NCDpsh5a7FQcp/l8/+0yRyQoejmTpbPNie3COGu+QbYsrNO
oCad6HPyKLfXEgXrYpnMCclAtt+3I5q/lZhCYiO1Ps18eaoXeR8bM1ebZ9VbdZ3qWJj5l86MMBep
pKJGrZ62uDnJd0TjQI0u4cUA4z5OJHzHLX/rfFxYZEI9CMznWpHPwVZ0ZuNAMWf6iBFz/r2h8gvn
I/LWyHzELB2SPm7PFs+eShbTNzofqXqkT8iNcjyLzDeEfIEhtqCZhdzqv101eyQ04L9jQOzmvDi3
ehovdpWJc5ADzuM+OpezRg+OOm6Gj86efSM6Uc7A29M11CWeA7/8holyYZ0Ajij/229qZQ/48vkr
zr6UYKHGBg4MqrRNBPnjHpwB4MHiXSUr8cAQ0V0DR5uCKRmR2WS9Kswww2yVK1rZQRLfJe3HkjzV
ceBObeyl+klrNHtJHrIKBdrkcbFea0vnYSdWEperH8Hse9u2RoIZWDo/wXNxRMlUOFJAJC0JDJQs
B9TtnNjcho5c2GDncjm+zdsE5jsIsZFj5LGm+816lPzlC9UpCP9S7jSnB4UPz+KqQVw3mgGiXRBY
MwbbJdC6pELzSp+ndFODyGhrhprE8eeVIIj2LB6bhkycY6ysYxEqlTBMqN+JqZFtm7yQNkpoBo6V
gGSn7SrxibOPK+fnyiATIzD8qFRFnFDFm1QrcwUM1jGkJCUPyi6g4fI49ujvMbfnlT3Geedx0jF5
kqLKqx7y2dGhrkCP+Kn3U8ktTMo3XdHmo7Rl+j43hiVwJYOy28IzlHHY2DKrKLPOKR/x96beGO7V
T3AVCIYfyK9JA8lOVOCHyNakt1D2VTQLifIDemJi96BWGIYQbVV5rJXdhPkPSNNxtmZtZzCkDIAj
Crhgm2N2JtQCqesnsQbGOLU18RvmtOwl/MHZ/5UIbSjo34B+S8HUJMvyO5eCEkkpvjclE7K4JcJs
sMt5RYZglfyTAS96H7Ibf2GRzZfqwIjqDOk2PKzbhdlZUFn8I9pKGp41vOxs7ZQCgotKNNphEKYj
d7+41qtGDUOl0aETPY2ps0CV4CGxqoDTyV4LfpqB84npfJKCY6ygQ1aMloJLwKwKP1/+WHIRY02L
l1aP49KZdqSOdlj9Dqe6AWMSoo+k6TIrBdlXStD22TnmDS6VhkhSRveBBNpxvIQOA/vNLi0xvghW
HB0y0QBwmG/j7JTFoQCHOxIkRwfa2JN0V/jeA3KboMbBZWJaOwegL6NjALwMsOHXn9DIR11WFtgu
kjfwO3wrcwVz+vXm/hJXreAAgJUW+AA8va6tlGMP4nQB4VxCjxuB3F+k7TDOnDO9Vtkw4CP/NUPH
8cIfTRn8xZKGhKht8A4Ti41qOmI1Q1h88dp34p6rT+mmPII851mabaoG56RHxDsXa6Wxqx9CB+fi
h+RGr0gLqjdupjgR9FAmt1EdHQkhvSPMYE/Ue5KzfBW5beM1JOCVafoUF6bLuhxjM0a+grqt16uf
oelS1CFQmYLZROOQdP5vwZqvrDIunHdGQ6R1cCMpchsd3Znm6//nQsyNEkIHYOoKWNCFozTKuyVR
Tlbp3zey1hO5WgeTd+DN0MYm9OkBVl58qtEkIAFRdxnqM4U3b3maJ6snn5ruGDWhqi3jsH2ddDH+
QVV4rmW/t5rUi4cq3jbKMOyWWIp2jZ7Mzv1FrkVtHHXgMwwaaGBHkiFPIwqBiLs5DP0sA5l/W245
FjgmWC23qCsjJDpYF4YqcPc3QnMs5x5yjrkAIWJBV510sXJ3abNuY8jyMckA3AmD/ilWp49gWlTw
O/fRY5+A9i5RTFfOit5T++5hCExlJ4AAyOsWKbWFKBzstqoTp64XsPEpeuCr6LnP9pRpoQ10Wnyc
0uWQawNwP2UtuUpg5ZtFN97qqAEMaAGZeyEZrtEsrV0Jy3gAZXHvloYafxfCRvfaWrT+7iXRNSdL
4FxsN7ukoctBI06ArKOMzu7SUmMmf4yVyi0wzZo1r0PYuJwPgcN+dbMwFpjovuhtrIcZLEj18qMq
U6e1wm//nwkmtEtZoPSzARNRXdnoUNmz9HLfwm1IY1bBnJKm1zRMWssV5s+qnXTsMbJvFkcoqVDJ
OvHA9LyMmKa0OWbpl9/bPPp8F5FUKiAzH09Y2ehIvniqJzt3NE/0ZRdktKHPuzRu7khmlUzgHrSs
FIcWqyyr4QcygqdJRcARML7OWRdt19W6VMzl/zr/LOwmTJqsltMMh/NP7bVCqjFtMV/daVQf9cXt
aGt/cyzeLI2xyPhIngH7r1HEofIotWuaZtMoXy0PfSoXyjngJi52VcpN8tfCOYjHUXeGFAXRwTLh
PBmXKhJ7DIWgUwTDuZf55UlwOpugiVnKVyFc2VsC+1AmZRJjM3MPNroctxD7qc63r4R3T7rPTznq
+0RTD34UHrZpJTeGPU2Cbgn4NJEKX/voYkpVM5RzBVBfs0MvAaC+dvd7oL5LO2zrazRVAImC80bO
gNYU/vRhIpUhpo6EL+Z4ExhVy7QUQH8NBSEQVB3Xq8qmYpbrWsMsD1amqZsJck8cl1x5J12ZYA43
xLHk1LTw5zuASEDSY+6KbfI+uyVqyr+jNnpljDnabdNlo6yevUJ0MN3p5CfdJZ/oNgIqOZyl3cQt
QAZVzOqSVPiZNed699JuyqcRTeDzo7N8wZsJCtnproZfCHyW+JVvZYEIC4I5YAMiINS1NUPGW95s
ACQrukywyzDWA9sC8/QLKIR6u8yrEHCvaErsMRj7vxp90p9nUAh9onQpHtNxyV6HYEq/dmGgfXI2
4uanUUQ1TWDhUNrRFI25/QBJVhbjZwCHRm5sk26RagN/R6PSkBCynngxXLo5j4xJJtIt9VQMi4Yg
TucxTBwwbUM3Dyel86x9/K1+XU4/bRegPKh5BFs3U0iwjn/B6wKmN3BfMd9CHMsmLKeAbizRAYHP
1gK4sd/xWQZuAytjicnGrSKfgDqzKoBFk6dSPg1fiMnVQEDo22fxC1/D+hYbxlhkQvkg1YDe9lgb
vWuUY77XkZVDXXpbPPMe5Gt+o4GYGA0gzLyL5+LWxcUPLYnCagyYkotvofZdGb/cd8zVv49HMJ7C
MsjydCYcFHJZV4KuV664AE/Xqs/g5/ufoXu0XUAkQmAKwoOQzLs+lmJlmkU+GwifP69cu4TqDbBW
yn7a5I8mJ5O9ueAZa4zbD4HeKaWGFYVd6UG6y4uN1DbVt/v7Ru57lbgwVphroQpmXY9lrAkaTdZb
UJbjVhvbnR6U8kfbDjUvkK5c5hZUKNC1RvjQZfYaqoHXaQcZVF/WK818gu5y921yuq8UO/hDDWvV
iytz5DYXbhfMlRTP3TluL77sVX5TFU7xFDmRiHlv9bPyiChPrb0itdP2IzKe5u3/DvqCmg8IwRSg
PlURJNZMQjHLyKfQq8PYTehhEAbCH1AL68cNqF/bwVa82a5Khzf3fYvnAcMaaN5whYgoRCGhuV56
mLVNOBgGzQwYGfoakdO9AvkIoASBBB7CAEOpNMsUcLkmbj0XFkF9Bp55zORobGIjoxjfGBksy8+9
J3rlvjEJEvGw7CFpCDU2W7RDdzTs+568Ej+vzTLHE8gteQ4ASkeZdsJs6nsONt9NtzXAN6RrHq7Q
36Bswh5frpQ5o72azlIwweQsA07aPkBElrcq3mYyBzRI4lofA7SpwvfZOQtHuyOm3FF6Ip0JDbxD
6DXwnOc2ml6vizk2cYfzW6RYl2Lkdpa1dtdxkas8G4x/jhinb5UeNkhBb9hV0Rm3Wr0HtmzHvunF
3Ncg10OYu7zPxBLsD6itC1t6My2QGj/H7w1ko0/8httNJYoIfXH8QPSAlpt0/jkXwccy8yRsI8hI
JknuI4vx56aY7KVSd5E4f0YS9vb+ETj3/JlofmWR+W5FUIaTmIuVq2du71nbGRBC61C9ooQAKP1J
f6LJGgETGodsX6P8DY0L9Hh5GdvKnXL1K5gvCwW6GXIDAyokvfQtFGPHiqAPV+uVp4U8CC/PFvNJ
9VmdDEHCHrdDZ9ezsk3LP2LteyzxHhyrHxP8KDImDekVxeRKVQCMfJQk2NriIGqJW6Vfc/VBykcn
Snl8L7cjLuQ5IMHVNeB2DZQUr2O3UBtd3/a4JYujhDHiHEA20jbvuNRWq6u6MMRsX2XMi3nWawhm
Q3xrQ63eaXkbHCtFDTahbppflUbm5YK3IY1Wh4kvyJihHSQyIa3O4qGotLFyqwYoC2nZap1+GqeI
0+FfPw0XdpjTII9lloXyVLnBn9aj5md++NI+ADnrag8DBrMDqFMTGV0HsrZksZOX4GPe/s9N97PS
F/hjwRENwlO2eDEFhRjGJt7EcYwu8fBHE/Nkt8nxbs48puf+Y4F5NhhVboGWAbvZhoYJnpA8Ool9
BYXVLvoWS3ptt+UyfCRKVHv3o83KuwxldhBRouKtAYrI+E5caNWQzHDSyS8faCK79wsMP/K8ZSWR
gbtgsle0NLBc3wwIakWxLFGIyoVml+/6XgZVD3UQCNvZfKUYlrr8zHHNR4l8QsZTFxOebEEPkhqF
KDUlfFTN34jH0Bl0iNVYfZ5xgvZaBENQwTSABqYL8Ahcn/VxbCewXLS1m2nTSRExXqtPL20h+FZh
7e5/sbXTrkgoAFnkjSg+XZvK8cLt0r5CDDMGuzOtTWOkboKRIFXIN1Fdcl4wa+9LVAkQwVA1gbqS
xsTMWgm1OcRQHMYrKP+EYif6PjSrx58F4Npikuwl6oUiFWBLCV19n3vBTnivoOkHHEizkbhpGWV2
7Km7WBq7lWk5FbkQyCWqoL1HuBO45CMUCzeym7/y0rFb7C2iCGqRonV+P9xAd9I5bow5FUrAy8OX
EaLN4iPxkNKjaeRe32u9AVgz0FMWRUXGJMe1m6DTKYPnCNaCTnaMo/ksO+idg8pG3C1zCFSJCHgY
735d+4BEKa6AzYaI2dnK0pLHzVTpcE5qDeShLW3jU+OZtoWByy0XXXybfUpX1uj7XuRmDWDjaRvA
GhACG7TOPAFkZ8B5behFaPp1YffIJ7b3z9/avY6uFMZI8JhGoYIl8BUDfWmKRCpRysofKj/YGScL
AaxyeMWDtW+I7if4BTEWA/Ej9hsCP6RbsZjiVvCGY7KDoIW/oHSlvlrPug+UDJe9dyVgApkEyJeO
/6g6OyUDPIuldX2AWu+SPSCBemiE6FS25tv9LVz7bgpSBgnTTGB6ZYErSqL1Zqnhu1XGuGmnp2Tu
3fsW1g4b3upgmMbgLwQ5WGCtFceovqaY71E3+mwTuytezN+grXdMIJ/E5ZS4qYigAkNdBgi60i3A
sosuS5mjEIfyprBdfA385LljLTYp/0qeiNuUR4O1ur5Lg0yk1KJy6aII93bSxruqKhW7ndOnvpQw
aFs9pOn0WWWAvGqmZ2j1VrG62an7gpOcrbzFrotpTHJWzmERYDqeqro90GzGFpzhb4FPg/+xXz5y
s4iVgA34uQXqS+QSOH3MXaTNQ43SHQJ2+q7uDRwGYq4dS4zG0EDVb9R8kKgoII+xdAWq7Ww062ZZ
WkbdoIhNkNIYHdUDoHrQuXOoITiFe26p4PYEXptkQlovl6IMVBeGjdSp9nAx66Md6Om8z2pguuz7
p+Q2a4ExVSV6EoouGmMMOkWNKYgmSI7n1whUeENvbEv5PW2Ml/uGVtwVlnD5ofSKpiPMXUfqrgh1
IB8RWNDk+DmjScBclK8Cm9B+PD3n2wBD5gwL8GSNhhUYP0nGNJ+GBJdfLoUYcwmeay3mQFZX9+7C
BHMAp0YW8UKmFSWqk6uNP5uW3Tfm1pJ+o8qC5WBqUQFe9PxIuN69aJ6UYpZw49CtGuzTA6GM9S/Q
pwYjirAr+bnKTRcQBfhLi8wG9r2Vh1WHg7Z8E5EXYUT4O9gJjtF2+M491LfNmWtbzE62UiDW1gRb
hNaPD4XfbYVTvxO33PuU/Pk637uyxLLxGEncDyble+k7pbKtU3/vtiOSS+X7b2BAaQsNQDOpwYbi
MOPy9YCcPFfV0pWrv0MDcLeY16tdjRVgxyW6MAVgGeYJXgm9ErepBgvtMc6+VckuKP7gHFz60Ddb
dmGDifBhaEpLWcHGBK1rMI9WyP+hizhBhrjyRlc8DqcpBOhD+BJHdpG6PO+4BUxTKwiTzcSOiFeP
ySxSH9tGsbIQ6A9PPxXH7ohsdls/L8jy9EflpDzEb11nh3DP3j1rKOD5DPlV8ZCcym38g6e7srbn
lz+H2Y8kbiq5FhBZ5vRj6jK/a2I70RSHs+1r0QUtKogCUcdBNZl6wDw1xhTTqmmKTfakbbLrUOi0
XlLH+jN+wn23KdCx3XHM3r4tsdkXZpljn9aA18lklogIptfMjyJge2KMIwXH0ae3SvKn8VScePMz
a16GNoMJ8i9AprHg6wC3zKNODl66UizWwJ2FUDXobEvcy6lo9zLwKBDe5lx+t0yt5FnIIYgeDiOY
bBYqZL0WFypuv9FJvuSHGe0VGr+KU1uJ7Vnwli/01h1s7dR5xfQmnQCAcGr/n7S4VjJ9TNkD84dE
lfqerJcLZl9Pc0Nu1djyXvSAqkKIh65856VP06bE2Tpx05s1X740yux63XaWuATINehrixb15ONT
7BS25OC8AxdkyxBAMRuOc98OL2HjAetGT4kYQXXWuYdYn5u+h5d1bvFtcKmssENt76k+aLa+MXxF
tAfJiTfhdDBle7YjPhxp7Sa4/AmMoxdlN+hai59QHMMtCaIom4fFUw8Osi3OcteOsg56TlOX6THO
JllRESulucBUKH5K7XMUWbYcPigFpym7doSIHALCayA4AOvA9REyTb2BofN7P95mU5C4paLsAnH6
VjTp11nOvlpTH3qcgEF3M3s9XFolF7t4gc9qHlUz+syuJUJ/Moj097YoQweo3truM/Nh0JMHTev/
rsMcE1J5qrsRypz2IDSfYLvE4zw2IDumRKkdGl0CzvIxd8dEkJxqmbjlHroq7v1Y5kYOVKPqCvqx
mN73is9+U75pLzVIiUQI1tnZd96XX40wl7vDRHERTOGTQBUfdZM/QOodE/QlejjZq/XS+vWu8WZX
OUP9aNDdxD9nqbAWghyu5t7/Uqtn/cI9GIfPIUpjBRV+iqS9l8MnePtBdsCJqLfo/vPB/uWDN5kc
5gci2mBxP+z0fTw7/VuHUuEhAKgLhG1P3bNkeiLAMR88iM/6KfuvaTa1SzNdHM0Y6xOVwg2j2Z5T
VEdjNKqF7f2dXA9fkKdBXVkk8CTFlgufL5W2jcUCB1rpbSo7tU56aJ4yN9+Mn13ijE+T0x5DRwWx
MdTnAw+MGzzCq9WvefETyNMvfgLIe7LQiPETLO2lH7d9/BZO75xlrp6WCxtMQEnV1MyrGjZar9pZ
0FW1MdW5Ed5gL3ArL34qDp2nOM0eNMDn53eAMmOicZ5ZZOXmzKooYeKaRghVGDzArPSBAn4GBBi9
Q2JQ2tPCnY5ZvQwubDAftKmnRtRLJAKUZLWTXbx2HzMo/SUQe1kPpD+aPqcbcJNCEijHQ2H6Ui/u
79BA0fG5+B3MVxVrNOlDDfcxDYOfpXmkl8gnsgTNiQNfBo6Ml/Ctby9KjCoKHTTpdO1IamWYSzzj
xLbeDJTH/KdV2oSWbf8IbGEfmHb+yKuDr14ZuJ/+Y5KJROI8g60+wEmtxVSxZcE4lpL1NVgkeyqr
z9JUDmFqeFmQL7zwtBojUNWURBTpNPRlrxe7pL0aaT3eMv0+fwDdoXSwHGGyhw8wWO/rI1heQFfZ
i3ZZeffP0lparV8YZi4eozaUEbk+Hmq9Cfq0b0PkaxVyXB2ZZ8QJT6uhQRMBzALcUbnRYM1DI5rQ
dEJNp/2iZpAd6F4Mk8coyDPCxAYrXuLRXGBEqh6L8F/MfUmTpTi25l9Jy3WTDwQIaHv1FnDnwed5
g3l4eIhREgjE8Ov7wzOr2p0bHTdz14uysjR3DwGSjo7O+YZnqtfcvv31N/vZZE3V2wlDO4E2ZyuT
xbmO5YDrs9T2u0l5EnZOsNGNt2k6Uy1+PdhPCpkYaTLWgK2OB6TX7OSivO5sQoUJgpwXyo5exW72
nmj2bBR+Go5Jdey94NGGRosvoGMv4te0xS3Fiq0zYfenlbJPTzLHm7T1CE8fhrUyWQ/kS5aHXrX2
ovhyqji28WI4l6X8bC4/Dziby4qkCRUdPrQD6RnjjjjwjjrLVJk29SyMQy0NMBq4HEBb/YRapbrR
L3k/hbb6EBAUXwAVmmzkRti++huoG9lRgYbG5Lj4F5Llv976/83exdWfw6j/+W/895uQQ50y5JBf
//N/LuU7onb9/t4cX+V/T3/6n1+d/eYxfauFEj+a+W99+SP8+3+Nv3htXr/8x5KDmDZct+/1cPMO
ImzzMQCedPrNv/vD394//pW7Qb7/6/c30YIShn+NpYL//tePtt//9TuuUJ/W+fTv//XDi9cSf/f4
rprfwleen/zN+6tq/vW77f6Bli564+B+AhcPIMjvv3X4G/zE+QP3YkCeiI+2uQMd2t9/46JuEvyI
/DEJ0354dkJx03bxIyXajx9Zf8ABHS3+CRUCxWtga//97l9m6f/O2m+8La9Eyhv1r9/B1fi6aGCu
8xHFALmgUKyHwufXeE1zbcskhYp1I2Ljm+DUfjL7BLFTFON+bJNYbIPcHq9MU/OdWffpI+lKWKn0
GXJ5wydrL1BxBqh9b4PZ2pY7oVBHPRDptce46uhdPAjrkjQWfywUzwMoCkMdKXR1k8OrhQ/ajgJd
J4+aVPBgRVE7tLnowmDsbisbv5K03o0DjO3C1kYbpXb9REtdhhzNFqCYvGeaeAfcM7dd1a0z3exg
vXHdd+lF21ovTue+wwjqta75TpB2mRb+PhmyI2ugAyDaGzcurkfZ3dUd+wEphjAb3TVk+kNTpoeW
kE0BU9pRF/ce4XfCBChSx5eEe2jY5UslbQh0pnCdCI5UWE/cTXc6sI954l+Akd+FVBgvAPXwME2H
J8sd74Ohhq2um700fXXjNuUj9cdDknt7qOU952J87FSxhTDAWmbdvjPiFZoJO1NaV36s1lkx0JAz
5oWccwkCI7tjRvuue71mQe6FpYjvM8f7bgbeFRiPu2p0UPfnw701+Pdx46+YZezH2khDgspA2JhF
tfA8vjKsfhGQLCwaMaycUe1IlkRG4q0ly65b5i6NVL1r1r1yDwA5pVYG18ssyZd9b+y0FCHyqagg
bFEqC0Ik3asqXCdMfWOhB+PWp/q58NXWkbIKs5StzU5tSEZWcO64dTsoIBuFsaqNcVVw41sKPiWa
osZVEZO1WWZbT8gNT8SVIsEGjufXPO33Hm+OwnGf4rR4gZ3YlghxHPS4i4fmOXWSvXLT1egkt4rA
4dbk+avRWq81Sw+8VE9pYVhbbQRw8fSh5WgVsO/ze2uHDPxBWwCpSx+A2JRlr6npPEEseA3s7sYv
rVvF2+80dq9YG2xHmByFhKfvTFjXsFvZOflIQjE4t7i0vDdK7DjNMcv8DofrGtXjS6+WIPEyF6ke
HZPQMxQPa8oeXJ+vlCcPuSvfbM/IIi7kGqpQt5WfbIfMdaKgYt+bJrnMlHvDVbd1umYVFByvW27r
nj8ps78em05GRVXcGw7oqXn3Cgq2EyaaP8E2cGM2/h21oTrNVLHuevMhrvQFDpFHdHTfCmvQYZeP
UFMR5BVU0QuOYnSYcqJWUOnzQ1kptg0SEMjNohNRrIdnL00OWZcc6CBRZanpfZMhn/cy7kZdYOyt
Or5upZChZPE+Gf0idBPQI7G/buPMviiFvynzeMUtUJ9GvRIErEZXbLXJHqQStymU/JdaDkhdqya5
Ex1qlYHAau3iOlmTuISiEQlga2m17x0dt2PBDhn1r3gT4y6YJe7G6iv3uo2DNMRhmawDg70zbbbv
cZlcQ9fFAkPc2+gqz1Y5co/ek2/NUPX7tqDqiNVMFg5JIFtJHWOdmj5RYReo5rohxnhZZ9B2t9C2
Z0FSrnlXgSepUTcsijoIc1mOOzbZ8+Wa3zWlkutsEPeZYtA7Kde9VbX7OAuqVdvCWc+o7GWdkCTM
WdBFbtDShW8ptnbi6tnuyXFUoo5ELl5iRdrI7koUzaQNP5hgONa19QIW8WOQoNjE2zG+lSQ4xINT
Y3fHTuS3/jZL4jfVVxeaiO+d1m9ja98ltd7zrIMQAMs3Pjcvs9b/0VnDC9Ak8asQDY86Dcw0fJpv
ee1/FwUZI6Am6oXAIbWsa+jz9X7RRAPYDwCoo47YurdV3EBLsOTxoVJI19KAXFt2TpZVLatowCG2
yondrIZmRC7nFhdJnq7rjD/Two2GQcaRJqkVOiSuwryCjZdro2VJexCkY8kuE9I7kITwTBjXJxeD
HB+4nV+0brvRvDgyk23gvPy9jLmzwK0j8rpqP/A4wCdztbnrEsMPU9npVZ6WfZhIWh4MlL5ClrUb
UqX5BiI8Q2QExa1dsD60uwoKVoW6GDJJoly1zzWSxWUXO/nCLeJ600l8NjB36oPD+DG1db0sOPV3
2scfQqyEHeo2vVSKe9jmoMFGgfL5D8fAiTMgvkVuq4ao6AonyjqzO2o9PjnIPaEb4UBulkkoXyrr
gsdufrAsh+xbjQb4aLBhlVlDEgJeiOvM2FZL0TgiTCp2X5W5gbkg6Uon4yotMr4wcWa5gTEujLHc
lVI9+DCJ3phJRcJ45DJUjvOD6hFKl36sQ3DUdFggZkTDmP2oBj8PO0MAS5Qb1zlM0peG6+9IWqSh
n8R1lFcWpB0y/zsv2jslTNTQA5VeTkymyM7aewrcyR4uc02FiTW9G+mr/iiSsXzvhR4em7qiUacq
oHWBhVuzxrwJoLy9RCwut0yW3wfFQT6xgwTiOHRYj5Cbvx9tB3OW5Kbdh2bfwffaUPqlrwvjKqns
x57a3bIwEGP/VynQrza0DUEq+JYZutkOJibeNxo3rIx2C/r/ImdOEfZyOPYS4jgtkg8Hq5CkfP2R
CP6jnPj/mel+yY5/mTn//5gTU5SI/uvfeedJTvz8Xr5/zaGn3/8zH3adP1xknJM+MIAK6DaiEPRn
PuxYf8CPgUAGGdioD9jVf/LhKTX+K/+1yB8wjgddBxUGYMvhTPHvx/gb6e8HP/TzlQl8HyAzTDwR
IEyTS/vX7JeRpldjL3XEbLPoE0Tkosv2vjkKCieewQERyG8Kf0UqPMmqTwqVJYvWVLwKY6v0nypi
QkwqJokCwVPamm68LPeHAza840LTy6vtJUjZ3Utr0dSpwg6osGyb06Qbnz2v9/0QXiVwTBC0jdtV
X6qgKiLXg03kKkBcH799moa/3v9zun9y8Z2/7+weaqS04k6V9lEXjaCIbvgqWenIHbfDYhLRPIfp
PjverMAgjJhZHYqL0QTu6W46qIQCQxsO8EkMzb29PfN60+P/ajpnZa/GS4MqDShoclCqgzO0vkIW
gAbrKt508BRzCTjP50jw86v9n58U9GOcZJMW1ax4SqqWWFBe7CMBLnqbPVTOg+Rn5u0EoD8fBJvm
cy3ajNuxdIkH2+4OVUT2OCl6oTy6QmiDps5K7o3lZBUnL8b1ABXh8R56gOdF0k8A5ngMF8WbqceG
C+2JsJpoyr4ZuAc/HYiy10/wW7qzNxPB2Akgi0oxrw3cLs6uojl4ZVI0AC0P+HkYtwFpNPvEBTM7
kxZeG01K+hMlsN9NlC62OmcUP6+HgbFCbAjGObiXo2k65x+OnAGsDNW6qATRIszI6LBQjWZahG1e
WFsvzsS5gum8aANV0kkjAnZ08Bj0cT37OrNBLgrfUH0dtdBrG5bSsdp7JGG4WTn9UBprLZgmMuy7
eiRbWw2Nej6zaaYRPm0aaIyh/oB47OEpEAzd2RN0o8XxFAxSZgcXQK4EYhWwGF3Uxp6COmD9QNLw
zf6RQNBmc65MPds7J0PP9msBkKe0cgw9DNsqeeqCJhz761+/3ywmfIwBZquPkgmu2/CO+/qB07SN
CykIxUWPLvhGZ3rxTwdA4RRHlgPS+1TQmQ3Q0FFkA4DaoSl+QNgBwAYr+ucjoNrjTIciBOHmqsCN
3ULHj+P2yNQVfO8WtXBXvx7BnpWBptjlIZ+EcD9G8UA///qVmrism8y32yhBTzHb2qt8KR70oV71
EKKiEVAxyx49EroY19UxWDZLtdU7b416KUiVxq6J+Frt/8bWnwLbp8U5PdeUFJAJQmKiSDYrTyHr
LNMeIj9RsYWowx6nFcgsY1TfTOOeC+Wne9HzIYM1sWewE625IBbuT1mVdhjMREtVX4jAW8a43wwX
WWNBHD4Pf/3RZ6v/491wZGDlYDCEttm7OUHOAI6RTaRxfPBQZizHrQrFsGzdTQ957nQ8jW4ehL7w
fgSAfuBgZhsdYky27tumiexLfei3wSO0pQHtBcd5P31TFslreW+dCy8/mUHk/igzAp8BIP9JgPOG
sjK6somAnFubMCqKIXYycTLGe9Bxz+yUEwkMhFPg+KnvUtvFHM5FKBrbUi0KG3WUwUVsskVyFTA+
8SKAzmkAPs1EIWCX2S7A0GfiwAm+aD727PvyuLFzbN86Gt+mEArLkpdqN3EJmiURYXMDqoR5zo3+
9EieXhicLwqmJbjrcwJk7QdjnUEAL5JoZvhrGjWrcQX7qWts1R3uYP9uG/966Z4mzrNhp7X2qTlu
J4XZmAOGVQMUbNhrejEs68PEFi4vJqlBvS/2NISFkLPEzSvdEmj1TKAu+xluMZtfP8zZbzD78DQT
UmQaDzPx6wyAP9gS8NalsxhhLCBg7eMtcvCkfz3q7FzB7oVbHaga8AQGr+8kF0raPGF1K+sooW+O
8+ieFZA53a5fB5gdjl4LrTyfYABYQr7aKxql1/l9hYvHB87DXDTX8mV4tM9gAU7MMebvFXydWRir
+0U+YFhnLe9QgIfGKTVC7iLuirvJ1NV1FqUfes/nemRn3neOLoktI0AqjYH7+uhVTTRmT45z7xbs
3D49TSfxYZHmBei6eJPuwtc3NJLYqIiDgUwoTJS7fO0d1XYSBzjLWJm+1dfTaxoJkAoPibMFaYuv
I0kCx3FVTt/y2gtdnKl5FfZeWANsd0thZWYh6A487O+hrap2zoU6o8lzeqAhMoDGAfTl1Cma9zmh
Qa8C5VKMn6ot6nuhqavIotiCwc73vVCjdPTrXfGz5QMSIzocUzyyYQn49ZUrHAFQLcdeHBrQiUey
qG2IwPBnziYr5KvYpiHrAfE0spXOUOzT0EJ8luYY2sbNmUc5WVBIa+HoNGW32K1ov319FDcgjpO3
3oicZsL3KliSu8vkdmKIG+vqQ9IDxKszwegEuYQM2gbvCnoiLlqwwJp8HZWkbWpD4A5OA7sJTTxd
eNW13JZLdRSR8zwFJXhy1OGAg2k95U3n+IHzRUfQF8LXBxjeBCv+5MAdWyFYDKwNNjCQNuv0w9jS
PJu7/3SYSb1gSh1BRZydAFTIvjRst4xk5ockaSKhroKmX/So42rKIvTzI13zc+trPqnT2xHwqCcy
9WTrMktUid22I3Z2GbXFIrAha2u+lz2O+BRUlxxdCjsy1pMUP4B3526HJ9WM+dizqeUNtzlr8WWn
67cRwmNhnawYqKzVKr08d76cpBPz0WZhKrcyL0jLoIzK4kfvOis7fYk9cdSoLLdmhd5EsgHWZuVm
7V0PlNzYwVJXuas4K88cCdNrfY5i04PAVhmM8gB8TDSsv67oxBWsBFKvjMToAx4GlOHIV2f26jxS
zceYnToZDF6quDLLKK6D66pDmXmAbXlh43/DgRVe2KO/WY+LEYny6KhlajlLklRbyiCLUtbrgZoR
E+3a9M86qp++PjJ0cNNwSwePy50v9AZ0W8krlO2naxEFFnGiMDtXwTG7+TO5ss5879OdhRb4Bwnp
oxo6x3GQyusT4VryI2Pm4L62wLFCqnZ75pvP73xAHHweZ64AW1RVTEHVEYiP6YULx1KAOUPjOMWn
OvoPROQLQuRL8fH0Q2I81BkgiQPmMgFy4UvO6BdB56mWyGjYBU/sJolg4rNLQSnxygUuHyAXnr0O
THvk69IFpXAy1wO8Cfee+d0cwZH5iaObCNV/H70YGIS3OAbgy1rhPSfXqXR1/f3Mdz0NUV8HnW5E
n3JjV/lGmo4B2mxH44k8ZNA0NaKyP2YQI5o4/W7x0AdR8HA+Jp+Ag6cphR8eSoH4fwA6Z9ExtbnB
k8AF2R0RCiD/fbJQ4SSON9mVTBrSIJfszmtAnNC15+NOU//plYEdEXnvUYlDb9KznBQuYLkdnZf6
Psn1Ca6SU9I2WQxC5nS+iEotpSedEVGxtkMDdusCTXgSi5VunzxZh6YpI6/udrIXy8DsVjaEX4k3
hu0wblLmR25yVk7rJHZNj4RDH8sL5xHo6l9fPs5NQ8UEsSu4LX84sImxv90NF/3GWaiD9VBfiDsS
TkJe/3x1E6SVCMxIMzAyDB6/Djw0tj+qPkc8OtD1RKzJnv7U+2iWXYldnC/OMy1+MgFfB52tbp/2
gDv5GHTyzS6XaM8jUkNSF9Lak+BBHHaXE0/Y0mcduz9yxy+7mUAdCnsZ3CUKBtP8Q7t9puoCDuTo
JrhP6UX66ryQI1nbTw7qlcZFjQ7KTQ2NZB5E+VOy/MdcHpRMgOFCIQP1MQtucrOJLgdr6IjC+PHR
e7IOHGRlHFgH57KFknC2d/bd3joTpE8C2DQkFEEmIaWp/Deb4tJMfd/QKP0FMA+wJOA296W6/XXA
+ukYEGpERMZBBy7212VErdGhpaIoLxrGfU7bvTU4b8icz5BnTnQrPj7fp3FmQQIOVQHhEFQPJxHN
7gPzTS/VtjmeV+Y490qzmcJxXTiywWeLqywsu2s0vMdzXs0nxxmmBo6xkCuDpBAW5GyMJuZZIaep
SR0edjA9qSEe9uuZ+fg35iv+8xizJNvLWKPg0OGHekWX4yVKk/2iuZoILhdTFuKxkG/Ewd0lF9mN
unN36Dau6ohszrO957OHOjoUrE1UhyEm7EEgYLZK0tHRnULWErIqYhsLqgDmtk0BKZ12+9mWz+zj
/jUaghrSTjjkzLHCftfIAlwiP1TLojRBnfvz2E5UE+b5IVFQVskX5wWFZ0f3n8MC8Qn9KTQM8LZf
t4IstCG7rMOFpvoes3cpIHjg2qGnzDMzO78nz0eaSz8y6HQrVmNmJyeteAcDbHBqbbQq602BTh6g
MR2wUctztbKfflfEEkRQqGhAnvjrC0JKLQgMjj04kh8dvxdqfWbFTgHp04r9872QVoLr8IEsn9Xi
EDyDigetH2ZbM8qhq+egEEqW42oiARrIRZLF0EX0++RmY9v7f95z/vMJ0ImF2zFKHyc3RO1Ju4RP
Pa4qaTihu/vHDhU0XA/Vtr9PUW15/vUr/3wqPw04i2usGfM+67FokF72+3FhhRZ4tWhzO0gAdzUu
+HoF9dDo18P+dCY/jToLPyOBSDlL8KFl+2h0GdboOXnSn20G7L5JvAKJBhpDX9eK1kMgXQOSpBXx
IsMvlrVyHzMY0RlcXP/6ZX4WXTAIcBjArsMWa956KQoPhqIQwQnpUSOR6Y7O1dsYTX6053qOP5su
CwUalITQdglOCrfIzfFmlPkhuskk/FORKveXk8pJswQd6d6H3t3iXPFg+lizffFl1Nkl2kvtwjKn
Lqt7WUMb29+y7XD4G/nxtL9+Nc5s0opBy6TL9LQY5ZYiL2LDTq39hViDDZTeW2jZAdh8L7q/Qfid
FVannff5HecV3KCuxmxw8I4wHyoAo1VuxKE5AQJqfswsfuizbi3T4S4Vxq7s/2EaczL6LFUaENFp
APQNQIbgzBGxgXTRIq6c1a+X6slEojsIAhnWDaqcWKuzAMetmggLuEcEOGAPN5O2xfRJzy7TKY/+
MpFQO8IahZofiqmTWerX3ecNOhvtjNCwOEzVS6ggbOJV9kBXCCiReUaA7mSrf7RYkcNM1geQFpt9
O9YAfsuTyoVZFa7lbr7SA/CtCryYID6jZ3T6/eAOQJHUwqDig3rw9b0SZrPR4RkNy0xe5/IiFYC1
ZFa1VAF9ZFmwEHF6cMZzGcXJvkAtBXkEsjUotvnO/K6UBE7L6wS1aDk6w4KlSbdOi7bd2A28/kQv
greE1O6ZGD27GYLBgdQdunCIaThtTyJooHvA5WkL7IFbLWHPEXFA3kX9mLMnWd5w3zmTVZxO45fx
5klFoWQu2lxTVOjkYoxDBfp1fCmH119vgXlpcv5ec82molNpqRnGSQ7Ozon0ZXk9FVVQubuzl/ni
b9iXn3uzabd8KjDUKnASh2JEF5DzkECjDWqWewS1ZQwcwKK4ULj9QpiuD89745wbe5b5Gl6nAy0x
iy3x29AgCupUkomQyEqu7DzVZ2YRy+N0tWLz4xx04M2Fzs0ck2NKhCDm5jTUjIxvAucY7vKDtNPL
jN/I5MYPajBZ/PXgxHpb6mLjpca+Td1bMdo3XiZQJA0EjbhTAgWviwtHW9+aMt/53VBGvp6Ifhm5
rtCW8VgDhkqNQoHT7AMXFoBomaCCH2eXQO6thtaNdGUuwOzZq6y6LlX6Ar30ZJmUgbVI/ODCVvHz
YItuQSq2ocB4p8EADBEdrjxzYMtYmuXWJwwXZIO/Q9KeLZ3Yu69g0RlZMCOIoFp646dDCQS4uoZy
QHyUgt5WqeEWsPJQKltR5hUXRu8kzaWSbTqsZCtIEAocI3esoRQ6p4YBoWGngcTBMAR6JQsPDo2j
T1ZkSDuNj9EzFCmIjzwp8f34QOsi+Rb4IFSWLEa1pO+Dpda93BWUix3cUrIlNbkB9THYc5m4GEWx
MOONPZj6LeNAaBtOpS6hdNRdGmZB1jRmGUDUeQnDhsQRbUiGAVQmVFL8JW3NOHKdgV56+YPVmu1N
3gzWQvuNvMldyJjSAcrPkh8ktcOsziiw3U0DySs7hmBYXlzEXjP2UaE7eghicIXRgCjdUTxU7fSH
lqj441CX5ltlWB5k+OrEaZ/iRAXg2yZO3ig0b1MGpkvXCANNv6DKahcIeEUh+RuNRmnV39Pc6NI2
tHhVuUk0FqWujLARZWIKrA43zeiqLYjQx7IvXXkIkiq3bznYYcVLNQoH31aJILnyOa816Bq9wKEo
xiwF4MHWC6VyBaXRvPQBERiNFGdM4SVDHsWtW4kXFlCVLKvGSuUzG6saRTrINVoLyzNyyMBZUALe
xtBqraE3iQKyK0Pmmqp5GDu3h9+fm0jQxOgwtnd17II3BB+I2AHEe8hylfX7LobxW7XwKQD3h1ZX
LrzWKAdXwExSV783bRpbISmSxAiZqbVGS8kcOiRK0ncADa8MG3rI2vLLi6ApQKEIAeQ3YzuC0E5M
5M6vYD3xg8RY6CyC+42UEKLw00otYsDZGaDspCJluxgB4B/gTRgMVuYMYxh7nhjNLCTjGMNza5Lm
rmgoPauhV1YnKfhWFpdJcm90cUmr9ZglTaAXXOdtUT4Ulcg9DQJdFedvfWekjozKpnHKDcgwNSSZ
Gu1DvjxVRYBGc2tjVRnar98TkL32/QCC51Y0RV0eq8zs7AXae7W9gTCsgwx8wC6DVkhVFtkVydHo
A+I51vpB2HX5RnzmV5Fjt6AfELhqPbka/qsPrtXY8g5LAf0qox2raiGSIO1X7shTsui6xIaAVQrb
LVZ7RhEFIlf7jA+QpxwLCIwuNZhICD3M93YtavZQZ8Z1JnU5ypiV7y+GxnpV2iQ3jWXAvQvr7CBH
n++kDfVJhsUXxUlnRTVrH73MMSKrG9Wiyao4TLzU2dAiV5EECWJhQNT+WimPhCglXCSDzbB08UC1
hAtZYZVVhCKZXFSQS3kfghJVTtTNIGYcoGebq3HXoxAcerSG6yw2d0Qw+0dnrPtQ6o6EZeMEK974
hRVVJLZX2It3A+hae0w5uWp1kx28QbhhV5hmJPqu2CSgFEUqc4IFlj9S11z1Uezl+8yEbShSaNB5
QifvcwTglAaRR/IKTIeCfCstijKaa6H2kiS5CF13kLumduBjjEZapERDo6xmdsSBPA3LNLPXgtRx
REfo7a0FvEojL+DOngFZuKgg5Xd0Kg1Qnd/UYa+9XWzRFSvjvWXXKuKl3llKGlDjoA+VkR5tZe8m
Gl07pkDIao0F4WFr04gNb57bLgeHRrnU3+3MXnlge4FqsygZ/Lo9si7bbFlJoAeFuyhwnFTpq5VJ
nGrpS8+FEZKc3JZxuwYvBVZt47qRbAFnoeXYx2Y4aLIvzZwe0kRWEZCXoeiaqKjRuGLjndeYGbz4
6kcI1gK7x3qgzpwKGkeiQoqZbctBL5Frg6cH9hlTXhpaEjDxoSsg8DeO6CrqbyMH8ciHP6vBw6z3
7tA8iAzH3Ogh3fraHheInuim9OSuEa+xZ0UETFB83n2DfaTckkcOZ/einjhB716uu4i18H/0veqa
6iELswBqkxBEBpCxs0twamAfiMwV4p527L3khvcubNou9EjiQ8PLAGEkR3csTS/szsjDCewVNhQS
PimOlEWmOV/kyqvDprW3FXQfDRCcI1EXbUQ7KjbUa419IpIYsYC/VrS8s+G6iSOgW7u8LpYoKt8O
rb9sBvgZNl16lbMuW6eOKxC7i9sSRJwQcv53RsnzJ0MJd4mIgVG6kV81jm3sB5oEx9FOgqhTfbmu
C0ReLeNyH7v+TWbTJ7SrBmCp4UPX0zXQstdexdfeKK/sWL8nUCMJU2HiOOfShJsyqPeSFveFaHFN
hCRnUjffPD5ALExzuJTr6opXHS4N+q1VprmkVDWRV5ZBlKXWs1sly8wTdwbMRWtP+VsXagMdQPKt
3T9bLli8jW+CuompNsrqhjZ8mQjoBLnkOkvqCCp86cocKRjzhUEWIywpQkGcu7qd9KSyMo9SAM2i
kWTiCtKYKC85hbUgcWOEAyfetQvdjdAc+YWqgzgaS6EWrbKKm0kDO8yaIl8FRgIXZTvRmFD2o8pV
shBOXkDztIR9GQScwkAJe50z+wV+Q0jDmLzBDr2F+TTKWTWgJAaNvBaHMzXKo3Y6EtUJu7Oy5BuB
d49lm+tJHT4sjHLnZP7Gb+VG5eXRK9nOQKYTdXBYjgIm7GXK6Jtr8XtLVXmkObMit3fRNgRT5TJX
AVl1g6k2lBmHOunvkUfgHl/i+1JS1nu7V9WVnWW70nfvwLdbk1YhYzLTsGLsymbmS9rot6YtloM/
Ivr1W7g+7ttMrptARfgXlsJRryOyNEixIGGwI8X1j6ZKt13iADKUTKaMGnu0Dq5QJ/2gwcG9nb1Z
xsAjiRbMSNL7LDff2gYxwIBkf0/pJS/sa+nIZwh5HhuZ73uzvqwLbI6CoiHpmVVUDjaqPt3tqNq7
2DcubVlcgZLzEGfDY11rdL0bH3p0jL70tF44VKLeTYMYtGfn2S7MdSGQ4fbUNEIDHa4y4yKqRQXK
Z1Xctr0BSpm5rZs+rKA5Egc5TGI5oJlDWoGynW9aUaiDYA5iRMvMbeWnak2I9dza3hPlXrNw+/Ei
KfR70eZXcT9UYSO7JwbGBfysRjeME7dBQsGunNg6iLG6Qpl+z7l4rbwA2BfRuYdsDJ6aBEDLtrxw
eNWEjSHjRZJ692k9XDUmwp3yBuBCy3QZMASg3kz6qHfoiGTXQzWMdBD25qRZScvE/T+1n7NsgJGA
wa5Mwzh2DRZpFfB6hccq12j1F5dl0uGmohR0zzPSr/wAgoJdBdPcrq3ZsqTFnRPIO0QSf9XxTi5K
2kHhF9llF0cBkT40D/mQbUTM6drQDbsoEhtwDiz6RVPX0HARBsa0UlwrXPkIkV4RDiaIfEkLtReP
hop/K5MCclTDdN1JnR2o9vdD4S/cTB+UZTzkKHlHbWIby05YKPMx91vc4X6Bpu73hDe4ufb2sAFz
G+UyQlddB/QQcfMddOTkc9sBzQZEdRBK5KjruktRDDWyULdiuJeBD5t7B3kDEfDPYDn4wr3nH0vf
eHIhfbAxhMU3cWG9+Zbemg2579vsFpYvw6FX/4ez89qR3FjC9BMRoDe3NFXV3kyPvSHG0nvPp9+P
c3b3dLGIoo4ECBIgYaIymSYy4jewS2TB/6xlxtdxnD25Fz7r2fjaVvmDHnTokUgAX5JIOZq6dC9r
7e/IiCF6FyPgseB7CrearTQEHjTG2VUwKLEjUbpPpuab2sKHTQsBrFudckdadeQi2tXYSpDyECiC
G7VJ/3SmEGJgXP4xZPPk62HiVDDG7TJUXv1e/ZK2unZU48qT0/jJKK3J1moDF9oCAIEhtLeDVR6K
IK6OftT4TjRJX8tGb+4aUapcTOy+xXMUHSnAPpkJ/tKBUNeOruYPxjC/zP1seWbV3sex8avS83uj
lT5aaf8UG/6NLE13ddb+VlLgY3i6iRiOlU9+75901fQUJXpua+VWaY0f1qA/iVXW26WSvk4yFsMB
YhQ3aAX4mp1ZVYujDu9aO6p79PAQi/0SRNO3TjAkL8vQ+GVQB1/uBLfp2hMnqmLnQjqhlVAjNZGM
p6Bu74Y5uGXpfkhl/1VpwqOW5iHC0ckHjXuMBa8+WkLzKFhj7SHDOL8IIVjZXhO+diPNcCFK52Mz
Sspra9XZbavnIMci4Pc954iaFw/SyMFKE+MmlZUPfcnjxRwSW8ysWyxZTrFv3SzJAe7pieHwUPoV
VunBiFqBYCISknAkv1fR1MD5HRRv7iQ0W5Oo88Yh4+wxNZbpNH4U+gwPykx/TcGmPDW5r5/a2eBO
KlEdK4TvVaV+H3zNnTTjY9cnD3Ijl3dJP0JHqObIlSfNkcr5hszyZtLUu7SqP8ZSrR4VsXmDOay5
YwWtEWnEQyijBaDh2mRLeq7jCdIemiy6iSLT+pQnIof9YKlo+ht17aEU2DqdoQluEQ/9R10dNbeP
kMYHCyoOH6Ko0R5HUQyfAlQZ7ho1b+5GSMORo1RGA7jDKJ0w1yNU2U0p+aUpTfqqdkpr2WQ4phPF
peoxh5959R5TRf+qqWPvJvPQHq2RAonZBk8alHJfmiPbb6K3RlMLdPOU1DV69Ih0s/k+KsUzHjye
lKROm/c3oTHAP+b3d4J66qMgcPMwuRWawLXM8FSksTe2FGnFxrHyWLRHoX4Rs/ymo9g+BvV8Z2Xt
mzhXtzGcdozXc5v3pNsb0idana9KwWO++m3I04Hr2xGnBiEBxKiVuz7tXRwOvSzSEO0Q6TS30O/C
6h5JJ3si4JQdgmnw6vopUOoPJSLZafkyNu2hNfwD3wZfu1td90YjdA35U6uQqIq8f4s2dig1FU6n
JyPQSeO3lLeJW1gQFgLxrgizr5IUeRqNtIZEGPjukPefWgmVyVjzAit70xM0l+fOsRhyWPu2ZkwP
RVC8jmPBBqXWGUReyltA6h593/iUxbWTdigTTf2LFH4fqpMwL4Lvh0YMvKD4PQVIZ1g3BnoL9eCj
Edv7P4QCxYy4sk5+nT3OJXCmenyVWstB4OMJ6rnbD/VDKUrZ/TSW5Fl1lpUPmAiqLmOIXL3jgDRA
ED75cVlTH7JK4YSgcHFTpuSlfpg3rhFPn8zReAZG9FSaFMe0bL7jPo7esiRo7FAIJdqzAn3aNJhs
tRyeck19NmKwBV2d34iB6fmjdSrN6KuUVm+RNH5q0Ey3w2z6zSw8xtaUvoqk70dREn5YoXpXhdzt
AjImUua/+jKuxj2O2ORJpPHpSzeZDcVGo3XMqTHu8nRqH6rOmBxfSL+mfn9HSebQJKGX5H12gmZN
gVmWJ1ju4udhpL2aqdlnzgiTnzeGdq0g0tw0xyBRn8d8duhE4SbOp3OrwCA38KPx05A0mZvFM+K4
nfg26fn0DL2DRNuXashePRBrGzS9bnHPm0jkJJKiadwHE0T7UvpuVmPJ47V9xc6jdfuWAjs/x+dJ
DXdR0RAdbwwPyyzL52qQHiYkEqyTERpOlfHIG/THEQb/kEr3IWITsvIoRdUNbw3Ebk79kB78zHB7
6FF2Eo8PumKcsilMbdUcjlMjPyPDw3QNkjta9LWj3qXYdTugOJPj0p5WE7oMYewOKbswnec7tQxe
C1ZCkuT3olzd4luLDI36nHAgWqRvmRh7qlzA/6Q978W+8aFOh5dCC313KI9J1xziiKVaKG7bf9Km
30n0LVMkxCHRqKxey+a5yZKbRhN/hDLMlyQ+DcME+D782Ev1I3cdPi1IBxkHQXjTC6/pglNaGM6U
/hkaxJR+V/p3IE48N2IvH6enLD+lsemNsXU7o/5N5kS9N3SK4b5C7dUYi9lB2dkbS3ZJ1guO5ivP
yBmUNvfUr2IApYFQjHSquuGuHB/H9Nso667E9m39AayW/HsarUc1tb614jHDVNeuxkM6lAephdLe
CArsJfHYRJEIP+2UTIgHG0eIKakTF9mtX46drZkP7BVXrl/nEL0gOYMhIvBKO1SogXRS41ptfOQn
zupPWT4ITXU7huIjhTrIdaNHJYE/krp+9b0S6h8VWZuafjbK9F4WZZSFWqCaBcpNsFD5QeZIWjNy
OCefNf+n3uoIcmSF00hsmKAw3Niy7DxFwYhUJ5ZCKuBxcisLX3s5sM30zeTyDP3uRZaw2zTKu76p
jtMcPUdCcpJiTnNER0aqIKn2VvG/JMOvKoveIqp00QR1YxEHCsZjLuEIboYJWkP3UeB10+QppsSF
zGWaTE4kdU9Bqnlx3rqVed/3r1LFq/JoVHejzm4MhN+C8SefLR5zD3l505uzk82Bx3EalAK5tX9s
G+FAfZ4jqeIObk0eGFmfzzdDRCXB71QHRRO7GYsPytQeKCHZdLJ4QHPORqY7JNWjkZBJl5g61YIz
+qY3jelDlJFucTWUHe49svgp7n6iVeIo4W0zCtSPqHX5QOuMCC0OzUubwTMsg29qHOraQqQcl0I8
/MTh2Uy4SgD9F81dXtO7E/6ggXiM5puonCnGtUgjyK8hqUeO4hDW7SxapF0satzjjykVvTYBKGGB
V0SRrtHpvvUUtKfoDjtBh/LTaV7shfhjlKC3I0lAjTQLKBPOlW34PJEoBflW+5gquIpn0KGSu7TU
o8dMsLJnLTLqIzqnJulwn7ooI+k3VTqqDn2WQUAWUhd/qT7I0pOhT+MzJdE0OCr+LzmIfxSdrkt2
hxnsj55U5FiaabVjjLzZScIzA8PXxTZjjeYTLCmYEznTbVEXDyoJhY7hnWOm2a9SDIudNtIKA/ef
Jh16rjz4QTsg83beMqtMEW+qiB4S0gE3JVJRFSav89v1VqC8NN7O29S0HC0F4W0DDrm+BmplAT5V
XUCKodkIrEWO6A3H4rcE28n6onqRBzMDpyjhwQD4XMlO909kJjan9b+/4S86+V1zUJWKfmj0kgs3
18T7uRD62oYqHxx5YOPbkWXqDq/qAnujYZ9NWx56zYKNWcuG6FmG04sx63Y9WYcJb72w3emSX6JU
Vh35FY+qzg0xFadUswNTwJqNpsmpGtLnulTN3xGgwB+d8gwSQf2Vylb8KDZyfWwaP3UEP0M3SZhO
dZmIblTwaL7+xS8ne2mk8yJELVhmHlb4hzQWEn9UBM2ek9itgf/O/aPATY/g7E6kjVlGZUI0MOEz
dOi8K4QTLBPqWqXJS67+HsyftX4PdHS5dhnKuwDLUN+tm1BvhkhpCSCczGNyCm4TpzsYC33oHwCA
LrfjebD1vPmWMeZ0e6kIvWnzH8Hy8lze2fIXao6Lfs77Ea1QRlXU00VtCNLjJCLnLtcdGg6h4UpO
68A/Ftp9FPqCDTk/Ac5jroAqlEH6GbaHRlnFVW/FhxjGW2841jE9/QPzu6XZfhFNXbR/dAsG7hoW
U4CVCQsZQ3DxOB8Ql1ssLqlJNLZ1BGvnTD/0HWjM5ipEN1PBvmlBvq5WoVBBTgw6neLbYOGrZJ5S
csTrW+qy288MvguxWodpWkDmQpnADnrE1eY64Lqcxw8QZpAma62jZkXH6xE3EBznIVerMeuarMlz
UvjF7agI7OIRMRlMXluPmkkOhiM/hv8upgqkCTKOjN3M+XabhbKZ5OE/i7NzJq87kkQInvih4xF5
IjsHOcIzeweDs2btcQ8yVNCufDq0M+Q1zSkplDbyIYpyQw0ehXMnuEVJ5dZHN3467eH1tyf2XbQV
kgroXWSqE9H8h+px/LAsztLzP1Bdd3g1ud3nPRyovAWoej++5ZR7d4p1wCOKdCn6L7B69YW/veQb
GsbP483f6Cfj0T+1nm+LbnobYCI+/uzuOuzc5FN9u4+/vTznIOcsCuu4Ki7OjasJkPuO2wnuhB34
OtKHcyXGwwOir7FxM0IO0087K/ly+AraEtC56R1K4gUMX9BbbRgELv+RQig02/FkDrd0zLDU6b3F
HFBxxqN4CqG5xUfY+h74gZ2fcHkmnf+E1f6tKS9alGNIB36i2+MfM285A0W0PXEOzw5m7OxSfy5P
JUIuskiGzqSBqj7/6GZdjhMn75J2qSHCfU8odKZu+mGh8I2oYlIje/yfta7+ppTvo66WWha2dZCg
jWaHGi9UHoFmdYO0tXd9PrfGhhQNyigc8igjraII+BGUXYkA04JkdVTqTrbY6DtBtpYpK8YEYwlA
D/7W+QSWyliRJQEoS6IaRun3koeG0D9cH8lekNXCSCs1S7uZIFJT3IvJ76RFErX/eT3IxgGnwPTG
pdWAGU3ZZTWUDtXJLgyJQgn2NGt/dz2qsCz8ouIcD2Z3J+Dljb8ExHINuDbZmbgK6HdhPdQKH8jI
I3FwDGX2YzQyxYCWxUibzUUfPxSdaFQHxOWiSckc7KZIl1MKVj8UKds7BJZ5PE8KECSDCrdwVIxF
0Pr8Y2ZaMllS3MDrl+JnNVJ+mm33oFQa8IpgJzFfU3KWPYCSgyFqKJFh1LyG5lHYnWVzUWNWj/WN
Fh4zmkOqE4iUoqgbAtOiz+3i5cdlCnCgQcXZNhFp7k4iPvG5Q23g577v8caWOftRq7yvR3TVrw26
cAJ9tAZEh9bt+VhuLDP0TmCVLvVEzun1wa4Y1WClNQctRQCcM3Ig5Yb3s7gpWGO7/r+XS4xgpo4o
EohdrF5XSSVtyrA1SoLVyJFFdzQzFou07EY/pOOuU9XlNj0LtjYWr9VwjmmmoYDW3ZpIMyPBq0f/
89MfZh22GDI6a5idrjXsTNE31ERBUTnTcUKaqgdNehwn62lWNe/69lyLBbJCdRW8DSBnGQkIcf2h
gkAe2qGhyuB/i77ntI5fLBvTNbCydPhIDL5WruUZL9GzX9j0Bg/QqF7C33v6BX/95M43JaxrGVlN
Mj34I2vxkVkItZFiBzwcfX4Szeypx3iKondxh0jSExDE+SUdZbRvgZF5aqcdQlG5Q80kofw2poCi
qO2jtPkV9+lfqFY+h6NxE4zBBwkkDt0l1KgNuvmnaiqi51C3fl+fxcsdtfx6Zalpc9ZdpDGmnvqt
bhasiaL1hLE+tE23U0XY3FFQzcheVDbVBcRfHmdZiNMcTgiZqeTCjTrUd91hyRkonO28Y1BGXR+S
jIj7jg+y2HCsixaSEk/VLMGPiApmd0D4y5+hxMtg/gESUnmUre4tKdvnMtMcK5HssqacgJJViC45
x0lUo9It/4iM7N5QP0rijVp2doU+uqXREEUF24iaQ6PrB32OH6h5P6ZiEDh6OXy3hvTGaJu9xP6C
bsI6fz+g5RO+S3wrY2hLoZ0WIk/1SP/pkBwXer16t6eUsCYe/91R7yOt7pchL/vM4ulijx0QHCW6
CUMACc0XMt2HAEnpuHorgDLGSntr6D/z/LlIP1pxwXkPjtiC6lDHbqPQ94vLexqcOw+ry+NruY45
VywVtgjy8OfzkEddrGTUwm1J/BwV95n5U5Q+Xt8NG+Uo6iRUERduFjbp1jrfHMVqkcMFa4GQa/tc
P3cfI2RruQFab/Zi3TWKfyAZsbxCz48QosLVkFXkdDjQVlHHTh6Bw3KDxvTv2+6T0mfHSb6X8t+j
uCd8tTWLlE40JAVIOi9qem0bxOEI9Jwic0FLxbIH/7ve7tFQ9qKsvhW3zAgOnih6p90BtXkU0/ij
1kov17/XdkKEvDZ0HgVNiNX1mWVxAgiXhKip73uldawupkWd3Rral+uB1soPf58EFsoa/zfS+nUt
RLOGbiKR6HadQi08RF3xEWJmaCPcfhIr40mvzO9Jlf3o8A24HnzzjH53oq3Sa0A4eoivAKZ+uBa1
/a/ZTA7XI2wf0XAfMUdB4Rn1zfO91el4gmQiZ8xSUCtKxzIWGQ8Pr4yDNKFlt7c+Llc8Z9q7eKu3
jy40TSg1FWKipnFnBc29WN+oGAdkUHla+cP10V0uxvNgy7v23QHaT8vLKOWOU/h0RffYCcIP4Op7
c7j5md6NabXmdbUtIlXi9KQz/Fc2CaMN5ceiSbIkj632D4qt0pLwnp8c50Nbhv5uaBM2IFM9LUML
sLyGV3GfNl5+o3rQSdyo8cwP6Z3a2cZR/gfSgH/pcteirxZmRMdB6+ni2+OBZp7ulZXbPNJ5u9cO
QLLE70PvgrwB+eAu5EGUF9Turr5t3voX4zZEVSiAivHQvoBHUu/+Zwa4puuLFo5CDko5c11V74Wi
KkcDrJjYf9e0mS79nkbX1nV5FmI1fDWTzBTx5P/kNaJXObmMUEbizMOfEUsQKtKjox6yQyM52fAn
fcin4y59cmNtL1Z7IMIoFF/KcocTaMOqYmoXzZ8Bz0+LF4uCHBtGy7fCrSjemz/+gSTLRpJ1Fna1
fyHTQKKYEYVYaP2S2zgRtVxnEZzrj5gVedc38DKRq3W2MMC5mHmIcnEtp8m7Va4OTZdJhQxDW/Ud
HyBVTl+mwuYBIMn1SGvZlyUFIhTPXRlQJDWG1VlRFwgnt4G5zCfgq4jn75/QAULq1V7W8+z0lNvZ
+ydSEBunx1ng1elRWEkDt4EPqTTjd6NJwBTw7HF3hrexXM6irM6LPKWFZ0IhJpcMzVMJ9igoEFNd
zvrWS4OXDGMSvaBouq+qvjlAxIPo/SzyC+uXIYJNkV5nzKyQjndir3rQRHa+3uboFJ4a6pJMUfQ6
XydFWveBhciMXejZQTdoq9elPZTj3km/kZEbDEQxCLLoKK8WSWRCfjIDcEeYfN5rpxEZqOxtKXvv
HWKXegEsx/eRVqsCNkWtiIK/3Mv5W4f4UOklyCz9u8YdtQ4DsSlcKTQR3YzzyavbZsy5vaheNV/m
Cnhs9sEPvl5ffxsf6CzG6sT0BQv69QQMRqx+5vNDI9Q2FYOdVbB85dVpcRZkdVpYaTtlU8tArFZ6
SIzFbuf3DHyt1U5l9thF/KumOtcHthdzVZgC+DwEHBtMnvoLlKk75U9GEyJpWKCCOrqaXtty03vX
g26tDlPWaIosbXhkC1cjhXk2zQ2aPXYaf6uR4tTl3qkWmapqPsnZ5FmwY0pqDJL6IUx3JVCXVX4+
zxRFqR3IICOA/K6jS8iBiZkS84JwGJ5xmE/6X8ne6FlzRGyn95oBlzkjdWyTWw6FKHpd1mrXWR2+
UCa24GClm8c+lx/H9qQu1VDFir/K5ryzVjdyK2MR8ONdgWGBdsFqD9rJmCRhttjlgPZE3a3y/KC4
yW3mSK/mz0TJvcF4LYzXtrvHD8IJ3F0lrssz8+wnrInupUnJeWj4CY1HLbL+FJS+rXrzaZF5mVNb
wkotaB7S27204nKfwjNVRNAumFKzslbPgWkpeC2qM7YuosVsmU/Y3ZV2HAJN3FnC8uUiQmMMEAj2
NNTwLpQLO2uYW8S/7DyrdPmjZvjYJvV9Jtm+rASflQjUkj7OWLy3Y9B6AZd2fKcbQRO5gyXXsy3T
F9xN5S+3MzVFbIVxuOKYR5ni/Cwc4WFi2pD6dpk680FElaJQ7eaj9WORkkd1AyQYCW3sWa74aj6O
z9cnZaOkeB5+mbR3+U5hzfqgRpnPyhPzo+QmaLxh9cJdc1gEqVAmhXEMpeptgXAsRjPwlaobRLFO
e9XNjU1w/lNWm44251xQRINW9wl+3U2T2tV38VP/BpX1hB5BcwAq63+Y3NT7B+pYlycMCBxuJIsy
BTqIf3sU7+YhF+eJMhKMlP/4wDRIgfWn3lZt8ZCehBth516/TDMXaxAauiprHyeLZVW8C9fHYj1V
NZTJ1uyyzC6FaPxW6WpygoMsQJOrlP89YcFUWVy6DWDlFivU84gRN27a9pjqScGrLli2Ib2VubKz
xzYOkbMgq9UkNjOGYhVBZnDHEONRzt2JsFGKX8YBKo4PpQA7XM3cFJtSWoyNZZsP8m1/H91Zdz2c
FsSGcO9xl3/+P/UY0R0fzAM9suywd2htjpPriFYxiC0OzvPJTMVhgN+XLBUt2qnZ13J+ub4vt05F
BJktuNDoMgJkOQ+Ar8RCqQE73KfiW9CIn9KivyVr36mXXy5DJvFdmFXOZ7VKWigmYTpLC5w8jL9F
kT6jZ5B9IXnaU2i7rCCcR1sG/W7RAzNNfb8vaJ00yiOKGg+4kaVuXwWoqUM4x0Ew9LrS/PQvpnIp
eeqAGS4VY/yWW35OGWNjcq9Yt2322+q+XY+xkR4xNABHy36mObNO03MqvabsEwR67XMG7q05DJH9
n6t6LznZ3gLYt+BXTBeItOx8HuVmbppAgEC7yJHjqwlXRrSr39SAVNU1XTgiN8UB4UzVTj7EnGAn
/0t60u+SxNmr8G7kSWBvDZXhoctDH/P8l2jqLCdZGMEPygQvib9UEGxnIXalZKQnYu00ijdKh+bS
jjfRKacMcZGW6YMRBtOowMWhLW98DvEgoXfqKl52mE57D6LLPU4wuD8LHkRGJHU1to5bschTboTZ
x4++h9+CKamfeNdXzkbz++zWW4dhSFqf+lzAxgd/tIfbGBg6cpCg775Iva2naKJHXoLi/Dw7pd1+
ih+hZUA50Yy/Cs+5s4d+2hr3+4RkBZOVu3goEarwyX0jZ2h/Dua8c/ktM3eezS/uXJoGvILe2YVF
oAr8DytYeAWLSX0vQLKezVNvltD8kTu2QseAFxj9uT7RW8MyEYehgoVgFfjX86Uaiz6yv75PUFyM
O+le7PYKOpeHKcNiUQJrpKhzAZmYWhQox7+yAPDNgsXp2Ho0rJdS7/fu8r1Iy39/d5CijIJDaR5B
DkOEY7GB4DSwsZ0Oosa9PmuX95CJeRt3HK8TDps1NCMupl6crJjFgGpGn/9Jc5jfmna8HuXyGKFN
xG0O5l3Hh2D9vBOyOoDHwb7O4Y150QzdU1dGBH2Ggu5UFFMc63bAAxsD4y1JpU/UycAuFHqjotTF
qGENmkoBq8OEuPeQm1L7oGpd6Vwf3kalD0UQk5cMNh74wa1zFinNtUEUFMhBDq6qqFmHLhTihFzF
cMRDZ57CU3qi5hgd9p51G2QCTksiL05tHNLrTEWoLT23VFRbluopPGsEW6BzYqZe0jmY3ep2kTIf
A3saDzw2kpPaA+JElUSw966tzVmgzEnzfzEQ0deiyEIwxips5uWnSIcFWxe6uuaMys04ufKH4oY3
7mkSIRodpuJf3BxLifX/x15Oh3c7RsrTcojwjrF139NwI+OZ5bsGVksHxBQhy5/2Gtxb64sTDq06
bg+gm6t026I/jWgTAaXhj5kpICcFO1G+7yysJZ9enaQM679RVvm2VCiGPw9ESW/aG/F3yAsNcopT
/QJt7BQ7yeLWAw1YJIVxHkhgw9ZPiKJmVJkxIoKHejCaccqhugVwT+U6OlXHzMHaMHSa5hTPNqrx
pz3rnY2OuXkWfz1aRCyU2l/iZ14oYBxhHHAEcPHxFvHUQ2THWzwP9qtBW3nHWeBVNl6MfdVJ0QTe
93YZafRQKk+lV9ykrNiwP2X/4goGwYIlr8hDR7+oj6b+EIhG3Pt2ZYAb0RsnyPeazFtH7vsQqysk
K8fI1zJCZH8moGf9r+53djScwa3t7rm6R1sOW7d9FfGNWxgBagkfHzCFKiT8831Y5SV4txSapDK3
H6a4+F408s7T6fKVwSqhRgh7iWYrTjrnIcxmNmIox7jhCQX+2Ygz07+BU1eiJd4nBu4YevwsVe2/
uFB0Y6mQGtQOL15sqVkkVQ8s3taK+DGvY9muhPT3FJq/ru/5rYOFMKCzkRFelEXPh1eX5qw3CBvZ
eWF99OVFFSxCWupfYBNNsl9QCH+vyYtGmKDGstXoBkfLvYlDS+IFt6XXfvqHriJb64JJg1W3mBBc
YMMqdZ5TfN19hGB+SAgA3cpOAxYGe9HkNpdexMNiQLT3it+aSqRLyTignC266OdTKeaBX/r8BWUy
eEF64Euoa14UxofrX2zz3CQjtDABXcqcFz3FKJgwvNM5Pl4a09Eh0lblbxNPvVNzFDg14YzklXlA
aYUWMgYq+yfY5kgNHLvA4eDatU5A5EAbVfRFfLuYIZRKmWUgUhLeNfWesdHW5jMNDYIIku98ydXm
U+opz3WR/R2ayU1uvU6YglG2EyrceNF5MoRP1+d2a93Ax9RxaAH1R4J6/gm7cmGmyumSximPbRfc
Z1awA4nZwONQqRPp8SkgTanUrs6sWvJL9MYo9mRzH7kA6IPFXDw/GHGeumWvfh/TOn2R8ZX4NURa
8xz2SIZcH+ZyGq/uebC7WEkgHo4J53oFFcguRqSxDDPXW3vSfMtN20x2zMRvbdnco0puzKoKMxet
C/A51ExWG6PMInVOdNothiqNiuMnfvjTr0WUGq4Pa+MSIgXnLQZbACOE9bAQsB5nMSAf5SG4iM1W
9SkpW8sF408NOgq/GoN4uh5ya2jk/Qu4aoG3r3OYNJ76Vg8pH05d/GNKklfuhZ0QG3uAaoFEMZla
66VF4RxKYYv1iGmnvMfo0hUi+xsBz+c469EbLITwTspaEKN6WKrSzpRujW9pFavULjYKUVFFD1kQ
6eJGloq60Nw+KWO0tyOW5HW9HBHqprvO4xDI/mqX6xgGFf5AUzpFsLv+sBAiU+ow6al+2DujN9hf
gBTfxVpm+13mjrajNvj93wa4dkBEs/g2dU/Wa+kN7oKp9XB0SBNvDzS2cWDCl2HH4a+F4+B6hIGC
kG4sLpKGdX9njs2DNsLoF/14byq3FouM7zuofLS0yR7OhxdKWoycJ223ipw6Le3+2ficM6OIDJCM
ZV+T3jHRJ08f1EfNvb4VNsf4LvQqBbQKNMa6v4dKrxtuY6AMWwq8/8oG5cF/EYoTDMdtnivU8M5H
aWVyKs4qFNNeCFOUkuUoT+4QMEI6rU8q7X/2D9cw9yEH1KjQU0Ne19SSakqmKKXWo+mju2hmzMaX
6wPa2mY8Ypd1Sa3sovApa5EmZBSbULdCJjYu0UnKpbfrMba+D6LUywMPQO5FRjnJtT72qUYBUtXQ
LUwGr0qkxjZwJbweaON2oef892VHgnBBAG41q55TDMdw12gFJ29C+CdtYwJ7bh/lMtl5i29MHSwn
XONp+lLrWffW63Hs0YBmLahCfKtpuWtiJnd9QH/bI6sDSuOZStWF9j2mQqv11ktGUCoxb4BcpagR
e2b40iJSFQWOFaOqEz8Y4Y9ZtO583fNVXK2RYtg5hzf2NezmhcrFLXrpACWNEc+7pUTHbhKdtq3g
jqgI54TTcBspyreyw53Wjw47A99YM5RV+YbY8PLGWhNVTISPkUEZBFoDwWmITn1oC40z/wiOuj25
/bcyvUP5dp+iutEAMc8Cy+c7fPDHLpcMAi9P5P+U5hc/GvwHdn0/tuoAxMIzjOt1AWCt0pN6rOKk
Cmesb+6Vm8HheeIp0g/BQyrjoHiB6IbKQdh1h9mcWhkwyFLRWTwPzkcoqoVRhvmESWll/Jim6imK
8xepyXZaSRubkTc/DwUeeRucEjH2uXcUBmdogfrY1UL1bAlfkINvX2srDX/uLJiNWjxZyoKS00gY
oBifjwot/NDME8Ih5Tt+TB71lzTF6HB5flUOxkKaozwYLyOCOIuF5T68c+M0oLtCL1ynKHDZ6BwK
rRWDsBbsMgkepjx5lvNqh6azNcT3IZaf8C6DUIM2DiYmkj3hH5VTf6o9LNKOe/2irQ+nLDYcrEse
Pmv+sFrjtdoZgs8dFzzFpYDeD1otSn0wUQrc+WrLblqdb2hy0cpAwIeW4zpBH83Qjzt0QxAMuu91
yS2Sl0T/XqgHcfoq4QAQZbGtTMqhF49CXOxF3/pm76Irqw4RKPCYDjHRvyCH5OFNfyycFjs1V3iQ
AIYY/elfpGPvx7s2Uxn7whfMIUJA3wzuci1+tPzmq5nJOxfh1sBUGLiYfS61sfV7pEL9X88ltIfr
6CPquty5P/7Fh3sfYZXNJnKuzWZJBPNB+bm8/5eqKe+6yc3cfXvFjfHwFudhBUYBnYZ1EXoqZEEr
Bc23JwWj9O5rrwY7MyZtbK6zEKtz34dhWMsptY2lJtwoD37ySxkeNdStXP0muyme/e4uL7w6Omkp
2rqn/uFfVTfOfsPqtjdLwF6pz2/oRc3VE9Sygu8D0r/Xv90GBn+pbFDco52ypOyrV89Yz34YW8zm
ogqx+ECN82RnkuDFP+dTW9z2Tu/JbvYkzV+m4dNIOp12bjB82mWLb3/W//6Q1SICzIAkUc8PQfEt
f6oQVHOQka5er4936+V1Nt7V1QDUv8nEjmlFlfSQeNVDHh3kry39haVINaEmRktjDyOyOTYNtQsS
eJFDdDXJkxxUfTBa1KWt9skvLC8L0p0PuZUd4jP53xir+at0X6taixjLmqWVgKzeIdKeF7NVEBtH
tX3Uupvrk7n87NWBfRZyNZeRXy+uspQaE+F+TvLHIqpv0xo111R0tejX9WDbm1IDViZio4kB1SpV
aaRKm9qI2m13295nnvTZeI1DZK88BPLc8KSfYF0pNrj7j8pN8bTX+tq4CA0wUXw/Cdz6BTxlsDBo
8iUuwhn/iBx2ThPLbxEqdeGk7rwlttJOYsGElsVFO+Di0k0R9ECpBFVg2dHxCS7wZesn8sCWevHe
LbSVeJKVyfT3F50uzGPPMwkeFFU8mtTe42wc0e8rtATN6jQ9UA8pjkOSWDdxohh3goLzS4hLjduP
eXBADl46DE36c8gz+fdcCsiJJnq/Mxcb+SnaHotwiwHH+gLg0GkJ8mk6FlWD9qVqgcTFgqftUoS3
Pq5ObekvjAJPytXSCsxcCtWMHpwovfXm6yhxEIr1Ide+Xl/Dm3EwhIPKvfSL1+fAHPD01Qf0b6s0
MU5+VuCAwYg+AQ8XXucSZcfr8bZ6fKzVBYiMJtWlChZ694mapnQgohArA8FHwDr/MA75qxKmkhf4
01PeiT9RopQcWN+L7Yn80Q8s+/rP2PqIUCIgIFHDW7iz5yvMVzN17gPq552QBJ9Z8Q267CL9OLEU
d67uzVDgzRE1IF29gKAOShMHitYvwOPexovAQeSnV6fD9QFtnefWf6OshSCUwYzFvCJKIgW1iOhx
ESGqM+ptvTNzGwuGjG3xpWfRmBd7s/anBOk8GB5WE+b36lS/dEmNY0kCW65qd1RotoJJIPrIqUgF
LupZQmA2Sp6AqhiVbnb7tBZvLVp+r7NqNZ3dqnW687E2phF1RI44BeaxdcE+Lo1EwEC4W/qmj4JU
u7lRudc/1FZ6A5MJ/3c04CjQ/B/Ormw5bhzZ/spEv3MuSXC9MTMPXGuTSqsl64VhWzL3Fdy//h6q
e+wqWCjedvRDh0sSUNgyE4mT57B1uZVS5YpSAfU/2CpC01BzprfxvoZBTRddTckSZTzrQyLYMQBH
755W8SFLmMb4yLMvwISSSiN2g0HxBaSj4Rc3Nd7/ADi/z7fLzXPaB+7lAX+QoTHgN/CfQUyUBDDG
XI0EIwplAO+g6hEeErUK7A4SLBBHJtphSiq6UbBLt2kmjys9f2RrDHCVLgUPsKC/vHbSCD4bDAjw
WpvZG7fzxrSJr/uLvPx6uuTDvYospa5qwL/gTe7cpES5oEmCAqfV6oYbaW9Tn9opclINnh0vz+gH
QY6BhJcO+CuAy8ian/ekQ72MlMKEOLwsdV8MxWtTqq7CsmpB5lPqlhr8beVLPNoCnWYChq0CcsfC
pAUym3mejroFSXcRZBHgqZ81N6Gi/pyiEMrrw5wcoYvSQPFpqtfeyJfxnG3Y997BDmksXLC/JIHD
ZM7kyOx0SJUnhTcIoICum6rwJL00t5en9tc35KUvQNXA2wmuEZWlH4iTMU3ByaRbyguEGKYclbC4
0vnyw2iru+a7+VhtOkfBS8HwVVzD3H84zp99s4QEIPfNerNE3zUR8DaP1yUoiQDT1MuTtJJb+GWz
LsPEwxXQoWShCGCucrEx4t4tDDpwAPKGxslWlrPXupJBO7V2Dfhlty5dYb++q7MiXFp+fpIWCuch
EWuKUaUpZlSU5xcBGleWoY7XtM1vk4G+rqzhYsB+2S94/UD+bvFRbHK2jWgWmahJBDmNaBMPMAB7
3OtgPiBucruWjlrM16XOGGsqKzF2YYejkZFPMRi1kKt2pyi3iVFakNcGf4VoJfG8sn6/GNVlUk+G
yKyfjnSDMAroddDAZaKI20ptt0MHviS1fU0r5ZEmjXt5Wj/aneZSdS+DeA6P44wdnxLwP+v1rFtE
a/dJED+3k/hWD8qKB/6wmwUCAAeJHB+7XbrZCBURhgXgs9QZq/gBlMBuKsd/N7LABMKi/OiGuZuG
uVmFwoTRgNfEg0DrKyR2XvMRymAl9BUvz9xHJwDbH89LOiKKX9yQBoevpVDZslqpAXo/BslskN4M
bemBA//QSKtF07+mFEDjCUv9jtVQ8TCyTPLJmavAo1WkJraHAgevH/sDZCud9gmcep9mV4kAgF29
s/16Ds67XCzOSZeJOatk1tBlmFmQ+NBcVLj1QN6GsQXgYONCudhu3nrdBZvArnTEdpUL7f2ucn4U
IVWMiB5RBi7lv2BwNZ0iR4dshyXsKZgzCIhaM9GTcPwFl4JWHc/0Gwi8IufhVP7abfzXRYblBpsM
7hSIHxHbnY8/bkMoa4yabuUV6Y+hWAWHaAp0D9CZ8EvfqZlHoY2yEkz+elg04KmWlCMwAggmmXU2
S9DXlMNSOwGHeACXInSQxCjbd3XX/NnV/3wb/zd8K2/+nEf6n3/h39/KCiqaYdQy//zPVfytKWn5
vf3X8mc/fu38j/5zrN6K+7Z5e2uvvlTsb579Idr/q3/nS/vl7B9u0cbtdNu9NdPdG+2y9r0TfNPl
N/+/P/zH23srD1P19u8/vpVd0S6tQUWw+OOvH21f//2Hjq38P6fN//Wz6y85/sz7kqXZl+L1HyiE
xP8o+5dvX2j77z8EVf/nQi0Izg6ER0ttAhod3t5/pEn/BNkXWCjAdAFykfcfFWXTRsufif9cbhk6
bB1KbdT3ekhadn/+TP4n1JEh0QviX/wSmM/++O+3PFuun8v3j6LLb8oYj8b//oNJ4QgQmQeuaUmp
nG9MCCmPXSu2i/ZFD+WWGvIjQzl/zfr8sZ1IbUkiiD40qJaDI/EJFKqRVYTTilFnUoE/Ol+m+tQq
RDSQBWiMQj3RE3EcIzuBfBFgLLM9utWu8tcKpc7jmp/9MOZcUUMqm1VlLLxlVoL6XlQR1TpEBL2T
tf9rVk9n8fzA/Wx/Of0n1q0BAlwjcWL6kopj8SVVX/N+pURYQRM/rdfPphnDgXpRfR4FSfXF6agU
WJOVfBWvXcY2dLOoN3MKuSU63QohinrXyHIYe/vzGy89nkxGWZWAqNWp4etiKfl9DdFASsytMplQ
2IQYRFe8lI38FAlaYtGw8brReEli+hJlxrSb1eLTqKAiNsqyvRHm1Z926sxMna4QU/7w81sxIZGU
EiADgaHyOxs5rMJfCqsNB/wFRxGS0dvwAYKybuVTyb28JZjKsp8dspFf1OO2YEIbEd4ckngV6jrN
h0VaIEtMRxqV7xOkUUlQ34xZC3UtVNvn0IWFXrU/1ID/TFlwHaSQym3y8KAgVy0Q9Ysa6Z/jUU4t
qSf3IGNwoFezmer8b0U/P78yUy1B+lgNZpAA+DSS901KPSI2vR1M/RtoKtcgV7yNxxicpqGQdTML
3QfyYmd63WP/hNdSEBxOTumJX7Mr8nB5Bc5Djx+jYe9qYzviBhNgNEt9ZnaM/cmLNuJ+jf2dMw6N
sSmzGM9VBDFDX5/2MYRdxGCNb4PXMmNNBKB31RxiZL5KahCZCuk1rn2hc3lWeI0z9qSOh9iIisWe
KA+02QK1frld3mwz9kRvlHYAS57uK0F0TeT+LibZMYMkWQ4J0DY1PhNSPA6QBb3cHc91aMv4Tq1M
WMUBxK40GBinX0qJKg9kRos+g45SzZul5le7u9wXx7qz9P4dsnRULgfTJzWujJC1r3WnlleKiDiu
SWPMBKhPIME9ytBC6FB7TVJYY5XuSKVtxmQVQ32OGP15FJiDLXUG4K+NrPtTXl0bBTgglUy8DxXt
uknr76CyyS0R2obWZDZ+XSZ7kq+cdt7UMYddjkJxHmcDmk012FS3nXns05UdwNnIS0R1ugFCUaVZ
HOSq33d+335vo9fLq83zFCpzsJtOGKUG8q/+sJu9pTavvuqhgGbPPmimHpbca0ft4Hot8UqWdj/w
8CzINZ2krIK8uYkSS/VGC9pjGI2TNbTyFaYO+vEKZNo0aMhSS2xF3e4y9W6IlRuEjTMom5TcakTc
aFrtU5+o+zqAKDCJgqshlp6ImF5HI+qXJ2O8G3MojGm6m0v1s9xGj7PZ7FoFSeWIOnlA91mIB7ES
utdQx4bEV74Z5Agyb/V8RbJxpUqHs9lVxvjISTY3w4ShGojDouIqG2foD95U5Ony2i0W8qOpZIyQ
nENQkyw2uYAsGp7+3UiFjjTQdy39EjVrAGzezmNMj1x0kM2meeAP07FOIBlePV7++kytw49zygIm
h2gskX+fVR+quSDKUo0v5RjcFaGcOYLYefI8QhF6dPS+eknKdmXSmHz4z14ZE6SOtBvbqMe13JG8
JRXQb1TciBUvczN/NdbnrQ1jg2jS5ko8DboPzXlQNCPQwtUV4qy9FWjys1qovQUpNsiHGvRpzoPJ
aaPJp0H+XFbNBgrWUHfsd2rYPmdiEa2kYHgryZinbjKnPqgbhAg9rj2D5vZ65P3eWrLwSAkqrbMG
DIU/J4dWeaU1lGFQbzTjSdw4NPT7XMVWtEZYwgu6FcZoJQU1jD4esfORsIJE+T3tel9ohOdFuxaK
ic8ECrUNtNC7PnLyogatgIzqoO9jGPpGHzqZoLyoeBy4PHjOOVeWPXDinBVcKhUsId5Sgvla6ntb
6CD1Fc67fFrVpVl25wdnXWFsSbbI0WhqBPvvgQp+ISMz7XBLvof2QkW2VgvKZP5/HA42h4JLM3Le
0oAq1zC5NcVqPwbkCgKnN3WdPFW9+blX9RL4opICiGRCIjirQjts1fswgT50FM9eiYuNHVGAx0Ev
tB3SqnAvzzJn9yqMHRoELcwLI4a1kCDYWhXdVs6KlXCO47gV5rqkzbk0mj2uh6r8SdL8Rm8fSj1c
s3O8tWMsjhLotYRqBNWnbo8nlMzJ/WqjQOmq9aGZvFIwzRsCY3BaCoQRVFcDX5JrW+syyDP6g7gy
BN4OZyyHNApJ3AalAbhJ5VH5c6yM11KyDea17DCnA8KGNz1R20TGEZLTnUju8zr3ZmlTxmsc67z2
GYMRkCV0QHrJ18hnkH1AkXh0RiV2ik55vrw9OfPPAvWkOJ5zSonqD2rrNbqxC8CkJsQrJoZJZv84
mIQ5/zLVGtR6BrhHusouv8s3wba1oJx5EHzQZXrAAK04Cd5MLeM7MWZNpghqbi6BpnyIow0Yx63G
xPv0l8vTxDnFrJqlmWvamEkYRz1uaPiaJfHK9+bNP3OEBRgERW8b04fkeVaNVp1Axn4lkONdv941
GU4mpVDqJlaBs/DNjXoM/A7YY82hSOg4stf7w2btEPMmnznEeE9WU6ELNF+jhiOBq7bpWz+Xbppk
BZ7OHQlzkmlJoWY9CaqfDs6fMlt9YhuHETBSxauP00a5u7zQvIsFi1tTBCMP2kwykZAgXuEFW1O7
bWaQRVAnfWgh4KXjFTKBLroVr7ovzu6SmWMuq2MVDAnmL9kSYByyY+SIN+rVbOs7CJY62RWuFSvD
W/bVBw5ZZpy+GoB7l2QU2SN3gugH2cfQtnk0nNGWEUnmsrtWlMgbE3PyUS2bKDrAS35PN5Aph3b2
mvAZZ7exlF5haShNMRDDJ+rXkUguMO52OMZWk4y/dyjfiSBPzk0jDVCuDxC16JAFpHVuB0h45ZNz
eQ14M8McebXLaKfipcmHgCqqo3111dzyWmY8Nmr0WzCCaapfantTwawghr/8nXnXD7YWWNKVXG7n
SsO+kcC2mni4CHxVLMmWkI9d3Z68ATDHHFjQVB5A0uNXkmZ1deYY9f3KADgb/x0HfLKmoggFdmoi
pTbYwa0uWc228EK3HuxUciCxs5P3Weld7otziXqPUk+6SsGcEVRRZ/jdSKyhMO0oRCGd9EDEFy34
602PnyvnzBWL+gzNtuuzHPsnQrI8hFIViCDeFY9l0OFSONlo016BSefymHh28f3zk0GNKl4ihBY3
pdYJC39wRQhoCq7uQjDoKgS8fidb4NZyspUjyBsd489NJVbMcQk+ZXGrATpMgmhlJBzz8R6qnAxE
rUVBrRO8MUwtXpnFnZA9l8mdtCZ4xHHo7x7spHnU7LZ5nEm6bwyNPZv1AyohNnEdbi6vA29emCNu
4i0uUCME+0TGo3wNxsJq5TLBXWHGi6t5MSRk0ky/CKWn0Ex2yTzdyLKyB95HsxGpP6lg/Pf0phh3
QwCxPVPaFRV9jaCpKi0A6iqFQH2vr5ER82aSMQYRCYCOMLHjhOGpQcd91KJ4S195RuG0zkJh1K6E
coEi6H6lUZAItxlIoKJoU/drYBiOFRAZp17jwXbOUx0J6UDZapJfll+CrnPGhlijvBK989ZMZNx5
bDTpJCR4PqkCxUbOeD+W6WPTmIAwgIQOXMluTJJNVOOCW8KHBZB2CYZin46qpZftW9XliQ2pu8T9
rd0pMk4/AvwwF3NcuHo6WHP5TelXzAFvtZbPT06VVCWloEP50E/pHaJAtZutfvrdSVzO2knjSSZC
HQtc7vBtI3jeMq9tLeVzsO0hFDKU8HGlI2xF05FXotn36+EHQZi4+KiTDsV+FjRBn0wfG+KBGn1p
NwuheRoRV8ogHamYiTWrwWdVGl+hhOk1IqI05OYQ8YifSFM585Rd6YHsSHrcW1lVfQ5z42s0y1dZ
IkZQuyw/qciXtdmwUUPtgGeF12KSHlUU+tvaFB7BFTjYnVI4SMU6Siu7eqAcwzjcV3LwCFqD0ROH
5DiI88oln2O0RMZoiTPemHGSVT+YHrIxBUx/reCMty8YmzWOQ9j3cWj4AnksBT+DHjd0xi9vZl7b
jP3J56AtRG0GHqEPt5IY+QWhrtCuFah+bB+A8DrfBKVamXGaGDqYLJBv6rYJWI7aeDOCnnKWfw9T
Aaj0eScZ3KaI0iLdn2VqaXghCXXQv8W6JZNu5WguTf26mQGBOe9CLgvwz+ej4UsJWCSwGldAc+Jy
JMW2PIxXgByHdl/Gv7WVAMc7703REiCkwJUA9+oO43MjDyurzYlwwft93nIyRtPcRu/prj9LFrWb
4h0nLG8Ce775nT0FptDzToIWJ15XYSDz+Gkq9wmcwW/uV4icn7fdIXQOumJS/aLezsGx0CpL/pvi
u/9N5ICX5LxxNa/rqSEpTK/VO/Em3i1kXH/qV6nby3PDcWagLTjvA1l3U5rBl4MQXfJQK+Vl1S4C
cY5kg1rfAWbdzWQvVH3zRlh5+eTkFcAOed5lU5aKPDd14Iu3k40CBgwrepLve1dyox2qUz5fHtrH
pgRkBefdiJEpTQBxq36o514jQBJg0L4FpfDlcvOc/De0mM7bh7JKOocwVn7jBVdLqXR91ewJgLFP
Cy2/eatfLczPyJLgHVJaueV8HEdDAPK8zzGqwqzX8IxnBNcTcuogqDr0/WdNa1fOCm9xDOasg/wt
FiEXpuPKMbjVa+enPm6cOxkEdwv6c5Uzc9nDH1gwtuojpJ0x0ToBKsJPIWl+mPfxIuQBZmkUmayT
Rr/flT/qhzn8UZMHRTHrGvoxdv0NROh2EL1xq/seaXUC6bX8Rj6MLkGvWWpp12uyxrzdxxgGUOEr
IREmw4eB3mf1vCVadjUndOXc8ppnTIMuj7Um1chelXl2LcxRbJVS/JSK5so+4G00xiyARzUs5wlJ
8ATAwwSMtKX+OAWeDLvwm8eHsQJBkPRVXeqGH2jddohmP1bFbdZjEdIe9+tkeJAgpRoP2V07xUct
oxDarnXcgMp4RwVQkRtZj+LDrL5HNbwXogTj8hf7OG5C7e75EYM+fAQx1Frz6+qmBrF6Fa2xY3Oc
ts4YDENJhQGwD/ihIbpOdNnWzcyP/UD/SoxPY+f+3vdnTAQgZJUAWKzp5+V0V8rqDPI65e9Vwf/w
SDpjHUapQrHkjJejjCD1QD9Ha1RPnP2sL5+fROdyRHJRyGbdj7P7dvqU65onx5V/eUo4m5lVy62C
rE6zGU5aEW8b/S6ebvLoS5etXGp5y8qcdHEq+koCC5zfNDLc81AfUHzpBVT3WoFs5p64Wbz2csEb
CXPsAWjHkwjUDvxZeiPkgKyEo8e7WVtxzby9z5z6KcvBD9rjrocsb5ThUYrcX14BnlthS7TUTBzp
LADuNFR2/UlZyFOv5JssssGzJXqFK2zjtVcpziBYdCMsCBSWAPTxq3Z+BDjkbi7DVSFqjttisY1i
14+lnsE9LinZ7PNwVQL/pIDZGUIyf1cn8Mcx05gzrJd60CBrCZSAeKyM60lYCeQ520djji+tpzAt
IiBMkcxy2wCc1KGrjft6rX3e1DOneBiCuoAuF06xuJ20yG1Cxbm8gXgtL5+f2Ae8ZiZRGyEvNeVv
Ra/YwMlal1vmbU0WxEj1qchRb7BEwFXjEK/zwbzudhnCEYIsRPSy9jrDm33m8IIkoopKsBb72liA
+a+w8JxGitdy9cGAN0nM8RViUJnGIbxnJ6CAbqok1NSOorcyT7zWGYctylFcqMtz7BIZCha1s2P4
glQGcjXEru+RPlmtjeKcMhbBqAxDFdMIGQYRPMuRDQzxnzef0tGeMr9bWfnFo38QGrJwRqS2phB8
q0sIauyWQJf4AnAWawVOnPli0YtRYNalCHFMP5YedChjav3K9+b4ShYrmCt6rKJWJ/CDInY0M/gU
yJEdCdKKP+NdbFTmFCvpmMWChJc4cr/czyjOQ1a5NbSrTDsvgUUpnWGjuTn4g0D7uBYd8aZr+fzk
hCd5TFDAWKt+G39RimPQrDh/XruMe6aCOvRiS4GoaUSHmNTOu7V6ed4GYg50EZpqrcq4ny9khoXX
bhZlr9/2AipznPHsAD1jgmy5gcg++dquSvvxjhdzkk0tFDvSvmddFLxfJZ4Aql8L6+2KGzDSP6wY
jGWGPzhfLM6vJHMiyQO6AdPUkr+o/XZfQHMtgv4T+Em2QKJWa7uHY1tZlJ8gzrjlgRMUaAiIAuVf
xTTf9ImOkqw15B5nH7HIPUTTQpihUtgPJ5sKGiCDsn15ojjnmcXr4Y20GlAKA7RasxGzG0IPTXV3
uWlObMpi9FLodrZKP2l+BmJWMNwaVoOq4DnXwPKuhSiCzr6QvCTO5d5khuDpR+DCAu/CQU2SKSig
vhHVRyHpbqBShfKdssPLRC/ux8Z8qNM5snSzrC2i54lDBvqs9f33sicCSk/x9q8lzYsmJk+CqR1K
WXYFzbzvp/Aq65uDUif7PsqtujQlBxo5e8AobyINJUJUGKk19PO92ULseDJ62QY4cQea16u80KHc
ZHrl3O7kPv8kZpWXFf2mjiZkmzoU2rZNfdDGLrM0A4wXHTlqUWjFVfqg5YUfD/I2rkbU3lHza96J
npmPGzArPJV6em2IxhfSGS4R0t6SUurMg2yZBvLtYy8hFRi4A0VCsBv0l6JJ/b50+hwVg6n8MiTV
voDSsC3S/B6MfzIo4oMdHQmKOAPi6hXZNWZxbwYtalNr2Va74k6Xi9upaO6DqXpF3hQi3GBxdYfQ
mKyqT8GvGO3bRZi0aFPZy0VodPazm5ZdaQHlB3Kbrg5xQem/6ijSiJF7oSr5FCq1F8xJY5XVaGsp
hJzN0Kc5/dTQxFab4SpWm8jNpPxOlbpN25mdJUPtHjKNw5VQ54+ZGEKgdNKvJmBsq6pXLcUURCsu
6I1WgChBjLpdqUDZh+hCBzriobLSagDMI6pcIDIcZRifaN+MSDlq12AEOED5+yYutcQBmdUmbeZ9
Mai23A+vbdm6kzh4hPQOgeKJXSXCC2TPcKcbP09V/60yA7tNGrwsKhOyBUH3NZVBY47td5UqSuCW
eWHFNA+PeH78OgvxV4WWXlKOn9oxdcHNsyPTBEmzerwqquiFDsEW5UBHiMp4EjUN2wA8xYk1qbAK
VAgMQ+KMqpGh3j7b6i0KE+Iquo9baCcBGetAj9gqDPNlJNo+guC3nU/ZrdIEBdD92MCTpB3ayNyk
pehL0ygC8AwpNWNUt2DteDTF2DUqY8CaNLcGybdJ1Yd4nWpKy2jFwiJqoXi5IkDOeOg3YiTuSQ8l
aWhJuJlW7sVSPWAUD21DDlKtb025fJT68TZXldSZjenQDMZxKaMa5el7M0lrrysc5CG4sc59uFGF
ZUEXiw+t2GKruKWvbJuvSmWZVxISe+1b6Oivl20NzxwzvjfR+ipTC0Cd1G7fQdBZDowVK8a7ELBE
Q8WgFY1ZAdYo7qZPlRd58g1QxE3zHvlMm/SruDphPBfJeGKdVKOUz7gSSPdAvL2jY0Ifj/kLMgwk
1/5azp3jYljMbKeZOC+Lxw/JbdoeS2Mj/D19mR8m/7145yRuy1Khitp6qVzRQZwVEM/sp41pdisI
CU6MRZircNMiSwjPa/hm3Rzq9hHcVbbeF15KwfE0CohCm01Eyebyrlpa/SBkYaGzRlO2hh4uoXUz
WenwOYheMrLrRtTJBN8vd8ELrwkTXsthkYUdQR/UzR56r9xod43TH4Sn5F4CxdNnAD1A+ZD0Tuqt
SRhzwgAWSRt3SQ9ZWhr48ahdgZbWFhrAK2lVW0bePdJMcUd1reCCt9UYG2D2RIukGRV1qbRT9W8N
gV6MtJbb4YR5LLg2ghJlPzVD4I9a4hl1bCNA9kE7dKcPa/w0PCPGcvlWXRORXoyD91e37LWYvUVm
HKqXToHqnB7kNFZ5XOuNN1uMAVCLYkiDJAv8BAgy0P/dCEUlgIgqWWNe5+xoFlo71kQHMGpGB6gF
kbL8atDHxBKzdD8kg9dWJFyJYnlvuSygFmL1fZboVPD1e/qp3daQDlIQC1gED0fgZFvphmP3WSyt
TKK4G0Qx8M0SAea93m8vH0vePC077sSMlfOSYmoAZ5CD+ZA1td1oMTRiKeJNcK+UcrziXTj2jAXS
ynKsBBrJBNwZW1ytF+FU9Pk3xWF/WGMWRVumsSnSCM0n4XUX7oY1GkqOBXmX/D2ZnqkYB1mI0xDB
RnKoy+DYySC7VoHPkFsRgvXTNht17/JS8JaYce1tW+WVJGIMdfgWF3afr1yGGJrUn5PDXKgNpVLk
DE7DbwKIuOYqOBg68gw6/UNVpsepLh5kU9gCzeMrKUqOtbZoHfDEHJE1pXbfVwfEzWtVGu8r8oGr
eac7PJlRMhe1qaRy4Bdlj/rFDG9g9KhUwvdUgKLRPO0Tpb4LOuMQiYUnE7WxMwWY31mYn3SlOkxj
GVpt3VZWWRa2DuEZGQhte5whKhHr0jOQLU9d0T8IawAqjqX6FctbVQRyS0taXXdIp3liVFxLsbbi
eTmL/u4tT6ZjDtS0ME2sDS3ewu5BXyuG5ngMFrHbBKGk5IIZ+OnkptUdJtnthtAKzd/DrYO1+dxw
xEtpbduHgi/ln/vAI0D/Kv3b5ZPAm/Pl85NJ6WtpEFRkp33IhABs1YYabrZr6GJe48tKnDQOAGMp
9xKOmQqNLi0dbTG8jteg37xpZ6IAozFooiMu9+f+qYjdACgoGZj+ZF5jieXtF8ZIFEpaCmQoBEQC
IPqAFi8qHm8vzzrvuzNmAkRFsUYpXIHe17Ol5BqurVnkyLN0lYEGyLvcC28AjOcXaQANjyYCfm7q
dtGAegQYrjXJZ87askDbecb1CJJwgg9tCUvIn2sdokbk8fI358wPC7ItZzWuAsMMN3UgWSJSASg7
QSrYK0LVvdwDZ25YhG2jKVUyDZ3gi/HtgA6qcY1ckffdl89PNv0wxuBFlnCitBo1caSunSmdZauL
6m09p6V/+fvzelmW5aQXLe6mMZyrcKORqreGAOFEALCeQrNdBKZk63IvvIhLZE6wDIFDPYA2iZ/E
1uDK0MCcN/GbAqUz6UvjdyuWmbeXmKPcCDJV8rASAHem21AEplGdQz8X9TW1PV4HzFE2oE6IHGQr
+MhmWUYHwWcFpRST8nsRo8gcZ62KQYRequFm0p4asDo095ennxPJicwB1iM4btrq0SaloFYB9poC
gtnpKbLaWeo0oyvMIUrztRUAM4cCASyM55uq0EoIncsmmHqq2BGKcaOLhUsl47Wb00OrP0OPdRfP
pl1ognN5hB/HxAoLZNWTPK27rIw2RQuJqqqzMgxuqCsr6o+jvDKN3HEtvZ8cFmRkhSLssPwzqZFw
LJ7zoXBS0l5lRuPjSnFPo6EDhW1wOyMjeXlkH285iOid9znoMbSiKZy2ShpLgGa8MscWzZ4vt84J
NKHXct48wIYTrWiNmOCYfkJaWX+GCI3dbrLvIWR3D/W29Aq//q1HfYWFt8Y16gn6VAk3ORLf9QhV
U6eBVlpRrIXNBN/610gV/Knno5nMvI7LZTSKP0/egnREGtSG7Zd26Svgequ6tx+bfYXFu9YRzfUs
hdcCgT3UyL5pCNQur8jHBln5BeUqEmJGUJDz57CySeLFUMVWjRsJYcnlDji2WGFBrRq0Ffqyk8LN
+Cx5lRfcxDYY+54Xlep1ymzOtmUhrZMeNSkpusBXps2g3fQzCgi8ywOQOVPEwlnTPJbjFsg3X8pC
At2m6jZKje1Ym4Uzy4ErZMoGPh/w5lTYtlR8DcLwIW+TN5KPkAhphWMQlIrT4m4LyByiyQjMaHbd
Gm5thr0rAsvXDuTVVMfOAWH1Qcs0VxrLNSroj++nYJM836NUEfAyoyKPohYvpnI09NhHnZHVBQ8h
wBZ1Y64cNs4WZeGx2TDMtFvQdbF8pSRg1xjXvDmvZcZmpJ3WC0MvoD4lwBaNo5uY/l55nGIsXZ5Y
2NgcRfimEFfNUHw0SGLXPZBqQFmsRAjvl6kPLITBWAgjMvQ5gj6wD54Pp+hNK1DpXmmIJybfo7m9
Bh7xpWpaW6nKQ05md84aEDSp+xS0rwXEUdr4JopS9/JO5h0SJpwY8l4BN/Yy2loNkeQ0UUBep7oF
rv21im5eF0xIMdFRiyIZa5XQ0esCATxroAglOV6DLo+B43lZ7tEoH8aBjGCKHOXXMn9K8YodFp9L
FKmvFmBxxsDiXOUhzoUhx05uvPYZASTe9So82USeabd4KiuBaVMhNrSG6eF1txzckz04xooe6mAs
ALSQHLMiuK1CxZ9o8VvIRYVlvxbFDpLM4ojEffq9BSalTlcM+8dRnsIiXmmWajLtkPYIzPFOzKSb
OS7ckGi7Ri8lS5CUF1kc/TGu3csrz5un5fOTeSr7WOszMPj5wyg7BWlQCJW+pGZdr+wsTt4J3Lbn
HQS0T+oxwc3czIbenlMc2jbb4QH6uTWUh7mJ70y5OAQdapW0gKRW1cGjxRQXYbCkj8nk5kRIHJRo
wY9SsiuSobS7WYospc1R7Jjuo6SeHVOsfZDbr0CS5OXsfmBgWNr9nlRgy0Nxqq9rG6kDO/fkGnbj
gEnVK33TXSgyTbcEmPFeimzjXQpyvYaA82IDkO35lOG1lEBYE5Qe1bfeWwSrxk2xF0LUc1nz7Wwr
Xr8rEdKZWzx7gqbi8kbgPEMqOmNkxkZO0pRiS5tL4TzZpFepbRxVd5FRSNzQWfMOHKJjhcXm5mCG
Q6IpQNFs6C5vkM3X8Vaz8gdht45l4mxrFpQbxhJNdYKanya8y6Zvub4p0pWLEcf1s5BcyGF1s6bA
GBu1PFoJqV9U/KOR5x1YiLatWm7zdo0vkuOkWWBuEMjhwm+EMCN9MaTvU+1fXmze9DD3ESoLJRLq
KdY6VixBIF4iKU6gr3H88ppnjMogTlJY9NhK0zj5uEFYwaztm2QN2MoLfn+hHO3Bf5GogFwvqGjA
e+bWqvZLHiK057dMWQeG8gbCBBqiXALIIlXoSIW3Wg6i8pAhlHEmVFjaYMbzM18ikD9YsZacoJjl
IB3qflajUUQianoJEigK5tQyKsf8PYojaMyeWxaIlKg9LeBdogXlo0RfcU7WghTeXmXyE0kwDEIA
Kn1fpndzDwaJtFgzTZymWXxuS4VO6IzlEU628TIPTo/wsQHU574FM1Cxix3TATvG5aPBs4MsTBe6
UokhAyAHwsWFHmjRQyyedPcdIuGZN2usxZxKSBBen69FPaLaMgvxUiqk0yE16VM9o3yvjJ1Qn+gm
QzmtFYqiD+4x4kma3iILkt0owiQjCsi/CTS3AtO0oavyenngnL3Ownwn0iLpZmJvgCLbktTBqXUo
cv8fZ2faI6eudeFfhASY8StQ89Dz+MXqdBKDwWAMmOHXv6ty9Uq53NAltaIjRTlSFWU8bO+99rOq
K8O69ApnW0InIYjqCoxqObl1VE3GFhKRKwyshVXjXr7zrximyWRP4GCJGKY8827nIW1TNxukKq88
+9LIzHYBmskpqCdcg6eK3AkWnoWTw1L4Wt/tQvDt2v/9+HYeBHZKsVumbvGjNwaWmGO3guLgYco4
hMlXbypL4zRb/cT00kowLCNevnnZSbAMNL5XASrr92bQbAewigCsPDYaaMdwb+pWbzOV/Vb9tQhl
YQrN9b2Z7hwjo1gwut063Y6Gj18/9sKwzLW8qvN60xgxLLq86UIV+UBFiuKmH65Jwhfmz1zKaykw
PXOB+dk2e6lu0mkXWlem/sLcmWt5/aboLd2DgAsLyKTp70k5RilH9s882+2v743PbOkaU5lNiIXp
JhigFXFE3sdNyR+9dHqFY0SYfO9bZouYDp4n4AWEkDsH/3QH+sWWD7vuKqplafbMFrHhF7YOgPza
9Bk/esKxN9wY6/X3Hn62hNEfCpsOimpyWpabLht3xOie+z57UoBHf+8rZotX6LAjHMb0G+7waFAn
h6AIZp5ocOUnLI3PbPEyWrjwHDAoVBCnFlJN+b0M1lwKyJse+dzOweqq3grwymDL8r3tZq4ElBYx
u5xixnRomR0Vjc3wTVTD9+bjXAjIJrg/dhNmvVWs3ek+t+DAMu5LqH2/fp8Lm8Jc+tePnaZyQkmA
jvUqD7uTnadbN/zmjJyr/uCaaoVuDgGNm1djZPMA4iKvfssDyHO9a16ZS7HSXOg3uOBV8x5Zlj5G
QRBksirONs3ai6B52bDke0QNh8zWLvSQ1QTDMYgqir3PIdHxbm358PV7WJj3c4mfLoKLm6Fg20mW
0MZYCZPplTzl0kfPl2xgclDEOcoy9RuvfvrT6/ceebZU3VyGo19hamrB16bUG6/Prnz0wnkyl++x
AKidyhxDGI+Ua9c8gkAXaeJEWpxDev/14y99x+Vi/Ve4FnRO7eVpy7Z+McYZKPl9fiFiP0ruryz3
9usvWQqv58K9ZhiqkgwBKu8n/aqO7tr+VT15t+Nbl1Q7+lpOsA9gibyGlll413/KHH/9KD9ER5DB
MiznhiVZZ07Azo3XyFhLHz47gUHqb6TMMZECgf7rxzF9+3qQFiKfPzm7vx66Uyow3BZvgtMfxAvW
vcUiD+agWdF871SZ6/hqtPW56Idg2zZz48lwV611TZGz9PCzM5f1dsk7v2HbAsoAFlQvOXpzClsm
fl5e07UsDfxsBYdtnlWWAfmG7oybRha73L1mu7tUxJgL8grKc2EHfbptgDkyQufkF+VtWLs7KGni
LAPO125gWI6qxdi/CM0eMg5CWQWEKzF3tisiV/vrorgqqF0Yz7ngjiBjpscSEEOhPxynjpqyi0wf
EfH3BGDOXHLnKeiPhvYi7NBoy3LR/JwazQkMtKu4zMsO8o+07Vx8J0VWwXsPSqp2bdzI22oPyNt0
cHqUwuUfY8N2Q81InqiIui3Zfb2IFg7yuSCPwr9xcAuMW0qeXfvDau/H8Mr6XJh+f+r9f61PWwZe
WwUQnXnDU22xuJy+iSN2/qjR//powI/hhWoStr2c3KO96Tf6Re+t9wtrGW17xQDO57WL29IIzY5v
+H34fR/ixTvVrZNtw/6989+/N/izTaCxdAZdBTYBGex6/Th5yGRe2bqWJtNs7ddmV8OoDpPJbI1D
L9P7nFSPdgtCuyvEEar2J5vbV37Gn0X/r5k7O9LhkpKZYwBRShcnzt2F2qxQVthf/hjxp7/5cGP6
Ou7QonF/raNp4Riea/aULRsLNjDYP9HoKC2+5iGar1Wzabro59dvZ6G3AYZl/33Uw0zHMKXCBNbr
+uNiL8BWwRsOGbXqkzbuAKo8i+/dM+YaPsI9e6pytAOQbqNaFqXos/z6VyxM3znwskZWTHMopdE4
Z0f2oNeD4SQklb+/9/Gzw93PA2/gxmWRm6eR23EHdeNFtfD1py/M4rlmzyGwclH15dODF5i9olfy
QQ5JliGfDUByb17zAF/Yqua4S23qfqQcop2gq81omMxY6u6bIzRb5F7meFVe4jegmWFLuuHotGFU
BdOVlq+lR58tdHsinUyHi3oKSVa4mies41cm5dLUmS3rHPldlOsvR173ahYTTJxucuvakP97AZO5
QC+YNJxOC6hWqf5Q9d4uWaLLNiZ02Gr0E389f/4dFZC5Jq+qDVB0JZYVdR9GotccjogMjbV+OGy+
/oZ/jxGZsyXRTSpZ6eDtmk0bhcNnqZ6Ha96aCw3iZC68C6yWTWmPd3upFOlb87lMkM7/kZ+cxDiZ
sCG0TugXu2VmFF497v5dwidzNZ7ww17DQw7HXVG9ial+yVX3izK+F0WQRzgHX9NOHxrjmgDl3/OX
zAV5k1MVRX5Zel2bQ0jloD3mGvdzYQMncy1e7oDMYWaXoxulEHiv3dUnevv/0VQTROXJf/x6Giz9
itkiV9Sp/MHDbK7QUexl7aYK6isV26WPni1wVVeZ63g22+ph2DiudxjDbPX1Uy+oSclchxdQGHCU
FGpI4tT+ionpUUoHSGHh/iza1gAUYLzpPeWttWXsHdl8a0skc2VeW6gsb02kAFx2W4z3HsJd+uvr
n7Sw4ufCPGNyQ0kFcjpN7z+WLWACgbEurGJLRHYla72QN4Js/L/jAocV8IdrcVu+OFQM2cr/wdMo
XLWraZV6iQvvsW828JG5gm4YdFFQnOFA18ptOno3OkuvzKuFnWvOlLRbT0wToAAbv+QAMt9TOka+
9/L1a1iQSZC5ig4eCdTgA9ji/6Gxor9x9R8aa7q/1qe7IBwmcyEdkbQM0ep/eQ9w04yzVY+6XHzh
sIokQ6xpbsmbdSUjs7AKg9kCD3G2pEHjIxVA2TbgDly6vCtHiPUnK/u/8TOUPv89ociUagsX6nTr
wM/dlcWNbeVPY1GcAX9NepyOHIl5T5XOIQ30Z2HW69zt7sfRu7fdKgUhAo+Eazfp1QrpqfsuYytp
dHe9j2CM2uEN5aMVBem0b+scKdXhkHZ8nbJ6I+BBGKWuz9Cqqw95CwCBqoo1tXuZyKBN44aWW+7k
D5oVIFlo6xWmeywSveqTIhzOWZdtoQLrInDBAAaRfR+1ORkTK0RZLoBrcaJB5I2oX2qo/oyEEHpQ
LgBM5lA3cRu6Y9K11TlDm2fkmtWraQQfhhX8apvx3BnpCtrEPury6j3NihMLDTjqOMM+D+Wh6Zz7
rqYv7simKBUVuClO/ckI3PA6W20N2R/EWO9annnrGvL7Tk3Qn4Y1jynUbqYsb2QzPLGm3edDjib5
KrwhI8IQH0aMfiVXqBmdCrjcRxUwEmlWK5Sz1U+AnfsNDfIHiw3nwfJOVo4b4ZSd6rK5K2T1BJPX
Kipr85YU+S8zhOxJk8sQd+h48HKxkrWzY51kSWCIW6dyjlXnrZosxdJr+Y1jG3doXKgilEfu7LFf
Q5GwtmV3b4zTswa7lA0pbH6CSiacNzJpLPfsKn/VuP3LUKgHSP555Bhyk08S9PXv5QjIXFsVkCKt
lAnrAS+EfGRs9blsUpjyONcuqwub9lxTlZlTxmz3sqGaJz66UQHlNAOAKmTutT17YbebS6pkYXFd
aex2l4zB9NidrASo8RWOOAhvqtu8i8btNfXmws+Za6y8QrhlbaMTRNRV7Is72oIDRpvYyMj34tq5
smpEyf2iQUPqM8/20u/3Yx+8o9UM4orhyg6+NGCXH/dXioUYFQwyIYrZKKlRaH+rhzI2yTXzlKVP
v/z7X58O2n5OWJlBGQ4Ye/9Y+Ac2fV45epY++7KF//XZKnUNb0C6Edd2cb7AM7sPiJy2WZzvVBbz
SJ/K+FpyaEHMReY8RJA6OzjpArXoSdDf4MaVaD/6A2deVYn6dU00tnT8zK5igdmH0OxjhUzDAciN
aMym702lubJZ1rS3YfCA7rsGWDO/dXc4iF4yGKNNY3pNGbbwSuYw36r2qqAocVIDUuSle8aPwzU5
/cLIzLXM7jBZwlIlzk77zShvne+pAMlcyizTySkCFx2n0vvpNdiL8jQOPffKqC8NyGz+F6XMM20h
TA1gxazB8RLGrgGm6OslcAlE/xFPzFXLng7RnhYgrKe4SbPUiDU7QrW6KkYz9ssrX7J0efgfmfHg
kGmycXMDCnR3Ae6Te2sPKt7hWhPf0iDNYi7Dtf2ivaQ2wpInlahW9oVK3NK7r0dpochG/kev2KZF
wwkQ03yX3/dFBMQEQLuIOJwoAGIKwmhIvZP85rvnwizMc3retDVHebJAUl+hQVB3aEE7sGtKnYWl
4M02CZKSoW8LfL5vwZAgRSBMv5UJInMJ42TptOUNrrdW0SdqAtTSq2O/v8awWHjRc9GiJy1l+h1u
OaX/MTnxVA1RI68UOBYOY/eyRv46DcIx9FAgRxHMrsjK8sLYH5wzT/tXUVxrp1j6isu///UVTjaw
rHWhDqx6XPzzH2EDHwPrxxRcS2Mtjc9st7DllI3Mw+7fF+5tWWVnM/PXjWe9XlkI/06zkrkE0Wad
XfkW8vfh1r8pH1t0tjSbYQsQUXnoEhL7z87W3o6HYnP13LxUT/6xRbmzqoqRB2NWS0CW+q7RsY16
dxJKGCaOfSRGc9uUwkyYU71zYbxbtbivC70uEGVHo39NM7R0ds+li+D+gaJvQtmWP1/0HxcGTwaP
o+MFsV1uRhV/PbxLb2+27BtuolMQxektz6DxHmHIDnlbcW0Tu2yG/xrI2aIvZN2WhYH0kLNxq0hA
5J3F1r64h3ktnCGuva+FKT5XL9r1oBxxocxMtv7R+MHPESfuIMtPx7hGQF3YveZCRq80rNxWOBL9
sUfk7MUT7hhfv4GF83AuYWRhZko4jLFtF5qvOOqRx5zMtVm6u7JojplpX/mehTc91zPmiNB0CNDW
lhbBfmjJfQtDhjAPr4jolkZotg24iBcK7ZjZFoBkWm8bcW39LyzGOYiU55wqOLhfTnKdyFtxlyYA
MayHFYu9l+sNuUsLbk48HHKuaKoFPOx+y527trZBwnblB42Qr0munbJLL2EWNThNy5zxIvgsGz8x
vfUAvGhlXlPzL72D2WKujTyXGVqttxDXgXl3MhAWfj1JF0dntpJHo4X2o0cpnqB+uiuAUhxJBLZ6
MqxEAg8m/8qJuJS/nIsayyz3A2qSDNVzM17n22lLk89xDUjR9qpjzcI4zeWN7dh44PwotlVJYUfD
Eb5FKz5GsHp7+M/2ar1dbXpYeON/0mp/nb8wCwu9sMMW6JN25RF/b7fyoZmuhVULWhcyFzt6vZ8y
ZFWybXAyccnz19NO3UyHdlsn3o39auynX+ne312rBS/9nNky13BqKQ0P5wWc1Y8mqKiqKbbe1RNj
6eMvb+yv0RpYpwwTVIxt6lix7T1V9PcorkGNlz58dqxXHZlq0cPeXNo/VUgj3r+74bVD6A/27R9n
3VztmPKGQuE3sG2lIhBTY2yDG3IsbjMWjc9+FjnPnorsmCRoc4z7dfmBZJxVZ5G3rtZyc633ZeEs
nCMP64p7aV1bSPzpF3tAE78NwRMK99+SzRAy2wZILxnqfmioID7Iyh+w8/l6f1lYkXNxpGMOqOhJ
FzF8bf10x/aYZtWVgwlufQsvfs4zbHhAmFYpGMQZI4nP3edU5KCEWBoU82o7lvLW7YL3qXfuLdqB
DssNIwLoyo60o158w7spfevIZbcNjdSPDROdXTzvP7wsPCthG4fSMd+lnEyQj8MHA9tuxGwn6Ybu
VynlSjn1u1dUB186D01jHyeWtpEVwm/bU8Ur49aLwbi9kTUKjLxAAqVkw8NFK7o3wGmuK/deWy9V
lY+RyowD65FPLmrvMa3bne1UJ9LU8dgzLw5DCZFhG0QiyO5q1WyR7j50TvtZlbabwGgKnV3DjneW
RFtfpWJOGItK07a2Y+o+Ara9KYLpXNuwMwKk3pzGMBprNIUhn7e20nOee2Pkuv1N3gHrwjwuk8oU
yNAXd5LUt0IEb1VOdzlNTx0bD8JwbuE/tnfscQMw7k1AwyLKJqhEB+muOy6h4wydAcipYUvMsowD
L9uPQXewM7OPg6p+V2a/b+n4Viv+pJn5YzLFbedqcghRJo9NW38gPf6BfGy+GRzzkY7TsRwB7+5G
9EGZENxGRo8rv1N3EbEvkjsOfH1m51ud2VbMSy+EVWR3MEm56onfRFkfnAqi0EBv5uVdzm0/8ZXz
bg32BGcz/i4DwJIEEbFk6bHO+990MOPQJBtLjqswKGOo2jF5/Yc6tW6YAW557Ypt3ZjPrPP3smgY
DJwY6tbVE1GaRYFRfualYSbmBNxA24bnQIoHUaWgXaRwFLG5PrMgiMvOeJLS3mvdv9B62gi3eh0D
8sueoFys/TsaGj884YZr0wqyVdawXUjah7z0H2nt/HDr9BB6Ko2sqUmoLh90rdHxXVqnDkkklDjy
tbDQHW6g+YRPxgEimZfBQBOQB3Ctg/6LjR3aIm6FB9p8vdG4Sg6osGTUTJqxorESxrbkmHm0kE9o
UjoMdvlbm+zUtM37oIE2z73+Vmtnimvl7VAAhX2m5ePo7SzgR/T9lHk4uWz5CVo6sDejeiNOd+9O
IqFZfttDmDf5/e3QgcINQS244wBxgZ2yKSovha+RBpI9uxP+8KMg1sGo+JnmQAAZvYn6RiCe0f8O
4HYb7h2X76eh/J1Z/gt3JZxOWPnejDBcC6opj/C/f1BvuAHR/Jh2AiZ5HXOjzM0PrPTvSKdXsJ09
gO4Pn26Zn6jtP05hBfSYcPe6U2sBAsN6QMdBa7CbLmgSK1N9ZJq6Topq+OxJt5XyQn7IP62R1snE
62rdcuHE7eB9Vg2Kg1qReBTiPmymVzBDfpYqA3/b/eS99xF67Y2EqjMGUL2Ph2AEKlLIeCz4cybY
Ewvpu1VOILZ4cqPt7t1pp2c7rHeORcqoMgAZL6e3zOBOLL0QiEkBz3Yv39ZiXGcCLvRdv2mMHjzZ
mtbQihh1BCuDx1BpdMY7apMxSBKGEXh8S+5qSz4OZo5tCHPN0f0R5IC9XZAtNfkQ9UNJEpc3T25N
f9tpd/Rle+x6QC4dO7ujylhB4VfEaeNs67G86e1s0+vOhFtAGIJOj3cJTuhoS7RV6IEfXGafvS5H
J0ebnTpLfaAvk65dZm1ZGTiJ9Mrt0LDjGBaQuguZRlqSHxltdRRQa4otAmS8abxLKw0S7bYrLlNU
JW31yrzi1bT6fBu2Ll+Jsv41NiBuDsGLA456y6czsci5drPN0ObbIJ/AES3YW1qoE+8vzgVFcZ85
6jeBHmVqraNpereTkLd5nz6JDqNjKnJX+v1KG0wkbjGtdMCfvElv21BubEfeMXtYwTz5daIS27xh
rGhWHGWbCTCy4JWTI81HRX3AI+BMGKBL7hT2MmPw8TeWnUbVfeDK/tDX/NmkZsy9gkajB4n2wNUz
neoqkiF6XWlt+aAZoHyVgwdk2fkr7uTrhoA0akxqK8p0w9LiVIb5rs2m1zJg4BFZ5yknm4HRz672
T9AU7J2MJH3ZuvieFNar2ZOV6jPssPcFqTYqNe9cXhURzNnupfCa2A+cIioVrCcVcJFWXbdx07or
VjavaVXDPIRnW96kYyzgBFENbRwGdg0BVHvKDXc/1PwMB8uztryk5eFP6gRAXNvorc684DGXl0mq
YQYG2M699qwwEpr8CNPsVjVuFnGD1FEaUBGjnePexOuFXfdxaEMfdWBjlZrsofOcO5baW5iMu1EF
ZddKlXKF3/eQq4DsHAf37wHAoRE2cCvicyNSpshQG+5hmDBqM/ENnIo459rCe9Se/yrhBpFxelah
20al42xRrD6GOJvCoHMju0vNi2HDziptyELbPeANp/wy+pRuS+1Dmh5+5nr6Ldv0XI/I89phCXhT
wZJe92tvonvKjBitfD+ob2MmNogEBFUx5HUvVmpB3yWKTWWSs9BjA62Sa0TE6fMYkvcnZXrPXoPF
jWp5lxTppzSmWDT6bPIDTNxtpLjou+GRw+SNv31WPzgyeBbAPACC1w9ohubx5Lm3I5qFIh/lXDNo
hg24miflqAQHauwjMYokYB5Ng3PiBoXOJPwJc40h6qpub9gqjV1zONoCVcDuctiMGkgnGbLVSOqt
PfLEErXYTlhvplfeKTfoEOu02FfSfeYMSdp0PFGhfd/60kxaaoYHH6dilCFTl2QFxkPl+rNq4Wmk
FIwyWMnvQGbG9/TpWjTOyaNDF1kOPQP7dMsoRTdDepT2cDR69xev5B38lndt4MVmYGFXLmHkJerw
ztPZyeTuO2v4OafBqRRyZ44Km1hdx73nxJWaMBEp73cBKG1lMZF1WYJhYuLT7O6kJ6yItjCrxO1c
yH2IgI4BXXq2QuzRFcVLaOsnbadtPOFUisfMOTYhNvEGlYWol/TDALw0rsvBiSSttnnn/hA1Nuoy
vw3d8FBJD3FQZR5Lyp7TPBQRGM53ji4fe8/+5H7wHILeFNJAgMvkQf3T8X3pdZ9txkWM8/0OG9EH
LCbOqpE0FtLb+ZO/ktkEGvsU1Emrxn3T97vKVQfWlSsX9Mvapq/SBZVYOc9dAyKeZfpbm6gXz20Q
UlbT3mix23H1hgQqxzkTHgeTboXtdFjyzhizKVuRhq6zanqWZXdGL+cplaWbiJ799pzinVTsR6aa
k2P0yCsIbcU1He81AgKQjUz48Yb2Z8pQE8/zVUm1XAWZSlqU7RoNu+PKYHXiBrYXpWHwxFW+1wZC
b8hYopZZ68GlieqtIBqNGlYTTbWxGm/r1yMiiU6sp2FEn3v6Amn1ATY3r0HLPq22f21pcZtq92bq
RAuqx/DWms6eBQRCEtqgPEwOjfbiQFQ3IEcdpEnuoO57tGWFJMkI4PMo23czz3Yi7NWPvB95BLRR
QqWA+V3HrdgcTREHQwU1RqFvdHVRZBjDAYrfWEN8sUbiiEc9o3sOwo8K5C0c3KoYLUDtWhX5abCG
dY+dIJqYgltOSn6Vvr0xeP3ERbF3TPFgd/1Z6+YhDBDza5utG5uCl2jDXS7PbDTUtq+KsQOw2Dg9
egutk6CX2DKumuZUNeUb+s9voOY4mY1xcXA9psw/MmmfqGHeT4zcWLraw8mjjFohNxkNCVi16liy
coX6KrjxcLFhQ3fn9ta7H2LXEvTDVXYCVvQxtdnnaEAqBPvtn1DCJXWb9VE+6DdWFONKDaZOjCqj
cdnzWybgd9JbkZObSeriCl3oIN81jbrnHtl7Ln1Ox9zchI0NCwu3eLdhGxRNEFviEZCyxYOt69BA
cEflLSdi2sESHbAfvjU72UR6FC/ap4+jcHF5wm6HqHVnDCU6grxqy6biCSjeA8fyjuoUjTzCb4sk
c5yXvkofp3EkcCfCTWbKm0+rHNvY5B10z7g0RpYPHRP8cIJYcILlboXnsm9gtFerR0WsOy2zD6A9
zkEW7NypO2tvuPMRvJLuUJjZT9vP135b3oxEQicQxGnhHoGwqHBnUV5ST7BctzmQ1SFCA183p4Z7
aKjlZ98rz0XawL/Ram7LBpA+3VgvJasn2Fxm+1KoQ1cOfkQm54cRwNoHW+9H2AfYed0Cl4QKpkf0
NyuGtRWYpxKcjKitw2NeBG3slinuVHDrRRQcrkbqnOHVWUbCU9hJaRobBj05FcLroajFShn8kAtn
QktioZJOmBu/1lDStOIs4R2mvTGebOMkBu/GD/eVyinehnvHLOt3UCsdDQ22XMPMD67tbjEbz11t
/dIW31bVuCu1CCObkZPfNlsHvkmx7uiJyDEx2onEpMOTGl11nykAZwIi11wNOyNzoGwyw72X8585
1W91Rl4NeKusJxs5nMlsb4LUjTOn2NuuFaeevR4cGCMp2P4WYRIW/pPkww3Hw2UlWQU6dWL7cgRN
xvBpCPZKQv6E2PLQWcWzNeZPYQP1qh+e2sbeATQioqBBDi2dnnMDN42aZ/eeOW0MB7fXLDPuTe28
6ow+5oNYFxXmiuHTN2cabqzcXdFBPSsubsYJ/zUtxHjqFpDxdYqgreuam6mRe9zIY96I22nwy4h5
vcQY5I/aqbxbtzBgrdW1oA0PRhPZMl8bjNQrWCaHCQbxHabGt0Pu/lbY9kVQf6jRLSO0C3y6Xb9y
YS2+wkXmyR7Mz7FmH9yjP9HVzXF2wEutvTSJTNT4kG3fJgYNgyi3ut/9WKUxgMoC/LEqocqBl1cQ
bGmDAMzjuYKrmXUM6uKcdgYw16N/SdAEsVcHNKZSPQ5AHiKCvFONOtqNYgdzLPqo7xnMlZoQu5qV
7XFZOLEWd/2S0EcrMI5jAONnOgnEhGo8wo5gFWbpjhAP7ONu2JRDsMqU+avtzTqepPWSpd0dq4on
A+VqZAf0OXAN3EXbVdjhRidI3KZITPiQo9rOeAiCto1pyZuEuEibDO2k49L2Tv4lYpdd+siwdCKr
5xguG/kA2Y9H4rZbkQ9JaHlW0oflW1uhvA/mqB2hEuQlju2/IcJD93ENP5fgZ+vauzrVq3YghwFK
laghTRhZrblxh0oj41StlCvXMg0PMCkLI9Tv15NZg5zED9LVXdyOGhIvgasMEl8i9B6ccjg3ucUh
lUQwVQQnmxC2LiucDAqX2b41H+GmgPVn0CfpeljAfhkTO2dxGnh74hgKZqTklwiLA0QoiIL9dD+g
oTNOR3nEtfazNnF+laG472zrd+6Jz84fHgfPPJtN91gpdme7/hThHnc0wwZ7tfXIYeSW+taqyoGf
62n7gYuxFYcXRWatdmCSQkKp3R+hF6x4ER4ofNIvydP3npbYQwryEPDh0zHtl9wrN1PnxPDQcn0f
QtI8e6QXQ7lODAkxg0eKSy3Bio01tNfN0K5lYfzsW7/GJAoIok75IE0Kcy56kw4+SUxHQb9beve5
qJKi6c5lGR5L7Z47xJlhpdnadXGfpkLcSZfixOYbUmpo9oYMT1jdWmBLxIUsfuZuu7GV/4JOAMSt
00+af7Y1vc98ZBSBg761Bc1BOc3aGBZh99Xl4palZDuC1VdjlUe4J/O4zd0XZyiOgaUeuDXch3Vw
PyCBFvTTmoxoHkFocZPS/tBl1bPbh2tldRsTwm8qnVVXpofWd+/aznxpqP1WO9amLqa9pUZc5dGl
vErldDKRwkaE8h5M4w0P1DqAxRTLxi1hiH1psaolU3FT20ffyH8go3EiNn1EwuTkly3BxZV9Es/8
yIjaB5Ye0e4YPNsGdvhBk6faM1elLl+oC8y/lbePXmc+2Tn/LSX4/GUerA1jug3a8sAQIkcEV0SR
WWdWw2tamPY7LBqw5xRr9NLeWJRmkR3gWugS8dxkzZ7VuGOFWb12B46fwl+0KO/8qUAvxVSsAZYD
ft5zXgZVfFSFvfNSuraGZg93yxUtmjQyA6hczRpXbbYGh7n4P4qubblRXIt+kapAICReufka24lz
6eSFSjrTgEAIECDg62f5ZerMnKnpxAZp73WNAAM+jaI9tD3/T3P1p1yB7rvlfiYlQLHiyjjea1mf
KErk1OOSfWxoRfFMLOr/qDjj2njt8+LaKOfHC/UlRGt2OE2HKtdvfY0OIsHqOHCDIx/ol5ko9i2g
K05YHkbg1HqjNZroIN0btyliuvs7KrWj9fCuF3orC5y2aKhgtknLaUtggrh6Pvr2FpS4wGQAFBTH
YBEOT64Ib5hlj0uLMDVh3R8H6JMCgOZgi81L+lqsOnXBaVOun1YBpYEpXjo9J1vf/kyD996rcK9V
7mQe3b5BMLzVc3AExvq51n3CfX0yDFsMuk5K61+ZnH4dp/zTuv6+5OsRKQ2HhhjAwhXAynKXS+Af
udwbr3nMZO3HhDsHx7WOZyPiBpm8Eea8zJr5Q4Z1jzmwxS+JkZEReShEgzExR4NjQMnehDSbMfWF
ofu8VdNrWOiLuwwYw6EeJ4xd8Vo/Fb59080cIQDTSRBV/B+iadZ4QVFbywgwSu+1ko2IDeuSPidD
3I3krS/DPgacf1ClfHdbLF058K18beKpb86mfO+LfK9r/Zih0E3a7dFNjkTHYkk67Zy6tsnCBqAC
7i1I3RIkfp4AVL9hZI50LRLpsv3Wl+nk8EStU2Zz73UD6tTO9T/MrUnd6GMArGXD38R2Qmozbs4n
6o4Z0NXrI9eErV3iNf4I+Rx7tjrfz8rJBrlh9nJ3G7HIrWfFRbM8Q8IVnif/NuYKl8oStzUGmUX8
tSI8jr76hEQ8taJIec9SAeAKA/JwELXzhFzmLz75L9IjH71Gsqij0z6wqLJpE4c2+6EJkZ/nhbsF
50GUtyO+Q7Rr8ll80WKMO0oOulE7dNPuZGN+EEj9NDvoRdTjcMJSOqedHS/wJX13djs5pj+sUKpG
c68uOm9vI+PnMOzB9Htib0O939rln1Jmpwk9DB372/ERvXf83FToNM5RmrlK/0/d46dA8DLaYTC/
+Xo6uEgW47J6bcPxKjUQSYyI+epcpypIqAuWV+VvHA9JqNsThRxxJjXO2I3dOurHBZ3P+ZAjDdVc
gL71QF6dY2HDFLSYh4m53RdMHyd3+mPa9WtpMYLQFZWOwUiisHf3Dmdn5FMBdAQQR43dIf7khp6Q
v6J+A9qRSaLfGoULbdRrPBMc4MV2nAaQERVBfBjpQUYEqEN127eWYR3uBgey9upYum1sOKb+KaQP
vKxKpHK6uIPZh9XzXimbwpW165dtPgjMemqtflDmWKJqFePYSLfIFD7SmhmuC+a3AESBLjjhmxDV
XY+/imCR7fIEo80ZAdmgKYrqsrBhR0cIA4GTiQqH+QSJIPDGmHSiSlrBX1zTf5SB/nHb/l9F6a5p
jQO8kn6Enjzm4xJPbQihVJ54vP7n4IBs+v628vwUwkpS9/VLiyokqafdxLcB41D5M+ELTyfCDxwZ
O1iDBR5di6bPjiHka9iVXf+3mprDZAz+UmPtDfwp9f3lUpbkUFfkGCi6KzEPiHLCsWQAGrRJy4uT
zk2KzqZdIP+ZoKlSp0EpZMjUZajFHzR47pwQZ6gornW9vPdNcNcTUHrl1IARB3GX/hjPecDiGQsD
7ugeIwH/zSHKTULpfQQ+F3Hn2sQvag+/yDjHsw+DNpa1MShOVKlLsPCDKWgbAbD87GdbpZQsh81t
3hRxj5INmaU46en60Szk6jqATjgkvlEtUJUq++KZr+UQNWGtHof6adPDlffmZy38L7aG5yJwsRdX
cBot6NXzF1tFXoga1VaIl2o2+3yc9lQWMdP8HyvL57FjTRTymZ9ntzwhliMacpwA8KWVuSySkHJg
EwzYyuy0aGTl5oJghhdlPZQd9t0TplYThZre8wXFEvWY/5qxAdFW9mBsjE3bBiwpI4DzBX0S1Fex
IuPXjN7fyK02VP2y9mWtyN/FNZB1+5egRHIetjocov3LqJeDUXYnQ4Z9oEJdhg4um7+lFsCYLXF6
hs1hDsm5bEc/KbsS70YeZE2BxBtW8H1nnSudxgPek+cNhkHjrQdq1vPUDzrzzCKiyuvadMPhuYbt
Owmrb4NBtV8xm0ubArF69e301+TTYyguMymKMTKhX0VdS4Hs85fGra+SjxEtlyBey/mfoANmUnyB
ankkGoB0TMUCV6pvgGSZ4rka6lfHG7OyadD57tyRPQZLlMbnS0v6zCqRaJf+tPZHU90ehjw4Ea/A
JuctGU7jfaPk3y5f8LwzpMsH+EZAvu3coafIZQy9pCNepHBJgM1JvAW0wGSRNLRuNX6gVgaHvhoP
Hoh7z5vwWZXLicAwlTkaVKwQ7Luowx16kn62YENANJG/pEcs9MDKLO/tgeXlFPtO+6yCLcMqtEaO
Xo4FfrzRLPO1saisDTfYt1haW/Ky1ms2tPO52bqkpdUTjrsX0ReQfOMM6TZ1LMK53nti+2eXPu2t
zabA3DxgIt62/LdhcI0Cp09Z6SsMYyCfxhEV6sUXDfOnTeFXd5SfWacNAOubaDQhPi76LkpnfuJI
x4/qCbh9z/NLKZHy0MPW1ayteDIMcb+txUTjWuZmbaPPhdum/ji9b4LFukLRr8EIVYVNcJydMrbL
+mtpvsSNA2QYpvYmDSpcgn73NOXLNeywPsCK+t/gB8lSuru1ecynD8eVftG+lvFSj0Ek1YLOSTq+
TM3URwEXfeyv8mV1kSpoPDxXnG5+6qvyudlcFE947Krn4ED0du78NSP4j/Udio8NWa/USpzaIQCw
YGrfanDxg++dYFOr4OdazhgGbnzod6GaE1OMMnbBfC0NBicqsJoa4u1pj7dVtjCCgE98pH17wklI
QQ/zVNzM0H9Qub6V/gyOFRksgKS9vR92MGNOUCqQLK+rKsV5/kWXGsFnyo8CmMDimjvncvTLiAzI
MCxX3JocmgLL+t3Wiv/4Yt4JYsXjgAFsn0Y48WaaP5V9CKqA5G2s1/pl3LpTVzR73S4ufIPthsMf
wNEWEDTVQdiWb4etHA4gaqPRzr9Sr1u6yvyUC2jq2vqEt+08D2XCADfhjYOEngR7EIbJPFRfS0MO
cENnRY1qIhyvSYlTOd284hXI+G1csQysjrlgTu4Sx8USAtDsda3oFC3CAYxqUCsoQi8mBfmrapWM
Ez+MdbDv5ZQGRQepzbA3Cy4Z4x8g+vhEwfaLHoFRBGH4XE39NeR9ZtzyDWjpPwV8Lp4XZOl4OXfS
vkXvEGPzTYIEgGBjuDHt/+mALKxq22vLE9oF36KsCZ5R76Ue6Rt15zEuwMxEHrpUB5fUiS/N+1rl
R2CX37MI0DENzgld4GqPCLLzpC2JA2f6q3Rhkrov0VZO5t0wG447425JeZvcNpMbOFbVPwWEJeBR
T1KH/q/01tNsQOb43Z95nP75+Na9EXx+vaG/JCSXjVapz+Zr5/dnKfTFId3zgsNsZVCdo1L+2qzo
Xw1n8GgrVCjB2D054qVBhSPa7TMfpQKpWqbqabPbWQ7Bl1aD3jXhKtOmdY9gOfbc7VkswtKLJ6//
8Fb5i2oI5Ee3Bm4tJ1NhcZqZ+ANhCvot1QhuaVyiVS/lvvJQGkFanSmRr3FQ4qkdJAQcYwkjKu5r
IH4EGG3F2R2GPDwfKkzdkNzcwrC9FKJOwqmt4wWKHlT6biSyEkJLvmUMlF1cToICbIQ/FeE2deq7
1B6VCLZ0UWWOjUR9EYefJs95LlZVRMuCatV1Tr3C/68PAxptfX5CoEjK+uloYQ8rGXhfQGtRSehe
lt5v0NdPXjscy3qCV89JncCDy7WOh64f71ifQFiNmBNsoVIXc2ZNx+/aH2DInPU+9MtPJsp3a6YD
HTC0LLPEd6MZUrCdZ68rMn9ts5mKr7W0RzK154EDpXj4a4Xj3pZ2jd15G7DrFQDTqMYPQFELbr0f
jXvSz9tdmPfogMHY4a3fK84s03xuuPNR/QOH6iDkEarXr8ZggkT/QFKYCVwf7OmTn/UPyp7PQJma
meyBZl9RFwcuGwR0g/1jdJhJttL/qpcNebqgxoFdn6E3wc8uus8wKEA5mEDsS90mYIZw5gAKloT+
mY1+ofnM456bpOT5FG+zx6PenSI1bZh4PInukpLyFAJ/J4L66Nstwh0evd0w2aNbN5ic14RV+Xlz
jZsA/01y6lz8EDbWyn/RRLkJX3Hih36e1dP4aIkXn4qOfzSuTgCCn2KDJqerz8FmX0u+/PpbcBMc
woZimJLB8W/WVDrp/Pp5bN0r0yyGzhkHM7AoNNX2lp9CsVwZnb/mzWYMqo6is68orrktfQPihq4L
vFloTi9pDhZSpxi8npjXOnEO8iwe5jJdXBcYb4ngmGauY58OL85SHwuPZI+Uw4Koc9/KF07EjYPW
h0G607FS+F9mZTdabtjlVVYP9XUbcLQ0Jj8E1i6J5uDWqwcRUzZyjcOhAcelB6A0FSzYngSTULXi
uPkPNRsCpEIfcTjMmns+9195x4/ARPeF1ODtsDK4/MRmWSWj2zsH9FYgjM/cOhscKxQASeRTguOd
3mzvnbx6k0kx83sRLCjHWvCHTRI0FXqEEz65T2Sb/m6kPtga/M/6YFqCkX9ZkFMCN2yk/e5YVOh4
W9XeF10TzZ5+xoZ9a7rpzmW/49xeJ1iyoYDDWzIGibs6t3rInwWGQJSsZKXnmMgtuz0trXtwnDol
ld5Vwt23sCL/x1b34g34tfBh4T590Rpsfx0Ou07U51xgYrSkyxb1XiAul0MAXgTrT8A3HddMggXf
+AA9RNtHfUuh3/OhPNT6ZxKb2k+O2e44XIukfnylc8H2QQ3TubtguPKgaU5kh+vW4HVOFyo7wGJ4
SZD4CeEipBcKf5l438QL0wkAjmeoHf8ZEACrgFxHhV4QM+t/5vV8se2KA6/5yh3ElflSHCCfxD7n
6BjkngelW6Pjdi3+803lpjN38nhlzbesCd87G0QBa4XtEkpFxlka5gBH16kOM9ZjA5qbInUqekeQ
8tkd1J4CGQt8FJCBUzzJtok1QbM9+EcIL7/DqQM47uwwNzmJt4mId6yOrK5ZItsFdKOAtMiBeGNO
rWP2zFT/mCox8OTgSBXASE/JJ7f0n3x0D1eyTAkhzx5lTwDWzqEbYiL079D7XQB2Z60zq30lcmQF
2hZyFXGTGoZ13orP4VGWJTrszHnlFQlZIaJxO9ym+NmwHNgq6RyDZYZ0Q1yjS2uTNu4neJOUM+zZ
ZiGNCF0gOdjZgmaMqnEFXjExYFKkvjTQa3GufjFmTGkRdNeAdzmGDolfzA4HNMHViJ3Ou2j1uz5G
1PVlap03udUSVxVahIPJ/6Fb/+puEwamAO7eegMZXJiU8hxBZwTzjCtAHpvi5M1BHiO2wUs3a9po
Y8Nz7zv3UHZItQ6BxvkCwPl2RfpRDKXgHjq3pPLGpF+JD0lingZdfcRjuCQ9vcrHYYxdd4a4ctnR
1jMHZ2pBHs+fVJUHBdGDA96PetWvcqF7HhwwIYaB38Kn2fUkhWrl2Ncu9LID7qyeZlMoMlX6P0hv
3KKGb/uhBlImA0AQzgT2HgkFChO8qs79xDHi4CRfIQm82cr5F4D1THjf/a02AIwhDR9jHD8OJd4B
PCD46sbpOIzhz+CJfzniAswW1MkEm1XGGTjKVkypQ9x7EdozM/0TMUmP1TJ2Nr9U0VJhdmgdjLXo
kcWhkEv+3Qb86s8rkGoV1VLdTUUepwyFHx2B4aUcCO7m+bCa8iwb+gR3troAm/mDpbOOJPYRd5To
YHRM3KFHaaiHfSAAjQrUPrLyLwD1GZM59IVq1AcH0CLtcUBg1+nB8JRpJ6HDDQsXfwaFQXetQVDp
LzVubszn7iskw2uwoJ1FQOvb6H2zmow2KDVYfQhCquKPq5cgEn3LQdz2Ox2y3RgsT4QjiCKkOtmq
CkRT3p0Jw71q1/kdtzNNF8kg0R1upp8AZqsxdsPuvfA8VHUAoixM/VBTTKi3Xt6agFxkvtyg7NhN
Hts90i3Qj/HuG9hdPB0e5AC5Fx76M2haflY9hADehm5hZwWwNK/ndtPI9hLnzWxHbXDHSFhPaN4C
YIN2Gxz5dPNK3t8hZ2wjZ4G+h7io1MY+v8TbmuOIKvviELRcxlPjzTtYybuvOR/XXSnFpeTFq+/Y
K68eqHuND8NjbVYHUP/622YQbwke2PLuyJxpA+4U3g1b5kQVw3EE90IWea2WAU+mHHEZg55r/OEM
CU40MfU+MfcXXAE9gDwD8NM/VYPPsD/QWwXuJSY+xHU5/a188S9ou7+u8T5nz7nPLsYrrEwsqTsf
tH3wry4mBRFx74If9wGhb5dKFAc281+cTQGQ8PI4MZmx3OJDW6uEBi0mRjMBiJ6DAn+0RL6DAMcg
IbqpDKQvSATtjfvFWsC3rgd9myZABreanqeZHNWqV+isdLaxer/686FHieu+aes9dXF9Irc0k2zL
at0eETrzEhQFWCf2Wdjybz6Lz6YwsAMxflIWUQNI4cbKO34spiERhwgF/CgKlho/W4CIL9OcSB/N
gfiAow66hkgDxsBNuHcBPrWB9zSrGVKW+tcgSZiFBs6jNbU0ONZ8vVci3Jdhjkmq558Y1w5ovupi
AzJrqRBNIuogIWzwX0OXvILI+s+Bslg8Al2bHLJzH9jdtE3xUAYW8OasMDDWXYwEEfwoJSCpKshf
ofaD7EPnRUJN+XfdSAzW6tSuLVLNPOBwXZ6DoSzcc77yU6WcGXoFABGK81MzdG3ClWOTbsFhWVNO
4gLc1Z17g58Ujg2gfjUOpt2mShYdyswNqYzEkH+6LLwxup3nyrmrucUEZW6yMrdhDfduvXhQk8Gb
4LQl+LOHrKz17gVozl6J/4ayR1dLqRHF1P4XbNXz6HcfFN9zQenJwyIHmr95EUEIOlkeNVN/jaZv
FvMgHrEgXQR7BhV2CTvvRW3uHu8CfAWrzKilGbTABzO7PxhNrrlojuCnfjXkBo5di1MlFx9vQiMy
w1eCTKAJLT7DmujcfXFDBMW4GBErgq2veUgCm8dm5an+Ktv6oB6lfhVjKVkA3em64ZE0D/omN/9Z
2kPVEUgTA+dIsIHg/Ckw74B/duv1snT5ntTOW7lgrWjxKCK0607m7jps660YRhzxFqbThZ6rdn1z
qrqKO48A6RwH5KygOy3Oq+3AnSUrVPDq9B3U6N5DQwyk1XXyezCI53XEKy09A1Qd06zuUzLn864q
m4iICtUygEdxXNjdFmBUko/dtAbAm9o6OPmYEjPAjm3kavebgwlIXZfdA+Fd+II/AhrKdwNgwuIb
hnDsuVyK75rj5gtIAE0hwihWL6h3IxJkGWI8EmesMfK0UMKUoHGJSRFPXiBSSV7sFn6M8L/nbIS2
rIC/BOKGRTppQYKDX4MSGsQvpAdQvG9yOPVL1SThowgncKpdMIF9KBWY8z6PuiLH1PQQIJu5SiFo
0Q9OH+o6hO4dNlvb1w2DZ1IBXvijQY0M2vzosIfedOydfRj8F1K2RWDMWEqNdy+JepKl/0bJdgkK
8kZqqNzbENZ8MXinom/rh7bkXbBRYT1RQawENuzOoSziZkEbc4kDb1IW/DtBBevi4nLS7ZeiNsdL
XAFMG2DnwegY9RDMnNoc0yDeiD/BOt/ZvD4HPbS7KixvFKLQCL6BSwvJSNw35tVDz18yVL5MelKc
/VKHGXxNaOZRatJw4XgpB2w4iSCq9NBAbi33BB8QUQboDmIqCndznwdlf6ulfnKapr/RKvcysmwC
yuDhny4N3g54iBLSe1CN+ME3iMLPpbOQQfaiAVtYBnEO3VumMP52DDQ9L/ewBl0LcENVn2dhhz3c
W56r1f2LrOLUGUadmCn/WiAsgja+ftsWswPGBRAAcApUGtpG/Txdu0bztBJIG6cQ8l8QN1UiXFUB
7esxTAMdrwtxxzJ2YTS8OY55axuQCBXhN2+RO39DUGoeZmERPpcTHtjNTfpO70gJJ1PlnMMW8s6h
PDQlHJkzP+L6PvSyflkx7KKbI+3abYsZ7Q41sibHtsdUKqIA/xaAO3DKCuNSM3rZiGrZhHKeBJNJ
c4/iuSv9QzOVF9m5+64Ca9+11Sucdy8QTwKX4jYR8BpAlFP9dIgSisUU3AXrRERWUJAdG22ENkfE
hzWXqUNgoKPwAQj0VzE4QdQioFIlmK+6Yz23hw2K5X7IYej3qnenMZ9V5R67EKpRDhGj9evTbP0D
jj+bQMi+FytsDC2/+DhkQSVzxNs35FwFTdbLPnOG/FQjAwfBEA70KdXNg9oLY96fGhprHzBGPFpH
7mgjnNSirylZ3TJrVAedFxitOOTTd+mKm2IS2it+JiuupXKQOxzgv2OJ6EleoYy1eUhlyIk36GGa
7QF2Qyj0RgW4yMFyFaYGgnSCuMqDG3Rf3E5bhPkTNyRXbw3cQ8Fcf0IDsQ+r8NlrcyBgAxYXNMhB
4glCr1l3Q4stZdwOEAw8i7D+oQsOAsrtR9FVaGYrKWZMGGUCRD3mDEHfsm813jwTC7d6mU3xD3an
ZMvHE/5VGNFUu2/xq+ceMG1e34dJzoAH7Cv3Fx03c2XT3g2/OvrFZoIfoHRjxTFMMfi6QVv1HqLT
nPm8ISsO5w2GtgC/S1VkgTvurSl32g3+FKSGDEX9mYu1AR+2ZF47IhsUvxgP3GeUpt0X5bwTy4+1
QjU4D/NXWucxHpgjmqXB/sNxhkb0eGwsNgQKHadv/0AFsHfLbcqCdTz7ZrgoIPWRYyDwmczZhdlh
0vruCDSAdAICfiRD4PxAMxMUP1STF4LrFgq4A+Tod8gJv4GxYihfMbiCIjmtonypAtinXZE4jQNN
ONRIOfT2fTtZMEu2jhYInFULDSav4KIDz+UgUiMmNPCish84tK/2NOupApMPtYSGnhb/KNxb4NgQ
v+7a1sk0QNmVOnMsJY+xflVpS0ydrCPEijav0aOrasgHuvHYr903/v/3ZZGXXmNRhG4rUe6SR8BE
0lDim0dCNyZxhKSLjT/VndjPoGJoNeBFgvYFcHYZOgd/WiiGE/EsyjGDyu8oIVnNS9PhwVmPuLzB
5Qf/YW0NEgFFBEIOOACq0U+dsvrGB7FGRsIEZFv1jJXci4AvJygmSTzD7uXMk5CIfRuMp9J3cAmr
K1IdU5jFUzWwv21dQL0j1wuIzMMYOF8yL54xx6GsLEfwJbWJUxTeDmU5iHtXEuuUm2nYQWec+HdO
oXsL7Yh2b4kXAVZElcxj+SdfVgAbvt2PLsqfankEbM2jMs+PdAv+IB5Ep1suyAGANdTKSmLgJC/T
qt4KUp0GJ7xjlUsdSe5QwNy1iw0GnbP4kzrt781AU6K8O+xi3wMsIpM377UEKcQ3GlmiIGptEDWz
mgvR/YFxH1NVq+DEUNuJGx8LFFRDcdiB167NLZALuGz/c1lnoJ4FhNVYKp0FuSTAhsCCBm8IHj0r
wAbODCV+2xz6ogBnictZN7fVzWnkNRMkcgSi0M63Q+JCVODm6xjltXsJegGw1WugqJtzrGKomoWb
FmsGINXBet8QK6ZBn3+uY/vfxteYDOaEds036YhrNzfoUQp2M8LPuwkrAK70D7Qr44ml3sdAeny/
ALrheYpgv0lGhb4SiPxhUlkWkhJtssri5vDm8rCGI56aFrUsm8kWjTQIYre4DtndWQGGrBtCoGk+
eghVdYq0bqvrOnQZcTbQKuq/EjXxlanPgDGPTRF+bNR7CnqdhmY8WORToiVFZZAV4GfiNlpY+R0Q
4+7IBIwXqkED0nVU8nUe8AI5OWRhbHpG/Ho8UQdPXP4U8ArteGBfsWBNzbLruuBr0cFeQ9Psuean
28Z3YxAusWFsahF3hbEAzIyPVVZL70/lubcQCrGuFLdV4mnuXbMrAr2gCrdPKgJeaMbGSlT5AZHV
T2c7xKdw6YEA3aLQ4wqsHWQb1SMoyuC60wzS2NoyaDzLh2t3hIcGsNCWc5whrPhv650nz6tPpGEx
6EQ4ooDPwiOFjaepD4RhQd3ssZM00z4WTgFNAIiMQ9kHL6vGIbihj1tRTBBOtUb9BGfrMPpn2kBS
4sOabCAcn7rptYJxBXYfGeE3OdQd4imlfFslRIUc5TQulvnYDeY4tN2lksMD4xkHrEv9xbX66or1
4IwSl+SyPcyRMDT1XSwk3D7+MCd5z4514ycBBoNRABL3wvemnWc4PyEgmSoEkaKW7wizz9OYt6+N
dcNMdxCiPzxO6/TSWn/nukHaIbyAGvLGFgrxLShYaHWCQxsOWBYrcWydEd4pepZh88aRnRiFg59p
IZDZ/JCplt0znHXvoiWfjuN/wVUC8cz4qe367RSA59BadnQR9A2Fm79rgha+G07RmtEWE5TlTghX
GdLJOvbZAQwGWvxN2Lr38/5nnqCPKAjgq9nDdm+H8jQgxDO1HTnltj+NXYsNWGIrK36nXKbUUQe3
LP9bCwCvq7yshG2xNeO9g9ZYKvGBjTPVrfwnwDEzd4MTRMW0cV/qKvjypgaLPMItDW9OUKSCueDH
pbFe3FDy4eEdMvg5o6VoPsgEh0gg1nOfG6hJumzu/RQZdDfUqx6oBSBsGjC7pP/XK+e0cv7bKkiN
tUVnZJdDXFt4oFJHevUcDkVF8ce6MBHNEk9YxZETGXQXC4atkj4kQz39T/hA5zraYcDAWgDEH9I/
hMw4tYl9PzwI2mMBXp87m6dkAJZTVOoH6awxDaEbmBn264Y/1yKHvm2ushI23NhxJWYBPTaomyDX
wqtToZvXfHJZguhwmPcgtYVDg1EY8SfoEmFH1Lk6mx6LAK5M4BgUxjpZwWxdwDcFdoUech+J1MKI
v02F2QcH1zeZYJBqRnjg6xdgp4COphen8490mS6ckkvbQFxcureg9tKO0SNQwKPFghqXwJRj45dX
w6fzqOwXqkLBUUEKAfdTOlB2pQR3Z65v5QKWYjLtS+5UH3CKIu+5YzCdgNOb4EszHs18x/saFBQZ
LuJeuwd/SNwd0jMh0RNwMQ1DEPNGmBjX4tXAHD0we2FttTfGfadV90QtQ44vps9RVaAVgMFyrd/m
EuahJTANpkhwpgPzL6tFD4xFNJ0mHRhILNs6gLW4qFMDc1hbQKMl+cdUkqyg9hy0+FbnUndxXTf/
c3YeO45j27b9l9t+BOj3ZuN2ZCkXUih8dIhwSe89v/4OVatKLyMDyM4B6iARoqhtlplzrBKjSeEO
kgKy0yI+qjoODNNDTZWvVb3ceVTSsGri+q6CdWzo6qzJiher0ldC9VcyRd7SS36yPEt+9RUu5HBy
Revh5tSSmE/BpWVH9tJRzYWW0B3U/M5FkDBXrHKRQRye9YxobmJhznBv7Mtx/Coc8UwOkaI5aN6V
kdigi7Fwo0mKxuriS66nOQaqBWWRORJKnNEJkj2tESu7jt+or84L0+MULvSzqAiZO8c6xWaLGkjr
XKkk20B1euqAw0oJHN6h+Uqc5UZ98jYlKgBbhkEqGJvnl8hr8GNqCXTJytpVO5ZgZ+NJagisBNLy
Waxo8wmb7uWmEzOlHJ6juFPnhsyxPegs5iTYTGo0tyzCUyUz1plZnXSlX9tNtiZhfqz8ZpdLFG9x
ZDyoJfNXGWW6GGzm+wjx2HEpMYhuq+YJ5YTQVfPijnLOhozwSK9o7ZX+PcZU/LIFDUvEMWMeYyse
5Snrok2p0/MIYmYCpJ41c2riRs9HRTVZWGUs7ZD7NuFqt3WQcyiIqukjMW+6qx57Ua5HT1uqtX7O
xfhUtuV7lIx7tVarZdp1Bwd72BAZ+lJrzOdKZkscoiyQcCS+DbyN7mj3iOSGy5f6TNX0MWqEmxrE
0l6nrsHuxSsjSPAcN3W7QjJOguygobU7jAt1zP90k0E+pwDCmI8GakaneUJXEWIch12B5MIOtVtP
sfHFxyiLpov5QL0fi4yl1hifoKydmaWz8KbLnrCC8aUE925l3M+q7n2MnYepwODaLO0URaWIum2l
+UfFYkpJGJa36cUC1+Kd1GkbcQ/hXymsfG1W6tYOUF1ITbtXM0gEF2ApCVHX528Vjc9ZPvY7Nczx
kpjpDp/+k27ZtKybZF15/MlCUlbqvVWZmPGC+PKTpJvbCMcU9dp+WuJ5MzZRPsSbrNEw6ntt9xT2
SJMkfGKy+Aj5zWi4I906pyO6sIvCDUdodJNDd0pqUM11c9XK4BjZYjHVzoMYjXMnS9jbnfmR2hDm
KK7uyoaGYF09l5N8DKpOZcikMwvs9ilm3DAoDMR/kDkSRoKBLjjRvp5nZYGspAHHVfuvvTJiuTCK
p7BsKSgmPn852QTMRidvpIgb5s5DGQVfloKot+LCZvQaIlPjnrjj1GTZk66UZ/j11jID16EaEFWy
oWYIFAGQ3owvNtOhY58jJcV4OaNLdF/E4FW10X4qKsZK9+ZwFynpPf/+LPCC5Vaw7EKMAhxtDqMn
iZD756S1t+1Enw31+kYYxeEfQ7+mwTJXhveoVbajj7g1z94VRyhUdoxz7g9s2GQxtZgHEeAucByZ
KJnNTd3bZDIheonGetNz4yMuS+jQ9fhGDgWroYk3IlSBV8jXmMLjLAr8B2S+R6+1fhmT9Q7T8AGw
yEuMAikhRtVadG9k6PSRbqywfysqWidqQwqSVNHKtnHM4F4Fd5Kcaho/hR7dafH07hX6Po0x7+rp
Qs/0FzK0d6koe12X2AeiJ69CRyKTt5Ra9cU8/lirgFWmTDxEpCITHiE5TYRhPV7LoTxbZr1l3MlJ
QTJdduJojQPFTn8rBWjxQemp8sFBUVOQBlUhHjRFX9hRuBoT65Aa9kfStU+G1duL0TBeFSQsCnVY
bufixse0UvfTc221i3rA2zUqKFUstcFtQrNgAicRxM2S2XYz3ARoeUTq+slF8hcx4UOpqzvTIN3I
cn1bhgktp0R/D4XA4xoY5qJLsCrENSJz6gb0dBDf+3isMlLa0EQ+icB9VsbUhXrlFkfPUkfZglp9
25ZltmhEj0ezsY7qaM8Qjz73VY2Vl9SqyZtnSuHPzhDsRj0LV8LmYjBsIGuViU22Ptoh1bzwZDn6
rYnhJZrQIaIKVwbrkCuTa2FNxH+6a9QemYagEY0qg2J8M7xYzXjfRcGtXQTLyNE3bdl9OFl3rDLI
ahNe4cJ2E4NwwhaluhoiGj1FtBFK/lJM2jkpzK9a1+6p3Lw5iLYGi4obMoH3SvEqUhlPR++CpY5k
7asJ5T6lZkoDqzwJv9gFgAkcddgoehjPZEaf0FYo4/u1gnMLT27FtdlKXluAorLVuC2tGiVtDJGt
lh5K+B5RI2iOdU4hARZGMkP0FnOQew8szWquyyqmpOgdRyAcGkPK2hKztAZBNYUgsaS/QrMG8hcZ
g0Pm3DTHKTG3qlU+jQFCF2QLiL/jTTwF4GGMF70gEdUazsgsfIoS8o8gal4oY7/oIyU1NXtQDe2Y
eeLYWdp7gTRdG6dyWRfpuhEDPbDg1nDI4Hxk3EMgt102PSAG+tWNVG9RgDS+fFdzsW/9dnMpjQKq
2bQTfpRGHVeS2h+ag4pJMzYXewExZCbSmF5dJm9E0N4bXnIY1PCs+u0jXfCVEapvWZutEkA2y8ab
PmI1du2WDMiKAGFYWnh0omypNs2dKJSVk/eADOovTWA6DxxRzIwq/aVxoQYW5Q6tNPEOCndqrYcE
YIjVi7muKa7XmVssIys28oLJq282pa1UoyBol/gXS3BYo8YUBdW2HgTAqwaSMHbc5slqs/dAz6GS
RPlraTRYhEImHMgqpeRdTJ/5oN4rOL8antGlLXGRDlnHtA3GhY5LWI1EcjNF8r5p48cwkHhM/PKs
tFS9IkIJvynPVYIa0Sk+bcM4xuA/YjQLLKtpPXX5DukxQCFByw11ixnEPkyeaGMlQTcvyzheqG2w
caJgYMeW/naoc3oXbfvQmtaTnVLJYv7uvFUd7NbCj2njxJ/E52u75OLTy/7eCWvmMdTqM5GuwRJL
5vyzOYYYcvMB2UTls7rbAGWyV1NeEfiMZ3YWErxF28oTyyA3EZQHCiJ+67YN0vekQiJDLfGsMNMI
qRHyKp+Z0YZWNhRbh2ieVmm5NdBsbkH8gF6KiKIVUtVlXHXrlhpLrpWoMQOkuRPt7L5s75Ga7oSC
UKxJvUc1wDkM58kaJFIZSrixFycLovlg1adow+ypEMhWsF3VA8L9YViNVPEReBgbNCp3PcaxsAff
EU3Z3jb0B7VHUNTK+rOrcPEMxVGz+mctax5MHF6iEnN6ncfcUl9EO7qBra4TX8P0oT0rEOr0JD/a
2nCIMhPPU/LRT3GwT/vYZ7Erj63e4ubt8dpNd0Ip3CRpdd4YQle8KF+NKZZJ1NwPNNCKyN+2goTS
Tl88BzFnGaSvMeJ75rDJ5zrVtxknHXkAP7GZPpkhKj/pc+ZKzXgIR3UfmQ1VSuCWO1ZguK4Mj/C5
XMuuSPeDI6qlRMoKfGExqsGhyAAvSNFZrKVyj2dtHeVIMntHPKhyOPWK8yR6+1X2Zbjqw25j06Iy
42JdWNEzbT9uibQ4T3l+MmT8KXx+3anCSOpk+1Z3KDtgA2iiApRLRhQfaEB/kqJH1ZKu7TS5F8OE
Z9g0ZmMybppRe296/8agW4RiyGzYgGwHnUpzV3lnNBEuuAu3M7GR9dkuxRQxU23mx8UmdYTExlUy
FR+doW6kMy7SXnucquZg20TxZppOaAicT+mkN2OODU9lhsAURHeOlZz04aIecohHde0r6zRXm7L+
ovI6qk1yHv5RRFOxR4OM3OIelxT/msyKTOPZScbX8dIkNNIHQ4nCuVDKdUiTPNUwhoMZxYnjEeW0
Kvp3k5a+fvncqmbXB0iPWLtKK7fkz0te1yqbfAAkCoYnZp+g5RDFccBaNfPoB8xjqihxYJzAEz0Q
0D32hvquKpfMrWPOexJFj3GKuKEbOZKjO9zgR2a8WYeaKTXkc2TxlJAGKsP2wTSzL2mlb6UJQEE3
tA3zdc4E5nIpx/xY9mjkFXtcOBae8a7R3nFeHsOGILwrShg+2EDmSkRfvupvBoi7VBlQ1CYWItFS
vg+0+nqYhCTv0UDhTr56ZrbJyd0LJTxag8NgFblKCvXdacJb9aIi7uWimC6NaaGhEiv1u1Qky8mU
uwklt8KpMWXqgSqYq5vDWw8SQR2jfRc4r3YsUbZ0t3nCUCizzJtFi47INKEO1JfGLS0EvCOhq+CQ
oYN8HHUf4ZdVn2PKyViE/X3Z+A/pVOs3aXzRXg5qdQin8kaJsmrl0PBjaldzHDX7lkib+5CTNovp
qiWqTrLlYWgYvReMifmm08tuphEoPJSFOA5+ShO5aG9S3H2cGtNjE4RioZnoY+NC/EoYnWAow6fD
zJk0Ffdwxjnwun4vOftriOmMm6GeKgFddqg3vRxkAlPBEgKiskfZjs5+XRXFwmvCpUwhdIzIWUzO
vinSoVxd7htPX/i65TqWsmk0bPNUQvZJbO6F9YJ3H6gJiPYxita1ni10v361/IlBOonrj+HNmIoD
5cBVkH6qRbYt6+HEbrirgm6l5dGtQ5s5NfytZvubrsfTN5EukU0Ye6xJNwOtiIUCZHAVl+m92Sf3
BhUuGSpvse7QYLPN0+SPZ7vBmtwmMjrUoYe/PF4WHZK60jPOTTJBTuuUgploCDFl096mMb9cZ1BE
t7T+VuYU3UxRFXdVYkarsQdik1S73kzXOU5wjotxp6BlmXU1QYDXzSsbT1I8p6xSU6lHqyb1bTOa
3nJS0Ua1wzT3DdweuELPgZqcO88555aYJ9DUsir/Uuk8zKpIfeq7EGYi+MBSFLcVbucOXiJHYHBK
SHFncR0+qAonJ8nPRbbpBmZw6KCv04XS92PF00y4MdXEW9VDefA7PNODBNCWDDeOxd6h8jlD8Lpu
nf6Qp/08MCSbk3NO15VPu9LQkvqcTkyALuJbgEG7rMEFTD6Wpxgz6XTUKOBKJXJ1n1PPkuYmbcRc
Bj4UGjFxJqL8UOJ11JSPlg3lXTEknlPrOEjmGiJ5Ontp68qkP/FN1mOBQHAqDTCakVtR5Qk5KzW6
MthW6Gt4cPFHSAo9+uDIUW81xy7XusbD2nW9IhSiIkBS1pdHbsJbM1DXyhTmiCCZ/+BM+qImYkGH
sS9B/DghLEPPxDsHibKk7Fk6HaqnYK1q8l7xmgWWdPgD3PkYqORtldSnMBA5yMP+hRX5MAaNa/b1
ri7DpVcqT0XU3qccLVXdPHYe/cp2HP0lyjoMNJb2pADimlPDUWjS1Y5rlzy0aaPLQ7kYUmN2nIS+
QjFs6H8OLC18TgSYayNxKHfqH9IQD0BET6qCbkwfXUumr0ZWbzmS1qS8aznA9WeFtlr3VofdUsT2
I8Sbl+xSCdSjcN/Xl7Js3ANdgCcnSP4Lo7hB2PUJW5LPGtFo1uX4Gunehukwz76TfyXK9FpaGBEt
1v3CVqP35BLUNCniCaWS1Tz0kV1LBwFrnF7alEzACn2xi5Juz2t9VGg1eZrAryM1oB6XQyXEYVfe
GL71qOfWCjfR1jfLVaary9Ge9jQOMZVFKwch7wTSK2aw7SzQwlUaTiutkiNAz4BCtYQ9py+npH8c
IszUdbsGEX3qLWuXNwMqMFnVFDnCQ0tBoScWxjSuHxRkcvMqm5boFW5HYW0oT7/2Rbqilbe+SDXI
/+il9++pkhyKyb6rLJXOkAA01yYnz9Tuk84+jIVNdV19FEP1a7L720IbX1GOr3pL3xdt7wYUxzyL
XmwRVVsnG54NXLCax7WGVp0yUXVWGv+AzCleDEhxPQ2VbCpOGkXMMYFyRH37ODLgTcEDOLXq4VJD
ikR1Rne+cfqU/uZo7xxmps1wj4LzkuEBJj0SnPIwROJApTCfw5D8iv3wWBBfEQu8kLCxXY6xDSTU
D5dOHO0p+lP0gYc79MMvbTRPmlPBdjDMO2xuZ6GlxHCZW+vMpov6uwlzybyNzQGxWXwbF9WmFGhQ
QckcpK8hc7WRO0c07XmcD2vK7rK8u0GBSpIxVpsOtTQwPTGz/BDXl6NosziOP0E/gL1zys9KKqex
E3dOM6n82nQAmVI3m2QMWgNgUFzdt4ZYG5AiQIatpH45XoSmLUNBgaDxASMAUzCgnOAqQG/cdglR
hTTnUe8AMsVTlqT+HPbA3IhMlxqef5QW6hwlyZ4pk+2xbR592oSDKOcIAhH7+URriQiRKiNVXGaR
np1Bu24D5GaGhyWn9sGGZtLx5+CYEAkPLvvpyecLL+gfvo+VPNa1PE86OazZ4MQxgpWdQBPKh32J
E7eYEJp2XgUbVTPge1TJCQb53eSFRKZBgLISL0YP04+mn34y7fJFoysB7o3goMGqUiBuCaPysTIc
0gytQOjrMyXWo/s7Rc+ZhYq59XBB0vsIuk0hOr5+5r/xo7xl1vjmpAHdQ/0YZj1ZLWpoNWHgXNF8
xBPZsKhPxWTtypwGey7FkzY5zDXm1wtG9YOJPcj11NBZwAKVC7iTq7xqsLBMpFFeEljUZrO7nt7p
oovTX52wCfkvKRmLx8Fubz4OXUh5ITLxvTv551giv63jYCF6H1m73Gq6s4Xni5zEOdAhPFoGBKyJ
NoJeF/vQT+cCw8hGmN1OwAqnf0UVxbFscwm8FPO5cZ9NiJAEnrMppL3qnKtePtVZQN2F6lABVKSg
pOwotUksJVxh9IfasTn/MnzlDvKQWgTnrlRt11dVsFAYabIR9TbzDMAH7vqy+2VK9JYcMxAd+4vs
vxjuQ8TRThO8mmQcC0AA4y6PQ2+mUg6G4IpylyMoVrzloMKYjgNChzEFvXipP5ah3y4Kw55mQ2Uo
N6NI3n1VPIepbBfW5LynKAbxld/YdbE0BE4aSumOwsKWEAa9iko1YxQDmPUZU3UU9bULjbWEtaUH
VrVMJGCyyHN2FIGWda4+A4DaWACG82xaFSkmu66TsyloN30Nd9HCvj2OxACKp28aJdgaQ7JoRwCj
gWktwVdRjBKIA5rXZshxxioJ/2cBO4Xkz1fbcd4OwVYzidVVvVrXnfWlIa8v0ZAHlGsbxlfyDG6q
ooYL8ltbUw5xyj0rIDXZ7SkDHdIGObypCJlnYp9zmE8NXKYLmLtsaJRkRQPOs9rU1M+DCsiILhda
5O1Zq5uwiVPa3JS2TFXhMqFCaI/qq4rZci71MZgpfh0yMSnYMdSKZZUSsg3R3iyiDA1hsDRyCuxt
JcHn2o/pmK1L4TAmrf5qR2U1hM1tnnb3WmNs8Tw9AjZ7izSyuBjpVhxbnCNg6FFPsWNLeeO1TAMs
qwr9t3Fk4uQ8yc12XsrxoUK2UHsX8Vd39IyBIMG/OKhBXiRNuum7wi2w76MNoUPm1y+BTO8ScCFp
YuxsjGWzQi0Wijru4C3cFW3BUNTYvBVBwtDKaRPG+j2ipwtaSrw7pfIa+MTIQ4ast264yTJ9bfTD
svAx5SBDPOiFQdoavhXMlKJO2J36VINskZhuVManRqNTr5X66xCVtw5oX2qr9Zx0zI0qg/ovDeDQ
CZ+qKjmjINnUAxRJiqbZVHArKQbAhHw453p0L01t2dZ2Q826uVEa6+wYmKElpkq96lK6WcEDU05v
CFcp+VbyKadsvECiiHRyuNdCbe5RmHQMpH4Mot81I6G01idz/yKwknlzSNvyyepIdDO62zqHeCq+
9MFBzm86R6nIVWOX71NikC+hJ+3EyqynDWJCjOzjKsjtbW+Ui0B35uSmS6cY87k9xWRD+vim1dzh
yACW0cX/wyDQy4FZvIZFkNJqLA7waQNyXCzOQ6cQaTifudJ9ZIP93CAGm9dWvYIl+8sU2baW8VL3
C4aNjsNnEfTY5TFk07fco/baJcLcqXHwhWZpX2TRSdRgAIvGmmHFdLHv5EhTVYsaxLQd23ThZxpe
UW9O6WVBbvbIsI+bMcjwtEXi3S+7l94PllmNAj1Il3TqXMi+VQtnOWHyUSIuiGoLv2W4QcjMyT+5
Y+GcxwsvC0En+msy92RCiV8Nw6vv0elrJvPkjWwV4voP0nt4yzhl0zBcFZlEQT1mM6VOTsolKVac
i2YmTxao/5/iPD5qeCNmfkO66OsVoYD0fwlQgmgX9VeEoJt6Sm49omNDXjS1DDCw1E/cabPGKPYp
dciME0lHGWJRAwqKaI6qiXBd6RVMFwV4aOzqTrt2uvEQBgxq8KWYqaF98lG4zuyp5Dpj9SuT5aKm
v+2j9Dm9DJWd8MnPa9taFaO3DWM1WvAfVGHb4i24KOq97CK3sCCGhW3GxFURc54POpd/ftPmijty
nhfQ7Xyv2lpey3DiaNlV+mby/NVkUJUecvut9fxdPLXdyor6nakgudHgd5H8Pw4VCLoY2EMyopII
vHSnld5bVDoMVUC95nfmaWgGrjWmeKSB+tAO7Uvm66sqhFGZCXU2aEg0sPa+ETU2K8UL+F0K167N
cKXF1avSx4vegG5PKwu/nURRelHX2t2yHovnMWzhdNvafd4QT7fGrygzvmC03NEGRxIrtZJKBu7+
WNA7hSjiprYO6ri/16MIjJP1VIQVhoSU4xz2x9aZBiQdMkhWUYTWlnaqPrdiCFWeAyTDOEyiuPc8
FXGMbuPOpXM2o+q2yQL/PpHORjfEeUzZhUken5LGvxvaYUMnpZmLVLn3Bbz+NCZCpeUQ+Xd6h9k0
DCa6e8MHOCqFrDEr5/S10Q9gGIhr/fVinG4d+9Ld7ZemV3xUJTIxzsRZWTtPNTyRQW0vgOTeTXBy
QLikgUUUTLkFDUquHieneqkTtFeeqr6mKYlCc2n+J9qpKBy38PAkSFv7qphMs8hHXkVENIft670y
zSeY7OCCa8+a27J6pjNN/ddykIml8SPFCZsDZrhLShyBdkApRJTpXYyUhBYVMlzScWaWTcswp8Mm
ZIjnNCq6hQZSceWw1u2eB8caSK83cEf6FAvJvT2v28DYjk14j97iMTDrPSUR8mt7PFHRuSEQ8HHF
ljd1S83AD623OILsWHVQvz11X9fOh0lxj7lcMExUzIiJT90fcf/AzqtgMzIXMOi4XHPbfIv8kppZ
iPddGdEjTwEAGsdBzkulNdTA09XOwRAigTdmPzldA6zEVp859RdOVn+k9Wgv1YIqdEQnAWjJGe9X
MWs0ki1UsBeoZPAJ0BcJkIL0oVL6fTOY8qOz7JfApt9vDxhjqkoBracRak5EqeVzpvo3xIv0+Hvz
Nk4IkHsvuktroBhITZ6lPowr4Y/uBTkTef3LaCPUpPvAoA9IvV25Atb82LflQ1Zaux5mvq4Ob7U6
ocEgdkMw+NFYPE2hmPs0TfGP1eemC987E+0OdM0GUBDJVKK3B6um3B8E8TbRUoKmJthW3UX9hMeA
C5qkXaWwFZ3GMf6ocHv/efjLNzNr9KspiLKUjtUjOXVt9ob1C4P/rOZS96bHP//978a/XD734+0c
Zn79v/+j/T9PS1FfF1GEq2DcDz4KQUfexuOw/Ls/f/nYf/350Q6JAIwgctt2RHSi0TUuGZKuLf78
578bjXM1Egkhf+QgCw/dkeltEN66tWSr/vDqv3s1VyORmiCfTOBhgevZ2tE2m0OODy6S4frvnv1q
3BmIjoSubhO4Wjcfkq+ES+nPf/i7576adFaIQYal0waUa6NDUWmbQulcXRY/DC78ZuakfjXmKGNM
Rk3vM3Clx8BVgy6p9gZSfwZrZAbLIQx+GHukXZ73N0OjNOe/awetWVsLj3GFsqenP0XDFlIb8UsP
BD70xGHQmw8O5DdqXlynU7YL8p/mImnfvEPt8uX/tW6zmvJijayWwXrDYlokCzA0lxLNGX87lcUF
x9dcOUXND9/1m3X8zwCzf31c1ERqa1zu1a6DkNF3jyUgij+vhu+m02lXOzwTcOqGrMTVvdRW4S5e
2pv62Z6Zq2rtL6a/m331z3v81xewhGy0sTfZiKAF6vQl/WmX/POYv1sFV1scd1/Uwp/z3YZeLEye
ue+CNVx0oHtngINnwyO+wlXt/vltfTNwUrva8xTT+0oLW58MJuaiDxDyNIQ+l0rxnULt6s+f8t3q
utr6iCi6WAPp75Iz6fkrbpes/WlG4GUb/u59Xe1+R2nssWWfuN2KcHadrutVubFdZfHTMLfvXtHV
/q96WmJGWTMeZ3wFIQDGplgkPXTMSK6b7Kfp5to3W0K92v25NdiM7EJVaUiUnE5tQG9gztDY6G+j
qTB4jKsXuxFjGNxIUEfoevDPOQqC+FLfo2v1wzH9zddVr04CrVNbhQpP5Fqq9k77aBuXAJejKDxx
U1JqsPpp8VerQr08wb/2UG8g3UEpGbme37gpYaqJeMHJ2uXf/fmrc4DhaaWa4Ep3VWNcq2OIkivE
8mf+sKa/+70ua/1fT+9RsYxqBqLjxK7nAbDnvvzLv3x1AqCiNfUUd7MbTsaeetMZFsZfvvKr7V56
wiZBZiMawU5VwnWIFGBUlB+O3u9eydU2l8wDrMBH+24P5f0yqS79IWj75zj6zSZXrzZ5WaUOwQlD
Oh3lNauSbV7+EuVTG6O49vLbQXmM/QwmEjBNyH8UzLrkh0X07Sdf7f5RFKYOU9Z3Gca0qT7jJWcy
rIC5PVPW1Zr2kXH683L95grWnasDQI3sSsEYH7nyFRo+IyQW2ixaMS3Jxu450+b+vJqDcfgh2Pvm
vNGdq31u0o2dyikJ/pmtqs/r+eQW75WzMO+sbbN2NjTbO+2vVrTuXO10jK1GpGtR7KpZs3dKRnhQ
CPnza/v9cUVh+7/bsNEdT4cNHbtD2R/tMXMjGtNAH11TlCdDaD+twN+vbd252u72wKTFPgFUBR9R
rr01iJ/ZZfhwCi9wGz2aKx348w+79JsYQHcuD/Gvs6XTqGo7UvqIOAPqAZ58Hmq5aY0LSrFrfo0F
LmTupCXVH7TUKc4vLX+N/cr1RPLcZcPtOKHUV5yfnuf3d6zuXB0bY5jFBTZm6Jwh52cY2V+hHuC7
CTYxcC0ADAmmJGkc+tbbdelfXu1MFvzva0illSuiNuif4x4q6/yQ0DEUZYN8TiO4q6GMU3+YQfE5
pugL/rygzN+H4ZgD/vupuSLVLh4VBgL3wzqux4NX1XSr4NnV+FX7QmKoVd/9Lr7vZf4rtuQAwnHa
ZQZDsTT5Sldz7ctgZ3n+C8Xmo6Kbc0QBAn2Lv9U1Wj5GPY8aZaRGb9xALniGl+AiSbABIQ0rwLfI
z+U6AMja+gOmW/xMCrqrsP7VFgP6Akz0TrgAGbAuyvjmz1/629Pg6pir4HRMhWkGHHPaylj426hY
MpaBAs0wN+b5wl8xLWPIVn/+uMum+f+Pc3z3/33FU29gPNchySTwRlKUTpNO6cz+6cy+rI/f/fmr
o63KfVmzWhM32uhzkKWUPVYQ59Z4q17D1U9x4Xdf4upQQ34i8qIYYePAUm+QWpoJk49u/+4NXR1r
ZueERdcwnjRmymPTP1JRrcEU/vmPf5Np6vLqMHOqSJlwtzHoSDhv8eQvQ2/4MCbtGX8dshzmbO05
TpHLqhbMrzB6a6LspxLG5Tf+3Y9zdbZlbciPj+DW9fPQmeW+9T45iAwEHCZUPNo8aeg3DpmuAWSN
+r/9xlcnmGYwuU2YUeIqrrllvMiR7uFWn8WLn/OE79bD1Wk1DVolBosWhU03JsN+Y43Vqo6zH77C
ZfH+7r1dHUstMHjQdzmuK1ue8ip/ydqnwrdOg9+8VPIZx9APN+rlh/jdB10dBaJXA6lLsKOYixbo
Nve28H4av/z7Py2u9j3weebdMw7WVYS9ZXDuqoCuG2va5od1ffk1f/Po4mrj0583RrWPefQH/2Za
1LP6y7mpX5SHccVgXVdr/vJCFFd7H00NIKucd5T09mdtwFUqs3Nd3jKEbI2nf2eYTIRDQwPY3f3h
u31zLYmrEwFrmWaIku9mHPFvz5NFPqf+usKxsZM/HJzfrGBxdSzEKrJfAKkUoPwjOcKochawD//8
Bb7Z9+Jq3/e2rY+Wz/PTudnCwm2QPqYQzQYL6v9Ne9EIMnnmz5/1zV4RV7u9pYXhVSnDib0C/rl3
UuXJoohWKU819E39hzP6m40irja8dzmfoDF664ypbrNh4Dhz7J9e13e/xdV2z0FsGMxB50KOshtF
wI60Kd8L44dU7Zu8RhdXuxwSXqJNpaTY+9Auq43hYvADDw/odC5niFtBUa3//GN8F1vYV7senRLD
fPuEaPY4zkF1rxAxIasvlt3Smmev01d4J+7//FnfvDX76gCY2CW2j/wStELmIlBC2+TdAPP8ad9f
9vdvDhj7at8PGVPKi8EIyQL0eJvevK/KebDSP9PnYS625aezrdbRD+/tmw1jX234IHIaUllem7q1
VoYbrpvlJcv46c9/91WuNrtmwerFDxy6eVkyczIpzoOtoX1LLnza9jC1409L7bsf5Wrnl52jwczn
i1SLQp+Nv6xVvZaLGHrTlknUd9VMXwRL8cNPdHk7v/uFrrb+qHSyU3tM62q8rdVnrXxPDVCI7Q8n
y3f7xr7a9FUKxXoYUxDij0BCk1kwD5fKvJk1cj4t1Vm48n64hr/9pKsTwAfBrKshwxuQDP9qb8o5
XOA5XNNxhlpvgdrhpw+6PPrvXtnVUQDMu6UxQ9/HOE7/x9l5LDfONFH2iRABb7YECRpRXuqWtEG0
hfceTz8Hmlnow08QE73phSIaIICqrKzKvOc68q7Yuy/6ZuRxMEDar32XhdGszYJAwNriluDcDwUi
HATWAi0G0S9PK361dU6JHEjwocYP6HocWBjc2iwOJJ0ag6ojDqiZ8KH7FuTR4qchAdPN5LIgU4+d
6zdaGNvaLCCMVa9K/hCEh8ndQO9eFBRnRvl6/eLK9AUufBltFgKgL1Kb9nhpyZgBGPD9n5rf/3TT
IXfMQpPtdkx+1EHeIR2lmzFL6FhQqlBDK91vaUZHw6yHWIe1OtqfGstCLFZ2kRpGO0NFfhbH3ZsK
fhohlLhrY+nHZBr3iJfX1GyCCaDSgUdATD4huLbt6sq2dNClzSJPEho9UleSp+bU7BQnuqGR96m+
qVl66m/hATAHDVJrg3shHmiz4BOGiiWkMKEO6Vv0LT+qO5DmtvVDu5X2zVanJgQEebd2t6XRMAs+
TT5iWQo8b+8Gv9mzd/mhDFc3bQvTVJtFHvjuMex1EqjOBjK2ix3vFrjGiQTwAMVsZeIsPcEs6Mhe
6VV1xbcpUAsU8bcmV2D7r9WBlj7GLNIUSWB2rqZQbRppkDZT6UYxVDaXGFrSEXx90iwdnqmzSFPD
yijwnBH25gesHKh0bDWcScAixVvaz5Cga3vdyfc4PRqblXsufBt1Hm902kCrOqGBB6z3CXblKbtF
/WmDJ+ru/3lxU2fRxh1ND0lUSmOZ8rudhDE+gdo/ZsHL9edYyJvVWbzx46oda5pA9lWn7zV6YcMQ
wb7sxGG7xSoFOt7KC1sYZuosBPg+JS1PnoYZvW+Gesgnoa57vP4US8cb6mzOSy6dr5ieM+fP7TnZ
9QdUyN/kDT1Uq4vm0puazfTAY//n6SqbJMARE7D+tdDau0/rmmHA6ak3sNfRBfN95ZGWBtj09y8n
wp7QFJbY1e5e3at/VR4JNMrf4i07ZlvhWCorn2WaIhfWm88j0S93Md0+G2SBYRwmWCObGi0HKF1r
RI45zW1+SqdMlh8MmQbO6881fZFLN5wFBLP1IrHqOWuVU+2UpMF+xFL9+qU/WxcuXFuZxYGoVGqk
tWwCawd04x7m3hQ2UdfZtK0nb+MJ/2prPzU2QIhcmUBLex1lFghq32pKr2Nblb5RPXf3uEtTJDBe
1XLX2xIHqQI+ESsvb2mcK7NwkDcSvu3scPaWdZuzr4I7idH2ud+hN3LWEreFfgqOYf879PKS748H
prBHFPUhaEB2TTxuRN+jcVcD5Oqrj6ob/wazsm2i1NaN9FgM8Y/rX3FhgCizQBFlAFdRz6HbgxIS
0zUrP//bhWcxQhyFJBEtLtz4/dbrn128tK5feWESKbPQIFVWlKpBzCQ6BgfpoB8HR9ohIjhcv/zS
G5lFAhAfVdZqZOu+RoSpAEOvZhgLWbMyW/yxLQbL57U0Yz7SINluVbu5RdBy5x6HB5qRaDvlCH04
6HftP4a1z8T3S8AxcFXwXFw691OvjrIFNpPa9and6Q7gO28Tfb/+zpbGsDyLBaE8pK48OQjHR774
h+9QdgDQ6vzfmip6wuv3Wfg28mz2CyWuhihjvIPeR7uBHs7M+HP9ykuBZd4XGel4ao84qh96R/4r
f6MtaGfY46nbjjtll+7gw2xX7rSQpMnz+a4HuqLSCnSIgSaQMAePgh3Tq44mG8+Wb/W+OyhH+QOP
ouP1Oy69tdkc99ShE5s6DQ+SDtAALrSYvP3blac7fhlecR/DnIB+dBAlzA3kv3W0kiYvhV55Nsk1
zcSCpM/oAdjCsd7CzLvxzqKDKGEvONd//OI9ZjPdZVuZSikdJhDqdyonvu6xPiGSdTwn+7dgIs9m
vASdIs4KZrwky+BILJtu5ZU8fOmrzpZ22UeVAHrGP4jYzG/YFN36iJxXJposL1x+3iw5oFadLHUE
nASVx8kOki5Q9PJsHdGut7fYJBwyHQNGRb3VceMLxnhfFC4F8qbbVbDj8dO5gwuYok7CO7QrqPAG
yIRpIMsiJ5KbPTXgrRuVcHTKbRD4e0V0+/OQqPR/puGPBiqa0QFYiOnGF8fgATvvdFM28a/WcpGI
A1hHOgBGtTFvpY4OoUAddt5Y3oVKue+MYVuUgwFUry83igBxrqsqvLmL72PV/DBw85al/qZJgfUG
sAmRoY92GEV7QTDOmtk+RVEAnTS+EdX0Ea2pI3iT0m3isdHAIZXVmwBiaWoSyCTjTVLw9LVCuuX9
rsWjL+ofTQEJe+HVj3nSvPeFgiDTczHpNHgvQ4mipJZVnGWihyije70NFcwp617fYOEHOihOBBuO
NV7rBlhnpIHPpdk8qFDOZFF5Efr8NnJNSorKzs8bjElE60O1Gk5dMox6h/jXp9gGZosnezbVcScU
sxf68x1xgjmqwxnRMP5sJT+YrhHKArL4K2hxv6MpAwapN6ZbTY7QQam/2qTCb7EWnKr0g+2gjiCA
VGkzFCBJwG3eU0HFx76H3l0r97CMb6Ak3XRx+K0ojPtO7w8tzr1KlO7ypARLHNzEtfWu6e27ULvf
paH5UbUCVg4hHUVxRNvBCFWtstrHtBo/ysi4DbzioJTtDUcm52pMXl2wgTW10o1hVtGuNCmhNkn2
ptXGXaMCIMaTFT5r+oB9KNyp6I+RF3/bEbQGHGVZjU8QlD4ifTJi0dxfXgl8t5bKDSzWyd3AQ7jq
e29RGEbQIlGVZkmfb8e+2VVjN/knNu+EpXDrZ6KjJuOrFQe/Q22CD6DICcLHGL52JyRPSWG+dkJx
RBvjYjVZQyktCkzTDJRIY2NuwChARgwEJBbQX+wQt+Cz4Av3iYDMo1NU/ZTmxRsmiLfp2O1CyBgj
0DNPFRxZS54kyXsLlT7CeZF/N4OHlEbrYRBxdDHhjbP3rKgPvp+djLgytlArGh6rtQ5ylK0lxtPC
cSHznzcze7qMFqLLoBv20r3i9o9JqJ2zbNyvBOaFFXLevTzKYeGXZhJyYKqDBtxo9+5et0NHsNOD
9Fhr5Hv5Xk02a1F6Sh8uPc9sRU6T0UOSwjEgyE7bKF8mrWldUp9tHYxnMIE+X3+wzxT10o1mK3Ft
mYM56LS6d3DoUMhZFjaPxV04wJ+Vk3sdb+wdMNYnV/VfEFXG266Vt2mVnQMW2m1QVA+FFBpMT9fa
CGHtwZZp3YngEJ5pJ3hXXR8AvT8S0TxQ1W2dHi26dzfA4Vr+Geh4qfVDiHXvqVFSCPW0FGVdKiB3
h/92/Rkvv0tp3ooGMbdNUrcNDmWR3ph+Z4c+CnHo27VyzvM/gFmu3+fy+sTK9t/UQywCudSx5jmI
zVOZfc/63/923dknkhqxN7uAPFBuZbtoz7BLdtevvHBwhgjtvz/ZSrFJBpoeHLzeOrbThgi/ugQF
NHQdZfwgrh1bQXfkIbeNBt92PcEnIcZzc/CRvI9KSbUtPaM1WyvjLs2z2Q9CQKa2RqkHh0FL7Ch9
NuFh+cabV65M5KU4MU/iQoBxgU+rvSH7O7dtnSpH7SyY/zQE5M/NyJfs0zO6IQkyhprfF8fWBzzh
G/Vak/DCLvMzafxyccF0Y0tV3eDQGvUtJGwn9RUc5g31t8cctr3Y+rC8HLZf93R9eCx9jFk+h7YX
A0+Z0eHKwD3cXrlzc6jkkot7aR8/XL/J5dkpz5vgAZC6fYWo7BDowy8T7QkeiS9WSRYAl247ohpV
OP28fq+FB5o3usdg6MzEoqOzra2tkMIp7yAH6/dqE6zEmqU7GP+dUCQcKJdVzhgyE8yTwQkkRjZe
8l5U368/wtIZlzjd+csoSKNUElIf8UO1857wrH3rz9Gp/gkD2wke2lOz5UT6GLMaKSt7taWdtDiL
Pxoi5R7jc3pEXoEaHlMnuS1v8l34BC5itfS9NAxmE9/oZPTHFftovzaPfmXc65X8vRyzE8TNrSXn
f3SrWzkHWogB4iwGRKNE11CuhodUq2+E3Af15N0T91aC6tLl5f9+IBnSX4mAiw+U/xI7ME/fu/hx
5eMvXXu2eTO8Oh965LDYHdN/gg3dQ4EZpBLpDy5eDV5oPhoakPKso7z6x9fandV7+2G0thg2/7Zk
f2UvvDTKZ4EhKNjWtJpLvUV69K18i3P3ZvSOLqD66w86ffX/zUqkeWN844s52FCWvEB6AR0/xOLK
/Fxc8abx92X6eFGZupkS0CyQ+qFjWN5zEUuYuYqB6fitX9r1iI2eblY7LKj3qhh+sCKdVQlXqEoI
jyo6vLwrfLszxJXhOIWGS886G46uHxaSK1ELj8uJ/yDXZ4391iYNzfext9600X+5/lIvDx4sBf/7
6JUo9bkxDtgWpZ7dA20t/Nc4+vlvF5+NTCURvMwoWflYhuxWO0bSN0rVa19NWRoQsxHHtkdVG2qh
yMnSYqsNYHtar8WzB/PZTaGEW71VTuMY3LXhUPGFlJu4MJ6zdsRBqdwDYDmqimfZeVkMk+0v/1vV
sREbncTAVXmAsDvC/41VwLW+KcEjdX/jnKdthrwB5oreNpTMH3EnWxuPNmxatGPHVJUP0XIH9OzF
IQB1UYXKN8v1H9M0j+08sJxWM37UWfGQdxgLhSG4DR+YWtOkvynyP+s6ePdMfeM85l7IfBWTIgP/
sSb8WQvmY2eCv7Y06OyQKsuNKKZPo5wcYhdXsmzYwzM5Zxb8ocHEElmR3ptYBSuKf6HfVn/qBKGq
J2a/GpxnXXW8rRJMLiUVbk/ajChqfI4H8OnYyGag2gIWJ4Effje97heTAWF/3r8JmKZuJdPobegi
Tz09wqDMsBuGGDHhNeGnGFWNyB7af2ao8GNcE2il9ep55kdRu5juALtsRlQMJTZQ+vcgNO69CgpM
Hbc7uRZ/SoF7zFpRxjcc1kJrPJlqvDM8qKeGN/5OIR82Yr31fNEJ417HPnl4rizlJQiS16zlrpRB
clsLBccwIHFE1l0qJ5ljFQrmL7p/Bjl2IyT1j7gKT2lVYnYVNrh+gJBGr1TZ1wf9whGtZM6iSd/X
Lv2NFOhbR6ZlC6mQo9yVB2nvH+Qb4z20o5UZsDD+zVleMQy92JYK+8FUQhYkc4ywIgO4nFRK5iyd
UFURUk2UU7qAnBt1uyD/8AFkRtY9ToJd8zvBXXflZS0EunkLeqq6qu6HEJR7aVN9a4/lfbGHEf3U
nkabI6GT8CHsE7qzlbXNxOfu/EJoNae3+SXYx66WDkPHMbN4UnxOyQ7ZnTrJnm78rf9Tj20r3Vt/
MeugHLjWD3I5j5HMWTRXgf25Wehj5dgZ3tELMTQFEjyZPoZ3ru4pE937OUr8lYVyIaab8n+fsMxS
VZe49qHK9Kckh6CZGS/SYDor32y6zqU3OAvrqaUMem9M7UjfzD2groNlK3vh8bOIsiqrkKYofuku
s+iup5HUKhEbDXVf3JFf7hunp1G0Xq2gLTQgSfM2dA8vP0wCKAvgnoN1DaiNF3nX7L0dvomO93v8
y3nneh/nQiOfNO9KVxJLTsYCQXqp7mgWdtyjd67RA+27LcPtkTH+fv0DLcSFeVe6m8IRVDQSpaTq
7ooq+G5U1srQWgpu8/ZzHNgJORld4a3Typv8XbnBDMmjZUs7YWtJgBMe1ipQC1Fo3oaettiNyaVG
ViYFyjEAv7xRNZ8FEAXoxhD8W9coy4l5Bti/i7fX3528NHmmX/MlPGQ1hKNQRH6ZJgCusrA+A9EN
UXtTmsRqcqP2ykuWeQ+qZcDcYo2T2wKPuR5vhOxZLup960oHyDNbMQMd52ZPwxh+Gzz1j5fShqQC
WMByqf2jdhgfxFa1cmS3MJbFeR+31IZFV0+Siglv5CTlpzCAuseAQhWQ8bb/E+/ob1h5S5dHmDhv
5ZZUsYZ6Sb+GEHqY+WjKLijF1+tf4PIHQMXy3w/gkquwJCAKi3oZqPKpMf/Iycf1ay9sW6W5+kBw
Uz1OR+YgnpDH5JHjJDv9JtnhZgr38tPKXS4/gjTXHcR1XotaMgr76JvxNp4dSi5byzZuJbs6cxBv
C//4IaS59kBMe18eRY4WQlF7l8rkrCdrp+eL72oW5otKVI0x5CnaN/3UH8eD8iTcdowlSr83a0uj
svSuZmHeGLuYQlfBUALfuI1b8yWqtJMr9eUjdqZU2XDzfXQN+PXIBR1wpshFJlNm2QrOBvQ3r+sO
g2tEtK5TLYopxpQIJNQ+x29OgZUk0G0uGdKm6MT+VOresPUjDTQp+CRTiU6d0DwEnfZT0csEiEf1
JtXZrd4H93omHGFxrSWF00u7sJrNZ4waqWZHmdI/gEjP/mAhz4mMWIbsikoAa/Ci7KFo7SGpnAr0
m4pBtl4Ox5XxuHTz2ZSi1FTqeWxNcgXJAbG4M6G5bJutSs8oPunX7/LZ63zpEWfpqFaESZeKtNii
KXivsug969nyVDk2hvUb2PJnJVO2HOYdkf49lwF+71LlwOB7jRTQe1kovnla+tLDm8TSQ3oc1Jya
WwQ7qTVNR8PdEg8P/DzFqvszltaePktx66JK3FSVYkIjhbaYpDry6PqX1ogvjR+/CJ32JwmAdWBO
CAu36sOJqM9x9cjK0XeJ+KHIMJos+kFh8CPQldQfudDjhxycfTX5OYG5Gle9qSX/LCTuaydCMMur
d0UVDRzuhLNktrcA4A8rr/DyIJm3p8BM7UVuSWKlAxvM/pS967Bzvn7xyzFbmjeleLGgN2nOCFQL
aN1C5UjSmlB9YQ7Pm1K8hmJopZFITfBaJQZwCZDK91cWm6Wrz3YjsCkhpFPyPFjjTayI9O/+7KnU
XH8rS/HnMw/4st7HpjrEhsXhv5KEd1Fk7UdzfNHNfqp2bZNhAD4+fB9rcHq9ir7PD2T4eHm51Yv4
0ezFe830foxJ/h7G8W0XGTdpX+5FOXDgsjwLfXyO5PKgai4u3ph4QbmnRIuh/U0qmZR+YXoCpa9t
UZcoIA7bTMFWVpbFvTdgWnf9CRde31w/VMo5RxoRgtGmMukrAJMLGTyWsrXgsrAb0Kf7fnmBBeZu
YzyBiiJocsdkFzrBXjx6xylZj5w1TeLSaqRPw/rLbTSBziBV0/wDhy/iYE99jtO+Oqt28pu4LffN
yhxcynD12WYtz3S2N3kFf+O1dWjWOPg2tpA79wB9Y9jikr2qUVra4sxFRAO9EjUOhsEhjAucSTWd
CifFtLAeXbvI4GSmgvlcxzhjVW3eEKKKtYdcGhSztV3JsxbhSM2q26St3eRYLWvaSddBEwbBQ802
OI8Vmr2M4oChdrHr9OSbIbToSnxo7B7WO5K2li1NL/bSujHLALQm6xXfJ4eZmAPjtrz3oZ3gNGl7
7/XUk7syUC+fT0tz5VHWCC4dNtzGyrGe/B6ZJK4yTQfWt+vzbOlrzsVGelIqXp9zA3rzz6k43hTA
aERrfNB9006V/CUwinNPCz0eYStC6qXBOtcdJdYAJAyvQzR16Vm0x7O0yexgL3yM4BoiSjFrGf/C
Oc1cgtQNXtblFSlE6Kp2kms3gLhtPQKqb26GVP698g6XbjMLJrEiqPTaMC5bQYBnnMjHIZFuAtV8
b1IhsYO81FnBDSdW9bexKaVdR8kmBCzPiahBM1SB33COravbPdSVtFLAnbZ+/ztAxbnaUwiVRhcx
PD3oebDNM/xHuoIa8SMIXNp1KsfUg425Vs5ZutlstWvwUVFM2WJmZhwM9YnhuFVyHn3txi+M22Ig
KhgFPZhyvjIvPlUd//t40lwaJWF+HbEUBYdeJElSBTeiCGBgSliU36wwEO3ez56HvnpIIqyCFf+x
gd4qV0K9wWjuZ13oT3qUvotjfTNk1rGRymfNotPJTUCZ9H2/rZT0NkjUOxNniCwJsIwf8xLuauzZ
jVwhlDFE0vO62ctx+5LWCEIzCrIbz9Bey0q/TQxrL8gUkxp8ELHv6h2IEYqt9HiwqRZGBmr6ipvr
NjBKnFZM42FlKC6EJW22DqiVbjRtTk21d9qzrm/qZ2/XbpS9dvLsYVoG1pa2KQu/9P6nhfXLytaK
NRhuYschFtQ9bQjVxkrGR1MvGujChP06VQ9NUq6F/imsXrrdLPSnQa4apcJJQe22u75gKyDnGDMY
/WaAN1Vh7ulW4z4UcYoibl1/mUuxdxbijQqrsKjW2Rqkj7r+2rh/PfWHZkUrl19IbedSL8sU9KSq
BwhyUf0eG9JOSMq367986dLTR/vycRJPFwSzMWCZSTm2Mx8SZOLrV14IdXMRV8IJQWvi/nRQ9eLD
yylrjN1rZkp3Xpe+YmDyb1hUaS7mGsJOyPAIpMJHw3gYoRUQtnLmrzzFZ6PtheE0l3Clegs7fuqt
lpoNRCxRc8TdREczdmAcqm3+zfg7/iV10jfJAweG+7VZszCk5uKuUTJ6OcimrAEDIVczOQgc7agx
z23+ev0DLd1B+e+nlwVZVzF5IbEl0vRW+6cBWO2b6TYTtMfrt1jo7ZbU2dzHhsPslBb9mEBrotT7
CjWzku1qaT3JQ+KEqY/loPRTrPQfAeivUlk7I5Y+dTuXPtwsDmB2huV7QBwYdffZrds7YVCskxRm
pLmafJOCAtjUuinSrVKqm8yS3rCDHDhRLPM7Tcv3uFs81JwBbsIqnRxkhifFMjZyAp1dLMbkYOgJ
XgiDFuLzBUAr7kywYWO2L4IOIHjWPvbsbuvWT23Mp+1qxHY1CNqb2Mp3EdVQi1q6b1g2qH1gp2pG
IfMOm0XsiYIbwyheMn3EMSj2zjjQlNqT2dMZDDoPV72oyO3aVB4a7ASTBHiNHmIXg/mH68tvaa5N
i9LPwUhOiY8YeJTqjZtpsIj1YKshjO7h0WiedkIqfnAF4JpYXWPqG2pbRa+fZF/Z64P3G3uGn9Xo
7yorrjZlxPtq2hYUGtJyWpPPRt4eGlo1N12BMWOZ67eS6z36cXNndcZ3vAVfChfwkDccxUowwUbV
u7gpbrzC2vfA8nF+/9uM/l4TxPsiaL6HEu+MY8VNhP1Mxygpc/OYiM0rLlG4PcV/qBXv8VE4afIb
ppxOgnkiirBjn9JvnRk0hlnsKeXibLSIhawUPezUmdzQn61gxIsTeBYrB8zenLH6pUMVbuu9gsQr
lwsg732Oi426wwnwRbUkJ7PCOzkTX8NIeb4+DRaC7FxaBvq+TU0v4/CaWvWovwfaymK3sM353PR/
id5Fiz2u2LTYRXjDWxuEWyXwHyjP76//7qVa4mdnwpfrR1ipkILktKTkyZuZQ33HUvqoleHRxH4e
BydbK8S9Jv0wW99pLWvXdq8CmgChLfYYsG5LnSqGGKyUbT9j7oUpPZec6VKadwYmTYc+0faDaby6
kPrxNDMdMw39I/KBnZFgQYLBaiKHYJGwka5GETtHGgZiTfkmVDQlIDh5Hg1sblTttYnC985N6EDB
Awem0nsXDbs8C28EIPsNWuBKprt7tCxtg4X1Lhm1MzW1H2Xpk6pikoprFqgUPDVc/DMHddiUGB04
IwY5ocYwzqwEo7PgHgbEk5yrr+JQrQypheCtzAJrrw+qji8dX6bsXzXv3KnnAJitjD3S9W+/NGZn
4VOjr3zo3ZamvtZ1hEr4LVviSjFn6bfPsiUpbEWcPiY2vY7TGmFArn9banJCPbGyai/8eHV2h1QY
B0lN+ykf88BViDuvWpPkLE25aV/zZUpYnTQKrkH7BpZDG7dBnxzIGyH7e/2tL21458Lasu4K3cXc
m6pwBhk52wSH8YAH363xOP6tjuohel5TWH6qny5Npylz+/Ioosky7CJkOPhFQTNl4U9OfVjPDnF2
i7/GrqrcLRiNI3q8vZ6O/qbKxae8ogVGTfzfXVneWAY7nSYYol2nmMJJ19g8x1B8MU1+6Ht5Zbxc
/poYav/3d3Z9LhRNndFj7ssbRE5lpK6Mk4X8RJyfuvlKkzdYifuAQ5I/WiD/kPoE6CdPNpFDTD15
bBoSl8D41ggIQ7vRWjtwWLg1C8x/n8qSQYNUEl0GoEcEnGz9s9yH36rIe8VK89vI3NsIiek6pStt
emx98WtfOZG6/D6luahPlHy18zosby2R/XD40csrMePztV0YUfIsKiW6UgWC2UeHioajHX4op8A0
6WdsWfWi+7TqvhcejvON4rM1Fm5wGPnlN16BhWSVcbAu9Hbsyk8wDD/ipLjpRfVJcytpo+vprS5l
9a4VlDsZXZqjNvp9qXK8bJhBsGmq8ZVza6wF+8fATX67CicWQUt6ArIO9wL6DDUaH5m4Tq61KT5S
xjn2FduSyAGbUBnpG/M9x1XxHPdD/6PqKjLCAU2Z1TyKlesEOK1Uo/aqCbQCe+YLueo5wHIsy933
tq6/G9qobHu1+p7Fwq2kWBtcUibvYCZGIAa/+s76x083i8qxURl6E1I8DtgRmFgdWf3KWr80KGYh
05gQ5aAXokNpKayX4FbatfrcZ53kwrCYixihBXpqntNzUA3JKazK341iyZsib/inDc+1KI/YvEd0
E8ZaZoO2eovTINv3I4xZY8iOaa6cB7k+ttb4mInS0UqAkBfxZMGHh5XXGcesKn+JWvsda9RxclMj
wxucOlS318Pywoo1V1qZtSBF6lQDIO/dlOJPrXqooV+OhfVPIU76TMC+hGJTRBkcCfgTYEu3x2n8
5I+1c/23Xz5wkz6bgr9c2k/K2MpSvOfjKr0ZseoTNI7BFB2TQKERjn0sdFuKPHuvsard9Vsuva5Z
wMYgq9eo3PsHT5JtI0jtcsSO2n8diu/Xb7AwWD9Xzy/PFGlRp0oVoG2wd9Sd7VZc649ZWN4/m5u+
XLlvMRrvkghXjTz6RkZ9TlP/VFflSoRcuvwsQPqGO6poBZEV+KNxSCzrLpFVPN1XbQ2W3swsQOBr
I3d5wVrpJn+jstuk7cox6lKB6rMs8OXN+JEvcaSjcc6C1DPROyS2qYVBcXxKA+Gc5K5dG81RHuQ7
M8Ss04RHV3v6ykZn4bHmghl0vh67bFLGHq849PNnv45XPFoWWoukuUAm7yUztXIowQi+1NPE0WnC
HRV7/6++gdMLCSI7uH8Gb3N97C4MAXGWdXVVMYYF3ZIHmWJyjWl9kEtszNdUBIuPM03KL9/JqF0N
bG6Gj0dJPxklSzDXO+OplugFQtiabcpxE57cp7UOl6Xnmf7+5X6cZ9dDIaOUEd3he45coHbVBy3q
V1K0pS8//f3L5TNZqtO25/LIs+9LaXjBPe/9+peY3viFZWmuiQk5/PHwNqbkqj4lfYlEMt8MQuww
vFRj5R5LXZHibMbnfUm3PSnXQXtutwRhx9+S19P9q9jy/wdGcekrzOa9VSRxAKobQJ94FhQnFHfZ
sJJzLF16lhkIwTCoJhTggx6dVPW5H+5d8ef1L3D50uJc8iIlA9Z91EwOrgXlrRU2+UDXDmPo+uWt
ix9YnHs/VF0Q61VBo3AkvZfp7eDFNqZxnKpuKvSDabrTwt/X77SQzYtzva3UjjhkTtvCCWJRPKVO
tI/OcL/uhe0aKXPpZc0mtk/Q0AelJIvCEiEejaMi5Cf80bYrj3B5Oohz64fecsXGYkt+6Ez9HPWi
o2XgcdxMxii6L+6VoaARVKvtOK5vexPkG8eRtW164oviy44wBDsZjkSjNmellV6v/6ilZ57N/ioI
kK0VVAsTdsQyuiiEpWmnr03OaRL+bwQQ54YP2WiloRawppVbd69sfcd9GfflTrJhzez1anP9IS6n
Q+JcgxRYhuWjaoLTNjyr3p8Rd8nReIjbVUXGVKy59Bizye/mfZMO5HCfVmATXijaoyntus10OO1t
MX7v7X6XOemt2mBefIrXAOFLE2wWGpQw9+HCcYKQqcONLklOgVC+G/BWHTInkbItq8ONMgQrWfLC
CJ37KcT+RG1MqCZkysuQ9JA2zEOrQdHEZbtdW58XjmDE/9G3tGk0DhO9ESPzk3czAWnhUmysRxOC
7ydFbWXGTYP4wmeb61toMq4FWWbCKaW8N0JX3oyCsRJZl649CxZVribWqPBlEED+iNX8IdH6leG8
8NHnkpbE9TXPUhltAWbSnaMFr4Xw1zVvzejs589Rs9ZwuTBt5kKWyAsq1e047Z3MisPQcCyzPAr+
m7gm8l0ILnPZiibWTVApNHRSpWEjnZ8V3GDlbi2vXPr9U9D5krnk5JSBrA3TrOy3WF9jJH9yqRsG
586RbI3MMn6cOu9316PM0tPMgkDABrloZINlWvZv+1rajq37ZCTVSpPIQv4vmrO5rim6EaYdpPbx
nlruAX0HQvWN/FxDMaP2tBYsFwbuXLTSRKKbaiqTIsVQu06/ye0/JZLiXJ5iwcoM2un3V9H3ETNl
01jztFv6yfOMvlbDQPIopHrp37J/UvX9P33RuRbF0gtNCHJ+cev3B82NN41KR+5qA8jCgJnrTyL4
hso47dIRNmpvE8PP3VIe+dVthVN6p9Galtrjw789yvTqvswFNcjD3sKl9xDU4TG35D1o5A+pXVsY
Po8uL4TSuSIhHQI/Elv053mhPCq94W0FTbLp93tK9VHYhAUY3pZgFdTKc52m+wF3NScJ9bt+rLJd
LtQ5us/WPRhq/rcLxFuxNQ9dGSUbRZZ/tpmL7XmUOlhurDETll7+LDigQIRoZMBX1+riSPF9Lxe3
/tpefSEfMGahoEz1wW19Uqaoj14CvMWpgdme5T5HATbUqqSdsYj5x3k17yeVw7DvBwlQYyjJgMCK
roTVu2bf9uk+e+HDzltIaf1LFC3EPLHedjtpG0MFlMDQZXv5dWIdV9vm7L4l7+VjbgtHYSXPWIp1
+uwFBomPahyi3kH/6MFDShtvp3jAJlSnuE/ttZ3zQtzQ5xG1b9F9TNmnQLtBO7mhWwU9Zddn3AIz
Q5z3g3JSiQ+NwpSQ5PAmKrHVNP1tmmXvLoZp2GHvE/LowB3hJYzZreq77ibXul2WCyWyhOpBD0Wb
Y23w+JZ3E0WUoq7/sIXBOW8jbV0/FqOWkksu4CugB+33ssCvfEhPYqONWyVMnaBqVxbFhTV43j9q
CZon6v5UTgMjVIPBM7P7nMNbfOWvP83Sxm/eOCoNsSyXxv+jF45b3Z5QqBN5u779x5ZtcU6ST4dW
sIyRQ8lG24gcUG2FjXbTHoLObm1dsd1NjbryH7eZ83bJzLdiQPhTtY3eGDkIbLfKYVj9m5+oOG87
bDXsH8cUXmIvqbdZXuzpNNmufAvlckI9R8eXQerHYA38/8PZey1HjjNdu1eECBrQndKUL5W8WjpB
tKQWDWhA0IDE1f+LvU9616tSfTEnEzGKGRZtApm58llIwhda5eJZAazzhoZ4+Vf1OrtSxL30Up1F
BzljptaD/zm8alQUYP/YVY0Vw2kGFoHBfE3XdqE9azhn4aGbDJa3FaCVQ30DoIAan+wyUmirPS82
lu2aR6pf++7G1Fv8k3l463Sy1JSutSgvrFHnskOepfMoF7Sl3bZxExx6mSflNX3BhV6hcc6SF6T0
u8zCqOJcsDkGpHjLKpaH3LfH0MwITLmB0sPsE6bmZnPKV7xRK9KjYdmiBFwXxZctCEoOlE+hB6RD
5Dcm9EDNShlAKvkT/mNp7j23uMu9PqqoPlUoUsbKrKEG0OKP11tORKdMhjxtnqjynuay3NtFg7F4
myVjNqOBx8Q+96AXNivACktwoDEfww5N3UATVcIlcQJHSQr5WxQoFug+WDNvvhtr4CJMs7nvHfFC
qrJPbMNoEtqoz1G4wbr32WPZl28Qn4E+PJTeNp3BH0OYRQ5bdKBtmo6lD9UI5VYlmms0hQsUGOMc
eFvls+G50F1sbDNcRHBYTsWJr9UA4EdYv9trPIUYegnn1X688kFeSNj/Z/gIFnHTpCBczdCkTeZk
2tan/I7FDu5vVNyYKIHyWL0E2+nKPvPSyn3eVa8tH7oMLWGygv3CApMdsfOL3RBksmPwem2+5EJH
0zhvoU+YoenzoITT6xqWAbeYOdwpHiL7tVfOu7MZjo4RLnY56SNd1buOR30U7OynasV0nGPq44Fc
ucUXVtPzjjvBh+DpCoaWIjUSt41mTsIS87cSF00iWbz//CQvPcizkAe5VIEp04xjq2KHPWuR6qxK
u4vdElQBdrX0ciGA/90F/pMmTK1uR14RNKHx9EYYQSUaDgD4Gfw7+F7/h9GkC7/0Py1pH/KV1A/4
xrpL79NNu17K8uRYbSFa+z+MQF14POciaBOPRtszdgduX6xZqo4uceK+9PY+sRZ8fIfJI+OarcGl
eL2sV//cPWcEeZaQGROQrLltKHklXboaqmuOlpcOv/z9n8PTyQGuFc6ZCNhZCFAnEIiAjNRXTccu
HX/ZJv9z/KYjTksFjlkfmsRd948IEXAxKPfF8xDbcIWWT9dMwS6s4HR5K/75Kbg0ZVaK7fGGArRW
W/flUIaVCd855+Xn72U552/SlnPdc+CmE5VzmW8a4yg0BFPDtW/k0qmffYk2UbX2HGTtZf0Lbiz7
CbMqqQhho3el6nBhzss4F8/pfhTEkWhlpDfVTZWAULByf2GZvDqpduHmnDtWzI4emgpWKBspnTUr
24ST/kqV6tKhl+/wnwc75ciptdshLhefmb+f8yvFvAvvpr3ExX+OWzQTn5nJMWQ6Jy3ZBD2NLC9P
/tPLci4PruoOXA13ofZjHgwMrT3JnSuHvnTey9//OW+uxszOe3yzevhVKmios9e01PHP533hVTxX
B+fCd6wK+GVwRdUREleI6+3QsT1o3J0rP3HpeZ59qHgXIbldDA0c7JWK4YvyKyn+pXO3/v83xrcp
q4dmGbfFBrp7cEczlsUzkvAreeGlEz/7TGkheSM7CLUswMYnQBGDu59v+qUdzrmXhG8VRjaa6JnK
eE7+wg62+r7EOKkVwyHrWhn20s+cz+oLaDhcLPT/X0OTwP+viKdNul6ceOBjeeXxXng9z2f2ZelY
KXzb8AYF2Ar3Dza8OWm9+flOXXgEf/du/7z7HhdTN/rQ/uUB9CLK2hvOtbLUpbtzLggz05H7jIPd
4745QQhf0X211msoNZ0dAChXAaEX7s+5LMwpOZVNixFQC3NGwK0Fp1atfr47lw69fBj/3J25obbo
AE/aeNWbViw06EGC0vHzwS+IUIy/f//36K2rRLZY2lt3ehXI2F8vhoteYqVJWqFg0f51pEuv7E4v
1brO9WC1L51hMGzMQazqrRO3exWlEO+gUIieNYxLt/SBwCD9txVmybWd98V34Cw2QSwqgT3BJFB9
IB/0T55UKMdAyPg53P4fNqpLtv/NTuLvr/9zJ6eB6X5KzQo84kcQoU2a9HLn2nFXwwZBbbyRxVn/
9PNju9DZ+1vj+ue3lroxqNu4osXSpzvm62prw9Inu7KzuBBzzxVkZjHYzHaMajO5fFs4zrpO2xsM
2q/yqU9+voILP3GuE1MjCzgw/9CJ1Sc325pdF9bmqVMfPx/+0jM/14qNbT/lPguKDT0OCQo/635v
3lQHM4GsMm6ukGYvBK5zhRjq815AMPK7mbq14Z8a6/fPZ3/puGeffG3bgckJvpJ2nh+DWWzrzLzy
wV+IJue4ZJiddnoqEKgmVe9TL1tNqrwvPefKan2pdmEsl/TPmwmSTd9pEKs3DvyavFUFG703S4Vy
I9NwXlmHbIPSRdTTmF3DyVyKKefqMFZSWnoUjG5jx3Yoy1uwovRAGN2ZmMcYfqW3ZsJjgsnAOiRX
SYp/8/ZvPvdzudgQ1IpYCmpdAl6kjgYYmKxQqofLIpnCPsk2/bo/js9mhiA6PCKWLia5aXzV9/dC
CDDO9i0F5p9mK22x0c3puyTDIzwtHlMzjyejfbU8/8icrolZ62G4zgbglCSO4Bhmt+jRbJ1TiUm+
kC+tW2VlGlPwJP0iwr0yAHbpLTuriFo2HCEcHwooRoq7jPARSH6eRoW8Bnv59guhwbkeTc5GCXYt
rt4JqiNp/EdZDdufP75vzx2HPstMAD+pGjXi3AnREcv+1NILg/KaI9f3Y8o4/FmCgmE40pIW7435
0MdLzwrDhhjNSf7yWWMMRbabLq5v9DFfuWl49XVZ1rr/eV3xs2chhdglvFMkrmpamQ0+Eb0RG/Qk
wikBLGd3vRR96cEsd/Wf7x+QHzRxPAOXFzwV4J/ZKA3//Fy+F2jiEs5CS9f7pZlZ2E93KFBmEXZy
kQcazhAjN0DL4JrCf3kQ392ps93C5FVeRZ0JVwCZjF+BjeofStqEddnBgjS9ssR+W2/CxZylNZ2V
sTGATxNgSC3aiU2x5Wl25LUTiTq7FRkkwNN/Ws7xW2ehou5sT+Qt0vgWJkfYDMViKSW7U2yqK/u6
S9/M2feOGnwgg9FFo2WmUZa7yej8grXOw89P/sI7da4mmw3LUVJBMKM7chJDdlMH85Xl8NKhzz52
5khJ024oN9L9k9mvWv2XlIYG54oxkjKLCrMvNxh8hcIBDYzqSk/r0hmffcjFIEDtIqjU15pHtpCR
ea0Fe+kDO9eLEd3OvrXkSrm5XvIABRD7uxd5d2jm8Fe2NzbX0snv0w7cn7NvuRgnx69IVy7Tkzf5
HKsJZMoekc+Mhq3ceTyW/z0onevHZhjU8EL46DW0j3NwX/H/UmzCVZx9xHnR2/Aec/gGPrXvAr5Z
wWgfNAvin9/775sXOP7Zh8s77uVDjSJZheShNbN1OXTrEWFwZUr+qiSmmIHaZjowI21MbyLQL3xk
4BA62e/cFF3om/qWUoxVF+4G7eI9DwCCqgG38QzYqRWYr3fkFFvAU7oCk3hNMMuogro4+fkCLoTS
cyUaGm61BZISwEgOe5ldfl8xuavAoeMYokxb/fzzz3wvBAXvdtkj/bPo5K2nGazl+Sb9PbTRksAS
ZHjdAa5PSzn6Om72bz/sm8XhXJvmZY6suL/sO3x3nxopKJDB6MXNMH/Bz/M3zB03tOwxzGEOv2dz
foDM9ndrorLvGfBsyxlyQTbWLygNPTXErBdpx4qmQD0Xal3pqoRS1rshUm7dYfidt/Y12PgSHb47
77NdB5T7na9nxjdqeqPWMRjgzzHCRe3KE/gb1747/llUUtCNcUYoHBAC88EvSrkmUp2Ei3WTFO0a
61kFfEcK3kvx3rUT6Nbw2ptY/4KyEgtz31u1VvZhaRk7peXHaMO+S+BTY+rXQzT22V65YHOwgt97
Q32wbfODDeXJNlorZGzWUQYQZlgQTET2/qjiObMBVQvMuGmyA4fEMIKt1z10XGvXRze+mPZWXzjQ
xfMvl1UOrN8MdP5gspKiDhWNqo1njzx7DK1lN8hvF5xH2AJvBiYGU3Gh7c3cTHsq8zuYPt7PXfpJ
+vJWFl7UDL9rFBO7afqF3nAPmmh67KzyNKJuOac28K7eEBZKr1zC9xpAxG3Ty3fHyT9rzsYoN+V7
tvjUFRw1MIID+mV6ZBXFsGHpnOog+Ehz+aeQBliNM5Ck1UDu/c66ssey/qo7vnmQ55BGUXltn5sU
u59eAQQesFuOYdxSGPAU9B4CIzPCscU8lEibl9ql8JlwN3rWcFXsuxUF4Qe4rOa2yBwRgfuBhjxr
diiDhnnd/6LwH4+6OgqOQWHHrspuemqsiZ2vLHN8hoVAFtWADIaQ4NuHtAu6NXETh72acJq0TWzI
86TNkEbqsQvTlEQkpY9FB3k5MXBUqgUm3WzhxXqoROyy+RW7EuDavLe66iIT7fp2dmPtjnlI+7yM
Mb8OmYRhvM4tSBiVMA0QwIZPqmxYv6stwTC9nlXkiaoLndzbBVVzyhV4lZLp3WS4e83lKy9FFtYW
5qcHbNld40257sHR1p2RCr0TBq/hu5mqsAswFds2G1/2byb8NWXjRqKC+GgxZ8eo7Kk2y12lyydE
jRfHGe2kUvNj7jcJ85EfAG5kbR3RAy+Xji5e9x76i/x3ELRvoszTrWfu0oqMB5lDnO7bbIiamT7B
sXGE54hjfQYiFQk6jvZBeWUF3RbdIw4Xq9oVr9MMCWVXreyx2kjmq8QfxGko/KQm4rk2q1NqOO1m
dIG/EQLTgymCh+/Tg1nBf6PkFVBhoK3Nxs6l4/s0VhCnymwhfjhfdl2NHzYzkXc6CsW+tOIRcxfc
TlfDaMMAZcWa4egOTIGMvC6N3dkDiRTSDTfDtXq9eGj8dhtYyOe7cXhpZf/kmJ6XQMOzyfy8i5kG
eEejZugK77FVYjUo52QTyD9bL3gwfdBmAEFFixqQNzZBIYiCP0QV7b7Q/CsTDCFiInG56Dpnuqdo
bEI86oC37rFNk8mnjHV+SGcYNDfdey67dV76dzmihRzLrQrkFLK8hg0xfS8xN2I3Jby7gbZhPGtC
38lPQJM8WXVqIxJVj75QOUY9MnDbuB/bgw2Shn4jQ3tndcO+oO0h8Nlp6UZi8X5zXJbUpncQvfVk
V/JZUJ1QogEqAVB6Z8ng1zBaN21qrJjKt+g0rLKhSbIRTV9AqSDuzKuE+uhqONxRQCWaW8vAaL7H
hwFSAL4ajFaFQqc7gxS3PbOqUBAEJ9niQSMI3+V5DrQKkMmSqbtppDr0K07XuqVtmM/mQVjso29H
ddMrOKx74lNOrYd4Se47EKTt1n10ArbguPhwpd72t775TXQ6lx1oP3A6nzfNxvMFrF0CaD2DoEBg
HR8LxJ7ITZ0prl0k7pqWxtrC29q012w2LyQ5/yPDnoCg0CZmmVPc05Ju8HgRMK70Qy8t0GcbYp1x
fMYcSmAjJTd26puhx9nWAr8/JN21Ec1LV3CW2vYZlhjXg06dSXiBaxI8D6K1IHjyriQnF7Lacwq8
3Rhz07iL4E6IEJJmvL5hCp+JKY1zgK5hVrz6ect3YWfpne2MnTQFGsPXUFDI34W+FSQyhyrpA4QJ
++nnn7h0s85yWiGNYqhqCHb6cQ8RLs8Pk33l7L+vTtPgHMJu0WkU8MZA01EC3lwGNii7uZVgBjXu
SvXRue1eB0XSW7AUEsaHT62vAnC2K0nvpUTv3NlAG/2szAovG5AxqEB5L+Y+W/Woz2I9SqPruumL
P3S27axt2WgYWvK/1WAj6cIe8R9FrmpbJ/0UpvE1CN+31VDq/095Cz6gnpEBWOYYamvArCETftKV
9c6ZP0BMhT00SsO6u2b5dSEJPwfdGMTSoL7ZSF/rNHFzUIjHa4Wh78vZeDfOIkE28iJnCk2FRRhn
PIsV6+P6IYiGFRailbs3YlSzYccV1k/XJpK+V7DiN88CAy/mBlWioNoI6RyMLKchs9Auber5SRXm
2gzgZu0EsxOPTay5ymMbPtzxmBNM26cwOQBjYHTnT85dL5yBL28t8eBACB0HvflWaTC3/tM3eT5k
wPyg8XiDrlHX3ubWi6zjvPz186EvPdKziGJK02IFoK+bytrl2Sf5TwIj3NqzMFLo2m1F22LVSL8q
Z2NYVypMl2LI+dhA0XDsH20sR+6bkUUSwHO2LV48EfHHZSjWvP1P9+V8CsDQnfQDhftS6tVcP6XX
Zvr/rtnfrOXnin9WL5XW5cBzo6NxdBxYitcvZon3qRzlU4utm996gPYOv+rcLGHxK1p4r3tR4Zl7
ybFj9uUdT401p8OJkyqm2YCKGPjlP1+4vVRxvjvBs5x2KtCkzHtdbrpevLSNgJH2XEXlCMhkyiiM
U8WwaklzA9bU/cSNtZCkDvNM7WaP17HB2HM/NUXiBOJG59auV9U67QrssvAXGMTpo9th/g9cyl1V
Okdv9D+tpr0jgX8MTPbkkwJ7y7p6z4cMFFbjylVdWNXOJxRygP1VYENbbDh7MX/CsiUUTRr/fMv+
yh2+u2VnsUtZsBwUAHVt3Ce1G+MCetv6NL0svdf6K7uBr0Bc46qiqyri5Sv67gfPAhcmZ73AQe0B
eoLmRsCbK92223r3f+izXXoLlr//U1vCrCaD2MiqMarghf7X/JRB6si30zN7T692Ey8EH+cs+BDf
k1Cud9Um18WfbDbAmJ7lfytSnk8npGWLfizHZE1ae4faDh40Fbs+l1c7Whf2YufTBzlEKX1aAhrl
v3EYS2ytCEaOD2zLREgfq0OzTV/9TbbzttdmFCnW8O+f+/lMQpkha3McKJBGdGdcVDaNxpz2jSFv
jGY6mDPss21955b2NtA1Qgfd5ayMKWiQJeO/mFfNSMslZiXwKdqdAEGBbVsarM3RTMq0u7UUlO8u
PWUaVRpnQkia5a2rOUoDKPVmQpx0A1a14RcsbHqCPjdNQy9HwVEaEHVnsPIrnP2U+evOBhM+wB4V
KNe1a5ClluA8wu7txhTDwwyD2kj088MEaR7qCLD8Vtmxl+MptcStsuobyxVzSJBmh9KFNj2w0tju
upthGnZBITcVK/Y99z6cCTMntpXe5Xo6tSm7NbmJUMOGVQD8mWm3RsizOg8RSo/Ud24dgVmCYppJ
pMp5YzYwFJvT/t5AHW0vqV4Hg17BIeglT5uNFYi3bnSPbk3j1G26uJ0AohWWjAksk0KLFi+ll5lx
yy0ejpa7hfg45l67qlRfwSCt/KyyHB4che/BZggZGu37P1Xnv0nivKqZtLFq22M+Zm9N1z703Ed5
G4aLSgwY/1Rh28Ph1EETu0jtpMuRuOaujuHq7kSp2d0Hubvjfp2GxM8sFMX0L4PxeRWw4siZCpZC
iExGgdTASUncMQkFsU13ynKtKJ/79wqXFfmI7bjL3e+mV79EY+wn3z/lldNFVgNunVBBFc0FnVEd
z8BStVw3mgOy6kvjzYFIJiKg1qLEssqoKUO7h6ENtaa7zuGfY0tP4ITt+6Z6TStLxB6F/dqUu2mc
ldl+ApkDg2kr0QZVLAqvRgkrf1A8y0Jram/7rHuy3UqHDXVupSjeSjfbCziWTq42oq7tb0cfRF5F
pwGI/uqRpj7+WxfDpJhQPNoYSHvKrPJDzvyXNWKwoRlpWNhtkziNfpxKlCsIxI+JaXX30odZLaj2
D1ZuPuTSXae+9dX23uPQBPs89Z4GiVIIk1BYMDW8NSMqHHnQwfgu8/YwM4K41NlwvIE+XCUaq1yL
BtM3RWth+JP2az7VT7TgsIaoSxi6omo5GhqmM9VvTsgXtu+vWcDeG6kd2GrRres49hMKsDeykmt3
rJ46TJiGlQdnTMWxqrDhnqDZHGHeYQfq0I3ueyTlrM3jJnMjbdckpmhpRJlPMRQn5TvHm7xC4/AA
nDFPIGaMejNNWElWXd2/agJpttOxV9ECNoPxm1BzZyVIoMKyNm7aXqfRKAXSCoVrYuSrsN3EptYW
aAIX7RWYIsDRA98D28NY50B4fstcW0bKdTAD1fEHDPWSmCOlL92BRirvGpidlCJyp1odU5MluemQ
sArax16kK7M31vaCBTHyHWOwGurJ/IiP4+gReKGSCXlva3uRybPbLvA/69G+mf1pY9fpb5MzF9WJ
9Kgq8dQG1n6WFVzlOu8NWvS1TDEGYDr+Lbx38MZMfRb2aXaionoB+Dphjk6y1rrnzLsvCusElTbq
ciWLRetiU1/UoTfOb+C1rpVgj2JoH8TiVETbBl44fO6AnEZbPuthzyIkJqVs9jpJJ4ZUZju4eaJ8
TOoqpZKFOkUG/1jkEwe5tFYRJuiioJteSg0AdbDgbNLhJSvNPSlrTB4JCfW8ypyPycmNlVVUp8Bz
32eVO7Hu1X4ox5t8dF5JKTGqBLYuegG0SyPbM79yT20HbB5DkkEPg2QbM2aOCj1GvyYtTmPfxmY/
wFcYNV8m1Y3b19UBJh4sqgojVgG/cVMoJGZ4Q5Ae74XEKQM+hShSuiBejBAmq0c3sBK0Ad7A/H5v
LLROXetmLvWjtPxIC7b3hib00uxBBE2UZtZmNjmCQDG+N7ANUz7cRPHpR4algCxHikVseHsUCOjo
8VqBG2dB9owon+Rl8Tm0TtLiPUFr0FhJfLPAuq7R9otNEGQ6+ORIs1jN/LPOumgqXKgOWxWbVRFZ
GTmMdX3nj/RjXkylR2OAIbYNfzr3yfWsNiTpdCgoSKZ+/tG2ZZL29L7wgnejfm4wm8ct56Ych8gZ
xq03M1ih6Qgo9i0mBGOFoCZMgqJcCdic4fHEbHXI0CpZEOFrvL+RrJyoUvRBYkt/qjgmqV0vsYs/
8GtvQyaUiNigPoQ736oCNYjaOOTTEpLKOdJkuEOVPm4wKtV1OSKg04S8rFewPo84XPLCQhuQNGAu
qPSW0OslIhviNBchgJMYpmZrwyBDbHj9Cr4i9y1x1wEfdjPJP5itYtYzI5xcc9fAP1Ob2a1vD+sx
wEMm3H70Cn/VMSsqB/+B2u5OtwvigUg0yJudSbCgwDtQhZZnaPiyUzeRPWCmdYaptt7LI+Xjg8a6
b0OHsU5tBwptnVabdsCroAMAz+nGnsgtBlLjBi2Q2S9jKaaPoA1iP59QRrvRfhfS6Y/nDHesO2L4
ctUjP+3MOpQOVhozfevh/kJccmu09g21gluLqDeU2B+rNk1qzFA7QsWonKLeX69JNm8GQkEAsBJJ
rDzuqv6J9JDEenpTp+XarlF17LzsqF353KPfpu2CYvvQvnVFdlfOSHMc2q40aIKzZ+F/Fy85ghbi
eZsQe7gbmbWtaoErQv+sN4Kl03JwzSAPrRL9DM8H46b+HEz+pxm6Q2YRNCVAlNf0QFX1S/R49zNR
xhNX24YWawnhjS+slWrGD9MgR89Al2nwAviGz6ce3SmvAlwce551L5xNbvd7XRvvtsxwL233QdjO
73z0gKWzsohTOAd4Q/VsMQIjiKb/MLP+RFtx76Hgz8e8i5ypA1Kww8x2QYqkGYIboyWrtsjfyOTu
gEz8akpXoX1qvjoZHnZvBYDlstD0yjWfDfQJUwykLtX4SWKaDBurpppva4evgpL+ymAVNHbzY+Gg
zeT1JBxLcpdbY9xbOXoS0O4b3cap6zpmQ3boDNDOMxOeM0GNMj8ZPgiXeyObVqARJbPOg1CMwx7t
V7ZR2ei/oiHB4SvQwNweHSqIKdrqlti487AsX09BfTNhKRQef8ibGeqyVm06ZR8cN0CnvJK3GFBa
l4BMJ5XVbYDnB0TXQfNqtIEHdaeWreFpQoFtnUyACszssanHCm0lvi/gvx6PtSsPynHfGOvR/Uud
93SkO0mUFYvAcJb9Zlpv6iIMMilfGqXWvT190T59nzWtEwIvuI0x22rXE9XFkzXcdgVde5YZZtI7
ZIP7WDQwvHH5/NyzaqNKKKcUgQ9B7o4xTDuP1G28p1ETsp8rMXzhzyJcoh8fKpiqYr/felncwou4
kOqRAJxdztOxm62I991G62FTcgGTzj7x53o/Vl66q5WZrdy+dxJIACOLzQ/DmL5h5gK6MJ6/UMas
FU4DYaZZvOjNAQFxquMpyP4AgOXHAcNcPjHcIcwpdzd9WU0RXsgN8RW6JNiKW3yFxfaZ23MTyQw7
2dI7IIX+U2sD8HxzJfIKGYq2knEudra9+HgFH27h72Tlbrnlw9rEte9qYty4hUPDIMX6BozsweXW
clfDxhlq+BMXv/KUxnipj1mXfrS2mYC3DGJ1f6xt86WvymM2D6vMQ8cWLbgi8ql8cCe+QtjfsHEo
Qrf3aFLSdgfCwe+gK/qkErb53kk8cisbZGLXJrrX3TGdy8dmYJ+zlwF5j91j2aeJbzZIsaz7LnMS
PtvrrrR2dVP9Ybalcc5gSo+jjjUYyYanb+pe3/tI17rcfWtodyOD2ka6QScYPNd2NOl6D7RVAoOn
aJqGjSmx4pj1uEmZBupIlO9qDLa+3Z1yMidqymhszlokrGtveJUGkWu1VdQN9aNFKYRZ9J0I3H3M
pu8MNk0b14Crll0qtdwP+HE68E5kzdOY5UZiT5ZYIVqjuzHUbQwt1uNsGOOKqybSVfFIjPwuX4aT
mI9uvi47HQ5VOqyUBMdzAskXzzWhRgqNjmYnnapfMs1PtpeOyTCpRzZ69Rrx46DbWr32nN7CpqDc
1/kAt9jJlWHai8XQoNEbq9fIbfIMnQkfdEHHjecKRhpB3oYQzEVVg4wLVBBzpWrTjkY93/V0OnLP
GwGKQNkQmv4SiyTggXzCPtxXIQDeYIh02Bg0qQtWWw3HBrQuE2WMsbTVbVr7/i2Mz57qv3mc/1ZK
kj8bqHAmrUd2XduuUgKNZEtAsnP1J7Zrj6rz+EpqGBCn1YOq8nVWo4MPjut2mvgX5+1pHrG9gdXW
4AfHNEND2BW4c0JDMw5QE+3lek75gVMW467va7vfQmC6RnMdChPztgEkLzWqKqIMho8OfRBztkck
tk5yQvh3PKSW8LVtAtwVD1pXFwTqvNhlqEgHJI8qE5aGvZ+RBBryJmQZe4ZXys7OuNh1gwWJTx5M
K9ao91HniR2UEfDjH2ghY7JQI6P0B3BuoJEQojmktreySP6QEf+OaGtd4YdZAwsomx5g9ry2Gd1k
KRiNyF1emBh+I6jl287InDukr9nRwpj6zlTKvUeRMDZKaDRNf+7hVAZFMAUHvZrd0BgHP5YTvMeh
DOglpOaToknRsBMIKpuZBgfhOl/gNW0yfH9iADiGTytS+B/wr73L+3Fr28ZXIK0gAbBtlZfVnVbN
XT6R9Kh6B9KUpkG1EjmeqgJfR3M3nJifQi7ach9ZKw3g+uJ8mqqisUXnTY5mdkxLax+Ulb8eRtde
Dzn3NtOUAUpjTw+6mI9i4gk64/ck7xZCZW9vZA+WiJ/l28o0EkCbvUcRoIdQBNOQ+Aopk6/7bT+7
v6nWXUQoBBBDUSaVn53y2d/zYoCveK+7MC/rNQezumXNVqf9WuvsNNHyQ8nhWSu1nWn+WUJcOHNk
/KkNEITAvkTQm0UcP0u4Nkv7067yrdOlezrQmM8FQSGnLzCzM++JM73D4vwOL/qv3mMPBfeATFwq
H9xsEg6Frt16TaLGcSsg0OCQYcwUm2A4frhxDXv1SIiKIf9si5CYWKkK6wg9g8zgJRzc+hwW7KJ+
qLq6w+iheC0hFHWGCazm+dX1shvadBvTGaEeDdoSXngQ9ad+nFf/j6PzWJIT2cLwExGBN1ugKF/t
7Ybo1kh4k0ACydPfr+5SihlJXQWZ5/yW4yNwFDCqp50bbSIwZ9x+N2+YwwapDRqYRDOGhD3msfLS
cOvbY74WN+6zg+Za75mVvaSryQro/ifcyoMcmz69CR+O11w9z0haW8UVx03kGHguCYuUXAUgMPXT
YGm3ht7yeHWaoz7kCUv1X2UVO9vMz+gGorTP9umYPbWBrcXS775nguQh5vaaYZwdrz4XovwINPG6
ZuGs6Z9akT47dNQLJhnU3VFnFxvEtEqkUXzq5FK25vSoVEm9YoAEu/KaUKzOvszUHk/oTkfi5c/u
P9LCeI85N3ShX6Xnf46NKJN760rr0hAw2dNBaNQ02e5AQbzHGriVYTbQELUENAsMtSGQtdRjVAuf
bWAsCaz3BVmDVvWhW3zctIAjaJJ8b4ZjUGc5at++NGLp9rdSU85l9j3Je+kPB9OlAhBXeXVbyYk/
rXY5h/AnPo078geBWg3mYe9Ep4U67ewcBm7cVcszwy51B2SZ7GjISUSjHYd5SBjA972Z3zaX/bHP
63dtFercjM45mLOfeZuuPk6IsOxB9kRQY6GjOCpctOVMn8pFzS1t1FsPHGCsO32DM5yE6YV57Vuo
Q2yazDcH+hdMifXI+LGQbu2ngT5ymnoOaLjOhtVGqa8dPdGe2GxgHcsTO9kbZF8TydJ4zij+ZJxr
j3Pefvu6FgBhaElbBTF7/4Nc05uBwC7aJtFG5uxuSNqqz8qnoWNS9mHUtQlnjn8lo2Vfjvr2ZG/B
I6ql9uhqSAfGAinKLKyz5KC69OX2b6m6hpsQARofM9uZgdamnvOLqOuftOs+pyV48BYr9jxEr0ws
lWpe3Mz8WvPyTQZ8xPbW5rTApGIHC0qllpKcudNe1sChw9q98c2eOrutd7LlFp06r0ws2dEiV6Xq
OK6GQAIWMI5XVRG589SF+jJvUduPT0E3Xuc8O/GP+1hsJe84L+0ZmfYV1KUK/ZSrxjGG/ybUaaiV
Ai9ZauNUrOO5ktX3qppD1mSxuC9qU9OG7N+sK+y+qcEtMepEtBIHBtKzW3X5R+r+1eizo1yCy2aX
F61kXpob0Ye6Wn9cozrKSY+LLT01ApzanxAwDmVHf0a6gfb1t2LLT6Ia3kuL845/4H2NlsBLw2WS
3Jya8u1Q85ZrC1Judgo/ZlfftnH6M6+kiBigjD09Hj3RzIH/UrdAP16+7aYMz5M3X8fiv6Aydu1Q
nmkB2Rcjz0MAXSKnaJNswt37agTAqPpNZ3RveUIGIaLakscx+DSLR0un0Cl3Q61ACJGhqRqy4+z8
MTMPWwRE30cdvOYWNaxavWOP3gfj0UUMslZW5FN1rZnqeeUQQ3G8uvzZZN2a/pi0wLJZ40eFg2oU
vLeYgsQCKzHb2BFB0kFYzLRBDj6Id0YFNid8WcaVQ6qc7v72hXRjqby96d5cajeWbqdl9VVqQK/V
+B8xrhHrX01qu/1fXgqOF0LTNPtn9UDTvflPE6TRbPxu3RuD3E9ubvHCIeRifDR7XY8RtPzOVopE
e32HhQjr+qFzih9sGgdtyUNliXioOSKc9WV11put3CPw9FeWqw5puLHXbP5lZk+gkWWG3UCtioPJ
XxXti7/6r06hDkquP0WF5rjQDkbmQp1P0VIZYTkPn11gRuC7CDEB5tz1J8doXKbf1M8frUle6Qv8
WcvgzR4vbvu8WFdAsmRc/Y9cb3lUvfoi+ZyF6MxIDN0LevvInMx3rstH2bj7rdJ/hWrerBmss3b+
tgx+nELLt4cCsuu3cM7ktdQKoJcuZjd8MAvnydVnnjzU7DAVxGbQeNtMW5wBw5Wckm1j7HrzkwKZ
0DEmWmBhZl3/NJvas+y02B3b57Gv9+36ozXwgqPFJ3cw1K8ceXl5DDkgdg1hIkVb/s4uuCYGwYlL
zea1sN6NIg3Jjkq4Y7jpAfw5qRsqf+O1sY81/b6TqV7hvZLaDQ4Tb3c3evE9Ul/DFz9pnwbfbLDI
qCxLolEzPiF57TQtbljwCymOhqX2E3QOKCnf1+9IWFgr3vPO2tVF8y9FnAV+H92TSi3kpcwt54AN
ZXaPyzIniIF0TX+esvbJzrgnKNnhHa56/1wTIK1UcGypogXy9YEOiqceAqIfVGRZ2rHQ/UfEqiHt
VaGW9nrUr/V/vObnKh9PwvhHzNdO1rB1FBXK1XzvKJksVy+uc7nG09ZRdLj4nLrFwzC7z66cvgmc
XyMQ38/JNp4ytKYEcVZP/QRR5ncHd9vc2BhUuxsFCmK66EIzpbhPGD8rgu1irbH8Zs/twMGcO/vR
065qU0UkLCBkzvajOf1py+E/4cETmXHRL9BU5hKpImWIdUNVg1QhMlKsD4z5PD1+/bfUlgTEj4Ss
X9Nw6dZ+kNmK//Siiu/W/1usn17qg2bLUNi3rrQjueRPXfOWITIo+S5JjQuzzQh9u+Gx06PKcg9q
owOXosIx+LKInyna8Rpwz2Ng5gdaT0vr3NL8j2fi5PP0s2wO3OJgklwjdv7QLx+Wuau29FVfvWRy
967bc8gjjdPtJlrG52y5WCp9LZv6j0qzvW/0jN/TRRtb+ro1+ZvqVL5yq9UVGb7j22bzetl/mA4j
G8TYT4dHIu35N6KYWD79oQ1H+WvqbpRRmD6uKnLTLhoH+1S3wFvTeFuQMDCmAgBlC8jtp9xsJjiL
P63EmmvGNTaWLHhO3ce0RMZ6jyErnd20NA8sFVr/ZGNFWWxIamOLAkQYvops49qOrEp5uzOp7Osk
WtUpsYKTP62EObp/VwJ8BOHTa0WjOuPKaJsJlzGlgETLNCrCnBh54uYVH2jGDo1f71AHJxOparJI
b62lTtachbrz5Wzio+YS9/7fSIxF0zmsZsrq/mRlxrnPxKFytWPlEByc3ZZJ53X/2cpXk/Dc2q1i
Q6P1zKvOuUH7bN5EDlhzVhFnlw0RV+4LB0wifHufumYyg7D6nboEWcCexWA6wXCI/NyRyjbj8gB/
OXrbtG8msK2S706xp6w7oIHY9adr03x6fBEkZpQKQbOMK6vh2HvcMuexLfkOvTFyt485qygQ+9fm
7Kh9TsGrHs/V0wIyAskXrsO9j/qL7DAu/ue1/mc2p8148/M2mQw7EpIgs+7YCOcmiQ1Fy8EE9o+0
UoS4TxlDTduXoeW8OBzY3n1d2AIe+2C/aNl5kzpD3CfJCHHdTYlYph2NQyQH/oLq75dhuvLbu1l6
kbaARffmVRV0LGYWo5KCsVrbXb8AyrifNnpryAwYCUiCLTas7CJMxiQrfV09f6+AIy3yjxwOb5Np
uvUeVP5u2P8qfuFS3D64xqdnoFCf2+MEvBwA7bhzsKtaNy7x18Bl8U3A8OCecfcYx3ZDMyeCVK5e
erHgkCn7b1NQFdm+G5yvwptPg5+RAPRec/kHK4eCRVNQE8qB97ICXRDB32lND7M5fwHHY9p2uK3v
CYX92Vz9b3tcXq1Re8bAzDqHjQq+qQwLwfmxdd+BYkFsC1IrLW5fbrcczLjOoBuzlsOLhktZ/TTj
KsKqqHiDOiOsbOpklXXKICsGSOzNX89kkp4tKAknn+DiZBhABlnlfKgVBaGQD6sfHLdAT1DMa5HQ
my8iWW2mjNTadTMYeOb/Cp9tJPvchu6noC+2y+QY+/p6KCr9TZbEBtb4VTz3gO1FOnWcj/apV97O
zrVHKhq+yF8MwWaTbNjOdTPuzW68mZ76aJoxGZA5CxmEsMw8RjWsqlPus83/cc0m9hxxVzblITWL
sSkpfy2Hh65FXp7NL3gyfll+9X0u/D04cVQF9c2pRsFbMxU7rPNInerXis6BwfZ3sgTOIpXIzfQr
gGAyTCQrLsGOIttj3smjXYnIH4tXPCePhW/fhrL99UT+3xIEL64lv8qs2d+ntFJ0HIDmfiLCbWv9
3TbbscTEQGGteGYNefR976kciyTlaRqLbE78gVKCAhR0VN0Dl8qLyaDQIi2njzjaTCvx+bU3uQy6
T4HdvUmsIGVLKZcB3lpwI8/23jXms1vZcWc4XFn2Syu899lekh65mnD6g8tEr1YrlnVXRatpHev7
Y0jI/6xnEc6KyMHYkGmkYzb3Z61zFD33n/r4z8n/a9F++DrKOHuJcKwI1981YAIL4VlhPaIcaPXI
bXCMoaXop1uvtVNCRJoTLsEdMFo+J13+LAGUVTd82Z5Gv5DP1uM6uTitTQoDbDncTfYV70e2g9CJ
3ZmzzpFDYhJHRe0yDdo6PwgSmPmh1gaCDkzjvdJxh8jAujOFrMCcUeP4Yngp6gbepZPbOt+ITeSD
XvNA6y2gLNeTQKKCDQRv09hpZ8fGo6Mcii6ITM8c1e3GCumEnXK7Z/cHPJfBf4FhQmY0jsuziyAi
H10nEWn+i/7gJFmEFd9BPGdrsq76cJkx7wSmkaR+U0S2o5aQlFEV6YYF5V0Oj4PAhuIWL7Sx8NCT
VMGEC7LdZ4WMZ47bfRpYoFqU88SQSFFgpn5cmc344JiB/TnP6sCn+TZPTH4mfNiKvX3X2HVEtAGi
npT5BDJfwF2ZR9V3Lgo7+Qap5YT0Fu8Hv0a7YRgRH4cV2paKMss+96NFCMCwAQpyqcMtu9dNef8s
oCKOmthBAriM8ms1tmTVy71dkS9hw+i1xtm3+SxGL1k7+6xV3sWo9GO2ZW40mOYfYayfSgH0D1ri
z+ZeJwSJwUkcNZJwwhHGTZDYb43MB0MxH+3OVHzXikAAdBF+6kGrCJaqIs5mACTPMH773n+o5+q1
8gaG0AWfYpa4pQnj5eyM1eNqBAEPvPR5mpUGyjtR+2ceO6qsPQnUVvYwC/UGSjPO3RLpqYMpUKs6
RBi6dVtMMEjTQn40ej7LpW7uPXAW1r7m3+hwcZepNYZCT72kaFw7orsSkkS8uZm/pwrcgyfPHmfP
K3djY96oqD5ZYj7kU15y7VaHvt6iVSxPucBBNMFJQrvGXCRR4esnKgzezMx+wjvwPaeT9+a4eBZV
5e173GKr6zoxWNTKWMzJhGHo5gkKwiWMGzlktNlNvcDTOYABM8vNUzZGynYj9NvPxLnttnXhA0Cp
PNgOADb4iJlidZodMyPefcD5VDo8h7bz5WdbUmouxI+8NWsxxQQIRu4k9zhON3jeVMRNbT6pjinM
ddQXX2IRzl3t/Sc0/2yqCR0C+H6GL6Udd2nD/TDa/V/2iHiSaOIxE6kALV67HYe2v7k4x3Ll51d3
dpNW81/WzvrdTPNWinXPTx/Xwnj3u+aa+bnkCFT6YzkvRAv6EuqLYlLyx8ezU1O84uSfpZE/UIf7
XTFMTav+ZjaY4UYG/cz6DwktTZuANXOh0NaRvtpQPt00U+ir5ctOYUv1Uj27vX+xsuHmIl1xmSQl
IPgw3a+tTl7bYX7EiPXg6COT/rprVi5MbzwLxz25QxM6/gTI7cSa2VwNb4g3IQ9VXp/l0F/9wjxM
7XAyBjvecogUzZ9eqq17HUcNsDr91peNis6VTSJQ5Ue70I23ap994zyWC89CawcHj58zDdDfr9bH
FqT7dGs/KiNLxPYPmj4pe2vfW/3eR3zAkXU0HLJO1HIxSxUtQUH98Mxq6Kr9oM8vW+EeiWs+l0P5
ZerLFaBmT/FYzrrQkpaTMxt1Gw2aViKU/jxn+hOV75c2m17R7dmhqa0PE6uEB/NVZdpfL8cEJzP6
UBd1Syn8ritSbpRdhpuXfrS6em089qNgsi6+MF66Es65otTT04ig0137unjaS1HaQSS0hfGfoLGg
nx5MY3lF5XfLjOqsy/RoGPpxFMPTIqdTjkQpdIflr6wqQJ3Gl+x41avKvYloMpDBnNNvSv07biK/
9EZDk152//Afk/2/aSc1+s9Daf1bSsyecLPvKBX2nlV996nrR65oL4Zh7dJ8uhqEc+6sefzPXOzX
gDOIW2+r4GKr166XkIKLNR8DTO1L6yZEYFPV5jSnRZEyvWnLF0N4ZJguB8lEokpTn6fBuapGIMzo
0LFo5fJeUD9azf453cRzAVKmy4vhKsgcmCgp9mP7Hsxf8PUGhmJCddyc8SVLz7OHX3ioIvKgeXvT
41Iwl/Xe0dP8XVCqU162h9IbkNe0CKwLjd/AA7tkO7Mxo4UBQ/VbJMAwNON2v36rhk1gvOqbfa5J
QrtrP1YUSKbc3iZTYgLqLqbvP+u2exryACnNEPklMH/Js2nzgE0OX6DHXpBSsxs1Tfvcr+4ebRZ8
9LAjmO68ZtqnqvNEqxmyemwkwXTFUfhq6MuT27gzNSvTf2IpPlc3fWGdoDBsGwngnqp4bCWCKpcz
t0MMMNBtomUIXBemqO1O5qaoVMw8f9A7krrNfOJu1Ks34E+WBUIKYtPMHlTFPaFb73Y7/vEb5yIA
MmZ4z2jMlyx2euu5I+iVkHz30Ofcu9Z6WaGVQF39sJAwG+CsD3Ka486EpmdMjVwv3WVOn1A9dtXS
PNsX4Li9ubwVujp449RFhtV/NvPwlGZl4vrzKbCGn9p1/9AQ7ezlfazxoUv6DcKmsFcOe8d6zNLW
DO3sfh/OyAvnenvQ6bkLTZAA/NrTW+Bqt9EDvDOH65pCaNWW+GwNl8mtGE+OPx9ch2bNzf2T3mm0
3tHLKPfWx0xucyQW5I2pZlJIO9/HMFwEQW6p2BixLNmp9xtk9qu1EoS28T2MoTFKllBtb00AB4MH
gdQW+5KJWGf/oEXlTjovP6DyBeRnENmacTWKGUhe6GtxyqrVBfqti33P7H/wHOMBnvfH2nrggFyP
7aI+FRPcet5MaKORaVV5lejFG4GYUSrWZCjVUzDeFTODcp6tQOzXbHuz9A5hY77x0K/vsEHnvufJ
VcFlVi5oPAtppWcvsz+eNK+FWtbZlg2ArsLPfpu7d7Kd7466dLdZK9+/u37mGEyzggnBqtlW16mI
K5BeEkt5By2ysk0ur0LHZL4RFlA1/l+16ieB+pL5OEDqx99oyYsoDGboofOAt2h6rtKdlRsoh8ca
kIEceG366P16DNMAP7LWikejtlme0mCv2xNGe6/d6XqTuHrfRyWl06a1xsoqWRUr7V3L7iEu3UiV
SUMXHSHEzZ9R5A/VBtzqZe5zZwT73PVes7HfM/GgW5RXbZj2plMVsap79nYettqcD4NqbqO2vBnS
eKD66SmYjYfFLbg11jdHqIOVB4+K9Q1G8FanIIi+18e61e4GJyOFb4h1loeRLAfhDKE+YPJFrmqM
COxwnGuG3FMIHQFXfNYVcQpbdb+tdlTlnlZNT5bJenSpBHMyN0nL5tjL6eKQWuEQp8VCiZyXl/y3
TvOTbcvnkSj/cfGHaFr8BwC9szmjKPcrAyZ75F23xZw06YKCebjhdG5jr/f+o8j4OvTcwn0lKlh8
9Xdz62OTl1oCbvm2CNo9nNz9tFaOXXBnLy3TSL+Di4EvH+3c0nfSGx22SiRKXat/1vcrnvPsKe/H
WzVYJQpnicyFPgLQRgiKau5WeEGWhabdPrq+PDpQL3pHRr5qu/2CxyY0pXayx+lm2x2GZegts99r
WfOnsLTPYuD/v0vs3QLgveI81tKjCjxGyVXxRM/rrhDBQ9eDx/ImRcIcDdRX+mWxjL+yK7BR22YL
IDD+V0AdVcV4rcvmt/Rgp/TOv2mztXfuuIa0slfHLJ7qvPBQO9r1bnbTfeP0F9+sqeMFf2ZEiDmG
49bB1dTKIzapi+z6D7/mqynty5jZSancP3aj/V0h3yVHJ6gzfD+vzsIhMJGvktfl96Ln14aDH0XN
q80ivuPv+1PN24U17cAKFhvB9GxSCOlUcr84Nhf5mHj88zeFyRvhfKAQiNjeUXI6OCPagClHPSUz
lEbr+z1O0yr6o+uXj3TJ4+VXyVLCEssAfiaFhB0RezLkFvLB2bajV25PZqv2hnCT1dpu+MUJ4s+S
zNVjlK6A7xNYZ5Y34eb7x9KXu7oigtSrEXxKccpwthtdf9hS90l31dlw3V90JkC4RVnFabPswZkO
QdpcOEUBk0sDHNepGVXVdqun/GK59cnUx5fFZ2rcxBi1HqC72vzzEBRpJMGyT4gj7wjOjMxGrBct
JbjEtzQU0ndtyECEd5Mj2/Y3T4U59gB9MZO8aLAbWN+zZh0bHzJiItltQn/M3LaregTH05xohfW+
FFbk5trVWVwSA5GjjE3GpSYa3JM+5JymzD4sGrIp1rZYo3HtvodqSdxgvtQ4wEK7rQB++K8DpLWV
PUK/6ASvq/XfXc3QaxA+jvgus+o02U60jsW1Ut5pxkw+GtNnug3PUhV7rTX2XolosKUOcGy+p5Sk
pX6W9AGipUJHRJ9QOCt6a9bttVHZnifdRRvDGYN6FnkGUC2tlNKF/B/Oho+awXnbVsQy5TLFgWgf
rKoIAF2Mk97KU+bWt9kgcwxwZnE0bB1rWNDJEhnBlozeZIZLmjECmT8jaFhvqj2yyN0CxxVvNuqZ
EbWfbPQ4b+tnftwGLo4PzdX9nwYCowq0B7r0DhUvVju8G0PzAGc4x66+vbOJJ31KnDvI7ti2L26z
HnOVnlcHNDVdj7N/542dK06OWz8Fl1F04XrfeQ1nN6zlx6bMQ2CI81D4iD9Qxrlil8H/zUV1q8f/
RgdQS+I35qoRDQf0sKtFeqGgOm61bA9YEWceSXv3ypPyfooZvOm5i02zlS2SRI/84YYN2NN2XX0v
T0GevVpW1PnarRYzmwg6DwupqNLnE0AD9z7Kg3whDSaPfTEwDwt2PBELa+Erea2hn4RfR47Ob88+
V5c6UpQdB7h95vtOhK+mCLKPYkjZNYZ9V303VfEbNMHD2vkyzGQaDdBZruW8St/7cUT21x5LyNqM
3px+t4me7CzjiPmJ2Irm6NSoWLVXtFW/stYvtbMkVmFepgZKy6jfvAWcTDKytG531rPlTRTcIZ1Z
nelv2+FyilrOlHT7q/vNkypI52nVc954GAbUa93DyKTD62aoHTof2GLSLRaGpJo+jn4ujs3MjStw
WQXBIVu287AOxzkzX9PmqwCGFZb6uxIA75gpmyVBaVLVyRSQdZFWgp+gFWHtafvaqR98JJkCALlu
vL0q5qSc1l2tGQ/DwGtAug0Yup+Y9fZv8h1cbcHU7mDJUVIg7WNIoOKc77Gl7CygQKRFDDQiYpzk
waqGqwY9sbAL3enr3pxfRevtZuER+/QnrftTky+Hoq4/xw5drO4FkTb9VP1dU6Bzm1KSU3OWmMGe
iDEgkzEaAH7zrIwGhf8LlTHHfdiYeawCUJa5/toc70ouSAx0t1sXhWLxznEWfzIT7HS1sDlA/gs5
POq5ufcdN9GFc6z4yEnUYX9ETQurmUPLCulfhrviWBKn0/XOq3Vn7EUw8oU758F1H3tLxyFd7T3h
XzXtL1Lz0GPCSCf/N5vIeNXGs9X4lNeUnDGsES3WITKZ0BuGlt0/lcb6hHg+NFuO9umPAx9UdtMW
GhUVlTUxmMb6ZqmXJfOL0FtIuk41dfa6Yeem2fem1G31a1Y25jgeTm9eQmMA8FcsHb0blgNQ8jIw
DPQRUsmkrI14tTeMfl2imfkl6FcOQIRKVRrsCqmBF9fHdiQrliYzsSyPDT1EeZeeZKP2OT/J4rvg
xS6Ubm+eCUXOyJbqzoPTeIxeHX/elujq7lIAlw1xFSFXCR6qkhg1rxTJkrug3c5ZAjmMnQRPH1vk
9WOCCP57a4mtIFn9wJXuhVLzEBoqNCJZCaZZ8gWRQrOVX2Wgf6PydAHc6iA9UpVIC2T11fr/Rmkc
QPs+3ao6TqbxgYA6LgJoYGO+BR1aWjZ8hCjvuRiP9SzOdWE9iqCfcWy18eYVT2O5DvgU6p1CVjJZ
w1vBLQdOg51qnR5h63b5oJ0yhZPPzneT/DBWBXedx6M2LgAO9r/RULHTMu9t9alGPkp2wGmpzY9V
ee9blYaLxQ+jVzufN4SRFcAIztnunurRP/nBGlk4KhnH0WMgD+CbP+d6+VgP066tuERXgH+W9NvS
NIm9imPuZUczgwb0RHlBXRY19fK8DROYR3PqTKxHsziSfXsopRG1RnGvLatCW6Yn19B25WjKqM8k
/FwGJYbHaGkFn6Xh/g6Z8XqvihBu8JpZ+Y/KGyidIhkYLDzLQAbqJd62HjUchKanHVu8aCbM0UQe
DHAWZNkEvT2Y1A977RP5QaHbrYfSHiJ7sXBg0jlVAe368mesfLI+QBLrlber4lRjBxROEelPaY9w
Y5X8Rd1RTNQy1ySoOTqcARVUG3vBap9HH3t82tkX4Y5PhifP7G8Xx0v3G3kMto2usYJaapt9CRha
aIQ3avODt0IfFzN/ATFYPoIn0zvlI7HFOW9gboZNwX/r2PAtONiW+rpBZAl/Q66DxLW1lkT0+q4P
ekQqfXvj3T6JRjQ7s8o/lGViuSkOejuiubeeFZo7lEDr82CDDGa9tpN+e3ZyBa/pzpGauwd/ypsH
9EvHilCJXLh7TfSPKPtu2Bn+aeX4I0q75fVRcJ+NuJR6dbM139k3Q3NN3eqltcQ/c8Tb5DRnadpX
pFEMTbl6HJR5wgbs8XR2cWAVz1o6HJUwEHk4y5mJIe5d7y9Nzh0KuRaEmfmjQRgTdtv4plX+qVHy
E4VgHo4ZZe2DKm61rqJZg8QAcHwtdMO4U8CfQG4JJu3jsLnXRs07YH2uXSdFv8wWYHbZT1eSA+iU
dGnpKI3xDdmAsSMylR6jnCG1fzM6HM9Y67janL9SaJemLn/lbL2ZY/5m4rwINTFiwkGVUkwV0Vq9
1yatxF9b5t1jJbIHlA/robGNf1al/vaa/mrOBvns3W+DI0Jb1PdYF4+b4ScbyB/fJKh328UVgt2w
cjykkDjqtAWNGx1E13nB/uyy+xtVki3iua1ZxrtOvWfLeEPEooN95e/EB70x9JJoxsHoyBxfJ5h/
LtHydOup6I39tJooWe+r6OSdvPsobJjvchtj8IvXFiTEZPLtKwySmvmuUns7z3dTba+jIM2WZzFN
GKisV86nLMzxMN9nZEvfDk6FUEA3QfJrHWEVh4mWuhdr8yNg1ziQZHopZUXWqIDE8yhD4KVDLjTG
sEH+IUqav0mDny9kZsdaWycS2yINbuXekfo1Tzm/g1Q+zLl53pq7DyFnD+hdJMaujkZSPmvrukvR
2tg0RbOgbAj1VcfO3T229yVHEaTI06EiGehwJsHysqXja14a0QjYs+s9NJj038WeQmk0LA0vhbF3
NKeJS1xKoVDrYdVKEjHrB33u9+jNyz9G1v2BsCNKzGyeMFaz/mSoSdTBHd0DxXfecdbtX4TqI4wT
NNfc9wlKkGfPbP+bFBJEHeCCcPfQ5iUaNzMpMyeIB41sAc8pOY073smOq46IZvgnu9Ce5PbjLJCe
Tc3VK7XqZeial3yhlTeY3rZB7v7H2XksRa5lUfSLFCFvpmmVDkhcARMFBVXy3uvre4kRrUaZHTV7
US8ihaSra87Ze22BlmDjIs/SGiYtpB6DK6wl9BocOsMXy6HZodfBnRU0dDj74pdqKu+NJpGG2dvY
Ss9SoC/TVlkHesutWPeYHD66tj5FFgd8MW13WmM8IVj4nTAmUeYgtx+yF1lRDkWT2onIvBBZWL9V
55SWKg42jPNGUTyHkX6sI1RdZqiQqhYKvw0KaCX7Hz559L2h7N23MkuNGac3nTfAQm2e+6w5ANRb
9aGOG0x5H5R6nfjg1kSAdIqB/KN0qbKZETNcpd3kCeUbwaLZkxnNcYgow7jFOUWoSNR9SZ0vpg1n
3nQNFZFRYkXeGxCQsmRnGGd/KyKtF6HuPPuu/672Ic7XZpvQv1yUBRWmqFOObCMw/GbWIRcsVGNW
85ILlblodSFamKG/x3FMam+Sr9G2P+mtcitDDdEQSZRZsnVEZwfglgg9y9NoZrDrJYBCpwWi0dBc
hm59qDzzoc/090SMPw1VpRerJj2DeTSHqTAKQIOc+6H760Tdg2IK0Z0gtXiXhVH6QPu5dWUk7aWy
FkIacobRG5xzi2g5DEXI4hwT1linKPMJukqLx55YR485bRFWBRVMkIiCtknlRF+WGdIuAHz7LGMR
VQuKr2UPsmCIqBUpym2g40uq5HeQk1u/V6k6oWKuU8QXsUrjzUpyqjw1Nm9UaLiFSvB2CsHCoxqI
zQT7L6l7LDVxX+kUpM3ij6SIDzQskQcG1VYqx5o9mxRMi8gLA6Z41cjvFDO/yQL3Iw2yJ1AN4A3R
AKywFXWb3gWGZCnoTIcofWDM43entJqJOV2dQXkrOhXyK0WCIaCB5IQEojnZo+gjjYwEhC2epxxx
4Xo0iEdtj9F/dk0BWrEKfscVvmezxJ2gZsVbkzQ6U3T7mxUIMmktKuDyw61JnhWNg2JVeUZLwc16
i1HBLjRZPuBRfmqynGYqz1nrKeXX3B3wxpeQrFkzMzC+OdZb2cGTxyAuGTJelaDjAJfdMjHug846
Ko2AEFpbB157R7nKwgTU/fWd9DnynY+uLD/wOnQrt27v67oJbUVxkVQi/s3r/KB41ZJk5PtAReuc
4iTXfeNZc/RDiVEviZ/zuH8d5P4Os0i5UjOJKdxwOSNiS8x8kQZFS5+uuYks9Yg5ELNDEm4EPJN+
IlNzCctD7EQfIUey2Dez1dChgKTnd87ayObp16sqrFvkbcTFKljeS2ZOOBvBsTSrl7Al7MFL44NG
pE1sCscw0zZGqBytiiKhLGGV6fi25ZoYdVMj2BuR/03IHouWhJ04Oa612DaECoNUx/wDYrS1MnMZ
pBgK2zrdo+rm/GL84Vh0qgQB8xxlhNY/tBQWSx+9UmgdmjSxraRCTttvxEClJCR3dC5c2sbCIRg3
e6EavLl8cZZogUppi2PG8gSfnZlioP3URt3flFRSlKv50lMVEmsSrP1J8KwagbDUE2Tpo4m4clP8
mkHGnhPOJDbxeD207tnjyFaF+sEwTESQlsYk07RL1fC2ZYnqJZKt+yJrVl3HSTMeQQe8/gcjiIEX
V+ampR+L7smPF60b0u7S97Sy6lXsew9NnCTLzjWf2w6KtNztgqBdFWn17DbeJsKmZ0eRb96oUrLC
H7mlrLiMBvZ5miLr20Q0UQcOxVErhINJ/oiV6VgKam2heog1OySeC7dk2a1F6u0964Ze37aVsDfr
9s3x+aMGAy2UJT7AGTt2vX9n5MbvgdWeH9DZKGjvQZHvTc15ajvpRlXAZcjseUyO5V1UbgIHcXtN
C17NxbWcJfcVB6ahNR5oHCAKdx7p8ZwDIaE67Z9qJ0dlGZ8DPzvEGt0lMbnVrOiuDuOHbmxvETC7
YaN602W9s5ARAWGzPagmTcFmXJJLiFwWThdwe6egpNZSEB2OHXcjRdmd69XsuTzbChDKSbJ0h/n4
UYxEPFFM9Oi9t5ZClQt0QYIhr98OYn9Qc+soQlnG7YZbIAHHEdHbdR22Hq2JQLQv/ZIEieZNt3j6
XVj8deL4WKvFtkvdbi1LiPGsyowXKR2/ZTEUO5c1fu1narGRfGaQLFgDta1preptZ4uDENFR5d0z
dzHNYtmCvGIGVr+jS4iTnB5ib7HEDQagFzjL1CQ8zBSCw+m/+2sO7k1dU4hQzW6jaOVD5aTR0nSN
lTiWcisBl3+GkoltOVJQ4UXo5D9FACHLgAywbJv4Tvaj8J72M8XJRN3WHqJHs6C2wwlOXfg6pfhA
ZcCWiYS9O926XbA3s/iuoPcjmro9LuIqaNeqoiyUkAHkpWuDOk1goFhRVWs8SMMhqIeMvGCn+NAH
FkM0VPQFkaCKLl+bp54dVfwVuZzXtN54Qcezl/V6oybik2XGew4dnD7yHkvHqFWvO/EAiTJYhmID
GVBI/0ToctIyDBgNcFYoZVFKrDe92RA03LLAKh2FYiE6t/RiTQCZtO4GZxHn2P9cP3lp5ELcxnXw
6nTue4L1a1Xo/j7qvKPYag9Yk+5UFSFyhFDf74K/mqYvDAwNSzV0bzO2Nssg9M8xs7E6BGfDBYmR
Fns5iB6zgS1+nFNWHnCaJY221kYvpdQecxGnilwWbwEKeKWGjuPqKI4VwWWfJ1YMPLaHvt6+yYnZ
rUwO0ZB1XI5Rgg6PZazmdX4DpS08s06/pkL54g3I0d1iLcQ40ar8T0O9SzLYqAQV2lF+hnqsdJS6
hAKJSLEbejYCPeAmhQdQChQuhv41O44HtegRR3prRaLAqFgFuQRK/xF17m/csNJS0fJVIxWnXheh
Uaj4FlxQAUmGc7gA0b9Wc0S/yN74K91fXZp1LCiDvjOdnAqXTv8k6b3bqkEv1ifyrViNa1qM4aiw
3GcmxLOD7EWnU7Y0BcyUCXhvsfRoPzl1szQ6ukR14iGERau/VoFSrdiug6lQRfaUzRMS+3uzVm8A
we+rNguWtOmQ9A7PgjH8whi+6yIsZEmIKR5pumKh5GvjRxByyjrLB2o/4nsoY3Sugn1flLCiw2MT
RbYwaJ8d9uRM1RETwdxo8Lf5+LYMWo2hWWKVYVfA1gBFcKk8ZW5wG0vJZij7N0dpHkEl/+7U+CNg
KfCs6pPD7tZqqEnASdJsA+GqWGpYQMPH2h/2RRGtiX9F907qvFEx7PB7up5NtWZ0UNL+RhOg9VSV
msA5BYVMiCVVIBz57iLSvHpbtwUCr7Qlmlhb9X79C5AfbGVI4WvFV8atLepYtq1rCYHYEGLDyHAi
LrywC1B9GS9D19DTs9yXNg+PHAy2ieaQ3JieSXDcpqX1IXJSWMhGsGXLhvp2qOwiiB7EjORIT6dv
o/LSzHi4tbK8W0g11BA9Dt6oce9RRN8WKgOE7u3eJyyib7u9RdN6ocvlTQFiunCtJbs828RaVJOL
PXhVYStGFyyMLh2/gV+NLL2g6Nr6Ki5KSe+WktZBMkneUBPtywKf49Dc16JuPgAXuUvb7j3qklPR
fiRwUnD2/w1y95ne4PPIdqmG5qUti089g++o0FoQ2cUh0IvQoJvAn5gxFnkD9FuO04cG2X6ed6uO
Q62hxXaYSuKioCoDheA2QGwy0M9XMbbjXkPzWPSHuqlDWnoy7vPyUVdleIbmTallWFqVrQ5Li5NR
/GYYCgtb8Gr4RXSFfjvyE39g9qkTKGzsOU5p6WSulHq5b8EE5VW59iz/k+3L338DEaoTdiMTX1rW
vRTZ3Qc1xHLfL8t3j5Bxb9UshnPorb33bl39H/nR0txdjcDF75xAt8tlRTMSe4iWxVFct1vkzuFJ
33nPwkla9sfuKbwlAOH+yh3OcAnVCWoR7r8ahdDZIR8qG6wVW50i3hIIhR1uTGMBzfvyhX4m61rq
hLAIUKbsnJCASC9COi+iUE0hhCy0KEekU6Jr1TZiieVkCNEkXb7kV87gTyNkwlx0xE5JB5n0nG7j
3qsEG5eb5vn/CTaeoWCqE96iX5dV23dSgoTiUOAay547eXP5j59BOaoT3utAY4jNpxjYSo+9DHDn
ncxO8/Jvz4yx/8ljDjqnETwzsf34kB0ycAHN6fPyT89AHJWR6P1t+FKuTeIs5YmIQnffxppJGYsp
KaG9BqGw1PQrmN2ZJz/NZzaNVC0SjesoDdtHA6QKYKfuyliV5n598tkrjR/DmgPZSndxK1vLcutt
EN0spD2YxpXxJzn7G/PKKJ271vjv355YHCIr8HoQlFH5GOXbOqI5h+Dg8uuYm06UyectyzFITYNX
LZ77fXEcVvGe+M29e6oAYiF4WShr4ph215IspZlhq0w+cx0sCBm/WmJ3L2gQ0r/FrtyiIe0/qd0O
S8BdpDYqr5dvbu7JTT7vyNPdygqbyM5Ma1/IGh1uKGaBtLr889L4Ff8wfSiTr1sG++GKqsUxaTsG
Lwebxli0m2GJqWCPB+HyVeS5u5h86JbaJGLHfdiy227DMl0nlgHgHLsWwYyEyKQQEIbAP3dKSxYa
W+YksA6lIW/7iu6nTtmp0dGG9PUh7url2M3CNY6TUCWjUeNcwS5VSx+FxHlq8PD947OZpkXTg8Nl
SsPYxi/u2skmJLASjwv9cJjRwpU5UBvf5A9vYBoX3cjYb/qhJQ5oyG9qp/MpY0YQNIXGWxclRReg
fBjIW2oXNDks0kpcEIDYAbepme4rK3kNUm2famwUw1gEvxCFBFMUKLChmSKqHF79tAVHFN9pqvY7
r+j8uhnhOmq3CwfqVWl3knXVQiqSwlDAYOwLAEO69CO0soNDo9no/aOYhp9CX6w6p+43g4HhRlVA
GXZrpJ1PGU5+UQ5OKD3WOlLruleetBKbfJwj7HCkq1/6zDCahl9LlcqHrgiQbKuzVn9K6VZHT3Z5
jM6sF/JkOizDkNoW2zx7MKhV5PVaKu+kfJQwWdvLV5iZNr4+jm+TYIMU0RskK7HRdh8VWdn62nBl
fpXmBtF4zW+/LaPBwe3lpzbGMRzJ/jZtiM/SPc8OhOGE6gg2eLKRMu001B3qX+ZKK/t9+b7m5hB5
Mh8K6NJUXfZSG2mLLEP36w2FYzmQG73XsHjUa02nDpFD0aya+kEE0njlynMDYnwc324bCFomCww9
9OO4HYpUOwrweDvVR8s76AevD3YAYM9GA0BcVJ9KA0jtEMF1TXRn6YW4aNXhfPlvmftTphNpqxbu
wPHFdjiNNmmwAcsDMsC6Mk3MLTpfGanfbpVzeWYaEQh4HEHL/hlDzhrz48G8BT5AAHj052re4Mw4
/Qpb+HYlxVKSlESt5CtUIV9LG+3o7mFr3kJkXHZkrTrXRu3MNydNTjeF5o94wCqw5TcMr5sMW2K4
pEmzGs8bzZ/m2V0WW3cTXLvezFfytYH4dmeO4ThZIJMv0GyYz1fBg0YrbVetpTXp9n8QF10eCnMf
xNeW69t1IrOjph5BWpch/25JHkATB7yyo+rW5NBn4vpF0yzaedHZG7pXmJnutUvPvbzJRBA2cpIM
icqu7oU657O3zAkRydbRs7jpV/EKi9mVb2/uQpOPXtRjhd4b91hnd4X4qlZX4pBnH97km9YVjxpF
DfxwjKiOVunW32pbdQNVZZ9fyYOYG3eTb1XVK1FIlJFT78vYMp6lMl4jspG9a4vJ3MOZ7Hdgn9Mj
95CK96q4kjLlr0p998ornvltcRLgKEWQ6nSHiSDkY/Eo0ehZdmWFmptkpknwSLmjnIZsaCPWY7b2
350tmSo78ZP9gSsv4DeSCJ9fSaiaeQvTRPjOK1xK6+SaFnhpI9ygOQDPXn5C3n7lg597VOOVv32H
ue/VcYpE1daFtYs8QIPOcPkT/wL2/7BrE8dl4NtPB3LidJ7OG1bCzO6j/pejhM9GWFA8T+tnx0xL
tkTEuxWR1d2KHewtWaZBlGcoL1LLpwRag0yRPUgFBYqMkr7ZKu5wOibFSJBUrDsFgnwXEhWAi5jK
OP2etFnT/P5snNIOJVQHg3dI1FzeZk2ok1cmn5zR+dWKa6EAwd5YJiVfojOaNj5FufYaRGp/oPyO
KMBMT9SWoXjjOwvMlLZC0ezbLvwt1vJG0dsrcQpzb3h8L98ekpYVnVxlcWKbwa++x3T/EFXojAHi
X34Ls+N1MgklnZeWQ0Zhh+bzOl6ntFMW3q9yY7FS0f9GAIfj5drFZlZ4Uf7vu7EoWhNrSC1O3KrU
x16ljbwsl8EKC8ENreGv9NSra9VMjUGcTFGO11roddmO9saBgmtu/srCxyE45VKzuvzw5m5nMkf1
Vq7RbyIGqlX3pYIIwzxgBbj2sMY38L/fhzkNndd0UlqTcWn3iZb7Oo7rSCsCRjuziLsMV8kWc/Hl
O/l5mJnTFPq+dNJMSXhWEgmSugUgDginVq78tt5cvsLPb8O0JhsVC39urLRmbGfleFqisT8mCbjB
sNNx3FI6vhYq+rX1+em5TeYVtetc9DRlYMP9SWHCxG8NkBWvlD9rT4eVj64qwhFKDy0sa7tKcb76
yTmv4e94Xrr1GnlJdXGrQeW7fOs/z6HmNEm+yU1XVlMeblTHN27bL2PZv5KAN/fTk683bUvHScYY
qQZyvibaFkqpy3+0Mg7inx6j/N/fql6AVgfKMpY14hthIZ6SHTQhj3M0H6x3K++Me6yfO3WTrS2O
870dHOJNtpVezd9wXbf5b2sXXVmEfi4Km9bkS3Y1SHiFyp8SBcfYe5SEx6E9psPfRDiWxlaQf12+
5bmHOfmcm15VJScWaXKlIKZFZ232xZW8xZnTpTkNlc90WS3M6utpKpty2T65WPv8Y74zD1ijgisv
7ecJyTQnZVXNL0tF6Th3hGG3xt2xq2inhvG1MPiZWcKcfMMhtOhGFPEak7t4SkzHphO4lRCct61/
90/vwBwv/W29i7AXEe9GNKyk3SeUBg3/899+eDIrWGKYmaaSRHbj3YvePlGvVBdnBo05/vu3PxiE
MmqJ8eOuyX/1b4X42oiZe5eTT1vrTMJpB95ll2cPtZo9V1L0YY5uh0xC6S6nJ8MxPo2SDrrSvFqx
+ihbirUqMQVEIzMCEN3z5Uc3O3gnUwG9C9gbKnta80ndFrt6K6xpKPs7eRNvhJV15Q3NFKFNc/KZ
Y5ZKY3Fgr9lsjBeID7Rvl6q/ku7LFTEbi2Lp3Bv6uv0dX9k9SzMrrPk/H7ycB13IdiTALbcdVuUS
wY+5ImYYf8kiJvfw2rl5ZpRMI+Mjx+w1/DWRnXej9BROfLu7/HJmvslpRLyZiUoluvitNc/c6WL9
KCJTRrCEitPMrh0oZxZvY/rh1xLq2LqCM3eq1/JasvWdu/a3DfCPRbc06Q54WLsXwUm8dsWZ1ceY
zAPseHtBqOgDumOQQ9aXK7L7Hku2/RL+0RDz2eBnT2GSHrzU+qdmkWlMpohOzj1sdTSLGk9deOgj
CfhaeP6ff3tRk4nC9Jy46ytOzEmMzzz8aKucc+dOSZ8u//7MfGFM5osM+CEkfj2BbVUtFIq6NB1R
D3pXlpa5ScCYTAJAf5Ksc2nZWCJkapedU1zdpFV5bAi4ge8rPeSDscUpS1cfxFxkCXchPJBrl5/5
VqcRvJ5EBrc/0P/wdvGNshpsTkFEyErLcSf8fwTwzX2pkznBAoqcw8Eha/WkgRdG0L7ntAdRaGWt
rRPsutpZFNvyn8oo5jSZF2SaWeiiFtgSdnEhXCbebZucycpdXh4UMx/uNHq3Mzw/qUsGhTSQ89N9
DgiUYvXezF4hYqwuX2Nm4OmTyUHAV4buloFhSHeyeIj1ezX7dfmn9XHq/2ETqk+mAUgifiPXbMka
RKi7QTeddaynT1VPRB7daEqB50zvn8Cp+utKgGho5bdNT6HIhc4GijzkMFsqLcpJEzi6Q4qDU72D
MIEVTKw4R5A1/JdVIoHPy7WGzwV7nNhtC8LeaqHGGqPbsdvitrHWWVbCOvTtwe2OrthuzaK201p4
cWXM72YATBZAJ8xbgbmqicM/uOeeM2i9S70kAoFdP8iLleSJOIF1jiAK4yuM1xEgboBE2ZsXsq1K
iLVJ9V2mkP6YKrido7e+EK98QjMjWx/f37edSmpKliGJvKeBfHlkVIcc29/l9zS3kuqTyQ10LDJm
mf5xex574cnG22SH/q5b5ruvLcLxH68zmeQKVzRDUUaSbWZLljj4mJv4qYNKVy+chbuMzsmTcq3l
+tUX+GnwTWY8M1S7Ifd1autsepKVuw+qRb0ZFt5Khm27RDLF1INtSk/Xzaa3tWsXnvugJvugKmjU
vFUd5CKSuFKGDxDYS83/e/kRzv34ZH6TXb8NSmzhEOqfQ+13gcHcubZGfLW8f3hi05Bg4DLo4BST
0jmGIXaiSyCPqxZJrCFBGerxIBrxEu8dFoYN56GFSl4ZfhIw2YcKWF3hHSDYrUxYpBJwFV8+qG18
bigNaIhbUldb+1X2EAgGqU7DPhqiuwbSbV3tSs6llx/PzEcyzR8OVCUOwL9F9qCnCIl9zPaP//bL
k2lSqhw5z8dDrGeChzFTbBWEVG0v//j4Iz89+Mk8CSRJEWG7c1jXg2VciEul+A2MJtB/a/2VS4w/
9dMlJtNHlIJI611cGbzPZQ/xvRPtHv5cR2zTv93EZBLparXs9b5ih2EOW09DmKvfJMmdXzqoPt8u
X2NuptImM0jgSCoQcy1EbY74ErRSSpaXom69shZXVWQYn2bd53aWF2SOdhnKYbnJT02ZAV4IdMBz
Ftzby3/LeCr/6YlO5peuTUO9b+k4Z66CHMNLTqQnnBoVZKZq4fEasBNpxZXDzlw9R5vMKklqkBEd
sMp4O/OcQKl9ST5dQLnVWv1buNvoTl1i0/4F3fM9PI4bqxFlz7ECHwi+tpscJeMaIAF7Le/KiPrS
Z/z0ACZzEbJSzdTwSNlJZSq26fWv+HDXKm4FRwDlRKUb6UbYvtGSuwdkeTPyQZtQWwaVe3SjijEi
bQOoQ6jiiaHIFH+lWz6AS6iObFABG6DlZQ21O3AOWDZWAuReUDMGq7+1vvwOZ6bTaRpxTZqobrhG
CAHX9uo7EVujUV+Zi2Y+6mnqcOrhhWhAv9l4GTvwacKqMgTIJj6q7PTKNeb+/vHa3zYFGISwPPlj
z731bgCAboQ6voUJ/Y+PZzIvVaC3m8Id28WOuLfwB6jICItYur/89Gdma3W8q29/vSPkrdabaYoK
VlgbwqtoBFc25jN58eZUoYiluiAIl+OaB+h4ARAU20kR/85FlO2o8G+JhWogebQrIWQPYsVnOULj
Q2EMUiRbtswKHgxXOrdOvS+G/kBGBv6HsPkVRdHVKOyZKfmrp/Pt9k3RS6j7sFGQPqyX+mbUG1tk
zS7qVcZmKFyJq3BFX/ya2GBmPH5Nqd8up+eqmZKIktpt8eH1x56kFBmGIU2WRWMIVybFmVf6dfz8
dhGn16m6asE4P99aMONJOfunsfLVLP/2w6pj6hVuKra/6p9Me5GuFWDUr6Xjh2lsqo0uHEWsoiTB
Mgy9t/CcjUxkYKHK57KlGKeVCoQOdP4idSViss8wesF+VXqzJXVL3A1A/BaOLrqrLBhP7ihuj4OG
jq02BraWzVus1BbKtuLOayuYYulSHrQ7oTJuWRjxB6pJsZR0948pK891QY6ypr34lnY/GPl9rge/
ha6FBFgTHVC77lNNJX0tm8OT2CV/zUJuKemXmxqPBmZfdWd5RLVxUHkKhQbVYGC9kyqzqzIBkxpn
LqMixkJtQZlYDy7HPeJJVcKotfs8aNKVFlkr2fTNFZ7CW0uS5IXQgMbkRm5Io9qx//mlwhlY61Zs
bpow2uHzwWEC7X2bKyOyoVHBAZvdLzN1aKoqprogWztd1RUK+jLvyiWpHi8NcSSO6+2tkojSwHsQ
ZBwfLvBXvX3thurkCx0pMMNn0uZPXg6USYZgSKjwu9dHT11Mx1+IUhG5vL/r3L5egbuBjl4j+AOQ
pwXw+oNYqldmPB7H6/QsKOljX9LkoG9cG5Idm9JarFwb79xtI7SEfSfE1xV+QiKBvI9N4gzllv2s
2j0aMeENmNxeu1aS4KK3BRlx5n3twJR0+2h84vSgMx9RYJweWp/epFiASDAUTpIE5yQQssphH8sN
RNXBIOaKJKVKpXwYmsCIep90oOrOs9qTHg3nTq/uAk3/RTYP6SkS0NGebx9HbKsV90FV/9Z05awm
1V8hd2iXS/UbmjcslY50VwrOWu5leatgZNhkub8htATnvticIPmfKqkQFiVd8fG0uhSLEXhRu0+V
irejMJJ3rfA3OPrv6kQ/q+TKsq1RVp5L0F9CmnVAVmImweAOaug5eUUtRSBzAC+MIHe3YcHEGKF8
IwXQTlLYuOwC72uf0PC4DSHXSPeWY2hLUqS2WZAAFU0/aFXyKWF5JC6I/5NnwQqNt0LFKzhoWv6p
+eY70aHeMivKP1qaSQQmZkyKtYcxPAbhaEIf5AEISzZFIEYDd19X1V4JAF5khG7mfv4iNSBDOvMv
1KMbIQ9p2bTefSElN0YrGQsDxw3Rd3ekWt1HfP9LERIZ3qt035j6tiWOFrsdDKGR9StgfVl5ahUt
ehnorDUCq6DiAvI8KGK77yMkt22grywgOqvCTV6gb8VLpfZfktILV0NpJGggilVbJHtDoPLqm0fL
9Le11JFsqeO0DdtlIQ2n1Ckf/EYdVb5Ya4dqG0DRT6wBaa9afUZl8pC7JZIUT3scutweLIL9BjV8
JNAEvcQQ/RKK9FVzuue6DlHLF3BsUJhAjTPvE4Zk5iJx7+LoEWyhzQfzohWFPXjDq9GY44hEdyYn
d15o/Olw3i9yydgqEkarcUaR3GjZ1eC5I2H4Q7rjYA+idQgy9xOn6E1PrMAyabubsBWAiVojgH3A
tdo+6EN18DXyqQBR+8uikO/VBv9qa2bUXixoJUWHP6kGcZ9JRbkWzOHYecqKKe+guvUuzZKnvi83
rfwVtAtly8tuB01+zTKDJBzvU1EByEhK8Dep+A9Ha/eWgddVBtjtpitZb+/0snqt4DHTuya+Rq5u
ahHKLdHUThChaQ5LDOQVLCUDe6cD337FQfbZzYdTUFEwhAlJkBoIGOzM6wz0/qKvk0/UWX8ri/RQ
0orElWzhZwE0QJhLMPKniuEZm6i0gKJKJFXY/7JqB+x7Dshd9pRq4Y8vMXfckQj4LJdwdsEn4D0j
LINg8uZQyD3Bwx20jDra+kEdkkvOUyqF5JgNUHq1nkA5C5Cvt25EEpPNZkU1Ck20etTK8M5o4z+a
XL6z0nSMXfXo6Poxhh1lpf5eLKU/AEN3YtYjaAYqW5DsbArNo9uBpC18er51/+7pnPRZADe9NZxy
MhvXZC2QWpWF21gCsicVJFAx1fzW2NN6hYMJlmQONyT3gYkDEfE2GKAoi9mHJBcPWO3t2lX2fui1
hPzVLBag0hJ1Q7kBfEGcrb0B16QEbQIoV7IqGfkFyQRNEy4aMlVWXZK8iop4yMbME+Cz7rLVkpew
D2lmO8WpAth7pdw6s3mZupfI7JIKGWGTXRDZnWQPYX1lHz1XfVcnZ0Wh1oTKGX9Zuc3Fnfgc7q11
Lq2av/6neowfrCubpLke3NSq1JWSI1h9nlLzYt7Ih6VrS7aw/Bi8ZfM+/KX2vfh/yu0znf2pfcno
0yoQGlwtIBqfei3dFqX87rn1iysUyapJTZYR7b1B43V5Ezj3HKeeploL5FIqM7KiztVRXQ+2upNv
hbO2DDdE+14pZMwMg6nrqIod0rZYGgh2U37hBXjECX5lhM1s+ZXJgSrJB8cTyIS02RScrMTYOoRN
WY64lHzhyrF89hlNTlVyoYjEqkD8jVlBd9nGP/ftgkwovDnPuJJvlKsq37kHNf77tz05qRBGZqky
J4qle5O+d0fJRrv8MeyNrbgK1snpmlBy/NN/2KJP/UaKCNKJoBncU+FGdrOnofZuApRul0fVzMFI
mXycpUFEqk/DwQYRfOrcbpkGwCQhOPfEHwXXDhozPkVysP77aVmVCIKtqsan1a6VDRWTXbsRtirG
rMv3MTe4JvUYqZPI1zREzrwEdy6SrjvoqfhsyCz5kXxldM1cY+oIomFoqXlJRYBS8SaJKrog5lto
mX8cSfi8fBtzA3jqB0J7P1RFUaS21erFQiDnYdGCV1g1Da0gEIUrna3lUk0ld9GNiZa5ajtidW4V
ekKX/4SZ0t7UZqPC8clUkfFWs/bL7llhdQSMbrHkcGZYS+6VNzbzAU0tN5qBWVs0aFlL5UtWvSvB
lWqhOZZDf/hgpk6bthS8FJpaaAdx8YoENlqWCce0WD92mkycuEoNG30K2YsoQcK0OpMdywZGItIY
QcJ6jHo3VJJUdOM1VIBuCG5+0Hr3QcB3J4vFQyLl7xkob3Jm1EWYw/Tp0/Cmh8nj4pBVAVgtzAb+
uAtcpcteTEL2+kHfJ0UOw0LzTlLiH+O4uBcD6D19xjZT1dZi6uz8IiCEQOXPFEC3JceoBJxSKqZN
rskm0wzQl0a0rymXL4pSPFq9dEeG4a/SF48EotoDOT+RTjyGo2QnI0r3BWX0yOkIb6vI4iM901Ke
i7TeZ4m2UUwQilWRbkI5HdMB2wPcKWPda+2pk6XHRJDvGnOk+SrvvZq/aVl6FsmtyvTPKpZXl0fa
zNzzNVl8m0ILpW5IPQx5UUWw0lPhqXbaYNuU1bNThB9Ym68N6ZmhNhXNO7oaaVZAZwRa7T3Dg11X
d3f5HmZm56lmXpRd19EzlOCCSy4DCJ0a/oxrflz+9bk/fHxy354QhW8AHwGyIiHaZJT7NUrDl395
5tmLk8WYkIfAF1I5sq1q23sPVh4ealIlEpqTfvBvxl9THm/r25/vA7GtA4VZP1Ofg/jsEfCtXi0x
z06V4/f/7ddjM65iQK44lTC74OyncVsZC6LxtvGm/33N7zuzzZMnC6RJad7UOB3awc61y224Hdct
DENX1pS5po48WRnhTYeqVXMX8GS7DzLnNsHK3BUIeZbCmXKNfc32MrcGf5WLvz0va4iFqq+UxI7r
vtrEPpgFYFJdl70KBkfqICH0O7/rTQT6KaCW/zB3JsuRI0m2/ZWS2rwVsjEPLV29AOAz3TmTEdxA
GAwS8zzj698BM6qK4UWnvy55i5ZMiczgADgAg5qZqt57zkwnJwbasXKtJRHnlSPrJKPHu16JZtJs
oOG+W7mm2R9gSJ1bH5860zyhfbg+fQC/oAroQ6MW59ZaeSqH9tK34rciFXed7+PtFv3wwwh0KWnD
PDjARbmrk/ReL8WHphKvmsrHkwZw99ev2Kkb/t7l/eEDCWrORlGig4Xk11Mlw93Ivb0qa8GKqg8u
fWYxW7goV5jVfMdnafn1aU/EjPft0YezWpCekebW+Vol9dS1LaT5Mxd04lU4Frax2Q9zqnv5uoy0
bZR/TyBhFmy+UxeFt0PX8VLhlF9fxam4On/9w1VIChZJtLPTPZNUPws5o1eOvIIK5frr459Yy4nH
oSmuLDnScPOWfekqGDCfVsabKLHQkJju16d4l0x+shARjwLUaMCK6mJCB02hNtxi11+w86UFPXZI
etyRnrKzFVP++ly8fV+jfXbGo2AFn1pNVQs7EHWF1TP9JVwfBJtnBVMEPO4XxmJyJJLI9nDPIiJH
EOi701W2l+1ij9/YmWd3YgQeq1dan7Liu6uAUVyLHulE/Mu/vqXaqcd2tMyX8R8jt4Mov6vqVQgY
0Zd0rJppMU6aaZ1FPTZHFQ6TFI+E4BYsAsgX/NcnwS0G5CEdVp8RnlM5GVck8JmDw+4CvzV/0dXi
oyQj66jl7iahuOCmFrYe0YQBcE8dze5z4JL4V9Ph4dsQgBzBRGCpjPgPC/jiR7DogHtoHcXnUF5F
sM1aFZNxbyqcYkxcvMO3IpCtYSx3JfbCQh4+GljKWrG6KxRwxIm06oChBfB6BMGDO4BffI5v0dc3
7kRyBMP/398nnNR0uAOzIeRqzA8Tlrx0BppXbCOklYlB6rJ61peVc75t+MT0bBzrckIVJ3FvEP70
lmA3fjnZnttsUcK6M+ftXNT/fLAZx+KcxqfTRS0IsjNK1pGWukOGF+4N2/I7aQH0ntzu5lyS7PPh
Z1jz1z9Epd4raBeMB2rCtfSodfjftZ23GzNlOYz9mbDx+TRmWEeRr09ptxkKWisq5WesPrbYS0nZ
qoN5YaRnetFOXcZ8Lz9cRoelFyAGTCdgZ/Ri51iJ5DSaRnpWOXMRn08VhnUU+mQrDAsxwu1A7DBE
tpoDiufcDmtlAwlvLZnl4MjjdKMZUbc8M8I/37ca1lHsk4bIhIEd5+uH4IKJlc7FxqVHEqU87iyi
ZHcOJqVsgsDE2plzbnlzavgdLd+m0bQ0Q6cLtocpHk0kAfszI/vUkY9CXYYCENxNgiVFtVWtnzqB
/MydOvH4jwU9kqjrqkJGe90s+4U8t84gH4hcf98vISb9KWU8qxQ/FQeOhT0qMkbcfmhFVFcsoJ3y
lbrXQAfirJjsf5TnKvzvz/lf5z7jWOGTpJZWJgnLWyGKXFWWb7KG4kuey3v8j926VfdmEd2FA1b2
eBI7uaKqdttLiygxF2EQzkyF9UzZqJVvglLvLI26glDvPVgaiaRiW9wqOy/CTlCmV8aHNDfUq0mh
JGeG8SOg7FXggdKSSGrYiZjhDzkuDVW5nnzwGUEzUsgaQeBFbD4H08NXsV+pnUEFos6pL2jeZdxl
S91Pv5eDsZ8As8YUVOI4PLRR/7OW8L/2VPUbpOzXNM/fSm3cxA0ViFSHS4J3QVXAKjLHm77wN9JM
rQT4WQKVkE17rIPSCXuZihNT4BhYsJIw4w0x3ZdFstRp+gom8ope690kidi6dge9V29qL11ls2Vf
q5l3TTK8doqxC6wYe+2UL5YjZHb9MPsCB7WguhZ0ukKaWjsPQKp/PVLfc5yfPdOjeNulBmZxPhFD
DVgzteUelOOdGGtXcZg/mjOhCAIGS/bhTRIm1RmVFL986boIjLUOW21UhNEpZ0chKxIWJiqMXpxc
Ui6rXEzNRWn0kduIABO6pF+SLXJqs9o0CTayXQGS1krqCzWHKxlG92Uqf8tlOqC/vrITQd48CvJj
4Qu0PE7I+GuTgjRibKXTr/3eu4cyuzMHeTgTiN+z65/dwjm8fIj1Q4e1pp8JyVrGKLkkNxrJw22c
Zpc+1vNyWa7pi8Ss7iLP4MTAHBpNSrrWKtYtO/eAzfilAPHQhNm5100DBNa01eXqEAXT0h+geOCh
IA3pzgCLpQE8yGR/xegB7JRug6RbdwKewz2LjqJeIfpyY0s9c2WnotjRFAPsIUnkAi+bvkuoiBot
JCDlNZSnzdx0//VjOnWOozlFzpuuAI7HlnnylllFua4QfxhFse1Q73x9ivmJf/Z8jiaQJA9EjKpp
fxVUz5bUnxq8KqA4/97Bj+aQUjRDRdKIvYCYrLUkgTTQJdavVjbkm3/rFMfyMDkulDapOUVDc0ns
qQsMUI1e+7dEwhhw/z56O7H0JnUWd9MA4WYxzmT6mVvz3uL0yY0/Fobhp+wFNNLm60aHGW5di+qe
xKtDfZnscIkeowQiUIGBTW8mHZhmxH4twaM0DrZNtpGn+wFemy+wjoYhBJXWgPLQGMkyly7j/F7t
7hM6Y1VBW6fdAIQBGqlK7hZf7dBchtND0IGzwGV0GqNtn2KAqYROnW+GvoCGAzMnKVY41buldXY7
Oo+ozy74KJhGJRjaUqF+OHsINXfZMl21y/iq2J5f9J8Ia8cytL5GCDl56DRUb6jpaQmuCilZqrrI
zkJtHoYGysbXw+5E3swwjuKaALIpK0SuhtmmCe251ps6oYPlH48Sr5vzF3XCvw4f198HYTZ6fS9Y
cDX8N/9QXbCHpAziAoXBeEJkW0/6dEEVoHiYHsILBGbP4R0ycic8awdxIgwd69fMUC5N2tHydZiH
e9nXnmiHxje82isGLuZf39CTV3kUiOqg8zVz4H1QQZJncravpepW0+Qrhc5JACnBXHUY9nphpUD2
4oe6nQkC8iKbykWeC4taH6+Yb9ezzhoqiAgPr8YoXMfIPPG9WfcAC1up8p+Rrz5WShCdmQfmB/7Z
sD6KcXoYFGVQUDGjd3rhgScZ++nm63ty4r4fS9xYflQdVvg595pGnF7M7VymxYpZUsjo9vn6JCcm
gGOdmyfJdTcMfH5TBS2NK3TqPxtgMr4++qnl97HErcTUL1DDNHmvvJKQWAg3xoLd17JZZY70/euz
nHgGx1q3YprStpZor42Uhd50YKHGM2H6REQ5Vn5lYqiDhOM1zxsLA50GslYMMrOoL/3YW9UgY/+9
KzgKJ12nj3nJE8YOmlU6pKKZevH1oU9dwlH4SGn5yyHszSVdddmIP5v8IS0jUkZbq7/7+hSnxpD8
e4SyOi80RN6ttaJe6N5a6u8z8+HrQ596B47CQjSZjYWhEfl7wQKgEq4qof8ZhLTXyCVtjF+f5F2j
9MlLrB+9xEk7aNOIUexarWg871RnGoJ139NTbBmbPi8TW2NfldaZK4/edqgu011oIZvUtlKu5gsT
ZIpX9K44eCoEshIP9UTBPX0mVwjhSqc7J88ifG0Fie4u8WkShZ9do+C12e4nfSQfLwDEDqJgH2TN
Za3Iq0T1WY7BccxiAbleVkBUFS9quCNgPjTZxZl8ZQzaviz7tdAPy66vYaoYyWzUjzpKTd3Bim9A
wlxYA/sw2hJn0HRrQ5PYNGB0u74sXXb357ZKJ0bAsXwtlyavBGDO+A0tzGHwO8fcXkvP6fpOjIJj
bVmlTYDSVNpE4Oc6AlzBqn0oSbOlpX9mHXzqDPPb83Gfgvnr4BshVrfTzscEHzQAevlVYmSrr8fY
qc3ke075wxmkQfDCPh3ytUd/iq0N/X3bMoxFIV82RUXTo/Gc6u3z1PoXuQpUXcvu4dgdDKVZl0b5
UlaaI+qqGyjZWyzy4LoJmm8f3nV+DwWyvlJ79tkStrliPe30lh50avAthkQ9KYBCz7dG9TY1IvAO
6/XrSzr10Oevf7giEFsiYw8se4lX69yl7mrhmcdx6tBH8dCnRmc0DauBWqnBoSsLs+oBfctnXvj3
5r9PXvhjLZvum0OC///MKqtXnVodCklz4yrYmmLHu9rvBDFw1cyya5BNaEqBbg1OBwWHzedoRxnN
8XonfjOBBR4CqXR6T1t6LTh6jWGvwehpIu9BKbG0suTyBkKJgs4fALoxRQ/1vN7mZcQaMfJePEWH
+9ivuoCEjT+B1Er2Bvx4WkQvI5/MUcSEVsn0nYtQA75+cKdm5Xc74A9PTpiEQMyjkvL7ul3MdWU2
Hutpq+AeHbrn6jDSe9feZ3f5KHjLQ5elWtoz5LuM1mONDFRphLkt0uxpj2K1g9nzrab53oOWYE85
Jl05SJbE66GrNMlLl+I4LlfWpoMmPgFaB/JWA5eXl5OG5lzxRyhnXgpWPP4eC+2CLmPqHwZQDNxo
fzSmQI7Af5AM2p2LqhTh62L238R4HkhR4DRJVbpJL7xpvfkMXZkUmyhu5ExmcvTHg9JD8K1SGF+T
VmFuBfLOTqvgThiUG5aqj5hI3wJ/26vxuEvL+kKu/e9+XtyaVrRTNFRViaRdgaagyQafAtQ4wUEd
zUchg6gmTWDmr9TAnQ7KhMl0p44/IqWmVDWt2HQugB9Vdtiqy6SA/GO0Kz1QMFfOo92k5csw6a6A
lhHsLW9b6FRuClr+lQAhwDuLyV/1SefgxMydNO4tcgVxEr5KvfWS02lkluqlZCidbQ1cwBCgqq+E
G9igDuQdl6LwRa5TIBJQ2AMSTcR02+bta29U3DXlVcWvSBzHXTHoK49KU6sCpxDr9AU08q3ZSPto
KC5ziLhiG2/Uka6xwi+/NQ3IkUZ/iKSC0NQcsBKTcNYm1xN6CAc0fCoNf6cH3lYKYFjqfu/2ybTs
hnYxmUNDGvXfa9QztKOZXqqkTmAiyddpzWjUq7a086ibwDWnUKXB3n39hr33mHwy9I/VjWwYNVn0
qUBkKuw2tCziFRuFFZsbB67QcqwGR01G10gxo2sm1yjDxag+R/pySDdGtJNwm/BjXGNqwipb5fga
3rlap67YdI9ff8RTW9h/EUniGKW3U05bkovJm5MsrWTv3Smr2TFIfdT8bXjuTO9K2c/uxtHs2qgZ
ybJKZQfZdukiVoNdMptI0qH8IJnxrq+Su7hjXV3H93pIMiPR9c4G/oXBw6hsRolBkil5Yre1tTBb
4TKiU8um3IL5kCi+oKyD1pUEvt16kN5bKRcJxOVCAA4l0KLIak7BDytQbyF/7AoJ5IbUeQvKTd+n
wTr0KGBw52wWhqyC+Yu2XTkcErLboT5caVZ5b4oktDVRfaqAaoW9EizK0OD9EcjRA8Hk0CPJU8/3
7dAkzxvUoq1G9UZstaVgoSW0TBVofP+YwchSNRBEglaM9pgFV8novYm1+M2vy0vakS+HGlmXJYz3
2ZDy4+Z9r8sut+tWEiCOW9Ye4ZrdNxoJ8Cq6zTxjXfFTDgSOn5WJcGPMn3oNrZBmahthaK5jJeid
aBgOiozGIVC6V0Hvtk1XYdfe01E5ZukeeBTuTZF2PbQ05TUZIbc2G8NBmwOGcGhZSUZLxD6NQ7Pc
D1ENV2ExXpqed0dcfSi8qbH7Mu8uBtA5tpAI995QTRsJRU4j11u5ETb6WMX21NECbclrMyXJrAyu
5UN+bvSlWQRAOoEl9BXGgfKdXKok8kegrNUt9IE3b2wPOP0u6rbc9roRLiKjmhawNV69JpLdRmkr
JxCgG8VeZkcS6K7UauAqCQ+6iHVpLbvt0LhdzKKxL2LLVrOeaWQoDpE0iWfytCfKjccSg74zWWNF
ON9Em+Ei3jbruZJFq+SZw8+Lns/enqNptLJaPdYiNqFV7b2VCfQysfPOHPvEuvdYRmANWk+yZczX
JMoa7SmcgrXmvyV1d2bZe6ryfywbUPuYfl7md3CLvBdxU+8Bx+31CnmWUfygJek1SYUDs9g6k9tb
SZQWA6rOsEjgMjXL2lDdrp7OLFhPXez89Q/LnlrSLEh57LI7/SboDq2kUYKT7V66PxNS5w3vZ0/q
aEWsphXefnNIrReD+97i8N1f8b6vUJTdn+sdOrE2PhbNWoYghopfcBLLIieGvVv2Qx/iM2vDU4Pt
KF0AIrsbtYQBUUGjhJh+YWrlzZnbc+LYx8pwQe5EbxTfb090B01vIfd3pjt71PlON9hiDofXOdfa
eOKlPJaSWOIIv2oCoDAXfhXUEcxss9X6mYF96vDHY4myRjtpPIX3w++atcbho+25w598b46GUqD6
U8c8QasR2Kh5dh42OIawX7HJBbo+RGg7X9IBbi6+fjgnRtUxx0bt9EgLdJK83VTZUha4gm7aOX6J
/97hj4ZVy34rVWSZ7H8uupq6S5KVb3pnxuypz36Uf8IXVxCrgK11BwNZuu+aG1k54yJ96tBHsXeQ
xCwZO3KwgRC7SdVdm4V6I4nN8uvb8t6M+UnEePcc+RCSwgl7yCL2Se4rrPSTCKesIUls308vuKpF
JFLDqNDDWPNXK2P8MYbYKEVkidLyusOxFCGe1a58lbJ63elnntZc3/rkUx1LTSqf3RT4TgYfagS5
N5cYK7GwkusSc0xl3RfYulX1mXagE1HhWHMiCKy9B4PFocEqTQ93VXsm3pwI98dSkk7xI9WUKJwI
U3xZQle0Z6F3GoprxRPTMyv9E3HgWEcyGnXblfJE/nyEnqPVxvUUFPdaj2Jeih8zuUNVmW/VKrk/
M2JO3a55pH4YMXk+BKWakAvTbhFPL8TBnikLnYNou9wM++A6cc7afJ4Y/ccd9HppJFo8y7N6p114
W/E+JnX/Pdvx57e5u41kAcSm/MxrLJ26tKMgkQ6pWCUVrMxkE67FYgkhQ5hs7EMcdVmtlHwZxDZO
pmdOd+rijqKGZHoDZGrkAYje7SgqEH1LKzkfzgzrd3HZZy/RUehQ88CPzbk1UBevcdd3tMjYTYa3
qOX4AD/82lIMu6N/AYBwLrVO3N9G0Z1Xf/P7y1FoHDHslrnZrpWpXMUVguIpWsJAnlv+1oF8Hfhv
FSYWuVC4nZfSzqazlkEjFWpnQtMJHxfjuGF/6kotg2o6L2bmvsZyNex4IP5WoRCy6lfhInUaO0ts
yp1LAqRxNUWLr8f4iXFw3LSPIFo0fYU1iN/E4I6Bq4/ndr0nXtdjvoyBjgwnAFqUpypaSKL5UAv0
JKOopwuezVFri/6QOipYnzOh9NQJj7a+XEiUk/Jgb5BeGyJebvjDG/kqMq91iiXJ3Xhupjq1n39f
SXwIDLRB6UUczkv5y/h5XvKABZhs5WlcUi/YUVM6V6w68eIcN+L3o5LgzMh2J6T4HchOMgKYLYYz
AfVE1H4PDh8uozBIG6YhnjBDZjoaThMlmdA6TJeW7p3JLs/3/pM38/0OfjhFgBBYn2rqVTWOAsEt
rko4md2U8MuGtjvz3E/dpKPo0jWiJaaRR+Wwe5ayTSHQsHvm9TiVvj025JHkRKs7gaaqHqIFq9x9
EzWNO7XmKkimdZlaW8HULupIQTJ5GUvCt8pIbt9fzf94Gf7Tf82v/rxL9X//F39/yYuxwqqpOfrr
f18Wr9ltU72+Nvvn4r/mX/3Hj/7+i/+9D1+qvMaa4finfvsljv/r/O5z8/zbXxZZEzbjdftajTev
dZs07yfgk84/+f/6zb+8vh/lbixe//bXl7zNmvlofphnf/31rc3Pv/1VE3lU//Hx+L++eXhO+b1D
/pf0Ofs/9V+S5+znv/ze63Pd/O2vivYHdqAyvAKkWbKpza9i//r+HfUPS9MUeF+SrFl05vKdLK+a
gF+S/rBIeUqWLCmmbkhzp2qdt7++ZUqaqZuKYeimpkHi/fvn++1J/fPJ/SVr06sc/4z6b381jhab
hqyJGp9JNC1dEw3RPE5OJl3fCrLGXD5K7SbCS79SDn6R/wBoxuKSbvzMC69CRUcRaW4LJdkaU7uH
up2o8U5SMIuYRPG7UUiGI+g1aaXh1Z+U5Zj6F6pjiCTJctMjbnOv5CdhZt6Tjic5NyYASsusgmld
X2QaWSzfBCyqls+yupLldXRrRZd1jIes2+NQDPzHXOAlmW+twkVvoZmQSK4uMQiwDYM+FCcIsCyx
cbXAWklxen8BwV6WqHbaQrPEmMWuUZRGiyTbiAL+FgtRxcjmyoqvw9YN8xsv2oXFEsqe5rk46Zix
wbzG3FxZS0vdJLfJbeRSCiAx91beK+JNudeoAWMoKtpKjHfMdJEsk6X2KHjuWNrpkzmuiltSlmls
3wmSI872iLCwXwPpJrvFsvOuTA658CDHsIBMOht9x0dhnTvY9ckFZh8rsTJXE/hsYcCbgF4inKiD
dHI3yXBRWeVab69zYRW0y7I1dj1GWBnS4ggpxaomhyw7Q+C038YX4Ul4Gl/E9/+K7/+d/wyem7c/
/wye5ZfmTX75+z/dW/SszZSrl+5NfdFWdF72gtzb+njA38kb4dnMCG+DOhj+MbLGgqVFvrJNivQp
OaBlE3vLlvPv9HZOhpt2tvwteVYVtF+zyqh3g5tBpFl4EcgrW3LyTTAtBlp4/BW2Lz19x6kjacse
3nOCZ9clpPhhutQBFcnXHMuQ6I61YY2n+aVZsUPAmni0SUzI/IGOOBAWQ+9+x0m9IxeS2MroTNuS
3+a/8S3YeJTVZFSfOke9tCsaT0zzOVcXGZW4p1VaraPiRTYvtYLk6LhAB4PA1TAcfVgqiTtecZ2B
R1nEiRtXvYNxqd6NV8EPT1xaNfuInZFtB3md7TwsfvAwnLPHHWXXG1948etLFN8ypi5Lf8Wv58HD
MNwMypOWba90cRkJ3xiqvlq6BsVeyW9cGbMxMeITjvlyEHzXD6g3YQ7Xdps4dilHh+quQl2kDFcB
q0I80LD8MtxSWNBW5+QaIq+m3A+BiDQotp3CX2neXvH2xUXS2SDFt3lzYV4/aWzvAUIBEbIuq2Yb
BNje8VLDvrqrhau6a510EqCjupF4FeHr/BbchYe9u3TNZGu+LalB5sKhf94LNm6Klh1bDqCMaVqG
wXWBfbPq1AdxEdTsetC0XVRAfe+ES2iiHFEeF5q/QBQ1oDxv4KvJF3H65oWPZiDbMVop4QJsQfNM
pXwBk4pVmLKSaS6ni9HW5NQt8AQDOONUoeiiqVpblBGaCP+OH75JmrreVtFF3FxkPs1w8YVVFbYn
iPNns5BeXInPc4Ke1sYHbPGpyZZvMTZpdAqlyUDq387pswQ0jtuVONHLToC5lFVcxMR19jPMd3Lg
qE7TOVkooFzH3JQh5TTmz8uln/DReKKsHjbk/BQ7xVPEeIq90QmMV6sXHptomWjrpNiMyi5FBpcU
tunfBdKjampc6SoTl3H2kIkPYrIout14MJ9lygp1UNuGgGndtk92Cg5borlo9d7Olm1CEe4uwvCs
WHb+Rbs3HnvioWTn1+m1Jdr8O6q28P4/2WW7r/fvX+Zrf35HJLyq5A3taQ5obf7rXwCV9Wu+DweY
9RsC47SbHse+IE7Fg2hPqeSajYsx6FWpHjTPkcYfDHu8Q4XhB0JWO6sP2ojfkvwoiAtfdcOWd6rU
7Qa/aYHNTiL+kLLJ9WkBqwTH9zd+IdhQpnFz21DmtpGy2H2f8gZsPXkZFJtKu08XXr/oTTceDdRw
bUiw1r/VInE1gAFww13NqCPg1V9S9fC5Nz9MdF4EeNq1JvoFzDanfI7qC8Pr1h5szyq+Jb2+RBK3
jDujsKnNWc/6RfQDZMZsVqaW+yA/6P5Dzpzozb3K6LlczA+mYDkdqNukqoOz6yB/wwgd5HLq+J3g
eMOwCE3eHVqckegtxli+agyTv0e2UD5XkrXIthovbdg8qtqwKFQsrhptKRvTIsq9ZdIXb6AoqMMQ
Ykm1RG1uI5FyY/nek+IfzOYzQc2yBxqFUJw5oRa7VStepU218FrdEdXRnqZrMVewreycGQlutpKD
BnBTZ/pCSIrZm8HF8tNVhMQFTLfo+7fevzDrx1joVzoum3YoBsvIuhKUNl0EEgZ7mAO6yEauQy1T
cQizFgMcAaeycK6S6m4nW5fpcCv5gy2ZxiKW1YWYlS5LjsyWCwxy+25aCjGS1uFJk7pDHEl4SySX
RjI8pIn+U6Y06quXQfb8/3lp+r9w0anK4twzdXrZucpZb/7ltv3xM6ybKnxpPi49f/32PxafiL5E
yQIoOHfX/lp4an/okqJIgGx0y5B/W3gqfyiKprNOFS1NltQZxPP3haf8h27KEitZUedY/4NFp/Re
SfrnZmtedBLNFGs2JsbbksTb73mrsCgFTVEt0Qngs2FXRmWz0ROiqq6sOzNZ0qUdOW3sXyclxdkx
R4ZkaHSksDob8+JeCKIHqis1huZBhx9gfzG2+QOEvxdLxqVm8Lt12gQodQLqxcVrIpa7vrOuNLn+
0WnldRIbjZtOwcGsTAMPRDkc1tNUBbaSh91L0XUIieRJlu6HjHQqVojZQRNAW3dKW98Ps3WEmOjt
Q1xbKX58SlrghNaKqDwrdlmFSguJ7Vt9t8w0I7icqhCI7FRrIhTqvrhXo6S60boQuLOBOYyT64L4
1kTUh3MUY62LNUsZOKY0WZcAtH8qHd6H+KKWi7ZgqpCjpHXlVB32Jc6c3yu6Z77nqUQ6uDb6bdCP
4q0JscT12nKZt8FaoZfALONNQC9/L5l7Lam/08i6S0Z6BvFZW9NfaroGYomDntY9AmL9e5dEt2pV
XocSyyVVHq+8WvddpdCyy0oNdOISrExEQkZT25LnFy+1MmkuFQO8NtWi3kgyLdmFoYF6nlh/43pT
LYdMfBpURbr3xuKWllwRqUwq4JSnOpLS3uaKdlBbxa2DCAtMEvdx+E2Qp9hufO1W0kZvMXHLWSL7
2jcaJWvquEPJZK1e5hnLb8vrVjWNJ8uoTgRnMgbJ5ZPgUYXkexchlb0xZPYDVugFe0UdVScU8Ug1
ytqwzca/VKcJFXDpY5yHY9OfNaFfm9Pftlz/2PH+jzbH/wsj0JzbPR1+7FcQMa8fY878838GHME0
/uC9ZdNqEUT+jBS/og5zwh+yjALVElXZQqBFPPq13ZVMfolfs2QTwLslyiR7f0UdSfvDNA1JtUyJ
riFKvvr/JPJwig9JHjbLlmXNHRqyAjrREo81PK0cItJXaPNrhGCDlGKhF+0Wm8kzadLf83u/TsOm
2tJMVQNdepS7HqfSsnCFrZnuhF2bsAxQA0rY6bY0kKNUrOLsMVU3Hx7Cr3H2cSv/Xoj5Z1D9dVYi
q8YpFW7n0VljLk3y5Alxm0aTW9JFLL3bbxj8Yhk1OoIVbnW9gekSlNvWdP1CWVmmdvC74IonwG62
HGkbhtZCnkhO5eewS1yoUU8tPTZUam86fCSpYliNf5cr5UbwIrZH9baphYevL0Rh9PzrUzKZFTSq
gIp0rKeResWTBzrSVgBhXmWjdTWLC2rkAZflVZc2nq0keFrrJn/ko0awU66lmJxEYIUXaouVQt0s
p1a/843qpkQlIYNXNJZ5pO6mXEEI1ZMa37XFuKgG7VqObpRkOd8GuaoR8EyAVPV8Rd4ZV09Lc89c
3PwUjp+SJVkS7WY6ndnaUQ44ULV8ivWyXumJcWjy/tJjy9VWwG6juyJRrs08+hmbxkHhHudJskij
ft81xqoj1dGpxSY1MUcwEPIKxVpmR2nGOuSd9AJp2n4qik1vbmd6VKcndJ5r5fdwUFdmPOz6UTuE
Q38ZWNF3sc/OaBWOStN/Dj7WE7xUvP3kdY5mdAy7FCMxeGb0TNoY+PmUvzJcLvU5iEvtgfL1gnxB
RsLAt41E2cupctUoW7obD4oqIvpX4hhH2HN50c/GkkWKTaTVU2etM7+qH9K7YkvVJfZQfCZVuMp0
b2MGwvevH+nvhVHeNlGURHl+63SFddVxBk0cI4vuswgTkGyRiuauHeu1XNzVpekkybiMEfx/fULl
OIy9n1GRVQwXsdQnaff7RemNlI5RFpAG6zmlfDdNpOC0mOR1dNOjhpVG8Tuu+S2JoECvnCm6VhJr
p0zKRsgTuurCW69q1nk9ujjm3JhdftmEyZWG9YKBBSx8ixsr1TZWfhGPyGfLdtub/tLyLVoRx4d4
bjlT2XN0WvvNC8uXry9OeodTfnxD5qtjk4AtC09N5Z/frw6fYiNJYqFadSbN9zXeRHYmT0+joj5m
0ogGo/UuQq/y3RSVwaJXccs1KUsHugnaocov+vQW8/I8FJWrQKXVS4qshewFAYzycjOKE+mlWH3y
pjC8iBK2mnlUkeAZ/Wid6YEdiJniZBJ8sqbC3jiTqp+NH9C0yfuYUcDBM7e9MQfzu96xCsoq8pJV
lR0mQ7oIkorxbN0Flta7ktKThAn8w2A0u1wnHxXl4WqSzKduNF8TigHeQPNhpZXLQDHvC81yrC68
ybPJsL2sAJxYP0eToi100ZgcPaJJUEQNLpr6gxaU5D9iF9feC7avJLrfaHyrAiNxWi+KnC7Vn2Ky
sW6X1YIrjgOZxO45ToPGUZqb3oAmBIKUWrFCcsgfBA09cfokCqs4jfcZa3Etr2fD7eHK7OuA7bXx
onWmK9JBQ3LPY5VoqpHLao+RY7Plc8uI7wR1TcswpNGojb41UBzILOPWyKLeoluzlB6GSHjKI2tf
oz/ILCwPqjmmJUNx3wcLTKJ/DgPbeO9Wr2C7JpZTKsl9q7UaXX7pZXylY7u0CNF32XT91YjAC9FG
f49c3cGxPF1Jwq1akm9WxYHBEPf/l7Pz2m1bidbwExEgOeSQvBXVZcmOa5wbInZidnLYy9OfT9kH
B4liRMC5yS5xwjazZpW/HKsxgRDeh8I34+6Qd629sPqe5h7dGdFEX4KseJZILAVl7tLmaxZhe4vm
/Li0tKSAIgPTZ9YBayXq0AYectUOnFhV4WUuJMr76qnQXrykNtcmCwz08FEzC7SnaBJMPaLtlP9v
YTg2yyrQWGiLCle0aXLWaCZ8H3vvPc29Y6m3Oy/oVkhErsGr30ZyDmnkrUT8IuR4P5dA/Y24jMhp
jZup7gscS6t7QzOucJq9c3i+3HO2RcJiOYYhyZP+3HNl3rlZnzf1BuvGaFUOxc90kHsR09crAWSW
mXUXqntF91av6Hk7U3xfZBHumHjhkAaoVRWF27IwycxTCwB1+dVwNHqBEZm15i2KpDjmGQG+KOlZ
FjYC1PrDPHY41KBz1lnua9PQ0WjhcYbkZ2ejOazns9cx6Rj803mYdZwRwp7vosfBgQ7309AJGBkW
HexogN/bcKyAhFSLEZLGIBhBx8lrQe9fatW7iezGoiiHoxOmPxGxYP6AalKrma/1wDudshnT2Rnz
mfjDm+1bgPrbFB0L677DuU4VfpwGt0hycK9bzfNOqeyP9RC82rkHbBYeSOeEdJfLCWZByFQ3y97n
OLlPYzZeHN53tsl0RXVPCR08I19YqMAOHNNzg8co8vekXnX3dCWK/jnO/O9QsqmJDcsinpqXWKIp
1KGxNRkO0pZ6yYfpHvMMv3IPRlP0iySlHWgjH6917r7hXZveEeA0MnAxdgqDvUeIt1lUrr2tuuzn
v+/swjnpf+/Msz2hI/KpW5dYPKpQD+XPtt5ApnysKeJhwUl/Z3epWCJBVONcEKxtcoFep7qeDdN3
PPRII5ZmQcyvCxQW5wTr4ew4Fu22FzkOJ/Ir3jIl3zhFoQjhyDmkENT7r53l0T9OpSRwpntkQ8Ui
a2gd//uZfk25L7ePNIVlcBgLhyP5z+2ji7I2FMytjTkn9hJlhm2ZuKPfDWlN8Z5ttHlat+G8DEiS
FpkDuUWW6TfN+1qh6eJ3+L9OUX8FpfbJCqAXpAsQ5eduz+U9BbQc2owCeDMXzp3dVci0Z9ZDSPFj
zdZdHKgfV17C+SEvXoI0dWE7BlotjC7PWctvqZbhVVqOHn+9CfXyvbQAcDXCAcePmZMp95lInwJl
QJExfE9cY9J98rBc29FR6XXN88L689pa2STZGAMb76B9YwrzpPENPJncwISb6KKOxf/jk0vT5Is7
um0wpr3IweyBerdKKz65o342EYjVJrqrk2GFajISfnYH1t45kTCAyhvn05xtaJMsOdB/trSkmjy9
kjd9+gYQCqLwc0zHvNxWElq+U3sswb7Z68VJy8kMC8e3Gg+BlOlKgXuBNvi1ifFat1z9PNhm4V88
vddlsg2Cot7A13lNvW6VDOWNIJLMrvZjtvN7x8hehiF/cfPoDWsszNmCa1yyC/bk/96EY5PVS9tl
fn654IyqnsdaO0OisP8MRxMiZNf/SOn8odCIPgcqbGlm7ippPcCH3SIQ9OwkxfdC6xHlMysgV0ky
L/SRSnbSd8pQ3rLqjQd8kV+ss0gxSr17q6exFyKMVE9HOTPDgqBwJ+LJ2YwhMPlYECgzOvFCO6Nq
+OxXdtX5If7aVZ5JK8U2nb+retlpyi3CiF2lrAcn4iAbC0yChcRy52boUhwdh3haWCp6t/Tujtzg
UcIMNoNw1UbzqTQYWf77ls65wN93JAXyoLrhuBKIxO/73AlEYteDV1F9JPetN2xsJqBVYO6StHw9
+zGPGjcp4/bKdc9r6vK6wnHPdnaEWHm5xyephbpBN3aTzd4exvcLdklXLvFJKScFkYs9JMFeXFaL
ITjuLJiHaqOn2slF2XxpteiJVhENY/x/d13Mdga8vPv3G73oh/+3kn+7rnNxfoReVIwcbNUmLIBr
0QUHDYGqFIhb5ks3bT+dHVKR046lcYsXyXst7VMTG/bCsdGWE6ZYy3LoVqhD3vai8fzS6jlXq6xe
2W66hvbfLvJO+1LTk1okQbVs8ixhVpvttDz81jjJexyGrCGrbZYyuO3snGY6qZ/y3XL6khpu6Btj
c6xyzrWgnNZWlF2poT9b5ZYhSD2lce7OXbQPpsYo9KLv2MoaezQbj4OoMNKLvvz7RX+2dH+/zMXS
TbsukhKM7obWzH1eJNWijB/G+bnrwa+OxUpOiJsNHSPpf1/3s3X1+3XFn1umzGovJt1ly/T9XUHj
aQxW/RSsHZXsgmJcR2595YV+lpLIX+e/A8cYm7CLJTU4uhlZWQOetDwjNRpG/tHjMFHhuhvjwFyc
are4ber+GMry6ziIDXY5DF9SwaIK7//9/L+koy/3riQR0R0bx7f/TN9+yw2GMY4HXbHAc0f5XQ/E
gRjlaMOxps+36IDLdHlwALToZ5WP4lHtzA0pG9n0JEbokUQ28LkF3bniJwZvSMXnh/P2V03z9O9b
/SzK/H6nFydb2SLLF4V6tZnwuqZdvJrC7AoK+K9OLRk5l2AohzOvZ4Mo/XM5FLIzx1k5Cra5vS0U
IiWtTscgraAaFl+kJu/bOtg6SXAQg/gZ2ZQ1E65nTUqF4YIOClfqjL2IZI7l3QAfwFoKq3qw6/lh
YriyqCPrBNfxJcdulJPq/byRQDQeauvu3y/rr7bfrydxCLu6IUyqjYteTTJOdDHGnO+qjG8EnBdb
U2s0ktdRaNzkc7XttOi9aIIVUBM/tadvk1dXi1DQ2Kkc/UZgLBE15pX3+1+H+GK50YP0MM6T3Jq8
1PAoY5Ziqgq1sRQva8jlbRTSrx6HBpha49zW+XTjOqW5DL2ZGbciBjRgGQyKUZTAPxJQJat69tZ2
P5A81sovqr5fRpHAxrUCK6BTAvfQLyOLdgAU0xy7SvUcoj0GbKdCs6/uASeU37SueSiSulwONf83
tPRdbOpLvadvMrbAKDwR+m1qfXdU/N01rPfELFbCDLaDSVuj3Ve18c22kTgsSn5YOcCfCgJUYtnY
OGerrCt3TppnIDvhyE/auqxBrZRMIiHT7mQ/00RK1EkmtLzSep1n8xEyu7nONfeQtDpCw3m2bLQy
XdsQ5/G/OBQxjgpD4JUbr8UArctfg67dqK6AgjnbaEMOKA9L3mRVJsM2r/S7eVRHUH7fpj7bjf2w
xeb3AUAD27smOYLVno0ttmJg42w8twLzRmjupnZ4pWWFJqYmgAyrBryDvbLLchHV1Y8mXaRFcjK7
FNM7+eYYaq2jv70kZGVadF8MERUEQRpS/Nd8hhxsRDxgLPnrukkk/oyEIi+r2xGH/HDggbOElk8/
uCC6BxiTM76IdeXtZMzv4fxAA/1+yMqPYBa3HArLqjbfHBvY1VT16yBT9pMLj7ZonhnKItnpVK8h
Xq+LUObP+PucNN05tEOjkNWMvNUwgn1DnlI0oYVahHvKmS40gfYW9vJtHDId8cxwMYUsChD9rykP
n9bFR9iEJzO3/bhJTwIZRHqbfgJ6rkL0mVRMX+F6+lrZvefHMPIbBxfJ6IdhJZXvRsnJ0OBJXtna
nwRCVxdsH6Zy0A/OSNjf07wRrfygQaRtE6OhoEoT+KRGupeDWp/vjSa50/P+KLpn+sIPrp3cfW/T
nEkNW+jKjZwvdLGZXTCyruGYgPD51z9vJEgK4eX6pGBGxLGfO86BMvBQ1l9UbR+CLtob/WtZNj4Y
gD1e0wtt/HrlDj6pbNl9FhhZct5zPf3nHSDwOmpJVKmNOdhfIjf5VrrhSbXWo9FXq6gI1mns3otY
/Rja4kqlZX1S17kmrqPCFqT/9qWelYXu7pTSMt2Uc2Uux5TymSYTUMZev9O78TUU6qNUYlGbzUcc
m75RecB7aII13yc9zdEO9K1XE6WLjexTb5WhXcEcacBYwQrvp15+JHqWLkfMLUsbJCWtjHXQGE+Z
Wd0YEw5+dtZ9uJp60OcM0Vkp7gO9RwW4kfUS0VXM/cKbuqK1amj2joW0ifUAu8xghVzltKkS64gQ
W77GihYnGrqiV77MZ29HmBw+HKKMtX7Vqb/lFZObp5PnhWrTqPxmUsmPWtf8Xtg0iZvym6zqr7ld
PeAA/RhO89c5lHstVGf7upWnDjFSAH6cRW8ZL+1KJfHZjYEepw6nP8A84/z7v92YNVTCaTvIHbmZ
+3ZGVaTgrkPKGfXbAT7LlRfxSf7sohzCAezxNhg9/3k50SjVDeVYbrTQ3c1GtqoruUYL+9qY75yo
Xu5FjlRqf9cypHlZ+7WRV3VJ3ZcbHUxm2MWH0kif0iR5SFNtnzfh0zz3x07YBU6K1jGvd05tHqz0
6gn/2Y6U5/xJB0Hvir8yqBR/BDHq5UbVgF8CdCzrscZHdG83+d0UFXdTOa36uiVsJ/2VZvmFicav
as2lUHHtc0ku5aVcZwpsiMGAAXGnAc2IQ+vBlOWpsvNVbxi3pdUgFZZ9FFr+YAXDlYt/UsG4YBcE
00wQFn91T8HNB+XoemqT2fJOO9tSWl1+nkgclFMeNMt5AGX5kET6tys77bM3DmICCJg0HLL4ixVm
D8xfNMtQGwefRxBfz3EWrBLAljIWG6sEWakqY2VPJlikNH3599V/jfwv1h3TQNv1XKx7GDGf1/9v
2yklVWlsbEc33mA/0wSTqAJMt7Q/7/qaeYHV2G/AOp5k8+CFX0Oz2zaqX9uzWEw2k7xR62PmWV8m
NTp+67w3Uk/96qwH0YvseQiqbDVWoI7kYPtiqyLPXDfCo09u2LtKmeba7ZtX3F/3lYX3JbCut4iO
+4IGU76wkwAxDNOPlfGSY+PgDT8U3qNIYW1VG65FCuWnqR+c1H7z0vZV6XYCVHj6eDAdjeB0K87O
N/HQ2AuVIwu3nD0yiXIigJt9oXwtdfd99xQ61g4tSzVuWlQUF1VfKp/psM10jxsqRm8puu6lb4Mf
ti5W8STHZR9XD//+Cr/0Gf76CjwZTR9PmM6ltoWdWVJ5Y0BQw5Sd1lr73FSWto4aFIp6LNKxpVdL
LcnXM4KI5VCbS5XZu0TlMFK15rWlYQew1z3oqq19t9Z2NmKEyOHYb/VcbGatLX8RjMOW80TvOmqD
wbuN7XornfSWeun7qM6prDLbtcuIJ7bewqmEF9qj/pb7E6A2vy9YEgaSJZ1TO1di+mfVjke/y3UF
HU+Msy9WIWC0OEprVW5EnL91sblPLWDxVf3E5CldAq45jVV8An/7TbmpTg9M3is9uIlqZrviZNZy
8ps8v+ZA8slEBZ18UADkJxJA56XJSZZhJlcjBrVJcoeMtxEn4HGItpCeY7mNoIJhvVVDiMamnUcL
k9VYDGXvuwyIVjmqM3MqjnZePiMciLsyWHTrDRG5hwR3ZunKfFl2vEo9dTdmM7zOupXt+759NSSt
gvG5mpA6s7LOW/57sX3SwDhne0JIOrzC+w9D+tuWB8MTVk5nFXR3201uQ/6Ly7KGkeD4aR0nmFEn
L8jaVYued25kVNFRz2oCbPLSZuI5Pssr0VS4tgb+joMGsFhAZLxtcDyXJ0/ZyQrm7VBs0B8COhps
DNCsC8MmsEQGi1/fhSVAAcTebeDkV97JX6mw0HVXdyA70Anm9D33mX57J2C5IsTO4nLj7rFrZsAy
TRBX94MOygHexNzKXVPZN7ktntpzY8AdrgyV/mpkXdzAReeioukY5XqGw2za7WMDLbWoWzSIrytQ
sTKydynS4f9+6L9Smz8veTnJdHFeipwqJQFGYC0BzZQWHLgYrP/7Mr+IxH8Et/N1DMt0OGUIb/Ki
zAh1FBdFwrttg2rnWoSsMeG16t3e1sZVbsklJPEXd7Afk3Z6zuPke9tbWwvaTVJtPOwo56x8spFO
K7R7FBKu9fM+ffOmC5YbPxEKgosaxJzdTrpGQuaVaXtXkzdN3Z0hKpsmQiMr0FZ6rK16z7ubUYsz
ki2hYFmL83A7PERpubaam7xoICu9XXlvn34fcjDTcVD7836BlX5bkyrrW9AWYbmplLYvOvFFYeQ9
x3IZjdXOEoqh+H4qbN9o4seqrXZek7yWzReI3U8orm2u3M1fVev5K/52NxevKdG0OIqY12zCGOiA
RyIsxyMN9BV6cuUk8csWT3QK7oAt7qG6riNUTqpYba4J8vyVp53vwzIcIGGMpph1/7lTQ+wq5iH1
cMtx36LJRK1MbFtjhU17ZsD40ZhqA3j498Ofn+2vFfzbNc/J+29fojWK3Bl6VEorr/d7F1pc3y0H
SHqNds1j5tqlLjZLoAcVvSu3AHaNsQk8nRAVTKO/N68OwM7Y30+eyjY8TjfDkpei1MLqVCUBwWzm
kdNrhHWU1OO+boG3Vt9FbNzii3EMOIPgWibRjZZX7zH2oym61V0g6Xrlr3of/hgdnEbnV5Jr30nC
R62fDk1bXStIL+zOqA3O3/1cIhBGTA8K75/fIK9J9AAdFhuAJNvRVJtxdnZa2qxVox/OQWSosMKT
+iHSNk7v7FQEvyGjfM5NX7W4O7Btsyi4S4r+BQKiYE9hhArjiF2fDVGysLVkrQXBSnQ02rruyqn7
aZT57fYvlq0zpH1n5iwhaTM7pN3c+DI1Dn2PeKGersJ2vkK7/+SCZwAlcC+aO0Jc5i5REutFU/J1
+6bbA+dCEWOdwo2IqZinsVnbxjX05N+JxTkxBnhCLD0XsZc2EVYpBwR2ueQQdmtvHBZB4DI4Ls/u
upuogeAwy3Vv5nduBN6qH+7j0r1x0nFV92+zmFb/3rSfBgqOHEvYlJR/4QgShGyNLAmKTTlp+zMg
W7nWqQ4auNbiBoj0MmdAUqbJ+t+X/aUL8FewYG7OxFSntXW5rRrAaoDa+NLxRMEqJTSveWmE3c0c
6H4pStQ+qTfsr3T4/biLdlcuf15IF5f//SNcolPKvA6KuOU4I2s/qIqqq6ILnxanNlC7znQQyz13
GXRn2Xs6WvQbTzXbf9/D50vv/9bB5VaFWq3V+RCxDobqVgS3UfLqQrk2xnpdmfSfx/aKWeUnQZNn
JibQQXFB5lz0hMYZmr0qOJu0YlplbYBFQLDCXdmnEXwlT/v0UgacL5AprPLLejk0MfucE56taiTA
TZsugdhGTbpKNefatOWTBAD8N4PbMxbG1C/n8hYtN70NCHkTlMwIeyoS9gzOtr0EibUTFRlVla86
tFUKuNaald9UUYVNRoYPZes8ZH19pUt17YYuDqfOUtagj5y9VYznWiZJ0po1GOH7f6+fv0Ew50Bi
0wpjXg0u4VIUJwNtKuORLdSnMMa8OF/opZ0sYz09xY69Y6ZewrzMX12z/DrnJ7MqVg2jsCt38Rd0
U4D59YAteK7DyWNdnDjgLGUOq4qMpw9u6hjQuTstSve1niJ/rNp9CtdgAn0fWgPur9dkec69v7+3
MrNMlxKUqtjgB/488nqaKoWGuslmbHIe2ATqXJS3o8aMr7U7ihQAVMC4jY3IrcVs8EvvmNuGZExV
9hba+6MmHoK+jtcD0j6Gsl0UHhhzKUMcoLNYZ6rKvNQMmS2MaocK6m1b4RM5B0s9DUDpzPDWqozB
do5IM+t8hzb3k5aFyx5RfMtDsSrVYdd5HoxmAJHt9FCkzkoXWbEuhbk37PoW1NpTFI3k1i6k7eSk
OnPjtNYhFsGXMn+kz87Bq4x9U+XxKuyyoxuk7qJIrT3tR8ZVNXlGHT9a2LktIhWdckv/npvm8xiV
0QaaJd2nUOzkqL+p5DAy0dpMZQ08rnN3umpOZWc+BxPw/G5yHybAwCulFzfDMI3+4AixCcdjlhTT
MW0i/NhadYhC9G+7LNrzxn/UQwI4P3rIBcLZ2iTibdZJ/ZjN40+5Mczkm9Ds6EsP79FOa3+qfjqy
9dbE9NKf4noTadm7a8fnGjY6Q0BImYuhAaoIV6hHHiHIvzvpgMEBjTRnLJN1XYs7jDxgD2f1WzUa
5rKKROV3lbu363ZnN4Z2m2vlSxyMbHmo6m4DkEaOKOuqejmWyKNP6Us1WG8QNx6EEWbbSiSv4zgg
5894o6G6RnO/+Zip5pvCx9coMbxp0WfW6Af8pg+43YPPv2oTq1qNnfez7eyPqrt3NEjx6blFNyKU
LruxXM6jtepLCdi9jO0ldpbbbh63vSXfWuM5qLhvzLs2wUit3rneKQ7AhMRzP/lqqBB8B8TIGngr
8CmS5kegjeOxEfqbl8unhPqrmDBS0sqfKg1ObZ98z4LqTdsaU39XnzWDS/nNiePXaHiMGAcu7ILL
hTHnmeNMvANn7wTGrnNS1gqXtRp+ScbmMZH2Y4wkO/D2aKEV7UOsBSc7zpEsUf2roZjHdXE9LScM
LP0ptfcEYGDlwCGEYvyl+EZeAOxRiJoIa8G6ZmcsphSMAeZhjIvRo17MAxPI0Irup8p6SIObVmKT
44bGsGw9A+8nHfXBsrX2Ol04ALoLu2zv0jp9p0JO1rnBeqlyoF86LrNxFr8GtnGj4yyVVXWz9NIM
7HXDULxlt0QzzQlQx7obvSMRPPMhbV9DeVzmYFBCPy6Gesl/i4XN1HlBW+mhCzDZ6+uV8ICSAZ4B
f6QVL1JLatQchue26O4mY1rpU/pYxLpcOXPhTyPLf/AaFFXyDMmCOLgpW/dhEON9IYyHyZKv3qnr
RwwjWFC2F/lJCUNpcOxb3KjeC4cOkuYEbx7Oeq2bvhdFuZcVKnMT7ZXlXDRPpRSb1n7vsnwlmHIZ
Vc7cvxuOv5CHImAIHxb0gjpopUGRvkd10dEFAvFrtMNX4L8AgivkpWT9pQ+/KkD2ONqNSOy6e/ru
T3Fzb7UpJBKkAqJigpmRsQTGPH3A8GkjW9CNNFxO1DTgBrKs8+s0ui0Nd+84zlb1enEUcXEwyCeW
5qSPfhF0d119qiWqDiAy4FM7+pIovlX5xLIEUubmwl3P2cCrTtwFTzkdK42mnqcH9LMBnOius24M
S1sM9Z2ZWK3fP4qt7JAYwWPnELrNyklvujz7no1DuBzds3fYvJnrUIejkRtrJ8u/hPi6g/mGkOsa
i9LcRW56Uw5sYsPr7/TElGgGIiJis4Sqn2NvHNl9xWKsOADgUWJDdA4eZph+LwmgQTihyKFe+OeL
RvhcaGbdg/wUb4wIt0ZMLBb1a78spPHG7P1WTtpKWsrbmYHxLNoxPQ5IblT6Y+k22VrRoMBY9732
3PucxhbVjiDCTHwYeFtODE8G70HKd2vlgBpbmo2LugeA0EXT9Hcqbrx1OsXbEaUk7NYwro7bc7Ty
UCvHg8CBmq7sul+jWYzWkKSQc72bPo0BLpyjzDhaFSo3xciypwi0GbJH8QahiKemwsHXxYyJEYCz
pBmOIi7c5wqfgrDk5ypVIh7YTVs1jKfYQPBPTAO7PX0PwxAmdlPjQhMOG/x7S/5yq1tqnYW0scjr
lVlWCIY31Mtlaxg0ZTxMnmNrWEB1jBec0BFNxTY94oCjrdLMwYEuDd3bDoMPfCrY4OjoikWQouAD
m65aSwY+fpbAca/EYDJcSY4Gp8reDYSfVNPHbNT4LOTgRvLJnreuCW6jFc6PWss4fhx2Fr12Bjj9
cxJY30oteylTwNrCxs06Hxgvm82qZfmFvL8oLN7zsHtSkp/IiEVmzuYT6qfjLd3xTIHSx9tykL7w
xqMqDIn5U/2kAh18bxHjMT3F3rqxztsNArk8pklz1xgTqufJjZkCBDaKL549ITPiEa5q0yGfm46O
IZGe0qKVC7V0YUoHo+9xC0sCIaKugXLVfC89K1oVDN8Yfd1rqfWsGAxgQBWtcE79qXucSL1BQDaw
pTC6zm9NxIA4nPrARH+KRR5yVpI6xx+OBswmEooIUwYcdDlz+jb9DjknWjDOMtaGSI6ytyiPXCyK
oEUsBqVh+esZ30Yxuoe4bVjT76D0I9hGHl5oTQbAzmumDRiat94Ze39Au3ap5kDshng+wLyZbiRi
IG2g0913UXo3Ofb6uv6SRO1aJBCWs5ybQRTrZuAPUZ4/TVNLR692f0Z5vBMCQ6RoWMB6PZ+wOBFO
y8J+Ll3tTuJF5LrVtGgnLpyakh3FyKQW+mteBDNcGG1cOjK9lRVbosvUF73BMX0SCBrNQ/NSt/Vz
a+XbOCxukLZ81mKiSFPmB2NoHsOG5Codq9U0BZh3YG+Yx+ymuY/XdYBIvuckj05XfgxsFl+3p/qm
Z2K6yXWF//McYxdHYAXIdBNo2Y1j5/p+7g7IHU/72rV2BfNO3y68n2dhCpcPAZmpXAYtwJx66h+j
MPeAc27gsXJQW7lcY8mI9ycG84BmLd8qFKBwoY24MZYfHuIo2RxgujTlsY+o0clS+ZZSW/gRpZqf
duO6mZWxiaHBrmpH3czG+RiRE0pmc/0zp0D3B9G6y/HDUW17gsQH/Cw4+9Hip4uWQbaHrzVHfOsu
3mkTh5hjzBK0W+fLOXut1XvW4B8VxKVYmOZ4MLIeeBjDFMxl7iwXRjgx9yu27C1ZBvJnc9gcbLdq
Vl5Eah2ZPVmG/CLjXCzTOfvhVb2ivxZ92HbRrzv90HK2LVU43dlJw+50MswKYL8DvYiR9Ri7fWAn
H2NjDX6gf9hKRqcMw4FWx90I0BryiMMOSZ+z1wtJUKaQbmsl4vyut+yTX1NPawnGA+Z3j9AoPgAM
FzuZYUQAVHQxF5mBN8GTw54DOtXvS6xHTnEO4mtuai6ZqbsOD9mtS8LbzqlH8CoOMfg3XO+LI2Yj
jMWcD+EFD6rHPFMmP/ShQa0opLkeRuME7m6PaPB+yPu9aSNyFobaE+CWBNoZcE7aR2gL3tVb3bpT
/YfmfEFQDjuPeV7aOA0SyNEbKu8q9VgELxMxVfwQbMvAw1WsfJ7QzhkeQvk2p4g84Qx0ViJDrQwd
FQidKVPfcGlAuwyxQxHDtwCRPuNZ4ptQzPDGZ2dlhPnR7YrdVLS72Il2oXQ2mb5LmuYIOXQpGM8W
jXvglD+NA4w+KpnScw6Nad5oY3E7mk/prG4zs93LQNtFiKyib7KDHH8bZoS6FrQMKJbxy5gO67BF
GMhKGIqYR0NERyMztijP3WgGPtQsNsAgzArNnaHddUh90RPYOFRddBYpjB10vqZdYSzmRN8rwzs0
5bQvLQ1G7gfHKWWrtrZwC0P7A4/kgaxwXFlxulYFLjQ2TpYl/M4gPOQi2ZLQgWGSD3EPubtA0IU8
h5YSllojxYu1Rr2TsLc2DXubTtFNEDaPrffgdNWH1gcQw8RtaIcPbT8fjdKj8gt84fQHd872VhU9
pE5ycvT8XPasMN30JwbMaW4fvWm6Z/xw05pELy0f/Fkzn4ToD11t/vDa9rXw+gdSmyMsYdU3RxEF
uzzKANGl6I9095asDuAY1pFlnmK7RJpt17LJbLRuervZuoKKWLr3qaiOiWl/xTh857hqH1rB61zn
XzM2q5GHT5orXnQoz+ZT3hxTwcgH5lE5jXvkTLcZZ2Zg6s9wsPa6PjwCQ0I+jizGS3bZ7Hx4gY6c
lkDKb/4SlNq2bTqipo3KX0k0wl8Z8SrBXARPn3eFLbdKxKoz3dPk4Vgdh8epiw4zGm/0rTnKAiB5
t2NJuT3ovtS0tchH5LncTRoJP7DUqs+hCaE+WxELRwmoOnMOVc6wCsFS13GAEiHjBkXSdPqV7mV+
bRMzqwwdq5+2uS/tygeEswPOwOw32WaztjFqfors02ot5Bm1J73zLVet4IUAPzvz6QjWrlgNhgkU
rTqkirPXy4qHyLXueuWc5nxVAU/qIm03DPhMJ846y+Y9wiXLcZoeLY+BFbqLnlrlnb4wHdB2kE0D
Z1q48i2sio0+jvuKW887c9VoyOvA4W1Bz6WlBRgJgiJafQWNIUbbS1vjJlFkQ1WfMNr5BYdGVob7
2nEQtWx2LQdCzSDCijQSx6UXF2ujdk6GkewlWhamKHZJaR7qdAdpcu9FxrrR6i0Tv03gFPdCOI8z
lXVte7uh0VAe54pnxaEw5LQDa28lqwG6tCgy7GmnW6lIJTlswZkgW2no9NshmxDFAs7ISklaAu1O
pt1WosCkjGJrN6h5QqtWE50PI0KCECO5bde1vgvdK2D862rf9flnl9MCoKiA1uDXw9kBrV0lM8pl
Tg5A3VyCJV0OtKTc2tzKpFrrabLSb9zoXMZqSzHgZpcOmxxkk4+S0L6uKWwstWcoBPFZ+2WX2Pfv
EclBynV50asYcQ4d+EmrUdeq12agV+yGq7kNV3Y8rxjM3fG3rE3RbUb86GSSLLUhv0ms14bNHvDR
4/+h7kyW40a2Lfsr9weQhr4ZFppAtOxFSpzASIlE3/coq3+vBWXeTDHEFCvve4NXE5kkSnQC4XC4
n7P32qLMFjvckrPrmBQq0mDxSn6iHIxddIqy0eHEbsvhl9mU3NzYGq3uN9W4qdg+B0oAPEhwcilz
Svkm62Hy962wM2NAo3J+HwyB3weZM3SoKYZ5n2czmpaOD4R1g8aCmmqObAoAGicb1L/bs0FdamWT
1gDIQx2hCEzQGKh6BeL/TivDDYnTybIfMHIKuujVQNjxCnWFn6SWKy3c+Zj8qErmEFvbQS6Thkbl
aJafkLJ5hdl7TV5zzwwf+d6XPG+uwBTOtHTECxYaaj4dAWcLMiLN6wt5xzcGS5K6mDrZ7kBcAZpH
+CUzlAp5mPsYVxSwe4KJwi5ARS5KLg5Et7eKg4mZxmKsipeeUOu0cVKnKTu2hgR6lNI2rsqNKWSb
nkmx1C5OLhhR4AvRnuZuH3ydlW6dD7zuqOvhMQ/mG6l4Ig8YdI07hBiEAwGow2FQLH5UyxW/gzBu
cJRnHFWHMXbTb3kfbeJZ2zZEyfclVReF7CW40dFEeiaAWLh0KGUFcNWkSUUjcnfVrYEeZGlFcvji
i4TfYvTzDCTti9q5oRJv5O+pceq+agWvFHubbKObrAV7Payky1R0oxxsAPLbtI6Pabhcx8CkZCg6
vTr4WhrfSfmyVWRpB+rM6avpy2LqlyOy2bgr7YoQK6bBRkC036psbWO0vqJfS+JGXOn3QPyo6nEY
SCDbknwqgUeE4VVahSvN7JG4PnLzjtmSbXUiJWtAFQbMMJCEEiJ/YL1srIA1WIGzLqDsMo+Enzmq
xGpppQAfAtwJiPWRkQfpcalDsKjzZjIUkDubYR73YvAymf0Ns5OdhbmZA2iAYHTZKro5/Nmhj93B
0LyQdd2rTKJ9B/1aE75gRttLebKtZGPXNsuxTeNDTust7FnvCarOWCz7AS+aEANh1BMqGUu9kUmv
TOR0PzTl7Thx6kpTEctL5iyz+ZoZFIyT6YIi8qEmQESyOCkKE3mzMYL9xyoyL9Ie1CyV9pAkykQs
4EKamyBGnzyqXgYuf4WlyltAPJ41ZqdajA7VIh8441wlrbQzzXw7dK850qNqyC+FVLtmo7uLKUcP
Q+xVEFitvtgGrdtlcInZY6RGTYjZvKsS8UL/mtTjhchtC3kXjhW6EBpKASQ4DtmiNbFZmjfRJUAW
Oxi8JDxR239u6/Fu6Sanw8RXtKPfq5mntLWnmovfZCo66sEhCNGTkhDl240w9/bIib7vCaxUYk/u
yA3tqk2CTZSI7Itk5tyejP1N21TNph2bNR303780qVgRbZneDlJZbzAdtvvYiug3rr/7649RRPgI
O+2/+fL3L5z9l+/fZi6WP77hLIsjerI///z9y3/9vw++/P0fGoAVSnXWdxTIhoMVpuPh++/++uXs
76ogxjP2/ctNR9FBSpqFeLF//z91GanS/fXnv/0+Z/9ElZediYlue/b3Pwx39q1+H+n7X37/P3FW
i7sZgeJff/X9d7//O+rgXRl2SGgy3nZ6dKxV7V4aNeiDmdAd5b65bhW85nWVToS8dC+zMNzJIxX6
XzeT3uucrdgdQ6awwnth/foPChJVjGrgQnRlR03fEZfihClUKUH7QGXwXufMBH21AuLQ0tE/ezuO
CDFDrrKu9IMm91Dg27o4gK3KHhJt3BjFch/39CyXBj1fZGBuaE0ect34yMT/Tu+d0TFWmKoCUNZc
O1s/XG7BPqgo4LH4okzW3thx4qtr64ngkWPSF7e9BubQXD5nYlR+cKN/NkTStcOxgDBIxtsiWuuP
9sPQc9UO8dTQG82mzOu1zpcFa2WzSalj6lLIguGmJTYzBVhwCxc7VUbRllKTHsp6Qh7m6nZZOnZV
HOdzNbnqCxWXVYGKNk8TO+iiD3Qaa8/0rF//w88riWfy70oo0G8Y3CqjNXer5Dww1Q+0W+/0rFcZ
BLPCsiALnE+KcNHrDG5K6Wtzdyh0zkIXiqC6GlX3X8/ytc/+07WstkAJdoFqfBeb/3Dvc91qomDk
LWSmDXV4GFKpCk7d9Oo2PLDH+0Dr8O5wwAB1tMPQOM51Bgs7vCZV0UwC13Km7DSXhWvNn9hFh6gZ
f31p79xDS8ZJDoVEVRHrnz3ATZwtsxzR9y+B8HdLwBmPvHKiFDT1Ayv1OxPCklFLokcE4UUj/O0E
nrJiESseDH+KASPklP7lzrz79dV8NMZZZzmUJ4hcFoKJBGdcRkUYi5n36yHWH/NsLnAZCDI0nDOI
kM6WAAxfvKIHofA7S7w3y/jbUKnbSJzFDx74dz8Y2uSrS0kH5HB2uwaaI5OoM05hLPdDnjwjKrpY
+X6ARP6jS/prqLO7ZqjhUGsV8ocqMwV7SQd3NM27Og//+ZLALftrnHXe//AYkcKuTEbNJYmqdi0a
yrWQRx9JGt+dARoMOAWGDUTis9vWz3qjW8EqmSEsqQ/kLd7M/+STwdVnoWEwWHzOVJOVOZu06bmM
elwoKM1uQJaANH9lV/+B4Oid1w2ibfxCgC01LulsDRUHq8hYIJB6LdlrNA/ugoGb/Fsonbmh39Zt
flysj0wb7048Azmzgk5F+knWLDVBpjMfChhE1W290PBbzVlK5iXD8IE36b2hsGQpusykYAe9fpg/
TIg5g048pToTb7EuLIHTYiihcITuROzRBxqfd8Rb1qrgA7poAP4xzp/bscs0qxQL4q3v8146ANG/
MZbwKg0/kDe9t0Co6MwMVVu9sD8J1aSm1ENtWPV5+bGYhK8lB6TciD/wV703DO4m4Le4XPmszuYG
9fLcDCnO+4oBXZGA+boJHV1pPrIvvDcHWYMkXIlsvjDVvv2M6mJisSsYp21XCw41JsbSg9syGy9w
hoAIyw6hGG8C6mh6W1MT0V84uw0q8Qs9GdTEmHQSkSPa4MJB+eBR/O5fOF+NLdVADooaEujv2ZKy
tN1iBhmTtae8uMBaDCtPgKxpVMQnU79BsAjiUUNjolP0BqPWfklpFAuJRocWKUlGOgeB7zW8f9ny
07JyERrue6IxJyXcFxz4BCPdNjSO17KXSWLCr98mP1sDsSL+eAFnG1tSGjSzXfFW4YBVhY0t3SvZ
V+Vvk4JRSJFXmoCnys0Hr/31vvx030jyUUQFjy3mxLefqiDnvV7WPHlKZNrmQt0FvIZA23EqXw3U
2b++yvfmKlT5P0c7e8HkM3AnIOCFr/YyjzZ22t6wuf+/HuX9awJRv26SMUCfzdQiIh/YnLiVkzbb
Kz1qEiOyLY9wHYCmGx9MvffWLoAcf452tp4M6EJIVWY0TXudafgZyuxrwn0kf3BV7987HDzyah0F
M/P2kwoGKtt5RWnBFGZPKK5Fq4TNUP9HV/PXKGfPUTYsYmvocoH27AsOSFudyV6ZNPjs/8XLOZvv
FXb/YVYYaEAxbOZfM/mLVssfzLd3ZwIGN4Ujtoi38+ysxEvbHFjj1w1N6wvjq6JDtRHoEkkTOiLr
gwX/3Znw12jnLCbMI3HfjowWqiQ3hxbSH9irpswsNz/4mN6/MPYDuHqQkJ5PBr0WK0XUZ5Y75Usf
wdh4iO7XZyknCuvXD9O7027defwx0tmEgI5pigO9Pn82ZGLr92bZu4j2Pried28dAFH207yUAbC8
ndxtocRB0TMbuvJ6fb/AQiH05T5q8/9oIBWLhcQvP7mgQ3U2Ct3g7Z+Fo1uVJiUdWnQRu6n8gyPI
zx8RbGdpjanA9kmz+mxlbRMOdNAdCj8QjM3K5G5hi3dYJQO3MYp/vEFkMOhjIsvdd0Dm2/s3yFUk
9TIL6zoYqon7Iav8SIouhDTyc+Uot4cCYPE/nRoMStFHF0VNBmVxtiKli5VhiMJ/W6aLJxoP0Hov
iIL4YAK+U/JhmDUHTxfZA3PUenttloQO0Mj5yAx70jovL5HZAKCOH8UjXf/A2hEP4ad0Goys/UB3
//PkX4fWFUARosjclN8OXcMU08Kax6wjt1mCCpTh1svHyfsPbqTOIJgzTYwcZ2vhqJZCSPgUC0eA
xobmx0I/QICu/Oth3r2TGigSS6FwBEH17E6mqRwQeJHxspc79Bw0fAQs7stN2ZwKxReHyF2omxmv
4kNZ//NLlHDOsFRh2cGdezZ0IpdZGiVzzmYYtHgpHPmkARsXHyzB35Xzb/cz6Mhpjqoa72T8jmdP
nbioQhunZu7XYS4il1GdbKho303lpSDSjcb8dCK1o9ri4BjAElERU+OWFPQKibCcyKg+IYJ38fI1
VvDop+alYnUPWct9adWPLEw/r3r8sOw8LYSWUBrPLUxhMWRxZ6m53yfyjXqtEnxC6fZKDuIPzjzr
3T2/K4jsZXq66mrZOVte6fFlSmYoOUhqhNymxgXHgvbBG/3nA4KkScgMcI2AWmA7+fZh6cwEQX+3
5L5szTylD3Ot0cF/zEW0i3PtyTT0C7V4/vWcXr/p2ZW9GfTsyii3ICxDbsEZHGA+7ANFG9EK0r7n
GGLVsduU7ZdfD/nOwo6nkGeV+Qy//5yYgrpLlAd9YMiqcYgL8QNt8aOCNtuaAL20H61/63b1/BJl
lfeIDp+FqsnZdna22mhsxDz3xyW3W8nYoDSwRXDf2lJ7mFYdg3yGed72swFo+qNz33tX++PoZ0tg
r1fpQt0RSroyOhWx8dJASBnN+xBhfZrrv68T/yj0xn8p15TU9jzm9U007N+Gwb75V3d4LMr8/Bv9
DwzOYR6B+rG4u38fn/O/nvt/nRCF/hig89f/+z1GR9N+E3ED4iBGXYoEec1//T27a/3KGhxi8YwS
NUFZ+c8UHZmonHUZ4r1ALZPNMv/pjxSd9UurNciiXoJDG8r7P0nRkd4uRCQzEOCjUA1RVxCIjlvg
7RoxJbRSxCBRXGQNF8YWP4DTb+TNuAG1b8du5vwxn/iQ34+pPfNs/ntEliSoG7xZv7dTfigtDeTg
dWYfkhDliQ60U2ehXZz71mN7bOx1TOPqQ9KD8uaJ/XnMs6sU+yaVOokxNVveB76xDfedrdvNE3JF
O3STD1YI43ss0F9LxM8Drj/QDxfJ7kieJJEBeUR3qh+dEC6e9P0g2LIPYqGH3nVlbOMbRJ/NJrtb
Mie5Qy2IAsYNfGyrqdPdlhfWJrhGn4IFT3SSq/AJpLvpW5vmLpb8KD7C642fahyfmk0ZxFx1fZId
Ra0nBaswdJfh9TAUVz3NhJD5kmRrauyL42yP8qXQctbv9lLryaazQPUar6LiGrK3HZmPWVzvtOFK
UMDPXuP/cMkCNFqnAHSPuMN05+owuYqLN8VJwxsUSXyKVbVNezdzNbRP1VA7qBM8OHq7GKUVPzNy
Z4QotkT2be8Wn5beNa5V1Ei7yu+fZc6bTtjt5t30VCICsZtPxlV0tC7NfX9N8omo7KvYTRQQDkfk
V2jXpjU9biNZLhoWqGHOopJV5gXqrT5uxdHra1s8SUd1T2bx9eRmu2aHmrT2sYRdRuOFOX4xDvI+
3uLfQWZpeUqCjOV+nu60xtefhNtuJ80vxXTV3qP6FF39PjyI9yigktCfPWIZ95M7QoeYDtXdcBlu
WyfYIVcmfrNOPeNZ9sTGFmzdgWm1zU8GoQtO7hgOUiDLIicTbbG0OKN+RZawovv9TaQ64snMbPjT
fkzoZztucX65gZuEsBwdghfiQ3gh3lu9o31NPpXe6M33peihrIGh4wxXXAeiHWfYlp/TT8UlYVjO
erGNF3uRu850sgqIXk+vZY+xhsvax+61/kyNM22zw3Bo/dBDyLY8F2QjLziMEvaF+9RBL1yGW3nc
T3vkcMVxepACfBE3idttgUG0IVoGb9nqbnLL59F/XZzQyTfdRXPiT/hhHBXtcHNSLtpT/Gm56Xg3
+otX7eWH+jjujGthv+yJdEYvGvrCCUGrgiTJUZ76Y+cXF+YqjAxPljM5jQCk0KmelGWHjijqbOGx
eBbuK0I1cN99LgqvaZ8J1vxGqKxwCo+Ts3iZJ3nLBVYdfAoeeEiyN9KddY0xMPhaYeXJXb4b/Da8
nXnklsF22RZQQezssEZReNEFFnYk10hcb8iiJvr52Bmfrdew84QywnXlYv+Jv+hf2XHo8c0c0u10
85N6hSvSG69ad3Y1h5RVt/NXsxhgJyF96GXkZ/BtxG2klTbSGynwZAnGpR2AHOELDq68beoN2+S+
uhBO85o3YrR2hYAxZUZEzybamcoRK9sgJgMp2HPPp0FU3nWfbSQnOmBKEPzSjR7rL9ljuysOi7NK
orFe2tOngudS344b054uFn90i4tyMzhosezJGTx9B/9rk7u0tRwcF6temouYfBwh7uTBy0SrshW2
wtV0KmMv/ix56Q6NE7iYLYJjxdEP0tNgfO5eDa/zkPjuMeWcJMNFnxrYYJldqXlsNBRhtjU6GOLG
S8R4dXyTTG4XO0l8XRd3qy4v3JWl5KJGDZzekb6KTv8knhKuvkYb/IKhgzzeTTh+yR1CZ55ItM0E
l195Cgxzb16QM87yGjkIfDqMCLvxhCS+k4Ecqna3Yf2JbnC0eAXkG7u6SDyCdRhrs96bULnsuxkN
buAPPi8GVJn61cDMy7nfE+uynaBEeSrv8OQkuOIoJx2nV+2a2KH1iuPP8EGUx+hGVjx4nsYnzI2E
qGRb2c4ew8vSU/fySQ3t5Bqd9IlHwyUNDXNKqV0Kw1bczrfUDyOvflgu1dnJjjhLx9nrdu11Ln1W
vWYXwYECJ+CMszNdsu53XxpmJssvYbHjqbvrIk8MvHrGioiQ1DgqY+Jo1NEDsruM7jKv3LyjskLk
O6gEV+DN17nCQfdxRSq4JnGHbPRPebHTEexVquCFxWdVvNHkTSzZxovWu6W2jW81laO9XbrUCj8q
Lnx3zp+/OdcGIWA6dj8Efb19c3apZuTWIJAi+nk4WnfNZ/2i+zx9Du+JsvOGY2tflqfgLjyWx+ag
PVrX/EiOTUDIZaHZyCqdxoldmdWDvYsvf9AVe/e1TkEM/rdGr4rO/NsfbpbUXIvmSHGnTXohO9q2
O3zV7ewG2CbbiP9o2/LjcGcHuAgFcDxY3Ivo2B0jeHaEm15oPhRcj5njCh+VI94ef3/ftfw43tnZ
zSjEQBwFxmtcfV/eKxtlK3jxXvAaz/Ct/XCB59jWrn7YMl/9/tH+GHb4vcjx8yf+5039qV+GfZze
M6PWr83R+DzvcdsBY4wvoi8BClEn26w/QORCpvbr/bJNeR30x9RvPMvvd/md4ZGubmsOcqM9vu9D
9RQ62T69ojrqWrvZ/wg28e6emcb/2t0jTpGovLezQGwbWtjERXCbMFN/i73hkDuDM7NvzrbJftx+
GCrw3i79hxHPb5FMjgEABOaddmv6KHsPhVtcli/pSXfDvboD6ca+PedF3F2aXyz0t+uToCa2eWew
rGMOcheHN+VpdEMn5bGP9vmD3pIMTQ62I9/Uz9rd9w/1H50a/98OhJfVS3HbNS8v3emp+v/gXPg9
8ZizP+nJRBCaVG/4+P/+iPi/b7xb7+bec//Pvx5e2u6lIe15buI3R8Z3v+Wfqc8cz+CLkKQKlwuI
879Pj4r2mwEShH423ey1EsHD/EcGq6L8Bk117UCv+auU1Km5/XF6VOTfKDgpEJgoyhnMX/WfnB5x
CzLVf3h21ybO+b348ZzTdL3SZHkDmDAPNJwLWF4kHa9krInXBD4VG9xGkNSE6wRbKInmbh8SXa5h
OhIV/NgNJdas0fBy83pC94zL5wLIRfZomlPgDAJTOJ91ti8yHeJh0h+UZq2UZUm5nyVeSWYzq5di
asVeEi+vmRZ+URHkb+bFHI9Chs+qmGZHzPKbEeSknadRcM3rnZizoVQJickqx+pISMcm7I4W1l0i
5YEp2EPZ1DeNHOHymCS4+z3xX/OYszM06FNJRbIpJwOdfX8i0hBLyFA8pElUXamxMjua2RGxHjd3
eHaeoia+KHL9RoyMwdZEylO1GWGsii5KBfNKGd93VnydCNIRGNUpimW/0eaFrV7bHwnqa5xBUzAQ
J9XiaHJCpLRh+SQoyEiLxZNS5a+c3TFphInkqJN8zPvlOC8ihzOVCNh8MNmwieJLG2VPbaBfYH8j
Gs8UMGmoAurEqdE2U4evM0EJCByd9DpjDo9FRZS9BDgBysxBqcLUCQoLsEC2Ky38w3K4+HlXTi9N
W7/O/fop4CuFwCY5dVgcxsJ8GpLqGp9GmqvA71VI6oFxiW33tZ8bcM4V3gkdseZqx6ku9aXcwOHg
8JQkGXvFSKTL3YaYX/OUNcoKzfqyaNBNllOEOLKl6x6IE5GXknE7Ss9GMeOHj9p4P8fRbRTKHNPM
gu2aYqSdJ8Vy9ZJHht/GIXez19kcFdj35kgtj10zjleQfHSo+yPM406Z3WqQuXF4Fk0j+1qCY/W7
CAS2qg3GHsomgbL1VBywGh8NgQ5I396VktJtJMQKqiNXtTPRLShx91VytsUwc4kz+S6QcJXH0M6w
GiTNa9HHG8y9TqJ08N0Uw257xemLyBvgQEZhtStDfETzYz1LdtrXrtmEfmngyywkn1woe8irQx3K
TiF+GfByWMnkaYhvBfLHaLJzTKuJcdR4AKyrycx8A38IQJSx2ydWvCHzjuZnBnlWV+7VWDsVU+wF
JthJQZAuDQo2djeGdI8aZxxUX97+N74Y/geWAdd+xd+v7naJKeTpX0/Ft39tX5rlJSyHuHiztq//
//elXLJ+Q4iNMo1KIKsm2o5/L+UEYxvIPagkI9emKbO+Uf5YylXtNyiWRAwj0ZBRcq9Enj+WclX+
jbqiviqeeTtQ/Zb+0VJOt/VsLSfHmMA+Q5HkVcv9UynQkOdsknVSFxT2gNdi/hrEfXWNCP+TBHF2
y7T6HCoEbNd6H+yqLNvP4zjeYC5XTmCpNnGYd07ettahn2psdqWcb8O0cqMl192lF792UZm4yaw0
R2vWbaQ3y7a2tOSmsZTaziyqDlYeirj+45cFuno0i9rNOGF3iRVl2kdycxmR7BFWZnmPzRzUQ07p
i5MbmbdSN2u3WUNRo2LZAoiBtT27IoBhuG3LUNoEUYVrrGg2QhgN92oXVUBQptxp8kJxkY1eTXW5
HBYk5DZhf8GxSiTZmZvOnhJxuNWJYwV7HyfeNK9RD2a/q9mz7pu5sVSn6ncaMAIwH8VhkqT5Mrfi
lymNZ9+cSu3YSGG4IStSZUStvez6cXK0ugh2au6SmBM9aZXyUqbhw4J49SHKNTqouoNT9rUZqhP+
7NxlEzIiBUpHOw/rfRvXT7mJQ3GZQyJCkq0o4B0RMsooMAbyy7y8is3ESadQ/JSLO8Ivul1WFslW
oAAimqV6lRaYrSer982BFIaYjBzsmCnb16zh/LR6b+VM95I2/sT+QcUYZt3lVpty5cHk6tK1XoJn
oYu0S2az3uJN73YqJ2FhwH4kl+m3MqYoJBppdoTMZJvjPHoGFvXNaG7bqB7tNIwnfMEQEIkHDtw4
JJjKgIihNgRXBsWo421r2OVXrOJJZGK0GMmqyM223cvheEC1+LKUMrva9muAkX5lkYkOjnw4yHVM
Joig9K6ez3iNE6nZ6HCnvEyfhm3VJr1tVHX6KZFupHoYj1LFyUaZY0oyOhjxUbwTJj06hGEFW2Qp
KrdQo8kj42WfZELuhWW6bWGEXKrK1LsQsVhvDX1jtnpP/TMlnMkA01EWXYC+IEu2yoTqTqjieRvG
WruLrIlKI7CMspqwYg2G5FsJ0BCweAX2uHq5JIQmc9rutZiqASOVSvmyhIKj9JPktWZVHJMOekKJ
62xTDCVFvz41ryQ4DTzYPZnwaIRBZLBLGCgalcWTsjrBgjiYD1EgkDXSs0dRKIBuSMFVd3qUkxPf
Yk7K+l7Y4/rPHLqwPVlWdXsw8/ZkWJO/Ev3EIN6YZdg/RXPmCmYqf9GNgepPZFtLMDuFNSu+UOWh
WysqvCclvSQcishdnK6Vwit/whSVdSPl7VF+iCoT0/KCvG2uQpgxi0z9eiKZhRAaN2sn0x8jkfhB
y0oxriwPVjg/kfaLQzFdBrsc9Messllt2os5NHZznb4oCShRrNn6PiTzd6g5zxAqfZjGq6ITF3AB
DgZ4xau0tuTaUOUkDTWQWEiuiVhKnqSx2C+CPmF3rqudJpr3fazsqraq7tXe0O1EaWNHyLSS2MHw
ag4n0cO22IGvOuYyyUNdbgjXZlZ8aZRhVxjB8k3LlxvVKvJnqche9KTYKnieb6Spbz2kfaQ+AyQS
AMuCfWh3alYELjv5FZ+UP5pK/FXN3NRcbquI4x1M7pPWBU6hA3lIm5X7FwqYogmERlcS1PbSk8Q7
rec4fWUEL8bRSvDYZXRh3VnoFCcjEGcTg0AsutGbptiwge+EXq2013obpV7cSC+totz3Wj5vYi2F
lVR2+0Uby132WSGUEZSAhFdJmicGW6N5XkEljTawQKayta4JiVnCAagqmBrLt7G+KNLR5bt5ekSB
tlzS+9Qg/KbiU3ZG1EubtDuKZXYqc6vbEs51Sqoktuc1QDhvyk8gBa+bkG2jFSSXZtFv2bO/zsF8
a2gxpbql2KbZsM2bdJs25jeVQDIXZi3Ai2kLsPE2saQbEjqWUSKgB4RSpPcLRndxjSRidjTxjR7c
1NWobuUKq01dYM1ugPFgVm7uRGVSbCT+0jELAVZ1YiwjARi3kTS5YYcYNW7LPe82R0aR2jfWZ7Gg
QZDiAIzlwg1m8LxzTUi20udsIalg0C22Z3lW1ir5MjP1jIhPW5KezAgGxliztAfiRmHN8AtRArGS
6xdJm6VwmZSt1dEiWqrJEWtOFuKYbnY8oNUGc81eIHud25VtM7Wx50amCBwyfQkenFiMpQe1L0lb
b7rFEQrpqZ3Np5hoiUKtQ1gMneDCEPraNvhbydWC0Z9H4aa3msQWK4BdVUlVd2HHHPY9Icyp1Liw
6SYb/g22+0mA2YO2bRqfo3FCsTIBQk7V/gqBuHpQc/VqBLo9RKbmIv5YdmGyvGDBJjAl/aZIOWXH
rGWpIrJlyOH/5Nr0UAkkhdfLbaIBl8zM/LXurG/lFD/Lmdy7phXuqqIA4tQFT8ZSnzQzKN14ymJw
PgBYCIe3dYGIHKtqHoD37CZR6/bZFzNWv+lYO0+LfopLbpHJWu3Kafsl4Shjq4YG9WHijRfX1fUg
IneUEib4UIuLN6vNbmrgYGo6jtY8kpnAwDg6zSp2BNhxLCzbvaB37JCGfdAyvRKJkjpUwczcZlKe
7zm1urM+f5W15nNvLTFW1X7ekSH+IqrRVTApx6Su09sWCZkry3uISflO4ml1JbFrj6OXNIlMRBOc
hSAQPi1V2juo9e9jEoibtgHmkPeJV2aJZcukJ8OvKjbD0hJrKkIZ5pQWuWIZHJNEEdkr8DOVdeFq
TX3PnYAClYlOOqpfi34kWp3sjGI0qy3qCWIFctCX1kwAc6YpL5NFatki9hFHlHk7ieMTsP/tYOls
n7ruNasJ5Ggk7bYR672hr85WJSC0lLaJNBefR5y4ilhdBDWZqpSw7k2zTJwyEpfbuihctcEw0Xbw
bxCVAaEpQQ8xp3G9FaGz1B0osqGiOdGROBxNlK4qHOIm9IasbV67SgGITSqMzx7LaUuHoGTZnvU2
9YcGkA4xTo7ZzbMvaOTLZ53lqhnNwcRkUepybJHjJPvxUG8gaDx0Sd/txx5jcFMme8WEXKbJyo5t
ld9m4+CAZUQFSRKRWJCfFYnJppaalyiJxo0uvoxKqNjiPC+bJgVEmYtkgExKeRiXsDrwBsQ2XHSP
2fqvraX/ChJRABLkqAuxbGzIJplk0kCsAcrRVaB1TJOBAPq8wPJlNDJp00XKZrQyxK2QDs+amj4b
USRf1Hn9qCzmdqVkDcH4LR0aIDYpRDucAZk9TncNj51WCc+1pmEhJl2DHLY7M5rw7K9NyEijPyuK
3bdgKL8leZfYpcQCyMn+E9J7aO+LxFZP2YBm07rPqarFUJYSfNXTg6Ykt8ERaPiwbY32Uljk1xQZ
BPYeR4pKJi7ATdxmKNgy0VXF4EKnTOAPbGkmw+Jqw1MkmK7VmBgXSJwTJxW6kMx5lGPnqZ/Uw0AS
WbJyDyECmjot9IX6UTTnz1ZomN6wTJ5YJK89jv62t5DIOyW2w23DBimTaJKVEr0UK9eumsq6VNhw
RyPZlEUZPiGH6zeqsFwXqX4lWMJGRy45sYrGQQ8tksKPUyfSY0uMajzW9E3IsYzC6xAEvUZhWlK7
aw1Tf6VYX7Oh9bJ6eR679LIWhZ0Y6xdxodPdlSZaxwp8tVb5RiMhZqdkPS9R50QDoewNhguNliBI
7ug+bZdroV5OEaQvx4yFeKPKB1HuCJMxOLHPUXdJi7IsebdAOewHqmLIPD2C1MbNnCyfqlw+AbTh
+gPqDogJS6hY4Ujdhp36aBtJdTCDp5AfLxoJjWVvry4D/ZyYL8ZE/gzxXWFB+h8tPPYW7eqpgpVq
LY9DwLGpLp76wnye6vjOUBtfy7XGZi8EV6MFM13m4iOr5PVcArvQhNzguMDeKNC1ndiZj71BYUYM
HotEmQ5ZJ+cQFvAASI31rBHw57Jws38PXG1mTwNwoXQGtToFI1EwAIBc+BIr45KWHf/4tVumYzYW
oz+n/qgKid1UrAQczG5E3vNeEkgAFDOOlqK4EzI9dimZPY8muJ5GDOncsfOepPkpkyYan/lyqw7p
QUqFAeRI+3+pO5PlyJEsy/5KSe+RgnlY9MYA2GykkUbSSG4gHDHPs359H0RkdYV7eYZX7ro3IRSn
h8MMUKi+4b5zPdS66nZukshTmPWoGv5lAFqWm8wcoCEugFFprpu6fxwpzq3tot3mCjSMYbRMP3ho
5u4GiqBy0E29dJPkNpw4RRHX3E9Di95XnXA5uiks9qhW9qDsXzTOTXvOA7QCLAP2iZtxZkymAWTp
D3ZBLoExML7ckIgjQIG9xtamDUkG1lw8pWl7jubuXZsiGt2D9VCKqD6EqvPYzC3akZCqUQ0PyK8k
vnhHSiw7+aYNYnOlT/DJIPwDJb2RdABWysgkcst2eDNbIH7t8SpSUzBFxEGSNs5pnm5mPUS3N83Q
4yJoXm1trWopNLetZjAARwSjtWPPe2HHmyEvou3YaIFrWaDpBifsVrXjfBVqqD+NAB72kH84eU6N
kKZNA4IFx4sJ5N4fwWsTRZBsCFAFnXWFDq5ZNltBrzWqFGMjW7znna1QCINTok0jeqHZ+C4lNCXd
DUjIZD1qNPY5ZmDcZFTl2Pf5ZF5iBSe7UFIvKbtTPgU6xk/9boYisq1kBQNbsi1bc+OoedQ72M8i
tTWyVOTN8iQdA5VOu5rQwy8Mye0Si+i7bu6Nnng0xd82TbaBFr4E1oBAJba2k+g6F3e3T9CfChGk
4yUSR2vRAGQ0nHilTPgGycr0qcTRFSfL0u0TztoC7wmy6pn6XiTetYYDqCc+dkddf1VnB+AJZRty
6OLcGADH8iZSfdzDniUoQH1NupX1+DOpLaA1insTof8auB0LPb9qMfuH0ajrZct3UpBDcgqMMopX
ulJ8B2HHWa3bWKTOhGo51ee4JrcbBmAc83eZ5W5tRrKbleMmTAM0KxWiRhsaMYy25Zyr3hTQKQCF
560zVzvZCAc23nbwSrxLlZp5/KrudU8Siq8aKjSeHJ5Qh8aEhRmV1muhU2zEa618GE3IJoNKUlLm
uI9NGTIDy4ajIsvtZxgZhScCml0jqRCfukdug6tBWi4/6SCG7WI+9OQrHLH9Kp4OjoDkk0jGUrh3
LgMbl5p2FGxkeweJ72Rx9oC+Db7lRrtTcrLneiqfyQ+3Vk1FtivR2wCflqHcPhRpSqowmbBkgvrZ
nKhUdDkFos6Y25XQg5tJVJ89en8xoMrpCjheZoxPC+GYVkvHPok4n6aYc9Z6MMdeX0+BBU9L/sCh
ccJ2gyVZzzDx4vSjztVoQ1JMhNzM+ynJ9/YgXRnR69w4XSCWbLKtk+2p0jN+HJycLMlXppoJ1NXa
tQdJm6qETMoceW0xscJtVtiMdozt+5nPDFMgVkcCAUjCXRcc7cAqd2JheKdDsmXtr0sJK7KgSgEV
Te9Tb4+naolPcc49NFGzHQrIt7GMwymUfw8DUy+3R8EZmTJ336nhLXQnOlaJVwyst1AMa4tZlXVX
LIFd9GoFU0c1Y5y8qDLXqlxnq2761k0DlBrB00pjOCyRpYcws6ptBkQYYgeGYptozDSAox2oWsPY
d5WAeAWybpXXd1Ujy4fAsChroSRTwyJGl1S0C3JP32cGKiMNT2Mu6Q7cZI41HqMyKrCVx2ZdVSKE
s2ejTi87Y4nYK+8YTt2Cai0LN8lo/CiC8ThO1I0pIsO3M61bJVBKobMIekHFty0+5EGdwKy26X3o
DDQMPmqpHjddQhJgyjlnYho3npUIQKLBg601TCEF8YsWRfe5k4q1WZnxLoEprE4mHGYBVr+rq4Vk
tw6agNiY+7CqA2QrbdOsgiOFJIdSC/rfkULpik/kjTnBY6jWzNfREWvU7K13ppQH2exkiTQUFzTb
6yNYT2XmvEFdPllq9qTMhkF1UVCJ4VOC576SghF857suy2xwhzglS5Sq1EhuPDltoS7B2EyNwbWC
GuHDID1BJoeEpeibos0Avs7H0Yk+a8Ucbor+qx9bgiozuWhdwFSPrgLMa0s/HkcgRUzisgahEcfh
JTFvszRdCEfy7BKNgKOEthblmDWPb6HTgD0ih9Bi+7GHQw9oajEZ1rNneeQb0/F5axvVV4zhgsWf
QWNlb+Ta4Mrsy24uL3YrhfRZDA3D59m9oLPri0qiPOcEN7mI4rVkcZaq4mzXTbcezOIlDq3PGMZ2
jGELGciwhGOULMdFSjPkJhlFe0vll+xpbGXMKavDPEtUbztTo1pDp61HUJPzgGb4qFRLxm+TM8Qh
iTLDfKslJhNcFBX1QQnRLS0lQy4WRl21tfJiLbFCPFubQBPlgacVHLwcwDYo7fAhm8Nnm9XjtfCf
u1q7sm65IbklMDwBMALOiYxP2RdBqKA1bZ97gjqL6pIbOrmXEtFNBYuxrNgFZPVFDiG+1tNkQKyU
X7XgCayW14jwCuyeYPieDJSuXU+e2WqeVeg5VN7cWBVOdhs45O+JzIELUXBVdejiYgIge25HbzQN
BUNDFJrkVm/tsCF9wP1cBT4fgYP2lcZ4LsPiWgQTJwQBpZ3APG1C7UWVCD4Ip5EqDvNLU0s3Dk3A
Uq09Oe+PyIdvSHGqFSE8YtCOZltogyKXCcOqdt+WzrcmkY7bHZBeK+93ox7TkyvFOpEsGHWRhrBr
zI59FQb+qBofY4KkUJJnLC9pvEFKTV3MSj/i9EFW5diFtMXQsW67lUqKEhQSIkrikDAc93/8JzGZ
Wht4/b1Upw4dx1/ZUoGp1fQzaFqGy/SrVPEPJwMh3ET1J7Qoe+ojSsw+ZsGo7I8T/LNBbek80u6V
rDBY1Wa50PNIgJ3EWkGFKvWUA7keD06MJrRjr/fyQn22Zu3SdfDHOfhWZsb7V/aOg4r3OhtSthnN
wXZHDRd3xzoYpfaRdvAZtaCy2RxpI3Kew03tHmJrvAQzBZ9czxPQbHtZH8jhZA2+Il3kwG6+GQE8
U43kOwzEtmVXc24RSxT29DE1kEsXwGuYgPZI7OIdEpfuBr2BZtG4dVKj9rQGWnDXOudoSC6xVFge
2X7mGulZg5jpMMdOXwmiUxliVOSwGF0tD9oVfeLeczqvrgxGpIqkdOWhXXUZosnZXsf0MoAXS7Ib
qtSMuyHY2wVuFVkN1X6wJbS7sBBjXbhdY9krP5ut3DMHRlG0ytp2pnPHHJTAXUvw/ijSE2QJ3nd2
M2HxsKpCgi0nx0c8vo+VKMTKEoTwuRj8zEIbnEz3oVR9xonTuNZEJNLSt6psTXeNKr6YRXSBA4xI
Nr0kFvdtNKTB1bFdHfSvvuw3TsqbnZYp/2I+sF/PN1JJ5q83wydcGJ+Zac2d1eYt0q7SJOPqoHdv
wIMPQi2vSltyhrXDG8AbxsbUcjfYRK7jNp16qk6N+lWhZFUrCWIDuc5KL+K7Hk5jHjoxsBzFC1Mg
ZUCj16GeYuU5Fi8JZCAIx/L3UjrQKZgiUwwNSps6bQTghuSjgbGpGqhKeSKgIab3QT15tZG+tMRO
BXi2laHlIMqJkGmjWL6useUUnf055WV1nkcebxgkH4HA84KUjR19+irLicpl1b0FGQ0+nbsehDSj
c71fmy03rZ3S0A81/UapuwcjuJeJYlZzx0rtqIysbEDMQzx85/ayF0QqTUTTOJoRnZ7K4iA0IHe3
Jr8L5/hhVKJ9WsavdS7WaV9x7GkNJfM6Z58OXtCRQxev7Qz2XFh45W0GG47Dh12VgBImIwb3cFgQ
4IqtblKmrDg3VjLVRFeKKW/P+lYYCR2s1kjXIqQTJKe49c3iIMk8aGLlezMLzgTjmjs42VE0r2AO
dHey0oM5qgm5uMo67dTKs6bmgHvKYnv7KdNRpgoYSG4yBfvRVrq1IZkVz05nVM66YyhqcNW2xUxc
GBtzceaOgnz2bFFemLB7C6Pw1tZMFNsz56SStMhurPAUQ4zXi8ey5wG3Rv6da/wQVfxWTUjD5exk
hDyMHkDmagadCKbsq3OWl2LkQJUTCV07vonmmUerLjKazJcapBRCi7ZUMq+0ws9/vj8a4mpyj9oK
6RnUxWeWM0zptAjoW0t7nCbOqCGYMoriUO9Y1VNLWNSmd4nz3YTxVzobmhdE6lmr4/e5SvdSb136
MHsp8972ibfM1VT0O2KLfilI2KBDVq1UBrxpk8ewH5tFxF12CkoZ4ZIkS29lEiLzJemIsRnwAim7
cRKktpxcC7MPmq9p3rYJ2K6EWwtCoFtWIRvY8rDohK5oa7/IlfSMHlTzhmLISdaJ7TLslHvAu90o
M1MhNXslKw9RHTorrVrWtQ0eU46Qudv1URbOSwzIFqSmraziJt5DaLwZM2MzZBk6Zh4H2GRk3Iig
6O5EvlVw+DvVfKgTmdqTcRG1VPpSRXMt47krk/w6lm1CSAxNWl9Wg1JPO5oFAC/1l3qkjdXYg1su
CdxYIXcXfLdISmZXVfL73AArECkEm9ZDEHWHruVNKrvOxmVKfpOnOIXEF0TrIOM+Q872qcxckAdt
BcbKpHccRoUS7Hs5fOsy/oQ1nAntnaSZZD61AZDMGP51JpUrfohN44PJV7q7LTu8MnNzcDD7ysaH
AVnSH68rXWt1hQEicyJtfnFooS5k79I07rpoaFaA66O11rZbGvTSWsgFtFAq51SgwB87CgVMWmDj
KH2WGe/LpJdraWxAps+89E6bbYQyYS7iWBPMSQMMb0a+E5VMB7wYcUjdQYuutYAgS3bmNiMDdoGT
3VW9jTHWuSzY5cMgfMyD6U6PzE+8iy6Y3J0xh5LJgmhvlHz4uJWEX0ShDx6KOQiLFDmVwjdTQ+tW
xsqHUsao9kPpLWmrNRwVVu3Q7awZHd2ko/cKbf3JlCd4zmaY+o4Mg75r+4S6zvCB5YEr03dY4057
nQZy63gn1/TQOCXJphJtk4zxXdA5B90a1ypOhqtCl7eNBEUf2HusVL5aSB9UKrZiSG5HkpYuThtP
aPWxCjychM+4SfAYzWE9Ed16RnyLhzU6ARhHYnBOceMcrSG4FZV9KBqOw3S6aaMKDb/6UtkFpRTp
2KSFeuAM85tc/8qA9q0quRtd5QWWFXXcCCrgrLz0sWjcyHmya6I6Qe1HbuPeVWfe4oikES6ynTUS
0FVzqzSmWJHk8YzJmQu1ImHMYrHpMHCS51UnRfnayYfJnfFNpnT13tCX8nQjuQhmrN0Sqw+vF9ar
MvhSV90qOC2TL9APlTo2IyXq672qaPXGzOy1nnQvg/w0kt9jN17dioaXURfmm1YNeG9JYOT17DyN
qrmPZModujXxdhKpJSrDBsofMz7qWcnf0WIQyLFMeQ+I9i2xxwMGJVokMZzFKzN27bxtWtIeM0YW
h7pspdvJhb71cxPOrZshKdmabXyPjuAoSeUR22k2ynYOaQLlbtRz6i97rmwObL6x+VChXSijjlTZ
mAYvdMbnpmEWIU7JHdv6fXIIVgR1EM9yAj8PION2Ob34LIblPmkBjUq8rUv1kYlGzYfLREJuM4je
Keu6nUc3NraZxo5XRxp0o4aBLgglt0bY7/Dh5OtH030SVvtKUDSrMU8oQvm16BfbDAyCKHKEy+RB
CRdJemtFz846aotkgt+ny5RZNO1aR78mCRV8TWpI6EP+OI1fWCuPcYalY6zi9iWTP+gOPi96XTKt
pFvMfPTE6mqwIK7NcUcuHkqDsk7zSngW2H6t7KGea7yOWNnR+683uIzCdA6zxs+H73hcwt2AzlWt
Fx1nuAOfoWEwcUEjpZXYzhabodYWnjlKSPcs3fJiTpC0bFDwTE/xHCteJMfs2N0/IT3/lpj613Oz
P4zW/s/01v9qlvf/Qe0d0+uLN/K/lt/t2uzrP8rv/zi9FT+M4P75//0pu5P0fywu9zpwD11euBHa
/5VQ8ys6L7YBAIFZVLiBiwXsP4V3hv4PnfFffPhQUKOy+8sELr9CkA2pBsmdovCbf0t4twwL/JeC
mvFXDMgNZnmXiRJIE9ZPk6IpjkFOEtAMUDdQxhlxEJt6123a3xD+fhpd+ed1FldWA5WhAT7ux6EF
E3RGDTWeQsS69411to489Qwg3BO+usUU6zdTHcqPsyR/XA/Voo2TpOEge/qZcJCNpjUG2eKtNTGn
uRp9aXWqLsGOrQNmf3Sj7WcG40Ceu39ZAec/79xfx0l+9UX/euGfoT9s8kkkLxe2Sb3onwZB77XO
U1p+6dE2su6yxtwgW2cnbj273E5Su/rNJyDl+O8PFWyObTHAhD0Pi+XHmx0U0DTtpQ1bEPEk40fe
3te2r6IfQflD+HgunasefAmbepZ9FzXPnOU7kDQuQkZ3Hu9npV51yvcw3ITMUlbbkB67oKKoHbr5
punPE7A0TATMi1NdyYU8qznV1ZuOm5Y4Gfqb3D32k6ca57jY9lbv2+FXVz7SBp1kT8X+t75LOlwu
AjbXG0ndSXn/MEePoVm4GWdgb1Jmo1m7ykRxcHrwgoq5MovdWL9nwXdWeAhAUZeBoaIIpA8Wh9+5
tS+19gLT+pMe/roAHR7Hz/WQg6kiCAqmdaz3fmTmnq5VsO8zj4zQ67Nt7lzHonYp2+BaxHy6a+DH
0ZOcSCidtx3yBHOXaCaJ2oNtX8PqU89P8TSvS/FoC2NtDk9zc6/01zKiLWBXbkqhUpputOhbEVRt
GTE1mIKRH4V1Y97X5VPV7+fstNTjOKt9JRrWi2AiAFtTUAaYVG5AhDie4JlBGfhyNn9RwlWBmE5i
Crsc1zkzgJWBhl/dJkyfNYGn6F9ygr9yOR2K8WnxViPqc3tlY+VvrYoQneHABPOZqKnQ+wCNQD0z
+ELC+wSt+kilqk13QKVXtnMem94f5isKBAu7REv76uNvbQ78iQqWEOfIOAseRpDc1KbsxvbanixX
bbTjFHzqClkMebX8mtG7bADKRMXRQDeT64cqQJeGoSLD1tXOiXECcnZZt8mL01SG5xFZQGWNbkJs
LyrDxbeGlp/sWvF9Zc53ZW3cDa39NTeabw4coNM5DN7a7KS0xo0Dh12dT238puunbjYvmHVWQRmv
TOjr8YEEqC0YQqBWVuENUY9+UaAVa/TAXKWTNw/0guXolsJ6y10yFcoImfkQGxh7Dvm9zBDINGdr
G7NtzalfRBkc7JBZxZJRBTXHr02eL1Kd+VFECKz7uv3StWRTeUiXZnRz2n+5wBdIeRKOyvr9MEj3
++Jghsdxae3mWyveJOYhUEDeD26XvzA8kmqxJ6xg1euviR65ub0eUvwz8ttKZzDX3kvaZ2Qfu0y+
75iwVZIlenRV6WaOXqggMYl+zOJtPrAusPlryw1Ed38WwToKMt9eJMXa2bSro0RYMjRH2CWrZH6y
NUwWapUZbH1Dcr+x0KSVxkChGZHaR4yqo6qTM9HYKh7zVSWuXVm5A6MDqnawjaMzDDSNFb8nPE8U
GtDRUphvXSM/wz44UOJfSVnitgZ2fzLUhfB+aWro3FarfTYwbSqb9uAUGN6ay8wMRgxptQuZdbGt
FvY/DYMWG0EUOnFG52W4GE79MfTWLXDqewxQqLBtK+eNDIIKMbUzcdaoXsYOg/hKsgnC0tUVVLza
elFxGsme/j1qXtfB6g5j18VtkIl4hjVCyrQY+oX4PdBGsB+y+hTHRHbVF5KdizQXfjAHa4wToIwb
DzgH3kb04Sb65M390Kc41z8Fol/JCHN1jCbxkNvPg3lUAyBz3YdRygd56TcMV4vJ4pw3Th9fZXzr
cpk6yHuhfmfE9Wa4nYuvllHjtkSOoClukJ8m5SnPYFXetOpLiMNLk+hrYR0S0eNgg2sArXE70alE
lrsJvsOQvan9WS4iAt7HPh7diUnGxDwOIWaOZI9go5X4XZfO2LwMFsnRWyR95tlVMWtPZ3qReDtL
3+t0HzFlWHSnsoIDad6X2q3onqfotltKSIZ6W+rOCspnzXT+SGtyqqN91IVHI+s3pSF2fR4fY9tZ
53MChXzxMMveQvs6wKTTUhBkiZup4a7phZ84SzbOyI4hiJkDLIbN/jvGyoyafuNPKB66jPry0HM7
bKW/VdOGZqUdYNtSFhamXHHmF1MaLC2/U9WR47NjvI0y9T+yQDdKrE0v0XoN0LCrdU9iy6kmBZO5
0UTClLw6v0uOiiWo3W7R/J8G0ZHY5jUGa5PNvJY80/Z2LJ0OocMhqkm5K7LmFWcWymZy910rWEtN
Zf9Zh0ifZ8F8eSepTxmgeY8lqW16TOt8LVYYeq778SmS8702xlTFryO3tBPq4zwCrRDqRsbXLI6C
vTrnT8IcfbW9lGpxL1NQUHm/5WGrVDfVeAyLNfRVvDaOA1rPLjk3VN5E+p1a9519Hcud3trbKNky
LJEW7S2jw65iXS1cy+zsqIRQKQL1NKsqa+l2QOhnhh9Cw/eNAbNAfSjmaq/pt1NtPJNiT4gPG6z3
qvrRTo2NofgxQ+pSwp7tOFQ9oMwbWreNmnMZH8bmUYkZATXfYrYbsEurMTlo+PYsgCAHblZtvwDq
XCnZTWhI66EQn/p8mSJ9q1gY/OBihQXSkBwC3i2VUKDne4jyOJY0lbQ98cQGco1vlZ8x1XMWdDaC
KGGTn8jmwiD3kT0bDq52Ab1ddacauZdlB8fu1r2x1Wa8yZ5R+6wk3oFIuyvn+6bmExqvHRZdfUgj
Y2RN67Qm78blNJVwDOm9EQ9ArXoqmVitJMNN4+Jk2dcKYYwx05+vNqVJmSHfmQhSzPnMK5KGh1JB
1LhTyKjLEOJf/4GZiNujb07so+juB+dJkwm+EjQl5Meyg6zp2axJXc99fpyKdevsummPsZIGpCK4
n8p2lS76r3CdpqceA07kyGP2MBWPDMhb040sHwNTO6U6jR0MsuiFYJiowPtv/J75fNWAw1EdDVJz
Ub2lwAhqKcb25qw3+ZkCih+Hjx2Wnoby3GnS62Cl12Y4VtqV5jkSg3ZLs3sTjuu2vemjjUmbJlBT
10h2RXfuVRtzZmlXYcnyWIbvi3oEJ0o3ir9bPTqGlEd05x2IRJyjvhRH7OtK8RH1a44yjDVWaN05
iN+cBp0SsYzWHsqGQI3dNsJ+0FH2HOfqdFMjgnDYobMj9bBVjjeLjD0dnlUSdaO5o0rzNfMIg4Yp
bEb/nMLeq5DyUYV4k7oL6lMVo7COXEll72VqRSRfJXNyBt2xONnGrC64CdNFlg6cz8iIGMJpsWVh
1qLH8bvM3BwBm22/p+atLigSvy5OC13xHoPH12bDT+SXBt1k0qPDJ+yv7Sf8KBc9V17vA3NX9vh6
ERDq41OL+06HcaSG5VsFgMT66GiyT7kXUqDIuVVIbEIwOnG83Ow6Dr1GeVdzmWeGq6Lk+GbQb4rK
9PBUPc1icOvpqkk3VYL/EEJfisR1/aBgP57uTKpWo/OlLhocVNxd+UyBQ7Mf5W4rO+cY1In8XKhP
YZt4mP+V8E70qwDP42Q9FtubpHhB1l0kjwrCJ/FiD09VuzZpB5usL1kuEFjcV+G6zBnTNEHpcZsv
KnIhM93lsocdup+UcPPq0bXYaQXxOOYPd7UKAiRLb7CTXXeI6cMbU8P67cEWrz3tzpi6Y1r6Uce7
WH/o/Qv0b6W7UIST4+cOU9gIqbR10yAkU2zM1/nOOnrDUZeXRjelbtuTtPs40v02w/38Ne12Dk6k
uZCPKS9cZeP9xeyROT7qnLUq5hjzvIrVT21KDgVTkplFigFdRsWAElgeijYUvIaNTvtTD6ONhqos
KE4hToTLF4iUMzv00O2x1mBurEYctRY6VXk6sNHgJSqnTyVh82bDBE4PlRGe6mS8kYiMawO6SIrA
dhHrlsmBYSfWNPCIDGWeFWOwWvPUppXU3A5ps67x0Qp4mVJMmCd6a83wFvWwOq5WT3k1eeLOTN1b
Vr5TkK3NJ5pAtA1QG1a9G5QdW8IL0vHdKDg3po+M5kHKlMrsVw5Z1zqgDi7C+7a+WBx5yiEVAJ5o
I9nZLiM3MwKGkC13nhVYqRKT1DBU4ge+zKoZNGyJt23GZs3fiCP1XjM++wHFOmLMmQqpubWk4qZQ
rgVqLqF2vqkt54YmtokRrSchd2zhrV8KvJ2yY0Yvc1Za+kgdO96x0Z87xpcb4LlSgA7MtDf64Kwa
M9/3tK0qxEzhA6Y+OfzuSScAQrlEYJ9jJKbkb0Cz5XIrJgUH1miNNj7U3gO+1aSerOZZR0H3m/Sb
es7PFRWFugNuFjaFHwbhf0y+k5T4JRzwdNOpqOQ+fPTEm58xIPbmLf5af3+1H4cm/yxz2Ape245F
YcX5Y6jyL6AvmOQKc+YGmT7akNJsVujyo+jz7y+i/PIqmo0JCDR+qkU/FW+UKCZ7qklK2vDa92+9
cp8ElMNtNhCa8PROpft4MTEOBCbyx9o82hWvFMWPv/8cznKdn4pVVMAtk08AC+C/FXVGdDRF0IXS
ig+6DunZ4V9k0FzQ9ZT5TyxGHdcSR4VVT0PZbSckb/eyA6SIllYMOsw4JFSDwjcBaVyChKQX6qqk
RZJqD0i/CervWyJY/ZQWmLwjR2nWqfPiKBoiQ+q2t/Qs0LWhpGDKLKXTKtQIdMBB0d/Gxb+dgbVi
cFytPGco/EfJU0PJB2FLOhShIDUOpsCViN1hFi9OfSnyj8V92grXaA7IUChIjJTHynMSXVRmWc2Q
cyd+qjrsirf2eGmKYAMrWDWfLftOFS8yfZsOu4wC4SwnyPxu2DfO8FDQJ7cTUu6tbVxxEHXYkyzp
pCW0Gzl/9PSxn+///rn8otb218fyc8lrjvuptBseS5O/jPHWkKHC3U3T5u+vovyiqqUqukK5UnVY
Avry4v1lrQfTjDafrsEKwhzIIcbGPe1mcHtP8ZsNgnvf2P3miuqv1psOhVGDX2qrPxdHywq9SKrx
xVp/9k1IMPGXBZkKLeGGjsJvS4e/vJwB3MdRFZDuP39BEOgNJZRouVyxo4vqT9savg+FSjfy8+tv
vtwv9ikV+wZcRMAdARVaXvq/3M4GiwidF0pajS4MNa91p0O3l9eFj3/Jn1P3/xK6+IsiM5eygeLL
bCIgjX+8FE2sbJ577mPP2dqLZyd6XE7WDJsUo3/Ryo9ACv79jZGbyCKBXqIb/PjjJcuyEKFRxygK
hxqJxVqYMqOw67+/hz/Rhf/YflWWviqbFqgoJPE/XiUzGmEiFAeidep9bQ2Uax1CCtO2CxLtA+/m
FWQKl/pZvSIs/F2p+VfrhT3fMVCzUrv/eb3kHWOHWUftXt6Yd2AAN93BvPy5XuK19Zsb+qvCtsre
b+DGQlkZOvGP37XLzZ7yPmLoYQ0T7Myg3wmGhnCxK99CQdz8Dsz0y5vLGargrKWS0tk/HaRdJtrA
StkT1U20waPUZR56p/v1BhU8iDvbI048LWgoSGAn2//7R6v84ubSk9FpVSxcUtoIP37dPImsPDRZ
QCTZzkqAlhSr4l1fjZ5+bDbJbza3X7whCzPHkFmy2Kn8vNM0yWilpZbwMs6vpU7YdUuC24f7aXyN
svP4TwzGv3whf/UwdZV9lP4Agcp/WzoWgoxck7iechmezX21Dn2H0SNAhfKaycb/XD3/Vg/xf9Yg
/P8NyKTyKP91i3D1lb01ffvX9uDyP/yTrgQNyZIX2jcPgj3/v9i8qvYPxbI1/tgEBQ5DCVjHf3YG
TX6lAOzA7M+Q2VE5jduy76L//b8M5R8k8bDrsKLTFJ21++8gOTgGfjwiwIRYhmYbKiAnGo2wpn96
5WsHEEbMdTyEQ2o+Mex5YWrYOjGndguZrF5pox5ubRl+bIgDiZWpHyKmfjJagiIwqQ5iMgXgLOb0
vdKoh0xQ44qj10BrmDUxpm4NcWawp4vU2MhDR0ynbeinQXfOZtNg7PZepfmPQTJ9QwZ7wAjGh7kl
XzZbHSymIb33WtNBCXxXe2U/CcZNSpT6zoznobmUT+XJurSiU/26xBF4rGIGj1RCcweTXFfXqGom
EDxMFTm1wVylNFLGsJT2qjoJuUKAeF2xnkoMqhAddbXf1fTmmxlf6lTWb7XwtaiZvO7CRY85fNZ3
QmdIs23LXa3G6rY0ko1mj8Gm84wxgW3UrtucyajZ7D5rI3mcm/Y8Fu+jCcMIrQOYZFALBo7r0Vj6
hEHolDXFZwxkKRX2bjtM6LtGbSt6ekYCL15HnSjSoSse8qfONGEktNqxrKFfyvomjGTGcLDncp1R
7FsZzY2ezPuwVAC1io/UZGDYsb/ioIYFWbe6i75+NXhKx5BWHIS7sSqvyxMhE/3WC1o6KPsoVenx
vgmRUIfW+KrbB+J02ZeGp0IR38+yhIu6HHbI4QcCUupp5fitTAZg4L65Lav23NgmJV31PEYdc6vM
vviO1BxByVodRfI6qjgnM6DmdTUdnvKBWYtCoY8wW4giLekB/1vktIgCVeQjvaHQq0TxzdTvNTAr
CmTBIbKSgGlPCiJ2Oz2gPN0msUnTg7+4KiTtYWoY5tTaI+gJX+6NtyjAoFxv6j0Wz2jVG6xh7XFw
GSpaBhelM1NepQ87G5bnhCo0dBlSZH5SQ0uMzdYpCNr/w9F5LDeuZEH0ixABb7YkAHpKlJc2CEn9
BFNwhYL/+jmc5czrVlMkWCZv5slHgs60S+bBbn5oViiQWgcQYM47LFhT6kN+Kn7bxOcDRbtL8vVH
89OHatEXjvuOd+6b6qd1XC7D2WONArDtJa6wVE5sds6I/brLogS3x3nO+NdNoyd6mCIlIFkNVRNs
k+BunrHBdlhTzaUDL1I6vPmMgKMs53tXZs6nlfgfBk/bLpe6t1k1oCgGoSmdWXBX/A4GbbLFv7lL
R6z76WvnCzBRNSXT/5dfckvjefHPJA1ACrhJE6WTE0TZSD8Ck5Bqs4CTMpzy/jitw01l/V4rEXJN
f2q27fJmOFO/7XL6KVeftAwN2ZnNt740aUhXd3vPmDlrOOn5r3SoOnaGXOHF0c1YW9zfZRT+KQhW
8+R+AaO8a93TfISYECXGSP5YIeqYqxbEzaKH+iStB705NkWr02hhANICWVjpnsQmF/du3jx23QIE
dZyKsCFEZPWzcYYSdxstxAenLe5pG1Ka/ZQtYFCcmz1JwnYsA5nWELherBc6dqadVhPCIbHzrG8n
hW41kE/IBXXdrhatjUM0tv0TKk0eCOCd56Jwr5h0EZ/sdyx/ejSq4aRpCwKxf1dHlunFrf3XpZeM
pxsHMXF1YH2JCEiaEwpz+qCB0T3pa+KcWPJViNuE5vRs0k69Nfh7HtgDyer+LKeAgVNhhE6P/1ZY
docqU+KcxDYbonEeNaHd2qBtjsRvq4egkzGG5WJnVrCCirQLa8ELwpSob/v1z5HGCqNuDiuM5GGd
FEMsp0vXgPxwGllEZc9YUmPcQ4zKZIQ+iHd5f3TrXL4hsH8DseHAxAhfMVV1/Wk4J2OByuu527pb
h31RAelxSzQtB+OeKECmGt1LZscKK9lOa6pzM9ycZG5jPhALVHVVJP9NAdmDsWQijx3/7qDsKODO
ktjgT4S9115NI/P2Teqf1EJ5hjuTtAqMGTtsa334AQGwrkCrjX1MjSeyhqjBhoyN7ugFrNylQ04A
p9/WX7PfDkf/Rp/X9wlkmk0MIPRzvm8TcODZwfgF2yHKOgDOduOhmXcOffGoxBaZIhyPX3khcbum
dH/Z/vC+NjP1F7aKBkfHOq1obUeomU2ID6YRUCKv0jIG/PuuTy3vQSBjWTCNzGqYFw0rbGtYb6l0
81MCt630M+fC5ndtqPl5Wsqf2p8Y73v07nFjeZpyWHJ8tCTjQWhUCLVVt7F+Ws9Kd2p1wNsUkteg
adM2leZw8IZmDxTsQQ6J+0jh3z9maSN9nAefj9rThupSJQFmuREBpUkC9EdaHzPSOL5ttg9VzjEg
l+JNKlJIacAEWFrWXjUTtIgFN77zM5rMRhO+GzWy3Cko+F/w9tuC0ONYf5Te7MXFEJwUWfzICUo2
CBYge8V8OBQTrJtKXEyz9tBOm8fBa/t9k0DvL/wlDjSDFXBZolk58w/epaLsf0TQuXc2h70TdfVc
kVTYYZcDAU2YBW8e3gS/EWQXFCBTMz23YwfxDiU/607TvafaKqsHwDbOVpr6fr7X0wzBeLOTtHok
y7TzgvsYBMJOaC/Z7zSO6dbQ/P+4/SZboxyOVtvCioQaYyZMHckvQZFtx9Bs5xv720x1X59G9UBk
JtAHrvojmMCJ8F+qMhUmrh6zI6vj3WaRI4WdFY54Xd6je0IeZmP6r72nhaj26F9WaT1N91/I0ZNq
l6YdmPJGPei5Y1xqD6GJXNRHMaiwydy4ZEshCU2sj3nEHzFWktbl12ga5zFnT/bqIAVQ1ByDdmwu
lZswFS/8I9drZvzAZyKaowE7WSUcXDP59TVYPeXgjaekxj+jJobmNRldmhT/sd59domO9F413bbD
woyPNzS93g2TRO5lXb41HfxLKWV78tLlaLTTcCUE1UMOsPuN3ltGqOzCRmJWH8bEGt3kYgYnCchN
q59aOtzC2VrlIdPTnZGX9qM/l2RI1irhXaBLIhhNk4HIxB9XLTUAtdlvsobJUzAw/BF3uE1DJ2ab
X6fRYiTjSow/mv6QmAZAfkJFkeYyvcb5vghu7j4l1ZFYyFQPj2IV6b5WQWjQ27Wr7v95sM2/WZB+
DhZ9PxQq1ux6PtheRYrFdOa4z6RE34dPsGqZOhoMmuNicTk3rCS8pe6GsjziaYXV4Cwv49gtceoB
lWyyLcrawn5v/lX4gvkF5RLb+g2DxEJtAi4T39XXUIzie7BmbWMXehWnxT177LZj5M2kbP20Y5Ax
rfuxmkS0kqJjPbIOc/tQ4tx94HDmAuxQCYmK/UpE/TxbZdyunToHqR5JZ4XPMxYX3coJRpd59kiq
jpAKcYTczpjSNXiA4Joe10Uvd3Nne3QfMCyWmTds9aEcY2ApkSMXNsix/1Up04JSI1+qS/Qzu8T2
LNXd/WNa+FiI7DgsTaSuGe6vy3hY25eFfX5be3vs3yK2ag6DczcTaiG1S6XnSheh/Se16XES9Tnt
3IeAYZMziqtK2p9psMuoBCY9EFPy1oiv+AEKHekgzzkkQeXxcX34xWXNk2Sf60DNjYxm6CZFP85Z
WIkblsRV2RLwQ7Do9V1y0BzyEsP8vSZztXdybb8iG0Y1EuLGBjsHjOOrNPLxNL/Yi0zCtpBZ5A/O
zW2NqPUzahFWkIJ9vtwmT5sYooUqzYsjUfWndOmXWGWOjVdpcKMqn366poW7bZb0ofSBIOUHZsKd
cYLVM+UKPTgyr4JUTxwplGP/AZ1WbGA5mfFUeNugQZNfEx/zcQAWQLX7bPYPWg4byVyGIJ4yN7iI
XT2mCdwzJO4ilY913eSPhsLoDMKuB1clj5Xm18e5Idrfp8YCIZRzaO5z8Gp88wIILdJUWcT9jD8Z
nwzlb/24XZWWnyuG+VrGwLOigXPTlQM7smkSYstLcsD1w0C+KNZHMvZrB7XFTOwdtNeJtI5KKQPn
dOq0C9lc6gYsJic6wX9oE/mCIya7rv58zmciRRQkE54bse2lhWDmu8aLpSuYoh5Phye/uqSoNqS7
EgxrwdWE7b7tzJakIY9a7TEvGH26E4RR/Tq44+cKchDphSYadlZJ3SA1shVB9iXEs2+E4yKYbNva
c+4070kqhkgPcNGtg/gpFIYy0Gosu5i7ROVFVs81DP1xN6TdK26wOk79ibLY2RIbyb0gXBsPUMZ2
FC0eFioXTPOhtkW6o86O0x+kCY+oi1zl9LSuAQP8ngyGNI1t0c0lyMr+vfPxLk1u9j10FIzYPI5V
LbV97xCyngXjz97vX6pGnw9B/eh2qsFj4YYqIy1VmkySqxeHSwfBAlwSthtc5zm7tS5R2kx1hEq1
8Zrj0Lg7qSru9IR65QsCNd2B1dGZ03eza/KtoFeZeR53YPi+TN0gRmJTeNDtUHJ8Cn0TkxIOB9ou
AoxRyq/2RuLuXIEpHoPQK44QPnHoSZPp0Z4hCfE1gDsM0CBWKT69kUqadH3OxuWjTzDbG+1lqdtY
M8XZ8XUWzvXFDpI3v8ADNWT9k68H3O40Hp4Rj69rtWy9TOmT+hoIZ5O6/6dvyHeVMlXlK7hzJwhL
A32/y9IkUUeEtBWxM3LMFsNz7jsQzPVJD5chY7RTFSkIDO5feXUSFq4/liUKScog8tkLi9I6ln6K
+QjO6iZN8diVUPDg6H8QYC1CU02cr0uHr7wfLVCSXcMm9Gu/wdl4cz1yrtqE14MDI1YBov/S1zeN
ZpB5awIQYEXz3RckO8p6dsPAAnpZUbuDhpeOFVuKMb+262KRNDB5Q0cI6754Ytn5mMZzNgUYbgB8
etww+O3yYK9DFG786pevEBcuCDRIBcSQOdDv//+nmwLlNel5VHN9GIg9EI0nJdteiLcHYUkzwFYN
A3+D9YzLec2YS7TRYRyC6qwpzEyzHpR7oJxcDEFwGHPGxSSfWTumgqPh6gc4Kl5snQt55nvA2RLG
Z6TgCmOsrkmuMWEv7Q99yLtD1ah/hi8xRhSIQGpq91PdZbHqa3NPKvmZhWXnjLazy6GXiGR1bqrt
75ZOdKmA0Mv/2R7sBeP1P7MaryKdlkfiNLTDaZDcRFRP6Xw2BqbvxcuYBD2RKTwlYBcBQ+LLVJ7W
AFKwH3SX62BWgpVjwNvx921Kd+8EcWvEIVL9o2OAvpA8PzZk53uNIFw29Zx6k5oQvcTIqupjFvQ3
lYx1pFfiZk3VY+BjdDB73gGyleRXjDyaBgM+YssipkVNXpd7KifDeurVxkssWpl167PFh7bXOLnF
Om67zWAG/7UusMUVCyCetSKNlm40jsH4LxeBf101Y+8IkqyFfVEjOyDwu6+kW0L+Tnouh/oihrv/
OKcBp6EKihseplkuT0t2MbCRJI75SmSa3JQIXldl7oZ11VlhBg5CnKOHNhZINlsXTkaoF15AOqq4
ECsIywqupI4PIbanheTxqS8MFselLLfEfV/S+u4ylwCBOCwJRuVTc+q406/D+Mm3g0oBWx4n/gMo
byb/nVOBczTQ0b4JqqFGCRmnRu8+CFwVMwDa0cCHVXhvvtntO1immWGBIlkeuBqG1C1G2YLHOlBk
CxlV14DTcSDSWpTYEW7Xm5UkNskrsJLCP9gZHK7OYj2ySx9lDNNiWx8ave3CvI+cpgJOQMAfn304
TVtlqqeCrHePDW6q1y4ccT8v2mEly4YTjxcBjSidyo6aYUOFJs7/xuIinttvSdUefYTHvSfUu+rx
F3Jylfu0bottlQ7etgrwmxZIYKBAnO2SFlzZdQJlXKNTdLj7ZmPUAjHFv3GBza42BZZ4jHrYs7ir
/TxvrrrpncqhKh8mrbuVbR8truFe1gSXkckJ+uTi1tTNdj0Z9LabpIbT6WLl5JIxnOxdLLMGEfQN
P44h8gq0sOI1wVkOeJSrkThDALwkAX/irCCcgM//DEDF4tlnUyo989tLqvnZmbOtKtaV0mBph4Zr
X4lwQ0Xt7DmaFBDZvmC+PrTWeKyW5aEo4P6ZeeXhtEyaC4ItCUUjM1g6yIffOYCeTB7HuoBkh7iL
JFwxFRpzDuWcTTzlfmeyHs9lf/Jn8vvmW9tWLuHO+WEaJD+FqDiPw1iFhWtyTVn85Fh6b8jbFOM4
2Qf8H+AApnYDHYdz0q4eDbZFXiecTrTpuDB58wcbUKGFXiIGrrfL6hJ/V2loVzwR5Mkuvg5Jbm1O
9RK8oSgzXhkR38pW2/LmZofcNC6NqyueuS502Ac3ltdi3jZwrZbqWtmeF2EtO/I2ufe44HYdUpx+
XSoBLeZcrevpmxU5OAbLus9HZqsmAJRoZZeAYsJ2ZSqf64c9nUqJmbJITcrbCguXLOwEAMFqD9kF
iZAxF67r1Ys7ciC4IPhIXaE4N/M4XUF4nbIRjWPm27EjLfzdjNU55eWEPGL47bkrBnbKDWNaKPBh
FgtJlYLwvLMwCfbrl6aqq95Vz5IA4kUjel+lXbZ1gkGP18J+GrMRFTggxyErGpGcINZXSZ/bIIcI
6fjkea26Onb1IvtXHesYQWDt1Ixavs+rHP+VZe7rKjkt+f9NzeSgE/ATom3sTZtWabSK72XsgT7n
sORySfmCyQ68yaD9+KsPdBs7Jb+Quug6B2wTpRf4zwx+08NdOHc0IFgBRDi7d6LVPFqasUDONODB
oUO6yXx0xjUD2wJAMePWhqOMsHye+NCoYU0aPcOJZj5MpRoekwY7/9I7W1U3j0AtoX6Odrt1Yf5g
aeI0nQ+7AaAYfqsUF6aFWKZyph+rk9zMWb/JW2cP00FDK4TaTDhWr9dwnajFAlhwbDXjH6H2F0j6
u3Ky/jQOO/hxJvI45hcF8lV4DyImY3Dq7pfWUfLpy8a5QKwbj0s3/2izfCqgIIEa1TiUBgFFWLb2
tPTkH/sO1wtQgyBWJl1nBTy8GagDlBl8CQVSSJczJU06QZ1f/WLWsLl16zE1Z44YlnmobcIr2YzC
1i3Blorb9VIaNla+VUC+rv1oLl6oO9EPj87CMZhr1gPFFWQE0tPIfHsLR+dqcOndtq33UbXjH/AJ
2gTLUoaI6WxiqAP2kquDlQrYN1pJNdJaQFsde6SzPMuxTGdkzGy6WPGaZceuhs43ATaIuEVvNVHg
nSrV6+wROZi434JHvHTT8JRDqopN4VxN3BIhWWYcd/Zi3296etyK0ohN872bxa0bYZRYrXv0ywaE
8sRxrEVsZN+DyBn4x7ZM8r3VrxvZFFQdpw4K0iRZn9eeer1ux1GOVsa2t/cOcGRS9124+PVTx5DG
mUwrMgLGQq2SJHGr/+AYnkb7mLsmlHoYxdGacXIjRziGkyB/4Dv+ByIUF0C6RSrpe7t8wmBnW3Bv
Mpjfkl9XhZK0TOQIkOsDVBa/0g78O3ZtwZgKjl3JgMPWWRe4KNZ7x067vZyKr9Qox9PotUeXAw17
YvBbKK/cc+a5jFXf7iqX6M3ktpz+Sp70Mp+uLTg1RGEAQ0FLNQt0BwmPnugrIPQsbqkFbBhqXWpS
/4DZiX1MARzSXo9tQxhvQf9v0KuAC2/ShRYlETk8Gd/BHVmMFFLeqY1kd/O52dwVNc8mfW7iB+M3
1DnLcEfBQfs3r/8K41c1P54PVfOT85Korm76LnuyA4WPClerlv2z47UHmtiJ8t0T+XeXpH5oERDg
3MoldjYptdD19b1OmRjklhF3TvdP1am5capAo5osXTd8016bgO+3DuZyGckclMxa+NX5SjfQ1UgD
QDOtTCIzuqAi0RzT/pR6896o3W9Pjb+tU3/Raj5svcH8cFeaIf8DWv4wLEt3KQKL6UVNDn7WMhdV
bGz3Xdd+Gvk63QLx0d7xNJqRogm15bw383q3pJp39MDYFS1Nf7pr/hDWpqnMSK0doNsdx/ov2A1d
nE8eF4/5n99zaK5cazqXBegNzwC9OratBcyebbeCh3WZ8zYaFvOdJ44dq4PtBLf5s/hG5gF84NxS
0/hFuuN9sL+WoXhPgRVTEjJvMvY8Y+bljaAygaJ4h5V3JG3wc7OcwPJe/edBZnHt5c+1WRVncP3p
cegysFUpCSdg1TuK0V/NUpwWnfbtxs/+ZAb1zqEosZkxLVfTSA5aW/WdJ/v/iBU9WcK+1k7zWow9
VWlqaZk7BlFlGf7RktVTWcs7PD/9Qx9/4WhsxQ1gupNvs7JBGtirAQrOaLUXfsebxgE5HEwrrmCn
w6eDM6xrIlb0BZx6l8EXim8q7Po3ZdzYiPY8z4k8OmDMVpK+aF0PY+sg4As3sjTQDhy59tNILUVg
wwvpScZXSAuDPr32weJdTNutcfn3HPV0KtnHHE/xqiW0aK+S+6fzU5bryDAHKkcpGOPS9EPlmDY/
9TNvx2TaWxe2exyoCnpekS2ogdFU+dAE0VhfZuU+9WawvzdHoPGCINCQUk68KbA2O+dZQ7k4eUaw
K+uFRD4UBnsGit5g6N/OOcAvW34PgcDkZKYTQzWuZp1bllev1C+l91J7dnpRleiO/Vo/CM3XD03W
XEbs3VFBcCKIjGEME9xZCT53vwIkWn8htpyNptrZICEbfupgi/OUv0FE2JDfoUKjj8us3SVZ9ZNN
5FHm9EBif20ZGs0XT1FGUyeRV3yU5VuFSizNp2ywzswMwsZ6shGFXeZwGlgZCWabExeQAsogSast
BE2g6TGofBPpj7L4HnHgve+ELZNYgyl9RXSoe0jqz8n9agC3pbW44uGA/SyeZz7U0XL3a4e2zEa6
XzPzqBnaa0VHNtj0rdQKMx505nZdgjxqLNTqCsblUOtItzlXD1TAWMhHHaGLbxpk5sUJ2aM/a9/9
C+hagDiyu/9/5NhqTKCtam5Uw4DI68NBlxeKla5eACgYJWe3QMxLrf96CIg+RYs+WLdp/BeQaRsz
eKHMGhj9biwMcYWv39RMswHxOs4hL4316NYwlgTLp53+LsuftFzeiT9Vf5UIWkWAYyNtds34UYxn
nTYSPUPZTQXYI7bvElHWpBi1ST4cswwVlSAMq5HK3gzkaewUJLngox2mETbtDDaqtaLMx0UCRMtD
vhG1DxM8o0tDZyElApnAfXKsnfKYTfhRJn7N4dhWkcp8UML547ykbwvQ18DPo6UprgqifaMhRaJI
UiEEQqbgktO924wr+/qjDiZgf9ysjfqgK7X12ruRnomN/BsASQ393jQJ9GY84zi2ybIqwz0yUoqd
xXxjHFdwm2V8wpwHFnc8Dhi6hYhdb46bVN82cn7JTPFuwC1CUKNN2QAIsxh8d0mirMnjot+smhYw
a5+lVr9r5bBBewobdccxTbcescdWnx2TjAxYZ2s9LASyqzQ5Wfay4wDCilaiARqxnV4Tk8+OC4Dx
6tKuyUTnKMx2192W+oZu/2i1VwGdJ2Be2coTpmALII7R8642+9r6dCaSwPWHL2+VV0SD14WE63a6
XHeD+zTBqdE5jcAg3VBXs3Na3KH5xXL9R8FIg0vEJkB01Owk1I06umdaPBKJTd0cDPELGA0lU8a2
8+1Md1g0A2FPh5fEr4BK2B9HI4g0g9oCEgb4qr0pVJN5FTVxUqM8u6DPKK4gBPTK6OMOaSQWhNJP
8GXt/+6jAheFO3XURlfjKwdgJpH31tSt6py9G4gTQEcumRKo72VqnvIx+x24kPCXXibChLkmTqKu
T3hOMvMTGi0hYBH6UWM8cYmbYJQKHEpZi/Mm62+txeURwGllp/azYk98qRPtRZeiu7Y1CZMVyM9m
JUfQ8oyQTAwOCmRlKFRNWa4MukM5jMsNAWzkfe+pBKKRpnCn/GqLgHgG3Ph1/IHMZTpfCZ506oTu
IsE6tKRHDwt0+qHFkNDudIoWKIs7mR0nCTkBUELx5uUSt9xlJFo4MTFRwLoJfMn+ymew0JUuPhqk
pm2ecsZ2UtAkWg+ax878G5klZPYVr5HbzBFhaQQOTNWwXSJXH/68FSAPAnqcSq7ja9aErYSRLllN
Biw1WZOe1Gs5j/9EuVJQ8G0RyzACP6ws+TuA9fYTnpVNp9HmPJqvdWec8kq1m6Ew/bCckthluWWT
YYMgaxi2xhIXs/jWiLWvloM4uC5RVthos/KjTMZdgrO+EPUBPO5hMgcap3MHRbU6VR4XqOLRygZ0
GFIx9Wv5Tib/qVtcG7cZ5a11z8CvF9xQvI3tcnvTGFYAfqMGiJ/Dlamil43y7jRfKUrnD8EDuzHN
O0yWRY/auCeluAOARbe29z57ZH6Y9zAzNi9adeo49k56BoDK/mk72L+EGz1h8CjNJwCv8ZAtxyFw
QredfhRC8Vyo0+JXj6qb/xuPDGLpjhZvbqV2KHnE8LEhzNgCOBlU2c8IKGYz5A64+Jyrpu1u0s6b
o2x4nX0yRFRi48NARXaiHpozEATjzOSdnKF1nw8FFLYQnVYzJzzKUQZzV3p+nGZmyMd6bwWJ+/Z9
APnjLfOh1cg0mOWNc/nV4PLgtD92j2lj8b4lhUWbuYJdNkyc4LIVPar+7KsC0xgUQ9+4qrS4NV4R
V3IB/z5QVuHSTpFZ/Ss45HilYdrmi24TotMLSHLVd5M33+bq/uj3++g9KrT21FXMgDYppyKirn/M
NhYQjxxylYKy87Wzwx5sBcnJy/hGyGQ4DzkZX+wTzL178Phtab/XGvwHaVxkNvSnezWI05SPwIqD
3Uq2MPcUK6XGRznAx8qN96ojbl5mGS3lTkRgpRwmLtyjlca6AtOmG+LDSakVcs2HqixJcbaoP9mL
GWjucSw5L5oDQ6RsZUhXBkTKfS5i2lj4UCkUl4ER38WIa6pEOYiDzomyhr1sqp8UdbHmAQ1y6+g7
mKHUN+FrC24zCiDlQi+FrvgZrnqyNevNSszsKKe8P9d1eyktmNiFTEiCJXxNuoKKDKzhEGjhz6UW
aTZW1fJcod8oWzy4OQ6haTlMhsfk395OnYJdiiWMf1tO747d0uoldkle3Kzlx6I6RtlaPJfexmKp
mDwajrxqissS2ubsHmT3oT5yOPfd5Z62TbUtjFmnWSk0ZLQWbJnpkBeGPR+b/Tu9amoMwn6WeN6K
nY/NKB0uy/hZDF2ccgArPT02HcbMxbobjU+fZHQCgzb4WjgadjYIgMKcnywdpu+q09YNHr70toM/
7yakXy6RRKtkmFetex4qWB4UNO2X0gwY0ANdc+lGCpLqd2AiUXaUSWAHKY+yHTBxFxwJlfrWTO+t
JEl2b6XuFs6tWg8yipR5EtlLeq3Jsbn1fEwVtRs1uNtVXDTqD1DnSv/YLOLXwJAZWVLnWXEp2JTq
s00WGrBr5+ryfTt2nuZvTenMUQXMoBqM81QWV3gtj0vnPAWqfEmTddctRNBwANXE3iKnz0+AAtzd
UECKJiNcFZ8mJ21JubutdjZIP5tny+fzJRELo+4FAPU2gyWHP9yEGY4B63K/fCZX0fw06kzXkdH0
1H3cvVnsPR9lxlkfQOkCt8MmDj3N/VPDnIzNHO7Zs91TS0ZEEPwENQqRmoJ9kr90d2Nc/acPCYlm
cGWuFgrX3FaCy6uxhA3a3QhnDorbtrfX3dLWkSsJ0HaXgPleb9ivLbvqklcXgVq2bSeOXs3vDAIE
hTMO/MdmPGmj/5DTLBEUaPMDKeF5yykjXqnYMVaGnX2L7fXjjjUu0ydXe6zHeac7faxDuU1HZI41
Y1/t9+3IIO810IG/SNojUcjNnGbyrKNkZWHjfFsh/+j9roOA0GH/bIad2T7fwe0dUbUG75qewt/m
r6bDztbSnWfdhXJI7Gu2XzhUdFCcOeLzM5LNPRE80vbGOwCnFRFlnsJ+1UJ3RYYA1DFJ+H95xPBz
2+Ez4O7lxbPosFpGMFYkLkAcVFPOhIMjeue9pvIsGSzdD1/4lmtl7WtdHIo7OQ+YQFZ0j+1YPqTu
BaWf+YM6+3q3x/0cZau7SxlXtuVhtL3n0ZPkzarIZVybIL1VGeHbUdsBC8kX5oLYQ6X7X5UbMURN
QpdMzFadkGkl1iOTswgE9oVJEcibmcMpXEYokuDztPmo5gfOx6hU9dmG4srJi2aBnKvbSiBVJVwt
+Sfb9qkM5niY2mtTGDiDC4JzrIyr8SwGIuduOlIoOuGovOfU8qx7KMjfrTm0Y/wRlgyVxOsQXIr1
McVzubGdS+8ukaoF3+6SagCqW+q7GGHtvGaK7rK0AHIJZEKMY9jRQ6Sm/iI76MNMfUZ8tZm8C53Z
kRgvPbDdPigci7x/vhDPG07FgJH8joXQrc44AwVAflXzv1JwZGiLa+n4L4mlnblpwKsLHgAPqBIT
gpkeOanOgPQ0vHFl4r0GDNKoVIGq3hm8zO/KxHRk+c2jIIut+zhJZLtplREGeCwLsD1DCqmmfkT5
BtHwQKCUZDKni3r6yzv81Q1X3sQr9DMVoHzdOs4B8FHcfkkjpSAt6n73n21mv61Yn7SAJ22lcXnb
ekw89k7h/4FSPVP3E8SZlr0lkHDxJX/A7HwYE/GxGs0Bu8J2LhAMtMI5TrPq9raSt2zUz23GiJ1H
Px1dZj6jelJ4b6I0fwXuajJw0liQF1+GqwELFUqsqWO1zaF+bUaTCr82AHO/MvKkV8wPxHPa4Y0M
KrKIX0H54cGuNvCaiADxbzqzWse0VLjSZ18HGJMyxBHdh4COJBlPmtmbokcAA/AFD9rdSuZpjwNz
h72ZmW1U6vhMl8HAh02xBkpzorpTlaqX0kdX0LumC3v5aw1DdVQTx0a4IIUi1n0XqIti/RltaEkp
bCgkxeImVv9f1r85awvy1NWeVkp/Ne+71c+ywTVpMLla/mHq54m373c3Lew8uSMd9mYqRGi//aLN
JRK23NuMIKhSYhL3O3vWa1mJnbOWTBwmqpuD/ybwlKz6PQdM4+ql9/QmjYiCUR2o4RG7LIO+C+I6
yeoy2BtCRIsx74zJexZG+rOMJ1Ek+h6P2JHWxrAruFWWc7kD5F0u+QNzIAbCeB39KT1Tj+jt82B5
1HQBWzAZ0pNm8KT24ggimKu9zhI2T3t/tHeeSl67QLNDwU+2a65nd1qshalm0NxqR8If5S4zX1hv
P9IZXIEPuGgD5fSx7bmVObiw+t7eciRCKcmIs/enul5pDZi6WwbJmebl9sIV42BWzZOkGZK+gHmj
VLWvfP1Ts2yuzcYvPY0QHIYM+3r3od/1k3KOSTGd/Ew95MKiKomKo+mQpubzPCz7TF92lmzjvMER
sJp4nPITtueNHIDF47HBL/VZL/J9gtNEZ4cOHnoJnbl9GdYa5hnPmGX8j6Pz2HEdyYLoFxGgN1sZ
ykslV+ZtiLJMejLp+fV92IuZARrTz6hE5s24ESe+ZdNsnMZ48h8mnzYnJGyD52LPM9n7ms3OQtMx
txR2gffSqb70vksPWGJvjaeu3ZLxJhA7V43+Afa3aBaxHszMR3v6ce0oWLmk98n0XLQkMBdEbl74
sW7sWF1FU3ecMIAC9KBjD+zzXErCcWywU+qHQr2wOT9oFtn72DtKUX5QzQL506LTK2eGECniqHNp
Mo0gin0py45+PVL05iy/wqcP2Mx51cwK2fUKBpCh8a4T5TioMrco+cIPQDXNgGwZJj8LUvmb3MT7
Ce8cTchnyj5jC8apVRuH0OXtalmwbTy2b3ZnXLOsOOqWt4mjn4QW04JVgVRfR2zSXUP3mT7TDJCm
oPyZ9ro1y3uhyttU9ueBFbPJxbnxgptdUVADW6vnfhS2fmPSyBYN29ij8kXTlmkV3AyGsaGEWiq/
MEl13WMufoOL40sIEiZwGVw9ny6I54aLojE2S2PiA7TeDBSgDEHYUEJ2+/Wi7E5Ge4xLsJ52uPIE
nQdGdCgUsa9NHkj+lT0eCloHzeDZherZC/tNzfGR6EfXYYm3TBSg+JG1q1nqlsawY555MUZwcSbf
V6k2sOCR9FCUYnArWblxQQuXTnQJgaQohdw0VHXJ3niUhoulwLwJnORiUHeReMY44pa8DRpnHzGJ
lCqOBAJPQf5XNdZ5Qg0a5zHSNm85etVam4pdNL6mkbkLG83ZjLm1NbWvKSCZMvZocZZb7+Oct5Xw
wYnYfm5YB/puH10KcqkQrCjzTjxSTOcwRqKrEhbjKr6qbvIRMxd0orjrffOutdFRm9vRy3ZKr9NI
DGIIbiPrllCdINN5jzBRVoGDrDBimRWmug7vwYBBKWb1Yo7ydWTlC09l3QTKQbbfaqP4QfeO4cj3
2BwQm90UgevbA1Qcmo8Vu15lUb1pJakm3L/T1Hw6WQXqFbIGTzUiT1RuuUsf7Bhu3gghq3LDQ46i
54T6nsB+cCAjXizssnn3GtuHrk1DhbVBU2g2Df+XTjJ3NMR0vXZ4T1t33zY0x5sJJcz1wNxGi+2u
VG0K7YNsrwzPaZZM62+PgIvHTch242OQYv0rk0OWWbfKE/uuTm/iVXTRwQveyqHgfkbCJSRsNcwN
eubYc6Xu9e/Gw75ANIviWRvYX0/fAvTYEjxfznRNumqywNQFfKVgJnsYJldAsMphPDFmVhirMaOx
93P8vFUUChygt2xBab+YGtNBiWdrHVjNuqVMbuHoSFONgyBp6btG0zZ5lM8BCqojuomUp1PdHTFr
YQl+yO6nh5FrBul0GC1vX8dwM5IWDs7kfI1u+J2VhJkVOiUdTrxGt2lXxH6Cf5bJEecfRQSZMay9
VJy8goWSa5mIt7zcXefIZ8J+I7gPdAosDa1dmTh4kkS8azoOxclOa2ZlrOzptNGGMuG2DJmEDt0z
Mx2eMnuJ3XaZa3KbZdEshvA1pB/AoKOVsD7FGiCs1k5ZAZRkA2oY3PZY/sJXbvZWYw83F1aVEw3P
xMUeEU1rJgTK7TLc8EGdcm8rp2odmNMjwFjp2NAqByyAtmF98f54dnQHWeW/wabnL+DyldV+FItN
JPol3MZFQTxwOSrpFzb4ueHLN1xl7bTUCrox6LKmZhPtih+JE5Bt20deFBfLokU0CLFnCx6TkWHc
u+Ssmin/RihjTilN/WjY3i1QQvpXNkN4F/ssS/Ze6p1qk4AT42SgN9fRQj2j9goZ5lna+nlMHrVD
d0aD2A89SSsY9TtKyfvSHxv1oLEGHqvoWfZP6axKe9iFrvXSW0An8vjVVUYoNdRpmkp9lKl2aQft
kjBr1IZwWP1Wvsv7yAm/LPMkCo1L6m/swkpK5WbQf5MMmCWSDyi9wWR10j8VbAKStVOfdkubxhKu
6RU3e5uuT2oFEYWQp3KoR5GXmMtYlXhzjUdsyGeiU0SZeUed3YxaUCdoYuNuK9YUogJEH7fnatQI
IQWvYXqze2fnJMmKA3Mn6uCniLE6ONrKaNmPGcmd2z+GnPgBKBmgX5QOS6UjJcHOZZNVEq+TetJq
e5MQFOqulEDuq3j4XbgXAqP4wEb7TUEe6mVBHwHWhqSzjooDRMcZi0utGtuAe1hhFQ/VLPdjDQSy
su62ltCljVOTchcSEtWEodveNo2DbgEhenbSgCEjQGdqxmGueF/k2pdrGLieU8xEgn6VBgiklWWr
yTKPGgCPMNOITmWvYY9AoerJmf3+G5rp0a6tTzpLZw/8umnUWwC4rBdIqNy4eeFsNYLzy8KuMasA
w8xQfDhT11jDfa66pzCQHJ04ygznW2hcL4c8uatBsEn1YUe6aAsnXauVT0BxA1YbPBfIwU69b20k
3p5VBY+Glr+iMvLFTx9RFTL2B2JtcJ0IuZkNVudrtYPU+5GK8SuRG33SeMtV4hvhZlcbcDvL4U8G
3AEiAcE1nUXZJnjUWnHtqmaplPVfF08nwzJuI+ZBTBmbUlce/xNbY2WjlhGHTnHQh2mZaR9GSGCo
cumu0vJ9GNNN6YbdNtBdDZNm9YUj+BOjhm9JlnsWcQBlJp0qnXFDOdFluQ+j9B8Fq9OiTar7kHCY
UQ+xSPr8N2yT96BMf023+HMH+WEGxBbr2iGCwau8Ds9xzxqkvgkB6pU+HBoW1U0Wot4T99DJJM3S
eaZt2whhVhRvGT1gUdrjn+XnhNyb5RaXAN0Cj6dsFfIEqziHHmtHGBxqnhrX085N2NM8bX8ZrJLq
bjZSF+pdwX8hG4SXJDiajv4emC2spGj8iJLiOLIA7MFA5cTjCAzzweNjj5vVRBdoxHFDyHvZc8LE
CG8g8AfvLSuGPRk/MrpcftOJK2xCmZlu4XbTHJJjurg6s4EX76XkMzYM3CfYWsLQ4blClGadUBBh
HB8pE58odkHH2RP+6A7b4WIveTv0EcQdsC0KIzqevHChZnSyFm5TLoDH/jhQFlaWmsE2v3taqa56
gz4bg1csQyxNCit8/0d0gVdkQYhXzIt6SHRMX3Yu8qBS+L1af1aA4xtvmwEZUdIUMBGU1lK5Or27
it14U6XjmvXRLXGyJ/6Ne1JAOhmJmfU5vnUIYuzapNlwlXYoNi6qm0ySq6aMb3TAy7JZtnV1iod4
FznfpCv3pRncSlOka31eKRWc1qFyxwEDqJAImRCdWI9WhU1ebpxA/6gE3ykUhi2lo2sshMlCy6xD
5WytovwmtXImt4ZbJS0/uVfd6f0r1k04D9VWvZRe8C1luI0pRZ3anxp7warPPY3BGuXKm3nJJLu8
3HvWUXcaRbocOph3pJ7xx0bBD17ipdZOH04CNBdZzSpZ/eAav5JNlmS9qbtZmwYWLsM4EWo6RqP7
6yBbkNPEOGsH3sHJX3Om4cobNpUF1zRzq9fajlHw4qXuPkv1oxXwHKeBh5OvcugU29rT33XbwqvO
6lZJ8nVjDVfRWxcC8vvEwwYzUnpOucvCRLEIG7HW3PEJ9zHrdNbIhF4ms3gOFra6WqcnMowsLLgV
8R1ItmE1uA+dyYecuvNesbiAJosBNPr/bfrTjN85/DlaTl48yHUcVp967PgiSRlCi7MbQbjJ0LQz
TJBluGV0k5qCWa19kjC7lQ56jZGOe7d2n6HxDJT44k1OtsjwOTdsCa3iyy3ZgWH/zHQqOljIOmg5
TNK9P1RHL+3vpiZWnVts8ozTMe1XmayWLau9XA8eEXcNosV3N25ORNqJqNQ8BgZeLKn4YQMHp0+w
+2rqcTLCs0zxOsKeTA3C1sY10hnNzBJFOKD1rFiGJvZ88rXbTEn2sL4NYiXJP1X5FyFdV1a2iYxP
dnsw3vqVi+6B+WifeqRQQ5MPXF5tie3JcC7zGAY6r8Ip7jnTG8KylAjcU7yjOeGFGOeeNsZDqbqI
v5a6TnmzRU5+LgV7OretvyLaj4XhsEupHxE/2VoVS7u0747LrxCNx0x/pVudPMRSZY0oLWwQCgWL
On9py/xhf0lhVun6RGmJHmbUG3Qj240UQzZtfdKka8RdEDMhGNdgLU9VNt8Rq23eSlUbAwnW7orx
Thv3YwbSYopZVeRf0hTpVh/jnZhmeRSDXtb6YwqjmcrlMG9vpMP9gn6/IFbCVR5CH06J/DTnNE9R
ZGIWk+x9Jo++JwCSV7Ut1z15boHyHIBHNkqabi03Bd35SPt4p+nc7YvxQbTzq8lpSsW4Gw/RZdKa
axHuOXNR6uEho/bYJg0gNQ0Rlov9x0NFxxenwafwxK4ikBhgNbCmmu8SVHFiwKqfZNmrRXiE1R9S
T3BSyCfUUUYmmoy2We/7wrt12rWeXkxL38414jo+KuXUej9ppizl4DGeSSChIAqofDMxVxgSg29K
YHmEKQ0V1tYqAsXOp9QNDoxrVMqnZajv7YRCPMMmq/JDpMFinM2pJhzzeOqPEAT2zCcUtcfONh7S
h4GM3drdrQ32WvFiZfrNaow1nLyVnC3igkg9PDSp83N2J7/N2vMgcT1YZ8WwdwBIvlkz+1mDxM5I
bmIcMbN0H1XdSwU7tJwgXFAtnctfymPJMrDIyMrxGBulb8471DR85Ca++p48N5dymLO0AiOvLUcw
oSzpPgvVBvyK99lRj0wI94hQ5Fyv8ukyQGssOuvofaIDsy3Re9sh9GYj8ScGSI2b2rJvujO2XLFM
YxvFlJzFCFIcZHfMbAVG/BiP3TpPi9WcLKtrcRxVW92YFqXCpRkhmYW3qXVO6ZA9ilH50GjzU2R/
CALtoXAF9cJzROtlQh11On630nyvLetI9dEqDqkMaRPrtYJZp6cSjAY7EdJ9sK2VbetijLeDQ27v
w/JZclS00J6LjgoxhyU3hO6uA69YK4QYzS2dvC7YDO9pNBFv2+owMmqIwlgT99jaih+p2EECgM0h
RhU9o0Wn+qtM5c0DnN8mDCqg1G1z2rZcvZIwA8nNuDNKeeJlvWxcJPskaGg1Gp8ATf+Z2fhSol8o
PDRCzy4pB2JRK7vEK9mfdTsRdIjQzE9lT3G2G9hXHTEzCNFWacTidUadLa4NpYGtngaIGHhkBkre
Q8qyBxIr3HVJsWvDtsfYkEb2te+uuUbYI6k9BNL0KHkxGjUReXroB+ywZs/XMB9fhJJ+kqZ8n0YB
OGD+q6EVjfnEN8o2/9ltRpx5kxUjkFI2bg3VjcbrWGro4WF+qhXl6JrhQjM+ZPjuVcwycfbp6TMF
oj1IaLORqm8qJGreUdNXbmuXsfb8IaO5NVwW2jHoOz9D7kwpGY5s90eqZGJJtMHrdrVrVE8Y6Wtk
FdluAzv1dScV0FM1kgWVd+Yr0vEiqNnRG/9omjSWQYmLIBbbQKXbKU/g0FZWtE5Yq4d3bg2+TJlz
i+CFrtQtbR/LJJzhmpp7T0W2oYILpBcVUST58aONqFQ1WtJbNsTXJiAxj9uIcENJOl2vv9E850JR
cDlsfucXMH2NJ1fZtAjACuTEcmj2xE/2+Eu3LvYBkbZ8hauXwP3Ft4YAnq4I7TBUuouR4cptFlFL
gM1csV5t2OWN6p824uoPoqNsTB4Gj3t/uFW1N9ccCNrgn4o3SLk4izBHpctAsI1PZkNm+DIgs1dY
BxbSM17jyl4xgVnyVfBLw4+O0+8seDrxlvXGb8TIlCfFXWXujaJpF2Y0gQzZRZ1e4rHeJ534URRj
ieF02bfNe2jKPQlPfcQRk+cWWBKVmWQ2GObqK0iQl6TwzkkSrwazfLrVuKw4BBUFa3mo/wtHueaZ
P7ZGubajj7DeD+Q8A464nOQwMRwBFzcbHw6jUoZ+hIrfbViTMAJ2i5EER1coy1tE3h2f2xKBY+11
yd4eICACkG1CVgp1vR9xTbtdvos0HibWXUHwm2agstsMu9SPSqYpC2+O/BuQTq00WsSE6S1tn7jT
1fW6FxWctF1sw+DPa1uOWdqFJs7e2jeoeIw/HS9ZSx4rNJfQppiYJ0mPNX69u9l9KKOyDGW9rXjD
yOKfkaqAf26aqJ52Ms+b1kVJCPIl27iWICewP2opT6hpeVzuvJ2Bm2QhevVcRypWZgDeKu8uM3X6
l3ggK22IbN/BUWebdaxdc+3k3UqVRNiiMx8iIAc8R94/FhjnbHhVk1PIkazMkWCeDDu5KxiEerPn
ZoKCRedcbHVrEAXbuH/Mb0Hqt6ihG5fA0K5O+sMBT4hioG+p/8uKfKOw6u2yv0of8AdAkS6Sh1G+
ODGJ1r+IfaduDLhVDkV+a7h6x+qXa29BHSyFeW+sfKNRG8zZyADzsINrjMGc04kSxGJli2dvoguN
F2ZunU0sGHIfnrGGLRYQfa7hZTRklvhprzIdCXIvXV5/YS78CGH1ykC6Gz2y75w3y+ZaW+zPo5jc
fFqOb3He/em27iyIrbQr8Cfp0kW12BrpNzcvOMl0lGWoEfha2bM1zT+9i61nP7hnqAWbjkjb0ekJ
D/atehYFsOa2sBdeWL3LTtir0Mrc164af7QK+nqBoRiml0d5Blk20DY717okrRXcSWS05DD4bHXV
/JjS6TcGNCOUhl9QYRqrSSmhPIqNzHVsHU5erHMeXtulyUodrXSX65q9GxDIEFS6b5WQOe19ar11
ihs8ofIlSx9s20daWGoMs5VU6aqoM9gKT4uX6xh89bwAoVYUzjfadDH9k91WqX71hLKrXY/9OvOe
OibFMec6HGQ+wLylhnwReM4iV/8Axbdj7qOWSZULU760vZ20wYYlPtQRq/ycePF3rFVGHLTMkXwh
qQYHpTP5GKhYCVNfuChMjI187KF9CK130oluvNVjSBzVxYYvESBCFteeb7NiKLvRcn1N31Bgx3O/
T8slMJSlaPA4FT5hXgalq+xRBy81F/vK+sVTbMas7omF290Tp6iHzxXEhJ5MywmPhPnMCfjZwU5C
PrZCSBA9ZaT4z+VvjD2E5rsN4dGl5f1JpfUrsAcJnrmsZJVV8739HfJwNTPM7K0peMpVXzrMuPjg
JM7s+UYb8jrG5jN4v3F/0sWzoaKjjPal+Gnki1K5K9P9Gvp13N0T1GAyJXsko9jDBEhvSUa5jR08
AnmogpnkawKGv5UtbTeVigBzCPudy/s3k3vSK6u+PsWEbFro2s25pYqm+620g/fbjVx4tT1PylKJ
d0X5npUSC1Z0zNnkFXV8aOSZYji6gN9ybGj6uFBjmLETSKPKzzueLaRI7uq0e1PEo74BxFs45Yck
y6mMqyw9eozdZlT5Dbq9Bc0bsWU5ewk0NtU2V93CvpUV+gbWcblQ0fz18JwG57b0aBT9AHkAFGYR
8sSzKSNj6LaYtLm06DGeIIoLPv//5iBmBD3JQrXYaBlTgzsHyrd21eHtMiAsrx2a3Qh09kidDT0A
EJht619Yu6ve3Hiwx6aE54ADyZsuXCTA5JXG0dY2pn1N7iZpxEpi0GEAmeI9gCOyCRRWu8u4jXcK
pzTLQ4/wMeErduTQctgx4uuy8Pnt1YmwNx9NRrRmJL1dww5XafHWY33l8NEkxbs9B3iDhzcg/iKk
hcyjcfFW6AP283+pQbqBMVGKq3COuVofnZo7XMW7UlmK7qPhUzY5pHReUiX/25PVa51raJF0LSB9
OTBj652LmSgv37D5obm4zbnDQZ5ZnzgFApUTgtaCpIckRlmLRcAjgQHRVxsdRT/q/cjeBEyRlbmt
6WkI8MBwSQS9RsSOEnWGnP4ZACaQcNSy8icv2l1KzIBGCEpR8b1seyvehlO9mCrMJhhH585ch1Wt
wXUkZ/s5f2HMlWsjFRfblhUTsdplZH06fGqlHq/K8VOV/KWmWy7NBTgDWbfb1nx2nMlDzHem+8Om
idMECy5LJvZAdGWuY1ak9twJyKZSZ41qtAk4FhCII4iiZu90IBfZ408DxioApbhmXYvrNW+SiGe4
Is6QsmAemdIIFemI0oJycw93m1c8CpE/pDZ/r4mVWjlDiJaoyy7H/se2huda5Y+QKI9cgBTqw4QF
uysQr/T2q1FsgCDjBJIUwbBYTeiXJcudsi0gat8teF6sI3zGu0iuvQDufFEFlFiTV1pmLc1WAHLa
ZU7XZ+HJWYlEcA0EFgNTDK0fNzNrY8yMTRUnRKL4i7IlWCnprs8jZVOF4YsZ5SvZq95qQPIRYZ6v
8WP3b7AsCXzW30VaMrcrVbkqEis6R636GtyD0mhZbcTqa0hZcoCl/9FyzTpYTnc3cCP3IAdnmEps
o1zabHhxzWIOsGTPwPqWWAJHMI3VVoxwhOiMn7ubFMB+VFdc8s7ElO9sDH6wLTs47nxIReVydIc1
1KrdxMKKlwlWyO4g0mvZvbcEGQP9bBQ/JOMW4akNXnGi71WRwEGpdwEqjoE3jKNu7ZqosBqxQdXK
3gwNMkjmiOT4/3/RWo57vdMOJhc4jS25Z5A/VgvzLyn6epXbOIRDVQrIhtpX2Iedb1WskMIAApLV
ezfVtpjuI/njceWjlapeDZreXefxjPXAJg47ipoayBlKBa1E9zC80l3tG5V4cYyEqTz+SGx8FqVJ
0JHwHQlm2jP4GrenzENBcqRCgxX0Kkn/kEaZ8UAcJCymcgaZs+Th5HDIPTUO0tnLWLIwUiUPYIO6
6YykBVSwUs4cTahGXhZ1Ni77wgJsSHWZmPI3MQXvfTMei0z/6fn6vipkN6HIhZvRTqODUpYvcVKb
b07VZ2tTSY7QkZgGNj3fpxiDD5l/sIQz0nKcUqzO+7YlFqSS3KpXNVYtnmHPGA+JSde9wRu5EKdm
qu7Q6l/o+FlYJj+79qipQNpwkqrCfQd+oxHT0ahezqhbsKz7H6utszrdZJ6c8ix0YTvWX2NwsKvh
XzN2fpUGV2G0p9ziZ1mlLBsdtoWu94tzhy4bzHZFYhwrQ9gz5uSSWuYrgdFrxcXO5NXQFzAqtVPH
xNDwl7LQz2ucAAMObLIkKuQ3ofYfQ1d/6VaMVbahzV1dmkQ9CEZjV2ATw5c1zPqD3ln3XBhQHz9r
TJVVxT/uOPhRCmvlV5rtteOOPZAVb0i855wYnNOoxr9Z/KkUt1G9RQ0lWJGfqjYHWbjTykfufLU4
DCu32KUqyOh8R87BCO8VoQYSfytLxOAF9WWdnbSE3QQ+6jLEiFWwJMK2Wa5KI6Yr2dpWVnKNOKRJ
TkG8eKZoi96IoKeynxJYEhsMRhtmvIKX/Gx6d/P3vkb9b9pXQ/kdzLcp5A8FAMlWKVpq6aM3udz8
8JTvC2FgV8s3rxl3mzHRNpI0iSWjZzZKf4x7vwt+8qRaZw2zypjE/jz300Id1lSFW7uK0y5Px7MB
MmFR9IZvptZnHN0MjTso52OIA1IvcTAkyOO0fGwHjtV+JFQ7AiKCUFKNzT5V1bXkk50GZ9OmbNMm
1fqInOGWD+UWHH7EpBd8F02+T9ruETvWopInFpqrDu9S6cavhX7QKlRQ7glmpK4Gdo4VZr7qYww+
ZJF/dOqwdJTsLgNINS5LPsI9qESr/JqRlk8NeuuTaDkhhJamfeu4jrMzhUF7pQQGl2dDdQ0BVKm9
RrF8jyz4XDZlx7y8HbAY1ZeXhSsKqi5VYe/h2NDwzY2TgVVB9jIiUsRui6LQMTQ4OJhDssKYEHoH
0b3zw2gnlO4SJ3DwxpUacLnQzbNEzDJZy5skPF2KYWpeXRrNfQmp2nZFzwAta2KhV+W24EIsAFB5
trNy8FO0dIQB9e3pVGtxSqcwdgAnnyLzauW0/WjsnNoVtTapIi69F8HW9dtc4asC7rYm01fTZdlr
Hx2JuaLuyXZsrAaxCaRmzdmuW92/zhyX8QY+Bcd2t0o9B4Iv9xI9ICmMfTe3zdeEH0DONRY2PMAk
Vr6Kt1SmEWtvt0nU+GRwCeeapIT2KsvkupP1KyO+pwg+kkOm13ytmv28f487lpA68nPXMSmkAemE
GqwMOZjpZxx/2Wbu6fjE+XFStW4b/f2J2OBf5iSonzAI1iJjwV4YxwwraWkehKJD0+XLho0k7cq1
CH+stl9TqgBwxMB59uT9v6jd8IRT/KOJ7z2tGTRvSrIfLwF3FlsfXlrUATOxr/Be14ogdmcHhNOZ
18eCpSuODMnp2AYK3hC2pXryMdueWlXb2Q4UfKU8BnH+Mscnk+BaQngseJf1UtthoV25E6gn9TNP
Rn5fTLqqMj2ijtfB1O9B871rjEIx7Vu6wTpTdfxKzzZUYRMpr28DhDnOlGrwFshNyCQ1Cy5DoNmp
h9klrYqvAYqA3XG3EdXVBZPRjcB6aAAjGEBGYbcBQLjyhvZb5PI+j1YahpOlCNpdRf7GU1rc4SU9
iEQSdFq3B8L/OSgAJT7o2HWb0N3xcuF7AzBRCfi3M57/7gBD51TzDOewCB1xKCzMQZBRCtfcZRVN
aviZuWPKVv4pGAbjpj4kunavuQuMwSnMLy4k10FNP8sp980fesXMutm5Q3vOc1iHxJMIkvY8cXA1
2NngC9PHnWopN7MbDuzZjjXhirSuIIrRox3EDZN3scv7LYfWxdHMS6NyoW0BkA53YwKPkHTur+AS
G7VvtiV5VyY+bKgnOYpthFGiqf0BYdTiEml7P4pZwntic6nc0PRyz/BzvXzG/bjtvwvD2TgEgIjh
7mzd46NOxm1tg4l05EfrocVMbGteB3XrcSfJzOogtAIah+FH8hoP7ls8FqfK8Bbm/POBi2y6e8t9
DRgrB226OHNSZt7p8Hi46FtsTXKluShuv0rdd1FszOk3HTO/Y1thCyAMcfYbt/nD4MuvkG7gwWNU
36kqlBS80QLETTLWm1Gd8FC3e63BoNUo3zBVXwAqUe1+VxICYWa/11o8NGAwtS7adiam2i49Nynt
8CyjQ2yrBEBOBTqlXeDKZesd8/lUviGUh+gBEFndpjN14mBzw2eKLV8stfwla9EM69QngsSeCz7C
XuMQMH7DfsZLLAyu5rYSrJP4SYbQNZxtUkIoIqPiBOLh9d6m7qpzV367EiVL8OhzPajg7XTJTkf/
CplojebWlNUFeDO30XZt1zBRNG2RUomXafF7N10kQn2h/8r2mQgbXk0y+xB4p250Ue4bk0JKUeJR
GDDIcl7j56Wlc5tzL0nK8CfMmawZfrxsegsn6vfUX0v6gK83aTThDnu1OhNgOY7lLwwaAISClylt
wT0HPzH0k0J+0NsXsX0jnizwI3b07Qj4pAcU+m0TZsu4wnfvc5HKyUBH5WuvXYFLAVhlXYP7SA8/
nHG+cIVr+0tJmk0L9EfFVxZSRmlF/N7aP0a+fxUzOsFHAj7Qw8k+5kidGXooOjY7P46iczEh+lLE
iXMvMxvE7X+JCVsv+6cX5Epj5011IGmO7zL4rXNt1XBxDpqtV38l5bBRWoZqVb0xpWosmuBw7xz7
DaOWLwvW/HNdEmNvkRwLeZ2c9KbY995VPhX7JR1oPcT1FLYYY5y/JLeOkGoWpCvLKvzMscnqbbxW
SwWYMGBtpV+MvKSC6U/nmB8oBx3w7gDtYdzeVObfKCglKZSdTYwu059G8QBYCcVPwQkbgGdkWQva
ESYR9sJi13EPhbuG+zym8ihZdSRBvOo8x9xsTVsbvMwE3uU0y313hEdXx59Ch0af9bcsjJeWg7GI
BQQFK0HPSmEkXmff65zTzX0xUus655byCksqO/cBJIRa1L4VVVswMPvhNygBVbaAN6KhXoVEElpL
rlRsdAuWkXBnTB8r1y4JVaS+/jsClMFdjyyy9BKchQsXvkuwjbuTau7kk0WLwgCabrsrf9JgUg/D
eSAV7MQvUXrFCI79VKks5JjXQFziDhDej4riFvpotr33EN1lmjZ9cowEebeV888rZhjXR4Exr5Xs
PfVqrUjedHvohTuDN439pw+eb7JfNyH415xY7njstHZpg1juar5bFxHNy3rvbucIUkNyZHs5yvhQ
md4G/N7BrdGTrB/sAHx58N97jAfUPncSUbK2rzxTzMcdz5XY0C6AQFNfzO4vV1RcGyeTMw0mFncP
4ymolF708kKlQhPWB4cDvRqIyvZLXbk0ovSHRjm7h7h52kA8Ev0ZomuOmbPDq+9QSZqybMw0VkcH
ycoxYyXqnht+90EO36qRKRtL6PWlGP5lIZwzhf5ubBL5SgFVZrfSWzRUfXaj1PeRaGN+PtxScux4
0LuY2h0MCWNqrVUcLN04Nq8hfxKytcjzkKHGdtUhDcEJwseRxJm+1fr8Qd2TclArKpETmV+msFav
uOpWwSRhbxC5WVtx6a3DRIOUaLomK1n0kVqDdpWQEl+5WArwrywVL197NQ7ujAJhg48dcclWn2q5
IfPaAADnjVC7jr4ftPDc2uDHBihtvLIVM1qJsPpscN6xec/edS2Y/NrawdaJ/EAYf+yEPts2j085
VGpe+OFeBY9+DCApsrzzuDUCXMfdsI8AfB0a8GlYxMvyJBQro4eiTlnrcM01gv8oO7PdyJUsy/5K
Ip+LCdJIGmlAZT3I50kuKTS/EAoNnEnjPHx9L8ath8oEutEF3CkiruQuJ2lm55y91+7DF9fpYQHC
Jdr9+WXjgRyLlUYZuvwp3oC9lUz2A9kN+SO6dsnJvkE885mUaAGsPiHddLDlKW0dNNFGwfPj0gdz
l8gOry3uU+qUA74Y0z9GlpZXP4XG1bZzsi3cGbGyLK313M7+rpwUHYzCd0+0gL9iZ4IeZ/vvFikN
HK8Gf2PaZGQ2OgKCmM7kL5NGAV/MSmChVO7vgby1U8to6aTK7qcAlLltOjNfd1aCeHQecHlCa8L9
pcZ9rakiJjE3+2Filjeq3t0rL79T41Txoi6MUj8Mtr0Lkr+rUKQI1I1qgQL0va5Q3dbpSTaJxumg
PTovtnHMus7gB+zva3sst3nTr+MIwGO09OZMH7Rq1k7iGGaF3Nfg6NLckCcP78LUQU4uPZcgwRFp
ftzcVUVUYvbFP8l5FPRMPFyBDvvHtqb7HZhjzNlDOLs8CuNzFN+6w2ydyu459qU+g2AUXYxqxrbJ
LrLok1kFUGzPiuk7BDPSt66qDgVpz9LFDYTZaOsUzbuKe/CqbLgyARvphDHJzkRqrUxmkXdzd88H
557MejXGcX2YuYEhdELUFz6NZ1RPWVa4F9f8gW/CIlbqN2TmMwoYop6Bb3IEDJnsdcLfzx7bEOag
y4xpZza2qRV8jqaGg9lSS0Z6IAcvZSnX5XuM1OpSGyT+zXV+CGX5PUx05NFrQwwK4lMzGkfpYfKT
QVVuEuFsCtirG0pV2mpGlu7avD+ytf1qIeIYAcyMyGR0FvVpdGKwB/MGDI6yg+duKnFzph11LbGA
N103KVRRuznogn1rcGIvCcycXdj2uN6YxLuosEjSTqoRIQS4vnFOF1khVIOozg4RHhlsX8MFnzSG
J2qG6lBn9MGcYmm3x5gNBw9jR6ZMLCJM4qeSBGWwTqY5BVhfriGzyr0nwO/k3lu7ULz9xcLozNWj
a1QLSqe3d2PVPPk2ZrYk11fofowNytGEc1w4Z7d4aqBjH3qJcJMG467MaK+RKrepSjB6oXPJOnPa
a5cOkk2a+hoOPLkJ7KIkXLBW5Q7zVwNA6jxzKpIdkIgRwKnTlFtmb+BQp2ika2chA43RkleoMgMn
qF8kB5q9GbnrYTHCxh3FXprHS6gHo9twLG9FtohgWJLNqIu23iC6ax81/RVZ8adTJ+lhBs0RFuKS
13Bc8n6KsVKh8orZsvzsbuZmuEGnpVb5jIy3ieEKqtL/dAUrehpZS+VIiniSE6aTe9CqgQ8xkpXL
6pA91l3+DLaNySa2+Spqx60vBvz3XkR4hzG8iCiRMNtTc6u6Rx2b1a0dxd9O6sQ7E28pqlbDWzcd
4cdOSqPCLIEAdLG3nzCuPKWYD5U3zGthlLhNY/mgDIZo9tKyaNVz3NRyIxxyurOeeXRvEqazR/ya
E0huESaOdKzI8e+DKou3I6kfnJ3Ij0Q5RpJjZnyR2EC7QOAlBFYRo6xHkNJMJkDYACLbZPuvomux
CwEZPwQSbyytvpvkaADlOtNIX9cdAxxVADl0WvHkRBJXhhrGG9ccv6zYhhgXFxI1d/E0U4RlNGqh
GnGtirDeGfPFyinXBo1UD0oTLmxyf+xOYcPX0En/MO2LrjrpaPzwGy/DNE55UtvIV/PFHDqXw9fQ
heWFWXN5SayfMRz9Y2CRgq5n784a0/ToSVC2RpecjbqiD2TZmwl4+E08w/LtGcBxMsbF3U3DARrk
aaLpdSYmXgaoQ4LG/BXR+j6oNl3VGoO7BtRz4/zGvERONvd4FQxfqWF9GqV1tEPwwn4j9WFmRp2i
FQpT9xfSDzeFTx55mIGkMT0gKnPuVfU+hWJPH8/B/AnzLRyp2brIkjeJqDc4sQaoj3WwqRbzejiy
NXX5zrJbCezOPHLNzI0yi2zt02dvq/I20BWqdTaXjcf4XNjULlHeEXMFjzkekAVDPXMoBOr+GEnY
FzmiNS+Z1ZaEUdjwjoGjHHCMnaYlOQmk1cYpwb+yPC43+e3sgu0yaGyhSmtw/z1Uhh3uDRRtngbu
X6YsvplxRg365nua1jKxpXOoswutyH5lq2us3OxUWQEDyamqMCyQ7lGbsBKMFzk6x7wofexWHntB
2O7ANFMKGN1GTUMAci7XVLW1j0Gkg7LpCcrwEm2T8sz2kCm0gu17qz3n4pTk1DQo1gJP31Y+Qbq2
z8GM/Yk4PcfM6ceH4SYztHHMg/jNtXqcvhkrZ2wsdrFSwMdjlFOP7XvUtj+ZS5BpVDgAgYtmb06c
LAwcSBuQ66kAR9ao5piHqLStsIk3inrfKaJoa9ryW4feS1KLDX8crVjz/V1gonrLcgsXJ+NZXKRv
We0Pp7n1HxDgudjX4I1KX4FYd3mWul7iQ0QBqCp+v2V8OfmazRMnoxO48qZKR3AV0DjwqeCW9/2G
+i+qvmgo3afZAlAaQ3ff5VjXUkM7MBc8TU8Rh2sEgfRzgr21eGrqHIlklA53facJAE3FY6NT91IQ
qQDiBiEsvGyTlhAzxjt0+RfQ1vZTEDJ5HVwAyF3j/IZJZR3KBnf5OIfqMi8y7IHiwe3FPtOBfXJR
6SS8xlmjPFk5/P/EtUztfmLfRJacPwMlzLcVzF8caeHVrCA/zunMpdHwdEXz21TGa5j0HGsgAMqy
qtFD0Iesq3Fb2fg3khZRJH0LINOdDyQ/hipMzdz0bvvA1OFgEYiFhUkdowQAvx1D+6LcBz1L6biu
cjnAVx6Nbe27C7zNPptoQpi0tjdQY6ikPevAR4j4rGVM7sUxkMhcRms5BjheU+4eYL8YAJ2rRf/k
Js7idMHP5lsru9aVdp5qHyZbCWA1FkaymTj+vKbme+SO4xute4NUgbVZIj+rs746tgVqCUeIZ0wB
vyrOldc5jY8utcMtYPxbJj/9lqPaE2p5ktwEOqyy4R3pySMOFDUAYG6gedJreLQkM4Dm0tvleXax
U0zgV1eeKS1q0cxGFW3Qjw1m+x2m6sc4vfTtKC9t4rVrzu66El/FmJuXCRGD5TK+dM3wAj2iObkQ
uSxZIbcuJdAPCoN4jC+ez/DRzdTJMo23YES1R5FJL9FaDAnqaerypUU4QFec0gfaPDQ2zersyQAu
Irw4YOvqqEPz0BvULeiQu43I2ImG1D6NY5tembSuKiN405DV0eNsZglLb4BOddMrA51zjFoODpvq
Fd0KUvHuvLlH4R6Hb8MQ5Gc13ZNMGKIjWYJRPDpNOQV5kiqxduoW56wR9YfYz9YOSCx0XmfMAnB8
rP4NA/xhijN72wTTV2Ea7s6LTz0pV4XDIKf17ZvOlYzVi+6HeBU8LTFdph6dbyGR7MQdyl8uH3AI
UZ1zmKt4J4Nhldr1++A7FBhlAOgsfBf+9MTeuWsoxvdyYu0aOpBodkv4myhixOct/FLRY3AdGm1c
aqaGxZiOMK7lIasnVixEvaY//5JWqa75KNbgEj028AkQb0szH2AJkU+cWsKiRsQE1wqBb3bIO3/R
RsRvURfaVw+BkzYigG21Ne3xrkEosYdn3WLKjB3gMsWic/St8eAngHcLPx/2zCS+WpOGPgIRMNWJ
Jdcp5h4rah6YAAJNAhS5H7jQePDzxmvPXtBt7Zi3S/jAxelEt5s7l5R6qZDQJHraG3lgYeu0GZi4
nPm4lQlfM+1d0SVbLX6hdkdBggb2Jq3S3wjFmdAbioi5XF1rN/0V1chUbRaZdSQzogtqE2TgCAFQ
eHW385X7JdyaNmZUwG+v1LloY4/8unRdjWJej5K4B7qZp9Bu9VuMJi9VVU0RkJWIANSdMAy88IfR
wOTQtuBgZjKZxhpFIZ3YdczzfJMXC7kqjX5IOYJdkiBSmj2YvSNu3GFodh66u8p2bvXYPJuhQbqP
ju6lgzYxDR0Gzmh2W28cXnxI+y0c2CFknkIRRK6F1YzYraJhi1Yae29Rn5sO/YqQzcGa5U8NwW0d
zrjaaeysQ9X3ZFlSqoxjdzOqSmyoZ5BxJqdhamHvROUtUMgAyMIunVxMLng2cbp/kt2lYBmWJ+4T
e/sfJpkFZPz04SayHizDO2vsiVjn1jUGo7U3t+hi4qNTd8N2YJXcl8jLGijt63BCSAlvpl2jQx5X
2az2/1FmiQCq48xrOAfxulEcKrQHxNoFUy7R3+JIbT3U0mn8VhgPOkCYUsYNAYTiUQVy+CvI+X8V
44o6jr/+c/maz1JPMMGj9r/+819+9X9Nev2XL2r+6883Cb/L9Uf78S+/2HAXtdN9911PD99Nl/31
Av/9f/7//uHfvv98l8dJf//z759lV7TLdwsBgf/POFabYN//R34rI9ePOv7496/4K8BV+P+Qpm8S
3Oq5lhAmIdPDd9P+8+9C/MP2LMv1XQXwAToFIa3/nd/qOP8Qlicdz6U1oEwguX//W/NXfqtj/UM4
wpSKhGUOW0SA/2/yW5eAYuQHYVkcvv75d4/vpEzT9pDRMv1wPOffQrfzQXeF6DtMhtJ+9031kMY2
zi+WlP/xgdz99R3/VnT5HVETbfPPv9v8RP/+UjY/EXZV03GFbUv5b0nN0N8m3Q3IzKYGgphB+Tp8
hTEjM0s5qPD0Z5yPP90UID00i2+0POCGUOEliYscXFV3Rp1coiWGLMGSurJyi1YnvLaRdkMF5BRd
+lSjPTM0pni09JKuTZmg0KANwdhLPsiGHFbJgjYsXEOX58McrNcmZjAG6btl5y6OAQCnqoc8n3og
84LafhnLe0ijuBopXWfwavOI0iY3H5nW38NpP2nDugUY3B4k0g7ecffFBgWNwHe2OmOSjxX6kfjH
T7sfmXvYyMKKErSbNuQ+tFCbiYyQW434QATyiRgEsAsddXwmrcdBhBNWn+G1qPpd7DMzHEh3TCtO
+m02Hlot92WXvmnT/UkD99ooHB0JnBCkAK+FD53NZcS0ghADQ84yDkXilCtZmucumR7KRn/YYX4c
KIN8uuT4qlEKyfgK1+4p9k6Qwb/AM/Xz8JvkX3tlm/Tu8BNWDj7GKUPW+OcrxnoC9mY9M6bMycGg
NIit+D0qt+VMUmq+sIijenGP19d5qpkz2B8AoEAOw2o0aJOYdvauM4AE8pKiHNvFWcISXObf1CAw
fw3zru3zZVqLmkqOr0NehjtIjG91xKGrzMrPmuq28ScCFsDT9TVdYVdWtEGUvbtIEqXALXKYZN69
NgZAFEYq01UTIfRLFkO6tlDeWWclQW9FCgU91rqXmlOBnbv2iueRojhHtLm8B/Q3w3qangzVvtb5
jGuxxxiZ5wohG+ZpnRyp2wroOcgOnHn4sVqCPQCCUnky7E4A69cB1SALJVOM9ndNI7zMSVCxEXtz
PsRDy7hRWNjcADQyRWGdxycE4XhgplJn3k418xNUdrZIg2K9nW9pXIB+W3rJtJ2wSHj0TRubkC+l
j4k1UxhaCsJPfBQyBWFep1+NCdvxzsEHQa2YfokGArXrPmlN71wR6rtqveLMVUQklXkd8ZnXaWqw
JRYFqVXGSHTjGB+8jKkgZsC0kUQyF6+9Cp8aLo5os4Nhkt+ckKkKaciNyAFrUjJ0/M788Wr/1qqa
H9drfjF8R8EykZaWYL9mpgSqD0GuikbACFF0dPhNgSQEQUL5yyEIuRx5sNPCP5oN/yFyd+kwY/gm
nzkoWmQ12NX6wWVLb1wcxCli9OpKy0WvArP9Em1zW2BiGqssvuTog/uExmHi2lg+sBLcjCSoNqiU
Vasz+rcNdzKxShGEjIRMs2HAntZvbabthfJc6DI9veh6+KinRiO31dPBmHDSDJ5+shOcKTRZM5Xm
qOyI8cBxgyYcn4XAaXNjD4gDQrpEU/yLkfglBCo1jKBIwUEjxEcDqUhqG6zmt99bTyWNcPRF9a7z
invWvPuy1wfbMU+2+sxFQqAYgmlE5cFeky87uJI5xa/AHN5VB/vLbub7YcioQ3cMXe5t5VwmzdRP
K9gsBl3pKQ7G5ZRjsrYlq1kTNxA6u2aM6WQhR2okRQQeYhz5C/6/xATjhtUvAFPtVsCylRVVbJZQ
BknYITpfxKRWPW6YsCM9LjpnPYz61BoKn4rColRgspZ4gNck3qFFASEkjZtqrAmXUaLYzwEaR2S7
oVolwbtrd9jg3TvwtzIa77uxenFgdGunfyoiaEyU1oM1bcjs2ph9d8LTBBph01CF1PMIQThcM+JY
u0GH6Sb4iPHC09XYTsJBERa8uZD1RkIGC1PSxx1/Vy1ukSR39xZnVDNRpOWqlyqK162zx4zEGm5g
FMRjKXIYHq2Lr8cNsSp60AAt0IlSyXanPN6Mg2S/YO1n6Y1OXZSfBgo0nKre1pYLV4aOfuRlRyOx
fxcGgWEIqSNl7O0OfAPJGZeJ+VVTgohog2OTY+6xqTrDC16cHXXdOeChBG71WNbtrkS6KUz0A2U7
Li0Q83P0DXxTFnqUpuK0/tUYE1DvyvjyZxZC/FhXztfwwm8NchwnZGlmAyWUhfq2NKl4DV1/iZ6p
T6re8/bDnLJTpPFuD3s7Ha9dQfdCFDMZ1MVHCwICZlIPckjfyqD46qAlmoaiXtRvshbPlTE+VEP9
KnoG/Vof2Icc23vrW2Xv/2wketcQnKTFi7glmJAKyWOG3cUvgrS+G7ehBzkLBswoGjzxVNskY/PW
vfnA7PASp2DX2vJaaOu3ZXX3WfQ01vYxVt21Vu6Zxtd9pOpji4u8FQjR8+wucqpLIxjHZIs8SJjH
wsm+Iviyc0WqlQwe6vlWVNlt4yhg/xKHhvtMbu9d1a1LSJMNALuYIlX+xIM+ujJpoTKqN6trf/Xi
NvGqbVo60LDL9lXM7qkfa4CdLk4VUnGAFc2oEGtX7xxgSdoLPyrP/RCuyWUn09wGpNJW+ylKto30
t3WjHilsL0SIYlFwhmc0anR1xUfThefEb9/9iIVknK3nYn4tC/FujMW3PVpnMx+X3WeVtfWDWwNF
SeLpNa8dIjTJqvOJ+XOS9Clq5GM77FVtPdhdc0cD8nFw9L3v3ZZ2+IjJ+jcclRYdDprcNLv3ChOj
qnMIivlE0DQXubDu2S53WeNsQ8c7i0B/ugVjBlmq3xaV35dycvSqhoS7Ze+TZBsb83srzIsUlGwc
Adk3k41LeR3401cURGeUSN8E/WGNwRsX+M694BDUT6G/RlROw2FydiWC/sn3nuh7mzdxU+IfwLGt
831W9Ht0NpjbHktt3rgpg3FzBKESaiCYFr7L0PlwDH1Pl3Y3DX1BNAKxR0bxhLr17c9wblTFKYOZ
PabFEU3rKQ4bWi/RtaFM7kz5gichD997shxqLl8/Bb+UF57ixtcrDGKuqV9pFe2YHb4NaXeOawZy
nPdeMVXR1uA4YovbMvb3ckQBiENgJ1ljUrWc+mpsoAAkfBuu5/CEnGsjLbr7Nlk/aRW/c5uj6i/M
F4seAzMSSPVWM6wthp202DPtXxzhvVkzDlwx7BMLkbfZHwZnXpJz+cra3oQDnklYFUXXPYDBu8Ah
2PREz7mKWWEfHp0JXos97BIdnxX8FaZwyWK59xcCzDqZQ3YVmn/s3Q9iYTTkH04XHIQzXl27AZ5g
bxm2H5fHs5DtqkBpE43AYFBremJgO0C3xbCvzuRTjqC3DoPbvhjfPNKHBm18BhEdt7p07pxB7zo0
/svfTPDJ4F6OI9NlqqjOpbszsd03hnsfNdNFw9mtWGnr8XXSO8GHCYTkWKTq1RqLVS/suwGnN0i8
LTNoIIXpXecMG2fsV54Sj5YHoNdAdOHD/GvKM8Fgh9D0AHIP98ZpplcxW5/z1G2VtRk92thiuiXp
dRPABkEnktlv+CX3kGXuiQ3CjgDzCyy4/+4Qw5ep6ba2BR6y8rnT/PgBTiabcT+BR3Ejd6btXuuR
r86ScybalRfWt2LIUePlG6b3bmseAeRtZjx9NUC3gb61CRktxMJapkSRRZtOTceaBTAQ6tCZlyYd
drGJVKJeEC/+jT1iq+XfQk7XYSzIckKO6YptilGZ8BGmq+Ylp0E6TfYh8cuzX+Mz581BveHjB+xn
FStYyeBq8uPy+xPjfdDiI+56ULB3fumeart/Xq7CorUz0minaMjpCjkdKHiwH3vP+RJ5RMvb3i4w
wKAMGISNuxpSW0SzZ7CnfeB4t0Ek6ZrH96OR4bYK0GVxitAPNQ1IQ6J4ZgQXHnt0VbLynjNjAW/4
24qTSYjJ2NJ6N7j1UREu5iMerNCM+WNMLGi0x4bUkRmyYMMiuqh8lyZr3snt+OGWovu9A8wNeJrk
PeRxUcx82GccDiyf5GsGcUr/9jBeVA4iu1oSUAJEu/pIt6EYICkdzDl4WGLBtV5QJKSuhP11QK+B
XWBlSLWu+dAFd1dD5lbjkG/QxrciRScI+ZSLbPfM4DlvLq85Y1C9Wa6xGsJN30iWSAqwJqTLM3K7
xOq+gXkWIUotBFdwmHeNxg3NbWOP2M57e11xCv3DccQpSdy5McsF3bjKCkzRtcWGFBza4Msby4Nr
R6cCL/NMMcFnaAPJ8+9avj6wy22KpIYMPJJGhy1TSYwvPIdLFVz6t8GUPUfeeFKduY8i5ErL9CvO
trRLYX7M1OnjueW8RW148UJrnUYxzTcCKQ3GS6Nz7YS8CDWtLcfZFll8sGS9cQZSWuzxZOCXGGfU
0RjBotbd1abYuAaq0Xo6mwEYv2pLxxzoleK02VxKxc6G0CybiPPiwY/QTlvcObnBIR5XpBs/O/O8
ssbXluRsq30rPJ6LG7brtQg8LNPxqXOLPfGRK6Lh7lyHozZUxI72eotleLmfPQK8Td6h6hpinsK9
XcYMjNRmrpFsY46tw+0UgsTAdiMQaoh+uiiiknNBzEcDNgFeSF/u02C40HKEQeE9+JO8SBbMRT8r
am9nusM26rxrh/raVfBH0gNd1vsCdjuEq4DJHwo3t95UcX7vx9mhh8BblBMANQKYG1DdmX2gYYS1
wNsFnX2Q0Dn+NPw6mNhach+RtwNtaTZBhXBvLesZwZxM+BEuBdbWSuptUP9GWETkCAZ2z9ssHwTd
GoZ2BJugvsmVvy0U+MbBzF50aV2m+V32+ZEx3D7yUyhN0OS9ich7HP50V5cP0U7NnSa/JpIhsFrY
zvZzFpm7ZS2snAWc0x4nOEOCTJTYiS90Uu5tPb/60qMUbk5B2j4FtNrXQ+6RrpZtCL69FY3x0BoM
buCMQDlmJpOcW5+DonBsiBCZorqA9zJN8CiKGpy/864LwHhaPhc0cm6Infmu1YRRI7bObie/nIHk
X10hJyY9Hk0oGRrTcqIN0MQ1yRKl0b//+TPPmgTcPrgbJRiIdHzk6RK4Tu1u1bMjVAOSLpkbjLJD
/4WRHWz0wX4OjR+9oBky36E9ZJkUsHZBBFKOcD6ujYdimJ8zc2mYj9R8jXqgQfPDmBFGyzkuoSWW
PkxYa/ZgHVBKEeqOPWTmneK+VfMz9PeFCdHurGrxD1OeJO4y4o6ME8oeA5MyXbuq7cQmnfg+Y99f
a8PfwPBifMCIcc+Aemcq+x3xS82QkVCT2vxlNeWPYywvPjNFKacFWJOJb4vOONUhWjZyLuDr82ii
O2ZpM8OHMGJlaqwfPeXfM306nDFGjuOd4e3kYSww2g8A1RMtodhaUBdFJthIMeyh5w1xfi7DvQJC
ugQc6xGMVErRs5boGSQrHoRqE9JzvwnKKbu6eXtarqknIvYyO/uOBNffHbwHIN/fJSL/GzHTM8pk
/mP3TBsjfpKZuFOy4aND3Y8/VYVkJeWClIZsb5hzdct6EfPi6qnrjStnQDA1fLxhGEJSqOJXQmoC
hmK81aG1nx1E0iOyyGSw39XUX02Pd+Ok350ar6jOXcRHyOe8qViHUbIrzfajVXyQBv0VGkPBY+jg
OypZ4wk3W5k2s1rXim/z9BZlnD6NDKm2RvlRBM2DdpkdpEn42coZ9J6ZPxTJVXJgQulLxEHFp90Y
7d4000+l2ARkEh/p6Bb4lTw++YH3QjhpvBu7dieBeK0Sgy0n8dcjFYIeqfU8fji6hDdDD4TLRH5G
w4wPygm31kxF5nbMY40h2iJrDBio4eLnqluyKG+EnsLVfTDRyKh11myqJPwZQscmAkOCYKuK+954
mlJjSbZJn2vDLY5GdSl5gnalPdFZ6AsbJweZuqElX40QLkeZq+o0d0wkoo/JjjWMLn4CnWNvRWhw
MrpqN7b1bz+eP+2Gq6/qajeEIXKxnVVH0xYzA8R33nYYkp3ECeOxlHdOKKuTGQD2z2zrVMslaxqj
4BQQsGFP8c80a/Tt3r2Rc8ZplHNwPMZcxMvjd+yQDflDgXsw+apiyuY+dJ/ygOjfeqT9VoXJhtbw
78k13v1m6yM6xQsVYERbPlKTmUoczYIuHUf7lo+s5ZwE/GobxfBzPCYOtE48cx0EcbXul/q3hrcm
0VWtyaWtvIfW5deZ2YrN3PHlA6oqzu7TvogoAmdpoddHYkRbvnqVQntH61qMFvlD4zCt54z59KSB
hOGFY09dZu59wUGqoq+Wo3L+c2kbJNfg87yDjKhrqkp/G7r41qK/6jJosbHwMbRJiJ2gsw52beQ3
vZkGpwZpgJwXq81IqzJMhqOok08yB7ycc84YspYuq1IudLPlYfq2HSQaTO5fU9fybvEpgRFw3kcB
ygr72go8wyVr8Xkhj+yzer4GxO4cRTc+QEz/yAur2s0Te2notzmEOqbVo4n7zxDgmuV9FDnvrkvT
tfbTk81zHAJ/QsKAXG55FawYLouYfE9qvSdp+tYYeI8OB6yVjXNijouLVBpwvc2xoaqbTfATJBp/
oGP166ZMfrmKsl232FBi1UMhksW++myx8aMpxXQFjkTEfLPEZekbGDcUy1aiaq9fTw6qUPahdwhF
MDgsFiIRcnM51nJ7lEDBAVqgwUCSQosVq39PHGHu08vM2m7fw34Ia1YoK8X3gSenJ7LemKFQiw42
fZR/d6b+Dhzc1EbXAZmeN1nBUzw59VZEPs6T0lx1sVPsyxYvdrZ0BWXwizYHG1lLVTR26W5Q/tVM
c/fWazKkB3DiyjmRa98n32MZm0y0Y4apWs2pctZkQcobTy13akPKSKeAqHB2sIvxG7GAszZMc98t
uu3UxuUI3/XGZZbO5i/3pBIt/EVeGkbHeQJAYVV8TJUFK6FqUcH0/a8+81nxeHyc2bwds/QCwfLq
leh2UsmeAcNkJSX/ABt8z/VIt3PsSU674TO1PeeOgmsPfQoWwRjqW/zTk5qiXdfi8giq/iWmt3+o
G7p0A8IE+G1m7rYYoLxvBSqubyby2GroxEY6/l7GXrOmXQppXe1rFx8RiIICcZNE84Rd3MBYexOy
z9/42D1NplLIEZw31Q+PhA68DjaZpU04cXglhwW8/KMKTQ0Bv4+PuWdywHGNhm5G85ECM10n9aO1
mNO9AQndLBk8V/Nni1ftJpDFd6Nhv1STvZscbhS52DmryXuZc+Y/Y09mnfY4spS0v7wFZUZc4gsE
2W1iuYduYJFebhMHHqMrJKz0nBtZ2Fx++K/hKtQRTo0UBKeHrskkQ1sJMnuZ3G76sdmFqbjCzDL3
eZI/zMZvF1PxxnIgiruOMx5dlwgAgkjKTdY5FYOzPly3RLs4c5ZAkntEulifffilTps6u3q2Xg0b
qkjEcHllzpg/qr57zXzCXeRicQEE9BsjoLGzGJnuO8O7b1GqnPmIzHMcey9OaP8aBrqrxF7Fu3nR
XCk7zzfAytEDhDT1kgjmUdofJpojGzcndzLCMwtGAdc5npHxXg05MRwM5tbx0hbFRHzbibi7x8Ci
CQSmDVBw1BQRxpVeZRjvwsUzm3crstC4Nab0K4s6i+5Ieim77NVkan9X5I/ePKZ0nIyatFq1Ru/P
ZiY951ibny5Kj7OtcHINDhzROALKHRJrO/ot+gEDQRaKDWoEnKV+Q9Z4/yc7mj5QWyT3Thzh+Wgc
sN2oloXbQbbrhkfCpAZYvdVHnk4XJ2ZI4JI7vqoq+IdUZs9jyeYZtTBrLLN9iCbKZKPH4xqBLyPF
igq+DKIt9w7wl3C4TwrcSdHs48Hw3E/fpu6YkTo4PSL3nm5TUHoWGxLAnhFiQZqHvBTUk9QYYalL
B3LAEN4J17nKynkdU8O6SRR+MKu2H4eixGTIYamezZ7+VUBul7fXE9LvHrDSJNvyyDJAtvtZZ/Cu
hI1GorMgIOr50BMa0WpKsSF7ant6Y5NuD3lGMDyJae3Obj+SmewTu2OU6BgImOP+dh4XjHag/JVJ
/BD6XeYhaOmea9JM6EB6qJv7VDv7sWHDEK5xMp4j2j2r8KkcUYA+hLhh1h1nDuht2HsFtQJSd4RG
Ybk8CZtQjGQgvk5D9W5k8QIf4CBHQvTGGo2bvmyfXDVYh6h/QkqOGcYwX+ymJguKw/UqSOdXNVpy
a3cOrkpSU2GEtJuBbqrhZh+WYDIUBThdHO8jcGex6pSmRxC1r3Y9CIx5dD8ChNEzCSqAsXFYI81b
Ow38IbPqiBtXNJ5S8mG8AZjOQLgHLZS03OSkK1H1LLNsDqUzfdShZusEPwvvXFRY+1mLaIED+jMt
aCScFMz/w9x57MiOrN31VQSNxR8MmmBwoEl6W5mV5WtClKX3nk+vRf0Q1N231ReaCBo0cNGn78nK
LGbEZ/ZeGyFkAANxFTazPtlbOpmBCiVDFeWBFNno2vCKEQHZ+Uy5Akpz1til52iF2F+Xb3ogTeIP
WXxinuZiKLBhKBoznDjk89SnrsmnE4NTBOlI5OGT2CvRfsfSBM1SRMFK8QjyMFW7WgYfNp+stOJ4
RygwoD87/egirNVlNZy5eoJdke5b06VixaFLI6WZezPt1oMOuKSPagv0v7Ev9Ck/aqBgNk7O/m9E
Pj5KQW6CM7wWs2zM9/nuTBGJaTmRaGNBNVAwRtWjcp1UJnFy7s8kEq5YDIuwGD79Lpk2Kp/3XL62
Nw14Ua2kWpLd0Sio0Wq9OSZGfc/mJd8P6a+Imje20yQKcrstjcx4KFri49kh0qQ3+efokhrOxmZw
0U2XZXQVKKZP/j6uFRgObzwBNoCq68MuRZawbgrd33ia/dKoQqwi49BXrb4xLfhlfhvFJ1mpJYD9
IsZ9QW9Hri18dwDCOXXPKsB4Q9h6uHet4FaVYBlo2XbAhJr7oYg+8ZOMwPxK4rOkuc39GPHxZOKj
BmTgD7JaVCbzdqfnP/DB2bOdzjCJu0iO7WR6CUeYKZpclTm8k6x08Gh34ZZ96E0rM3j/RoJHNSZg
mqmG5eBqGcfBXEWlzo7SgzmNdtCxYzi6VkIuhof7LqSzMYAryKRwjhBC1w4335qjniqohoNZwNKa
CRaeiSsCQsvNd8yL64yzk7up1mbv7u3SeQwChs59PAD+c7VTWJAVEFp8F+BzrxEdFCsvmbkhRnLQ
hwTRqmETvuR/RfEEUYe0+iVGVK5RPABqO+ilYiBRlki7X8ZGuPtQ653nUseCAHx9baLNW5RZTBJm
D1oibcZpI430rUMovBsnDnUVlytQJ90yxicbdTk26xYfNvOxs1t2x9an+BhUhVoL6L/Uoaplhr2n
Z75Tij1drc1c2qQis0GnrUwMkvNQQJw8EjEWqXJwySq/XDVSPZYZIlq7I/IyDpqLJxESgusK6HlD
VhHVcKwjHNYCt0flsENkoXASWFLctD5ZQ82ovWDWXxHFtqoj3AkpjG34vS4zjDUAmxVslCejhiMU
NrQYesX/KoPqSYMxs3UYFpRDP6xYsfD5qUAD9sPfFpdcWVYVkz2sWRuXcN9KpfjiJ/BOccVGg3lS
vUkiPDUJXPt1o2OOVMCmK60iooRNDrJhxrNjbU+rwuVGH9S4VqQFhpplQGyMgnUlySgisheDAXcF
3/N5zuWtAgcNM90zVtYMR1BlbDtg6kQhzj6A4cpabVz7Tr8nR3znac0+GkofsXKKVbyBX101lHzQ
/NC0D9fE9h+ZRiIoqhN0eoQurh2JIbxHKVRN2Awo4c69PefqVnDhHT06GUax82oY/6ELfnkArDVX
x3mkQ41pcDyAT2g3fa7YpzYQVeOxeCc8BidGEH3iCFwRioRaXDO+4bdwl2dofxnT8AscwJ3AyQHD
ZuQ2YwryngfGq6HVn203f3Jr89QLHwgtskTggeaDXUR0FqRKzH1v7rG30AEjLMfiHBrTcEPs+2jM
4IUYBJCwYPO3C9fPFT6XeGdH2UnK+pGi2dzY704lOYKmO0XCEPlY8QsY5eWQGMXJEjnxOBLxUTZJ
nFntT+hrRIFGw0eH1KizYNn7Np1dikbajZEAmRyKLvuvle6G4TobbxVevbVZ21+BKa74KLZU5jZZ
YE494AA3EMkIoFX0Mm8DQY0Y+2FOOM5sI8FtwnfjZiKhwo0NwEgSDeqi2kJ+GrDCx6szUKxvkwEU
CBfeg+FS7AhSO5adhSNdpNkhCQvIyT3/nyzPLoUPj8P1YzRUVO1pjj+pptFejhPjBYsiyKmOsT/s
U912L35LmRV37qbuMN24KvoC/wa2aDQuYRo/tjih1qOmD0To4uSQTNYWhKowScY6mVkFkDX3qGc4
u0wtVssW2QAcA3U3RCTBRxrVtm/vy8T5zqOy3FUZW52gIzJhMsOv0sA8XFDVkHSy4fhkwpRjdjHM
cOSTcKtt4TI00XiNwCFYAZASgqy6YgHleZ914r76E5otw+nu4SSXBz1pfsAIJ2s3sKCINOOe6Qkg
vfrmK55JWLw1uVe41scXvU3WlTCxDteklkjZ40AZsYuhpp9wf1ma461MDh84JUiQZQCQrXA2Qkeq
hbBjL2HcVimAL9AlcxX+NPXBlrmDB8drtm/hH6xdBOSQdORBYLVtAcKYXbnugPUuRt/E14/G3GYc
TQlo7rx8ZjDVFE8TiljkfNFaVtlvb7iHXJVfsBBfu4aVwaxs4fTKPD3fqEQiBhj9aocGcBcALd5U
2XMRVmwv236PoHY/uezG+nw8Yw5SNmt6C6kUNXOfsg9IvG1XagIHd6rWo6X246SzncBZtqiGUy9H
jnpWG/T+BL6bnNVgtFHfls06zklMMZXaJANgD5QWBkNij1FiYL4PKQGkVuE/J11wTBrDPvVp/OOg
xof47NmrMPefzCY0lrGKSI5V8sEof1BeZgcOT4INy10R9Tdst5yagZeRkxwtA8uK1sR441RzaT84
nxcCkdk6YdFVxD7sndh9si15NeHWLfSKCzl2K3Ih4Z2Nftptq0Z/atTnQEz3wRfAiGy2odL5bSO4
+6TBs4+egr3eYHeLEvLWTDEdbbZjJiDZtpLosBQVn5NnFqMXGFf81/fE+PR4qBK17MsgYoSK38UG
kQgT0cJ8s2LTBpXYf0u14E2nDEyCwjpJCzwmn7XcEO20iYwP5oOEZTq6uWgS0Dhj5L4WPRxul3ad
V63eiCVcmh4COUP21RoyPdxV9y2mP93KsCUmxIWdoRDpZ9x4C+HN7mPT/mVhepU2yyq0fgAMgfCZ
eDSJ7SoBQdvYM7QYPwvekoLJUkjkYB1YfGMY8jC5mGcYA7Uf93iocHLlqE5sB+kC0/JlrONHbJUN
UiW7miynSml8kyRGJnlrs+8p7pn/hgDWdHNjljQeuD8SGOwWNohF5g6PEg0g7epFMIozfUXqfHix
a+9HciEa+dugoQwCQ/NASgjeyYllqGjVMSds2K0oQqk8mAD4+QZ/7Y0TqdsnRg79otub/CUeDGzf
ntaVPnIb0HtNzp3j2lSIVJy4QTmvIfp5bW3uOlJ3WNlpR0OQ1455Yy4mMaNbCUFMgjjRnn/TYFEY
9fJOd71hg34K8oBitx6A9OXVxs75SitMbwkLiTakjvSbL1sBmjAbczFRFjSecbYan42Om5I/LrgG
Da5EfFotvRZiPp/lZUqkVCAzh564JKnJ4yV5Utf6TKUjL+U1IxVAK8dbN9s+KlT4bBumBUR2HzUJ
ti9PR97BimGbRTMbKA+1pUdpuDCr5oWeCK46w/woRRQHRABtCV1/4TOeHaAKuOJDmTZjt6g74g7n
BvfLGtx0dUsaHelEybuNwfX1Hvqx0IOBgECJLKUQUYJwV5MG1U5p3idbd/jq9LmbooblrygtRPiV
arZFUIxzY0YBNJ91d4L/h+SZF46rHVqwXwrNkrJQ3uGjZGXVrIeOX7uO22QD9rDWspXywIOq6WSS
OLZwe4ser/DI1Eu2wzAEq1bBRbBDH/cTxtJlT3jiJFAd8mgdm5KOyQxLMqw9TjJg6duONCeaBKaO
kU9qSwafVOdQQLu0GF2mTQw5oGUkTxSaD7HrvAc1AionKl8biTBU4shihbaamgC2LBZwRKrDFVDw
RK+8jxWbiqTLZ1oLCiK/xvQksOvIyduLdHjSoe1ELF0WsV3zGbfJzo/hQmc277KkFWzG7J7p0Mx0
IXnDQfPsf1eS+UvRWBosq/Cttpn6jBNfXZrF7VD04G98da0T4aydvBzJF9aebfSWqQ1AvfZqmw3B
eMml+TwbWhfZ/ThTDFI8fABuc9KjmQi0jfnbTO5rG7mgOWCMeoo5YZMRhGgKqL3/M5xpMg06UWfX
9Yojs2hPRlFxM3ox0uIo+7ZGBIlodR5BhJDxvOoJQUIAlRaIJlxU6DHDE8msl+mDhvWJ30pg3QMa
EysnHj9kFz8hMFoaXbwuqvKcKYf4i2Z6NWKUdgOgQFuqj0CjNvImsfdaSQaWuU6lc8YC+G2Ls5bg
CHfftQC5HTFu6Oq+x4SdJ0OiF3RMAYp09HMRj9CySV+cjnEjfRMJcc1EDqP72U/lZkxNhfPGlQBz
enZQvwUS07VeeG8jZug5oU620c0ANzZThax1r8pjiUzVnzC3skW+UwhAUgE50ASZ4mniZOiEUKVS
nWgJG2hu4iXu89ei0197nXBZ0XzahX2vIMMUkhpjnP9lQWc7VYBDbEQ87NePXonqzCj4dqgC/vnE
YJivMbetDlJQN6tvJcWeCMx7D1lqUEBAyOefQY+C4wgdoBs8ZF1RvQGch0yBcT20zkkRPNCU6DYq
snyGlpU64g9/KfSWS4+eEC74C9umRxw5RzuCg8S4YkebSkUZwIzRKMMxJCBgkVfVTRFy+vjO0Yxz
a2V7z/K/TOBeo/8tW5wJcPMf0zoCIs3uKw3NT2cskUPq/nMPS3hRW+NdOAwvmc8TUNvMeEbX2FtG
F6xqYcIouspZYBN3vCkc4fT2pfEg9XxV41gLJPZyaYYvlVa+OlMmF3suxM/UaCEew5KBPm2v/Kx7
M3rgGq7JokObFEgkl2CRKnwmn+5Y9h328tDBKVGfYLZ0yMMPInOxQ03jLrH1PQbbaxASspGaNCU0
wqJowCePX0VOrga3J0QLLs1pX4/tlVzrvVH2H1lL/ViTqONlIQ3nkeAx+DAWLuqp894bn21hWR9z
nQ01UyRDhUjQta+YgFwODVRUUhaf4s2mKIZkeMtBdfs+FV+s0833pb3vnPGx0eVZ2WT9VQ0+EAPU
ECqvU+D6RALlt3SKjz1dias/WqgM2X2de6eiq/ZIQim+NKu+WYg5BgbkoBCZzL7kHcs+OQxbGh8x
lhfLVqdKGU8y6y9BE30yICqFgyTHeShFc5eJbkuaCc9jfZuiqObtdti1WqZjIqAC7X6l1+19B3h4
4mUc/JXxMCLH1kR6QVFCEZnJV9amd2gw750Q9r2r3YWY5vtazSFnNgImpKKylB9d26Ks9dmzutxK
guQ82zsb9pnvDBCh+Q8jvAlst2gddpRHz4hY4bpmnPRRjwkAAxuZ4v5uSsKfCWprFcpTF/62mbjr
BOTlMOKRHu3pTYujLdQylrxcmKyn70q7QTZOLFZF1Vj37DHr4aMw4xk0zVvuiRCf6PbbOtynDXZu
fO9PaWgQvPerWeNZ9xuSG/Rtg3XWo5ib2hD5f451ISySB0ywxuR8hLQl/KYJv2ARtpw3BEkOabVX
PIyEGEVL84AVcQ4kSD+DqtgYpG3RQiJ6HBp3ZxJSRH3IoMqnm6Fk4K813xHUIlvm3FAGT+zcko0N
lyC6BOYhHp+XZfyyymIOoEeHnNuIjHceIqQi7x7DQ5ixwYeyfearqvnWm+DoheJODc9OAoTQK9in
j521z1r75jrov3MSoGbLEUu3Ib91CWyCTRqodxtIDC5LJmbB9GOSIIAsYzoQ7PMyBvK7tgS7hokd
tcNQeQp8HseEm7LAX5myuFUm0698rBaFNnyyGVGLGlVlz6iAboS+g5T2RzJR9v0wr6mKi+uKx9Eo
PsMq5tvKkENv/F/Pii6pst4a9kBE4azqrMUignGHQ8g+Y3O9wmytQQmAd61I/ZwBbC0ourLPLiZR
4mNExlZcQxkUWrcu2pjtoFHeUgy8jS94IimyUKpHiCUJhNQcGgaK3QIyRvLr2dnCACMC4fRshCH+
jgmEG+8PWDNkk7q2Aa610S90E0QOz30ZfxeIclMreoB68cVabtPrs7tSDnSxzXfBbZIVKdGWOh3z
hPQc9dY6NzEwgY4Vrw5jXBAQ2yKt9qqRe8vtDmIKkGzOuIOYITaEpK1W5S9uWp19QpNkIklxn+lK
LOiRFBlUrlFziVSLFBhP3cIZ+CaZuoMYMd52sgKtPu/rM8XmPXzxAueJXune5K9NLAchjhM8Evs3
ec1q3hHZ0jo4wfTYBeZzA7pATE89mmjk92el0hsOaFg8qfHTdMMzfhb8UxomKghy9712CdR0tkuf
cK0IOgV/i28vixRkqj28tw7pYGCR2A3ZxkWvZuIMWY+WPoNm6eJQzObZoqhR6iU2gwaLuiwLkyMa
WsH8RHPVt8vGdj8AqMJXIBBFN8tC9sQsjywv2sTC3g6xPffreNNb1p0rOHbAV21E3jyGFux9MJdP
rmF/BPjPpctvnH0ez7cEjUhHe2d1joMdzKO0JCNzyhEPmfzMdq6vbIZAy8ypv9s6ZvEatLugHp5V
NZ85yDUXTZA89UDrLNi0fFNxuUj4zlowrOf4qbQJNiaIFfrPgisOChHAlegbtsVjWEarhu1wVbru
kqaDj7IOqBun57p+cyNM1Xn7yBTqpTALNGJ5/m6lESXfGK212L7iKXvN/Iuphz+MbSKDNBxn+Mgy
50QRdapNi6ky6uy0jE9m591ht9ZAf3tP9mA5kF8SynXud5dgPbjoI4FmE7jB6eAweFjkXfJAOUxk
tIfinu580WUTmOyGnGIykmqboUqhXfs8eHNsj6zTUntsWz6RwUuBQdlevm7djSnBv2FbA8RL4HTV
bwcuJzQW96XP3dUQjoyXHZxMVA9PVmOdEgQoG8eonwOJSMBmn8SnnDPYoR0VY20wvQ73cuq+5x9v
KHzIBMOPKOAOjkV7F86FW9tSeqArqswA03RcF5uqfEeFlB8tg0uoarC36DrfXwbzqNsnba/Sfe6w
PEY8MAdBwLEvsTf4s0tJS7q7VEc7ZiUd0QMM54j1xJMuzezoJw5hGYNiniKHJx+bPB8ndgBGtmqj
t5EApvqUDQD6h5YwiFZiDQniu84kSpgon0BXfL+rFj3IcDE0sLN5SPCvuvk4+lbM0m91l392DuNT
WTMt6OirWHyuyrlLcy0b4KVEMvAW41teMYQFzhFUH1oVXyvG/ZFs71HT2l40bBBIuGudSLYo2A91
R3cf9CTAxHzCZjm1VHD9CBC/tte+hc0big3xiNFnacFnBL/wOXQY1pgeaavAKCADNPq0dtghqpJN
AQNoojhzfvaC6lEv+mPEh+t2xJ36gXdyYwymE3w4RIf6qfAAV8K4IN6yBdsQzVdFEd1QMF1iAzVb
jREK5nkvV1Nvd0thOfdmREtsygH25AkRoA6c1Dt2BvWhPg7jhjUoQwLGJJgHEMI4ya+dtcxxTUks
iv0qc94QTbhalo65CYRlbNMsPUn+aECtQ6HT/AZz3iD/TCQPLCaXVYOf69kWrgJTMX2ZzZqRyjgl
DpFDTalu3CtnehI6VAIOkFCjfBjkeyIoDi1VAA1MCV9rrI1segEnaS5sDOwWJvm37rSNSExLjXGD
Wgs1scEZXxZyX0XjHdufQ1/rrxZdGlTWE4pZvY2/R0K8F20BDbtJfRREdN70SquYXfqQimHRG/wW
7MEE9MplEPcFqVIYVgz/U3lEGabGgZbqSzIyT4roMe3AooUBAhnSX4qBLMeZsSqmUxs7pyjoNoaX
3M8vi077M29o3dLmgskMdVQNsSPl9wN7YGuXalmLbT+1KftN8vby0fryMyZVRfKZhwd0eMnSqijV
jATIuQ8yZ45WNX61KXhywvLL9dmokUDuoRedf8ZKM36IMddYld0XDLB3TfTkWOxZmTDtQrtjfQcV
AQY/GkEzxiEXwtZluo4vAUSJ55G34zMN0Z8iJrB+MT4GUf1lEDUbZQYQRMUERuAahO4VIg0iscow
TtNgXksUdwT9fvIVXgYJ6MNeP7M+vfgk1Wl18WCkc5VVoZdvh+k8MFHKCYouunsvpQ0LeBxIG6Sr
JunENAgorlR5V/j5b5/3p5bkih7JfcbSYSGcZDMJcEpNPr5jsPhkE7luWvFMdbQhXvzBZSBQNYwP
Cq7WVOCeaufov6fKqO74du/qnLkhSR77roVv7k08f9NMbjfr175wFzqKl8UktAefbSuSb4dYO6te
+FgBl7oV8hipdMXW6pY56YAavwJjuEmAS87voapA9NHv5tVr7aALGpP20jjds6U4imzAKoTofFF5
YrZNYAV3wOwsN+0XlB3g6xP7RofyWabyZuRcfpR2xFYof+Vr3aLxoail6hBRf+Rc9wQE2DtiOJHP
6ZyklWuuiBDY6fPn7LaDXCQk29JSpCcvMG4m8VehMh5R7DyZWFY1Ud21ZXVJhoFGwovu53fUScLr
etB9wfTVGtPWs5+irDix/vmsI/mA6n+fp9q56+6tdtx3SnurR3Idq0ujEWmo2LbbpXXNA7WboVM1
g34QagoZk4sGu/XeLJc4DtvCY+5J6EBtfJMcmcw+OuIk3O3YAiiX6PFQ5y9GZjWjQPRSQ80oJT0R
+NwMXrQ8h3qxaU0JSfPDcXAV5OPJZieo5mc60LKXoUp3LsGzkyOvQuAGj+q9PbmHzm3PPe2ERxkl
9frCvmVfNAnKPfY+znDHXl3gg4trJpmBqB57dkoNw/smyK+wa7k9Q27YuVUPzaBeAwRDJ4uvMqBu
SkvtJAZ0KXnHzByRwiXln7okqqskkjJTbFhj+syVFxrXohGHZIpeOvDdUrPxSYb6NewRIbHZom9P
z7aiAHDRw3NtkwPVZcUrJ9p+iG9T3bPnjt561DtgHCnhYKxEM0zzXiGPRCz0aHjrfLAvRYdk21ED
5BWtR/Ew9MhEJPF5+UdBwZ6EPCO9kXD+my7JVS6pf6w7NwqFIw7wX1xXn3rG3rmsqnQ1foaISpZ+
SFwXKqMEA7qbMMLy8q3hNSBa3UCH7FS+pIwtW9tkuumgZY+Yz260Fms8e3bmXYD42me4hoCVAV97
UFyIg4ali6z6MUtJ9SvGg5VleKuwLWQGdXWYBNpC6bjXTfMnokEnsoDUPSOHFYrmq419PCbxyiIX
btkOClRSUVMWhGh1TOwFPa6IzMzupy6ej5OZsTgxIhHcDHmlLSP/kMKDWpttwu5JVtv4orTUP4Q5
Jw1QDYSObD4d89OLAwb1prbTmxjU1twEBCbbX+IrNjRdT7kr/h8DWf6Ebdn+5HcfyM3/ynb5/5Da
oqCZ/J+pLZuPKv/5L/s6+ci+6z+iW+b/23+iWzT5HwajGMdVSgmbDk0a/wveojn/IelXhCsdHaeK
K1x4JhnG6+C//1cJ2MVFUeIILBUOHJSa0mn+9+I/TP7AlVIgklPKUP836Bah/wmoorDBKtcwLYEE
mtc3XMAyxdfHjU0gABbx32LDQRAHcmAZ7L1tsel22HG2cLeX7X8+P/xageX8DbwF2MwfIDH/+kLq
zy9kZ3y5XIMXsrqbFX5hyVz84YP/mxcQ/+4V/sKG4WvVJyUS3GX526/FqtiUy25nfdtrc1vvjaON
+mX1b17yzziav74pU58/3T98eoLWVDMVL1mt+jVx1RtWhOjRHqv1uGqIiVuggdkYd//8qvP7+N+4
nX990b/gdpTB/soqY32JkXMfH5pjv7E2zdbZ//PLENP4Ly/k6oZjG7qYuULQh/787lyUmFmhJwLr
erOyoUGLfJumW7wDoYOFw+52RV+s9VpsQvbolfUNq3Lfdh80VuvUoDRr0EHVFnhu9oEJYvc8/8jL
L0iCSw9Ahkodkj6YQwZigXtxOY1fnShf5t0ERfRKzAgej3yS54rNHd7bcNAWQzXtvYkmLmI8YQWv
gqqX3KHtlBn3Q0RfKOJl4ZsH2YUIVpAK6cQJBQ4WAmtfD8ferLcapkRbU5t6dPdFda8L65ufgNG2
AL86kftOogSNFy1xRsuYlB6UhC/4vZB2zX1cKSJjce6jF5Pma1h/TdrObg9ZcebcXpbJuCn0RwFd
vfnU22swkS9kgi10z6a/R+KL3wO3Mi7ouD57EcUrcEAjfK2aH4FEXIQX/Lc7DGnrrvmtqZdSyfCJ
m5BJdOt42I/Ewh1PlsmW6sH2NgbfImGXL7rGvvcrDK9DVO0oGFcuYzCnQcObpVcveJikedan9zo+
Nvahq+7dBNaxcWi6V88NdtL9dW17JasShlu4I4IQe23Sb6cCnlu9r+fgX/2nZTaZxBNBF1fixUT2
XLMJrAGAkXC+sHFh11a2DWekf/ngStAaGll9P7W/ZU1HAxi9y0Kd7MpBbk3bSSRANu2JcQjNucrG
BD6OWKwCJBH5viad02HWlGmQU7yl752wtGxCgrlKfqRmrNftvNpgrQOAye4YX9QEoXl2PtcMlHoN
NlsZbJJ8WqWE9nj69Cr0e3YnlfEMBnhVdIoV0W/Ppt2WZ83Yh+4dpzQdG2nc2CLYZyF932dqr+E7
lGrat0QZJVgNRXDJk/cmPTlNT27mh4+ZHrELbx792WqyzWdR/wjY6gKDQGkAdmusNcENh0QWq2Ai
pDBZdryXKcDpi9fUbehu++gL9CQs5YVmG0dTPxTslLLsWvgvmrvGC4r2TQbneX2EzZNdY7Iyqht8
TkBz5xnAgp58E0XgM3z2g3l9CVFtum8J2voiJny0P1rupqzeLRWv0oHSDUy6yHJ8XzQymc3rEmpD
IsPFR1HS9BBVpNo7BVvAeM8fY4MjAqxl+MWohP/yUOGpMapgzfCLYn/eP95kdvFLGnu8EYXQGDVf
0u6ik3HipAC/+8PYeet+QhBbf8wBPwTNEE39Yvb+FgYikt6OrTygRv1OLxAA2eLNk9GlG6vjVKLf
Nr9AvmYASEcDKmfKw+EcyzmxLdk1Jt6NV4vtfyarTR5d0CMJnXL02dQ3Tfk8+QCmbTSr+dXtSO46
xGLDxBc9IDIQijL3o2TmS4D7EqBHlHc4qI4Rs2Hpg90iTTJX544OoUDmFeczYPp7jO4ztbbse2dO
kuJ0a6oviwc5mHNs0fWnEaDdFOs6G1pt1UGA9Qjr7W3kBmiB81/VEh6BtpRtgT+eDFRJE/b+nWUB
OqQvycxL6W1MksDdCC2h+dmBjQW+9Fk29Ioo9WOXdXPY7LIGcpD1XovnYX6O2ea2ilOM57U9K3cb
d9+ChZ2jfev6V8E0NmMnk5BZoJvxSoorQdTLOc8VMPIqHH5aq9ioEiRUUy8jyzk48IwM2BpgnELZ
ozIFisz4LYk2Tf4ggV8VrBLpGUkN2MSsMav4Xc8zQq5CfvNypWsecIhomwDVLDgO/eDB9n88HRyi
b+xHUuEEGwPoF1CT3Jc21n98bZkYz2VJItJwq2Nvz4TnFkV3RfMKDw1v/jkcnydmurMQbRKsoWKH
zdVsm/SXQ/bEjbhlhtgADoAdhB51bes/Qf6hsAqiyEQTHq5QOCwjlPJ+8hqSTlFsh5px6Q4neYUg
Ypr5vNauyKmebdYGnEv2U9+KrQiZwZXBZqySQ46Ti+Ur2E61IbQScMBTZr5I5vJF/dgGCYx5NGH7
WSNXBO25LhzYA9j0c2Y3o8wKgAFXVzyL5IH1zzKjrUgJz1aIu7zpS8dmYNhP9EzlpibmKfucCHYK
b0P5FCMGMBG+DPI0WOayk6+dea2aA8obLQzuxkqyeWaVR7LRUG7N9jOwXkbzpOVP/KuaXqualzoB
46H8Uk1Q4OR9PxxD+5ymm7oeVgbIHII6IqJ04nKrqtdq2Lka2yV2DJDbw5IFffJoRefEPIBLxkK7
GtzwQMpYW5IRBO3F7w5ZWL7Xn41YSXet5VcYYsceh1WPq9wnvIdVT1W+hi6+/lPC4BnK6sbxvGOJ
orslgqnbEwz1WWOC5IhcJw7LYSnWebqFhMazIV1g4R7kcgSDccjGIR+nIzlQ1w4Yv8sQheaLqwSv
TwsMvBZsXnAV03npbB6NPN7W9dXiEuv051BTKyNwzj5Ref9cNc1Qxb9UZ5TRTAh120FdZdh/KajT
QPZTDCmRo52xg3bER0X8z66mdw71EVsGzfzQH2LN3muadYwJFWErvgolpzAel8J76NP2oMJPtKCm
h8vp3Ro2Wv+hldyyabxiqqS4XtHbmc4sgXEOilZzwDvmXJqU3vWf38/fVNWuMA2wi6bpkK9m/aUI
NKY8HbMRF7u2s+6nDY4exPTsgBfk0zJEWSBIWxm3f/OidET/8iGahpS0PpbtWPpfSnnPmNy8SQNW
NVtkgegxd+6au0guWDwtAUn/mzdpzG/izyU1b9J2bNMUgpKXnupPdXxjZFk4xEjAESHtnJdhVy9K
7LaL7IjabzGu1AaHKW+UVMa3bkNI3b/5Aej5/uYnsJXjWCY/Bx/1Xx4bBheJDMtecLQzi+TRJ4Vj
FcKDQuq+7Q0+7KnYxuVDlRM9BuFDm0PVXcKf2hdRGvd6ecv7x9J6bELzWEXWJjZeROQ/+N2Aj8ZE
WRG/iPFsF+UVCjPgvy/lzGqTiup5a+qPhnlvg/OWLw2pW/igtXL4LZziWXXc1q7v3oNYv/QEUAbZ
a10lWzzkNsASUacrwgaZbAB7WoTl65wYZcSXQlKilTv8Ei4JYGZorDIjOgiF+6l5mocnJeJ+u+SD
nWuZibklMeAR+akBJiA3A5UwHAFXXp0MmBXGbLhB3iQXUKg5k8ezU7mg1KyViPGFISluDHhc6HfZ
xtjjXRYTOalfAzUcI+cZFstD7J9kdRNttxXtOxKVKcjXCgAk1HjRFJugZwAMJax50YOXuvrumE8B
GF6YxXc1Hv750f7X5s0VBFmhdhSAUl3b/POT5k9qBAMlcMvsoYPs2JlviO7cRdt/fhnxd98gB82g
ayq+RqY9H1N/6EyRQbZ1p3eCzhTT1xKB+t5e1yuDRtFd5f/m0JN/0ymKP77a3Cf/4dXQvbCdESAu
2vyqit8kdbba8BBLxnqo3u00X2Gj25bUQr59HGNAPuLaGw9sbTxoY4Fil5HR6aE8wfvPeu3mYs7y
rWuCyibFDYHa4k1I/3kIZxdnpx5HMT7gANg44fBr0QfEr1LHl5E85xY+FmQdI7T/6ZWcIrf6H5yd
13LjaJdlnwgR8OaWJAh6J0vdIKSUBO89nr4X/p6ZzmQqktFTdxWVlSDM587Ze23EyOKLNe5DNTwL
+WvRbCVyBZTw0Fa7OKX1KEJGJBXSrz2oLN2ikMQDQpTPIgsuyNf3KP6PQW8+x1ifOgsZXJzvKxBG
/sOdd/bT0mEqkm4ZqgUFUrx5itnA6VKTeGeVLS0Tm1Imeo1tsLuas2wRLL4RB9+54u1XooiKjiEX
g6wk6ZSCbiZ3ixGQFi74A8AJQO5szkqL/KV4LdZ8Jmh/7kxztzd4e7np5/z2mZDck7eJweWa+Fvy
7ZZp7f/jhiTRlBXTEnXLlG8eoTJmVuRWDC9h1S8J7nSCPWCvmTdnnrq7bEi35Z/pfn6/Guzl3+8n
lys5SlquhusI+fGpcaA3rrEM0QNFC7QkiuFl2N6tOv301qYXZlD+E03JuplDAEkMyPBlid7ukihc
218gCLdIdJnhlXSCo3S681Sl6W/8fX38z43+dsWb2SRLy1obSm5UTL+tZI/XpC/3BrYGpTY/obGS
BuUvifydFSREGqNIa7TeSH17Be3zLmc0v9JiIauELZrxQy2wu0VZ5IZYtWpbq+SlCM2ZAxPKkI8k
ZWfOLj7JBgd5x7w10UV0KFm6Tz1UHjw5PZRD+BXJMb0hK1/EeClTqirKQKMvDDPKSN3GZNUb/H0z
KuuWZGg5wjbGqaF+KuHFdkxDBQCsBH6oas3yDC9FfADcujDkYwXr0EDAR7CjXanCcuhYkRrPXPco
BVuUPl3lL9XQWPa0IsTiTSVdSBWxl+6r5tw3e0F4GABuGagDmkommgpvXMnZayRM9BUSrI45um48
6CPnUCbJLPnwol2L2r8qorXvHiQiEqpho8X6d289y8k2GeDyid86h/9AI4wjfeiTo8G77hC5uD3h
nqXML/4WSdArmuWdN68Y09bn91cPO1/UWEEoRFMBZDv25zeOAxS4sEDjz6xBp8ICzW0zY09G+Bs/
KURblEh05tp5I29CAfiqdnBljWxr0rgRxWknD6Jhrh+N9Ao8MFZQhBZor/vdhDhQ2YDkKHZ6CcKR
9FglJ9VIsbVd8nYv9k9tT0aQ/ilmzawZzm7+xeNKjEUYFstUDBd6H+zi5pRwAkB+mPYPOLX18Bya
+yB774od7voZfONFLj4V42OuJI6L8lgOnvHOQe6qyZbZRk3GXmoygUmkhw2ztPvM2cog85irQrxp
Bhv180Zyn4r4K2ZKLGTcV9QFxuGzpB0EkG4BjFMx9gZy6LL5sobPSNzXnNORe6B7yoFgvefxU8n+
vuD3tP4HyWm2QczF6HOeOim9/q6l/gJhB4tjcQ6ld5kqTt0yaCRcckX3OKCRR9xFkPlLiOi8TDYF
LBujQaQAgNoC0WCl72iL1PzNAxDbga9RO8lpB3il5VdXq2yHqIVzEsoxkAWowPP2xexXcd+tOhwK
ufZW9ZBoy27lmr6dNI9uO86IULMqH153d64hlw6/fE7QJe1/ETWBVqoLBRuQROE3tdq5V+6D4FeP
M0unZe+Xn4aBQOtEtpIQQ9vIsXUH/kb3t2b12BPTUWOfILPiSUs/pEjlY85Fm2FKVdLddf3Zz58r
RupQdHYfvg8ERcQ6xXR8G8no2VFTvCZewOK/K6NHd6IkI794KutrVz9raCm9WD9M2wajgm9VC61G
hYnCmCa+ElryZA75KwVRfh8lh2ZXdgM71x0J2fvU3+c9VT5ohHMtCoCVwbqCJAe70WggNalrDXxI
txSltYS4rmlg25xypDNiRcmhAS2+Tyd/YhvYAB8XEzVTdeWLFrg4J4nNyZBFgQCkSvZZ52+55TD3
7chU0Kgi5dHFp5itCMDm5Qx47AlpHZPiW+kzOSiOGFbcCvFuClUH162cDBdaBDoq0SnDImHpBb6S
ABCfIF5a4AXCe40wwlexQyNewvA/+F5HcgtmjZ7cXtj5wiaVSqeKMdiVxkxQqVYJX6F5hOcEsSLq
kCoky6y/BuI2yL4k+UjRrC5fXURGPlXHom34fcSO5ztJu6TFmxYQFzYV6hXGiLQa8qdAkBdB9BxJ
e1HDTZvB1/QQz1e0PBlK3IDe6ocGtXJewumgpI/VDrsaalsKaFZPEZkwrm6kf5wDDamQilGwNPOT
1lxUlAOCqZbYsk8ugStoveN8kzfGqsN0LE+6jXBckZqQ4i17JDIJKIeTo+3omJZI+0CWtxPb9x6V
bwOarkLI4M6KuGAI0OBFKUv2bsegc3vItiLef45NCdi+2gW2M4grM1zlxt5CPi3D7Jct7Zyh4IMj
y6NWnYGdFPKdMG4//ZZGugKaVg39fdGvZO4hUo2lEaIqjlREKEgjCS4B064H/GtHQG6PCASlannU
sWsXQKqt2tv2sb/W6Sm10BhHmM90N1CBzXXto+CoGkrKLMb5kgC8E1k3zSFbomFaqN1Waz5rby9m
T3qrLhNUTOook/RCophhEn0HqFPK5q6wTCwNn4/xUTLNR8pjVNTPwyQSWhWAPFWADCrK+zB0z2C8
GJDyo5hZC9C6/kwBG9+DeuLN00kXvtwkRjLSrsm9mqNa41jgpIB8mTcVMs+C+Bn5BzsrkmNwGfUv
6kTrwLGqNfCB+GRImpgRppnH9bxpyZWGk5/RDMKDX7onHzv/yLSjEogihRwBGvr14UVtLQisC4++
z1gw2Pm4RoPQp4koD7H5sa5U20vBZClOQo0yfpgSDnFgXHvq3xEIHD7dBes7MlbSqNcVdAxidIOe
NMfxGjeXiEJ4GzQoTrDhSelXqAQxMwDp6kg4imxjIk5W4XpW9IEoKz+p+buIfQtUZ92/yOE3alHc
IMBTRVuQATdp0knCTd88V9aDJKBIB7cFJNaXvnILB76+8tP6aKDFEYODGKJlbBBzDjOVQefzAdPZ
tB7ok9hk7S1c8ufyAYCFgSadiTWCGskfg9HZG/Wq1ot31UABxepWym+pa5cdKep46RAMehh3+XzH
17R+xQaoFL6tIp2ZVUizYoKSRbKUISc5jd5/wqTbyaV+yNN94kPZWweEEQTVA2U/tPTjKhaISc5B
ZmNoQglIgbhl1ANBvehQ6foh3w2AxYuRb1iroEvAfDUoD4ZpCSwAObtpbptKWXpsv1oPfZB7KvzH
zpcXktpuLEqkg2+nypsqv5j6qQJwrlpfECZQkWYILk6o5oDPsPVUvvRhD8zXF1gPT0aTrfK2nsdu
YMu6u+1z0hHjRWwolI61ZZjidlNoaKRHlxw2ImJ4AAvL7GlBPAcuZaAaZFPxWLUvvXYYoohaiW3I
UIceacTYCK7ho6z15KKibi6QGBVmv0RL5o8xwtNjLz9l7oNO4QK/7byWjjlG4xKGZ0VImKISnjRK
IIk2dAVsvSjJn2CsBHCrYNHYImupwMOt/auvfoe6u2BDJOsfIRdtaAsmAA6R4/BgKclY7VMIMT1k
4FDsXAUtWx2xZIbKzzgY0Dk1QL/oko0BGbflisgsu2PjU2g5bZto47b6THAdkyAJiZ6LTtLI4M9C
oYHtR+Kze6qQ34IgojAOJAJoTsfbtU36OdmnUB5Dvb2CU1fw1LhPQVnOPb+bp4NyTN23ptlVgsS5
vkNJKnfrQDpX7V4RzoaABParVXLHjahVA6zTmP0iJrdoDB3WMVJDli4zdDXksxCVK4wmJ3D3GW/Q
Yk1K6VGYCKzThFxuljCa/wxlnP7InLRwnDMJLIVKfBHUX2H74McDXGUMeQGvTN67ur4yhxHF25Bs
PJhMbFtoQ+nnOl/HLsuwpTMtdZxljKx9rHzlwSJfHiDarAxSWmPRPBwEp8fpFRGQTHXdrRZRm1Ns
WJI7M897bALxph5A9pEi0+TFtQ9J6hL87NMNLlp0LhSktkl7Vb0LnT5FeRtoiJAabRLB0hCmaLE0
f3A7Tp/tGqFd6Man2Hx5UKJJN57pHXrWGP+j8ZgUR7H/QIiVWU4I9A595QJOtSHGsN7khTFFt+FM
MC0U04vcjxcZRb5Rh3qOJnaIXsMuWA40cAN+nhFUy0p+hvZLGifxwWyxWARRkveK+1jQCJakaxW3
82x46UJiZUmglTtx6SYXIYSMe2mmLqarEGuOoLOLsNlb9aMS46lRQHFLNOexRrvnyFqzTwGCiBAU
+D2/oxkuib4dJbw8w6++e5jur9O2cj8wJnG4pO0m6y8NBvghCJeFQlRpi9QDVKsI/SeqgG7X5w4d
H9B0tJbPGftxz2oXviYd3SokFMObtXW3EGlGlB27pEmrVoPB9dlni46qwNysvv2CdqwO8rJ8VYaX
pD5FZkQA48cofZWImlPx4KUHoXqTUd113rb0T2W3d2HXleIaTFMdocgyzlq0douHanj2SxP3k2F3
vJ5xGVF/QtFe8kEDeABGTwiw/xYnX7jWTRaaUN2qprYAmwbbUCB4aNdwVPIEuiwfsuko5lVLndGb
2iMLk/NBb5xU6DLT/rU86/WJMv1OImxAI2OFzSiTWjq9gPCSxKT9MB7IbZiJ6lrvXjSBtN3osdev
rULQhL70h2ZLv8QuezIPnkwQu33xXeTiHorZGzu1BfkPZ45rR2+0XnJfcEwuO1nifP9RtjjbIObm
Zhsd+BpGRfxlM/ogWBskAGbWcqJg9iXeM3pzxHXYQyGyiaX2VtEG6iaTzr6VvrScXhRvkHBcK7SL
kmZn8Diyvygp1pnsLq5JSAY6zO6QSO3O+MgoEyZWhIzkqRGfdY1+j5J+lTIGSXWrpIiHMa5PESri
+DkIymMeHfqUl66jotNhTwhvqCIUdPZRmm5wnaBBrmjls0EbTlV78FwwnMNBo9NuqJPkeEJ5wNa0
+v7RyLEdTZ4KDI3cSO2t9Z51aXqllW3G+6S+NDTkSkPi5viVGvGK4pIQG4FjvzpFX8ufIJonxTbi
k2o4WZgl+/jL8K4Z+t6Qpdcg3bJauz0keXEVxfsuXZL9WynpUokBd8J1lJVLRr9gyFCYehAOB6cu
loX3jhOITLuAs+0IFMUnhjIvnnv2wPASJSgW7W4icmEkrnX/aPXQjMC/gMhaAFJddJRRw2yn9MeU
0kWTPqpyfSqxwxgDhUjtS6muSfsF5WHZsNUREccGuUoBfu8rqEXNipLFpwsooCo2I+3/RihWIsru
Mci3JWOVGQYXiLd3SVInr6PNEHlAc5DRj4vbpmZr86xzfG6qwyQlTZIzpYY8/C7oOVtpvugBukdr
3WpmRY1Js423+KDmaburub2424hkR8pTMwJTSdS91qm4KerWJgGeKgl/HnBA1TbLmKW5eAM2lPg5
6XsUDKvNkLEKfuiU0gA4nHxYLq5Ifza+6IbxavhsXqN+3qMDL6cw+8Khe54Vay081MJbBK6zz0zK
3rTVCxpV7je9aSnnccLZb+knydcB5UKA5RXmE7YolW+Kt8j3XgurWqbzm33TrTliTrbpG6rqL91a
J67CZheMywSsQuTRc/br06WnYLwK5mazGelriKtAeQH+ZzfiJp4gAJwiik9dBknyHmOTM1T4CAfC
EqgchPy7ZMFFT4/meLG0X7H+QNYqNfPvzCciPY+svZxwCJphXTmHSk5wGM5bOy6iVVoN7ObtLPdg
EL16LLjjf4puHDA/OlUkfve5l0VcNnuyTEQg3SSzJjA1TZiZJ98y1177UALTEqOZNrwJ+KViWpd5
us6lfSBtXQyqVbPzEXonh9RzF4nW0/6q55r60kY6MCL2tBTJupeWRWZggalhJQrjnLFnwjL1/Kug
fBrxxbOEWWqcEhau0kBuDvWaqgYnEdZu1dsV2lvk7/HcLEUA5Lil3ppyl6BZ8JjDXBLkaJTnTLel
6VjjsnPpPUH3aBjr/kDf9TmNH8UimMuFxGd4reBNjOGiyGmge1jzoDywbIyK4zI3DTXO8XBldM8d
JCiriRfsxlz4JCamzWQEjpJSJdhL2WNKzjXlNDrZZtsvCu9aN+99d+ygFanWaiRGqUXRVb7dqe/d
VrD/U90jXZZ2lCjpqnrbaO282PXDUpyLTmNrS5IUsiVBVcacs8FS3/bZvALe9ile/n3dO5fVbnST
0NDDXE4oKiLnium0BfVjGd6rWt8Wrf/73gwNca0KI8G8aeoOKOqyhu3fvNnojrakP7jQF/KD5iCR
pgkm3pFl/tREpun/P9e7eZbZOKK6G7keLuVV9ZbNLTuw+3VktysfNOVseqSGA/KAZRk34YyaZyTe
aYD8/GD/32+wbh6slJdBy/JBMU++GKzQibtsgHv/++3J09/yV03YMiXEx4iHlb8aEKHbcHKskb1m
2GkNliKEPjB1FWJpx63rgCJoLDYwwkZuVzVVmOjgonOPAIcG+qZsnBSpfOYNd37XbXvpPy/8t591
06XQBAUkidDgURGPAWc5JazvPN6f2qqi9tslbqrhPgvXEJY0qMvFYAer6d3qO4qcDl7ghXT993P+
8WX+drGb9lJjtGqbR9xPp1yb8OD370G1/fclpB90B3/c0I3uwIsFABMq11AdZcmCtRrSuTojBMMO
N9U9mcMPbeI/LnYzIpWmg+PILEwJcCXjKKGyNySgywaY+q68uHNr9x7fzXiUtFIXAkyN825OeM+8
XCsLNlQIx5B0YP534k34Vt3phE9/5+3IoNMsosxXRTT1N9d0NbdKPQGP8SSnzzbtqlikh9r534vp
aW+KJqmupkR+661q3/PSQtPyQeQ0fxSFS++93Hl2P82dv1/g5k1VehnKQ8kF9P24DFaFk36wdUPg
yYchrrDk3VsRftIZ/XFLN08uw7RvtBRW59Yq3pXApWhs9qvhNDrTMdaJbfeg23fu8qcJ43/uUhNv
ZstB9yPZ7HhbQM3IVkK/H6yklTAv7TZZKHOKW4v/bQt8mqPQf1jQEE1Mv/rNBJLGrZ6riGmZOpE2
qF8mZZl/39VPn72uKUQCq4aClGl6tb812bEa6sZASvvcq4hmETcSR8JIevr3RX6cN3S+cewICm32
2yUgNMLByrspicPJH5WFu66WyoZQRURS5p2F9ae3xH0gijCZDP+SRgWu5gdtK4rzWn23wlcE3vdm
ituv/ba9ffNS8lyx5CCjvU1E57I+Zo41Nx+Iu7SHFdy73T252e0bIr2YCjyLtGapyM5udR5m2/Z9
RYduHiZXNkB5BJ/CufN+tGlx+H0m+s9FINFhPVJkUdVupB2Z0NTQJNBa9DKG+6pYq920sR3HZdKQ
UU/5I8oqlLGk+uAi9DBrofKN6rnn7QPtXNOCbPx1MWrkSElvNVCgsutwdb5HZcUmmtZtH6N3vxjx
I80XKR4OSBCt4KxkIeJXrPbDsEf37phTzEJVvSmC5MTwQnzXcroY0XsDQSNtcXjUj1oN7drL9pmc
bU0DbbqbvE38CDOgD4aPl7rZRS+fyI/fAJYhuDx+UAesiwmBtIUHAu9acZKSRdZhbeUXDrFmeXeA
0Wr7FJZq7BpDh1dwOJMYgqv5GEGvF6j31Jm+VMV1TTWVKjf58jMPYezQfxgcAUdktwISM2LTYLGw
ySkob6TtqY/AHTZYXoeHeNj7Q/2luM0+1WVbUYA+JP4++mXoIfLSYT554fPuyjP308AxIWy3wjdq
WDcFqfBa5nCnsSz4lWWX5bMqPVfaTirJvedIodEcqQBEwyMgXcuRyubTEqydFT7U8h7w0TGMSSAQ
ae+MW0l4G9nuQANwYlIN6MnbxVCtTV+bgaKzMx5v35K1Vu4i4crGjP1nusD9yaGDXrBH0tOclsmc
zk9g4OfxkCVYz4rH1s6373yWf480ldURf62k4HZj7/jn5CR2mgZgF+mK6EwCuMqhP3Ag+HE22ih0
1nelMrfbm2kUaPjb6NqYhmzcDjUhjUdwARoPYAnKbpk5YmPTtZ5nS/Irgzt3x+D9YdBplqbLIlOv
iZbzz9sj268w8sSkdI6gRU1/oeP0sOzoIl71mnN08FUl3UbLzuQfGIJkj5GwJ9GJAEYwLa4N0ba1
zAVwVeiPeB2mEQCfGM17l5GV2u2HCmfHeFIVePo9KMD4V8L+Rhtdu07JlCHmJOhAEg1wZ5Xg1VPw
PbXfNZwBkxWu1LBWl+swCleaQBcOMIAXWRzBEOT3fPwlmR6ugZ3UI7swFakmeLvpS5aSBs8OPFEF
KV2ia2TZCgVihHyXFpT3kJ0/GVW5RQpwklsNxWqX4meOFnL7S4OVQfQcYU2oC+I1zHLs8NbFqjaW
absSVXoylRGROAyWKC3nVTKuMrrVPv0MKk4MbXfyB2RR+tDlDuVzsk7mkbySouSjM05RuGlkJzMg
HekU7DWDGj9UWv9MUg8ctJXeHlMV27OezKPyxMy1dyNcx023Fdz84JmLWnkHQ0VTEuiH8tDK+TnV
YBQjqBKVmdHABR5UwicAHnmmC0sJSLjZvOUqbec4PluFuwLEhfrEAChFdE91EuSnoiSjtNv44zJv
2VTjZfbibQgjd+LEOFKhXPopwFhBPyODShkRrXYkqAYQr4RpCepQw+fVSmtpplebPuBULl1bZI1j
ZzxIjUwxE2TDQq3p0sSEyScUMIizOA+6YlfVqvfC5ywW+MQ1uByosMZ25wrm2UUmoEDdFFkFSqua
dBEixB1RNme1stNE9wQP7uRmow0B68iCP+vlneRuY2NddfGBV0eRv12gSLMnhnhewnWkgyVjdqRE
k6fbMOq2FtJ8sn7ZNqzL6lLSsktBUTV0uQz+H2VIj7rWv/S9sYI392Cm/SOZQuFcGkMqYXVvT/6/
OiFjfDDfwYTOZP87pqPn5WQ5JXY19EzlSQq9KCJvsLlCrsNd4NFKV86NUD6MMsJn2u6B9J1Aywzo
e9IHrZo3Oc3QE3e7cCydISsc0TfmSUPBsDWngj8a6KSiXmiApCHsldph+DwYwAgRQNRYCPVHuRy/
CvchIKJLLIelm8ZISQlXg82n+444CVtZIZAVJzhsgh6NfzF5HBx/VPa0GbBpCGSvZ06VVc5Q+zB5
lOagGe0254HHzTRZvLoKtXJSdmsYMqAgGhUckf8VZ9+W8mBmxZbwZlIp2KPKfHbGONMQMTHdSxpz
/2BcrTh8Znr9KDWwDlWsSxQBTQrPDaSBpLdzgAGu300UsE/QQEuPehXxQETjWlv1P0zzBk0bRE4y
UYJQmSDFgNeUJ6G6qHTYyQ2YjBhFxfftnglOWo89iLjpRQMMVg4SIoghhDeWrDSvt/26ARKJyMMt
nLYJ7IF1TRSBRMl8EoJEeti1LLJzk26y7lmULlr7Vsvavubp4U5zkmij9rT9KrhQ+qIFKZdQMw2q
GNLuOyjgbVVfpPBRD5516XmY3mMlYEl5KNsOaO8Iz+RijsXD0OAlNXP/V8PGEpKdQJawcAjLhN+E
VkAhUpEAB0K2LEYLOJW1n1DLbb5ZUrYe5W/kdibRDnEEXqyKyN5Np/BE9WRE/XOiLCxiQgWsa2Oa
TJHa1gowqONJ4A4C/yky0HVX6lpxLSKffJmx2p3wO7DjEWAPNBOMoFsLsriOu+DL7IoX3fPXGHL+
veL+vdfUZctUVVmXORAo/yla/XYacBOL8HfCSuZ4Y0bcc42214z+Tlnkx4tM7nFT5nBDEezPZQ8W
dN67sq7MSRwvNJBpT0G2/vd9/FV5UURuhNdkiJjocdPfLK1NrrskwYbqXD43VF6kFcZDGk3qg+Gk
NhLJ8M5i/sNarmPolnTuSDagbd5soNPMTVskNyRSzIVjv4CkuyLv98M/KHa0EK7mnev9paHnBv+4
nvznQ9QiyfQThIyksOhwXmQYcC2dN6CpCiLZjpYrorzEPRCJDT7PgX49Z6D7tEklnedBfLSAfGIp
JMVcNZ7bNnqJDBtMO85raaUE6kdgQV3vnnNsx6Ty0ABGThM9JMUiYvqKsKyj8nCPg/IUjQjvv9tU
mAn9aGONWZiWtRzorXo1Liaqe4F1ybOLJPerQu6Jc83nVY8iplqEdbEAJtgLx0h9BbzSZhdXfOy6
T4noYZ7ATGo2ivStoM/NivLOZ/hXDeG/HyHn3knSLlu3hnUJNmKlkvA2b38JvzjOL9xrMm/Y8s6G
pTIv5+lTfvfsOL2WP89ZvDaZfySLOrqi39QtYjUYCHeB+1XZnQ3KdxHt5XVtI7SiIihf/j0K/j7U
cTHKPeygdQmz0u0gcBNvLCtucGKkupeguIQ6dt3qnqGD/epft6WKhorpX9EwkDB5/Pk1imKKTNNH
mqb46EZTo3xsGzKYB+LSPXLhCTx/9fHckbjxiwC1uWmyI0oql++Igl7j0eFujQt7xZ1uoPLXTHo+
9eAzx4J+SzPdzgRhTRLS3GhPZpJtSeTbJPJL0UQcBUoOnzqHBHqDJjXySP9O82zhe1dV3PccAD3i
MBNL2ntwzPtYWLD9P0aluIzTksw+jLN0byNDhkxACrL8lqUDXlrkcWBQl2TFu8O5BuNoHSKfJa5Z
SZ6PpQ2QWXkR6akZz026zeNH4lLZuJ7acNcra0EEsJIBmg6f0/rsS+kyJDM7fVeZFMJ0nUjLkVm9
a/1Vh8KEfmAivdGsFNttxvYLiU2NCMpstk3/qrDL14t9YLlbE6u00jo5uNAAO5NO9GLnuyhdHrpa
m/vik6EB4+BomZhUzlFIBprdD4g0sl/DQJfsa1BEOxu6a5V1ay3fKFAVSau0yg+jiRaViEH0rWc7
WnmXWKgcqKa2Fjwg8kYd89Bk9bJBwyYiuxSlbtXmvyD2ofMADY35V8+mFLt3WKFwdt1lFnhHN7ym
dbDQ+QUKGXJuRrIlAK3YXykNci7qdEX7lXJMlrLvqoGuL516Ag9j5TGNxrncfRYsQpb1XbRIFd4N
RCFjvcT9NzP6gSbCCCi4Tia1Dxlsbvrk6d2mDZ4LYyUF6qKIjFc/+wh9D8JAOu4sAwxyrdM0Dy3j
JI79DtRv8iQOUYXIJK8Wfgj5V4vxIHvZaiASpuq2LduSHjKAoeXEhhLd7RJzWuloXXGjJEBeUmvV
YLEvsno+NDXht+GkfYacPRtM8V1q8td/D+jb2tafM5Z5W8gdBSMRZaxsRDsTIDCQWePpd6pbPyzO
rCv/d1KkhPbnSC5Dc0xMkQkqkB+j+jiYjOI7prZ7d3EzB1Jq6sw45C5K7z3tnAat9L8f07/vwRJv
CrWKV1NNHbkA3dh5q2EgPqT597+vgZn1pznPMKgTQBjAVnOzjWlcJJJaKuK/IvxgUNBHoXaPAigM
yqFppKMkkhLZB5xXWtkhyuU8kCXCbQME/iVbUmsXiX+q8avkYB3h1M0NsAWtUO9qAgiL9j1XVrK0
N/gPilDbOTgnz2zs0PwMUGcRRbTStcEptTWujw5ZgEjaa9NcDZ0uk26dJDJFhmmaLdcdShpr2hjj
oohXBQca4E+HUWGiNh+iaFgO/kUYP0gXK0zUfYG/kGM0FOdRQWqOUt2UXwP2621grhLg8KitUeBk
VMSSsll6RQAJALwsCBFILrsYsaQrvevkH4lrX6UN7867eiPKkoMhHnG145KJPjJTFIhf+6OEfjor
PM5ubLmbp3xM2M5TwqcM6RfjKi2afdQD5wvB5hdp+FTnuGJSLKUa/BYx2haxMs+7hxwTqPXVYQ+X
W4v0t+oV/v4hJT8u7KiIVIn6jeB6EU+MBov+/0qBsycTtxZyoJdUENzRMem3cQ7b8Vsss4HcrKNB
yIbsvkUiCJW3DmhdV7sKOZDte9ZkECbcfS6r70TQz4VEX1o19hPpMekAG3P2ixwCNuh17jo3no/x
fjC/axIZDVwd1hTGVqDtyo2rNngbEx4gKddvGqlmuavv4u7tEBN3WZFp4XPQDMiogRH8CMVkNNOn
Si0JpLdLqX5XgKSpw5Gefxo1RDGANombM8nZ8059NoJDHD6kBDjUKfWYJLT7ZHjJqLXkyobk3ifF
GxzJD5/ujIy/hx+bAY46qiKBpJJuPUBC4ammleuE4yykJeUJqo6zwCZrba4flXlKR0j4VD7vXPTH
0fjbRW+6n3I5jAbhCNJcdrxV4yQOQGEaQbVzr2f3w9Hiz9u7GfcjRgFlLCgSVoCj4N9srPnoGI61
YSQ79xpA0t97OMof4L4mz6XG5udmsowKsZDGkquJDoJoLJfJW4dvEAeTt0OeuAjPzXH4oMX27+f5
42UNevWqLpm6fOvjD9sITMf0DgNxXYWTtbQwV6F3p/8JF+CHSdT87TrTfvm3A6dU12rRR5RA4RUd
qOfMXc7Nvai/DyQ1EwA/WkfD+Gy9sWCUVqkN/jKYR5q+IzkObdiT2YEpfeo8VPjdOTA52o/gcuKL
oh096z1RvLlo+KTvVfbYoh4DesNwnOXyk2S8NfoqUehSUNNSxkWnfZAFn1OdCrprhC52ZOcVGQUJ
NuHW1Q4G2G0khhYMkO6XT8wRXQAURupTBwanTTNAFiAthJekQZ1KEGuKLUfh4BSLkENjztISAceS
uSMoi4qovsqhPrmjYxVUgq643tAwdWw6shcQCk9BnZ0EJNvNcBQoXEhvvbsVsmMcHkv51EUPuWc6
6Ote+1p9juPuK6sttPbDIs4J2EXEq3J4M5Ni03HjVfgR68SOSU+mv47xpEzgxf/j3Y8kSLoUibyi
hQCKnxmITKH7n0p5zdiryc1HiaC807qZ6Z9klMFSuS2yaAnJtTa7JWXjBepeFGrkwnjY31o28qhb
w7fWdyI1QS7PzzXMWQRkmkIUerOnTsNMg9EqMXdBuouRLyXaqxY8EuL2LrvmuyL+aotHCu9y7BC0
g3J5L/gXpei2wJDZUaNOFjO7NYenqDnitPMryk1TIUcBvbmHgOSF7yJfTmPBVYaMaoQbA5deZ6xd
+TmBj4EUNFfYe9bLsiSSJlik3S8XA1CPZUrElDrZSJNq4orqbKE3U+hXLK1Lk0R0DgHYPrTmS5aF
9Rg+hq7nSPVJb4q5OFypqa+04pde60t8YfM0hJxjsFTkc0MzF6EEI/IQp8k6CZ41dRnEr5B7DJlk
VwPHGYh7xczWeiCvQwTCgTtFZx8i4zIqL1qxKmD0kHuxHyl1lQ8ZBpIudP6LszNZjtxYsugXwQxD
AAFsmfOczCSZJDcwskhinmd8fR+oNypWmWjdCz09M0mVUyDCw/3ec3vjF+BqdGT8pjr8ECZTqKFz
oS/6ceYCukSvOZd49DoO6AD7AYiB69BG865YCMXeymHrQNzKDZzHurfM9YDvyNz2ZN561odPj9Ly
doUSztWuwLCzzYptQwSpZdxhPRUpEbs92cjGuByAzra+zjlXqnttiJ+JGdo7xjkONy2Qm9wuLRwI
zZNPpMjc4yDNoLfYMQD44pGM0HvXJruDD2KH6AUGWlzEI54s9UEHRDyeDc6PrNkq6aOK1rZpvlK1
XWV6TwjCttPMd1yVBHdgnYkGm8jNiJwEEd0DFLcWTQqQRsm4brHqRoS5dae9wMGd233+XlEhpsMq
lkBSdRDV4w976F8aDAKoi9T1aQtHojkVwv/a3FizQ1THzNYFZxLDlZNyV82yGb3Hg7PKliUxF6v/
3rb/LK15RQeerIOexGSc+/srgmHnaGrBU0XdqceuGp7++8//y7Hw25//7ZStXHPADMSf7xgfmv0C
HG9emafYzeb//TrQLf48GDQG7dQQhkA18P0AavMMFu0/bI/E2ANh3zoCJISRzo1uBBlbGDTihb1N
aCMGDWNJ4wsjt7T0rUb+tlPZi0q1vuqBjKUmDo6lkhCsgxQg8vzDIFlriGVOjm/tEmYiuWwQRu8d
/THi+ZcB66G8ZMjTHLPbIpGbtTUnfBccOltnS8tnSXvIShB/wucQMrGdWcHGBNNjTkFKIlsMzE/J
UruzEjJrs3gncmPV6OlV74NNgC61A2Ld+U8RcwaTGrTBhWba64rYPNrZOxqMezmsBbWditaSQ8Jr
N6ZJNsbwLMsrmd93pIeSsrIxjVeHWaDoS3yP6dKELJeXe3Pk8jFI9qJdwcZYOgBucSuWMQQ4rLYp
nX2BXS6Lb2rsL6L+VrNVdEC+VTzIbtTMHeKzItLeDS/f6kpN8tvGbg4du5sllwq+Wbvm/v4ZOG+q
c98MR1e9jfmT3pzz7CNycWwQEFpOmzNy3a5eKmwMrkLbQILVxD5omSvu4JbH9EWC2pRsM+q5I2QE
+hVNJI6PlWOtZfU+5u1autcha/bZ+CsknYo0lIXT5aekOxdiIfB+NtVWl8WtKuD7NtqDqp69dD2M
e8sj9lmoFBH4KZPEvUYDNb2xIZtu66j/UL7UXyQ/M+ZywpWVgM5mjqmYfroKswB2MNpp/t0nbn9L
O0K2a2IDacom+mmT+MsQ+LeF/q0CCptsUPoGVZGHM281aWNQ+5PvtDBnw5wvY/X/2SPgBrAlITuj
MfitftXMTvEHfNYzjyPNhxTsqD/KBOX0rn/vcwoYULqjs/FJWxffNgrAUJjNKWpnoY4/t0nWA2ND
JSdYQlkkCTneXF3zSaL/UmQ418AuFuFwC8JgV2XGKoCtRPOh7Xapj5BcSxe9j/MZHX1cfCQBsjLG
v0iB66vZgONLuWTgIyj4vxRXeUewrNYckODP1eA9zMTeIJV2nYpuRfDKMnfNc4TTx5Z7EsmNlhCW
4TPKmkUPhU2PWG5wMURJ8Io6pzvpl9fBe9Z0BdYkyOnyl56+4YOs1JeRy2b1YQLLHu7H/EE1vSXZ
zbTbgBsSgKF/EA9wJ2xCmSd3U3Bs8jc9P9ZVv5XS343l2qVd39crF7oERNCyfHVUrqZnvJNuemx0
UpiE+cID0WJRhkZ10vV846nazcCdYFmXRDnnJulSpcNDoRHWZirX0n3JcsxoYqaQg0bgnYiZHnK/
LQ0I67lHYAB1neQwj5yzzyWCYmek+5VjC1sOJF6r0dE0SHmZkrj3sFfR/BDbTjJ4myz9urxD7LIt
ZX2nQa42TX+X9jsP5XCnZ7Pef0vq19bUGFGSQZ+9G6hh9ASKE700SzFxedMLLgJqIb5eij8NvGVs
4UllvJycDH1ugJYb6Re69lHHy2eXF5ffWVr8+ZQRGV3EyP/EtejYR5ibQpwTItrJk8TABMmkwK5G
cSMzY+GjkysHyaB6jzB/obRwRmJ5QBo0p0++U5TiNPTi0WjNTwKKvrRqrOCj7/TwE77/K8km8857
ABa30zoG6b8a48swX514XHXMxNly1wSbMMCPH/XaVuExdgRdmxc7tWjdYjin6371uloHZOfBNLo3
q2A1YO3jCz6SW0Ayc+ydZVtdmIVxl3Oxp2HEbqA6dCeHdcp0u1jalrpMlJum3DfquqiOznguK8bv
4lPIa29vOvSw+FIcnyQuaIpPzEr6YKVH60LBMqRtQ/9D47rf3Uf6CszC3uu9exv7JJ7zVo/29vAe
EcEes4/qhFf4+F4dtkqS4pARnzJHP9pJ+CRS2oCKTcY9hjBZWR/SRvuR4mnc8a9k89Ej7ZaCM8gJ
qU0D5rXEwuONkxX5uBwDaZS9QC5l9F9R9kFTO2T1Cy0SVTkEZNGVebLPnb7kgEpmYYWQpIEiD+Mp
xK4LGyAjopQYH5Tv+dQsCeMl/ndSHyTowY4YXqJ/Ndw/sG/OuNm8olumhnKIXGD4WUJknKl9Zfpj
15xKCf5E7mw7fs3plJfauCR77GyDoDC4rvRp/Mu3DcgXLhNgplgWqP8QrKt9jzmWVnM3N1wmtNqr
OjBLKSPk1RruaZAJbUKjTVXXms7pafscsoNZ3bC6IJ8LxLWo1ZXh+8+02ygTrkpMr6852zg/C2Jf
meeKqbotjU1QNYvY5GKUW6gFHDwrwgrJGS0fvS4+sfz7Hpyfs7ZBd+bV2cTX1Why2SEHw9+c0hfX
6CHMLJ8fAq74XuFA7008cZhTbI0zsHYWWpTfovYht3Ye5h3AuJahXGXprc3xV41sBVfKsmpy9DGE
ZeufOrDPRKjnBGd6hBupCNhSSLnkGbkbqjdVDR8VlB+K1y9ryoSgPVSMM9QyJ+7Whhk7wnA4hOjK
qFUPpnbREMp55KP6tU/CNIAA5GyBjlrlgPemS0M4bmsSgu4Ve+COrpioNIqlLILzGEPTsbUzmD/2
NHFUSc8T2imC4piLdNk3ylug9g+dUmOoS3RnmQvjYqTFuVDh0Bb1zZPUXtmG3BL7zkVOG8bVcjCa
XdLBQpWwdSZyCYqrEDe1qq40pUITmP9iLLQfDfUjHJpHK9kP/X3K5LPAH+R6Byt19lb43nDKkGeb
nwPvqy/5wuTSGv2rbMiR77T5WJD3q1tMltILgN/amrsFJGPJGuc4qQu5UeKDl31O07C2X5ZIEFNt
5hA/Eu2b8SSyLdOQcxiiVMkZpspZK06gV8j24god7vLuNqpzj2NPuMcSj4SWns3woWt3SvQ4tO1d
rr0lsBIcrOZD/NJG6BCI+ZwVXbxR8m42YOLLWXiq8hAxCgmYubpJv07b5GTn5rExAXcfnPpNG4Kl
i6XVxNhn4uTWw2XPcxkP2MLrAxkWbfWegFkV8c7uq5kdBquYKRNN4R4NvVW/4RoseWuZu467/CgR
kWpwRcxe37nD84jBvZgCkjLM7TtuMctmVOaSS7g6hpdAC7a1xo1eXxRwUoR6c2vO0HDc+t5JteL1
QMNcL6928hHhLfGcDqIA07TURAAJdHs9CXUIOobXcaiymyqeGObM3W6pYGx2Id6Nz0V/ArVHyE+7
ZitAc3LThgQZ5HuWpXsPBq1FqKfGPqRJoKnks04Ty19k+baRdxmTp85INyKDOukvlKKiTa4vfByA
eI6h9spzp6B3NmmMR6+xqSKndVGQvIpSkr6y9hT3IMx2rkG+GXykcmzyavSoQzFskCxk1XWwlCUj
/oXT35vTzUKssvDmeSwuZ9y0rB1r1ftnNSPwxXOXtd4ceg21Vspm6sUPoZLR/CHnr4Av41fodbN7
K4lwkdLacfR9rlR3SNtXnamzzcwJ3wDei8i9mA2qf7LA3WbUHwEuQGLTCPIlQp0h5iwbxcKwjkaA
vFUSi+tySisV3GvB5+zDtcMSTx1SsYMQsde4COH4Jdl9Yn3gyJ75LM2i3AoyJbWLTL5CexGBsFQw
dCcGeNgGGkr7qBSXOn430RmFwRbgOJ2m9q7RyTcad5BIADw/Eq47D8pVgaiAS79PfR4NxWVkaavc
bXg/4BrR0oCNj7YJUX4JesG0OkvZPjeqdsdYcwbsuY127IZjeeVH6kbUz0O1RdCVsDX5xa8249n0
PkaqxgGAhF3TGOy1Uw/BUHr6Zawl2+G9Xu+kB+NAby4TdEYdGdoMw4MSUjV66WMfJbvYNlZAOmYm
jkrmrMO7kTh7oFdcNxmJ9n1+zGkawe0Nk0vLbKQuaQwRYp7jRCEsMdPJWU24jnIdSapxlXTDJpWP
6bDtUxYdk/PEfStKUsqcnWP2K8nYFkcX/8vPCRNBdVDXeSuacTNT/YqLY1EyNPCzuTec+vYtqI+K
1mwMzlwgNU9WzsWMbGiwzwA7rAf5VhknVyc0FRSIZrRIqM9BVK6r5DUhLh1YUeUe+pSL84cDzWIK
GLa0OWG7S6m1s1E+BcHF6jIOdGK90V3cgkIma5/pDIeuxgfw8uRU2HQVbAWKxM3P8drjBBY5l/6R
DC1M4179FGtLhaWG0zEX88E7q0yj6E0HNG5d8Tha9axXv8J64fJhgWIoocIi94DlkOyiM9c10wJg
sT/jraDg61eKfRcSQRgohzLfBzVOPz5JznnBvIUuFyMgN3a5jQZLLyv31PAVKVSNRQVDBqAGXFs3
llFzyMLHHp63tM9jxPDBH3dR/axijxoAq95JF6OrrZ9ShAyztOe9xMXYUni992iFhqSbx0X/q0qT
eZJ+sCRFkjzgdVLumpKPkXqNNQO6u+tqcHBxt0G6tVJda924TMPzBz0CI2QvbeIPsFYHTY9Vndpe
sfqFMlLxxzgzlXkF6iqxqUfjkMA7kNQbAhtnYf/cBtnOV0CwqhfbPund0VE+WxIXhvgSIHXMkkMF
mt3mnBpaB+kOxnMCo+jVS7oTsb4scL8qnyRdIT0opcPjaLPyCSZ24NBbi1D5jIdgk/kDJtgcnbpy
TKdyG/84fDBKxQjO04PrkFnsfIQJE8NXZVwLmgamc1ZAN9/lBvpLENKZYy2rTpllBJsygEEjUvTn
AqpwiSBU6OjlG8ixUFqNrYe1XkeqDGLlYvcAlf1615o0t7krFozWfDAAwFBpfhN/JONgn2jvlnqz
RDIvA+AC3HvSg0o9TIrsLPWf3BxmV550DxTEj2Mu8Q6MqxEkR+Bmn4GtLiuO/oCnzdbyvYXPWQ3b
pULEfNTRn7EY7e3jem82A0M9SDI99HHxmtgba6j72cgUP5dHggDuEo2Lp38E/V+/2F00azF/Bs1j
EMyd5BgI8GPsm1jEgZkm+cnv1Ltm8jSIdVZc3ebeDCknxrusP0qwy96IDEWS/re0POXQhf0hZPEP
GnIw64hJhtKX7KjwbCmnwAf5hJRfG3GcMk2KB/3YIBZS9G2LvENGZ5cks2YbmwOq070KBb+wq0Ph
cwhUL0FY073+ClJtrtlvSrar05GgTX8bURyr0UlwOy2JA5BsyzlEILTarbEk6A1wjLNqhb4cyYKf
3Arlq1Th0Q3WM8jvB7U66kSEquEpTZYtvQHuUNBqtr6q1jNLKciWcjPmziYkJoU62gQsqPvhWtXX
DR0bP9pn2kOhLqCJZI479wgCjulHDOpjHfKlkHwRAtlWuuFtyNt3H+uHoDBpFZy3rrM0s1miwl0K
xXNrVZcoNuaK1b2Y1IjcSkvmAhniD+lWn1j856nxiQuFMzCRt7ZoFh12kIyN+L8bo3+ZrWrSMgC7
2kI3TPObpCsCl0VjkqlNI/SjyhVfh1jWleIHE9Xf+rz/fplvnWtNtdhIfWThqYX3MXqNKHoE354G
Rf+/P5D210+EhoDxJr0iXXxrWQ9G0ftFgZMPoskDN5G1tstm0Ywm0Bks2S6fKfMfnXx/9tx+F8Z9
+3gQIn1Hm5R/yRO0GrivUAXMQ7ZhJ5mlB8XgOJr98DH/9pKY5hngGhbRTt+9Ho7XKJlP3tZMTRYO
ZPuNsS5v9K2Zltkz9xli748g1j9b6JZBHI8wkMFCCf7uLlV0l2jFeICnlmjwtZX5GP2fxw2/vYLx
XWhTq+Wop7xC5d4qhq4/qVz/+fF/byP+/gLfVLVtqtckZ/IChMbSsmeK2R56l65iQ7/wliDZkmFC
5uOLbd9S515gm5DRq+KzUzQksgNoyoGw0JRr8nKmWIcc/XVmh+T0zO3SXqloXhGpPgdwzAzgNQZt
5RzJvW7thAESfFvR4LftdlFXJ3UoMIgdYYyTu2ZT1xzhSRCZPvPq/89a+dcPZ3xrCZdJ64l2ioKl
iJ2NcyI25mzFxIiKX4x4kS9DaPlhef7Zr/39i56W779GVcLsXcwZvKTnLqyVXAYLe64dSXcdAI7j
pflh4fxF1sDrkW4mgPbb4o/HgSzz0Dccl+FNdjZbTnWH7v1WZfLiDIwKGZ1gQLGofeLgjZjdRYqH
Q0/siyQbNAGC898f/69Pyr/ezbf9QAaTCw004ayo3HlQ+3On/+EV/tzlfv+833Y5CO/Mriy+33y4
eagDoE51xg94Dv2f4IE/Hpd/fY5vXXeDrLh4tGP0gdBeTcAqMJtqE+nlo0qorXT8TWXOQxRIYfJq
5h2ljrXL6w6997xu1g5dTiS8ZDJpMJPqdCeC8KJzy9dsbZ0SR6Nm73o8OTWMdcWzOMI9rQjbQktr
dvuqv5FYMOuFztFI2TsicLWWdaFMNdZ8Sra2cJ5M6M3SO0ewXmrnPtF5ZHNaF3IztjPJoY6ktAv6
dRSFczt/JbuJfzjFTM+TykYsQC5of23tQ454rWgOYXZOiGGhB8ZGCs2znUcYu1LcjMQ2FZI62L9o
Cjm1xqnOj37JUL74hQNm3vrOfaod3P7s5tsGeVpHTE4DEz42X5ERwWNt5g13gUxdyvRRp/Wi6TQo
2QLI09kUGs0eqs/a3jn5Iqn8SVo3eWBrDTW8OChdss0lOgPH5bs38ZRSDCM1Y0mP3IwM6H7RV8vc
D4A0TYUw+0oR6yOaLxDbj2F8zNTjkGPHxF0F01bEzNTVtWrTw20o+Mr3QHmmFQcV2TQnouu2KbBg
cW94k63JuGTXFURJlUA2jWWXaCsr586IQNpDqqAfRxyrAKFkum/5sgK4Mx2IwrLmOl1Eu57vWg8W
lo/KCL1e26/S+GY2zr7xkmcD0I+Msl3brwGcLgXDC8QqEXIKK7iQpqTQIXLD54GfLKiNZV5s+xz2
Z1XsOnNVO49jou4IPEGTAwu2uXrZ0VOw8aFNj5UTpuJ6SBdMo9oiJStOvjHoJrLe+2xphXFTrV2K
TTBJUtyEnzBOlDMBOjCYqEJ0j3DyzRV6QnQWkLfO6t6a2WJgSvJsoo1TInDiffsoRvtsp+66H49m
csmqjjufNYv8/Ke6RhXTIO33p1FQpYHm16DJkIz3bU/NRACwqKSIImL83grDPSEal96KZrX54dvt
puno66oESTzG5aJG1U1s2cwg/cfwMOAUlOdQuoL2nUEewqDXMFqaiCFyZqvuVnMSxr7Tb6crr0X9
oeQQsuh5xQTyqMEmnaii5jZwyLPn/jisOx8oEnkxlXOs/PgoMm+dFO8WOpFaba6ddd/QuBYpBqSg
Ye0l+yQMweBzpkqbDmbNtAeWJ7IJ45g34bPv7Qywp2VdbAfwgZ33C6XRXQ27u2fqFpFjlyQOD/64
7LmL6CF6k8b/KLWs4wlPua0OB1G8uv5XE+dfSaE9pp22jARtamlWBMdZCH/q2L+ZQj+FZPGk7UoR
r7X4YLDfItcfxjv6xUgAZH0rZEr+SS2MdV+AnAozBtxFirZdcElqbMLrCgc9vtY92NH4UtMGH4kn
gpJoDMfA0M5F8a44X22JHjX3p5ATxkXtnDIeLTps45hG2D/EZS6k1DiWfU3g5MbIOQPyh5DUYELz
BwMqOQjgPC6YIxtvsRHRei1SjKvaytFQeuSQJUCKvWj1RsLzZC+c+Yo81omz8zRlbXAXCerqV0DG
WTwQr22yOXgVGc2tSlef2cTCCQfa5ZF973s0UdQQXX7p76Mwh/9EE8FXcBh4aGKa9YgOyl36nYLw
zdw6+ctIzJSrgqERlyDWyD4LkSZ4uzjaSCw6+CGZqylrdAWJNr4BaVzrLvPQyZOjcJdWenMlq0Yj
fz09eo6jngmQ3SfYria494MxjidUvtgam1NsT+7wDJlOa3fXBm7zrGtppBjhPolgVo2TWVZyv3RG
5wrmbZrq2FvoBxAqtXY5gBtrtAogI1q75jGkEzqMPRpcoGs9e2/dAj2H68wkpEEErZqocp/9aoN1
Y8ZmQ04aAX4ztUlmWu4su7K9Eo5s6/57y4pOWUBFe4N6jLkTdGFWLhoyqdKoxwCvlg85ACLmL+SU
8RmZ2o17dQjudR0EjIfNWVbdus68L4vs6Vb3nkrLwxCxskyeNtN9b+IacRGFahgvsirf5LR3DPsR
27w+tjil1gw711Tjq0azNnKK3CO/pCOIAO2YhNYz3SCLY1ltCSU9NrgBrdTfCKJ4PHGojGIf8G23
JfpGBGh9S5O3+FA9PK9jV9BXGZTXeuR6VjbMErJVqbQvZBdsIFCv/cq/KQhc8L0fpmZuOpRfYNEp
i5XSmkn624lEeyJDYMR6C0ZBZ0jaZz6cz/bqCv0+UhxGu+4CrncKp7tEcFLG2hqDE5CHZ9kUKChJ
1PE+plz6TN1WNDldw1xEzAZs5VZ1NrOzpW1iUPb2rlfeje2Hh9GslG++Tv+qelZ1EgLSN4+UzKqY
OLi2mNcctLhR86Vqy91YW4jN1xE1Kcs3TAjW1jndvfgYps1L67THSnogs0fxqBKUl2ri3DEfydOI
SRTOKkfMy+K9zNaZxmWrS3GPvymtuwwYFoqpGYHfV92pEcmNJHD68aEkPFT6yaoMuNs0sCKz12Fs
djF5FWgVCJ6o6Qo2i0zSCxuYxiOq3tdRhFU24gC7Dzv7vrGMi0dsjFSZoSSvZbaErtIQflG3jFJI
eoB8vKr1YTm2U0r1tdFCGPPiTMNyN/T9MXcBH6fWgE0Sm1HW7WJwv3nHpIQ7h6r1IPmrj8RFOj/5
Bii1svA4Dqid2q2Q2hMt+Kc8c7YwrLtpxq8+aNVGhOWyCpiNGjryBnteCmPeVL9kyJelE+StLvu4
JUMbTw4C4yaGoJphX3a/1JFmE1ZBWX2N6X3WtiuPaGkjLZ8iPUE5oWfmzBnq15K6iVplqxBQNVPB
ebEOWsPayYqRWU6SpRyPpSkx+bDG2q1pBiRoE9rmIuYTySr0l0j7lHJcxdEz9c6dDoJzApx6jr6R
7kIgWG8TtMhJod5VyrgIBDnwIQ2/N4fWaGl2V5ORLDjD3ulZfKvQfPax2jf4/jvnkGcvtRHtddy9
SmQv7KC4ZtjWDTeH1R0fMaPNuqRYuBSnTHGWsR8vdJVRm8NghoG8yuVR6+DuEtPmlhuN4SrdF3ap
Y2IxQukrjl/GD+KXHu204aC1n6556chAhIgz75iumZU1D8arqo9zrHEYzEj0NAmOlLQE8hF08TEb
kTgrr72FztFc0Fa60z4n/C7o5mQwtoW8lPLa0ZAz0nM6EjXInbDCOKH2O4NskShFHJKhhJlSLAnp
IUUrR2tPL4yEw7tpOjrhX2tK+YHevfvSgjLmfcGQZD91GRDqG+Hv3OYlwJ0RmB806NkmaN4rFAdQ
liobXYml7KzYPpgZQDNu2GFyp9FBZhiJ/sAvFybyS6TSRUWiDvTeCSadMVbOeC6Rx22UWp/bfKkR
N2titFaS3jUHwlKIhSJWQQfMWz27JCpWvTurKfMkfjuXbrKs7rnefEaGcQ4asVNIFRyzm8kx0HeI
mKc6uvczjg1k3rm3GLqnlhJ6JIeFe88d/MwGCY/iJ3MCkYnzcNZAMpXk0rESK2ThYWfNLfVYVf2i
tm85NaWUt6R4SJWLXm1GE9cGwSXVp1ldTOVSuOZ9bwSrbuxW7mAux37lM2UlM3smUBpLRbkV46xT
gicA9bM8sa4UJOQccj8iShCHrW/emHYw/VO6bVUzv1HuEvkg053t0aD23x2kOIoHW0oQ0dB4Gneq
dlvSHEfDqppHX66thIOcLBk37fBSdvf1WH1UjXhidOy3ZFyUDxIzvqokpJkmxxx8IDDPRzFxoquD
nuUrhsaM4ptsI7xi09btEbklrY981zTnpv70zLeOwXbRID8036QHedcleXgas71mzrJ1P0342UXn
nuz2lzvYqJvLA4kSs7rY1Y1NxZrMaXc30ZtRRvR3mQjJ56xTONBOiequDQ4vuATbPL4RIgF1ZGe1
V/ifA1m3SMc4y6YOLl9ebM0dFVR9RksY0T8dX2jZi7YwZ+Bup/rFVQkC+Ri0e/yNe7uSJGNYT3H0
JIhWcf3x0qbmcvD0Vej1Fx9xFSiqR1cjn4GMChtb6rwSr53JOoQxulHtEMCo8+S67UrwLLnUj1WU
rQMcoR0kDgQPc49tS3CLxHlYs7ZM+Com113sbI52y3Ukkj5BNNTBeTSzwfbY1U1n5oVrsFOfoDeX
erMPEubiLV9nwhxD6w0aj6FWE/HJ4CXyx5QJm7ymofvaNyCEVcRLZlB92B3ZdJYgb5T41FVdTVPy
HqJpMHP7a4VySsnKjekA0/CqF9GnzxE6JSDcn459xkcyDfuYFGmrSlf3U5aF31yt1nnOS2WmCmAK
QXpyAhXRZT2P6o9COWu8Ha4bPe894nEy1EutfdXcJ0PlgpqbN43WKIXuz56SD8U8ExQWmblP/ckX
OreLQ4hMvjwId5fGS4Vk0bhZZnW8HmVwUQixwOARkq9sdNnSKa8R/7kSdYu4bejJ0pxwmNR55rVn
5uv1LxIQTQzeSWd2N1r3cSzZV/N56sKah2AxiWZ6+yiULzpGDM0XuSeeJsqN4a/HeFnC1VXcfe+s
W3EZPTlvQ7ZPwinsYMcIrgKjjqaiA3XtP/r6oxtSDGGWcwcuFEqiOXiKkxuY6svY1tvQMB6dCEw1
u0FWN+m85rgKYFW6XBvMZR/e58Nk+7Vwh+qXAhJByZrvK0m+ELQS4VLxDnBJmP+wrtxk4TVwPYaS
595PxK6XLdOHAhIWqmNSU1zgKCPIjpLbfdMC/HFimwg2PLUpIgWHUID8lvTuycnvA6R4hj/sIvW+
wSC7USzv2KqQvwlQz3KBoSTcdgyhfMTMFRV4wohn2Bhiwx1qMfryJafrEnt0UgtkwExu+n+kVif4
EyUEZr+O0TifSMxVfevaK3u7Dgk1+oWUV81uOSU4yeZGlS4d+7XvDN79Sy76p5zuRc+cOVH9ecHg
BiMvTRX3GA2AVAiaRSh8J3gKfOWJyAmHqJG82EtCb6NfPWO4pmXIJdd9cI4goU2ToirH61OsW71b
tEqwqtpxVyfV4yiyixdrHOwCcUdBvrm3hSlAF3n6eWeDgcewKxj8NcXVr1B61hA7MuMHY9OfDUWu
/raK7gxdBn//5qK1okIZhok43zpvDfoKtbj9d8fS/NuEBgOwjYYXlgAb4O8N29ZCJtj0YE6QEC6s
JlwNuQH9PSs+AxjrombQ3WubKj6PTYstlX82kgYRkuZMCPu6GeTWAKCc++FiStBJ+oPrDseK4VxK
uSHQTksPjTrxIy3KvLjVtkr2hMiaOT4KL3BwfvfGneGOmI65pnoz0xgOmSnvKh5rme988TrY70Hw
UnPxC05jtnLFL1jHqBlAEZm05b9E8yZ9MsCWXfCW5GRG1PkPMJO//QhQHSA7kJ9JA+bbj+DUIkyU
kiOk189ZiPeUwOr//hX+0saeUjmhJgIOI4bV+dbWjVA4xPXI70yxtU+e6k2xSmb5zg7mE6VMnRNs
gVnh4P3w6//NWaKrtF3hoqnWlB/8+69PTnvjDADMZhrOnNKHx4rLKM03kJ1g5nGgJM+FaBdWvS3L
R5vHiiBbqrKfSC6T+fBbhwuEC6+vmZbFX3+YE7XGiCqdRKIN9fA6WpULf13+yC/V/tZK01WmBGRd
qoQAym+rXTo1TGoMvITzNYtRicn9cxgCnbP0HHtPFf2SgNNMRZQSozF0I5QR6IYdmjDVaF4o6tD+
02RLu+DsgerJ2PuH58o6DxQZGf1hbjyyR7DnfflotVPOaJ0gX5qtQU3keFx/VrSpFW7jKkdJaVab
2GvOKYXk4BwQBMhk5UGQmAJypxhigyA0JfR2JUKhFF8ChMOV7P1VBUagyecZ5BPDfLa4aYFSkSH4
NfxhqarOK/u+0vY1F5e2LQ+VPDn2k0B4GVbqsv5HJK5RtWLzePDqgEiUL8XCGm1O4Q/Yi7BqdnEA
8PChdt78hvGWfdWss8hIcAsRVJMAImlTidvAucUlm1Yu+67PFLRYB0QjFQ4+cf4ek5loQdfrbnVN
fIm/LbmhBoiG7ERsJGqm/hI1W7U/NXj9DO9Upf1cuvaaxiP9c9a/+ZCH524U64H7gom3StbEXkTE
LaFZC+lLE2rjGmQLUGUHzbBp5FVFn0u9evNq4grALw7I7XFe+GBrLNQ+gPWBcK2QiJvmRHuYkcBV
e+TO0LWMky2H+U/t2z8HNkKHr8Tt3IC6QP/29ydMD6JU8ZwEzmF/l28Ig1qA8/CPcjal4mLJXopL
Gax+2E6mjvD350ljKCYcXbdgqXzrGHNuGRa5XwaDv4lBXCGTO0arfDEBbdt87y39H17xL1skg/cJ
9IRbQ6r2twe4VOpgsGoA1YaK1vlo6NcfPtHfvkaNPx2iug57WP+2UVVjExHugDv/fz8RM4h1ukxW
cgZl9mGC7ATz7P2/X/OvL2kwZ4f9ZDH1/rZXJFWvI0udDDX+QYMENx7a7uG/X+KvX9s/mz7IVMHP
9fvisPnW4vh/SDuP5cixJF2/SlvtMQMtxqZnEYFACDKoRWZuYCSThNYaT38/sOpWkcgworva2mqR
TTI8DnCEH/dfZJPxtHwNUcHuUTj9OsKJ412mxsKx8h5hLnmf55XmlTDWaH3dhrTVTGSUhmE/+j+/
jiNNh+B8yqF4CfZC1gx8hKehfmj86m5lSsn0tEiknaZ/ikNqAVPTsKge9SreBuKtYt7lA3sIqO9K
F24GPNYbyKRRdN23j2F3XxlLIiSnRi+jJKTAnsTDZo4JKY0qaSWPurcpHVz9CtbcxO9QF8iM0qnl
JkOW5CnLMqf4bI2bfqBnpT4AjjyP74CN7cBbrTFu2GpMTM9ekhc9NTE/hputbmgZYVd4krym10lf
by35h5aG38ILnb70Ly/0w6BmL7QR4kG38hBhsG2+n0SxlWO6QouBlQaibmGaTh/2VbDZ8h5NTPc0
kyfItm/Ub9NN+OvhLD2zWUc7UyOBZV6zI063FZj2ioFGl6QspIonEyo2enRhNJmmkjF7N0NsdgKY
Ibb7Y3DRnsuogfWPwbrdAMvnZrtO10uyzqdyJ4RjprwRZWx1bqZdWxYF04LcSTxM1u442Tj+7l+w
dj/1BLmF4EIskyP9IlMj0ZBIwGZTSLFxmsOH6iK2hY287w/KAbmQq3rrXRYL159TMTU2FJQjJAPt
8tnT9DVrlON0hPhs2H19lXF5KxeAcL9IirM3ypqIFi7XH7JXdQYNMjqcE4WMGNVm2EAAdBpEcdfw
dDYDppkL81w6IS/yKdpsqwjctvKGnlWlrTD5PNAG2U2qbfLZIjLmZCS8VbhOqGyA8+NLojPW1RYz
EX6ckzvICu2LPRjYtbH/emmd3P6YejokTVIcsurPW78Q9Yoc1/SaJzbwOQ9yHWwokXoOytjvDhXZ
49cRT23rzEFRFFllEmX2zwFLM3DVRCW9yRXUjyi2aIj4gnZXuoW05vTQPkSava42l5VMo1y3xh8a
f62tuglxPW/pOx5BXdvIpm6+HtopVRjZ4AokIdPOqp5nUn1pjFI3jW2ycymu3avSspUt9kf2sANs
Ky3EO7XxfghnzZB3so53nREQLijoGlGoXrranVjCCsPQSEUtUzO12eQI9KKomwQHVyA0pMgQHPba
UvLx6yDwNtDZ/95xkb/Mh6CAAFaJEjaByP6Csg20hX3oBLhUl1SLiig3qEkGcTaKKIKe6YXylFDD
LLVJPzfmvoL2Ahd1ZWxlm8sNGkULh9apcX2MOis8JH2bjHJjcQSjuyeOxlYwFl7/id1v0hgVRYUM
VzHIrT8vJdGMsqC0aA5WG8XR16GTPgfn6ONv/AN1yK/n9q9T4XOs2WIKJSMsKOopa5p5Ji14VbuU
/KuvY6DO+ksqwRaEIZKp4JijW/OcD/dyRJ6HlFfV5YepD8QvrmLCRXUKlQFf32MPhLySBuAB2d50
qUYnsISATSGk7qSZeYnj7Z5nhXRLV55PXKR0vJACZ6wKZ/TxI21rMV3rbemYOWqY9bAT+Hh9CC5F
n56w0oU7aTjzK7SV2x6l5vq64qbZDBC56miET8UnS9qNqN4ocBN1a+0DwMLY3nK3gQyF68Usmm+l
+Fzq+tr3n1S4Fr7mAWAuXyvDScvvYnQbQEqW0/oi8rwLRXIGyt+9p+0lTOqkarhoKb7XOH1VUFDl
nyUMWJmVXajxxjfQ0VK058GAlFkFU2vLQ+9FbrpzzaQu0el7H8VkuRnOAgPzbP8pt4bzEEeHEjtm
Vz9CSdn7lIcUa982Ox1+RNucBSOoI6Ow6VgA69/pyrfYwxxaP1dp2oNlaaxuo9R7y7ysAJxVsXw5
pr0TZ8Y2ChI76zRHkx/y5jFAPKWyrI2o3VWWdFa24oOQm0D63SfPvOj0tQdbSxaP0XioQxiCdi3s
8/aiCw/ucIi7xsGTG7A9VsDqIy9vlQq21W01ehpwStV2xer+YSHmJjELffkGCVp4YBZtXDCbvpBt
M8hmzM66hcQsJ9u0Nx9MESfIeOyOskd7wgR8lUE2soP2vulRXYKE7SYJLXLvLa1R3C4K9C4sQpWR
v5dlZKzl8Boacr9OO+EbLVSPEhMmFjKQCte8xOi9oQtOm80JTHSRZI/ctKyDKzcMH/oupGzhV2hS
0levLTr0jgysCfG8IA83nRmtPUG6i2A6oAZ1qGuK+4lhwVyTL7R4vMcTtpKPBsxGIy6uhOKsxVVS
KtCAk2lBjo9eggITCqCdG14powHNjcevNBCsxeRcwK8277yDBZbWk7CecLeUXJyiSM8U7TCE2p2R
0HMuMa6v4UV6Giive1D+jYQNtnLbi9Rxnz3xohOu6dklvnlMiqMKNkdpb1rrAg0PPbvuZZpPb9Ta
1kqur1qZVn6KP8EY0H9/oGrsxPpZqOYP5fDTQJeUfCyeKKnlW+mrV6Zi2SXoJVXdc4NfefKNQYfO
7z1mBYjA9mry52jRC7TuAlen8UyfFSwm0hE/Sh8CklZetzClehGV2LZHZQEVTnrR/s8BflzZXShU
w0s63/JTIIW7GOAQF8qjkLy2YDgFnZwqV/cCovuTbj5OBQXN11B8tIK7Qb5O3J05fsOjOdHuNOt7
LV5J+oGy9UVCB9VDMR7VGfScHhrIIhNgNBxfzBQnen8X4UBvGbu4eEy0R703HAiSYvgSysA7imaT
RwWFQHD/CjRxEDchilZm+RbjapLABUSnEQnZY9o861QyJzVFLxgOpfhkiN+ptUd0RDvhxezBhoib
ANEtCbPIUblLwVqOcW1PZM9AQM8GhmRAfdP3iw39XF0rbD35YQSgb2QTdBLNr3ibeolt1E+N5dR0
1n2MSawLIGZObH5TUL1odZT79SOIoTUCq48jq56OFuW2rAQQru5VNBPFejMgFlayYgb88YScqfwa
qnDTKWeauFoi9R9J96oarnOZniCL0KA8monnA1XDHAWF8tKX8h3KkmdssVuX3UYSD+KA5CKwfiEo
1713E8CF4xvBSb6wGmjKCsxhejfiGT21uCt2eAmr/Q9XRmIW44gOdGDTouhCM1YVKCjCHQMgs068
70Z7SKhsdGmObQJKlOOZKY6HyKxR2jGcLOEl1LcuppuIY8PCPy+kGkU45IiBTSsvan0RDCCCSFk7
D+9VUdz4PScTC0rH0jjD4rLsnT4Kthqu1ElV/wwqF1oyXHEjfxbS6jlOoCeBysZcMoOR6DXaixDi
ndk8JN1rEvU/gjjfZspDjpJvG5lgIdvNUMfng2puEoaG0e+AVG6Lv0Dd30llAGVZ3IVi/tyNOkLe
EJ+EztrlanyNdP/kdIx0aH1fMFlHlHYzE1yJ6j+X+M4qG8WCgwh1FmBNmQlAVszxPlTggI7o7qr4
KEjlRjVuEoRUjCTby8JRpHtjXufSbRGUu7AXoDAnTtdGa+r/q0EIX3rgDSJK/PV4hpvRIxpRdia/
NOK9aj773aXbhKsR+/csvKvd7lqSj4r1WubZJcinYMtG0GNCqAghhFII3AbKCG7b3BeweuleN/tB
LpOVMjwFfCMcmE33rEoRR4qDK4mJLWkNUEjWvow0QgNDu+EA5ZxNWlDG9SFCqi8XPFtsDkJlPtc8
TTWFhghAk6p7/BrR+YVYdqEj3+YZ/l2FJkRhBjt1cDfmNFdLibK2cGXIMURPaIAJdfwWCdIhdK91
/m3kTi1ynPvHEZSEB4N70I566Cig/DIXWSM482O8q8E+tuWTzlfpxLsqvFNlGqXanZvBbUNmFd6Y
WTo1lDK11EHx7jRcnxXvLka1GW+wvW9133vY/18nXieSO+rMfxExZhky5femj94ZNvK56iOCYSvN
QnHlRDr8KcQsHdazog08kZO6ke8wAqnKpWT41zreZ3LFrBybanEEaZ4A5Qs8rkt3m2z8W6xqKD5s
qHs5/34hj3gatXj0TSWqh7OEOM7xSCJZVUFRJYesuUsyiof93dcv5sSNUpdMg8K8aEyPb36jBB/T
daXcYrDz9DtJzbSRf4B6vZbxPkqW6lEnrxRcmSUgyQrDmzcfsjFJB6nlNgYekrsS/I6duKfnskm3
S/UhaZpVn+uGPLsPsaYp86HqDOlDA/BOrPplctKDSc1/ycH8rtrAZtf5odj3R+DL64VnemK2f4o7
/fxDXKkt9VF1KScWG2jkeHrtJ8GtYK1to6tqL23qbeAsCcYuxZyVMKNQ64V8YKylmNmFGG0F/1DA
zP16aCcWmYyMytTG4carzsthruilQhFREBDCe81/9Iv7v/H5EmgDLuwAjObXMz3qTW9q8axb7SVN
Xg3V/vrzT1z/YLDjgmUoCj3eOVlRFFsEisNJzc+DF4R6qYv+hBZuxjLa1PlPPbwEHr/wzE6VB1BL
hB9J+VBT6aZ/ng5jFYhyRBmM/rXmVFsBSsgqPwvu1ct242HoOGFSPIB5C3FPzAjqenQVZYWaMhSR
z2FLgM5CTLl5rTWG7VmZreRnsN7fH+h/v/T/471mV7+vpur//pd/v2T5UAaeX8/++X/H4KXMquyt
/t/pz/78tc9/9H+X+WsKs/r1tT4+5fPf/PSHfP4f8e2n+unTPzZo+dfDdfNaDjevFWj39yB80+k3
/9Uf/uP1/VPuhvz1n7+9ZE1aT5/mBVn62x8/2v/8528W++1/f/z4P3528ZTwZ1u+Qlq9DvO/eH2q
6n/+Jsj/RZGOqpalYDxDSXcSuO9e//iRjhwe1Ul+g44QTf/f/pGCKfX/+Ztq/RcLyzBQxheBOtCV
++0fVdb88SOVv2HeUoqe6Izqb///u316SX+9tH+kTXKVBWld/fO3XxoRxKYQZiCNR2EHR43Z3BDk
UJP9mGRxslId7WQz7iC4rvyLzsaSHDL00r4/L8rOAs4riZ1ZxR69etS08hcZMknqXRr5tm/NhUk/
nfIft/x5nFnFygtCsab4g+af8L1Doyp2b9pqW5SFHfeQt8IFBvs7ofqXeDIyhxP3eXrZnxdZ0wES
hJoMfPvWugVZt0GKxhZv3CN0ua1xKTn+OjuMZ5MsebBX3sqbzhnQKkcTZ6QPqK68n3QBfwh2s/Ac
5ov//Tl8+F6zbIgdUBCDdvpe6tso3Qvxoxxdf5jwf0yqT5Po5Dv9EGM+iYoSOJ1GDC4xm2h3BBTE
CYvwH2j8jbKJr5PbdL10uE4f+sUD12claUVIIOe5vGAD+pffa6tUu4w4xzuAHgVWOnvXO18YJwv/
REiViyiCljS45u+4Sas4j4Entk5vg2MBpVHv0NTeZrZga98Xos3TzN/f3F/RZm+OZo3cFTpPVbwe
v5V73CjT9QvqHZt0IxwiZ7ETdDoeoDKLdpD1i4fVkJXVoPjvo+NqjvMM1ev8bEoAUddILWjZS4nt
PIn4fYR/RZylZcNg+HHlMkIveivBRKnVwqo8OfkR9MVvGE9jbX7KV1aLHJahdwDUfnQIqprDT5Aj
f2eF/RXkF1UC9Fsb3TdYYeZliypQetf6CxYmvzSY3p/Uhxiz3QyFF9hrJQMBBvsGbHbnOu4O0Pqa
csomuFxqL518MR/CTQvhQ96ataUiZgFDsrgRW8V5ky0MSD65lOiUQFGgZ4tp2ucIfaAP/jhpqMjb
YQ3vHoLfDWY5V6mdbb1t0qyN+3FdXkD1XpdbLVxFTmArC02Ak7Pjw3eYTb9xCLBvFJnw7rAxQkDu
+WVEje/rZSz/0ml4f3cfwkxf48PDlHRXS/ppdzQGyTbgfkTRLVfT98s7xhyWdYN3E47bylnUoqIk
nhnNmWk9yunejfepdZkW0TpCydRHy6mkgyC0Bry07y6U+BTPQGT0c9TIyj5z8PFcJ+htFn0AA+d8
rFqQM5Dbj4l4GIqtYD2pBaDs8UFIz1UJ4VVgNz1mwsU+qKNVE31rwtd4km3K8QoxnxT3LjTA/zuV
dZVq3krJ7vLOaRqa+v7OBanvy2+9/AzBMCvO6x5ot3/0Ij6ofS6gJIztIazfkH0ugvueGrybPCvF
XaxG9gDMzp/sW+9SHZXZxwwVQtX94UFPaOtHaZKRwvx1l6jDRh++SbAT4v5naUA0lWBE9ZCWo3Wo
UtA+dOaDZ91bxl3lOToYyrjukDf6gQEJ3RrYvT5/wBRu9Ycauqw2/FDzXajAKr029P0k6YaLoo6i
kzTwfKMXD2dG1H+zHF65e1TCn+go9fKhaOjkVnjNJFjV/gis107C96CNUMKJN03z2pLP10fg+vZE
SKFU2WcSjG/A6yq6ROBjefghZtXNeF4pj6l8LGq+l4nd1Q8N5dvOw5SrwuqJ4niNkmzIXGnCeze4
9NWbHAvZSeGUq5BKTTN8dOGOC8p5SxtFGhHmTfdic99jPqsCsK5l10Haay3VuG7iZT1CDvNXavcW
qfUaWqPtS/j4FHafXnFRWSFPqoQvCL9qAQyUYdX351WDHPKbLiKYvetifMfEt6KqbF12ovqg9fvY
zK5RIdzkEOdC/CifwvyYi0jp0RwUMcSoaUyEJppl2nnAeqomJpdlW/RbvBQHzVsNOUNgoSIXHWD0
C2tt2gZ/yQk+LLXZ3Rd57RBKGyta/zGWNiL4ODi75/5DcD8ggfbW2Owokwf82t+L8PYcf9OHS+t9
yju++g6zJAGeeGypAd+hOwxrnue6OkJu7IpVKq6Q2g7W41rahAeYtmtxh7SWa1ups/AcTu7fH57D
LHXo0yRJc4XvUL/A1l2r6+ks779hOb5ObfM7bGfsv+0RzW9qpM/iCvwFGcxSqv9emJo/CorTSC2J
FhWeedc4VDFQrk1OLfQJY4mbrf6Icm7UnfftLbbjEtJhgf8NkAZt1fs8eypylmyD4go2eSOCeyJE
mBEMVv4Sx1eJgPOpYacNPlJglGUhQH4Rt6vimJsPAJrFGgqpcbCya3dwQoweBqdj3bbeN93/gbCG
RtMqq2+/ftLTy5yNUAXPCswJ0xruZLOXbbW6H3dV2LPCH8IGIcqnCjmnClF97d8/rIhEhKlfjeLW
7BTh+g6DZYxAB+MsV+XjSszNtaktQVlOnYkfX9ns5EdDoA2HllcWAL/MKVVH4T289IVFIp1K3j+G
mR3/EZtPJ47TIlmzf72JG0w9HmLuQ7Qq9/2mcORLWi1O4SznuSdHyLuaJDI0lZva5+O4y/WolVS4
4414lKMLvdBWGgD8r+fFL0yN6dCnLPZnlNlONCZJInYmUYzLboOQ7JbWJULlAIJcTKnEFbKzZ8Y+
W1pypwcHRQc/eTLeORJOiA3LTd/DwsTHrSGyMUNeGJt6anexJh7QH0FmeZOrhP3QK4yt9hvUbFGv
s6CuDS9W9xiI+J9oB8/9hkjeajT3Rgn5OPmekF/oJSujemh8ZVVqMK/EnzXnOM51ZnVjmNcyDKsA
KIDYhbdK6IiltpIRJZY1fx8hSBum2caa+pp1BrcImcJwRCw/eBSF+xpXlRaGv4BfZATrUB4eO+l+
4YUuPdnZtEm9PNP7hkGr29YWN9EmIVWC0LQKnzGntTNb6naYfS5he36pGf4+kf562LOJlAeV5XcD
ccFBkHG1q+nmCWE8AVSk/dBSQEXizrOlhe1mMe5sZ5MyGG5CRtzSWlVv9KVQ9tx4h346wdo3FBFU
J3Oocfz8+jkvPebZyWVkShEao48ZRnmtqVux3JXZzd8IQT+AfJAC2i9+cfmYCa3sE0KyUOPGsb5p
H2vYgX8jCrcbVZ6oAWDaPm8zKKq70RgSJbX2OhqDHH+RJfyHQWaTI1QAvZgDQVThKqq/o1yb1H/j
Ck0x4M9xzOaBiooCteXpaeXHqEBD5KxolrC100udnaKTO7dGMYqS6C88FGyZ+7ZViDFhayU72Lg/
m6Nrkzbxcmx3JZ/7h98B5V6++fo1nTjAOUxBpHIYSJY810lUVTx7UCulBKFpa6zrcwN+0Xe/QEy7
238d6pcOG0v5U6zZvpklpeRpMbGqDfcTABtnrGZMw0B8/yuV1sV4syk4kEYI4RQPIZAUzDIgnU3n
yDKVXTzCFyuNp4oUjA9+HjKQmgHK8vOU7/SwFfGA7lcTO7Hcl/6KDvQKPbdD+zQxb5LHrx/oib3i
Uzz5czwA6FWlGC7luJYqaomag2b3VB2/jnJ6hvw1qlmqUlWd7g0tTzHMUArCQq0mI8XlpKu2WXD3
dawTadGnEc1mCNpOedDXxFK3U8Ev2TZOtcfEc2EmvifeswX3Kc58ZiTsV+705Kb0q7eR+d76iKFO
EdHr3ro7hI0vwpW/mQpMy6DzaRhfhZ9tW64/mPjcMszG/yZp3xpr4TGe/vzJiJzGi2YZs4moDN1g
CCKfX0sXSnaRyksb1vTOfx3AXwFmM0+TBg9sIwFKCt6QLgGHraJ1ubG28Q5lhW3//et58Uuz/Pet
46+As0mo5Wrlcm6Rlj+18iraSbtgiwAUGEAy9L9VClZoT3I2cuOYqAGfV1YOdR2gFCs53h97W7Kb
7Q1e4NfwUA/dbslz9OQy/hBsduRnbqt4sUww2TyTuxyF6Z2JIM3CEzxxxnwa0rT0PlTh0LZrglGa
8hlb+eY9mFs6sGtUFaM1SfnWv1C247q4ml7eEmnp5Phg5tMCFEkG9NlsFCu1x5+GyAA4E2pPzaHI
F3bCk3vUhxCz+UgRzxLT6X0Z6Z0vX/UhHN5sOwQ/FK7YXz/IpdHMZmI3xIWvT3khOHNM5DTkkcTx
5usYJ4djYgQLjh5I5pyTAopY0Np4yjnaNTKLuAshx0cPIt1W2cJWePrQ+hBrNvs8MemFIicWkNNN
fxcdcmlj/Gg3zX5yalijWLl0Rzt9Ln8IOZuKZpc1VjSlhvhxudvcmfSnC9zqN7IDO+rfJqi+7x1/
hqOn/Hnmm9iBqUZCODmtVl67U/tbrAe+fmMQJU9tiR+izGa5ZI4keNM7GxQ44vhiaeWdHz+U8NuV
3IkrEekTdeejJ4ZOm0YZ28gpS6v2aD6g0J+I3xEttdp07SM3XD7IOH7k1bcir9cmSo8uuh51shHl
61IiuUBDZQjcTYoV6FQcz6tjj1RdwRbVvFnh8wi5m875SiDZid98kKqdkNqV+D1F5lEK7xs1XvnW
ZWw9DOik9AhPlAJKetqzYHirTgMB1V7rACNVIVyHSn2WGgF+P/WDhhVVpxWbJnlN4aXHQ2KLho45
7fdGf57AgEoAklIDURpSBy3PM1TGI0rbtYZEmr5KgS7H/Xg2orfv3iSmHUvPKiIBuu1l96pwq3pv
FFuq5lrodwFGirF/RB9n0DFCar+bxl5EOAOj8YQSd5igSJiY8IERNTEvcozPSvexds88/youfoTj
NkfYBdG3IHMgHKyU8I4KmR5dhMpBRKgNcbHsCSuwLsEK95hB+M09DNWQtZc7RI8N0Wlc41o3fae1
fsA9RjS8XlsTHMx8LPwzw7gNaoQBYhXdAQxE/BfMdlHvQGOsUs+7cbJmf+ubQ4aRiyWBqr7rw30J
TNoLg8cQdbxBQK1qRFFojDZS9lKy5fdSi49NZ/eqgRzPuQmRwcv2nfozo4inBbcuyhZNCMj5Gyou
WYYv1SXO7qW5F7prehVeiUGf9diVG6O+MhH/yvSt613G+aWgXXnilVDfFc2FFuxKDlEvuPQC3JDU
2w6q72itvfyn3F0q1Bw1vBFGXJskZEZFVLC/XiYnNk8VQgj8dzQsVE2Z5Xed2Mm45wacq8OtizWR
fjaGSxf3aaHNcpNPMabv8OGg0/O8MMf3GOfuttkyl86tLcVUOKVLJ/epzfNTrFkil5mNHADZRlLo
ne8U2yNi+gDVnWIfb5CJWDjmpo/7amjTHvRhaK6vRX2REi7HazVFQTl0ivLG1BeErU++JQVkokIR
TaJv/DlMEOFXShkUjUD3MOZYO1zVufNvTwQFPZU/TjhDnB3YfmKpbhJNp45xbzaTM8ytny3E+IVE
Ot/4Z0e1JsVhX/x+ra7PJ2pnAdoR55LdEuRwOrBm7+XTaGbTWtOGMNYbRhPup0vEpMsibP8FbvHJ
tPvDU5u9GL/yxDbUiIN3UrZq72Ib6XQYg2uoxWeR7dnaz//sNc3md8Wr6VqPgHJ/2aJWmb/0SzPh
5LOz2BBkwLe6Ob80Z5bWYvvGnK6dfK/t+l3lNOf1dunKd2JOK9Q3/gwzm3B6NviuhtQ5mmHjqkSk
rr8ckoUJtxRjNt/8kj531RBDy44954D8M1UWQpzMMj4MYzbTYMGMWtYTQu4SpGLO+uFHQoG7Gi/6
tlp//fJP7W6fntlsuskpSq9o75GGXr47am+D+2CdbwaI84ntOUso5aXHN5tsBdIGlicRLtehRcMd
StHSbsaFJ3iq9cL5o0/gQdPUlLlMVauPLmK3NJIkL7aLBrSA2eKeRtcWAlFDUt9ehPJTqFw3SGkG
EN86/TnzZVSfBwSNHqwxx83otUqFhS92aiF8/F6zrFjRkrzTsphaJlyLqkZA+tov71I6qPmZ0tC5
VpagcaeaNB8fhTnLjNXczQva82z0+9Zuz4ub1MmO7dmEes+fhvPiMl+HxyU3mOk1zjdLWVZE2rMK
egXvs+7DIWZlhukVEkrbo2+ivn9jVJAk6/MyW0jJp6Uwj6NJ/A9wNimHNVuNrWYJg6AQByfkor7s
9AUmx6n3BbAV8jntXUgDs6XYqUmbx3I5bfo1tSoYVlvVWbaPPjlfP8aZrUJlEOssGIiDgolT2tXZ
tBYt8ozp2qTla9ehob4OVzg7bpKFQs/JZ/hhjLMlWY/gqZOO2JJ532TXlbr7eouRTwXQZY12rjbp
9s8VzQBLpHKmTAEuUUz8NikwuPvJlhvi+GTNvQofxhud/vy7BBR6HcJ3z1m6kJ56kx++hDFbBrVi
Fbls8CWC5inLX33pvNVLW0OJFI3pVZKV61LLFjLhU/0lpv+fI5/X6KSwbK0E8aRVddC3QBQ2E/JL
2FhP/RrP1JX72O3kBWKQfGqH/RhzdggaWlxlscpA/XP9Gl9Mu3tKHf+2/Nkds618VTnRvrO19XjM
ufdDDr6JNyWatYcleN3Jct7HLzJbm7UA3rmcBj/8wX1pn7WpeLgRrpZys1PVBqgGFns9flcTs/5z
NqtlXiv6ATkMKe2Fbz1rxpMOHtrU4nO0fPe+epd1t2qFPYgvwl/T//1t/eMVYQ7BpJYDp9DgVBsO
79vEWbCfdGe0/dcr6cSr/RhmDsK0vHKUBIUwlvdUo3GqdE+6+vSfxZg9SRxF06qbhoKjfKOgQho/
Mpnsr4OcQkZ+GslskpZJPAr+lOKIU6N5OzkyyYf8DugYmGqw+bZw4zpZsOrfmn2Cnd4qu1yCAp84
oj59hdn0FLQhU5KOKdPSIY0aKKLlc5+ghbDEIjr51jRIDggGyRO65fPcbDpXzAOFM18pD8Gu8l6r
paTq9PRHYkkF7AFyZk4kQtM8TMWKEIAFx7VijztINhSUaGwARNz9DVS6yhqDRkfbV0df4vOIjA7x
hCjj7jjpskyyPYOjO/l2cQc5kQgTh77yxL1SlHkWgbR7FIk9w+rWygusYW1lfMsdD2YMiKdVPmwm
lFl+wJ7erpKFvfvkW/sQe3bye5ZulUVL7EwBw4YXtIGCsjqsv14IS1Gmn3/Ik3Qlz7myECV1D1gr
i/JFW93/ZyFmxzviaOKAfxUgyqBcCc1D03yLmoV6zIkT/tOLmk0IWQ96t5emGBgflLcBifbXg1gK
MCtgm0ORBVJNgDj7rmAkOi42n6ZVOMskPw1hlpnH1lgXIe4MYLUlp7hojgIA3ZWyrZ/klbiLt+YS
UY4W3YmQXAZQxES7SVTnJRi4eVaF3kIP3vYQIbplaVdJd1/Dl2vzH0NyMLx7N7uxcqrKSIno/l0b
3vTxDQoeRYkvOU3NCC/JnYy/vaXfR4qBr/pbLf0MMfk1BAe/WihAmL+03kYZb7E0XAUiLtEd5uo6
0oPSQ4u2t2AdNNj27WuRXcntdtJESPHnZE8UmmPky6teybYSRP3BoAgagc4pLDvVbnXQvdYgIm56
Hxv7st9H3rGiG17q917+oEe2NYEMDjl29F3+s4u+x/D0kxEh8P5SzNERACItNI+YYyNgPYa6LWlv
buahbh5hl0KzVr1LkWkxUDujuxk3CZL9byaO537ZrQv/WrSGdaJdD+EFuCkPsWARe3vk+62hQYKG
Ih02B0KHGrtrYEq76aWbwIocZIR2kZGthuitih5dBAMzSFmjXq0KYTdahzzfCcPRiCO0Zc8sis5e
uZOt0Pb8vFgJ8d0QbDOsfhXlrJW4jg/sSNgTjOZdkVwJ1UtbyCspM1cqrYFescvwGq6EUD8J5V3X
AVd35ZVSnI3ei6he50hzNMcusGyN56fHayT3Qzk+Rz1xV5bNlS8E+yHQbgqkqAd9i7ihLeFAJQdI
8bgXinpscWqHr4SbT7ErkIxWPRf4rX4rijT6QOGrFA9LT9gkSOoGrbHCb+pMauJzL/evcNfFM0jZ
THByFJ7WY0IVXbrPpMvQdNr2RsCsT21v0NhwfBzCRkleuSCvLe0iLXY5iDgpvElafdsVZ5OavKuc
jRKKSfRB8K2guQn4IzRpz+GQjMOJIk+l+RpRkNfYOnQKUrjTIJ7rqgXqdtekLloh45lu0M6wNkga
SAi7hCjXg9Zu81vN+KZSGO9K6WEQhB2iP2Xbb3Rzl/biOnXloxtDfhEve/JYA+2AIsnXOh2twq82
yG3uW/wKzLL80VYKogANLQ8T1oG811IXU3Lf9kThqIz4QMGLqOq3DpeQssMxAMmfQnf3RlNjQDLa
fo3IQOs7eTg4Cf4BVq9tPA94nJU7kvTcCpe1cJ5FGMpgvVGr8doQMasZdkQtc3U7+v51ogjrRqht
vbkzimab5C7mEHAB/FWr1c6AIbFR49x95w6WMyCoro3f1ShAhLpciT2uS0KwaQIBGVFtZTU/y8Hl
k28117I79UHJMwr7kp1Vg12PwipQQ4y/cGEpz1tS4R4zpHH0toaEYZ/i0ZeJNigvPCUNOFSpcgZ0
V4zoNsECwkzAweNj0QgB/oJPNeYjunsj1Le4Lr2rnhfGeSHjcX8W5Hu5xiJYEZmXMjPwXoseMtSZ
C0Pa5aXmoHi+lgR8aBPjvs35/xL/RjVa20LLvhXgw6DqPKoGXt77DuWYFFllUa2cwnVXQl+trby2
x7y7GHrV0VBExn9pXQUYD7nXfuI5fUV/TAJx2brqSukfBhrrZfsmihaqKtUW2/No8GwVn58e75U2
Pe+GxokkY89l8FZW+kMSD5taoVVFpTW3eOVBd9kK3lbBdMpHYATxpMAVYDl875mjufYjTX96KX7J
Jf28XeedeY3Fs9kGwxWaKEfPQ7T93WmerxRemMr1qHrrTj1qyCfmdgctxlf4z8R6RMWrwLzzve2g
DquE76UlCG5AAmo6MmL/JtAxrW5vAm1b+pvMLFY+wrXJwCZ1PnZnobarJKYg3IXA+G6ia63gcUCt
RclDWxbxbRHCTaiBDDfui/iiZd51CeYiz4XxmiJVBemBjfRGyjyY8z8razfgQKUi/IyEsqMq15bZ
HPvkUglYduh8Gxg4DMl3WcXs2g5Ca9XX3ypTtw3tJhJr9Krjdd9cJ/WmGiBMhyvTcyaFNhXXmnw/
hs+cfQjYvI6TH9D/4+68duQ2urV9RfzAHE672bknSyONTgqKRRYzi/nq98Pxt/FbY0ODffrDgAxZ
8jSbLFattd6E86d36xN3j5wx7jHAwYtto+zHHo/8iaBSXyXxVD+4eNfkzo+0va/wAo/uiujDVDwV
PhEu6FJa5qGDTZT97Zrt7pwT58lo4wTTITc/t9mlz8+d+Yzt0bAclfxkpRfTOvlsE6ZPosnBV0/m
yM5Z/1IsPru42JnC85p4jeW2IYa7lRcz1eQE4sP/yyH9SPByBXiWQbltHGJsOh+B009X3gzRcwvX
TOxn79Kn6a50yY9ydgQS1wh7HDFuu7LZZNahm8W2rBj17VAo2eNzx5ljqGeiY4y6QNLyc3Keav66
Ke57YD6j+tG7NwkBaI7zbMwqVtU3wgg3asDl+7pgwkNUeYHItrnOxk6ED9P02Q37TTN/yvhKEsee
P1dgr8X22wIJW1D0hab7L2HLzlLNle6pVtR1iOddtE/P8ifO6Hs7Zt+V7wor3v3ANxV4oYLE7jQf
OAAa4FJ/VvGq2l62y3O1f9879t/6QcjkKE7xEKCJelOKF5jBTWPJuEL5X8zldrvV5jut9b8VsR7C
U24g3mp81u/Ffj26BO2ZTGa88ZIRsqUPf35E/9ZMIKSHlI+WHv38m9bdjSyRCNXTaFpUhLg8Jc2P
ghSaP3+KvU7K3i6Ev3/Mm949bEKjslrGD7nv7wwhd22jtnb1WNT3CysQqZqcdkX+sca/2JnzY4jD
Wk9w+0wea+Aax7q+kZz/FcxyaPB/LdP/OiTc/3UdbywZ3vz2/1OHBlT3f3tQqwPEbxYNaCe/dikr
8uer3cPq6fD6f/xl0WBF//nLqjiC5OwxyuZn/eXQYDn/4XU20XHgVI5/3zqd/V+DBv8/noNhOHEY
4eqcv0IL/2vQYP/HCdfG3KQzpz1H2vp/MWj4/d1bpyLsK0xGgIrxq/Rfl9zf2uBBBtMyBBOwrS52
FQOZrQorOEMLGWiqHAcKgbo4lY3tkw2kmImH+FkuYsiOqks/0yEhLbWT+uiU40NFDP07KMMbAwmu
D5WoGdGo4RHMv9w37SfAQ8t7GwoGb1F+0/dFczEeRx8OCCwMMhPx3ElOfnfJgoDwnCY/JHYu92Wf
srPr90wf3hj9/HU1r7H3q++vT5jC7/tIUI2TKwzqQLf5xpDmh5MEAFlOfudENu0UjOEDnRS0FWSM
myGt9dY0iEZa+jzO64+6qZIz7KIl7uvBjcP/oyro9fIcf7Xfxqoap/23xLah6jOmsb2xKo5bD7fW
RdPvKVN+z4Tfb7UiiyizyJIXXSnJVky+5Xa58R0C0/xojN3CPlYqfRj8dzauN7b8f10YIRDAOBGT
svDtlLZcvHIuDQqQsbc9Ikrc2J6IMzCJ5/AWdEo9jSztHKLFYPq2LH1H2iGKhipLr6PoJA6DuAMm
VfaF8OWD7nJgGTm8Azi9YS2/XiQvAYhlGPEi4Fvy+8NFKtum42rC2hXUlkvkF1tpk0mMlkztEmJm
nRuLVXoXFpFxMgVBuXP90Xbb5XMh0Vt3ZJWVRPpVeY/SqLT6l7DIBInvLswIL3pSI36uf9tn/rvj
/uaMYa6zkf93IrxeM/gYmgbEe7gZeW9OBIElzGKWviROSi57o4K0tXASbdPFmHARNKPyVLkGrC/5
MfFyKh5/SnYkCd215NY+9pOBHXeEsyin/Y9pJIFQZuLWV+ZnhStn7HUANWEgNLNolzjm3iO+Ly2M
LdVpcp5Sa96UE6V17VrtsQppH21DVUeNA+I21Z75MMU/l0na+zzVmL+oPt1NTilP2ujbrRlgY+kT
kGlhwIr3o5Pfj1NJclLh7QvSzm/6AJc6zHVPTpDBBO2pwQSDocgz8Lubg3oTtgvV31xA0CDzTHiT
RZSXd5RDn11mQ9IJ2EtGxrD2D54kQrifavtuJm/TyJe9qqckdiQGKY1VdZiO9kfRF7iKGlVPzF11
LgJv2CSD0d7W/NVz71RbhQ/8sRnd7KTlMu6tpp/3XUeglOHYV3/oyI1p1aWNFD29OyKlz+r2OBTt
OcrMZyvHMMsIc7Jyu0DxrW3Wiz/DEh6js/Sy6BBGjKPssP7WF05+Y7nzzzAPBOGhywQLMO3juelI
ibXK58SrrplYBFp+0tneWVTrmnm7pmzQY7Y3M/zne9BOvUoKnxQscswgKbTX3OvcQ+8GZ3yblgNR
rCU3IbfjAaoEZcj0oxrxk82G0fr850t5feXeXApmIZYdED3Glhu8Wd4tfJauSwfSJIu2P6W9Zi9d
bLpRXAL2hYNiwnWbo5hNHyYhyIxRkxaqd4Vbrsm21Veh3A41u4b7ZxI/tJ5WfjF1UDt9m2fr4odQ
pHubVIY40LQxvO4fM58JxBCiJneb9sp9j//8pZx/u78RRtfoepEQkPfw+z6zhqsXMlwTBZfuZBJz
wLeLDux6+2q0rEseOBtRknXfjws65UQ8G2mJO25UJTHGysiViCOIFZ7SsTPX0+1cvYRDIOmotb+3
+uCXAQtwJ/HWTOaae4FJZbOMw26kmRqDxtuZc6PjakyG2FPOU+or+2CM7wUasNH8cxl5eK+AHayF
sfPW+qmsyGzKjNoAK/tEMIlzcHrmoH643ARTjn+mci6qXl58p0+OQcAmjxuywNWhIFeSt/tFWR4Z
a4W+cw3Qvdkwz12fp8dlLpM71uBW6749jkUuCD8fq2f28+99a+hzHarVWnsmHBHTg0x794keeixY
6c2MS+NO1csPZqNsQIO8LLknn6cpfPD446yq8s9hkJA5aMBJHat2I5P81xxmM+lZzt6w6/nGX44e
odFXcpWtOKT/aukZdedmxyAl57qP1pw+3AgaQ5wZa9s7tdQvVUdOeyiq6ICrakidNcljPQ3frCkF
ll2e+KjsXM0NYdszJghTStxt3qp+o+Y6ObvmMsS2DPXW7vxrPUj7xpzb+aRq/14Nw3dllfJM7ePt
GNXPsS1GCjgPGyrAk+PY2PoS9s2HoG7bDyIabmSAs2pb3JgEgx1t32U4vUxIPySGGkn+ScjOOjMd
wgkX1JPC6t7t1MD6RB2ras98Hu00iP3cva8NFFFkMtpMwMsxDjBizfwQDW0/6F3rBvPWhV6xERWs
tiJtTfLb+3CbNYDiBK2+5GMXe0N7qKI+OEZRtYMtdRrLSO+6oO5O8zSeOuPJqL3hrmuXbzl3fZ+b
0V3alHgG2elRLPX3sB+Nj36gLvZisRnJ+tPIYtr4WT8dFwx5PZbXE7sVKl44EGZH3qRwb7K643Nt
N91HHd9KMk+tAw5M/Pv10V7q8pCFG2vZtcoRu5WoRQiz8E+cVnG0qK8uIs9NO9VFPPZ4hqReE3AO
OHgaJz8oG/THqXIeK45rwKVQXiazIbKOUIP7VuL5Hk0Per1pYeN9cq3hE61pth/4iXYb/MyFqU+y
ZmgmWt3doJO9n6yx2oYZqYN2vXBLm3VoYZlbvjo0jnGSuyUzuK8yTwjGU8SLmeNPp4hOSWaYe1Br
RoSLeXXc1VU8Tc68l5dunvfEZTClSnBIn4LxlzSx+p1NPqQgJtmX6U+nYWgugoVzbGIKJhnPneUY
YsGNzXrlb3N1mkc6BIJoq7M74OlbkSQFI5t86EUEjP3yoojZW9tT0DCJrJcOtBkmNUmV2Z5baz0O
bRNh35z4R0+YjD+dOS5Qjq0+ar8ynQBu5PGoquHRilrG+UF4yox+uh9Kpo6RyjvMfOljhZ8OPz2X
NOHkrmR7f2d48AbjfS2yIDdE2D94QEakwPy+YQtGZuVsd/gc+xMiAkZFsogwLqrSezuSzkef79Xi
NpOpTsTpjHhZpt2yDRM8rf98dvxbIb2iv67tvMbRvGrn/96utZFVsQ0ZyANNZ19NipJ6NSdrreSl
LZmatbUHH19gdC8Hgl5tzO9AwIZDWej7ol4UXsDjobUURtTE1QOvfhEYMmz+fJn/WkqTZcOxvRr/
hW8DQwu/8pZ0TQyozHCMayDKY5/bN0rkyy4aSY2fTOrQwMY72sNZfpcz0Swb62etSbFGrLUz+NlI
ZHVw6FOIeUXQfJVDVm0bYTl7gRXN1fX7b3++6n97zpQ9js8KhQXMP78/Z99LWg2jmWK6HgPUOcI+
Emp04zbM3IOZcFvspzMvA1mR5CRbiXNixZUQHGX+Dqr7yol6U/jQLOGAugoM14zI3y9lyktjDvIe
dWSfm4dswizbCIlRJJOYmNhlN8y0R32X1pcxnKytWY71fdom3pFOydkHiReXUd49mTr8znbdfUij
6dOCHRWpD616SrzmUXv1lRhtgcqUBeHZ3c7ulD51dXVUqVh2IRGPSMoJQRyb7FIV3YycLTpWvVXG
bejmx5KyrCbc5+uUSDCPRrq3pZHZpzFcsNKXpEG45Z5A0XaDrcHJBNS/9fNgV0bdPUalA6bhBvGN
VS/OPVGuVd23Z7nwN0cX5C6fQELI5r1WC679XV5dZFF/H0nZORFf7T3o6Zo1Zr+tojr7GMjolDvT
h5bhC3nIibG1cNfGp/29/t/5fc73uhOEoYWZsEubDb3+zQopxrpybGKqN3rdyJ0czchk6UsxZB35
wj7q8soA5XO71aMfBKMcf7lLtasijdbcXnaFNKCI9F51GR17pzlY2O9W56hiZ/vs7cJ9CXqSKO2Z
jsRfOiCSqtqEY8fKLziPutILN009w7a3L0uNEdPYEf6Z1eUNyYRYxQvjnR3nVTPyZiWGRCpBimZE
FbIif1+Jos1zmZopifVDiI2kctEfIXgxpX5oqXHvkgkbnW5A0T6QXLub3B7Pn8TPbjIqqoo9aJMJ
Ve4m2xJnZVOhDF9kpoYn1AnHfEFzVFbOrVE0clclSUehV1RnNcELnsmz3g1TtWxp+N3d6JUJWTck
f/ml+ckYSuulGZ+1tJt3aHz/sg3g2efa5jpywjjVXwvbv+2xFrZxRRkS2hCNwrquMSRRHjTY7ocv
gvCzwzCbIh6Kpt00eVSd+r3TyI+AeB/+vB299u6/33mScClbuemWzb/c36/Dn03ljRWLzembF7FE
aC11AiI3tsvRKEhDsDWBGIUXFsSAJGpP1iYuYw14/biMVCVEEe201z2O1noWu2ZwqEW475c63yF0
weXE8KJDhunJRlKPHEzrOWhhnS3lZZpqNOIekJjTeHBiPUCVvhk/GYbB7utNzqHNnWsdyupi6kAz
MNG4uxZRdCoL92nAARTKAgZMo7wts3B1WgjJjRE9m1hZfyDrxtzXVdDtlNAdoSqeHzcGVieFdozz
IBb7vY52vVP/uJPRmi60jlvDt5Md5hYiTQpOTb8sy1P4LAJ7OpN432r2E/ahKnZbrJqd8gw2hU3g
WN2LjF670Ym4CDdr3zkfX4/pNxcU0dCC70PNZaW92d6LKvXD0QShndRAMYiNTgX8sUS9w5XQcQav
qJjMsGIzXYiz2VwRdNEWsTKdNeK8T7+4vn6sU/+HbGBZtmMkH5zF2qE0zC6qzQEIk8Wk28rFBbsu
gbPL1B4zw79vF+8m67Oz1c320a9I0g6cTjO0eMTYLHyYk3ncusq4OiFg2mwEycfUqIkTyquvbmQW
satr/VAwhIRbMMiDl/jIFPPkvYi61QX5zTPjWZE2it0DTtqYdP+++lU6WbNq62Q7l7A0DHzOL521
oomepYFt66jdI5+ILmlYPC2zT4UzutTdU3/Kmw6BUDIxOPJ8IrzrR1lqTFTbNN81S7v6+4Fv21/D
IXcPZTT6cTeHv8DKrZOZh9+cMrTPtE/mg6kSwN+UMNk261/6elI3iGnUTdRY/l5oRszo4OjF8sC+
iXALat3uZgr0halZcUyyobiItCgugzkTqRNOuPG2hf2I+5UfK3vUd51anheYG4dAarRGuIdqdzn0
dn+P8QTCz9aKHXeGLKxmEftWhw9t171k3a7OOUg738bem4r9Ytndc+3Bfsj8TWiGxL9sYZGcncav
H4K0ju1QPi/kRJ6bHM+TdmJ+lK52R36W7lXiTYecKb+jnuzO3Qph9BdvrBmmh/BNAtWe7eyzXL6p
dt3Kq7baR2VkXv/6hbDYP2969j/wiJVGHIHUMezChvrtQLNyaxWRMCFJt3s0E8qesPzhVMZdOljN
1iujzZiPxmUhU6XFrPKk0vKaVnN6Djv+qlqQchIZxext2zXVrtfTU4oFX9Lb4qGoloMj5/o0rk1H
WKTEadhag3dk7427/zmVXYsE1FABYxEHoObN2rU8O2s8FMcgItXBZ9p/anMNsckub9KjuYRnAqYf
+xU+7tR0S0tR7kebDtC7kak7XbnMKM6kB+ayVC8MdYsrpJ7vf77V/3LOUcAAujI7Bp7ALu33q0w0
u6HuWS7llA2xb0wf5cyYpulDb6cKOSKCZsYtFpTHeeKJQ8mbNNXCAFenRv7zxfxzhw59wCcbHIrA
QRCM36/Fh9Y6R3Uh6XONbRPpvVe/a9Hwzx3FXUOUCTN0mfNbby20wyTJ8iadDAwFhjROeeH3sg6J
Eff8HkG3PhjG6K7xNBkjw0FujTBDMz/qJ2em6vrz930Dsa+VJBdD2Oc6ZA3+ub0Vc2vabTNC7qtk
+tAghWYxbfNVVz0akkGeHo9UBbedB9RViyTmCZiH3PhZ4DTxDsj2+s1/P45cChe8xVfF0Opq8vvd
j4LayFTFxUANx9Ukc/SxLdrHJTXPDpYx9y2K9JBFrAasQsOl9LcDTT/BSXP+LG3FOHZ5aawkgjlX
mJfUsP14zGykXamTXKIk/WBI0Il8WMR51MTJicWb7gGlezxrpX3IenM8eHllsQ0JimGynqpCmMTZ
R9aNPTCBGeG06NSxN6PfZVubDJu7zpXWZgxJXy/6j5W2xRnmVt2mT9Ix/G3l5LDWxEgijl3uuqK7
CIyCN30FT2gxUXW3+TUyc++ajWLjL2VE4Jat6eIH8x2NzxtVyH+fNLcW5saacOitO97fysneWIYu
7xMa9XXfmbVSNGFyzRSjvi8TjQhYR5skT9pdZU8+hEF3Uw8lWnG/XJ5Max3NgfVzt/tzMXHoeEmi
96ayCphpjTjXDTyg2ddfSy3gFCmfMRiJQ5wr0TssB3stS96skxVzZm4drG/R647yt68SmRwOVW8a
myiJ06g8dl1vXaUPzQbw+55To3nxBAa1ZnH0EzOELxRc1YpXVD49n6DoU91xMID3ItJTN9LxjHOT
JBSIan6QjrafB9oLgwT3vWGVzC+JWJs4s14cefzz+/cv5wwm5GzRISl4vIArwv/3p2K7k5VRyBuM
WSmYZzMa91movEvuZC/09FkaybtWNs9RPa5E3C6WfT98GH2YnSn4nueWxsUVyXPZtnBXLeK52oSc
ttp3z6pQ2PV00tszqon2Oaw1JyrHuyzA4KETyXs250jG//lc1s0zxOCMxBTCb3//Mn5tqGLswX3T
yTW3dl5VW+yXnl09iThQxb2dzymRkjCTcd2GahfO+xmFFAaLE0wQq0zvM4LnVLxYffPFtudDpSTp
MTyQrWUWFJx+teuyxzL7UAbdsDPNKqP91xumEP39T1zJNl4u9Oe8hrTMHlqwm8riNGSm9whBnTJJ
OfJ26tphU01ed5zn4ZCAcbHT2P5Hz0ijraXu8iL3n4TBxrt4eqV/kSTC0Rley2Z5GTLj2oquvlm0
/SUcqvYJ7+WnWVY7St/mCa8pFTO5aE23vPWXabiSYOvRyzA0ndy53c4280wwyHDR1zJhytlTHm91
br4YwRhthiG9IlEz9w02bpA9T46hs11lmsWhOYinRNX3UTRCCzRMcztWdbB1YawGCpRA4g6Jo2oC
M415r1/2NgQ8mh9tQCqliQCZBczzmq6KcTvXuCwv4W2q7Ylo4jmP3YnRl730xRcDECovXQiyXYXm
Mf0BBB7FeVeNd8zY9uC/G2E37hc/KIAjsmLclxogKE1ac2e4YXNfigzRmWy9eEjq7rC2yXPvmS8Q
uSpa1eZjb3beJQVlLwKhrtCDP4YeuMvkTe/b3vxjUkLZbq7t63riOsTu/r4kmxCZStYHyTZcTETA
LdOoowFj49qkFXLExsLnpEzdC8HGMsbgniK4GH6Yw7Bp0nyG5SzyX9HQiGvmSHFts5r0dzs/A/fl
NYTM2j52jnWIxsiAp0dZfJWHwfSGK1b2P+qUAUkn+4aupgY1doTN8h/n79SC6QVUjDNmbBpsbptx
U+ZjdDFlT6vlYzptdgxvUsUx0ZtL/zzPeFNzfp/t4UmLrL/OU0cCF0KtzTg6X0ZXW3syyWOzTJet
ivKvvsOiiFouIF2lAyLbjzmFnZtrWJCQCTvTf55SEg/qoj7bCzB605BvOkpi4Zrxm9OY1rHM7x1g
zNj1lHsz5R2xaSAVNA9i561uBFORnBlJyIuTfEgWDZICchTnkf2sAyq5RBRBnHqdfeoN89HLeb2K
Vt50ZYHJXNJlh2i2i3tkFw9N694wE5bXsp1v5pJxdY9kdF+txkG5JwC9wLbI77sZSA0l3cDNECwy
6qqGjF4prZJHSZokzqqnIb0MdZTeDgW1lDGIJ2MyoQxO6m4A+DlVQhs3QRZZm8YUpPFlrnVJU82c
Fz+6dCu1CPZe3kVXClD/aCwlEX2hdQnGxbqM5Cz6dt6cE6M2L3YT2hvXkWM8hol3dhhQnFuaHUkQ
yWGyCahlByreK5XfqIQ5xNcu1MG0g2fNUHbN0vn7cTENUzn2gUQLguzPmXF4cZfhcxsEzomSCpec
751PwOWgMucgGJdt86A0rvmsycjKFh6XWhkPJgVQrox5BTjnTWQHeOORtIrbhL4yrVTHkan/mQWj
tyPG1ls3LL9rzPItD5+ibjBozP0QUUcbHAA/bpOs1rftoC7+8jkycE3fVFvOni9WVySnIA+Ko9vZ
tylpmUd7am9HEbUPRuQth6E6l2hnr7bT3ZRYdStXnE2UnOek+Ml5jZO1P9WgWaZiCFt71p1oTkGI
XYk7Zv0lIYJwTwtcIqU37DulGuduipTLvPZWtea8SeekurWCtrpd7PqbLL1bXHwdkKCpOWVe85A7
y1dTT/NBQpRXKufV9lK5yS1PH+iANw2BOvuaKM9ckI+q5Ul5DKnKyQOiXUUdWYi2ITmJgW3R1gOb
aIOQOAemibNoGY4p1gPs0jeZsmeMG5mueHW/jSSOFHPHvg3ChCN0645MnUkeJmCJ7N46eLTCChqJ
M5X7ginDxqlR69YRA5QWLcLIXDNpLO9Sh3Z/KZiGgz1f8tEvwCMkjk8NsqA/Fykkd60n928VF2aX
r3wu24kYwL6dAQaN7OZMsZ7qhhgB1Z6s3ovbyvqk7WLY95p4gWX+nmiAndCsMTfwZbZLU+aCbhE8
Q1BBk6jxIgqj/gSbOuHlaPbOknyzq9TY1qn1PXAIGsgN+bUSGSVZzRqvErlT2lh2WcV8tk1IL7YJ
4cRH9d7KxBMjnx+lmB4SIT/WJfSfpb+naST/IX/QI/qQWmhympdlp5zkk0/S11a8GLC3Th3MchvJ
/x5PtimmtO02QucHY+YpyAm+7Oxi+ptb3X4ajR9ac575C5sGRkm0/TnAJjTzWZnG3tX6mAdZsu+T
ocXRwntglrQR6XwMdfE0BmWPcIiL73y0T6NBIPH4oRLRT3vW+BtqoVeMDE63730P5mQzdz5CV5Uy
aUM2kDnEWBSL882p455VuRlMbg/z66ZhfE/l7W1SDQGyrp4molaNXBQbKxDJHjh/vZfm17rryG7V
NiEESXcJP6TQzvalB9DWL9kj88UZNNQZthN6sToT0CrbECLl6KNScF90QSa21Uwnj/vYWc4UT5VW
O3syMctavINssGdvjGrXeE8tiyMmKfwSlm24nSPiWgbybCPKjZIGFiVCZQLEeod+Dm6bQJ3TUtob
2WblxlTyC8Du1UqMGyMkMNqtuTkAOdGGEvJC8X3uR6r4YQZ+zqXaOrDBxnIoNgtHfmzVxmd2oJe5
iPTGbXMsziZG/z6/y+aAAYwKYuX7d/Rmt8qt+p1QECoMI79VaZ7FWeq028pI7hLb+EqlfRGlHfdk
hW2Zm+qNV6+p2pXYRgHcokEnS4wn9VwiStaMueqiD3eDzF/kEDwtdXZ2m/SbgTdhPnsOm2r6M4t+
uTp7YJG8RCHfVuDuEDFmw9vM2nSB81FodGH4qJcUYs2PkTCfjWa785MkVgNMV3BCGA75J9NJjqqo
cEkwh3xXVjW6Pv8+7NRXSxk3zchX7SNu3GIMP7GoPWYTU0Nf8l+snIyPCAlYrbNN6WQRHIvs19hW
3GC3/KisrQ7kja34037VHKH4VSQdyztpqa/RUj2lopjjYMAqX/PYHc1y4M4PWy94mFIkHj4lC55p
vC/ZJM5iYjZjkQNHQ+v8sGtvH07tpe/Qv6jUXrbBaCs0copM+Mbdmu2XZCmvS8fYIcjFfeZ4j9Iq
GDSGl8xsqr0pkbkY2sv2higqtEJHqdDvWXamAaOWhH0TmzVQiWMwet8Wph309T31aECBGfWMI+8W
9kRkhSH6pyhSCMZelgaGorngsd6UHbB1wVigSr9MFrSEOf3w+rryBJNdE5BLnSioqr53FQlvUhmu
r3I6/IpETxJDyx3vQngVgUt9IB7tpvvAy3PLIpS7QNcAS26/NyRBHKnLwzDy9k423dca0Dxup5+w
/kAmLao1+JLflxH0DAZJfV914Q/PKYvtTOgSSev8cKfoifolIqdjI2q97MUgDzgYikcfFui2aaOv
Bi9lxPfxqNS22IgRfv7gzb25qcp8Eybmr6w2cBxM85ci4WOndNknWQeZILNIqIvSw5CpnSizB8dM
kb7WTDDA6TdyWX5qUpbj6ciko6BhrlCeunwZkiBszV007epT4BeXqWi/ThB5N6nzyTL0116HBLpE
NgXj8EPW7Fjanm9Ldqu8AkYXGQ8auvAhHNyfHvl4njFsy7xgw5TZk1lb56AkczaXT03ouNtcs8uH
qMKUinDWN+ofppoei0A/l8uwG1AlbJuFmhZyx9U20ysR5CX8Tu66WpjJioiPt4znpnY8oPyK4jc0
Huw6OM4IM5BWBUV8U1cGC9cMsUldtr7d4NMt8Bn1VZpsesBWAmpDHqnPOZSVOcLPPYwCYm5oQ42S
1xXiA+FYXVwVVQ+TmR1+H6AThH0k9TboebwirQ5uJh/87N6oRojuRknHteRPtTbuF4+k8boRTWx4
d0bvZXFrJi509/JbokjvAZ+LyKwOEIRN3+usPULRgZY2JNl26VlslmruDQLQW3QYwnSKneUOjKvk
uURsTHoNK1UF45PIug8tGz66uZr5QR1u845WEBzmexoFF9ix+8kfIPF6Rn5Iw091H0WbIAdoTnqj
AfEvSUJwnsrS/gx5l7RXOGfbkuz12s04XKr9HKlg4yesmdavtjJclam1M8bDwHgrnKKdg6bHlg1K
GL5eEkh/g3VXnA08LNnIdKvdT0arwcbs7EcxoUAzUzZTgaGiieyLnxKC58vx/PoLn2Xr3NktCyXK
So+wI5g5FmuAp/SBSvq7j6p461Mwb6WFASoEsw1V+vehllDRx/y6JCgi4QjNtO/LfoLlumGgd4o6
q98RLUhyVxX9AnI6j4gzk5DF1DFd8Qz2gtzkoZZdeGsVPa6QbTx5Gv5PchcI86U18dz0Ag15afBe
ALxAKTPQzcAiWqCtP2GY89maoUXCmBMMmkIygxDLKCxqykRtJxItEVnrMebo2tK8U+UA8WSmn8Rg
K+WmivI7z25Yz5bE+ZDo7RZwoutIjRhc9YgF6CDST3kBoCeew8L80k4sRksmIz/EfhG83eGs2zgL
66/k2MRG1cI6hbk2RPpzJZhtmrN1zt2p3jRLsdUFu2rdQQvsG+dTV8xfokRgeT7Lz2MrP8ykqW9R
HTPh5MU2ha055yYeF3DNaJn1sfUTRNlKgoK5Em9do9jRSwA8FUdRztB5cSbul19+1opNby8bm9z7
wp80FRIepo2/5kjazWXK0O51HtRqnfZ3Rt34GzUxL6ccghLB262WnAqNEmF2oh9t3byY0YTXlrjX
IaTIfElonj15p/qKag47jV2Xo2ZuxY5W4kduJmuuOgeqW3DKNcUlGLRHMLn5lPUOjML26zJyTuZ5
9dlw2/8h6Ty2HEWyMPxEnIM3WyHkld5vOJmVVRBAYAIX8PTzqWc3PVOTlS1BxL2/5dnosc7aInxt
B8StvH7oNefvcM7ldvK8eucgrJiXuCzLaiv8+1Fkz/0wxGWzyE2OJ3SbuT2yQ5c1YmCGazAnDnOP
u33821r+dDdF+a+9YJXl/Ust6iJsTjMegXc/xW5e0FJfGDzCJQ3qVm6qbRpYe8lDCrCExWqRYLY8
p8KK3jO6GUZv8vlW+Q5ZZ9+gN691FX2T1QvzLU3qsA3mnqhVxyFCitjZ1fccgeVa/BtPsmCqAoUE
sqRIbuGSsOmB2kT8bqzobVpAB5Y2wANxxsSrIh2C8l0xH1vat2IhLa4pURBGqtZdUBRPVl99Bg53
aLgYL7Wks7qr1VYwVW68LMi2nVzmPbGlVBegBHLKJ2uydRKtf9yu++c0wtw5so/LhTQD36s9XuWs
BNNz4tpEOrDWfR3PWnO24/DHIB+5i7edh5z5pQ1o4JkdtasBcHYBQa8bDnTsRxbEbON+STDhHGEG
QnjVx6lQIh7MOpZ1RvHmEoEAWI9l11objSwh8T3v1MNfJ9lcOZu2mfaTK82jh3pBdAcH9to2831W
Otj/fa/d9fqfZXYVe46/U2gntyyNQyLnr7al+Mlf2CiNZdpJMgbA381iO05/uizP77uWNIAqJONF
BZAxGrM55ZkUqqH963J1qOtuOje2fZrHcL4u+gdhUrZzaxvphYp2lmUXBwMjeZQGzdEjsWFiS93Y
y62jqEPD6LvqI12JwkUx18T9uhys1cn/T6Ok9iNRa++RzzaXVgV1Vll2ZxXmG6jaybcodB4zQqXW
YIjNMP9YCnkyFWCEzUMnqijf26L8IzseejhymuasWznRnzkNCBt0andnNx7uWPE7FDm0KjZn15gg
UvtLq30m9hpT8+DXtL21v2xC921JSMQoFZInTeyAoYYP/iC1fmXpbsbqJa0yc9Oj6o39jieiQd27
pN2HlqnB/u49+oTbk8hjFBuXkOYh64E8+aoDqTZlED0bYzRvtMUB0fnnPMetNM4988gCdGmDJI5y
3JTzAIWfDchfFk4sdmiGeE7R1ex/UZgTFsxUmdQghpxmeZlM/tAwPPTNi3QDRfJv8KULFG1i2GR4
p+Fr82uKfKLpRnfr1ZI7YvKPoQSHXj3q80JoY6Obl0OLeRyZ3PcU+d6mrOWXMksmotsKl2u9F4M0
4ww7u/Ssf0UOmlmVogPl4ridliOg1i610OY0U/evH3LBXXCL9lAHk+fNqqzdGoV8kFK+1/O8RfQ+
7ILQ55ZLl57N7Dh02F5SEniCqP2oVE7zE6FjG9wKDxlewh0viNxNrvs1yGhgn2RwWS3rZwyAqIIl
dTg1hnLroiWOTZG/r5b+NTV+nmoQfLAWGq7uppnmMALWtlAXZH+HbBli8sQOcl1pQJPFZ1cWB98r
u407Pi8E5GrPUdyOaTx6S4ewIsBnYGrjUmT0FJcoDjKFnD7P1SvLpC8I/sDVgZ1Ky4Np62PWCfbp
ZrgGtVVuRZBe1Txu25H7tySnkYVsOzlttel1WeyycUBlSJ+i908Fq9rkbUEr4ky3pbdEIEiht59a
vV+mWR0EXKpHzw+xA1xJKQCTwVNakqaRdKolygSP1L64VmthxpMV1SdpZ+5bG0V/Rx6tjR8oUhuV
w7+XrPMD351AcTUDRK0uPnXH27cQtQeE6AHbuE3VJTwDaVNQy+Gd0VrR1XWnTa2kCXL8jqyfb9sp
gjvPMvhW/oMrmuYOz7CnR73TC3dpbkZyT+n9QOz1huYYIxlBsbeOPZesysZrZnfYH+3oBfecjlNv
+SnK/iHr1zd7KojTg7Ah9hGyOs2VRCYU3AW3UJe6QhAzLSsvnJdeR2lzt4cEOKgg4kSQz2ThbBnL
SZzgf1xxF9dqPzn+kzEz3YriHnEOcYiit87dMtxFL5bDZmTPMLEA4YfZ7YiN6MbXrEEVkznBWSxr
PFVDEDcKmDPnpe1azCs5evKDLQfiZErMhkKiKl2fJQTndrGW75I4/N6kMgHRBK0JnfyhXEZscySl
hgUaaUzOKXR1zeAinrqWnzyRoL7R5b5wxnmfR5A+TvFvdMlI8TtVbQLiPqK5kZvRba9zxyLuLgT2
MCBlN4mptYRwRln2Z83JPvBmwn9Umy1nJ/iegl6cSiP96tk+jykSCdfglNVNB/qqxkcuzK/0BkmU
XiNYNjyWRFcRycIGW4c/bf1NN6qNBHf9mtv0kcl+2MxDdlJQkbtRvKAp2vuiodJ3nRDqVT7XF6NW
CE6cftfk1LheOW8q95a7PvbMOePerQWIZODHynCuLFWvtbnM3C8NOu+cz4zRxxbwayyX+XCfB5HY
rTYbqWOfA2GIXebBxQSFde0H6xHg7M3PdBTzmCBMzYMTByQ2mgw0MBDcEM6vS9XYZGmyV2qEqavw
71rTOLqtvG9T60di8BiG7DdqoD7c4dElAghrW9LmrFdDF89+323YhKZ8/mrwB8f8Mz28aIHRlCTh
xIVYug+OsT6CeY472WTfOAuWvU0uTF0b91oGD62lOqbrsIJGbi5zIxQwTIyJ8jZmb9ear3rVSZgF
YWKlxc8sWn/bF9lVBZjfoZe4px8G7Z7lPLlXVDDXle0C8rM8tlFZnjIjRFeRXWsdRPG4bj2Vqr1j
pnd1ZKzbPoQrdNJHM2/sDfNQxe+5L8bbqdPfK7Mm0vbiIpkKQv1eF8UxdMknqrIPnq/K2enVYovv
MP51ffdaW/rmM+sIGPGq3zDqfoUneHotzvwo19WurPEO9D3hHWHwxBn20xGXMemXtAY9kKUJ8Dsp
pvZ6/C2q+RrIgDSX7gukyr5z3fInLacf8GvqPmvIGV/ZK0QiPalmXceWZvf3FONjm5pdzLRexxEf
/So/Q3yOS2/swnX8w+JJm4E7fdlqVZhRsvbcED91rhg3p9SwT2XrrbvJuZkqzX/q9qfNYfzbjX6x
6zuHr1Qh4jTbGEUU1qVBfI1VF1y9cWE6dVSA3pluhEHqi5yMr/nmNnYCzFPGMHRIbnoSjJrizfPX
YyDluvUd3l2Doa3O3HKPZAxNGln8TflulJlIvNQVSTVstTaIs267b9skY2egImLX+Q6Id5pYUYcN
23B4KWn9VPYtKEFcrA4cTPvj62CXAGL4km/5TCa+nDs2rRz+XFHXPETZ1vf6OcHmWsYp0WRJRWPC
ptX244Qr9VyQRBU3muvMST3nILOl3OhiPJQKxLjIozrOcnRMUNQtJ7hmjYqGq71UXKs5s65h653b
GdiNqKLbtuYzOHhn3HQxqhdPdkGglB9Q2UD6HUXGczglPoplKFG72Yo2OI7ePOwzUDADnfLFG/qL
WIfTSjISlr8ZB04xsbBUunhc6kokJqLzWEA1KfkVpbrjlzC4U8NuWwXGZ4CDd5tlxQ9TtnnyZqUl
O705bEmfiWCerLvA7e4qsx72hYkasKEVcrOivy8qcAoWw4BQJPJSojo8LZkRnGy7+9V+Ue0GQyLk
R8QTQ7kCpeQNQEc7+jua1H+8aqVncINCTe4j23ziqrisC+Sjs3e70H8cXfEo6FkAELJZFaiYDdwt
Oo4apANudWjXk7KifSGi5Sly22NgcRI7epFJZ4GULdiokqUULHepcReUwNVFdr9QzbEzTK/b5aoC
h6yb4sutvSJug+q1vAlvh7L/MOLUoGvCMSx6EB1GQI/EldCjLQPDhw7+jD4BmYTLxjb5OogJnvTg
jskNnuISURcH2RHTMwk/HVrL7Gxzc4jBbf4OlG60XVJW0xf2NJmoBcYOqtG5cEImoad0PGLCML7s
rPk1grWHP2mzBPTaBaHt1SEsi3PvsBCNs+8mOZk/dkffr/CIGSCrRd46h3MXrmRApB5I/+SvORUV
HS0DFlf+TP1FGKqTM0y3DxmEjKzzu8qz/jrL+BkJJrWucv3YMJcD0Pub4OG5s5V4byv/iwvC30Ig
3kuHq0L1vGI+mVSGA64berRKm1kA8tVHiBFQuOSdYcXL6r+Jaroi58QPOLl1orqr6PN9ilvAakrO
Ah/gZDQeujojy+5P6pJqF6SEceMR2gTSRT7iMUFgJwEvJnmnSyMKPO/DIl05TGtjXxTmwc0w69VY
dzYqMB7bqW/iqedvoLnwT7MoIpg6Yx+aEBh1j9gCmXSB76mGCxvlP8NBp2MaxXdmgnAT93XgNXio
/FomonfnZJhNYn1yYjZl+NMTCcEsw6a/Cv4WjV09ZsD6C2P74tuGfUYVy81U9kkfkC21LJ/dQo7T
WnLLdtzjU1R2OG8Hm0EH8LYJwGurc6qiZ2+YLkN4am/xdYK/2zakZpBvGAldvDyWTEJEy2oMXlei
rpLIHeGVXzt/eG7Km0gz9QgosHBGE3YXcnIiWYfBgwqN3K8MGXPSzMGO9/SkvNF4W6YEEyCmGVRL
qhvwEVswA8jHNtlgHuZl4OQZx+7otcQftBP7sqiQB3m1wJHCyLlp3AK8GglX79r1NneMatvaxuvC
0J5FtUc2R1MlMwFhsdlyr5Vrm7gauITT2+YHygxwpAPJ5VabZn9OMBztLQ4Z7KGhDTawhDhbtUnv
qA8X5t1yFJyhOC3KJ+3optXSY3+OqhoVNok34zwN8K8iVvmcHsHF793cupqO/SHqsT3nRkbovRc8
Gap7qHp3QpcVULzUFuaumFeutkDuZrMldtL3j5N1LTJOZStbMFByYy6iuhrR+i7VAmo/f3lGVFzE
4u3NJSKl34XNKWbzRwELHiwdFoCTgX0a8/HEEfedZaVAuuhdrIDymRtXkTZEOdZaf4Xu9DB2y3da
iw7jNmkdqK03vnTTu4wCx4aYKtUMxW4ao3dtcgE4ztfYGwZJfZV5hqU/+DLzDg1GmqBbD0S0RKdl
CP8MonqxwyuVTAefdVU0wCd5wCZlt0cxmfu2CY71XHQJYovzMKAiL4e9BeeEvxGMGdRoBxmbJ25q
PoGxJyStvazrwV2ZPGsdnn1/ya/GvL5Ec3cZZGDsZ4ewNI/NlV3urzeQeuhJ/6cr/ICRdb0r0+xT
K7Vt2GgwlPLKInMlRdYJ/3W5hAh2+e0g78DNbK6TEE/KAb+BSf6a/5j6+a7SdC0BdMEw+KaDcKhg
AV/uWQ9woQJdb/vFKHf9PHNRUzBPEGKLVDZadymF7dvIG9+iLBNPQWVcIr0ce2V6d8Cih9ECo/G8
9d0Oq4WJkM4eh/u5X5ie0UOfhKGRybcEKjVlsC8r63VYO+s8gc4aDXGHmHZ/3dI5i6bF2XoTv5X6
azWdn0iOjI34K7Gnf+YV0ZcusNOmxmDnj4UH59V+lwvWNgatFk7vKHHhQqEd7JZt0s18eIx6filD
42IU9P7p8KWOII3DwQDaAnsgE4NnmiL4BJN2uFFdfuH94sgpIPF1aJc7HTmvSMritPG/0EgAQkzl
s85ZVSoeFj6YuFIMTVbzN7TlGxbsgUurcY5DOT5weUIq57DpXRre+WOLiw3DPX1V5HuE8Th6HAvh
eGxkOcaVA6Rql9Cnfu5vPV0lovkXovHY09iRscaOf/yCate0IW6BMJdbf9WN0mHnXF91ObiHgpTU
EILbrVAvOgTm1VFIjCMIA0q/pxGRTewOzv3YDl9I6B7QwCDJNFcwt0VDhbEmqzz8pXJqsIKvKgDx
zWoyHZv+F3oMNhcroaWcj8hsxw3w4z/sj5eoK8WBGQjk0UaV59mkzBJYGWjHS9pbmI+GGPZJWogn
t/XjegELgG7lIia0sWAVL81oxwVyzTNZ7fD5c++V/gMD11kTA7QZQhuRIwcIDAU84LAQplHfcNuA
RAtgPa4fEa4t1Hx2gDojHSB3ixcMdIhvh3tsCqBA/8Ve+I91faOkYSqTTK5LUnXza8HAIFws+quo
P1oX25TVjLRK3GqyVHQwGaI360R6pKsBo1D6JZXVuscKE3UA7U9aJRUAs9yFEzl/hWHztNkkkabP
As4P7WQXr83tqss1YkjRxlIvNhEtxpMgsNAKT4KrHyct9YY5nCOb3yGU3ieRVv9whFOchJg+BFvC
WLV6cEFO+IWRMScYAcc5akjgrE/+30SvKONfvzbFRuT1IdJr3PC2L5a3D6ZshD8XIBkpwTO3DNAu
lYmjGasXhRRkrPiva/+Vt24/mrqNIcDs/aTLneN89Hn/Yo4A0QXejI3bQBvJKvhMu77Am/ivbjr9
qRb3iFz8ZegW95Rm9vfQZ6ehhKSpGv3dOUTgBOVRd9cVuOYmGCqIKAAUgqkqsvrr1n0EJ9A4cd67
R2d5kkb/jkDtt+Gf40rue9ipg19gFHYdCyqqQQUZliCCi08qf5VNB922nxVCgKMj2mYjGeFuP8Ml
LHefZcbet6dLYJEk7Ls/ljvvC2C/XnnUX62E9aYDfz4vyt/O9Wbq1HLu1v5ZRWeL/zQoPANN8FKZ
M71q/bm3CLhdxYOnc8JnTZDyPKC2bQqcKp5WZyS2rnpURrYdQTljErnqOFjZWvLQQVI09b9cYj8o
x1wsNjcMD7bB+0IGtJGFgTC4VYlnG3vhqWE3z++aSrjDTLDpOK7VXg0/zsx7bbX9WTiwmQiEswTM
/hkKH/NZuDXV1F+IUWhE4fFeu3kMJX4U0fqySPNPWt/cjlYYi2A2nyJpnDmqmPdE8YYR96MI+z90
yd+qG6+EFrxPYfRYjsBFJraOTWk78dovQZw7fBLu7YWTqnWAJkoYdqAuiAi1R51PG5vzB/7JAnVJ
b6wIa3JXkDLiVxJ0BZ4TS3CxhR84ssWy8qib9Db1o5jGymOZ53WSr8RRNrNLzIg6libldSPMpt+b
yYh6ceNPbbk3nbizQULciFRdc3U+inw9456bN41RQmD64WMwM0d7FCRulhn2MHIkSxNg89jlCT8H
jtvhK25dPeLp6w6uzMf9aix/kHsMXoneLS0JakeiX4Tjwe3pz6wWvDRlCCCV6TRCasKuy/kSVdhr
g8XmuAZ6FDeMEI77FCwTnS5es2xDtXSnRZYvlTV5UBI1vFzqP2ba2nrjCIAWOj0jDc2moX8J/RnF
7NzGzqz5AvP1jy/JitQlkAAKoK1jDd62i1b+lEMrsAnKObuopkU/7fkizF1fRKjBhuqTDJeQ54vs
oYEUH6cmhQl5K9Rsz3Vqoqkd+gqPeoghP0DnxgrNFG2TYGqWrzNUODiW9cV+ZAwEETMTER1KJmmE
tCjRCt5I1OabFGm34/bfLJqzulNQMeRGyA2lafdm6rxx/u4Hi1iLsl6+Wicq0WOtwRYFYMvjyXk+
e2hhbROwt6rDp8lpln2KYoTNtF8AfX2EBWNTQCQC0mE8857GPGDPXXm02vCO0YyISF1Fuz7SV+13
BKcoJrY5eiXwCueK6LbrgNzceev6CeWTaPhVK3Yi9LLBuW/n8NTNHxInbsxzxZsMOrJpTf9qpKuZ
ZIGZJ9qwbn8Z4Hj/6VSekbR1Q4K216JpkFvSSGokSQgKJ4tYa7yHcT+voPc9zLWv+MPtO+RqtlcK
ZmOBHa+6Nytqmh2DHKUNaw1uqJBTKb88oEflobfRU9Y+d8lgAEC5KOFUt9T7rpnuIk1uF0uWtdX4
vJFk10RzDVWcaQekOOeyT9sXV4ITpj6SH99jS0qHkLeJ7zYb67+Okb3PTvhXpqxE1gA91RXNS49Y
Zovi99OHX9AmgIoIjZ1fOB9u1fhJuahkxt0AA2+mcROiH5OEISQCHpw7y8k2JrqmCttOnFd8fpnb
4NDP7Zsab5hIPZ5QJfqUmnp6Tm9JWChfkN8anTgIm3cwDTlmpqVkqmnuq3yUMXyYB5bQPlV2A97D
W5vj/UGfAa2qiA4nkPYjyFBsZKUNadCiYGMNLBB88GgeYd6WTYdAdmfDSm4sp3MTgmb4rb1AJO3s
HNQMkmjD+6YQwpRC8yyGYua9p6ZjaglwzHPv71z0h8kpYdb7Hl/x+g7UYsVj/R1UAGrzVN9uWcG3
3JZtIstgNymLllDzFsnkOyfN8UjxApjF2JPPIBxvi5cHumi+t1m/NmbgADew8XN0M/l7QXd00Gew
pI0kNo8AlyuKnZyb98xjzqAHOL/xEVqh5q3bjTc0D1KUlyH3lrMypnxLozsSfTRZNZnlpeRaLRXM
GHoX4zBMI+Cu16BGsdc9gBvSMzFUx9pqbvMsSuxhj2I+jyOFNo7NYwf5X1zQRsuoPCNmSA9F3T/7
Y2Rji0EgM5PsV0+36pFeqHtueWtTSFLFEKhgs6pYpT2Crsmuhp92xnRnE+Zo+jOZ+qHNMu507wba
VT5/0IvG7n9zy/5KQzkRbreY2wxtnaf8Yz1yCGhqHyCHifMiyztrrrkurI3sECoMdo/CBDFBYo32
/ZJe55ToHpFPmHPNwkDRoLADoulAqdAfcE7021pn3xUiLGk4Lv8vdljgqg/bWZykqpnSqhuQEsJJ
FaGC9O/UNguMZqNdgNbBsmE9kKolJZhPLRpiiZBJb8Neq5NnmI+qL9XVjUigyjOWQBvOH2n6h03Q
UBNWKrHCvj+uq8u77H2twQxsa4JM+61+6QRLBzkufIyBfnAnPW41UieyqAbWEOeAnv7JtpEzCC7S
vd+XE3cCYzgmQmxweqT+KFzeZchiuFjDczQTza+in1t64lgm5ozgUJvOvEPBGqtbN9yUVjtTgFTk
tQIPaqaTYUQTM/I4kAcYMV1ZoKx64ucZB2QRLtPCy6yjS8X5b4/Gywr36I0zjETt7EuMcmEzHcwI
hzYxchXrBzsJOlwfFpugaRRoKN1fy758HwTAFyYLc1vWGZKgsL4zCH7JvAhGAxyaQTffG0FaQcIf
rWz89RaaC7wb4OtVN+mR1fz6cn3MUo3FseySmTTReHXph9V4F/4bb9IIVxJxVENc1N0Lj+OK2Qoo
h3rFmOvKR1ShfoJ++QzT+8Fn71ISp3C93tcqi0AC4XWbioSwNosHkb/g77D2VQcNULFZ5LkFoCKM
AQckHytBeiyW/FOFj6NahmVfN/ipqsgE6RY635XByAyTQkTLtDOQucmzYbSfWY5w32dtBSxnAuQi
hZoihdwFrqnnV6MXB5cJNFk1coe0codT6+fpRkFjG5NCkRA5JJkf0VO68eJkz0sPEmSsr4FPvUOP
rLbDnc6Nbu+8ofVIByPCtLGcIak094pfkuqCCOixD5BzSMPDPCUFk67cV1MnqREcjYOjKBUrHfkX
oXUY16X4Aw73EiLQHxHrXQOjve908MGa94/QNZQ8EH+xPa441XRrJqIcEwBQ7AFG9ypz62XIEX6O
LlFhFcUXoSigWYv+ilpMxFbmdyw7QL62BnzyAGttp99HyMRvkWpjzAc47Qt/fBLQQgeS+r6ryPsN
fDvOa+/clfNPXRX91oaiZkHAnmOBQyOO/uaXVyeNDn3Dao8iwibUv7f+qXbML5WQX34K/BigbEM3
ptcHM6JO7Az2Ed63lXjIJ5CzUJC7ZYblR7qgJJ6kJHPV+HZSwmeHiLusqG50bVk/5IXnvfh5fYdJ
4p+wQWc84he+CfXCHk3OTo34OZmN+bQabbTPPJRIgxIktstXvZrdcWS4nX3jN+8tGf8XXxO4BYiA
aL/mjs4O0GjgVzO8r+3SO9dlgBhN+wfXPRKtNaF5hKqc7Gk6Z329N9ecPB/g3qZwYmPCx0oEx5Pw
SlRMzVTsUcdwgjiEx7aFf+/5xJ/+lzcykTB274zDPd3P/RYn0uuAqQHGH4WVeUvaQyuRcGoVu0H5
L//9ANsb78Dmo20wuMs5V/wakIO7IHXmo+kgkFkH4npzXGeJwXC7hql/Z688kFWPUC4Mxdb2YGel
MJA3DaC89ThhZ+JXazpu2167d2XZ24/0jxwnOZZ7GxJyp+2l3K3+exm4hDtZlD0YgXFT+aPlCEHZ
UlRaPlFiQkv22BsGFPT7xWuCBLXGdupr0JSWLMuMHakOzf4oHU5SqWpKqRtgosB5zxbbS7AkoaFj
Z4NFVAla/wK/xLpuW5Hu/4t8ag1ZxAE/ijGau11jK6QMpaTmQTA325bID+DNIGLls0ebelJh8Y2X
yUHOMDQXIjcvg6ONl+bbQBScoAJKT/9lHZXdXZlX4WHJ5+ccFGVvr0Gw8xUxQkKY9hGV6LUwU5Mx
bF2IahgKYmAQ0hBjRVvKwC0UdZTN6F4jZKw1kxcpo5mJk60MMCcVaMRaYR7tW4bqKhyUVwOHXFrn
aP91FJEx1m1FBeeHf2Fzk45tPLw9x9TSZkKpCHeiwRC/Apsmrc3wn6+F2KdpBVbiWnLXNYp6lGK6
NKYxwrIA5rW9D5PQGgdv9jkhmnlNXFrkX/LIiCPrQQ0z73YffYnSIgyvyN6iWjmkb1if00K1b9i1
byMpm3ckgoD+hMFDCTyPXJEamkU/E6wCeIpJN2PEeHOD8Pm/kM7OC/9VHquoDcuLAbm7jLaNqdEO
j5Om7UJnfK1WhqFmUABKRfZbsv/e0RfgcNfxuAwYkpN0Rpq/WCm3OePsB6mYx8pSNHuQX4fAlBF6
ZecoLRf6MFfFl6jktTZuE/nahecwQy4SOe2hciz/fe7zGMgu/euW+sMo2CR959F1kJWYRJZsFmXZ
95Fd/5W3uEJQU+T/Wo53CnuCsIk8AfH3DoH0nga6ROwOBN9iMjgFN+kjd5h1j57JQ7WRR0k7rBeC
J+Ubv5l5B9a3t20yEdYw/FBQtEzqG/g+eC1kOOemYQicSuetHgM31qVNRYnNl8iwM9wFFGtm9gP5
xP2DxJa6tce0T3IZDokvh5SOjaU511m2Q6TaggzONny+++LP7hQTAkcx3jBeDGfGJDEbuzrMQf3G
sEic5gmHwvTGBIkFPFC4DXyaTmyI6Q5BuNsCCo2vZJu79+ZEi5JgW8y0+9GNMKct4QibVgbRlvVb
vq29FwcepVMCCVyft+a+s0W174rJeMulvY0IeF0LNASpCeeIHwaWDwDHOJBfEz6vJVv9ONxmoCAi
t6gN3LOFSGFhE/xj3KwDQS5hjXrzboikuM8b9CZTw+Uwz012kHiFH6rRrbcptEySrcaTlRnT1cC/
t8+0qLZRfaGUB/khd+yltHm08o7tY069KWmyGoW7Ycut7XRPwWq/r315Z9VdtZs0pTb/vaURUSMP
VoEObv5XAWJn0WidM+tvSCbHuUfNt47oHoPZsbaVhwOPo0sdBdk/QJOfTkTRCIHFSTUN4YdEld1a
MJpmLbtdKt2/ba27B5zpuP6oOUgok6CEb/L001gwSU/nOQI3bSuzeACEIZWl3FgqLU6gUfrgEemc
mn7xhBDkYkXDvGEhMXdeMb0sjnsu2WT2WsGY+jP5q5lhveH0Gg8VYUKuP5t7RNIHmsSsi0HCugut
gqZDrkm6LN8dAvYrWTTNwZyEl+QFRP6kzE/hEq9zQxM9yrkfyyawN3ZuykswrBWrhRh2YZmVR1st
bGF2Wu9ZwKakKMR0jVjFWiMy9lBALKcuxFVvTucpRFk6sPlYNuU4vAsHG5G86v1t2HrFnlxcO3Fu
SnZevR3mBoR0Wdhe/ougoPlm3IW+JlU5qxCkW6nDTNXml9Twju3aftbT2zwt4iGT091ozfKIFgad
KuMzMUXTOy9DqciokjAzs7j5128PVyF6hFdNaj2XRr5Tc30qhq498/YdfDWS4ufCDdCfZDxoGEBS
+5fsPho5QWpXfzrldE823Im9iNzXgUBNY/BCXqIrOqn+0ABJngHgv4qy4CkQ0kWacLOelV8qNRzo
bp4nfCvgv1HzE5jWq5gVr6usPtTSeyfySoHg/KtvdfMV1YhO0uCGvg0owjlanAejrD9Nm5t8ISj6
snJnH7xFZPtimO5A/8pLHS7NTkT2aXG74FI3CMADsMUxF+pszCRzIN9sYnK3yGD3xXNZVMuxm+m3
zHRd35s//kqaNxjecsk0DBGQFDSbgYOjtaf8WSkYZkfMj65rlKegI6xMerBcTg/e6NaVgTAA41SR
dgCJ08SEMV6mFRlDrufsOpKgtI9GHK8M3xtC40byXOtijv5H3Xk1t62m2fqvdO179CCHU9NddQiC
JBhEUVm6QdmyjJwzfv15oO3ulmiPOT1zdap27bKtACJ94X3XehZ5YpTtLfGljFM6GmU8XEee6WbY
7B+yGBslDoB52sNV0xXRfao0xOjMzOY6od+jyGCYIa3idBq75kDJIbDToNgH9AIWOgWPRYaVM657
Fgi5nm0mZSp2UWq+DiyaljARMbVYEXlZFuBpqCzFEqk9ZFidbRwAmlcQgpg72BbVYht/6aOHiCUW
tqtQsqHOfK0VICntnIg2UoRFdxKwOleiE3R6bIrs7XiVgH35dfOA63zRDgZ1u0i91qx6uII1kdtF
kKPEY7FusK9tpzGi+WsOKFCovpojJXpCCrptet8mufCWC+E2rKLvliW3LEgERKZp0z8LI4+Zl2xj
Ey5ZWz/WZTKAc6flAaftTcRWQZfEYNkxpv5SwLfHW9E4bOWRpue3hiBop1AfqJHIXCF6pHiROl5x
80VuoEBKcTCtVBM1uFVRmQujO00duqPKGehld+Tu3fkVhSKpaZE9KvArJO2qYlRfAGz7ihJuOWLI
fFGZsGtf/0qXW7oXxvprwFyLN+wxwL7wOAzxXVcWZA8iQMNd0NJHN8wnmvXkTKEpAro6PfXzn8ZC
Yuvhee3WTzwwsvokYvXjh5C0MpwKLNpEjBzfBPY33YR7N+vN+Mqvu69hMrEwHkmUayl37tQcsGNU
YXIxQvkFEY6bCPl2SPrxqaxMhwLuRCkoimE23AayhTJfi2s3t2jf5sXG94p0L8pU5SUjokjjw5Ap
Ou2QU7g8TbTf9iIYN51CTUsh0c/oGM6FRp0Zl/xFu1JntbnGOnAaXhMh1hBt0jsVirlcqFnbQggD
N+2wrIRbqC7MkjWpjROLu0UgQaqVm/aJzTiBjpmSL5SxLFxJlZ68LIm3+HrydVnX+QrF255dPmed
ptJKJhxiYRgF9XeaNEL2EGqFTy4Bgwz9AZxgQfMY+ZO0l0Bfhqxs8iRP2UmqbPeLMnYmoPsipYmW
uLyo7K2dAlsTUwls8cC/yWtNv2uRNSHWyoCSZ6Sx5tZEir3yJRV0YxshmSauS+AS5ofU624bzwNt
4vHGNm0Pm1nNXiYpMx38sZU3QsNAcDtWqbAVwP2jNjUMrkJdXCXjWmXBckolboeheoCFoJlmlGU2
YUaB1Y/EwzDRdOBWEhYZV2jbJO1rJrdIVEaqcXCfFyJRZ04Umph2jfhOKKmZs/dEH1g8WcSkrAMm
azEEuyIYqblKGW4qHLroBYNtFiuvPBf0cyn7R7JKvF6dOVocGHbdPppEE7Kgiqky8EkWoJTAYbfB
d5OFhFh52pXefZOBTNiRFKcbkLOg+EKyJawaCbJCKKIy5HdtJenrVB/v2a4JKw3T1rKng2KDIcXn
C311Nfaz4IXkYBZT0p7YtMLp0bvDTkMdrpL3WBMNl8svQIKwv8jWNdMLZRizatd+w+M2SIOBPD4u
d0b9bOC4uzLlkcJsOm5D5IjzKpjARE1A0sBuJg6QI4liiLpkzFm1jc9Ead6a46y2aIjEDSmkpiqy
jtTXHUVPSVtjshOrCZBmDyrrfUpPDBqirQgOpfE2k/i+ZWJZiFLgwex5iHwji3jIaLiIOpWyQOJx
7SmPrMe0/tqb4CWob25NKb9TPCIpxA6OEPV4Kumi/6ibbKdgp6Z3JisUKnkz36UeZW8Tpkq9a4ta
vhFz1Bttg8M5QO/AlpoxKqeLEo61uh+1iFIpBoGB3cJyiGDOAQd4v21VK9I5EfLbMuc14dWN2RlD
E9MjgVca+dQuj/qVAvX1ZhS5duIAuyhEGDUnbipRm9kVN94mN2K6FcIRP2GwogzVIRq8GsRR3UcF
+gikqcEVujtaFSIhL/0UCE4gmUcw+LOMzqjuS00hktG7D6rqinHIUhFv1yGb/IBdjF3oAoJWzdMp
FpPugccD2TWWd4ttk6XsigRCMvLVaEA9pUS5MzaasPQQcq21qdb3dRK7HahyoeyUU0WwgV2M21GP
jNcONZhWvdAdHL+luKtnUgXoQ5a6rJ0a8M8e/JAgSPdSLHSrsnoMy7Q5eCTTgPn3mGh0GvyJggor
jyv9Jp+ZQaPcgHDESDZiYrwxYgyhMs/PHoaFJT11TZNdi0UQb5JBqmY55nULsfi2N3QGwQHNUkmV
8lCFO1OZnBLa8dd0XsfI+hZItvTVJOcVoJdEFKounJp5+IhEqbwqo75+NBBHLSNt1K67gAdFaDaE
ntQ3cejTWhZl/OJESV4LfroVouQp65Psa+jJ2yoBhiMO/knKKJoUmuUwDq+9eaPye77Gz/EiyNkl
Q4RPLrNnlt6TOj7wzNCWhoaBgdOmk0fxh36/n1ksloh9rMJ8y1Y0XgMaZiBA4FBg3/ByTAnV2G8a
Sd8EZF84nfU4TiKrSHSXhWyuqzYilSocJXpv6pXhwdDtZ/Qx89eyYeW9LxBhOE1dM9OWaX/hjMyf
QjcMhES6YspwaCxLNM7BsnFrSVFOWXIUq9tBNo6ChZOERqcK8MOOB4PiKdO3KxCkkQjZiqE6XHNq
paVFN+0ollcWSGovc+QhUg9ShCbUCykyhC01/LoGFJVNyj0aFmWL2A7KiDAIaz+VtaPfdXMsTv4I
rKrGRMH/BJX2u5IyCoyRmu0JtdmabqMp+alO/WKbKjwH0MzTHX24FxNx5ZadCR2YEpxK11gUbkGn
+aN+rFL8wwqSs2VqkPwYCIPiBCI4mDIVv3ZqMqBXRSKagEvehHzKrTzKu/dv1ZWXOjFrty7x7NIc
PVXxOFwhdaZrnVv69YTfREPEv0991FcSsTpAuZ2G3cgu1XLpYNST6cAWDW1I1OJRoz+1MtWMYA5T
dssRgu/YoiT+/XOp/MRz4y7CvVXlGQ8557N9pg0V1HwiSpShDRPyulEqc+PPkS9YSPaCjyvCI6Bq
L5vZGoRWs2oCXv2MFHfcR/jHVRHKD3NG3qG9T0DcwWE2B8bReNPi+7/yIDf6ISFpFM6I5JgCKMD9
c5+pd3i4ulXYVqSAqu1tyZhRKX121JUG5X8NU7dGnadOaXMU5X4N89e8hN7+1eNrGuD3RU2UNDzY
n09cr0c1IoBhvtl45Fna5OupKFuw46PCDM4wOwXUVkmjYgHaW1S+NbbHv7/65k/oMk3VVUYFE0Kn
rvHf5w/BKoSt/giw0cD/sjDrNlwKVavtqGgry5bSdWRh+lpI5qmpp01QyMldMQnmlnd9tOMS4URp
ihTPmDQTTwkBaYiuapBMYkA4g1pVLfp0ju9FekKKTNOi17eb3hpfEJivA0mUb9jbkgGSjw6VCHXt
M8lgFExn1rFFO8MihAnyOLTLYfiO0i06gVNjr9uazS4VNvheCFceoNqJKTrvrscw3REmGw/lnlSi
LZVu4ZCQrHHEW4G6aA7m9cXsq65UZDtJIkaRrrhuzIDKTWB0+3BeYAgd3VisslRhysc2t6qDpqNN
lwzeliL00Yeqyg3TA9eLfbsa1MLzUGIw0th5r6teQJcSF3h6w8xiLWjET2PwPHmBUyXd+KJLKNWQ
fWOAayCQe56FiE6bTjRWpb3CO/n7G/xLXCLPF2UKVuoSytnPNxjkJk1hWQasXhAjrigklyAPtYAj
kmDWzjypoTaeS8zovRHswi4RjmNdKEgpPZ14Ta1kHtOMVTXmbtIRCUI5TLsmzGFaRApirD4UcLMm
1AQUQJxUknZx/yYPGsvnVmwvPK3aT68MT6tpAOhXFJiypnwG2mPVPnQpcW+Mzng9oiY60KfEk5Q/
UaYlLpg2yXwXNNvDAU7wDaDAqaYlXyfey6gIwUmrkVMZQuxYcVrvZMvIj/iKT6Ygu/V8dzpIc46g
JV98Cd/W2EwIX4aiXyNoQ5gyEJRRZc9do3yV4YBmsjRurFkB4LXGk4CO2c1MmkjDXDxA9XijdCmR
1Jq5phedY8+fNJKYq1VJX8jOmkHZQFTek6+TnnSrpQpimi5lsMHJ66R3fv8cSD+/6Brvt8zLrmq6
ob8PBB+m/5AmbFZTkUatTH2g7+tDVGvPvjBBJ+rAV6jyVvBJx+oE7eBp4QkwYN3fqe3wEgt8+FSy
xgvz9y+wwHwkViOaphjkgJlnJN6gC7pe6dDfD0rwUI3dQ4BKelH1PWBkgF0EyBcLv58F5FYPaQKq
lm2CQXeGhHI9tpALmOKfZyKN9pmkUDUmcwZ+7RlZFOuX5odxQs1UIvuID1zbuZr1Dz68nvgp80AK
Ch4lY86mtSfyo1MT2mEd8aFjLPEbwQtek5pYiMaM17rAlkYIp5uB8J8TGy93ijHtyrA7yzSJHB/O
kE1FAJytQBseTkyYheKyy4As6gP4YRkkfWAKrCmzUyNXp0T2ykM/9re/fzCUn6hr81mrUJl13iqN
hfnnAaLRRVRwJs0qjaTJsOyBrmima+lhu2qsTARTTNN1rAPE8pMaL4UsTY5I3m7algpBD6oyj+O7
ZtSSq8RXKY3qFE3RG4P8U6kP465L8XC9SIGKC6tRH9qecEI2fpAppGAdqK2K1gGPxvvpKcNTB/r1
AlruF0FCnKIO+ts0QJTDKPx8ighcEIIkJfURz3gRDaqVo94fhwm+ZBhDxh4n7aB61Fs0yo9AAYo3
SyHT9P39FnILn0fJtFVZbet0uPbIPNdaVpi/vxGywqf4hL9jCSAbBnsBuiSKdL4QqqtS962OGJxE
6+5pK69Z9SG3nDuwHi0r34gp/4ZHq+BNzFhVIG4c7vwkepDm5Edgz2sh78DWRygt+ljFdd6zPG+N
U5QbxjqB5OdCEH1iQtv+/pP/4kU2GFcMWVXmkVl7D+78MLbghpqsQudFHqfJd41wQucVBta6xk5i
69TDj2mgHcyJ6Pk505S3XnV0hU1Xm2+VoFIuvMjST0tKFjLEt+hzYKbBTT9bWaUha0oKAmBNrQq4
HTP4Ku5V3Ltswaf39kVADGgvIBoeKlqyvfwSGoSzvSOm39MprWlTDAZu1Zlb/furpVgzP/PTjTY0
eLGWBVRal8k8OpuSIVWIve73mAyqmP2ez4LBQ/DNCyPezxJyzEb7Kmn3xlCJj003PWByxRQwDG+A
eh6A8VjPqRG8DnKhr2ewATNNCdOmJ+fAxeBRLppJhgiAoAAvXmpD6ATMKVDznIT2IZTzL/oEzsRQ
yYHsmb1VcqjAaUD8KLAZQPFBijDX2mprR6kBnapHvmDUQ3jKuu89bROHKiP3lXZZpsJaGCyFmldb
XyHKXtR6hCG3DyHFDk45jr2reHiEW4TxEwSMpVaSy6RZ0BekkjaPTFOU2rduAwC6T8Ln0ce+pELZ
sOMIM3RjqY9mQExSzD974owtQrvUTPT+tFz4Mq+bc7KYFi0l0QWS/oLXAPrQCMVngswQs/EieufG
p2K30Nlo95N4pGeKRi9AAgh3B7yItqlqYkBaiWo0Cj0vFym+slymWX4vIl8fOQEnDQlrbdMALbYH
ozbTLafrhHoJgW8Od/2C2yxy6ooBL7D6p1Yj5InVLhKJwnLEUL8DsINKG7heOIc113Vqx/Xor5q5
gOr7xR4v0R4f/k0qsaSofYJSIfI+aSam63kzR4GzAQ6KUaOhAGeyxW5NvDOosCvbnLZGDOJIH5A+
RCZ0MDn9Wsji9dzDiOXWhJiIpNtTjYFHoYMjJOjbSc6uo8ocUdr0G23Sv4gVEEW/K469QdBtlT2o
YvkcCkAOhp43VsFY6bd9aMsax5UxTuOUKo4yQLSJ5kONcRRgYGYTo3NbDxJ2BRlP1CBdlWk6YKYJ
0hXF/6E1uLT6uIYaXqywg+McKQSEe0CYOq1Es9fSGu+JKMAiCxwxT4NqjaYNAxs0aLb1jXnMo3ut
KtJ12hIRRbfXSRvMYW3JZzOtfLpheJpuTBUEyphE0ZZhEDtKcJexBtkUBcL4QhC9XSlzPwcafiuk
rjkZ395ATIUMyDGM15PfWTvQHsKVLAPDUfvcLXQrPfjelB666BQVsrHloRd3Ta7A3JIUSoN6zOPZ
DLSRspB+VxLECF00WXY1SfavrIDHPlaLp0iCrNWzrFi2mj3vXC3qAmSe6NxVOh5Jjsq9UGe5PTk0
M92AyloPlyCyjgUV/GPQGbd5jezSG3WcbrOAVYx1VE5JfbRUtJkhOmQnU9RsF/rqnSL1wVEO0u/d
mJqumVAL85vs2JDqR9M3sLVRvorboFhHgg4PTwuytSShQw3hULmQS2YgDq46i+wb3WP/lyFyReJ0
GBORMRU12Ao1mO6YSvcNchJK54z+HchwmcDGty7t0Be3KktbtdbNlYmuU8pgopMcr3cLeRi7XQYz
CugTDs+Woq0U0sVifX9Tm3SHhkDfy/Lsb0f8buup/NK3mnKA83Yv9Im5zcIEdb0PzTQN1MrF7tIU
g0sK/PwoUMdpurHZmOxpZ3aPT85s9jLoFSECmCTAUtFjSycvvM4qBE9eqEh7naKg1urIvVQWcGn6
vW6V0A0TobBNr7mOFErgiGCpievTHfShapdhvIJnMXTPUb4ykHonXjdeF56Ogy7SYDMkTbQL+2Zc
xG05nETTdxq0qrdwydoqSg7MDvdArevrupxuJjCQjIiNK+QT+yd8vTPohytoeukh7IpnSjmkpIRa
sjRE/7Zqopcpz0FnKy/KrEiiRY6RNCiWWaRzw/oILlVYkVzQSQl9OTrv7xzuIh4ORUGZKCZpbUBk
5hi1CXe5zB+bUqpPYHF3Y8Xjm+lBtIwGmuWQ9DO7HbLYDXPkcphFyAkTNBqAOdOKCARuPY3kF3Y6
EABMj8EjjBvH0Jj+xUGxNnWBXKErYGxmevSY6aniCKXBEw2+K4yQyMJWD5xMRmIg9BhRstJM78o5
jnzubv9+/p0n/59mX0VloWuxPtCUeRn2YbHSN+ZIsHAX4ZuDHFeTLk9UQ9Jjw62kDU7xkx5SdXo/
5n+8Dv/Hf8uv//z19d//k7+/5sWItCtozv7697s85b//nH/mn9/z+Sf+vn7Lr76kb/Vvv+kQvlZ5
nX9vzr/r02/m6D8+3fJL8+XTX5ysCZvx1L5V4w1EzaR5/xScx/yd/90v/uXt/bfcjcXb3/54zdus
mX+bH+bZHz++5H772x8yq1j26P/x8Qg/vjyf6N/+OITf+i/jX/5vkyfJL37w7Uvd/O0PkjOMvyK4
kixZx8NCpZnf2b/980uqLBtzSqjCUmsO08nyqgk4uPlXmSWghFVLVEWNGuMff6nz9seX3v9ZJIMH
ZSPxCn/84yN+upn/urmfkuk5/IdHylQtRVRM1WDvaEm6YZ4nnJUkj1VFMvrPtTMsYXk69E1IhVnR
PV4bmt3++TR9epg+Hk///Aj/fLyzjXND3LKPQ9t/Lh3qgyhGR3YoNpCPhAzbigg9hgx0XPsAlwbc
k638xdj52wHNoz2uCsd0DVtbl279NNwkX8kUiFbaXt92q/orEcer4Fp9yQ6JbTrKLZk4K2NT36c2
SapiDyQf7sCibg8KMqnRQRaq4/j6OmPHIbjvB32VP8sQwa6btXFhF0ep4veXWT3LcJKg3lm5qfvP
bbWvXs1Df9Koln7J1BvjiPgkhT47IPlf1MhrX1kQ08svbVLFZwvJUkJpsiRMLfK2tZO5kSsf+IFe
WzRY2uWl9AoQO74ST4qwgjbmlp6DJzTa+1cIsL6hCd43T/x5O7xqid0iH2FvAPJ5r6+HJ6zNKLmw
A8LY3fLt1l45WkeWjtNRO1bBTfgg7IwjLI3v3ROYt0l1tFc0k0flaK7ZXI76Dgc8p5As5RO/K0c8
8hrszRM2Z2sBMZSeYLkBdjPBDhDsvMSFiGLGTlFIvwCFwq/T28ZRegLRhLUL/rDJimKlWrgIVzHB
uXOBxUme++9VeRpEyUZVgcbMbmTSJZJs3LcODCBEk8qG+WBROOSWkNm2kcTWxZS9VL4Kr3Ljryhm
dUW3QiSMnh0qm5u9DivJPAyr6FpWoSOg5LidZRbRoc1WdWIT3IO5KnxErUjnLIMRt5qKW7zPrXYd
C9O1QpF1jQAErp4GRkRfeETdnfJ+Gyo3Qf4agCQbQTDV14i+iuS7icqEhGTTDcu72dcTFdC6F5W0
rjybmIYWf8DSSJbebfNgrPu7yGEt84bhoO+vKnUL01RZwX8cdTefdsidUm89IKQzdiOwiSy7HZST
FQ6Lqbjqw5taeWhECH7SNXaKheUf6ng/1q4hHozim147eAp6eaF9x1g6mPwqrAOLAsf+BIjSHn36
/E4nbrKb3h0O6TGxJabik//AVtc0Vkq/DumhVhcmNko2F16QszpHRQd36MfOf9aMNY91Lp28dFeP
rPswCNreF1+BhQCLCVD7y7fA8VemHaBpWljdbswfMuso9TscNTOIJ1zIL4oOq8JBOGU4hktvj1iB
cI/thEHBVQs7nzbUwCrV8d7YJeFS/h4yUnS3Pt3wchf5Sx7FECOTuqkgGR7hKMLF1PZ43rAYNZil
9FsttkG2pflXsbqPjWvkXZVJAJt40wCFUllPA05AJbjo3byzgaBpVD2k6qHvS/QV+OLifSx8YVVS
Q7w0YFTe+I1DXpRAorHvHfhX7UY6kQ1q5/Ib8LeFVt8k7ReMSrK0pHwl5N8GaTuExFp8K+OVrDsa
LbSlvEoB1S8ovQE55F2yCaIhpYn3nujr+hi0z117iPNlmtFNclQElkg41QNmJ3DsyEM/TIg/ZpuP
o730uUD3Y7Q3mcQs8lGxXp2N9j1til4rB/+5W0FoXGarblMu+6W3ACZwocD+Xgn71+Lop2MpZ0Ms
8Qfs58YseO5tvBRfQgcl7im5VpbRCueOnbvmKnAkW150QGbmK3TpGf7lVPqvk32vVn5YnXWNSOpG
zMnWjreOnkInWFpQqRa1291by/DxwrW9dLj56x8Oh4YQyITc88bA81kjx12y4esX0hbhwKLB0XRh
Ejsrlf18gc9Wn9A2NIvSv88FxpSWLEBgbwDD8YzLy+IkLLULT8/8cPx8Q2nvAXCdg77nWtSHE4S0
3MkCSpbnyNVWysZy4OitqvWlB+esvfCP8/rXcc4eUnisqsnc8ud5zdOJtPGuuwWq0hVFfJvq1GN+
IWxO+twN+umY1tnDChui6QxV9p9pG276A5ivReyqq+R08ex+/Qr+8+yss4FVKloyA0euItZ0p3PL
g7d81dbyMj1eOtSF+2WdPZCd1PilVHEkdd24tIHX/Qoc58UXfV4x/+65sM6eQ98gn43N+p/3C4kp
BvVFsDRsY21iWmRyv/CiXbqC89ruw3MYeQPIW0INnoWNvm2Ow0Z0Edgv6N5fHEMuXcKzhoZUV4YH
jW5+5L01wLq1tBbWyfbSnfovxuV/PRRnZdxMjUarNFmFmwdzS1zAqtolC9Dx7n/j9br0qM87gg+X
jxmgG6qGc5ofi/ZAYc+OXcmBd3nhRl26eGfjBQ1EsW6xBHPxzG28DdfKWnLS1aXDSL9cy5MS+WNc
subP8eGEWsqILQ1e/7lajrZsU+vDHbtsFsi9bPzdb/7yktDkwnAhi2fDRdmJEwMvpzbPbf6uPMju
CDVd3AT/nrLjfGCSzxuJRaODmlR52MVt46bogNJ9sIGXu6ovtVB//1zI4tlwwchOImDDkSK340j4
Ehnes21mX5yYf7m2/OcNk8WzAUPIhqkWkApx9VCtudDItlDjnHitLvK9t5AcNFMI/y6tB37/nMji
2biRUC83pYQTNA8kZ22iY+Foa2ZL7ttiXGyM5YVx6tIFPRs8TD8UM7qe8637x5wSusEmP156A37/
osni2ehh4opWvP59lPI3MXcuZOqq1vX/bpKUxbORI4LhM8C49Z+zPSZcO9yqLsb5TbG+uLS5dKvO
hg7ctcqQEinFkebxMDzx5F8nO3UxOI3dlYvkrbz0+M8f/r9e3dBT+zyKQDCyOvQMVATsacXSeCk9
ktbG7GzY1lpfRQv50Z8v6oXjXrh37yPNh8Gr04ox0Pz3ty7cUE3fjLx1zeHSYX49SZMmC4SI3iqp
1Z9Pr8VMXadEa7+/czhz7fCl2L3mLlsP+EoX+pK/Hh8/HO1skUM25Eh2HEcD2eW0N9GtuTfWOZa0
xf/6xM6GLZTMxhQ2lv8sr3HF7KIlXUo3uyKb9r+zp/jl2uPDiZ0NXepoGPCeOFrkTnuSrx1lTRq2
LS4Abq8vjB+/fAk+HOtsvAIM4kuzSfNZXGcu5ZctWVbqc7ksuWkFENUlVtyLg9Z8Aj+9Bh8OejZo
1XJOC8PiBHGqU39MluWbdROzX4vv6ltK+8P1hbP85erxwwHPBq+xAbgQmsY8e5trAJ82CJOl7KYu
ws3tj2v6bxXPj8VbdttUb2/N4Uvx/0HhGz7Bh0s6F9Y/lb23X7K/HL6Mb5+K5e8/86PibfwVjbZO
PRsKto72ymDk+1Hxtv6K0plKM5tkYGqSNutIflS8DemvEkxIxVK0d6Ecn+FHwdsQ/2rKs8yKzGRY
B4b2b9W7z14omb2kqqOsoA0+l9X1s5EixM7YVnSpl/gIl8COnfhNc8B7OM06FRcfLsz1n0/xx/LH
2Qv1fiyDg+mSjv6Bk/s8Bg6Qp3UduNKyFxzZ2kKX/P3vn9+ND+8Ov58OgK6JlI7oxBr62RTSR0WZ
5ESzLSf/hi5QK71p2oXX5edT+HQI42wYV8x0kom5GZeCt5W6t0J//J+cAstOVSTIlHTFz5eI3rwO
Lq5k/pOQdi9k4sYuNc3ONzvzZUKjjNMFpb1pitbZMbRAsvROBU2on3rHomiRbYIb8jJtGLX2v306
nw51to6o4cpK/cihmvwO/AeOxD1AiX//GLok01TiTSGn/uyp0iIiDf2o4hj6pvRpcBtAvILl/+Ag
lqSos6yd4svZNSu0QazFiCDuqHHy5ihRgAkvPFq/eHp5L/51iLNrpeXxMHi6NC0t4x7iOMnfCBFO
vz+N82XI+703WIRYyKo41nmtAEoMWCrNgnPGvY834daylVPqajYl5Msz6K9O6ePRzmbQaZr6SAh8
cSkfcK09SUs0NUvjSm5sspQceTluDNesL4wy5/vRH+eID0qiYmQx2nx+hxIosAgjwM8px96BWbsS
7LZZquznxz1BmDZtmUvP+dkq8v2Qf4aG65auEvF8dsi6q+QUuPfyz9LcvHdjl3ixNMd7+vMQRxbM
nE7+54HOVlsT7hndaAl5kHMlJPlbPxlJFbm91rpeUTyasUnPhnJ9pR/4TFC1oE5hPy/FLyWso66/
ZjJaej1cBniYnuAYyK4yqIsRTElfeZm8t6neSpbLOHS0apqERVvavqGSwoMsq5wjo0cVtqePcdAU
HClHIQaOwjNHJ7f2oQYPtLvrm8gx8WdUWoHwMaPNNUen59j2eq/emDKuDtHsQqIrcmnVacEMeV2T
PLoqLDNYAGPBlCbacYcFXIbAlKSN68nmappiV8BI3RsNLBd1HapwEkVhR5l7A1j8xNoQrRIBn7BZ
Wkc34ntymLdRJt9ONSGJUAcBkZIk6Q/6MqqOWVNeIeAqI2UtTFCjlfCb6N12NLHUkHp4XcN6eBjz
tzHxUNFl6EzD26m/BkW6ruqSFloH6BXXDwTzrsmcuMOGquIZ1Crkv9/wCyBN4Dq9ti25687E74Ro
TCqKnWc7Bag63UTN/9ZXoIlep37XqMjzCsJsEoPLdNPQChbwLrty7JoeyPZVPdio7kAfnfK8uoVt
0QJ+lNRX9rnoH291JXUTcFA9PLt4qq7apEU/P1Pt91F4RSC2CcHY0jEPF5uZ6Vp1j377VYzw9ieN
TVcCNtBGwlaUp7ddcoPFBsaILVrOaL1llWuGJ0+4DpRpha0uD44ahvoQq0Cdfs3y60RzG4H4rdu0
vQ9GhFv0Zu5TFSiPtFFwKVKS78yxJDVgWicqiTWMTtQA5IDstsS4GvxhV7WmirM12pBBd8CiAC9X
EbCAxFy3MoCBVzd+c0Q7RsbFVEhLvSccGBtRuO3lUfzW1OLkBLmVbaRMeiiHettLBs+v1V8NBC9Z
w3IUoZMpu8p7A32FkTHf6/WtjqIRPRbSW1dv4kMzwtLCzoyhsHgwCdZC0kVDEX+t6obkbEhpvSxH
YR336CTHqFlWLUVqUmBhuMSbVFxOCbYKaBiYemFLRztJwFTySFyeSTqxgpgX3kBC1l1QbcZxnzer
QnB1CHzCNK00AQEYgJUkXEdgEIP7urqtUALjEq+xyBOG3YJh7ooFRjxRhQxpFNdY/4qEfBu0AdCo
dVCN+PZ1i4SiJ5SfoBoVxJKnyBquQMzDBbKCApQS7uCQx8EeNbCXVq/eW0YASnWyiHobWoJlq2PX
QcgyOZt6GtymzF8w+i+CvgzcCX3oovCV2SNKWgzKRJwuugT3FQh7jvttyJco5ukFSsluZDmzEmg0
4mfepnW4GsfmxiqxqujWFxBzazFESu8n2u2IoTfOjCt2rcG1FstkYGH9o693JNXNlsTvJuwp9INL
WZhuI1qiGjw67Hj3gfRN7+8U5jQQTly9bp/BoUvNbjcYHtk0A5cXMM1K6XgzIx8KpQJTH5eQIPdu
qfkuGXFuHCsuFvl9LYQIpjowKbALLR24WrjMYd9NL7EcXGeiRvMeu0yQ00tMULpp8WOXKpE9muWa
w9E5F20jpu85+LeFJsDbJ7la9vZSQZpUk9d2M36PSQwUpO4B4fheyck2R5IT816LfLEhTyPdGoQN
qZXx0Fk0eTH0YQEUprXePqvTwZrI7pxagl1J34Wbp5lQBglKKhJ2peKI4lZ+7TrlZvACRA8dVsfO
Hc3vZuYkQbOssy+ePGxUAuW8fFnXFpCe5lXrvVUH2n2sB3z5KUGV6J9yZROR6gBmI1rqeu/KbeFY
YFA7Wf0SG1XqdB60zhTDJvTVAamGr617TVjh8VumpXzbQSLyjJs+zlcdbwp5hvYk1dqyVXjW9CqO
D6E/r3OqcpdVkD65fFc1xlpsaOT/5Z7SOqllXnWphRIiZqCd8gdZ8wl25UXueoYw4PPC1y7K4lWl
6vfKmB8kQZoDZIi11CgMNESIs3BcN2W5KfIeuG66FIJ61yAcsKzmm56OoCBqnfj4hJE74E92nLyA
g58tKswWaFSu+hShbd+RsphLHUD0CgGrx8CO4KIneqHwpqtQYADwyG01LP+uF8fvtVrjslqWJCIJ
L3UQ7OratGN/dBCHLhOSJ2Ah0wm91qPsJGoHjbxLTJvrALiGqe6lOiNmwnKaVCW8ToA9yogYNeaw
boikl9oCkVv80ONmZw/x4IHr8ronQomuLC6nQUzY2AybTtGOkJy2RF7aEqDNgNzaaRSflCiIF4YC
hE0nmAzF8f+j7ry2I0eyLPtDg1zQ4hXCtVOTQfIFiwwBrTW+vjciq7tIJ4uemTMP07WiqiIzhEGY
GcyunXM25w/+/RL3jZHDFXrfpSB2IZEuHUNAgMZ0EfAcnbmGyovYnWheiLVok5urVoxuwwYVBAxB
MeBzNOmOIuoHS8eTH25xrNtFoT2Ro4p3d6wWK8Rz0oRoq0XFwlnL16tTe3+dkdPWgfasQ80g/QYi
QaEQPt2jg8agPGjPdf8iiCPpIfCkupcY4/rMRBchEKowmQ8ke6JAJA0AjYp0u9ARml1Tr8eICUWU
o8XIjYEY9zxGNo2AMUnHM11EAmwkjYSlHB0RUfHE/Pfqa65MewUfjEikr9EWay1sD2RL7JMqBvSr
VM9JL2I2abwu6oFcXIz9ShFfTJw/pd5tW7+9S/Q+u9X7/iDhX+uZTGHPPJQDJmsmm7ZaBeqNNkH9
0B+LhnBziB2Kxlfz15QMWzIQ4FJAsJq/9QWcZ7JRoYddk8frJowiktEvprneJMWhUB5k6ceSQz6E
97DrcIpQuEFvkSCYSudHK/cC7YfSlRBp6hVsP3qwh21Ry6QNhvh1MGCdDjYVaxh5kFjfQAgQOwPV
rcjsuC78y1jew7IkbRO0xDf0xn14WcvCvizhXBNi2SuXWO5nAWrJNi9WUn+Qhz0OKdkgt9t6iMsJ
vettNX+TAzKdliEW6cG+TzdalxHL4rRh4uqQgwE/buFbXuWFvk6JbHHnHpplckkGZotGreCWhoZu
mpS3U8WwrLOHtrg3xddJ+RVJv6QSOsi1VN+Y5rpNH6wsX6VzBeHHxaHs6fUlhDVnNsabVm+u4L7c
VaMOGXCEpQXiZIg3RpuvAjjowESE5LG2CGTZ1UW147uZTzcJ2BqCGCBzhJepvJuVZ8JT0r6xZbLL
yUfQLsJ4Y9WJ7SuylwsDIPHCbZm9VH3fQk1SmitTSraFSJYtDqtcIfjzsh01r4IyFAzVSgSKGsAL
t0Py/hOgXVmOA2JCH4FRkcwnMEYLypUFhcw0KxoBHS1N7rRSx6kplolLfAUvXWG65kITOkre6MdA
F25g++LpP5BeSqTMtwBLa1qqmBuxznfGri342LZXQ/pT7ZA9WaTYm1H3ZPbZLupz3dZC40xh49Od
59udy8k2XVfF2U+XnYt51B61VbQzPPVyILm/dv7CWdOy4TopBb3bJ53sPK2qUIxypLUc++s680jv
/kaEOMofT3D1m6931Z9uypCKaqaKCVxd6oVvD0CDPsAOxUTrDvH3SWMhtrWyP5v4W4XT/6gWfidD
/l9XXl1civ9ZVXyIfn4P25950/6M3pdYlz/3Z4nV+kNXZMm0cARSyVQwiv13hdX6Ay+bKVkqZVfV
QiJMP/hXgVU1/qDeueiJKaLKrE/ZSv+rwsoviZpmIheXOMwTNdX4OyXW34qSf/dFwnWod4oiNT2T
dlT1tEDVca6rizgCydnIarfjQHnfGcpKZYlrFfl1b7L2GPy2W02l0ngIfNxMy2SbRG4ivNRq9Iiv
kFBx8rH2iEPk24mbPiZ1hOW9YW1B98GJa90ollh/F5O4motGXSdkpiH1JNMKQknXe2YW1ORxYhpR
kLllunbJZnBwE4xWsHXJYQsJNVW1DdmsijtG+i6H5jtqMivTPtHseh4X4FRpz9pwFKpc3GdLnFLA
jENe+4qsF4oCiZxcx6ZJrJpBLFILNTjve/MmyADr+OpKktDvKn1zRRZcZY8whthdCLPT+uqw7Xrh
tUrFO81ooxti5rdlnGZwSxYahpbj2sAdoSTD2sT5cjlBRLHDRC/gAI1XFlnaBbBjcRGgSkOPNZ5Y
1ELQBtvqkLf6swUOOia2dclBFYpDBMbqOC38YKAQf5Y8/9ZI/Qv+gL82mP+Ti2C5mv9xHvz/4Q+Q
NAqW/3kcH4v85Xvx1hfw+w/8OYCNP6irGpZl8IEgFPV32fvPIxJ+RbTwV5JlYmqU8yQqb/89gJU/
DI1RbxmYCUiOWYpu/z2A+SVZNShx43wUDRHp4d/wBODlfPc1gXe1HLgwr8vLwS0WhZOqv4F7d8IM
hEpVvsbJA29mf60hdoGr5sRuvzmSItaJJOHeAmfcDV7uZutobVzO04q8bVL17P1D0MsONnFEOK3X
Ixl+HGt7163CDD3m8DhttB35Lbsh2Gj6TlzS6O3m4gEgn51tso3hUf6qD+yVoI95mb6Rswdoh5iS
ytaObNbnGAuPvXazMDW4sMmBwueaKDlWqLGDZ3ZdznXHVVyTruhZbroOt7oXriOXRfo+vAZtoiMe
35N/0NkPVAAO4oV8nW4Rju5Q4K/kXYk8Xl5j+nzaCy5bID6j4jfkwDvS6V+jle91m4fBEW4Vm+Qd
WkDSalySOaIcfErlHk5D8aZ/ko/4Gexrxr0nXVKL0uyH3fXDg2Uf98s/TE59SLeN94yGyDZsrAEH
vH87kLBcOzwJ+3F1dxfYr6NbHlqX/eEN9UY7eajK2MbV1Bj2XlzDTud1RDBqCV58CEl5dw3+bsN+
juw7npUdbzES8u9G1/hOQqcNHMu0X+snxU1u4JfZJP7YwcWETTy6l+T8BlgbFZm2tbtgcA3yipXr
6vu8Frflpt1jRU6QzSgrCiDUtYIDSYlXgVMiVAAEddnOhCUvmb2efBlx782OH7qJNfOqfpxXqWu6
zMhb+sHD6CGKdvXndAfiRClXUuo2rmGQTngF8TS9iiiG4PW9Ll9VUOQsE3+Wl1LiqD+1VXXdrbs1
JNnvLPdYju5zMgFZyG+fMZxqAq48d+JdA8iZf/ZHjaXuWoGzuE5s61tO2H9vi/ckJZNfYByBMspe
/UyBPnWTcEt0W7i9ysPtUz1uw19gvxF96yo+E+xve3GruMqhfpqeh8YeyQ1P2RWRgb0BCmb3MBEI
7h8gXbjGYdnS9d+wCJIuYF3HiAPKtfmtPIYH+ajc1odh3d3rxpXwar0Ws+iKS3QR+nQYXBGdMLkg
tOOy4J9j4TgMHuptQBaJLZKLx/+ai+asloHhYDNbDwcMDSMIL3a+nmq5uChl6ag0W3JaIx1xO8YS
ubYlC8/IqrzrXkhM0Q7tZcPfUWyHadd14LY2iuvvwqt4Gx8oX3a//Gv+SveV0oB9dXXYcf2VI95W
rsAUQH0bFXz4CLqivMMBsmQaVU7zS3/Wj9k+XFvAuFcpHkBP2SUrgQ6GNp8tqPYdsSF9QFq7Id92
h4JpsQquSZBoCScdXIHAzEd6XQVp/ptE9rajPbmLx/xW/B6v7NbGprkGl3RkK9+7uulo37kxUCGr
cNWtrqaNbNlAW0A1LU9HrZkcggvl0r8XVsQ/MIJF5X76xl6sEe3mlevyHbyq5aPGvGE4/aN/HV8F
+/GHbnrVT+GVsHY2+9h3G2VVEUG8zoNvRDHI050MqHYzHUlxclaTN3l9ZLfb2b0sV9r+lYyXI8Mm
2sc/kgt9J3Cw9YK+x05++jmPRCQk5Cl9zWDNbOSnq+BovWCJwZcTX8k3ylVk3StI4uSnedoCb7pW
jvKTeShrCtc4Nzr7u7iV5qN56QFGXpuPvi0cswPIJ7t8la+2ys3acKSL8JdyYV71juJNt8ruotrG
G3atFbQtouW2JZbqB7XmhuqLkoy3TeIyLXsvL+Emprq1Fe1bdGNXO7J4nW9eaYf2xeR62jVGx++y
C5/KaX7IB35mi676mL88KUzmBSZ7e1q1Xod9LHzpXNI4+DcUujxwjxuNM/bhcAHiz7nI7fqhCV31
Ev/32rQjHC3b4tC5VAMvi63Ibyn5s0D3sKLhhbf4PdY61e30QtsNLhfEj2+oLVMYcJuIMjumDmgw
R/0JEbW/a39pms1P019Pxvr3VVy0D5PkNPt0jW3owaCcYbOAohrQHKoDJ+eYAqDX2v2vWN5RCE1x
aizHZyvdrjr+r/WyLT89WOs+ZZrhU9XuBM32L9PMTYltW3fTqnP5M+wk16m2wuszmw7uGo1c6e+B
CFubA1QvuNLWT8JR4h4s1Q3tiUD7Nb3SNRCqYnFUXu5jO97dOptfAmwaV97re3N1f5ETMBiBMbK1
Fw3tLO7gnXGULpLBma5g1rjdCpGOq6yX/7aecG2UDuzux+XyjTUr6+AufyGKpiHV4sBFmY/UDC+G
g4ijFWOWHR6t6nnyHeFHr8JXcDn4itRL37u2XI1wATtdT9FlH2Du5junPaVcMkU6JbYbk3L+RoGx
7koYU9Rip1ML+L1q+n+9vPxftHDUv9z/uQV5DNF3RDY3P8vuNY2+v11DLn/2XzIb3fxDkVVJY6eF
msb6vVL8l8zGkP8QJQmZy7LGNNG7/HsRKVl/WEv+FCtFGSazvuzd/7WIlFh7csyKVYdDVU7m0e//
jUWkdCq6Ze3KgTSuH0nlgJhsrvdFAt+KhUmM5QLmZyuuw7lFp99kFNsHX5REu5fb8qUQ5+iJNAS9
B7LtjxeWEVPQMgq4Muqg9Ws5EzKK3ZJObBZciBmKmpwHZ/QUi87g39tVXLdcqCwZqAAkALbc+PsL
JSHS0DsKbp4VHhqfUV18byOFypT5xB881ln3+mYj8IksaNFOfNGgcbK6JlwZ1EZFg2lI5PKvbFz3
mPfMaa+159TcS5HpQ1NoXzSO6HX6yImMoyLqB7QLTfFFz7fBplnXr6zrsInFF4ojb86pI5dn9bE9
UqjE5QclhffPEuBu1IhVWbIODzb5qt0sugCIv5uvn+Dy13xohvoHuaiaRhc7uS1dT0utT6NyCVLd
WFN2YyjxGlr9GQHyx7thA6SrECNRphG7c6JySJS5iAaD+qqGSsXImFWBOSZk+uYExeTh5JAC73Sx
/ueO+j96pD8ZOu/bpVLztr5GqJYhBKVIuwB3V+WqOQbXU7zv7e98zmCmOOG1QVrV6pwY8+NjVdEh
o5MBjqWIHyTJuU78b6QolQfMot0zZOZHMWnrbzVxlT+/foMnuVbLqGN/iRBwqV8pknUq/KqaaIjk
SK69htWTgK2SjUl9UB1lQ/rsOr6YveYq3cS74KxN6VQPtjTNO8XURbGLipd6MuCtMZMLXjilp7Xx
qHqEku4sZOV/pS67lF3fd1QVvaFKVAMJhgSUnfSgKjBnPR06NFRi7url9JyG0ZmUxI/T1/smTjpL
kfgFTNCeTXZFNH2biN8Mi/MPAuoe8tB/kHw20JZq/jjz/j7OLCoBUPKi7dYMQqFOhiCxXe3oRymW
Mkz3yqG8HPehyzbRgUBKYSA8qxSW3xclfvcYXVHonaIlISz9/etvlOuNEcMvlskxU9cUE5E3bdhL
HhOvWCfYtXXQVmQEzKyjoRRfxsUBtcy59ILfle2T9/m7wkJ8I/XvD1KrGJJBKMxF5w2Of20ecdDu
cOJPqApZ75vb5snyjGfDAb1yBdiMlV2N0Kzb5Eff+/r5fzJU313IyVsHmlG0hNp3hEF2EKIvzRjY
ERu0/7tWlk7w5pGHVZbP8nK7VZ1eqQtGrisRS0MNsL9u6JMpjwG51LuoPPFYT43CZc4AAqnUeQaR
8h5gE7L2f0brZJvccQoKxMQebpPVsDfOjJ6Pq5RlIqBLMd3xJVnWV2/vsAbeWEwDwLhJXM/Wqmqf
9HBNHtjXt/fZ2yLIdFldsRSCvHnSCuI2SshD5wmCjv5EX0G6XVXEzHzdzKdPEUICA5IKIiu/k5kN
CjQHWQliMAvL/HNwI3rVrrr3XXBEnK/OO2lx+CX2sLHuvm758xv8n4ZPXSXzIIa+EIyd17Xs0Pts
XUebQtPOhfUtvfp0+LFoZd1rGnyoTgXVnT8RhTiFEO6ckTqM8upvLYzdCh7ddLTPrTI+mbwJFUZQ
yVkGkXynn3+ydv0aCkcP64GDiKaFYjn8k37/to2TcczpSVmOGm1Q4npQsdwpB3zc+MY5sn0wahtM
rTNszsk3P/lmEKNKyRidPnuB09zMrmqAJFqkJ1kNBdbgqjJhyA8LVE1djbhpBfHMSkr+7FkaGlVl
FtsmMtzTz8U4G5Cz6ZnxYV5R/oQjJTvjFmu+B4bFckpvWqWRg9BxT3LSBi4s5bIZitbL1x31g1OI
jz+fq39fyPJo3kxp1sT2Q8iWC9lGm5RadLRerB8QU7ZnWvq4elzO4ug27KRQly7l+rcthWiGgqZU
Oy8/RA3HQHZ5lXmkJl/Ve/2AhpF+5ZqbSLLlV+Gq25xzz382JN82f9KzMM+PidJonQdEiKSRHmIS
HEmwpWduc5m7Tsfk23ZO5rYgofNYMBx/j8kAw46Jn0agTAHAhErmJvx5rveeCp6XBdy7J7t0tjfv
MLAsRY8Lmgypik+exJAhntPyqM3sACGqNgcW5wbqpx34zdtcHvebNqMaPFbpL49zoqho2bJHbTpA
3t1S9CHeY3w+f6p/7hWeWJXUQEp61pZoe/2JkLLZhqALjPf66zf42Z2ZBOnivuDQx1rsOm/vzMrn
tmtEo4PXMqCZeWkU/588vLdNnAy6bijjuo5MEI3EF6HNcuSfvbaWbkje2XaXVrH6K57Azzrm20ZP
PoayEI6G0NJLGOnLl/A6erYw4I4Pi30uTexu8/Vz/JCPsXTLNw3+Zj686SI6J719aywPkiWMdCAC
zt/O3GO1Fe8IkdggZvm6xd+Z4adj722LJ1MM+DUr7QSeK0X7H+WPZDNdLBOafqgezUvFGS928YYa
7SZfN9/IrnfP+S4/+468bf9kjokiTZwEf7njUbJTFv2hcJxN/dIsj8YM0bhXz9zxZyPibYMnk40Y
NORK6rxTiaNDg6J3ALwvcb9+rOcaOZlepjoqYT3RSDZvzVFz2h7/e/3t60ZO9UG/J7G3t3IyobTd
pMyYnzrPf87rY38nEXAircf20NBZittzvfPTUa7zxVdgpUPzPnlymZpGSavSVWqd10SZliTyf/Lc
3jRx8tz8DlJCWFmscvWbyudo9hies6Od+kH+fGpv2jh5amkvdYLS+Mu2U/jOwUp9pzqpS+69YzgA
Gn71llOvz3Xzz7aehvmm1ZOJ2Ey1GMUlrZIx74a9AxTCq7EE2MtpVvSzpmIhUJmpbpu74Ud9k6zO
BXZ8tpZ4ewEnc3SojYUylbw92J6eWinrAYgRPnw7N/tVYf7oQ2s7JdaZF3quz5xM26nJ5kifaTWy
gPCiwdbVM4ukcy2czNFiPlVZ2PFgw/hFtMAkwmT9epydaeFUygBUxhCAYzHMROiGRLdbwsPXLXw6
XbCrw1OsqpTOTibhQpO0WTHhD0uQ6vIYEcCPUv97Xrk/u/2bNk4mWhESlpkYtOGLx34CPk1mYJI9
fn0jn66rzN8CE0os7IVPelkhQyhulaDnMz14ocOhKmUcT7UHl8NJL/Ssq+LMN3P5Gz98wN60eNLD
kHwh7RzZ0C20FWi5MBYvE1AUGGGy/ExfO9fWSV8bzUIekyiCgyIfuulYqMFFQQRhJCoLWcg58yw/
Kyy8eZb6SZHfD+JMqHzurENBexUySS1OwHZyC07tLjuXDEOHI5GK49H4n3wk//1QT/2AeiSNga/x
GtPsMqxwPW0FHGxn7u+T1RV7cMNQlqKJyEHU+1WjIBqRYHRQhf2jvx7WwQ4WOSfSvk38OXqZc3vx
z4q279o7GQFz1ChwaGhv2kmUxOENrZUda5u/ELrwu9h00ivftXXyrbTCZlKilrYGGAsb1nLEH1iu
sCFmnWoxMAh2buQ+rHMuI8FPyk7Hw9IQX0hUP2PPv/gnvendFS2z3JulZaL10ozxtF+yENVrJA9E
dS9fPa9FcXSEBbE8+eYWw9r91+/5k27M3lWW0Y1y2PXBbNxkaqgHddR6cRNfqL25ytTKZcZ+Ka38
3JD5pEu9a+vkJgseeYZpuuWxm+vsBtYluGrH8ORbIjijx5gp75xD/5O5+12TJ8sJrYgSIxho0ifL
UbKuDY2D7bH/B4PlXTMn64dChpcrtzTTr/JtSSQhG1YinNgjb+f7aX/uHOeTOuACDDEl/sNBx4do
pU6YiB0i2nt5ktcEiaFF8UhA3eHRRPFQPyyjFIb9Waf9MgjfDRyFAwFEyUQdcNhBJfd9NzUwHslZ
WuOyB6atcYabl6/NHA17KTMqz+wD7WKcYjAtVhOHl2TF1y68Hl+x5SYkj9USwjN96kP35YI4AKcm
ilkeWfLJLDUNoznJKfqpGcyWj+xppow3tiu9f/h6nHzc/J20dDI/Ib3vZCHrBi9tRCw1yiZM8Zbh
neubcbHYPDXo2yql/hm1/Q0gt5cBV64o5quvr+PDR45BqpOUQVQGHy1OS96/gb4Fk6wUPSX0GYbP
EOprViVHHJ57vauOhZKeecAf1wwUY3m6kqybOLE/eAGyTJ2EaQyXrjZ4S55GcwQ17sCvXher+hhd
VmdKiR+3ACctngwmJh8xxPW8tCg6xDXa1T1CNt/tqZnipL6t12xEz20BoJF87NsLwAs1rCIRRvn7
aOjNFNwpdS5NZLt6oEPxP0korWnGr7HmdMIMI8LgTDYtTQymSif7GEBl4zkvAvVWUIbx0kyhD885
Z3OI8EYTR5+ole11KYbJsQNPvQeMjDk17EewiJIu6CTcGqBIlFgDloBmoHuSmxo73dT3MBq6wTCe
wizPNmTyG4+GoE73eThYVItrEOJ2lDacjPlC+0CGfbmzEgliiR8Ol00VRbjHNWvLKSGZ0lYyonbv
SkXeVE0YbRtiWxyrGqs7Hw6kXfuKSbZIoOMpnTrlCUnHgGU9niJ0Q1LdwX2dUvNHPk3V2k9w1XtQ
WBoQj1akeRMlZtSjfhrhp8+zaT9n03DAe9uru14DML4aslTMbAhN2N6TRCJsF7yEeWzlWL9Ic4jW
RJ9EJCeIQfSiFpm8G/XElI+jb9a/LArcwFLlcjcoVbTKsEqkziSEMu9CVRNYFhaaOVNqAuEo1DKa
uKFUFqafgRNviILOxceCFaptjE0R5GTAZaAWZFQqnfRKhTzkY09qSLLtOGc7ZqGFwpTrvyWAPzPW
MYFhKzTO8Srn1vY8RKO1+7EPGlaTc4bqTB1i38lYHaS6Y7VCfkO+sQwmOffdsQsW0/ykoG0r1Ve9
tXqnABoiGu1dqwtelJdXsaCNqaeo2nCYMLa9JkbWip4uhHjIhyqQb8h6Qz1WaKajG8vNyDVZA5pp
bUo0PntDbpHt5h2WObmd9QsxKFD6JTM+3KmYGiLecz3nKG9oj0ZehzgiE50A6Mknjgwbve4NSawS
fMYF+K6a6L7mkuaLylVt+maDSD3NNuFgTL/CqYnXVZ7McFc1S9TQzwZsz9tU7Y5RHc6B3UNhR0wn
ksJQDZN5FGZxuhf8NslWSwkkuBlj0BOuJk3KQphN9JshSLR9UwtIdX1VGQ5Ckoc3QWHIrtID40iz
IbonnCS5TSUVO6qZcQ7sL77VWi6wS0Y5n9rKLFAZW8OA+bAMRRd+iOD5wE83ZqP7T7rfkcpgTcXG
l9rFjDYKZYkSsdZzzGk5JIoGtOdLWCUia8w2mG/6emhwvPnKWLnaLImJDS/W2IOzwovnF8k+9evo
VsVFvykaidVKOoBXtqMi+FmH49jCnynF53AqjfXYacVG6Ktsi/RoAokRUpSpc130yryOj/1cTY4W
B8JzZTSY3/WpHAgBGNIGV7yWb6c2qjZiMY3rJi+z1RxMYesYw0CsICx4t+wH/VluIh8IeW6BflGg
+sqxorqBIinbopCMn2ImRLKTziYq/loKai+sJXawhY8Jm+8ovnCr2Lf0H3jdTU4UttwpHMloZbEp
wWc+qMC3vVjUyLCY8vBY6Vp6C8Yxe25RdRx8kDxIfrNI2KRTlHg97GgXzYv1GPmmvkulIroaiwiz
PTSmLfqkDC9/ia7SSlLzLgQn7uidtFCLwPDEglgQrBmX3TUPYwnJEFo/8nptCiRP6QWkt1qh998D
Pr+hV1YVil6VdeRdm4UsHMU2ia5a1SKA0cp/wh+CwJIRM9DUYcJnoxXSW3/MTUyBPYcy45hbF1PY
lOTDBLnwKA+DjheHYYfyMgnrah3Manbf5xrca0msO5CbVVQf+kAt41XY4Uj0mXJWsy5ixq4E1X/R
zDy+maX5e6tKGTJj6zaMOZBVzCl2hHL46fPNwe5o3XB8K9tWXijbUu1zRxbM4loWknAPezrZKVKC
oJMJximC9r4e+m9pr0i2nsXFhYXtk+DblhXezANiuvguFeJdpfePRBuXz8xzd8vjsSuZiI+qP5p9
06xDYOZOV0nLjQCg7qqiBOs1ooqX6n2v56UXhmT/TIWZgJxp8USF2c+wrK4FtaBhQHrE3yO2rqWs
8gZgxGuFDGBb01lEAynEglTEnODNKMVbWI3bwoxRL4GXdjkMwGVRGN0+7ckeFCPxLoNJs2XNiprd
wsOaivm+tohy92dsw0IFIjdCQgjTJwV8DzTbHefogeNuNbWDdjb4nljSZT8T3S9UGuSvclmASmHX
XFm+Pq7DsJ2vYDYC7Y6ldGX1rf6rqVrLbRWDI9CBCZs39tNQpOCbqcGRDMzh5xQ3TGpDXhNzwOGZ
ryv49OuhRP7O0ZaWLwgvo4Q7EcWWo+bjdJCEFENxGD2lmeS7Ekhmp1cr2GKjVdbIxcKdkVYZEYj9
c6anrB8sgk/HpZDdSFdIORS3Na3qpcb/Pdvy3ESbrssFt8ui21SzynWg5OZFI4LBE9RwF0G0bpk3
ZnGdVQb65VQQ1Zt0EsxtTFwLvHB2pV3TS6Bi0u9GYMpApeV246PAcFK0HV7TA2gAAHtl9PAdSsO8
NAMxhWJs6dfB0EmEk8B6S8SGdWusDtcsvcDiVOmE5H6QQjzqMnE3GLIdtRaIrpTSGBwaFRXLzNvr
tLL8g14mSIiDpLiKA9ihRZZX14raGzuJr+S2Jbxgo/fdzybrkptCbGGFmWQ0hd+qTliBFIfLoKjh
Y6Yp4YvWieI+0Tp8xGPoTlHTOZSchSchD5O1EJfzsfWHatN0jXQnkyhAGkJXqNdRXAt21jXGwVd8
6GWq7v8qSSag2lTIYM/GaKwIV5ixvDdaxMq9ixJXljqodso8piud+Zfz8RJ/giWWpRNkHeuZpM28
PCHbINYNa9e1g7/VSDUBHKiXBJH4qMwcmNggHaBO4OqQtW2jz7kzC1Pj9mXLtDP5uP7mFpORpVYr
S6wFp0nMYqNUvb5W5qDd9L7RbwZRj/ZW5xPpoRTI4ztm7myepq0qhdVeTGQdYJ2ReVRkOOmd23s9
747+cj1TcTGH8/zc4DGEbdRIu9wILduICPsXhKQ8KAY4rWGUG3oWElFJ5ld1Y2rdimgOe+6Qw5pq
3V0EUIMcZHM+evhysMl+wnDUuCg+0CosKRy9oGoUoiuICmLebuqUcIWgbCO2OBZhOqFmXPliL3sk
ONCdLVlwrSw2XRUFpR2FqIRFoxAdSoHxSl48Xk1j6sAoam07ZEm0kwbFguPSVMYi+RcLT4+iGdi5
hf9nMINYWQlSm7D45au56kbTOoyKWUrLgg34g5zqyn0kG8FONjK85X6vhE7bxqzKq8BPnI6wpxsu
L+mhH4+iF0hTuQGo2t8brHx/dVLOl6orhWqf9BHDWouq14438MKnIOS3Uwxbi0k9EOPTSPcBQfnb
Zs4HAkKzQSfSpq9zx4hq/UEUydxwRGUUHFRVEBrI4d4XRdJ9j1JuVW6lBuOA1L42LLvcCiC6K1Yi
j0kdpGOox9ldGfozCRaGnD3XVuXfGknRPUYKtGs35gpguSmacG/MsrSpc5+AmkYPeJ2J0YtXVpaF
myqGzh7hTrzV6qS6MwtJuo75ZkebSk3Dy7GuwIHUwpDfSrI0l162yCg3/2eQYu6gFRRviIZrM8w3
ojl4WWVy2j8K2Zld5YeiPaJCDlORp8BVZ4l/sosdw8RSyhECKFtZJ5Ble+rPKLIWH+VpqYKjMBCW
OJ8Rf51KssS2KqvQnwZPvh6SXa04AyFGd6R7ueHKcFQsOdel5DC7es1W3jOPz09f79Q/ucd3F3BS
7SqRvufBCBdHFG4T+TbFdPJ1A5+UAt41cFLbGpNM8fOUBsggKVeVKMM8j1+ABCIGUwCeinp1Rkz3
8UyTavDbh3qyNS/jgQFm8lAhCQFzwkfoLfvylJUB5e7zAonPqi7vGjwpOBUVM3or0OC4Gok+sK3X
8NJyWg+91ujkz38hS/yTEte7Fk9OLMxaacLCoEUcld9lb94wfazCG4WqN4Pc/fuvUKfagNyVysPH
FMZ0LDTonaT6sXRyhEgJXY00LVKNSg+W36rkc3Sm13w6MN62eXKDIcusKSppc2b9jeM0dJq1XtnV
epG6NCy7nIRlsgOXZiVsladzKcTyZ932bfsnY18rSqU0l3sW1+p6KfDI97JqK69pAv4bwlPnciLv
tMdi9fLngQMZR268Dp+FO4J1zoW4fzZKMckssk2Fg7zTimbSa9WcBFxNbgQ/1MVrCULq65f8oQa9
HKG8aeLkgRvqCFzVEgcvmAQ7V64EwwcOdfd1Ix8FeL9bIbBDVUTOhn4/9jflq9KKa7Vqlhs5tMjs
s520IQYv8Mwr8Wl0AAp1K+VCWzP34y5QrqZv2pYNY4h/+esL+WTIGuwmqCKhlUFy+7v/vbkQUNZZ
EFqGyEFOvdV/Lkf3S35291sszc4tONOh5eX5vS9Kv2vw9AQYxbZfCCMNktF0N+z+JIbFt5mDpdgl
+9yunOk54jK+VzyFpwV9l60EymVHxVbX5rkPz8cJhMvhBWD8N1WKtSf9ezYrbZSnVPqtElq+N9mR
740tr4gwWp3lzHzWGup8nPy/LUCnGtY4qKU8VQaJI13s4TDWfp9DOv6t/127x8Z+7u1+0p60uCrw
5uikapknd5emWhImjSV5xmV6p/zOP61xTS++lfz5HKzi48hhYoTGK6MXp2J5evKuzbFitUqqeG2O
zVo9NACvDVBvZ3rsZ81whEBdHQ8VoQwnH9KoEEn0VeF+5gd/PW+N1+ynRFTxVmG04Nu8JMIo/inf
nGn1Y72ZIBdlWZ0QtEM85MmnjaA+tBc+C+pFTSY7i994Mezqq/Nh/Z/coIkuF3o7GnxTOxXfh+Go
RoXfqZgJwttGk1dRODxMaXam63+c2TkhQEoNa5LEQe205wtlFlZ+GXFHDZzv+i4ajlTi7DG8Jgfu
66f3cdqmKXhjTDCKRPXi5NxHBZ/MOjVTPbXNDnMy3/tafk6Mvpzgv59XCNJR6YCmqfNtthR+/c1E
Fk5DKFhxq3pJexNhpYueoxEiufTNn+8SMmUG6Qaj4z94hpBnloKMYXw8dk8Di30piTbgpl9KImzU
wfKSAq80q7rpv9g7kyW3kSxdv0vvkYZ5WNy7AEiQjHlSKBUbmERJjnlyzE/fH5RZ1RFU3GBn79rs
lmVZDSGFE6APx8/5z/e7X/75WwTiTu0XV2Ni8ZPF7GU6gsZSN7c18mFHLNvFVg4fD/H71KPfzEbT
73g0nf7WGdH38TRQyzC3bg3o0BCBUOPN0r58PMo70wEoCvUA+PJ8aae7oJLiLyZLRvE0TCEQvq2K
+4+HWEPbk9ng0HNLm4q7FsROl2uUDdKNVM/cDt4xBz6nlAtlFv1KtbUzI733MNT3gD859PfSxPt2
3lGWkXnpwAXWhBoauvhKKj7zP36ad74Wmis1l81VY0s4XT/9au6+IO/ctoJ8a/M1B+FZu/NfO+s/
6u3+73GB/tdBvmx2gw/gQF/z7uvrvm5t/fN/NXZr5h9s9/RImHRjY/jt8v2PP1bDYH6i0djFQcdu
w37tssH+zQYy7D9QaaBBo6vbw2lgZXL93dZtWH+4KvElViyr4YFpuP+krZud+s1E5/erHrGwvc4K
piDtMW+nnzqKQhEZzrsx5qxdA3SLuoA9baTNNWVpbkzZQj44pq5OYl/xZ2jA8VE37i1V+lrtbdWy
2Kh9uqshOmvwV0e6PBq1CVr1OaeIspAGrgYioosp+lRRmKko4d1jQoAr+9d6vKyzoOy/OsVPtbuI
7krlDtqlV13kT8IC92cFKp/MA9S9BIVz5akPaXG7ROSwvy9clYYyTA2d4qSvFpcLqGAQzRC+Uxf/
Vu3TJPe2d2eSEHU86rtTaEcC8Daw8IIOo8TYmVig28nBLYpNqwtfKWAcQodRyaWSlYfIYhl3NUTp
idSi2yAaTjOKZrgI8npiZdqgQAMwTr2TIlSUSYhjWCcpPALgIkBIrWVcZ2oRJkoLLOxPN/sWNCpg
Fd6z7cKs5Eat2LQVloovLD7RDOqvVvxFn3EUvVZtekt0zacKu3Eh8yYW9fHx0c3TjcXnnqIx5HZ+
aYC3KXI9GDxccZNsp9UiLKr4UjTx1phmX4KLnrSDZ448/nIo54wyqRHUAsBKnO7GasapFzvUAdPm
5Ng3VyJ2/b7bDZZvD3Ag4EmPFVmowHIUv19l9pjFNsDFDY8PIbJdtLT++jkV63kSsFSS+zH9jJkq
6ZiAkrGEzOh+6udnfU8NWCQvlXpRya8OhSjTbYKEqpDhULmqntt6go3sj924KfRnK5cAa5/5TKXR
QpUxqAM8r58ysRAFKE1QxBjtiqNiKr5FQj6qprDRBC730l9y+AMxppmJtiumdKOnL8yq1hqhzpPo
NJtAZ6JmMGwV766th62Jh7zN7YlHmZrj+v94FinmCcCNDdpAitAGStxAVoklrHI9aJRvBffpcXou
cxEoQMjHxOTbAxG97Kxk9tePlfO1yD7dUJfaRARGZkJeA5PlxVPo4BNB6YybuoBl7Ppt+1LJZ9kd
NbjbtILibM2EYHqNwtgtJL4LhlHVaWOj/SlJ/ZSVtjXjBxsLIeicyvBlAtjRp0pYS9fX1S8dFPyW
L2Vh8jBzkdsF1SQ2kWTWCpLAI9S6pgiE/VwD5lPRjyt8E33Mp0rzjVof++6m6XFWBsyVuQcYsJkN
o6oW25Y5kMO6caZx2wActpvdYEybRgdVXRuB6KdNh63vAqZ3jnRgO52fkX9vLehD2rSpGhI7PMzI
XFn/d9KtiZ5jzYe1lxnKsnrVKOlmKudNzi1AlywxKMcNDQn2OG1QRwW5c2e3WGorGv1PMogvFAp9
ynAdp8dXm/jdX6f9a78X5+3R/PfeiBoSjQiXPAAIb/dGPGx0L+4SYNX5T1m1m+UWrinfK9mhkSkX
gU6xnouiCXpwTVXjXna5zlJTNpoL0rwI6mUKZ77xQdXAMu3SzVqXtOuQQl/YCwg/nfRTNdsQQAdx
ne3c6a5V9zWgtq5dp38TLJSlvZJmjPm4LrJp+rUGZHWvqncRrFp8WIgTNeJG5A7xMWcBueqz6YCJ
MZB9sFQTXmL/HCEyzqlSRurRTL9QtmQ0275oimoztse2uZeTDmLwGLlkE3nXCQU6YHe+bd/K+KHo
qF9Pu4/f7onw5/e3e5JdJEtfZJXJ213yT9n01GQ0WhMxmqxRJ5W+SjtA1/w0zBslvZkVjh6Tgk57
RbZ++/En4ch8Hez99UlofLdpeKXphwP37fdcDorijpK6Fu5VkOdquObM9jkOTPXAi7NoJMa9Pbqo
3Buv20SQseWdjLai0f3U2lbV1rF3trnJ+h1iMaXcUNPU6/usui0mv22OtXXZKAcl4Z/PhrHLoAmr
9r5We1/pbz9+lLd3sl9PsrY+M1/XpwEq+PZJjNSg583Ne7/Awc/71ndwrVUbhPBVRV3447HW68J/
hcj/GssgLwD7AaX8yffXarnHVZMq9GiGALqcaJMPYd/vrMl3v6EZOjPaiaU442kEQsTX0CxsMk6/
UmKvLmijq06KHsVYMbDfLKl+cCKWFaXCrNYOk84K1OYwm4660vypUJDizBgVb6tMmHSDrhMCN3k9
aF3tRsMCcM4MzpH4ksLg9brLlxLDmiV7Fni5ox35JszParH3EqQ0wEhKFvmYdN8tRTtE8RMK2sPi
6YEm0RdNOA9BZVo/RZ6nd9Idr3HC3Jvl0cG93pjDFo+YaLqndXTBx2QR26Y/jnEbOOZB5XBdwwjF
yXw3pTDd7DJ5yT8cr9ezGm3H+QpA/0HM0X4iIjA16Ttaumm5IrS9CA37zhgeIqPYSeVLYWoHJVb2
HWt+bo7p0lzoOfRqPWCm+PjebgrnTu8JZIZxs568CR97PR70tUsfvuMYYbHBybc+rRifdDLD0bPa
c9ACQ89MiBqcJ2x5a9Sg8ncoffpWK0CjU5Rjo2+j9qL/5oAUtMF/x/ZmmD8P3QhPVfgdJvVTvNM5
/Exk+h0kPlP5vsu7z7K56xa0V3WYphDGHBT9HBKCuGcuw3ZgIZJf6IEKrhxXb/lhZndKPfjRSsHr
CGFK4WvZy/pc64FSVJ8Xk5fUXEM1oJc1ULVk0yt8qdoX1wZhx2duOPPQsfCc2W5oEsBl/dwEdkxz
BJLkDrdZQQBc8cvSlWOLaBmhgvHrmOwnxW86cTCS4rPV0ClkjNfVeEjnYaMa2HNK9waDmb3tNMEA
ObOkdbV/MQa49xVssUwjKIm3lSBYdJwgkrup2ptJ6k9a5stkDqsx36U0chui4Q3vVAtQNxkPR4TI
CYnc2B51frtJVGWDiKUWs0qsNol9/etcxrbGo+b8VcaWXxLARjbAENjR1Y+ep4iINu3pSshqvx7X
BrjZNTyqM6rtZbsfWTTriWQVx2wI1SV/XtI80NJuN8PKicyrqr5vUhQIBEK6xVxMxVNWGoSKl4Ob
blKBFUUtnnKNytQ6IZTnmcJ6KR8GbbqqM2xmrOG6E8QGpSSoOo7uN53oWlPAz1lXjns1g0pMCGvd
b8YI30h7KnskbozgElMz8Ss+3IQmpggrOa9zuR2JZlVOLAFJHHT56PCX5cW6DwyUawWiUsXUd33a
7e1mDI358xqKEN14AsM4VmWC0nRBglNz5BnNIzPARxGlGBzNvoFfiuA4rHVijVjnQqAfYu+OZvRg
3S8crCQIiyoHDCenVW9p1HJ8MAf7Fs1CUbTBWpRbV1nLdJnXqHp6Krpv6yXCaYxfd4y2GbeOfsxy
/denKFPNr4cjDe3bDDcUo7jv5XENokbzUGKAwzAmUXjsxXh64GbixNuYxLbE3APg1BoU27ayyWZ1
i1rL7J9snExKXNji+ljKz8iy9jp9QAaUwhIunTdt7U472HVyJ1OigdUaQwE6SRectx00RNwdmFUN
tiIakVZG+8Z6dF0EcP1z0dyEKZ3u60/XmwX2JBslL7nCIOgbNrk9+OtGNaFQ/HWxYDasVwePU9Rj
okGiCUqXYE5CmtfvLfjxjo0UJ/muRMNW+9NDdNN19+jJtJZN2vm2vnOjbrhkHduSfZ84E0X6dhgJ
srN2v96oei2/dRzuc83MYbT4ZmMFubeBNr/rMW+gSsE9kxsLqjg1krcZijFY00yCl6h/gapFlM7b
Y9W3L3kEuhMMaBoXe75Wfxqf+/STVv5MSnK3SYUiKt+MPYYKfAZ1GDDE2VjFyL6RBPHq41bua0J6
sNbI3BrHX/89FTW9HuZuMq57IsgqvsiXPjCmJEDedoewIqiUaBvpI2GPFehpFmgdTmoTsjV1L7X7
JruI4n2dP3lorOJvJgVR0tXRS2IdE9S44qkjIl6/67GkX/gxbwXmFD//9WGrDIl+96Apd9mIar2D
DOsooYuiquA62eq7Bp3POFoEefPOxN3GGEY/kpvWmDdRmQYIy8JmPXTVXaX9VLMroZVBb7d+01wP
OBUSZUB+Epbl687nskeBmIZmB9dU2oAzvw282uST2z+xs4qKT6bjhKPrOxQhyY+YKqAL4RPnEdMK
CnmpsG9GdbGJuk+V8TSlXxW2Z06AiOXDZbW7yvBIsVBittayaZyrMn+CMY63kp1tkmEfxYdMQzd3
01W3mPjwFGsQtH5lSw8psqtgcDr49+BnMyTNRrhXXoSYdTWlCZ3xq2flmFaABdNDK0YtZg5gAVws
bjCjUdDboBly2oOGuYueeZ8U0dwuMGqXRd+Q2vEJYXae2oddQ618njeo/zim4+2a72ggTGYWT9CI
MDa8p0wUG82jAYo1ZaFlNUsWEtuflstbL8VaIn9B8ZJ3caDI+GIE4NkUq9VH0LtXLQeC0+ah1tpk
qH+q9SbTPotopwAezdp1AinU7Dsslnp2VErZKJoVnKDSke0Wou/SBbm2j5bPlv5EQthfn591YA5f
HP3TXMOT7JNABIONqR4ddpOJzwbyxmzAKai0AsS2gbcqkemP6NPK16MOH7EoWGad8AAj1kxuF8+8
N0oz1CfyMmySRYo3yOd2qMgmgVuwxRbHGR9BatDkLKtqwByJrYq40dRQv0JGsAknV1yxlj+uA7dc
RRtkm3Ehcd5CSo2tmDI+9dPPnhyImv8pcRCLCV4yprdgP5TZT235s0B/ZTwpiIn7viD0eEJQH+j6
TwOlUpngkbPgpDLT5QbOXlo/14mCwRtav5/T+DQaODEVgJ3NPnDkTm3SoLJ/LsA/1ldSs8+1kxWs
/92e4+3etg2fn9sY/MySyDt5KdHjAmwJ2njEKwROgfZSYrGAR9R2afONR3BUDNE2JdVgavwxY/0w
ywaviW0LzDotqM2jTTT6Ab8oPnBE9yb2Wy2+SLpeb+0Y8zn+fE66RuEdpXXum6w2B/JqDjh7Ljad
ihi6ZtrFyXaG79WxALO0x5jM3I8YTc0Z1JQURCi7ncLuEI8W166XuacVg+hx3SQUB1MW7apBSm1N
pt+u27vXhyZXwsmZ7gvu7usf86SFh0uPEsv01ZI+5lLZ9vQ0DypBmBnvllY8mHLV35Uv88JGHxEa
d6HV/Jxh8kuyUgnJg7SYQwqtbAEcFrN+5bW32DkhEuaEdqeQGGVC9KfQDpGTV1sMZV/KcTsuhL5W
fFkgNe6LdqsN116cPg9iDpM0XLL5sm/FARO7l2SM2NVHrIxwJiHf0Vn9dUk8JpcHGysvZP7hIMg4
kd9LzGdZpOEa9K5pQ2l0vkqc11X3AvVnZGq7sY72hhOHa+CZSY5ifO7WtE+Z0cDAaQ74b5MrgHIN
4gzaPEbta7v2PAKoTdV6HxNUcmTjN5RsmMr2csl0UJ29NcabXznIqbvIyjZAfu43RGmJoe3KbrNK
Rhqb5ZjS+KXRPXBpMKfn8Ziu5+lhwDmvi7/LiTptF3FS4pRJ3kfa6hV9Ugveel4Rh2vMHmeL/31x
jlLQeUmWcA2yciXad0u282R+q4ztzQh3eumQi4j02dAJdGJlU5TJX+XRf1Q6eKqweSlOHZVfOwX8
3/9edeF/ETyWgsCra/Bv5syPv8yZ26R84zzw6y/9XV3Q/8BDABcBZCCID6ho/7u6oGM9QJmbfzmQ
/XBM/Xd1wTT+8NbyHH4e69Wd//yPf1UX+JHr8auQr6Ipobxg/pPqgvO2iuas5Q7IZTQYmJiQGNS3
3qYjutQqdZtz3cco5DLX5vgyzSyaJL4tlgfwQyLNcElupiq0+2y4SucfitnRW0QPwGTHalh0AumG
hd8T94SSUzvt6vCpFcbtkBT7akqvivaH06jb3qs/N553bJwJg6kFvny5NwpU6Y6Vphu19cgoVsdC
fB3t5hhjAwdm/nGWLkIN3eP+gTlBR1MMF6YJFTdratKUbWNx+JZ4WhZ9Tr9DoW/pzaJBd6ElhzLD
pDo/HQwLkoFmBK1OLskA8rHJQVgJIPTWIedcDC+4q8Fns0VxPYnupw16z6encNd4mAnKG2/sL/XW
DkH7bovCAIJu1fd2pG8c/Hh+TZ3/v8ae5vrH//mPIzaDXTs//BBJVb4uxlHi+nCNDV/zb1/b77/9
lb9WmGGwwnSPgjnFOEQw6xz+u36n/kHxjn8MFZwcSpJ/LzBXxeIcTBb1Vh2aJw2E/15gjvmHQc2P
dQFA0IMj+o+ozLb+NgdHY6gFhpDSLorCFRp9ssDaQkuNTlWwIsAKaK9B6QlpiFieB2TaJC00h97Y
0uTeolSzc1fjRQhWUocgpszadKjrqA+LJOWA0npR+EOj23fVmNRhObEu3aXIL8xC9a6Xtm5wz0zn
UB9LyjaW0jQEiJ7T39p9miD56s2yxJIhw6gro1PyeZHUM321NpH5R0O17avyqDbSXYJSsee7bKqX
QzxE7mOq2JKecB4Cfb0uzcMoWx1zMFV+GpdpAseugNahxa53G1JkmL0p0si6MGrWq1zW7FqRu6E7
6YRL9GHYKg6QbXnR2/TGWoq4iGuruI4VVp0o4su47g92jpmhhq+vlsdg4qdiuXs1f96pG5ykk/lS
HNUCFsGuZ1Pr+yWZe5WoxHAvEmU1ALyTBBnDoLg/6KcrN7HEYTnCJ/JTZTeXQ1z97d3z/yQNm7+N
rBsuZjK2RsUC15fT/XbsPTIbRWSH5mJptyYqmfu4V9urqc5bMiS2dp2VM0jHUsco0fMWEjpalGEZ
Mo1dvk+iyHrkUj6j2rPnL3rTRC/gA7NdR/vkd2vsavD9RiQ/kz1y9/3c2XhldCp5PtwQU5B/XhUH
dRqR2crjjFuEHEcsQ53RoUjhmVjrilK7bHPbvnag75DQUYz2PrMNbqvWorSf3KiT7sVoS4GxyJJV
3FSUJL1rNWW6qWNTpysgT6+0mU73HG/NjVPrclMYyvBcKcP4YrQ1FhEff5cnJSBTw8ae97m6o62S
KutEM0NrpWvSmzOHEkeReetm55Dev63gtwPYJ7UHFHH2PMek/hoKwiFdfJAwlewKw8Rj7hDJ9sZq
kJz1+K12DY3BefRjnFtqfsBvzjzrSUL/t2c92UwssOytIiNC2F9o8W5v7OI96Yf9x6/0RHHw2zDr
JH61PMZE7byoJjLXl9VuUajDLvImwYFKdv/MI50Z6xQYkNOYA1EBc2LVJaMnL+3yE/5lZwY5M0d+
bdKvHkjrM32gvXEJZ3HBPVNLdh+/MM6EN5WW0ze2iktevzE9yVxrXp9Cwg8HMrPj/on0E0sLO6x3
vXPmeU4rc7+Ntz7wqwdyDCnzZMAre0mo8Y++od476e1Cq4057fK0e1aoixVIF+PNpOchhhm0Q8v+
HMz3993szdo7VUYB183pZx21sIxyqpFkOjaW+s0pn11vR8x05qnPTZWTclZuaZ5U9F7jqT51WIIY
D8N0pmJ27oFOFtgU0UZUNTzQ4ExXrd6DCjHkHMQm1rrlkB5ksnx3Ik89UxQ892QnCy5G3iPrhGE9
+wFbSez2kJNM+f7jWXpulJOdkr2DWEQYYgeWo0p2zRfphB+PYK7z/FXF8XRenjotgApUrFyoYtc3
Ns3FRvxsGbZfeCS+6oQQKH0skUFMeNwuUjuYNQUJqklqKrepUHeGrdy00fwdt0FKiCR0HP2LmKyf
7VThSb6Qli/6YTOZeSjwP/LW24A60UHl7ubWuMKFPdDVbCezYz3jYdUtyz6pRRpgqIk/qlndJCYu
Ym5xKNCRUi3Wr4ohS8O0mp4+fg2/v2gQxsYqksYRBHXvySwqp3ZUhw7AitH+mSXfgfzjPHOub+Tc
ICdzRqORrF+qjk2a43ub6s5ti9T3sh7kt4+f5rSsy5f69nFO5o2jeCTps9wgEeRgBmVER8XFP34R
KpQyYxRLsMTxbbaY+aVhyMo3l4YqZYTepqgr5WmZ2gireirOKRm81KOJ1KbpxY9mk1TmHH9qaJHb
uzEOwePizGxhiNp9ZyaQtGPZ7g01rb5niaqHEXbP2YYuMgouJcnTPhHjRawSxyhUeSi3qM2mGPUS
d/fYPjO1z225zonCWeqDa4vUElT/lnBq8k/pMvvzom0mI4ItbMS7cmx39ezsgWmE5D9JABbIx9Pu
MqNFa18i7N18/M2cO3ac9Vh6dQxUXTZrMZKMnbInNx6uxw6R+0HbZqHYnEPHvXeI2hbh6zqjTcM4
mdXQIXJSkgrqi+IqRVyRksv/+HnW33C6e7we4WRKS8dqU1XlFF2qe49ru32l/rCmBzF9/3ic35eO
pb0e52RC96LSFjflIIG1EkRkZ1Okhv1yRq9+0gHk/NoMXw1jngSOcRQDm0kWsVustvb7DGXX2Ji3
ma4c8qIOvWV8tNXhPi20jenmj5r2pyGbi5GCb27/qdT2LYl0n1b77Tyl26J3Db9xqpJSgaTpYvpe
xcwqSh7n2hhPyG9/f26bTZEtjLzVqRbZyoqa7A9yzNXDcOX9JBf13tkZ2+Ssr8x7AS3uR/8e6mQC
p3XqGUlPQJuUN0sfjNndYL5Qk5iMJzu67OP/wTn7eriTMK1LYEcmYp1gBXltZ1nrM1a87Sz7f3Jp
eD3SupherUwtho9FlRv/zgOw3jAPs536OAXKrt15m+IMoend+fzqLa4/fzUYF+gJHgzz2agPHQWq
sguz2tx9vGjWxfd2cXIK0LzLtNYRIlsnTzRlTteriYvv2nRby0OqXbTatsch/Ydr3X88FFe33wZj
hb56opNQz2liQbvzrAH0UtoChYfbKBfeaDY/nVF2JBd1YSC3mby7zkjH+67yalROcaWbIdinZQsI
/s5bYvlcpJ1z0DP7pTGxsrQV7B4NqlCpm+7nidxEBmE89Dr8yTd1a1afHbvAR8/sL5tpEfvcpv4k
O28pd5GYD86QVE1QV4V6A2yKylSKDTHqvrzSrlstw+3PimPh7OLKgvzRaalGeV5HYub1uX6rJSUS
Vq2R5a8iePfQR6M4tLWePw10dvnzNFl/6qp07H2Vyei5qh38m5emvJW1d12XPQmBRMa3XeqWN7aj
VTgkDvONO01qvxUFFak9KogZRUOjh1Os9MeuB2OymEqGlXJlkw2iC7+fJjOYOoOe9GWYSICU1VNd
9P1hKjqkq+kyDnu1r6OtBnDhcXSJuIK8z+ObLC5SE75DbNwvsSq/WHBer1sDj9VsLGw0pLjuXKLQ
Fs+aGH+4zWhdtpZexTvLqrV9TEJlF+m1qVzE4JCwWMqUUT66nS2aQx/38C2WdvDKcKHb5mKSLt3Z
VZ5F+zrOp0dAKdPe7iBsWEzMz4iw1Z3o9IIM2Fr804VXwHSmroMscq6Oi90un5zSjOQXYSFnamcX
ZY9HeXcUCUmqthpdnK8bl+p5ioLRAsNarXXX6qqNABzEmtZCGEq0h9pNm5umLdTH2mpBBRSULeuq
wfanqLxbtXWjR7uy94vaykcTeezeLjQ728OMyrcoi8s/hdZ3LUINk7IYIgZKd+QwC+sYow38BIAn
fcr01gORFCEMsSSuhQNK222Rj1Rpy7JpH8y0VrVd07mVfXDnhnxVXvXKNxqkxIM9oKTmcVzn2YhN
LC2bsniKWkgLQdUM7fdo0esnAXBV2UtTNveZAEGiuuR0JhO77Nakzs7dpt9pGULUdCFdBJWnHAMo
JcMjEFx39puhNOJrxYPIE8oIaZIPd829TrPRyTaAJH7tpr0liINsVGuNnj82GON8d0zb4ZxyzW26
mq8U6ZT/mGPNvMtqsTwQ92HNiQVdam+spJ7uwC6AU3JzRVu2NvYGBYWBSTYowOa43HZp6Qn+e6kH
tdPFP5VC7W8yycyuG31BYQY7AnNFkFxb3bG8awKJVVSV019boxeQMVXeWeR2mKspm75UvWNrAEM0
xfIMB8zetlFsIHua401WRRFFRmUV27SHRm+rII2WLBg1WW0WAZFqpHs5zAadTvtac2kV52LIiUkl
rx1EvWtmCrpxiYNOqpTdztQc81i2CLhN+kh8bUq/yaRAeyFse9iBV8cOdY7Th7KddwNUGLaMqAjn
ZqJC4Zjids49cXQGudy7dQ1FaVKM28kY1O2SmMmjW+hkg2Sez4jcxzkPuHch+8icpo/DeEqzb+U4
WwLAr5dZZARJQqONXeC+WZG0h8ARdTUeZ72rEPMSGqCWyNEUAEWRQN3oDehyvAFBx+EHlFYH0WYE
IJo0L1vBPRmGA2v5U2Qn+iMSXfJ/cytJUMuCCnNSdXXrC+L9z2k+kwVZWjf3vVF0dIWl4E3yadAu
IGr2hzKTKjc8O1v2Q6fbl4mUCGTdhQrv0n/rNccFDubkO7M2DT9rTHw1zTi9mYiXQunpFr67qu7X
bnJfCrSabhx9pWrchUXrlnDp6pqiEPOoKlbNGEoQZRJtj0C+xYukaWs08PBV2sYVz0q7SuQVr2Nr
s0DetMlhSJvlMGYmxjd1r4A1yYdLZK7TSz1msfBrmBdXRU1/SzfEx24cI3lNi40Ww3sAFxUnHCEd
MsjQdlKO/sycDmNkfG0GR3mBfdJfVYUy2BcjAKc7MaP70JKogaXgoFvUmkT93MveuM3U9sF1wZOM
A5yn3IxwOiimuyYjWBrZFKlWm+4GOpZ+CVoJPcnM/tTWJfLmVlpfZonzaFQVFMkjwJ0Z1sBcgaul
QqyZFPbWdcT8TYzojwoh6MpecoN+mMlgwvajGJ4pJ+R37jTPt1Zq11/p7CsuG/CGZ5ot37nQvA0y
TgK0yUvo6uEgDodW4Kg0Av9J2vQKDI9zQWc3wJzMWa6Jqa9srqQPkLJ6GpCa71XRt5uPg5B3L3yv
Y5CT+44iWrU1I6/aFTMsrSifK4owg3IAS/TkKtoYLIMsr9W5GPfJNA53Xk/1pZogFyWRJ/eCA3E/
OobYD7lZnvtw623zbTT2NkA6uSq1Y28IL0/bnU4SJWg0ulEsPcu3ecqXH6tsQ61Bp6xm4wZZah5S
KXUIZJ6ey/isgdhvnwPIgfZL942PKT9/FXoOThIJl2087L07JFICYd8wvcwIVz/+Ns6MY53cpUQK
GLKn/hvWQ6bfTFrzWUsU+bX3uq2c63P0/3Ojndz1KTjlLiawamgP15P8mURhD3w6PZNYOTfKyeUH
3R7JE0MryQ9bmJUgoSLCBLSXp+Nj69XnvqrfY+q3a+vkllA6izSXktjQnq7Hqr1q1UBvkzMXn/cG
WfNpLlEE7ZGnlB9XaJCQNGsMK+Oi60OnPg7ej386FRx6ZP9riJOLSK97bezWEpPoBk0cRja0pZi6
JHd6Zs79no54O9DJC6NnlP6XEV2vhorSg1p6AAj1ZxvnCkYlLYgUOYt/fJNjSIJ9dCG0Tf/m4Vvk
SQRol9dnynAUD0jq8yz8+PX9fuV+O8Q6K1+t2NGxSlMdnRl98Cf8DWRsojDzeyMP1/JBvmwr8IEf
D/n7RH875MlmBXyyE0KtSeCV3wvj8zJxV+tQMJ65Nr43DI36qosGANrJqa9Sr7BZJxG60Nixw1XY
OeYJYPzBvLG58n38SO/dhqnpe9xyDAKM0wqy3XUL1f6UsZBC69lyNRXRISn1LTcmcG/VpZj1M/mk
95bW6yFP5j1qxNhoFoU7cSyfmJygN2cdIiTB4Jkpcu7hTie+IQdaWRJ2Cqn8yISd3+ZdV36vO/sh
AQa3WxTBAm9V78w8OfeEJ1NzGATgrKzg9toedGWnmvDOzmQx1pf09rxy6L34r+/t5FBvml7JjTjX
Q0QL95C0xy03+eXM6fzeEns9yMl8X+LOKjOb5zB37SEDAs96DtvdPz+l3j7LydlriTaVkyb00FFv
ZpsUoXkHzo+WGvvM87z7vWAqbtqkftHTnLy0KDILWcQWLZGkKQz6L1Y8YzQNZ9bUe/stwKe12X0F
VJxCIyaSOENL+0CY5NB5tdpc6HQp43BUNG9H/4307Vo752333rO9HvTkEDabYSjdigkBqqcrDsbX
pT/zWO9NudcjnMS0JNPmOo6ZDcvw2ZOXY/rp463o3O9ff/5qQ3eduGNrYHcVjhX0c/SUuvPjx0Oc
MKTWlDDGnCAIVKSCMJROc/86XBxhGmx3iHmvrBCUbajereXtZZtfJOG5L+XdR3o13MkCsuWi9W7M
Tj4DKdHNae/FypmN4J3wnkfCJxoJpOVgt7FOjFevjRJrYZidq4WWOaNF5zLot2ZxU8wzaHA3nzcd
zhgXRapwMR2tC1r2y8Ai+egriFAos5f5FVj8fTpXZzPw7z4+WjHPQCC6wifefrQeBmlF1zdldTKF
VRCr+4+/znd+PweyhxEpbYUaCOq3v79zs0WxdYNOBjP2F+zUF8qpHw/xzlp+M8TJpITjI+qi0Tis
6vKhUS+iufwUO/nPXq5Ybv3nx6O9s4jZCg22DMNzPYRdbx+IlFXqpGjIw7E5NunlVF7azpnT91fV
4+TkeD2Gd3ID6Ue9TQezMsNo7qsd4NlLAdj7XuuHPADZOuwBrFfkFunieorcJr7T7NLZ9Rq9xyCc
v0JgG6+bUg47rUvBCMUFHZvDf5J2HktuI027viJEwJstARJsw/YtqbVByMJ7j6v/H+jE+YYEGUTM
aKNZTEQnq5CVVZX1mtpKkL83nnUBCpSP8cAWO+HvdQqvJJX5OFqVGVspLgZucrMEtCU3G9D8JiSk
VuGc0YywEsQQAQWl+ZLIfXtTJpPh5lNDN6sMg6+NCLZfmZBkoKhK9/5oWO8KcETn+ge4cGI4mZxF
xnZ4NVQ1HTyeaENn1GaRD97aDUvE/UvhTdYI7LFds+S+mMbUJAXg8oyHXmxLE8oluYhU4E5CfQNT
GfrWw/a/jOufEItCVFTmmJmV3HM2th5aDcSmOvWxOyojnBuFRu0oj/SLp6he2TQuZjR9RAMsKruh
vKxOpkXDuZugRErjJtE9QHTjU6LCHrk+wItzeBRnceQK6eQbKKb0uxmnUfT96yRkT9dDrA1l8Zl0
3AObiF47V8IK1HjmZbsxw6BdQ/Lj7yItvlbZTOEoq5aym8zU3Ewap36QBLS1i5VAF6vb0awt6k3T
iZ3JO8UIxUstoC6aiRPPT0FTLfxuBlFyOFOIK6m4Mo3Kov54XiRpbcjze5n+lCjbNSLva0acK+NS
Fst4KEaOrRnZMCQdRc3R4HZrSUjH+0ZZu61djoVegAUQFn3GxSaEqJGYBwqdo0wLpx0mIzHWBWq8
UZCo3oAwfUiCZO0odikmuguoExgG2mdL/UJRrjw5CQ065soP1JEKBdauuKnAlBhv11Px0ro6jrQ4
VoqGOaiZpaMuEn4eG9q3K53SS9lw/PcXsyeGU8i2wt/PdetQR0+a0jtAa1by/NK5D5DVPxM2D/Po
kJTBg/YHKBfgGj03c3JXsxzlAeOfrY/vWvCr/3cOmH8OmgQEei8aKjofy508xi+lCQeVLO9v1MAJ
1jRNLs4bHXlEMSQUfpd7Bp2XSpc7/n4R3uOzIo17GP/XP/2lvdBQ9Fngg84A+9LpnCUBn700EJZR
q8hNMvDPbbkNwuLGKlveKOJ9rny/HvFisiHvSE9S4d6kLJKhklm3GYY6O1kNb1X1Povj/fUIF6bN
hKWkKZwmICQtp02fGrMXI4nFKtxOhu7AZEeUzLke5MLqPAmyKN88b3Vyl+sKJjLxsKmlkpNDiH0K
z2D7yjM+BrVc0yxZC7ko5C2UP7NpCCn6bH9qgamRkj8JiMyAgzhoieH9+3V7PMYlmLz1ogy2iEh+
Vzwix/7dAAHEUMKV0+ql7wXJgS9mIF6JAMxpDuZWbMXUCDS0fATQMmQUHJ4vVxJ9LciiOOiN1+Hr
IivsSJMtj9khkT/EJFgZyoXlBEPjn6EsllMoC2EnhxLHhyp39bh3vfYDzAQ8R3TwIuMBWuy/v02Y
8OLwV0PAz7LMRUQDsmvM49rA+7jtB++4OcgrOKRLaSdBV5AJQJtXW3yeSfB4YkznEmGB3TYf9V8F
iBF/eoLMfn1NXfxGR5EW38jXYqR0eyL16Z0v2pr4jJvY9RBrg1lMl2UB9cgxSdh5ya8UelzxDI53
030V82El0nwYXVzBzONpWxxWkQ2q2rFg8TSGfycjtFGg+gpP8oF1sPu7Qc2DPtr4Aj/QPRpQnBSk
Xy0I5tqzNUQeitu6XjkeXyje2H3yuouWpIGQ6eLMpRSiFsoBpTVSEG1OM1sv1o6O51+ImoNmB+pZ
bExn1dsHEZTw8k8SjKGF9qPVf/HATe0GHXUVsy3y20qJPq5P4PmwTmMuijldr5mBBYG8CTDHQYxt
fg79uxCL4h21ep83fqvs4JmLroE/4I0gKd+uBznPOR764O4Z6DRLdIkW4/C7JOvVGWQRyjkUbHsw
XnVAHZp7PcyFT3QSZjEWIRbwcZDIN9GMPpl5athc5ivUP6r3OAGl4K9d/FbGtdyIxtKLM60Hzofx
R7WbBoi2foa/nTWF8NYF1I2vD/DCUfJkIvVFnjc8dqlNYSH+Auv2Jt1GTo7bR5vYIEvuk1mKfSU9
zkvfaUD5dAmPcgC5X8zYnkbEtEDR2IqAgRXkyOsjW4uzKOZCaeVyiU3FrlK65iYxJ+82CsD3xAKa
P9dDzVlwWgDnPFQkGl0WcrTLY1grdIXve+y4CjaRPz0xqg7CgGSakQhw9YJAfMsFMdprZewokvX1
evA505fBTbTm1T8632eazkD5hz5SG2WXZaL+O02Kp2GScazMJ7VsHaxdbiuzCwLbh6SzsjqkpQiu
ihcyJPn5HxQdKZLz+jmqx2nq55Hue+F+KjQEHrJoeNVDgYtqX+/rykS7AiulbeYVT6JMT62wNOkp
GoHEdGXQupHs++E+MeTxEe+uWXXMS9MNyCYR4Uw5GDay1UA64+YuiRtR7Xs3Ff0K7IxhZtptAzXh
l6fhhr0Ti0GQQJzMEkAFkue01swqvRd4u0CCRtKTbQEL+PMAtizZQQWM9kKjy4ciDVtQcVWYbPQ2
zEKkPdX2WTO6xiGAhsRsKYvuoGNbVHRDGAD7NHjJiTCDDBH2qHtUayX/IQR/v1WKrLANPAZK5Lux
eQzyyDfsgXv7E13jElMdefQfO5SJINQGQN7SIuneswKxtdEYR1zV2hDJWMvin1qX8DsKcDlJxlrG
yAv1l0MTRNE3fWit90mGuK+1Cuz3KlKRFB0EFWXQHLhn6Ggg5hOnCmp4SoWaIewbxADOtlntG/KM
dWtMLr9xi9pvMxtzFkpifTNAqYo7o1WbHHM2cbwfRs3chUoi2YVo8EwWT9pmyA0aHEMdMoJOnzVy
p3YcHyY5Tg+aNqU3QO96R2EHu9WqSn9qLD/9UZhG0W3EQKl2uSe1nq02sq/aTYWEE3pZhvQx+V0/
bdsMSGottPlWHesXX9SqTRTJ6jcBnBRaQ3hUymH6M8x5Sxkm7SAmkOZKLUL+qVTMTa/I3j5up5nD
7duVpW2hEefoi01A+QL5u9lpml0bKHe1WjQzQoz4h2QKNPGByyH90xiVcCMCKF2rDGdFSFVnEWqI
7ByQ5n3+dH2Y/mjBgUpGNFzQR9By8ceEmZ9thrzpXy8D55EkvC1g0yMhD75j6V0wcnQtMz0k0oSj
2cOYa+yLCfhWN8IE4Pf1YH8uyydFh6eno2jLrhe4UkmJPR1jGo3F3zSNcis1gucaSlDa3lB4X1tT
HT+iBOb2NhR8HFRTYSxvkmz2l+UTRw/0maLADuHLD45YFMKPENx248YxAmHBGIMrNofHRpRGF+TK
+Ih5XfGqx2PX2tEwTIhvTapzfVTnU8jHmr8XG5TGa9HiY41ZTKGSDaawvA2i/R9Zy+9/F2JxbOlH
RSl9pC5QhUH1O5CcpDY2uWmujOTslDen3dFIFseWzps6NPoZSRQ6Un9fCC/Xh3EOCDwNsDymaJ7Y
TIgSjC7avjvFmV3Vxw/YOjtxn9jx5+vRzs5EczBU/tnj9FmpZXFEmUK56Ifan9w4f42RTxBi1KwN
fz+qxc31SBfnTZfQhVBMgFJL4myXAIROinx0a9n7hAPvzljlYp6dFebBHIWYB3u0Y8phYXRaRQYg
zIAQfI6k59CPzW1gqdJ7o4NVbHQEFPuMa1rvtQCk/26IiyRPRcUDOauNbj6KTotYhZzEK2ipi7NI
14t55Bnr7B0TskpYN9k8i2X9ozAk1IenNFj5VPPvPK1Af/L7f0HmH3E0j52coTiXF6wkzJphkHRP
Sm3Eb6hBW46v9U/sL+N/mDosQDjqANqdm+OnIQcVFR29SkfAyU/yTE/jDe36x7mU6UcRlnDKzItL
cMBoCUqhdgOs+b1pte8tPX7wENvroS4VO1VCagUjELZZbZGHg9Eras/brCvmTylyVp78qaq7lRm7
GARfIsswLfhJy4qqIQ7tTwVB8valS6I7DZ3GUvsv1U49irIoqppaFWMezUOZ6m1iHoZGd69P1jn3
jlV7HGLx6RFcsiS9C0bXGHPIAvLI5VmrXD8aoNgYQ2G9eJ4cOKEg+psyydS7TENPsrQk9ef1X7Iy
o8vCW1K20gjcPmCv6tGX8QYet3K21p66mIf/zOiy4gpmWcpCwoxW9W1R30VYY36ti5VJvTgUhVsT
PhpgA5YvTRIXBcEIa4Qzo70Y3an9XeKvNCkvjuMoxKJIWGptKkHBocib8BfGICEZAOL3pYMZwgrC
dv5Ty3qkqmhi0BJF8n5JLjeKMs16YWLpCnYS3Whrb2QXZ0tDOZ/6Myt5LzZBOUWIKO3G0Q2LcNvI
L1OuH4p6zeNrLYp8WuJqvy4KpZNHN2lV5EgHMOOGabwlcW+9XU9kCCPLGUMz3uLGzKZuYRW0fB7B
3rprm0iFWVPDKQ8SyVeR64dmosRp/E0KhpZrWNEnysYvFLS4B6GxEBMf277dWKMk/pZqA2lANPgy
1KA1A9xgX/zGjZuzIw8vWHRo8q1eY7UgtEL2KHQZRsYS4s4FZtXz4UF9VmtEy0tFMm3oI0DyjUDq
Udxp5XZjyob1lsid8V2XBelBTSEs0lDNxE2QIiG9Kadczh08PjHp1jGGjiAgTtKjaVjoy+Z96sqz
UG3STTg5R2A8UI+1agf9M8QFPRPN1Glsq/KmVyAVbkzPtyy2FcO472tBehJ8T3rMq0h+rIIw/lWX
SvO79xqkIYImH+3Jy0sJKgr0ILvIAtl89rqOJpU26Sqyw33DI3Q8onw+BVoPV8tin9xAUWuf87H5
sHBT4ioyTEgSBx52rwM8vXGn9Zm+h2UCQy7qpfsmG5IDy0R6kun1cytHCyPa5p3WI8FW+toj3vDa
vSXUW63XhUcz5J6qd6mw1RnB3h9iDU232MgkNLa7EjVQgjyLQyg9mbHXfRLGeNy0+KzdYyMRv0xi
GsOWbIGB2mobIAnTaIn2PYPEuVe7Mn7L8pbem4ebM1YWI7KOoG3T8qbz0ZvDP4PueRc3Gsz/gUvF
9Uw9KyKYwfEeYOj8lyebpYhM1ALX4vlN5CdhaZM8q/JP65e1Yhl7tvAWQRaVaiiEIsha7C1iXiJr
Pdh1CUr4pbFyajo/uC/izL/j6NiEdNaolko0ukVTTRuj698btYc9tGu69N3w0f7iznrf5YjHx/GB
1jiPOmsgtLNSaYBwg4XAQQrSH/X/9DcMAVauau+PrpLWrhf6QPrWFJn0s67Yn3GqeJxx/ea9etH9
84fAyqZwzlUP4XmrBRmL1ND3sZ6Sl0YoxEMkpZgSzXTLAu5mNiCInw2BfAh7ZTu1UNISD0dslqVi
12Z7x/tuRt8XRZinIhmTvZVph7wy5S0yVDelGmlPdGnFzaRiEKaNloaqcR8/xIh8f07L7HvR1xKi
3COE5altDpC7+ptx4uzvexy6Wj8bcc8eHgKEZt8SRdN2Efgm+mU10kutP2YOh0B1kw7irZ7DXu+z
uLqVWzR/tYyTtRQUL3Ga6fesiTzb1S0azZbvK06sTJ8UVSjfM6VDLFn205smbUpHrxr14ONX/Zmf
iQMpaxvXn6J5w5lQ2gtSuFeiHG5eprcuTtjxyoq6kAAnK2qxl6VJijh7XyExa1DJ932+su2f3Q0W
Sb7YxbpM9MLAb+AJxdPWm/xnpfygdt9GERC/zlsLd2HtIkiIgw5ah9hULt1uRl5qAmxlRxc+c5m9
49mgCl+u16ALIzoJsTitT42ApH/DbaeJ8x3W5ujz1LaQfYMC49DDvB7sQsEjGMcMZBElGVz+6foU
5ZKW7HzYnQpU+CrVTWr/PpGKjQgt93qoy1P3T6jFl8JgTIh8k1AVUMjAuIUegs/X/nqQC+kGqJYB
ITBIJVg24WR0DwdZ5BQYhr+N2sPIKXeuR7g4Y0cRljeQKZlSY/AGV1EENB46VyzeJWpokLfbv4u0
qJ1CKQVJM1A7qzxzxwgE5PC7a72Xof71HwLha0dhA+h4psWYWiN9dNMc3DDa19/CBP0f3AKm1Svi
xanTIQfRdvuTcafJlglNE8C4G/DBE7cyzCpJax7L9jUcm5U0uJRr+h8fx9lhE/u+00hSYka5xkuB
myJEr1jxNm0yeEFrxs4rYaQFIBAzEr/RVcLICL0bo35f1k5tNCvnhTmjTq4b7KHcqzV8EHX1QmM5
thpI8jlKEUJ2H7fKtg8MO9CR98SRw0JSXtanlcv8+ZfSZoiRqSLOqohYKJ7On9fqUoVGQuP2Hi5A
v+L6UTIfUmFlb/jTEzgdGWF4zZqrDz2/5WcauN32TSQ3bhl690kHnNIrPyWAA3thsC0L3eCowayj
95+r/kun9NDkeFCYxm6XqOaWr8x1wRVkcxNGopMrlElJvgsRZHK7plARyK8PPsIdckGjMukLDJHE
uyr90vW85cahYZddiHxPdsvDL84ByOgbSe2EKe4MgRrfcE50fDXfjFH52injjynHzaQGTAZYskYg
wCu1AwI2ew0QqFxpexlHGC1NvXsxxQEmmf0lJpSLUcziLlL+TLBru75uz9NPU1V0oEQwRvx32XKB
GQ/kbMqQG5zEN617KqZG3rS6ttLju5QMx2EWFQ+dJuRIVfJPouMhyD8H9TGqQ7vXtteHc167T4ez
WLQ+Iv+JVcQI5qvFXTP52H8IK9vdxRmbsUw4Ps92XIu8RvEuTMcwGtwsy57gE/woZ9GKolppEPwx
dF8mNozs/8WZh3p09EbSW/X8IhkwDSkbZ7KqX51YvZmjsi0E6bXv/S3e2t0mDnIIVlnNi4mZ2o2Y
PGvo8Zn1YN5OlQgBC/+BCtdGRw5wytMxefwPM05jCjNnFQ7lspERpt2ETJLQu53W3ve54PD2u1JJ
pItTfhRjkT1lHOngMf3B7UNpG8UCai3NTdSkL0KO5nAg6RsJDZ4CyQvkLbDB6oRHCe0HntgPst/Q
TlZXBr32gxZp5ol+XidYg7qdN2wNEKjKiJuCtaoMd97zIJ3/N3Bgrac5MDRq5kWe1bsBTzQ4cal3
CfCiJpIcPGY3qhc+ec0z4vSv9G0PonfzXz4twDZcdQErLDsugjH4vFBz7u6rcBdjzVQivnQ9xMW6
QEPv/4dYJHmLc40h5LW4g1yMpVh9yxvvj1q20IkMgpU0ulgbjmLNH/VoQZlQzhOOfOLOVHe64K6q
jq79/XmsR39/gJUPyRZlcA/vlXSrtrvrc3Up6RAzx/Fb0UmLZUuPjnE+tDmfQ2zuk/iLVxz8f89Z
w7X8OMbigN31OWbsKt8ja91weDazlaq2NoZF8QwajMbFnOaIXKs4/EwI00i/EiH89ndTtUirCJaW
l/WitKvoSmq3E4Ze1n/Y0Y5napFNXTUgb6ZTk4roPcBRJzJf1RpxqPI/ZO1xnEVWccCqNEEBQV+w
+FCS2SoAAq7P1qXEPQ4x3yaPEheiaJqadTi4cdvaAjZ3abeG0L783U2uBrzvcTtYVHCINFNUDRQy
fxjsWVAoH1Eyw37i+kguhaFjys6MVP/c+T4dCbq1yMmqOvUyw1MsiHemXwDkaP8yzGKVpPBohakw
e9fs9EOpeJ/V8MML1xBplz7L8WAWa8XXq6QuOqJkuUevwNoMbbn/u/larBMxTIM21Zmvsi+3huhA
uNhX7cf1IH+uMMuTzPFAFkulnZQmSnyVgbT5VxBNr2NYH0pL3sEgf5fEimcW9Web5Lug6LfXY895
dS30YvW0nQYjWJq/lNe9SkN+yMd+W4kKKmS6BEasvvPybOWutfbdFstpMLIqT1Vi5tyvFEF1Cmvt
3UWeM2w5LhxmDR5COFYgPnaa6DEeLHJSBL1rYN6ctXdCkKOCZmuzjBv6f3PUBkHxQsHfLU1sQf4d
tb/aMtpqKfqCmBd5o4zt+gP6CbwHIgCcflcaY6VEnneh8N84+pGLRa91Ob6OmdW5WaluQU3buYVZ
Y3k/Rl9Tf2XSL638mQXN/qHIPEUuPnSmZAI4N6Nx0zzFr8w7tClHRCtS/vXS55rE47RkmQaSb+pi
6Y/1mIJekhr8wDvVBYrG/TLPv2utmDjXU/fCsjkNtVj/oh/i0zWOrYv1X/MpAPDH3VWIXmTMqneK
NeF+ljbml9qS6oMYBL+zbJJXRnuh/z//BkDtmB+BKFn2woRetUJrPgLSNd7JW0y67CbdDLa5kbYi
Dpxr8c7Xzmm8RcqIdYv0coyEeht0hhOgeYUcSyO/jZJQ7hSt7u8n3Aw+F/Wko1RvTo9RaJj70VCm
TZ0BfpZi+SMzMBa6/i3Os+v0Zy3O+1kLKl1pOTpiGZppBs9/dmKunYUvvHCeRDEXp/20AX83ZPMB
8oCNmC3ddXehPSv2xq9roiOz/dWigJzGWuyUau3pgRDHtE3QrZPtRtKFvdip3BB9H7nAIQ/3KX5w
TinIiatPWfXJwlfqVzwlGd/Brx0dtUys9qRipWJf+GWI8UgokUGDw/Fneeuwuohnv0q3dlElh496
qsYHvfIrHHHK0C3Eyt+LXhRtuOZn25E27aM8WcIvLc6/J6mSO1B5w5ecxudKap6nwOnPmif06JA0
elUXWl4j7YxIvTO2fVqKWC9PycpZ7BxgzwP58fDn33EUx0z1QW5TUq3bQZa6zd32Q37jgmvTs8Pf
ijec66l9IetOAy4qp5ULEx4wZN1setG9Bq807x80u3P7vfZ2Pdb5bnwaarFrBX7hp7TvWzc3U9ZS
o3wIdRvHaISOuAWUoxMqffg4GYW4Nsh5gZ7ul9BEUaTAJE23aHUtIsetkYuVUHBJP+i32S54NV66
7+KTXmxU5E9ER79Lyk19F36G6+kKu+vDvjjFx9EXVU3weCbzeEXcNTv1Vt0O+2yf38gb/MydtaPp
aqxFqdJbTx/TCcmOKojvssi8AReBI7WFHK76jVXys+VBT/TemiC/05pihV0wJ8uVeV6WsFFLhD5S
UHyWzG+6udUlThm53cr76zN6Xr1OPufynG+oEThpHkldv8tUOxFn4b2iElay5tJgaEyAJQVzIvG4
cboUra5WsZMDe+FFk42dq9KCkPU3OiS/68O5VFuOAy2W4ODHHvjDkvwwHy3JNtKn0lrJwUszdhxi
sQCK1Ey6NqKsYEjcBTtDXRnC2t9fpDi+EhOiXHz42vgCLNYZsY26PklrX2OR2EIih6boKbUbKWl+
X8t1eMtlk6fuLPw6qGK6MiDpvFhZs7vX/HgBjAOI1unXxy1bR1+PklFukRvfBXbkoF5tg1128QZ2
sgf25cfIRbx/ZQs4PzafBF6+COVB1JVmkYg73+P1ZNQg/vYgi566ImnAM5WfihHT7euTe/75TmMu
jgNjKvmK0rAJQNpBY1nvJzgxzb/uypwGkU9ntChGNUHtvXTzGB6PBdnFVa2uhC4ir52lLn48Pj+I
DuBYZxIRuZW0QyEFLF015oFdzFDyzvq2/137fnxoVACEqWf+MvDG/XF9Ji8UYEZ5FHoxylo2dQlj
ERHZOPO2dru9+mhuFBvbcHsNBXS+JE5DKacT2qbx0PKMjDxTiSZx+1U0pmeRcs8j3/b6qM4r1Gmk
OX+OTiUNhJxBCQzfhXRU9fftT07i1yNcuO7MsD5eC6UZ5cOV4zSEiapxoFusN1lz4G7kMhAcyB+S
9dEF4SZD5zTXvirS5+th/xBdTnesk7DL1RZLU6N2Uk5XWOmfyinbR19azpn1SzCqtjnwIPa9NjLb
Cw4qzbdBFnY1L/VW+Vktv3jtc4Q3cJZtNbQGms7bhV8C03Jq5WcmoRLR/BStO0t68/SP67/60nI9
mqs/OXj0OeIwmaq2bcXdYOm7sBBvUdZfq3/zbePaxCzyGMUvwef6Ke0wS5C6V9wda99R2nsMCBVs
znnQXRFVuJTNx4NaZLOcVoaVT2itK4OQOdagtc7YTKZdZaXg6J60ktKXwhkWonHyH1WCJWjZUqSu
0PRk3Om8rTgopYcbU+RAaNBHcLkKrU3oufSYgdXvUcDFhNKvjOrOirAHU6HZ9UHypote54BYxRFU
n6SNWFq43KPKN/T7FM8FIFZoohfDS4H4aS1BJO6Zf08UbMyIBbaC3lG74bMOeKBrEWVK6vquownd
y2K/yaPhNvRbR43r71pRQYsM+GdMkPiPMVO/U7EyRxq33OqzHpY4xVvIhlvT9N+RTf6QM/1xAgIV
lJqxkliXSsnxNCw+M1xerQ1MrviTcRMJd8Lw2MbP15fHpep/HGJRrZRs0GE+6r47SngixHaTHHzc
x8Ub3/9okL6/Hu28SWKiRAqqAiV4HtIRIjytXB6odDMsoeJIj43j7wEpOtFnoDZbde/vtL+NNuf1
0dpHAn6sLBoef8R86udwG7r9D32DKcKz5fQrM3n2sRZDWxwbYbfgEuDxsXzjteKyq4+vvZCvrMSz
arYIsjg7Zq1smGPI55rU4iFIY9Jccq9/o/MQKEXJdLBgPuu6cSbVMSB962nIVEmAPKanUlmRAvnT
cD2plrQDjwPMP+Doq5g8Buu9NHo7K4EdE9fTxlfa6l4to+J+iJt6k2LM4cgd/ERLDo1dMXjGTiwx
uRi8dHCmOOQi6ksS7SVvfAePotug+5+uz8JZyVv8yEWi+oVuTBFkgZ0vHrqRe8aNhXPWmk7FWpRF
glLFOoTHrAx0W7AJpOKmL0Z7CPZBHK/sGGfrnPEgMsW9HkOjc6SeZIzYF0No33nCPle/5M2jlbiV
8BRroKlurs/dWqxFksb4OqeKaHk7v4YsUA4mCw92JjwURATNKPTeDUjNe3DS0u565EvzeTzKxcEo
jvLKMye+2hj/pvEFecnOfzb1SgavRFne3NMCRYKsBnGM1lCoJ7em2Lo8j9RG9eX6cM4PyOYfXLwG
1Fm0dHH5jp0MQkcfn7WIQY0zORLGZOKNuFO2mRusLPu5PC1W5QzB/1+oxZabYp9SJabq7VTZCLe+
wuNjacINkWN434KpgAMz127a52iVxfgWG1xZR3XelE3m6sgC5dWPsWkddGbtsPkoBxjyU7OZrKcR
9VDlq5c+ITiKTXboAGT7tzvt/EM0nikQe+ZJZHmi1jsLrFuNAxwlZdoAzM82uRfRbhP7Nc3vC3vg
SazlMboSadiriCHt5EOLyFzrNnv9vnZGJ3eABK3sgRdy9Xhgy+NvhtilmCTYeU3FcEjpyGAbKdT5
NkxWLiXn25+hwzlCwg51JwM569Oq3tRVG/L8Puy6kFomKNqtl4SfBzNZ2QHX4swDPto9JL2s63LM
sE9m82tvlHhTrRHC5iqxXArHQ1ns5FPU5PogMGeJ8pJJ/sb71Ov3effKzX8Tf4G8cX2VXxgRcEx9
BrnzcHTWxVdiNaqDnEWO+5Kfv7f13hxeroe4VEhOYiz23KkJPDPq5v7cQdqp29wVb7IH3y64aa/1
ZC7l90msRSYIeYBNrFpBHdshobgLdmVmD3bv5LvMte69lU7J+SsACjGwobmZmIoO7mtR89s4DYKu
YvqqL//vSBk4uiNjPYhSNyI7/6FOHodbrt6sS+IqbeNpJwxPyH50zXuefou/RNbv65/swsI9iSOd
5nkHgUgQ5tLYoaNPSRQi10g+fHUl+S7s1YYM0ARaPg4jZ1RRTWc0mcfsmdF0kMf+Q9RrbTMq1ZsV
dZaTGN+9oVmpSRez8TjoIhv9pu7bISEb82ozF8BgJ710t8O23IW7tQI4/63FYj4Z4CIb8SXIUqDp
mZspTfI58GXjVjdw5L3+tS7tZCxgjli4mGh4ii0+V2RC7/R0E4E7irqya13/OXyvP5qtuWns6lDv
x/2/bmmR+MchFzu2llah0EbAtxvvNuu2bfU1Lw+yubs+sgvngpMoiy06wEAC4j/5LmW1sGnqPLiX
k9LbTbF2I4SJ9ph2bbpyWF2LuciPdFS0Ngkj8kO7G+snA2dc9hElw7Xr4+9Gt8iOcJBVdI44ypmj
XQwPtOzw5HDwYpPX+lDKxUQ8ypDFxuVLgDdLIc1c2vE0j2NdekCNE8Wfvp2+daWBtxzOsC/VIBf2
MFif4q4Jt60oey2IPBbKkGLIxutUfo/E6nCbhXp8h3e79AhDyt+3YiXd5gYqP3Wkto7fN+K2Y0fe
aAitPaf5oHGtCtM7JdSjvR/l3ss0QoXdWIExpRtfyqQBOkBr7GW/nh76Kq6c6zPNUjivNX8E/xCi
5aTJ/17sq00spW2jNz4asYn8OVTR73FalOwnnkB4VcAcMTFsEcn433o70WPSPNW7w+esv5kqS79B
0CzdtRE+r1KkU3k7X3/qe3V6hWeFCmwnm5/gDaQ95Ne6/6TXqoYhIYRMFJp4JvYfE1jLiZsOk/U9
MHNP3kgY9nn7Wu5V3shFL0lv8UEtbzUm42byfLytFSkF4Y9Dsx31yPnxqVQ/58qalz8tz1JENx4C
pg/1e7Tq5UYqhrfU6iNrE+uB9YB3TTVsi6KuxG3doozppGrafxJ7YHa21VsRQjWFVIWOEGrmQ1H0
8pOcyMbNGKO/tLFyKJgPk+j5nd1iLh5tjQEmhZvJcTHdFa3XvMecJfEnCRopw5JQG24LQ/CqTTCY
+mNvooUF2LvrEA5t5fELno7e574YELorfJDw7zWa+W+5MbdpBezmSTIsqEsxMhFbMOR7KMHlFzzI
Gn2jFnFPWyPQbgURr6RSyeYbsVDcT3pM2yas6dcbRWbHJijbWOj28SClT4XHgEDMSBsjUMFoZLXF
a2os35iF3kJ1GUdbTps7WOfjjRBgh4jhJ2JkhvXUzuiKMRm30eTTtM2KcocxFaTaSvoVBWHzA2ND
hFzEMX/vmqG3hVm71OwK+YuqFAc1BvRjmHnsADz50gG32wRMkTvyITf+IMu2Zo3TN12MW7dqeAqV
rOFV8VAiTQdIqwEocprWkd34jbFrNTHfBL2R76yqz2kCFIceB6lt1UHorQOz3KrhJPZ21FX9g9b0
6U4ujG6f63noKuowcHrEqhg9rz7GMdZss2ijD43wyxJSV2pT7QA9r9kORaqAFgr1TVAmUmObeqxt
jTiSD5oAedwxLeCHzlQ26r7ILXVbm3jPb8RUqOstb3yl7xhDPsROaMzyV5Hfiq4lxj5Sg1gp/ABR
ikJcrGXeu5wq1kuRi91Bw6PhDS24QrfLUmh/Y/JrbCS4+Iew6VAj7ifsbzdIOalowHBC/aE2VRPf
STF1yBWVsLS2vokO4KbIYsO1fFlwsslXnS7q7jK1ix8inAreSIhU2fRVNgGAGW7zqPMCOw47aZOk
DamaGIXwGGuDNdldTNO11UeqvdpN5a9YLOjmSu1jkMTtU9eX1ssIyf2enkKR25qRli+TZUb3la5+
yF7lb41yKj5bVfneVKHkO540/B9nZ7YcN49E6SdCBBdwuyWLtau0S5ZuELIkE1zABQBBgk8/p/pi
2i4rrOnpu7/DNooklkTmye9gabaWiGu3s94dJYHYM3+aPoKeRE+i5OOuAUcHvE6AOp3Zus+eWtQB
+jRstsvM1szpy6su0e5WRxArO6qIM02CZlPJ6kHAdmJbDMbegEwYZiLy36SGmRhMfeWr5/b42o5X
pWXheVeA3sZZlRTqh0RmJIHDbNPiNfjjqwsoxQa8pOC+nhTNvSFEjURXyc7Ieis92e9tBBlI2ldL
+Ql1166NFXtuAvvelcHGl01yz5nitww/BI4ZQuaLax4GVGQPbRtBe+XhiFj551ZmGBUPdVqNfftT
Nya6T0out7xsWLOqMGWx/MQ4f5BC+6DRAw4GEpRSXXlwu17fLFZ2qV/rjgMzV0UrjxlkBSrNkTEm
wgnTbvL6IW10MuZ8CYcTJ8w8kroxNyXeVOotlcnx2R2wJoBrAz3BzyXhsJOIavHkBBAINokY8xFI
iLTxCHxolGj2dU9BJDZmSmljDMnAUBivB7kg31LTZ/gRgOYnymTtGeGeokiTTSiDA3wSYRAyNSwf
0EonhF6AYyB3sGBFRn/gFckjynx4k7AqbxzPvHax8yOKWriaLn5OpWtuKZPVoTFSYu8swqeh8uNs
kXV5IAAtniz36ZVSUBXOY5tsoZw1edOU/PlMMFm7AsurSEadg2rZbZTj8JxXnrOtauU/1h5cdU3R
cvjhtsj8KSgRxRy0m2DQuNKWcFyBdlGao8tL9qNQRZuPCrJFCkuqDIalxV2H7X1TzWOUI5zwHmjB
Y8D3cBKtF7jI7k1RimptLSjL6HSs0aldLmgSCRcKZGQtXvukB+ixZ/0E9cGApKpEJx4ZfJIFytl1
SBhMQCCGaqNi+alhxnsFHfJNYeLqNnAnlsIchOa9N5okS4ox3iXTgv7lronXS+KzmxbxRgtUdYkE
shjiPcV3TbIQ/TBpV4few5BUbNUTajHIdLKA1u37QJuMawovhHYY9XTQgevCzNexQa6mzklLuE3l
5QjF39q4Wq5bWAprUcG/qI+A31iS7s64rO1zaa08LIXHnxwwhXY9zp3nPmlHkDgmQIZR3wqvwQqt
TgN34hWvpzltJOCX0aLGN28wmFOuSLay8dSHC5uiTKNje182PnkL8V7XS++DN6mWab5hRWv2QvT0
CIdbD9uXNxcnOkWQC4EtewqqwmxjtFmdkFkDjSAQZYT8VVXDWHfA73HoDDE3EAXvMNbjO8WrZE+K
hh1r1cIJPF4mspPYpz7doWZ3Xq0KfEPumwy7H/ow4c5rU0TJKJZrUt+0aF42aeFMsG5EK32fkQ57
j4QKZFsZx/4E7JY+gTFfZWps+/0S8GvYiverPoiqMZMFMy8J2lof+6F2T16pu20IuOM2JDA+hx2V
MSmdSiAVGtNuIhdPhmXQriLsyRtnmoMH4+DsNV7IMru4092c2IN1pnrFnBo254sVR0G97YTXBchL
b4o7+KoqnsELe8QyANgy81oR4EjnzCvyhsRJBhrUsgLPDz+ZcggtRpe0Px3h8TfRllAJFGN/Ozph
9TmHkMX1qpsOddM3H2YRfZYIg0Kd78XvNOT9bqSi3w1RmGTI67Os8eqarr2x8mlmSjVk4CXOt4IC
6+L4fVRlo1nCDRoFw4wlMZJmozBX3hLjMyazEehkU9Cj1fhTma78AyR0CDEcf4HipeMqU1Msc7TT
doDpoAFjydi4VHsXx8dRjVP5PDbIH2Q+3mDW12peoa1AXBdDaVHWgCj3RknkysMuQVjs+AbRJXXm
ZQ/3LL6xevZB7Y/9VUckuasTmIJHPLbHlstYrsBt6+FWRn0FhR6H4jOtUEhdUalRh+8Bp/ZT6Q6F
yvjQMZopj7CtL83Q45iCEXbn6F8Ek/tk4Pi8MYg5UsmSMPdYQA8ITkgmjOrTWSfLwY8ZkLtQVHQZ
9i1nV6qEPaCVsjgK4+nbBQbiII/y4LwHshcQiMCijLSjcCBV7CHo/Gf4HnZbmD5XezhA1dCsCoNs
QCcAh6S2i7YSwOabwGkNbkEL7MIn1+dvJSXsgG/knaoh6vYxX/prWxbtugqhMk99OXi3E1QTm27o
vI8mDkmuAmNeK9YMQ6pdVd35xo+vimrAzGPg55waIPWOEQv6dReVE8tiMc07Z+FFjUp6vYzA/fYI
hBWkT2ntueB6u227D+w8SUS9WqIsqzsEzmjR2Ut4x+d+0Wpc4ZwxXFUBh5O9I5rNEBnySGT0WJVw
u0Wsx+4iNjRhOlOd5J5fJ4+ehcdaNgYiWgOXikz4hHkQODXdhLPDpp2ncImr4xgpO0XbBxkWPr57
pVIIu9kprgFhcVABWgEw4q8oRWMSQk9+Dd4AdPEs+WDhONdZR6NbMsxT2pbwMikDuE4vM3msmEn2
1UT5vpSI/lPSmjfgnZ0rlwVrxCdkBMFIilXoduPenxsvi6PKbIM+0ZvKaXqAgnW5nb1gGTZjEZHH
MUYD+1z7PaowdgvBebOfVQ0erq2uuOR8LQamU6fmQqVIdC1Z3LAwpzriN04VJKDqwvSrGwK9s149
7YMa2XgIrsVV4phnp4OJcD/WcS7Caj5JIJX2gGstqwgb5Zuw8nyjk1CJpzSY5o/QqWCN7jTz1eCC
L+dMffgeiRp5SV4t/AjI6ng7ynpKTc/Ln1LR5lBNotqYc6yte2wjqIgC+Nlwi5YsEdMorQaJmTah
1zhjjYm3E0enVmJDuJ1FelzSGFTn09Iu0WqaeLjH3/mIHCCzWYlOkoqP18SNy7s26NmPQTBESLi1
sxUpwFxOhwr0G6M1wUKoh02Ja/Mdc9z+OtbBa8tRAKkDrd5b5citPYsxM/RZmL0Jiv4cfvqHUhRX
oV97qwao8yx2JUSAk4wRUBr7Ojh9AG+y8YWFJICaoWquRu11G3i5Tduu9qZjQWdvW2vqvZe9XORG
2Vg9tTQesSyAy3IrQJmrENZtfqOntKhaUWQ8doY9QQScLUvEujSe5vhH0/u/aiCUX9EP0O54bIZM
9ujOmkwb7gDzBiYrQJTWwdY+O7vIZAMvnScxBTav+chXE9qTVwZ3zrU633/kqJfdsvjxU8njIEV/
r3kOKr/eJuUcbqtqbt6KaClVFreLajD5zlhr49zQQk+3FncqRKVO8MGFfHWVKXddJMIsaYYwk5WO
MgTa8wYuIm8CGIsoI6VyERlzaPeJBDID/2ecMz0hqwCxYXGNfo/4hEAQcsqZSu8+8RA5aBoOn3ao
w1u/lVW2xIW+VjMFk1p47g+HmKZL5yTuIIus2jl3OtwugxrLbMZ1+Lm18lqjs+QAO469WaL4UC7R
04Cc8w3pS5YtaGY6laCGb9BE39/DoI+2OM2m8h2OZkUWq0FckzO0zS6JXgMfjUjXhfg+Btf12tTT
naqd4XlZ1LB2XGAXwiUOT21BIMZCG8Ea6h/QmfzEBCpVoRhFFtXjXekYuGyG/vRLTot723Us6Xeh
hJEC0ksqP9+gDzpu3X2BjM/GTi67NSSyexH1tliPURWhzWRpTrVX1n2G27s/7HFz5Ee3KBR0Ojj5
jhitfFZJbBQY1LEkKxHG6oS6apziG1Ur3RHbPQ8Q/0p08fvdSzEl4W0AI9A8atxgawGL+GlCPj5r
ANrXxh+gQ5sTA8oO+FPi6GFLOCWTW73Dltmsi8GWp8lFbFLIlq2RV5lfk2jkzwqwbr2S0YCjzlna
vVuq8Ng2IFFO/Rmd1jUNRLVwrD5x5rbepopFd/I815zqwpoHr0+6m3Zq6L0MZizkaAnV1hGi2jIY
/R5lIsWj27gjT6s+GYeMzvy56Sr3qagsbugj8n9rF1yCPjXxEm/huDY9Wh7W90NH+lxMuAbEU6Rv
W06qHNeMsEoXVn4EUX1LkelCfAZzrxln+2OQJD8dfxa3oyEh/JkrjtoLDlPco0DEbRAyZ6xyxm2v
4BrtudjFjB/Qz9HyALU7uINCpZHrViN01601OhelZjdaT/UxjnGmQh3xbOZRAudQKrGtewZ8n6GD
8+YTgOVUAvZVaClNa3yJNCzZeLQK7xLwbLg26aguYesYluEOjfMAAxoQwjMpXKzvngbhczPY5GiH
xF+1tVh+Dr4K1m0D1jpIkPNOeSXaSNm8x6dvtjDCBE8LdyI4k+oJ9WN0FaYoCdRbt2I/B1kUXhoV
HF6S0Tj/okGDH4USPrCsAUKzBZM74eEVbetyi4buazbEdgvE1Sex7bifO1Efq3kocXssr9vAC6Bu
TxADzWZTJj5SgrrBF0xBPA/vAxJUn6Rpz+Go1jcDAPNQmlncYxFX1PuKhWUNQWDUpbrrcEIGUjOc
QIB7CBc4P2QKXW/LHfeZNxy47qZc974WNi3szF9o0bgnkF5/uoX9QEbnHB4ApjjhvpCNnHZrLzSH
Wjl+NpYVW6NRudtOkdFPDu5m6TRhFZW49aQEhuEp6UC3QjJx3IbeIK4iIAO7lOoQ4hOvbGYY80wR
7ihgO6lVlQyS7WZS8w1CCX639Erdj9KRn9E4jBkX1H1sW4s/YqbPPuAE6Mb4liwlgtSu9zM+QkQ0
oM9sIZ2/pQCFgKLT64O06jocCCiJiVs9IC5YHpHIlofCzO+o6EF2U8fOrQMWegceV6kA92dJ3cKq
dpnyBWDnFRF4iog2OIOIgwice06OrJf64SaVkzcieC2rENWzEskN67bhifnjsrG28zLQdtwcNgpk
77USzaCALbJEF2vlmuNUN/YnJ8a+lzP2KlP71Q5yxTJ3/FBdK4MQ3A84zEhVSO8MoLHAjXMYUjvB
gpTc9DaLob5WwwCfvdYTGxFHyMdTuAt0LcxMpQjeElD8V8KJsdqT8XMykOZDaEBvbT3DlAuX1F0Z
nwvbC/9lO4h5+3JrgDHM/M4dtqRronS2HTm2w+Lftk5V49xE3CkTQo6iUQ8geFv0dU46Zy2BQ6z/
qs7YPXTWOGkrm4eAEqiNvO4JhQ+9QzSP00iSIotMcpqRbkyRTdlPlTiLW3LpTsm+bLtNMpIFoB6a
lv8J5cgvRLJrlXAEvaJ9KOit6xaAiMIm47DEzmHApTEmuNL38RXm+PiSaN9mdh4PFRkfUCNY9UM5
rLpx20KZUDfOtoVP7Koau49qKu4l5IMZ+Hpb1x8/zPhaewGSFkg91oV8xFGGq0mBN2IlOvJM1H80
IkK7fw3nA9voFBvrquLOgYxszKZozgRjTiaH4rTA6Xif9EOElFr3EdjmqCOzB9Pq3ELpm7RMli0I
9l1eOBr/YjTucJvgZzGITlH1e/Jp8oHAsoCG3NYZXVz22QRe3523sD5tC9yFka9XIfEgmgl/lGIq
UhlHB9Jp/F2yGyf8soK8koYGSLfOHFN5iXPDbL3CkrnnyGqMgV7zIsgnPzjhFJ1zFGa206RPnerW
TGp/2w/jp5VT3gXUyVnf7KHxWIdVt6fl9LOk8cc4uD1k2uV+SUBDiaNy68bViOuV6+c8RlleQbSK
fGDuVUWFfGv9OkNXuKtH3GQCsDGTcNlN+s545o22XZA5IClUvYQ39aC2mtXl3qPDEaFDkI4VtWgs
RBTgDkuwHVxksW2BcAFlEieLUOa4gcULgREIGiKXdMQVEvCdcDJrbgyFpQRS/E3tODfGlhYVC5NM
+zBJkDKZBiSgScxesK+qdxvCCmGIW5I6OrmeEg4LUlfzg/VZm8a8oE9Ikr57Ll4p62edw63kgJSf
dzt7RbyFcSFCuIaye2qDF0fTauM702u0AHvazDHUCRWfVrpGzttWvEN8j3irR6B+rIt6b/ywf667
yKTSkmKHuy7s+jxHHxZLBlyHlJO5uJn9Ui59Qv2sPNklkKsZdvXw9gAEE84LIQzk0Z1+DUMbWBDB
I8VmdGj0tRiowGzyWPvgwsVjO4NMmRLAqNdtpaHQEO1b33rzr3qi/m1kMNIcw1IaknvQe5O+2XJc
1rNzWW8VJC2cZmUZjisdULsrGFd5N1gY9RTWe6LjHL0sylsz3LJPrmTBjo5gySy0RCwMe2Yc4AFC
ogElBD1xyPrx03BxKL0fhat/uETZ3Iqi/DEmVG8DBvqaLjivMj5hv0jgCr5iZwDuVHQ/5EJIBgKS
n7b1yG6mWLhHKlwvneWsTslcHjup7OsUKn/baKBsYzOB2ZEw7zooq+sm0NW7i6RzCh14vPaVv5rm
joiVy+JoZe1S7uBLU7OVp6RO0diG1qMQAReMUNwydSYpN0MfmKeYizcSJu2xm4IC6LJkeJtw7G5Z
PbZgwJbLLevVDErn0G4LD7meVFSUwISzeJ+Rtv7U1gRrohrvMZyqIqspAx4XXiDXcqC3kkgk3cRk
AoR3Mtr2S4ICl1mKtAvc5goFsS4Na46QyE9u54g8RUA7XAkfSbrattczKGUQdnu/4PJCVyg8+kfX
ggeJ5N4QI5XOLc5t45wbt1WHf9RK7h0AYStz60/LCX2oLeQZOJbqNkHFqECW2ev98l2rptvPc89h
WyPDFPAl7KZJNBxpsByGykvymEWY2w3mGcIOmTmtgzZHg7iod0FhUE2wIc1ofkW8uROo+TxPqETu
sckXx36WCqooB84h4ShX5ZygA4oY5KRii0ux56P8mOGsUxtoF6LXoV/mVVtxf9stJM7GKazfBieS
+GV23LotA4eBxDh5QD2wWVWjFld00bpdwneY6SBWWZppr1EY2o9FJzaqGdt1EIu72chzMbA0K1fq
Kpchxw2xq7s8qRu2CfV5nlGx5DUity3lJtksOG2PMEC5ratW49LhtiiqNJZjhxl7OBd1qNislm5M
DrQX3gG5SwcJQK9ITYFv7M0zzwI+PREQ8ZFymDjquXF88Gd3P466xA0Zhu/12efZWcQjDITxt9G3
m0cdTkGQbfmrDEB69gJ1WgQjGQnqZ2pwsOKkdlD0chCh9eYszYvjyRzN6A9vvV8En3NknpBFa+6K
IeAiDSVou0RE58Kcgy5nJEv8sgLVbHSTnCkSrkP0VaS6nU4EnS/wi5l+1iPyIg3ayK59uN7/LBCZ
7MZwbnIUGZyNIo1J+6S8Toqg2YcxUhdhNPxqobPCYRLXd/HoiLUJ+whFluYKGSW6nkePPst5nrfa
av1WSkG2Ugof9p74pQ1JmtdWBnHa9HORUVx+K2CJcax0Nwmo03tbR/E68KpwY6ou2Su4EaW6h2+1
cUCuJgS1fQ/bMjq1gBU3LSrMKMkSYKllBAAHCu0+yrFHSNAgXSZLB2FNwdWNVU0v8todDFxhkaL2
02COSnizO00hoBrl1UsJVcF7J10Q3nrPJWNGkWO+5qjFPMzBNN0nLarEAJHX92AfU56Ny2APHfQv
Phaf1+Zof6oeqrFmXd4WJUr0srfLVaSjcLuE0AXgFUw+OIZdfEiWAlFfg/++axs4Y9vzDOJT8eIw
JDeiSOoPOzbeL3wS1OcTCbpA5Azj6RyIdBlg4+zJGqe5cWDllokaWmYiQD4n1lNbVKva5gBmKOG5
ywOt96GNo1M9m34ThxZtR3Nzioo2zJaCAwHtdbRIY1mbp4WeSVhL2OAV/ifbQqpMqv5kz6mz2XRN
1rlanc+tIEW2L86wgTRY0MWiVp6H3Gi5mPo4OjgpGcwXsXZiVG5Qhu4yAEDZHSCM9rHhM8N/FsnB
4eIGOkrcUmGpjGw/fv3K9Qf2rhZsHhw2W9uIC/s6EpSL+36OM58FUAoGLQp/NZ0y5GA5AnlbLnC+
7EL1yAaP7TwpVN4ai/QJRfABP1EB/5C0LJs4QHdAW+7GwoxInuESiqpdC7PWa6ceQoldSsH0rJcT
wSEBd6p71BPNT9dvWmQfqrDYVy23GgIPN+4OU9kegnICcdI/1xAK6CFwz7DNvc/hkptFCrbrUxcj
icAXLaaVV6MKxEbV/ahcAkI0SiKJkyUVZUjausX+7GW+9gflblDzrbelmG028daupUzuz4AONDog
ZTcvjKwAU41TITq9nkoanIy2yz2KtNFhhoZUpbqoqye/Yjsfqoi3Yg7MlSOAfh8Kv8xxFYcNVoG1
guLEJnELVD81Ub+8KvAzVGBWIsFR3xc9UoOJNJCDDJaSlxpV1QbXRoaLwhQ0jxao5wlCAxRVcDhH
BtRP313e40W7MHuw44J7CahSq7kM++tgRq4M9gnkfo5blL5hrDhB2+L4B5YY/iQJ/CdGlogV1DLN
c4H6Wr2aA6i/s2AkfQ9WbDn266YYhwDRcpCww4QcMVmhqXx87wv8OTjv4RLnW05TWkk6r+J46X70
evGfUHh1NoYAPh0vPHr2SYAuT2Hj+0gCEo67tYYAiunX3mlZKry2QHEERuzH2jbdBicjOzECFj6L
WhTExmhZVgtI7kWmx8E8SZcru/KDc8G+8/QC/LiekAVxsHHbFNTJrk0hLGj2ptT8PmbJfeCWKHI1
8GLxkevKtB1Iknbaize8jItfIbGIhWfp2iUrmA+/OTibK3NFu04hSS1G8IjQ99XXSE8Wbn/qUA1D
4cFMmuFuE/N2zbQJjuIsfcAisY9dKJGG4ZHl82FAwv2lnXpidhDU+OMKUjrWZrIO/JcwFOoYoi54
QvE9eOZRqOCIBFqLAribxFfGWZY4lUQjuqSzVe8qdMgniufESUO07NyU/ymYgWUeHQJbQgejGS6i
59MZXPXrZu68I/WgOUH5075RbShfw7djuK6WyUMNCYwlf2JBqgevR1wra5EOSe9vIQPgWYtUTpYo
b1xXqtcbxZh/IkkVHGrP/AzLCToaiQW4qQEBTUcFzZRcWpgGKDeaKOp1xXh0Bq/m2QRK3iEwHNVs
iF6zEDmmjTV18NNgXn1AYuA9m7iE1aACaetuMp3cNCj55TMN+HuI7e5HSXt0CA8+343nmlTaMs0L
cPslyROgD+pvdHF/i83PojiwBOFT64a+dyEclU01mGiCG64c1PApElnCeGI4Bf3S30D15qSdqXHT
caIP1oAO/G9R3t/S8z8Hv5CQQpE1QnoDi9IQ6hGepErnTvtdN+fXsr//PuGFgjThiUmSIio38+C8
UNOfJkN+4SztHhs1PiBLzHK07we7//nRAL0GlByphChwL60QjDW+J9pgXo8FtE4P2Hsk2/57iL8V
nRCv/XeI6AJCRDScAEkCR9nGR0W/rOHNXPY4r/89yt+UH8TKXgj7UzgQIuvxn2bZ3zoeKKrPZX/W
+UIE2h+RFcn8Q7chGTIF8G5c2wey+47r/ve8+HPIi3lha9i4kRkC3MiuLX/Crocq5L8f6yt9++9P
dTErvHkZ/ATR8qalA9KYERUHKOsV6ujBTxpW3y2zr57IpzRC31mEVjj/Qnvq0aYcVY2X2Mpdba6Q
0oNo9t9P9N0Q53Xw23eCALcK1fmlsfNictPaT1Fz/GbFfqmd//1BLtodIKahMy7r5+4Kdy1yvu5A
7V3BswY9Ye13Sv2/l26EnjA4cDmoacbYK/58JL9lcViBv7+GABdpQ/ngAILXcwJNJi6x7TmJbz7+
/Ra/bB/5fcyL1xjBNpVKg9dINzYPs2od3S132KHW/ca/8e7+PZr3V+s+Ftfvo128Ts9XFfbdBtWR
cXhnVemmBqIdiKihlXEltHOwjilWDdQV79EYoU0B+rEyh4qPZDi46qwuCF2PQ+nDc2eUt+CRtIco
0PR1jorqSISrrqHh+G5L/XvnASzew4kB7xxg6uOLX72MMcLfIkS3AeoiLK/7bw6lb/795GJnG4Qo
dFCEuIOVvjzEJQ7iJqHv/373X6yX3x8iuTj5OIyBTUKrduM2a8pvkBh1+Dedml8NEVI/ODsoJw7S
a3/O34lPdZBItPV19R65e1LuvO/amc+v+qK/BDzv/w5xsVWqqpxhlYQhUFbcQmix9Td8K9bqm83l
i+3yj2EutssmqB2ULIDCD1EhWH6Gg8iMs1ui+Ztt+avl98dA56nx2y6m8UXmAZkxALicfbkdNvEK
NZO1s5JZuYq/Odu+mme/v7zz9/ttMIs7b+IrSKE5shBqmQ9d+/9xlP3xPBdtF20fJGO8+GJjJcJu
nkJNDllJ/r9PZYAN4Lv0H2TaJSBDjhCHFQLBxlCkLj0sr9J8Awj9m/kSR+fe//87xMU8g6LeRD7K
BGtX5UOBbJNIHeCO3OAW5QNnCPFfIQwQvvlAXxwAf4x6Me0CWQ2QN9l6YxPY4sgZwvCmw9xgbbwi
wfLZLHrTieXl36/zq2mBdnW0UZ2DdP/ysF6o5JM9N1PFct30eae/eaovJ/nvA1ycMSKKm2XoMcm7
3Kxs3q6GDGKlW7C8cYp+x7T76h3+PtjFZo3bGgvCUjcby+s3VG2atJ9daJbh+rbhE/thliqClJa7
30yZr3amiIZwgDkHjVCr/rm4im6OmmrBW0RSfw4fO1zA4s8efIUY93+3Own5zYDuV5vU7yNezFGl
0fU5D+gVawsYeN7a9iMQx6nMVHss2usW8iQ+6VUCK3P/BqZ5ae/cDi+gRa7+PX2+fOG/PfjFpJ3A
tvS7QTUbWPqhScMT+34an3TM3CykC19DR7caSup89/jnx/vzKADYxMEiBdPq7FZ5ES1BoQ71We/N
wI2cu/UVMGgig6P6/9Os+vto+3Owiykcs0qBdoApzOzWePlSbfX/TISO/xziYuL2TCetQOv/evTR
ZeQ1acvpkUmL5HeOdPserYHrf3+5vxf+nx1iF+dB2MesjDQOUxafCN3M9e7f//7fE/TPf//iMJDo
blqgX7JnYQXSrFFHV4sJdYmCZfDo6on+j+Od154XQHQJmAouO/RiPCjPZwv3LHetfb+5Z06jXnzo
5dJuZu9QDL78++n+nvd/3kcvFjyXpK2h+6BrNHIdS2TAo0Ju8QOeLFS757QidN/ffLAvjqUkSUCg
jRBhwS7p0tOEESVV2/toXvf5lM2tn80NyBH+uGuHAF0+bpedE8nUl2/c+caM7u8l8OfYF0ugZB3t
J79Y1hxdSqmIkq2YgMNyXP3NQN8+5cVKsAkXBZsiyDe12NPO3fRgoLoeOfnOLFKXjSsy3aFX7s63
/jcgmsslgSnkxuhMc4Hfgrnj5VlI4daKXGIyrYVEjWttWfrvSfPXWXg5wMVbjPS8LHxgE9LP6/At
IRSlhrwV6IA8OPEVgTZh2JX2zoJ1/O+Rz9vh79vleeCEeoBm404O7czFSz3rxK1T+N46bkbU7L0I
Om8flRpPrl0Tr1j9nUXnV68yASIgoQmFffrl/lzWLgkG15/WrUYtDeapYstKaIb+/Vh/Nfr+57l+
G+bihSY4IjgSeqB2QZaaDjCkhycnSsHwI0mTJYajFoGCTADmD3koydBE2MJTNrnteohBldts/Na3
qM8H7gftOUrgonsnaBWBCqpG8XuIMddRyUiLkkY3yGg+FAU0qbEhL3aRn0Eh9hWE+aA+B1C/9lcW
SmzYgzfXfu9WKPaT4Tv0+eU6vHzgiw/ZuZXQiUMn3LI0Gl0QY5cPS/n079f65TyF40kAa1Mftb3L
RGnXoluKOwqJ0tW8QvNCBsQoMh/JplsX6+9iti8f6bfBLiKZEflthf/hVlfAOlnmDvqMRvVNnHLe
/f9aAL8NchGn0FkNULfKec0hJUoGdAOrWyaqUzs//Pvdff00sCyj/4e081p2HLm27RchAkj4VxIE
zfamuqr6BVEW3nt8/RmoG/eIG2QQUTohqaVQSZ0EkGblWmuOacx5g6VzmYZWJoots3ejDgXMv3Lo
StNK8HPlWWh/srCVmw1FtCX+xdYqWR0HhjAK5eCV5bDt6G3bDaa+HXJr5ZK6POiYcILjhoyUzYln
ifl5z66NthrKoer1lhuk/+q1jroANaFeHbXYIguTbVVzbfZdfTxyyeTCNJ363OJo9YPKV+j3oCkn
o1PSDHVA0WYsPfW1N26petrxyuZ45ZOB4/jPgIsJiDY+sawgYW7QnkX3y09jlcU3/+bF9JvjErw7
LUQC2hJZ0UR91CH4IFz1Mcquw+ZJC9TiThYDfSdDhFv1ZDiqXOE+1KDzy0a9O3aGmv7668n54Wcs
nhRhXATIzSedWTm58jb9K6IVxsm1j3f+oIt1pmt10qFn4zqJiIYysE35SSnpL1u5Vl77ZufjzOfP
2bT0kiaM7ZRxUlyGBZZ9MfKytQTw2iDzn58NkhuxWRoRgxjKXljZjt7RHEXI338TbLO4yqgy1+8/
JNizQYwqSmhP4Zv00mOqTM81MWulJ2+3R5nfx3ICno2iLrKMo0qLni5LbEtC+qaUJg3zCH5WHmU+
fG4Nsli5kUQCCAdAUqX7mTfZHHpXc6OTtbv9LNeOJ0F9QZ85TgoU9MV3CRWw3lXBOMF9u9Pdep9u
xVHdTzuxWYfaXNsAdQg6OpsgLmTL7UhYlZGZGbttJqAf4End0ItKD8Ss8CutPY3Ft5/u2qQ7H2+x
Rgf0WakVZ6o7NxX1msAnxwMJe8xTONG3h1p7tMVirRSSFgZnjKvRqEPru38qcLT/bbcBvMI6Tu9B
iOICLdf1f7F6z59xsXpzE4Armp6eZslv0dg/WIVFk5y/Es5f24vOR1lMkyL0B4I+RrHiAAHNts3u
kc5kq5v7/JqW0/58nPl3nK3gqqb7ohqN3lXe+m11bPfec7rVNvrL6DRb+bBGWVp7rEXqI+P4163W
4paSU80He3LXhPX0IMU49da0LB9vT5IrVweB5Qk5HnhLNn/9+HQ0u0KtSvTexc+WGsyUvwZq8L3W
jQLMBEQLenHWpseVeanOeEDYZaYlLG0R5A4gS3HVLbjKe9p9JZcbVamRPHShEzaUfHJE9EOKYvav
H/RDAmHxoKUYvWnKetWdsiK8bwpjp4ZJ/xZHcGrCmIi0irpg5bZ7ZbF/GHPxLdPAFKMShoK8oakd
Sjt8Cyj5fTalv7ZtI477MNL8zs8mKbpvlVXW4m6m+EgqlYB7NErBlXeorj3Q4tNBdAw8ukAtt6a/
A84EZcuqKeNX1UQXt/Fq8a5OrX/XwtfYi7j07tGGqicICsahNRNwGyDs94WfVI7ZdIqx7TubrhHh
5Q6d/4G3MRS6V2sT/naeZyY6A6qlJ8nT+jelMoYXsEfigVcx/Uj8Lgk2qS5FT22ddsnWjIR1Asrp
b70eaCtSwGS8S4oYxPrQ1Lvbc0m9skhVYcxG7XN36IXln2FYCRaqmuJaAGDcuk4twjs730whuJBy
9DUXwozdbiw/6h/KpnsvNDRvAdylXTN1gUNCx9p2lfkjFZrheL1E23Gc6492k/k7TJ+4IzWiDt8R
GQKS8Oj72OQ5yTx9GPVPHs3q78ko05emYxjfoh8/DlnxjBIa5+YBHfi3OKgtN2aacZyZ6BSMPHcj
oo/br2HtLSzOsibsCz+38O2ka+MZM1d6iyVpA2hmUxdr+b8L87k/M/zslS9OM5X+b7PxO155pJ+C
Hgttywv6HdL81kWz4f9Lwud5TGiHFNWAeKWnZzzrpGEvx2Ay8mwaXDUL7Y2aIMKJw+AQ13b6kmWt
8sxtLKK7HuB/4eVf5TSIV+bL1WXDZLHmK4JsLG9ZVRH1NpWtyUWXbuyDwnuuBq3/RG+79/cxGra2
msUNdfaPX/qf5y19nWUDFZxD2NrUXSk/ZJ46PghRxlw5rDfVloA4xYZ/TDMJA7PbM+Lag+ooKhRZ
J4UJLezjNqQXXdtXrW7MjRumOCrhVlVXnnBtiMWkk6SOmEZF+WGJ8eTld4gC9xbi6dsPci0I5UX+
50kW000pQlQ+k6G48BzEJk4CJrVudexQRoz0NU9xKQvMk9d61imXmuExUab0IdbMo7D64v32r5kD
pkUI8uHHzH9+trtnkHManMENt5Jf86nZhhgv3h5h7a3Of342QuTTeozmyHCBwWzLMXiq/AHRXfz6
XwxjY2Fo6Kpl0vn+cZhsxrHFIcPUPXZ+39g3t8lareVKRKMy+f//GBdY0QpCXTsxQVArPeXIU0OV
npQpfLOr51xLV+In5Up4+GG4xZTPsq6Wdc8cXJLLraP4VbibOhQcXSRGejrTfB8DVntLmoqWBkqx
m46+UJx76075J5kMkFKRp1S7/9N7/jO7zz5nIKU52xHvINa0N7mKEDEGxYPX+3/rST7vyucve7FM
hrhopTDng07lof6Wqo+atbISr87Ms8+5mPuWCKTRymbpg27tAv2p6PIHUCzu7Rd2fb2fDbNYAC0T
kpNeNhAUAVKFYLJFRPUvfQ474RT7tSBfnSf6xYo+G24+Ws8+kD6CdZaleUUXirXXAOQ9RaUsHgd0
Ake/Z+8WGhSwvsjkndr44jWqJriSmm+nj2ZaKO+xjyJlMxYyvecjmI23TA4myOI2PxmE4kMdqPGO
siaiUmRWbkF3za8gg8gjBrl8DmovvrebEkKc1zBtrbT8Kg1D4uj6iM2O3NYu4aM8wHUR5g96Muun
YZTsQ1QkkluZhfhpzB1dWh+vJD+vfW382ejHUi3FFH/8sc7eC8oTan8F1xGU5CfhS7sGAZefDiuI
7Yv6+jxvz8dZbET9HDuM7NRwUdVxZ2uBuQ0GOd1Z4LWcetSa7w22HX5p+b9CGaBDVfW8UukYYYSx
TSVbbGN5VHZDWnSbGViwMumvXZHOft6fXruz15CNU5qLgjunVlIDsIaD3ujfPWlyOg+ls95vTLSg
t1fAyptfFgWmQAV2qJfEKGgn/kFXUdabfrRQaA+gz26PdW32z224cx+kbV+EzwQPvjwlhuY2PdSg
H/AsTsncVwZlQdVOgnIVMNmV1OXVFW7KtC+b/JUezMUKzygdVZz3Gt2WCXi41JBOHb6ByICN4TkM
o/pYhaisRDsmP6y2lw9hPOBxowvpodbEWv38z/tc7gBk3HGRsPAdRcD5cQcw/Vye5EA13VwR7ffS
w9IJGVl1L0WafO/hpZzvUlMbDnavQcOq6mlXUx2CWojIHlu95BGpG+sVwdZdFDYaGKxETtrNGKDI
MZPE+hLTGA40QqsQO1fB9vYXvBb6n+/7i1+fwJ2usWqim82Q4ifRFRhO00IBgax8rAKKcreHuxoA
nW2Xi+vtYFqhMaHwcyeoJJtE6w0IXeO324NcWwHnz7TYE5K86vXCSoQ7pP60HywAHmh7RseQ+rfb
I117e+xAtjA02bQuMiC61ymIhiTdLUQpoDLWppPViO1zU2m3dFEY+9vjXV1v/xlPX6SHs7JpzCrg
GEgm7t/eLE2Pvf5ZV9pZITOHCQ0ctrTsXnPNWzPJXht8ESDJScpJZqTsoZI9fG/GINpJZX8H7cbe
IvdP3otYb49hJO7pPf1bC7k/+/zZk4uPq8xoCi2TutmSryC91OaQiq05I/BfhM9nH3Tp9OOBifML
teYZg0/Jj7r7zCK9/QmvTc7zERZhUNAmnV5K9HLL+mhvZfDO8Epsp6v119sDXbTF/3llZ0fwYmm3
JB8jymnkO1trK9uBg5h+B/wJ+xmynqWxN8viqQhjR6jaoVaHl9vjXzv6zvfFxVIX3oBab+Sen5nN
w2BWjhZEn+o4egV+6BaG+N5Lqx2h8xS82ItJg8IeIQtKnebjLNGHTlIRapuukXmDU1bGofB17ZhP
5uc2tM0H1CSGM+YRMD5RfR/FtLcy1V85FK99YQqw//sjFl/4z9VZDBZNHLL2bPZS4SpB0Z8kjE2/
3H7F8xe89bjLk3AOp+mZmpHMsyNyIm0hcGj7th2bfZtpuMUIO/rn9pjKtW2Ahg17LpJSIV0Wwkoj
QM7Yd9hLW56+i83kfmiUcEAkUIgf1tjZ76HStw+TPqEGhiiHkimLHn2jaj/10LichizNCZd2/h8B
aoEa2PgJzm7sRH3FkSCgktz+xdcm4tkPXtbU6JwNoHPgmlXntvw6k/SOahL421HhhwjM4DdI3Sdk
l8Dlb4985XjQiE/luRcMScVyOkoJuM2uVPHsGzsDwKelHLtcNY6T6rljV/Urm5cxb4KL+UBaSjVx
KdNk3CsWO3RojAKhP9O/VPTQCQCtOBN0v21oSritN8TGsZ3H1TaSC3TUlentG13E+2ny7F+a7Ycz
DUW/y0KlelLrhl2iLw37IQ2SaW/6sr2JbEzJysbqIAuCVqGuVv6oc4CuDenwuRfSQIoFZgrVqcoW
bZtGdUxTmzYdL42PVK/uzKkCle3F2ouHjhXho0SXdlpn6L0N5X5M5cjf2PDJH0tTU+8KUHzbxG6C
9yJlw5DUpjU2vl5PB1DZrdvK0bApwwrKRedRmkpUFX1yBpLEmKLqIQpImtXQHE9VnXM3kEN0TqHW
7+ti0scN5il1tBm8/LEkL3NnTam94tmgXfkepPAUpFUqCUNjmcRTsqgfRECLhF4V4But0rQoBEFY
QlYPN8bXv+WRpIKXyezke2uAw8VvSd009hiVG2aKF7iBEqhbBLjd3jbjZFvpdBxIhYR6dISxATF2
U1L30OLoX3CfyrMJ6eJL7DfWJoJj5w+0K4Ai0T51SdjsQo+gYSqaiI4UUTzUaRy6Q+N5bhUnX+JE
+knXBu5SsT0cwzhoXqrOS4kL4cS1fty95KZ5uL0+ruyUOKxQPKJ/RNesZTt2XOVotEsiiiSi+0wH
0ulKfuuGg2msLI15z12uDGSJtAsCNNYRu308GNR4kM1g8mXE43LnwLPIT73WFWvr/creqJ0Ps9j6
/SqPTPpUJjcVvXyC89L/AoERJ4id5emr4XVoBbxM1e8UOW5O8iiCo+fF8ks1UKbDJ/x5NITYoDKC
HDgyuSV4FNpGmVqlwWdE7//pIbtu80ZLf1D8snxngK6c38c2dNEeeNwGQUT5msRS+73LpUTejIJ7
fp4bJ0syAT/wGrZGhg/G2IYtPbcp1FInHgHUQ+eEhU9lXTu0hem58ZSOe9BISgKA1Le2WZYisgTZ
/VmexvA9NHqYMAQz0RYC6RPpsHKGL6fxg2ZmeJe1auK0eUI/BlrtTdTYAoBj7L8KMY53Lb0H8R5S
yuRanvXMlao9tBYQ+VGxYShWmEM8WkGc7HoIC5QgDN0J5fhnruF90cXd2g3u2ixkj7YMfW7VAhr8
cW5UVtyUXu1NbmQSD9gJAHT5GBlrfcHXDoPzYRYRbDOCHZoSqheC5J3cfc1N+a6B9Dpm5Uq18qI3
l8hPU2dHES7IljCWzW2RpSal1feDm+RB7EaZ2t/VgOcwqCF4nsza4taAc0qOg+TncITlpPfjyoK7
shJIzPArNMW2uKwvXuqURKaBz5Dm2oOR78ZeLp4DI1GwC4EzFgmvflAUw/gMffVt6ID4395YrqWF
LJVPiqkK5+7FSdijyA8435lgUd7YW2rxPwcgQ72nAjSI8typzcp/6cMKvoBvSf9y81CBPhrNye6L
zwkwq4dk9EMcOrzkMWogvt/+gfqVDenDD1zMBppPc+CNTDpU7ZjN1OnoVDrbs5l1mpN1/SeRKC4F
0RPYhWATx5L4mkgRfCt42veWAPffFa29r1P6PpxRwmfX4mwFGg72sXDpqbV/gKtQdpaSV++D13aH
0UPgEsCT/JHWYrrHVcI4KV3vmHaSHEaTdAq+OJRvRXlS8kB2qHRCHzF5dRsvipqTaC3jvk184xME
lvKTpzS/5SFQoISF8qM3KSCMCmE9GOQQHkFP1twrslQpDlQj0tLpYogCIxn0V38EIb1VQZe9qAlE
6Zj8GZg44EZru/Hlno9EV2P+YxUJb3xx/zHiaBqqDg5WG/8O1B3UESf0nZZa6u1veSUK/zDO4qJj
gA7Vp8zgajpYnuNNloAyjVU16Y1m+mrW4DCSFqjf7VGv7FofYovFUZOA0IiLjE7/3CA71Fe/kp7+
X3PN2PPaPAWgguetoiuXRzSN2Epp92J0RZKUMGwoiCRYXK+s12uv8HyUxWqIupGu0YT8RV9Agu1G
+rm70SPSEZNxiiDAb6zBH1a2qCsbMmKe/zzaMibIO1jVWjm6IGKCTQ1NM5SbbNtJn/N+WpmLV14j
qAJac0xyhKq13JGV3giqRjCWVPQ/fUhwcKzD97+eEfT9GARSwpq5GYvnKVu/8rURu0lNYs0mQtX3
AcEnjp3otfW/n/QfBpsf+CyxPZVeGXVzIi/SAnQR3qErC06V4dRBd9ekle3y8lPRdQBJVlMU3bYu
1I9QFLU0UpvBNf1PKEvU3HPqn42yJr+4vCmSmjTmIFEVdIUso8Qggmvqz1dbE8bQVqthNXdJ+kQx
xnbUof0Cw9J22t77S0m2QZWdWWEqGk0oxkVXgdpAom0bpOvRCM8Fs2LokKZ5P2FfdnuGXLxGBoL7
QQ8r6VG4KosdsZcGpRTwTdywD/svPe5GrQgS0FdhefJo8Fq5eF9sUYvhFhtjgQNPYiUIoVpurVjn
4scTkw1Jg8L622oTI2HMjR6Y5lle4xyNnM3GNpki0Zfx4BYwZeDP2fJvL0oNci628vv2O7yYI2TU
VMQyBnVpYpuLaLHo0kYnsHeLvuo/JXG2q5OxOs6aBtx8ev1OS2eOnl1oK7Pk2sAkmompyClY9hJw
0Hr+mPgTaJVCgiMGCJFTH/qeAdDoTgNoXXrF31aSeNRZXo16E4GEvuzva+oaAZao8TlDpredIt9M
N5qo8m2S2vJKIe9yrsxjzb3Ciqnip7zYvHRp6FvM50iL4lAw1t0Ga9ZNr62ZUl4Zhu0RAbXQAdZd
9C1gCNZKtobeSVZzF9zRSa7eUGK93p4jl+uMPUQBSoyO64qqysa3SqZ1j0axZiLc7O8mtfiEW8LW
E/Wat+yVaaHTZUkjBjsIpdbFmpaCScdXHMJf2Tl94NrY3+RHOocI3e4y31xZ0pdJZYWpIGTB5jEP
uzzI/MSM8lANR1fz50SKdYdvE/ixvRkrh9oInFqzdiL/qo4nO/jn9lu9bFpUUBGjNyHuUdVLdEXN
ncVOlXZ0KXo3W4U+b9kPHBXrF0h+sJzjk5f9TuHNw1H7nWLBZI7GM9SjX2pQ45JoP0Ry+e6p2T9a
CMxZ6Pf0WAH8DE80Wbz2dXWfpMEpafStKfLfdp84sNPf4pZ4W03ard5Ip8kKdpEd/NLNrtsmerWy
4K58S8OcaTy8Xv7DMn9HfiItvDSZe9g7cxMY9n4wyufWb7eNHX71smqn62C/br/Wi9CEt3o+6CL2
MvqeDavOenco0OaRUjNYd8nKvLkI8MgU2ORTZwk6vfn2YnlHtpkZVIU6zD5iExzugFGINKKjVGuU
jcXnLK+jlTPh6pC8SMQAwiRNvVgYZkyXdFr2nWsOP71pvIN5+5hbzYOkwIlPspX96/LTkXG1FZK9
cDC5by5GK0XiKYUheztrJtmVGyiTqf/qDbXTTq9evXIIXW4wH0ebf83ZeedBcq01FS+LqjEdOWlO
IKEfokL+ZvXpymu83DGJSv5co+f89MV5B/91EB7mcLsm/GYF3WNeHlQ9X3l7lzV9Dm0MrnSBXE7g
f7R4fVpdm6JseX39tkPJCFgQLaPmRI8q9Il85ZFWR1u8PpX1Z2sYCO1mnlKBHben/gFG4aThZJ8w
Mbq9wq59rfOHW0QnClziWuDGtvM6/Gym4kXUBm4wxS4a5ZUgYe3Rlg0n9Di3mpQw1vTUOLPpMkBo
ddO60l678x175cqh/ImsPiRWP364ZTik0VYxTAXjQdA3AXoa4qHssV6Wmz557kfU9kxPzEua+BnD
g2o3hAgT8J5wBo0OjtQAmqIFur6NPJwbmtIfYJta/U7qoI5LOv9dOxjBViTkvhsdGLJl+Ik7xsUL
Bf3yWCTVp8Fvmp92oDbNtgGsuiOrio2cNZBBTxW6mMe2O47NWO0xmsF7ImL/MTAv62Jbwxs16d9H
3R83Vhh+R0T5w5OMciO30j7UQG7ivPFVAUb/2JFhccqp8U+hJFNKCOI3/LvuBYybXdMU3s7GFed5
xPtr5+PziHEOGZSspMqURbEPj1rxccqSxM95tzrQ0O3tIiTJT0FfxA+ijDyfPL6IN7qJ35WmytKz
Zwvrdx+35sZkUW/UYqpcSRTFtoEkf9CgwLqjMpoPpjnI/E+idKdgv3hqMoiVDa54z6mtpDt6EkN/
U5Rp8mZwAtKqjh2TZUxil9ElgVNHOzqDaBvatCitTHkMrtsiKVniAsIGNk4n/F/HTSQr37vALDd0
yb9LOuNgkXycQZNH/PBwIUgknNsa2XhowGRu+qqU9rfX0MU2xLUW0R3iCMiQXHAXBwh63QSnjSjB
6PAua//xzIOSrERtF1v4PARsRGIpLkgXsWFr54lsF1Pmlsm4UYKdHHwqI4d0FlaQGy18uf1AF8cu
NzGZQxFM1v8LaD5u4RLtPQiEzMS1Q7dQ9mq/cte78vfX0AOxY+v6FUFwq+pZjz8trLj+p0zCeS3b
MO/IHxb+XCu30OMSLpNrXl4OfNABiorrqytZT6O4G2daOWYYgHXCzL39qq4MRZ6GFJ7g+NFo+/r4
qio9b2DFj8aOq8q30K+wna0eQ0UrNvh5UOB8uz3c5TygaZEDQIFQpFKUWgwXp401YVA8O3qWP+Cc
/6gMMmsUTupsH9W9E6dreYfLB+QeNV/8mQzo+ZeXn5IZPypa7eF5kfwaAv19SIptmWevwPrxM4qN
lZDvcjF9HG+eO2fhAyaY4wCxmmAFkyXHLHLLkRW2pFL2Uuf2y7w4++YrojVDwGbNrFg26+FqFtjj
yAZJ/2/h9lrdHiIJpzrFagLXr62VROLlrEdrats6mjRbyOYSoGGYiUHqBK+8lnwzrHdbf42UdhVr
NO82Hye/ye0OTf9c1hcsgI8vEJi1Iqgk27u6LPE6S0GQ12HZ7TDkxJNUDegFo+f+PpS9e9kbqgcI
Pg7WPeObEk/SvocmcvstX/ugVFFlyqiskgu5hsiUcAwI8nd+UmgbT8XjdMDknbT4GhtlbaTFbUFj
j4w5MOyd1Lf3ZQY62IOmjePqmjTr2sQxweiQEwATxNX24yueeqq5Y1rbu7AS6abpAEepqGwiyzz5
UrKSX1TnctTig9JNikyE0hnB7nKaVkWhCok+rF3Wy/F9LAf449RScOeXtrlL6WWmTCfhqSXh/pX6
WAPqGdY/hPzZ93yScV7o0n9UfdJeTWjhDk4un3DpYno0XfneoxcKpraUN42sOUqiKSd56krXz6mr
Ci9+qaywdlCwj1AFkgxgevxJy/xvUmx6n2/Pk4uNZhGtLb5eoHsiLGQCX7V/q2IMCMAaWJ9VfK2l
YXt7qKuRKPkcmVwLDGgQGx8/oOGFkZJ1jCXvgea6JXheDNuO/hZ6vuOtjHYxW3iw88HmPz/b0SJ7
mMxw7KVd4u9VHDjoS4zkbYuW8W+fih1a08jVKtxS2NcWsXwr15QpaOdwG6ffKUDyrKO/rx1pn4Jc
Wbt7XTwVg/FP8sM28DSSfh+fqqa6apHYTNw4/6GNX7wQp0QgS+Y/Kw91uagpTHP1Is+H/e6Fdthq
x6mj8Ji5eHRsFBfCrDPgIbNpNuYef4It3jqnNc3hlTHnVBJ5UdK2mBctTll88+wYw5vMram3WL/D
9qQMX1aea26H/biqSSVyI5+xAFQBl/n8nrY0CVe0zO1r6ZOR5T+maDiEYNUVyakkiY2kbreZjLVp
/P320Fee7sPIixO2tvpIDhq8WYz8VdXuMLXtMDS9PcbFYtbnp1NngSBICsNaLGYMndGa0eTvquOb
FT3n/m6U7iz7SQlX0lLK9adhss8Yh5lA+XEeYowRSzY9G679Fj8Ozjw/uLV81Tajq+7iN+2A/+7K
gr48yHkwFfEIwD1t7vX/OGSeRwhYcEJ3G32vp/siXOnNuvZIOjUykl/KFQGbQnHfzyOmX9R95sbS
dIhjVkKfyx2QHlCExfxjzpVeMHk0tZUUj1waHFzs+Rz+/ZDcDdt5r0j2ykrkczkbUGDYGHiT7ELg
tKx2a5aXRGmN5ds0lXcqYYmTZoaKsNJuTwVaQwQFotrfnoEXHHaDLDoxnUX8zw3g4ticjCrXOykx
d/5vXO2O6S5ypK32ruxlt9nG7hpR5PKjcZOZy6dC0DYGDOjjpECVHOPFTaHFA11Dim0oNuSN6E+w
pb9OWOokgUzoTTaLDBn4YijaQjN074O9Y+N8ryLV22IMdtAwjPpGUpGLuheVa0mwOWr8uF1xvaVX
EKYC6EA6kj4+nt3ijaPZvM3hqd35h8yVdtPr8ALfdkdeetv/9Q2UNDqJUQ4XhUvoMidbEky2UmMY
uyDPmx2WltoencrP21PkyidT+dvblgX+jaebn/nsYM5UOx40kZvA7CacoWa8JN4g9dHIoAb85VAG
0cYsQ1KpDsDAWGwZtV51OMYLnicwhg1dJV8EDjxOqsBtuj3SxbnMvKdIPGuQuARctJlLBqYeacyb
U7q74qc6U2SB2a3dsC/uoX9GYQO0ZuzvxV2mmFAWBiy9nT1UB0XP6n3vKa3baWH5LnmY7kYiuO+6
ZGUjmWf2h1loYMQNZeJPPtbU/jS1nn2xMIoLm+YtrLS6fHSCRjZdSSaMlUmfCXr8dAErSvXp9/Wt
tnEUq1zb+y/mDMtthsbyL1qnLxDl6TjYgQ+YYafljwmIav1X2q+stYvjBfUhEZxlKDSpiYsh9KYL
okFu8edqDlhCHW1pWMm/XD4EpCgktUwQdkeKOh8nfiXali4CW+wCT+yHRmgOCJFfeY8Y6fZkvPIo
EBFUk3iUi7aizT/k7HuVbVemjdyoZJeVp3wsX6rmr5PKs9yOQ4ymJXaMi8wYib/OkwMAW/rmz0Hm
DAcoqtvymJCdXzvILl7c3LRIJYUPT+X14tOYuMz6NKwMrh/k28Iu92rws/VXdcIXNz6GobhNQmkO
exnq42uz6USwWoIaWo622VHb5fsQM9+N7OrbYh+tHZTXRwNbQjA6T7vFRyp8tGCBzGjBUXFVxz9l
h5yrUOz4ztrquVi/cwKT8iiZCdAlF3TUnFS4wI11dM1aJP+GOMwczVGMjoTscBf2Ff1VfkancEfe
WFeb4HB7OgpxcYxBLqXoCp5V0ThWlhqqPvTpRI6zyR1s6viTQp6/KHXV1Wg4cYJQbX6XhZI8NqNW
K1s/8zv9ThS6+SrMIplONi5q3+RS8tqNWsZI701twv7El0WEWFZPBaRgM8RHxOxV1Q04SLGASUwN
V/G88+5a/Bu1Df3t06avU6itsmdtiFPKAwor+UmKwvYrHYN9sJk4LrgBR83cNh15Y+eoNE5/wUm7
eSdnNYTbxMqHwFXCCKoIjlt97PptCqMqhWktthba499VU37qjDi8r+iM/IVGkKs1ZUda7Uek51mu
HYcEFcKYhC+io3PCLnKcsEb1m+rX8Xaq9RbiTec1z4ZZZdsw9pPjlIvOodvDusfZqkKp5WGJ3aZy
eqeGKilWTMuQ6Gs9PvA4sjphFYv7MInwkPbyob7XjFwFfapa6VMTdd+nwcN/oa88B9DOu+LRsDmZ
HT6S5FMfTTk/GDiqH5S82HUole71SsedMaP5lGRgF3wemlLD/K3zxFbFWexk5QqGWGn0FUtxqFaT
r+pQXLHi3Fp29j6J3A0CfNRt+rbJXZaOVmTbQEuGgyXjuWllhlU5cTWUX6JxlGff6eQdv0/12CX+
bJuH9fa9LsYfKON/SxyJTsxhtPMCq9pRhtEPvP8AABriyqzpRn0zTXn0pdel9nlsqpNRZETyffnL
k1N1zwFj7QozDh7tCpcomRb8zLEkSXfSCpZaGFtYLRdakx2SsArKI46KhkW1NvAeA19WtoFstvj8
4URbxmN5L5W19KUd8uI1IvWYbIdGFq6opmEb+QYFUSH3ar2dE0K0W0+bpGk+10HYOoEqfw/yYdwX
gWHixkmzxmbUS/GPmGT5Po7SEPFkqeNKV1o7M/bUncJG/pp2mv+zoJ71aMW01nqU6TdthTVXlofS
XaOP70ZoGV8buENfrWqIPhuq/w1v+rzd+FUJ8oNXlWzweFb+NbGKrLYxf8MRkRP5Sto8Xdzbskey
Nj94jWS2G3HIVfMlmygWBsPwRuYkxkANfrViSt8sHxASV/hOQi+jthHikiqe8IxPir1W452cZxCR
0a8kv6fMTneD377UeZNupG5ov3uhXbrsFcUPI6mN7ejJn6QC67CktZWdLHC8nrczB8tv83PcGing
1xEki1NwsGFK1scDjqpd+7XSJOGkRVnuCs2YXiJNwHIxlU5aKQ/PO/+HAIgNFPQy5lJzJKkvc8ij
7eEZHxT0hdrqITb9f03rhYawf9su+hJZa6Xvi+Ob0TT8++AvaDNXaHG3btLCl6OWhppBz3u4upgn
Rtq4kt+89kiAfLhWsCXTQLg4fnLCy5h7Gq3QjZAPuC+g2NXoGc+jjgqlXD6p8irB6DJrwJOdD7rI
yVVljH+qZk5uWA1VsdPk9DTNntRKptZ3VZD7/6QgLDaymQXplhg3vm9UCr69Z36RozpxqFAKcqlk
3LaZnq0h0K69d7IZfF4D3PbFxWQAu2XhhEcDfpA0nwb0EV/VbE2Da17cFHgHoOBnPyLurReFAqnA
RxlUOa6CUyQ7tSw1J0x6x0M2kMMO/awJ8fnDpNXMsfwd9DJ0k5ZqLBbSECzbotr3slLu6Wd8Vnpr
PPS572/wbpEdpRXNnj6pH4Sf711mfhvkgUbLAd7FZCt3OKNmu6prta+1OsXOaHfVU6MG49YKAFAA
bg8eshLyCDsomr0mjceHJDParYcp9zFpB/UgWfWLhR29KwdauvObzNpGOHdu2IflXUtstY+hyLlq
ngdgY9kLA5BVD2moPqp+VR+VsrW3dTvUhHCzDWUmT3eDZ46P5pRwWobqCwaKfPwpi++aFn9DmLfJ
iTjZOhTB9GMQQ+j6FPGdAIzCJ66Y31NkbXeZzXahgrPYyMH4WOH/QzskdqAsngGZo6b/wn9X7G6H
NH/yhMsdgU6iP4peC8nDYvnQ8kNLX4WOL6xxdERKipYUm9bfpTHVx15Xf9CWFzitKp6GKIX1HDeE
dTppv9Ce7tTsf0g7r924kbVdXxEB5nDK0ElZlmXLJ4THgTkUyWK6+v1w1ondLagx/15HC9DA1cVK
X3jD6IVXftBFYZNt9WeMd1YpyHt14hA1VAbyMj5WcZ+EbPL6W93CQvAGo49KD6jyWOY/q7Jp2XOK
fSXOuyQZbb+B4BmlZECpFz2nZo2HvO1UuG5N+WSLsYpgUe2LLJFH8IO3jaw6X/LlQgJiUAXS7q/k
cNtXP18VULgkcpi5UDk5uzkzaJCZrXJPG6TJABh0zNbR1wpSo/r58ff+9586GwoNMYoKmBvSyziv
BoFZitMMf1Os8horWGyvg/zqLT+VTH8samyt6eNkD0VlGXun7+KgaMwnbeIqV3P6SgG+4tmt1fZj
WEo0DGVXJREtJ+DKWLZCcI3r/SS0H4sqf3z8w99bpM0ogVIW1z7drbMyFjq/siO+xO1L2LyoIiZF
nETJ0w7UES9oicUBpEThussvQB6VT+xxTbTinceHHik6XuQi3EbnhHFL8sjmuBjv5jqTn4SX/kyM
mhNSoo3iE1XtEnVrm34884viiUOwaG/3OsQBsANnJ6RWlKF0WtTqpyUy7FuuzdU4Ws2Xwj1aw9vH
Y71zyRMpkHxsndfLS14fugoIJbD6oUtvLUxsK726G7vBN5X+ykP+TnLHc0WBhmYXObJ5Ni2rGI2+
HZlWfhyO2k2yn7YK/FVrtXeOFg1u8Ag0XzdE0tm2kfhu4zfoQiBc0TXR0zlB3aZ8k2P3n/vJDofH
o9K11Vk3uUEO+R/VC0/RlBQtJDYor1HkTQoq5IuMYxy+Dae5siku0cv07UwT1xAQjc4laIWaXexO
JiLRIlp3elQi5u1DiQ60qNvLa4n45bbQyATYF/8D4ZxPTXdqK2nQ1dg564wYGWkX50smVeOblZWE
ykL79+ONeHnSqEmyDQ2L1hq0z+3vf3zM2iDcxxgVIXTHLG+olRfhOOSo5fNF78C+L6GL0fSVcPly
r3CdU0eBPOsQL5832TC3sIrCBYC+4rd1qrLYvF/bBnWHvr7aUbnc/hv0nJ2pwwfakFN/T5A0tyIh
A76Pd7KbhxRwrJcOVZqgt2J1CKW2vCZbsiPzlWtlco9Z6pnHKjWasGg1bMYsGt37tVBlKFq7eWhm
pToOKFAHsdkW+6JVuitb7r0loRTi0JKhNHfRIRk9qP1ouKLGlVr2nfsdZzPNjxWh3JQ1kETp/Fcf
TMTWoZht2DI2AVyfswNVsccVqmrrroSlV+hutXXB/zOilbthqwWi/UyDhNvo73WY+9TLqpRnZRhU
bKiRq1L7TD8ls0rBB2zM7uN9/U4Axl0EjVgjWOf/nL+/Y09fqJQCS6UDZZpdETVBFSyPc+Dth70S
XgMIv7OlOT7ENTgMUeg/Jy/HOQT6BFzLTq2mzK+RGQvQProfK1VcieQusxCaSwQUG3sD/ahzrFnS
USx0HWplFfx5KwUlZFxbq8uXUOdp4tgArd5YnFu57o9LQety0xO2Nu66fi4PCqC2qK6LIwFZsbdR
FvCzcjFO2PJmV+Kzy61Pv4fG58bNUrmPzg5rP7rdNM7atKNQ8dka1pt67PZdnOzRQr4xTXklSLv8
lP/WpnmxEFDdNCX+nufK9TT13jrtpI6nD62KqSyv7MN3ZrS9UhCUDIBfxvn92qtzk6VpM6GanaUA
cevNzhjVfbQL8khosx3ppVddGfS9eUGIgmyzoU4ukg9R9jDFRTbtCnGvSPINeQ0qerndicAAj7ER
geiRqP795USuQBgdFl5FDJmCTlIEBb1zMqkx7j8+yJdPIiPRONtosKAXzhu47pIZoLUTNPEnEzZU
T0yqo4p/Em4ZuEkz/B8+HVW+TYAR3MIFkpNVHFpNQG1ZkvSxIlGusn8+ntC/4kF/ZwY4T//LFyWN
oWd8tus0fGI0occjeu2iBkFNUAuXXfPuapdyUd16PIRJ8jXR9bvWG0+FXXAOtsomSD0S51EXh6qe
2pNtNNlNb5SP/YLwhuWuv+LNLM4U9s8uXm6syvAeNYBnvltYGMotqnZjKHoeUMER+IIZI8rYak4z
g+Lvx1N8Z81Q/eBYgb7mbTmPBZV0mLJhKsadmw1h6aRBWiCkpbUh2P3o46He2erYkVMJI69kH55f
VU5XFMgCDeOuMtpDx40Ye9eSkXf2OrkiqGvuIxK6872u2l2RLXU/cinlwVqv+6nkm+K5/vFM3hsG
3Qv2HeEzfM2zu89WlWSaGoZpm5fa+tYN3wv5n4lbzna78kBwwUKgPafi4QwXD2Q5XOyoRBRIu+XF
lVlo/xoenW3vv8Y4yzcqTavm1EReVe284jVe1fGUxKJ/mFRR3MdNUoV5uqxh1fTuaW6LxpeWAabQ
RsI+wvai32u90oSV1Xj7ERWYsFX72fETZx6+WHQ/IpR6uhtFqkR0Nak7Ji5fFvgY+1Rz2hu7aSV6
Ofpr3ORzqOdpslfMJAm1YixPxeaPYAG1DeOknu+WbtZwkCvsLDTq5Xfszc1OEa082kmR3igmAmX6
gONxP/2E/GVG1JGyp94a8kddpNqeotG67xL3s6Poyq5W9F1fo8sBWdx+yGYT4p3hDL4ypX2k002D
QGbOkZ2MywvNCOeZbkZ26+RGcbQX7dmtqKqmo/w1Vcrkr5W0X3tWK8x1owQ9ogZejnmQVpEO0KNK
7vtOxHe1PnuvsOTIHrWxiYy4EbcYDPYPXbl4PiJpRpDMZXY31bDLvKS0DjrWfTWGsZwRbDbx2kAN
30/itvO1pWtPyqrbpa+JsYi8pCkqehNrXPheOg6F37hdvPrGiDqQnNzyibbU/djGUzjqXQZL5PfH
x+G9OwTGLfcIYBrtIn7rldxRgGGNO40Z4fGC3sI4kcWOs7KFPLF9JU1+5yIhGd+UZ3A1JPbYHvI/
Yp5YdFm/lBwNDfsz9BVDFcbVx1N6dwhcKAFcaSAmzoEtbW2Oro10EiKju7yqTx0aYh+P8M4dAgiD
TNVCFoBvt/39z0mgW59lGZNoZ/vkNIhmq/NRXa5JU1wK+jlb3wHWKSh9B6bk2V3lpmudWQOM9t57
pE6iKrrvlXclumSdk/uZKAPZDXvNe8gV99QOn1atfeoW9ZhOt3Sp9rVHb1kxI+jb4X/9AAAOSFUJ
XHkT+N/fH2C2ICpIGxPF2oSXlyY7krS9YytfPh7mcnMSdxtwL0iawDyd18gESUerp+jEdIpz5w3d
rbOaVuAavwun/fz/NZSz1XX/WFJ8Jpd8qQj3++qGGMG1wrxz/GG5cm9f7py/ZuScrag+qsLItmEc
43kiUEi/5N7rxzO53P5/D6H/PZOsLSod/SLUCHLUpEZw0OOvj0e4zFv+HuEsKnUJ5tVELcHOO/YQ
9HEaltl6GAxrl+jpaxw/TNY1vcZ3jsLfY26z/mN9KKHXfTqNyy5WWo8H4xsXlwhsylGOMTyNxrwe
4w5z+cJQqyCb+kNGQVVa9X7N46+NwROv6XFYeHibSg24BZ3vdFdaVnplgf9Fc/79LvNDAS7pUPBh
K53Xlmo2siz6YdqNGQ/oYLtN4kNXee5W3dkbqytvS6X9xvVhHFNlflJKrHITrUZ2BmU2X7Nimqy2
sQapNnUhKTAPR4tqvBwtlJmNygy7su2fhFIbT6o12Y86kwvhS8nXpElhw9HniWZY1V9qsRr+NLnj
Q6/XL3GjJ0eKhHd9rCx7U8/K7/FKJ3no7fF+UZLqWnD6r478xYcAMskNuWHkzhNoN7EndCUWGmyz
LEPsBu9b+9X1lNS3O+uUIYRYtlMdrkt1mrWm8Sfcl22936loYvoFdEo71b544GGU+pmC1f/hvINu
3zDoYLGpcv69n5bVdeQQW+OuhPbhS0kdNevdX0kiD8OgLVfKf+8cex4jKAOWCXKVWP3v0YZxXDrp
5dNuoFcRUF1XnmJpxAdqM8Ph48P5TmPB/FfjAmoOL+1FhZgcbylQeF12wGrCYlx9y838NCfcmac9
eppBisdKM/9EEv6/z5L0AI79BjVEpPNsljNlm6I1yLhI70pWOb53e2D8yiTU//zE09aCDgRSRKdF
f17ZZOOKVJrGuAOqK/x6VSDzp5O8Mso7q2a7VBRIecBdXsyHx9c0BWCkXbK2JzbrIUsRXkVw5eMV
e2eYraDPSoGppP599pimpAq9OSpkC9VdJ2zMVL6j+/jf5/LXIGf7fcqBUOG5Pu4sd98Nj15909tP
H89j+51nB96FcUfAYrHPL6pKjb4UMRqQ046/dlFSo3uwDOVhmtPxq5VPt51wix8fD/nOp2MD2GSN
HvaSF+IE7TRXEC1qdtyMH1PmxMdiVd+svC6vYEYv65z/5nLkdJTRNwfa7Zf88f5wJ8n/FSygjt/a
oiPHhvMzamJT43tclPKXUpqBTKyXvli+K1YbeJNxAHijXFnIi8eXH0LoyTfk6oIadHbILANI6abe
vaNATjo3HYxaOeGzdedp41Nv/5BKE338kS8CCkb0DFYWaD+MoPPLyywlBV5HTPgw5wcnme49t/iv
R2AbAnYobRkK8RelcW2cdcVBU3EHfMg8ZHb/GUomFniLc2XDvPf1NmYoypPbnjnnYsRdaRWLyYZJ
TISGhxiXgwpV8qAwKuNm7IspoB1LW9gEjPbxV7zYqtsUIXLx2oC65+76ewP1VjtXBcDWnVgDNwcA
lkYzLImPB7nowiBprHKH8LIxDOWvvwfBPlarxph3xtDx7ksbCqBadszBvvqaXcrIkcbIe1AboQ4p
5coML6L1fwffSis2W+WippdaWmJNjqQcFaP4ILRBPbVLC9ZEcRMfl3n7yr5854tSFtmYEhY5/oX+
CeThNRtaZGTU+pcn5lsknHay6T99/EnfnRV6UQimcj1fqDjlUE3qLmXdlHin1SB/4FaRuRrfPh7m
kpLE19s4XNv9SRH2/JSlk94mU4WkV4v72NpNFHLUqATZotdDQBn/yRjfMqGEk4twtPWGnNyVpPad
Y86qwd2h4wu391/w8B833FoPIu1qR+7W8eSVNhWA7PjxHN/5lKANyGR56VD+PAd2C7CsRm8k407k
p7WPqqHxm7jEHim7cgze2RnIi6JIBcSArtu5WbjpjRuCwZa7rrN8uGY7hVwOSdQrsf5l09rF5Wbj
wlk0r3mEzl5u+gqNggbmuEvVpjs4TqeGM8i1oLS9m96BfS2zut9ZqJ02fp+mP9ZxTI49MdG1XuY7
awc0lGIBQSZ95vPN0ztaqa4UvXbOUvAIqZGZXrPre2fxmCW1zO213ZqLf18tWp/P8AIZIrcPCJlM
nGkT9Kd3ZRdeSonxum6MJDQsWEDe9L/HKRW9stfEw3ESiOLvpFkO/WKMz8ts658UrxEyrKo6v/Nm
BztxVCn9NVWnCEgzxPdUUyIUdK2nuql+9ljDv86aMW2RqBIofXcoSCcCA+VS6oWwV5SlswONQsk8
dGOg6WYbTlOKH5A1xqdxC58nj5Z1Oy0/JlaYoqPbFjZvBYVTu6NTkGK4euVSuwiitunzNNHd3LRC
zyNbyo8gn8t0pGef+lpn+2J9XJVjiXfMNZ/sd95CwDGIYm19QKL2sxX12iIZxWKi6h73IpyG5WFy
ZR25rWkyR4Req77RjjPsoq8f3wPbP/xXoAg16o+Bz71yzGWp8iyzOJ7Froz9tQ9SSQ78a/gOqL4f
rzz5l5eBzpNIpQoGGswlfdvYf9xrw1IYwL+YZo2MUQw67I2675UL5/Jw6CpwNwRwSGkp1m2/4Y8x
kkRXOoSkmAXP3cZ9HPZeE6DG838Yh4edjBoqKWT3syDCAnebiZlx8iSK0YBe/kmGQ6tcuacvbxM4
nOZGN0cAh7N+NhuD/liMQTaEtiKY+ii+Jv98ucdx5KLpzfGmi3+ZKDTjqOKbwBFfjp30hShDNQ3j
/n5a3z7eae+sPQtD9EopBirR+brAIh4WqfVyhwASB9yh6N6Fk7wGlXpn+bl4AV3wchImnz9sa6U6
pZ45/a6o8n0/yAXFtzX2U7OPVqO0fn48qXdChQ3yCo8Ifih7+3wXLFUms4o7a9dHc6iFZYiMVaA/
/E/p4Brp6/KwMhhJ6RayAts7z04rqXe2kiRiZ+6HY383HLSTuctP4sq9/94nJPDncaE5QPFg+xl/
nKBhwIGZqxsVKa3du9W91odQDW6tXx9/u/eGgRXNPDio1CrOhgHcbebTwIZo+xP3QU8SkC/7/Frf
/t0lQo0C8oADCJZ6zN/TUeFJijR3BayyTWIj33U37u26R4cmavfU5T6e1RZy8A/+faeC0aOtApaJ
m+4iE86c0agSmrSRMRRy9AGublSiOh3Qfla6NSjsOo/0qjEG30itMlggAp30zGpDz+nG56pU4885
EvLYU3rlQ6l5ae0n0+IdHC/p8UHpCyNyKjW9raami2RS1ki8TYjEp7XV3Y/STfZJRSunmJUW0ZKc
zG0sp+6ZhNrAZNNKJQJk5pdYmO3vMhfipaG1GPWtNd4tcHdwO5mHSKnH1RejXn3CQaM0QgRt5mDJ
UsRYKpn/HmlkBDE+01+U3MueWypgCIO3w6vr4NthGdl9mpnyt3A0DrlbZCcLdcTvK2r+Q6Svy6tR
1BUV0gFR+5yoULvvrFZEeT/1t7BM05vM9o4FoAd/za2B8KZMrTCpVvcuVb3hewqgZIniOVVea8sW
r3rrLQ+VU1dfVeyEbhUbedJYaMt31xrdp6SYCzRqLONzXPaLrxbS+rmKHl8brSnFHSJWqBOtinmo
5nXtAqGm0OzARSaRyFVIxW3phvEoTiAJxsxfx06i4i/66qQP0imCtnXUh6kcUbFcxz4ObatszECz
s2yh1TqWzzJ1X9NZ+25QED6aFsw7dc6LJ1NbkESZ1OoweMibQbwyb7N8Mm9EosJPoqpWH20zc/25
T3I7WC39ruiLdGfbck59JdcRx8Gf/t52FxzQgTp0RbVGxTy1aCybBPPzgu3UpNWYh4sZMeuwyCQ9
Aq9tI4+FjcZRtjpZlGpWoVRa46S16n424+I09dN4agztZ1N5W+Nitt7SRQy458nmBqPI0Ez0uD3Y
ldH9MypL8ZrTGT5aLCqGPHD3jMF4GpNMO5To+Jj+qlc/wVQ+zkucVH6qWbS8N9hxyn/YGq2Pz0v+
D26cbgRen4YzGk6mX9v0lyezKg/pMKRhXph3yGxapxUpt0imHhS9olX9jsfGHwvryXKnNcCEovSR
KWpeHBaLzZ7zI6w+N5/ddXjuV6xiF5GvD6IjmMW0wYXajNtCndVf0OuMgcuVNZSucjIPdo6qfgIn
8JVCRX4Q6BvxyHv0/trK+w51xAnLarRPxHQJchUbL85XS0vZu0bmvgjNqA7ObHrRMGclxpQe8L+1
7NQ7rfKGHd3qH7Ebr4dqXaeDY2eDTe7Vaf6gxzkUxllBV0aqpH6KOg+3lZmtNdrgSXUqFHs8aFVb
YClRZ7vci7VDIZrkVkyjGVVNNkWF1NuTWJT4pnPV8lDOk/UE3yGlUxmD+Ko3s6tcGfunocqe1qQD
U2+s6f2SKM3nwZtfFQ0Ac99P80l1xqZFyBo+oS0yYEhtNjlBv1rtPrVTc5+VDaQGtX5S1BXPOKXh
bI5u8pPQ2QAyl/W15i/xIJ+qbmiofsPkPGn6anw2qnl+W4yh/zZDb37r2155zOJ5eXQM8DNS15Sd
yNjSazMUT4ttyNsxWXBYxwXF8p1Rd8PcmYYXgs3mLhuc/m2ScvJhkqoPuYaSFGEl9ZahGFCpKrOX
eKLeQ5kHwThVjush5x54cOoZjVtX3KzdoH5b4Y0Hs95uuAwPT+JhOjnOlB+0uPuNO4tuBb2zyYZp
LVZ51VJonm/kWfLqCL24BYdg48Gj0qyswDIZOqc6oPQ/+tMsv8uhqW4Vc+I2gxJLNZIy905t7exJ
JIq5+kDL5b2BodSndOMd2ZgSRIY+a2FuZ9/mymyCfjLbqJW5gya9YJPUw49ewOUZJqiu8DKdz630
hmOMRIXmq0vu+F0muwjbBu92KFhDf0GnIGG2rh5lSWlz70s7D2TjdWbQcVWxTTcKGSPW3x2okg/C
Fk53Vw6TVe4UmMydzwyMBxVfTV9zV/enmfeSUlahaGaQaY1hhpUw9K+lmsqgGfJC+oUVd/dWkn91
1z5+c3PTzAGqFOV+zVYIvTS6XnKUThHx7Np+F4P6wstprdVj0bv1UzYtyn1PJWvwiXual3KhCx4s
dSksv8gzvThMy2Q9eihm7FvTfkrsMnnQ0H6/z6qs8IGXpMeRcpVELtRWbushLr+V+kQlYMnG8es6
m06Yj66905ykDTMTuY3UokkCkICSeVWL7eWOsz1ZsPumu0Od+rlQu5upS5Jf1egOe2fNEbiewHar
Ec4VsDOmqlpDzVvXtxjt0TeD/TQES5Vox3pKx+/NUKs7ZD7iHQ+xl0RopsaTn7eN/FWKNshxSj1Y
jZkHC8S219lrlcEvGjX19TS2ocYSzI4YWoe1qn5OFEd8SePhdkFl4lmbvPgua+1DzGH9CdNt3Emz
no9pUluhGxcp3OzBjg+rKptfMh/Uxk+SVO6pUeqBZiVrMK9i2rdNJ75CA88CKevqGGclVh/T3Gok
BctjUjeC+TrAezqNe1bWvXajdXhZ+RbUtz3PpxZ41gT/LRm0pYxWlN00THKntDrUurfcTZ47B1Re
te95lQLYWXtNvwOAo0KCqjaVOFyfMMDWRPLQQZsKYUIaQbZhlma5fs3XjfupDVMSrIXl/cw84JFF
nBudn5iLfercRd70MDK2skt1rPQCPetOe+xTCLU69Fy4xphtaTmQPCB0PFNtY+9MKavAtmLThnxZ
AgaKi5hZF2yip1GsdUjk0D8PbSpuu8G0ucXNpvDNGNVa3XTKNyUFNuQX2eZQZKmN/YmUdDpYibtV
WmfXu29lIm6abCnvumF0DzkcR8WfPEuEmrrUL3hqQy4EPzbvcQJSoOxldzVBPs8Qbi//SLOsP+uK
mj4M6YLEbZW31hNke84xjKpdD11iN3HNo7wzo4WjNjl1Cpl2gV0MFtIrXR4uVql+ymy7iBx3zvxp
FdWnVdVLSKSL/tmcO0KMui2jmZTAh8Y9974urfZYeMMQSaEad04Tr9RoTNJp7h8j6uXgaH6jUKLI
0/QGBrIWjFoHJK0yZlz5ILC7t/WaENZWo36jyuq36mjxpxHjsPu4LcTXoV3bF17oLuK2cx9wd5/Z
KJ71YOmp+1y6ffOj0ybiI1W0oWoJeP+OXmd3pVM4b1qWdpHB2xTlljWHxD7TXnWF91otHsEi3C19
jbQma/2mdE5q0nov+dA0uwaW3A7c6YzjI0k9WEBE+F0730QT9EV+F8Jrj2XBJRCOa20VnMjGYUPY
qXxWzPp2LUR8Wy/Tc5rn8rVyzTYwY2G8jlat7qdq9nKEAtv2ZanYu7MTV76uFs2DPU7jE95P3t7M
Yn1Xx+4N7PfuDU2s52Yx48xvRxD0UDkqvzG8/otuUGyaB7sO27j9PsgV2ysFIYpynq1fvCb5N82e
6i/6kFuRICuMmrZetFOxNYM0WIy+liTGCYUJk0fIyR48MILMeCjf9LIXn9sOsYmOtvG+8Ja42Xm1
+OyoRXJyFJ61EAVq8QLtpn6UljPtS7do93NfJD8GqctAjY004DJTWdVcftftqQxU4SS7PlmykyS+
v80kQmTeOhp7SRs+IAroI8B86FNKBqltm1Pbdz/sqatDyK5ZiCBRwkbSDqp0s1scCNfQ6lQ8vmVv
fNZGI38a8Lb5nk/AWxIXmkrLLbBTLC/5KtHU/C3iRbsjzQSqr80/RDY6v9AN/omf5xq0q3fTLnW6
L+zuG7z56SHNSvUnjmXGXel5bdQhNXt07fY2n7sVWm21BkgkpAgWtM6x8jrrn8lc3cGvJcGsL0os
/iDIOO5jbYv8AfCV9dpq6XFoymYPhTw7jWYt6kCCRgeGVcR7yoj4T5mN8jmplx9Njpua0Zblg4EE
dkiNPj5avakH6CV9IjTmVvDKJTDmEovL2awCdHbXEKEP/S32hAYa2uUkI75tWIIHSSo71BAULSpb
i1aSIyw6aLVrLm9NFndNaDky/rx2lXMqSlsLKtt+tG3lmcJ1fa8MVv/Z0hpTCdsMSH7kkLNB6B/q
nqysqXEk3YCnizMTx1CyDxYn015Ietq9TnC8nxRdu22M1vWhO5P/5Xk8HwxD6b/z4mpcQxlan0/q
0A6n2asL4nUZ84P031Oncxd56AmWuGHfDuaCMLdnlk5zshSrfFitdAmr2YDE7JoYvIstGTZra7iR
bpy0vlFrP4bCmvDTGI3ASpMmdHptfck9PcW9rJpvFB63Q4M9Y5iszvyoLRCcDK/No0ZkBvhK8Dwz
GamvO8qdJqpfRmzB0J6l1Ry03CkjexrHG7WwTPAGRImewJ5AHb7FXeahBz4bcYhmabEjoDb30B3L
r125rpGNROlTY0mgMlX5pG504nFEbiU31glBjo5c07Bl1NnxY6m2pgHbTTN2cdMKUDZVBv0/K3Em
J5Uoo1Sr7tuuSb6YptIcFqSWv8zxrCRhb3vz784Rzk+bI6ZEXr8JKJbrM14w42Mxu7zMc+Xc1lWa
3BAEsXOd3BSBp6lIUmR0tWoLATMvq4soW7wT6o5km8pENsx+uMeApn4ABlHcp5PhvehiLk5dkahP
3DglWOJkjDvfg6N/mufR/pWX7a98UpujoeXT3WzxWvkQ8atvUkuqXTVMbsRf01stXYaDM87N87q4
2T62suG1qRVXC2sNsRj8XeN/rLJ/1rQ+e6QAUAbKKJRTBpPYN9GOCZQ5TgPJSbwx9bU9tAQ1B62e
6QuoqR6ZmjJC5F4mvHtRGWsSqr4a/cEjgWvNedC8nZqn9WkFovDcaVqmh6lYnWcbPuVxcswWOJDO
ePnSGrveLLIjttfKTpnAcqk97Q1RtM1b0+j5d7SapwddR7nYz2TxC1kGsqVxme+dwa2P4ErS37Ls
7MdiKzkPJimx4qXd0+T0zz2GkxHvm3gToqVlsjGcgS3oga2ICQRu1X3OOjPfJZneh/pqYg9TOw7v
j0CMc5nLPYc+DZJmne6mZhDf6mwEky2XzrdMUd06U5q+JL00n1GSiIOMt/I+VzzUARCtykK3TLtv
rjlBHChc5Rae4voAcO5+6ckwqIeYCCcU4qUfEKIBWZ4jdxGnz3rVmqcmy+rfEBxQRhDT8ElX0g6z
1to7pV4sj1KkMW16ueIFMzsYspZt3v1K1Nrbx6Nu+16Wtd+0QRlfWtLgLMSXY+iixkodM1LWRct9
HOX+Mb1+wOi66ZRjbXk7hSbRJ7cw65MKSlnhpMYYINdFK4NuXvtwyOz0H43HhCKaqWZP5aiogVGt
FEVmOlbjomf7vjbTk5uifVghTXLjFnX92Pdz96ajzmZNIqctb4DVx9V5F+dv2TLczAK669Sfyq5u
wiXunH2StugtgQ/cVCGeF1G+gKtZ0GWZKNzFeeiMAkUb0mK6Uvg0drH5qVBZzmQRvwlwHk3kavaz
ujKiJsRXq2kEiEdcArpyvks8fd5VW60AtmWGIq+QX/AOmiK51s1+VYvizUnNghConrvHpKm9AMtx
43EyZzswsS3YyHcp9gl1jrBRFx9VzKFJ65bXOVtu22q6KRsvclhgY1VZ8vjFjLmZpeF0kZBGcTBV
vA3E4BU3+XY9CnPobwhShtthal8Sz7tXyvWuQY7nsUIS9iExHN5mzQuKzHuqVb09ZBtbPP3HoD5h
zDFFR2wIh6k7EAUfbQIIdu+612bvkzmLk7QIkSbphUNr3it9tgM+8bUQpUsICyKCugt2FsSudHlv
dYGlgErBcsDqZ5DZfZEZT4TNr4Zavzaz+71zqsLv52pPQPdQaNldoeWHPMnfRNMf7BVNLOIuKl85
VRE8VVU3eZADJ4lYd18tU04/ZflWIjXuLyX1qDGXkdyMr8caFoJsrTJEXN66K1pt/ZJI2d4MZAd7
O8mreznWz1ObHNLUOpmKQbnBee09GZiLY925SvuEGr1EjgqIaIvaQTURwawjKErnHtUcWM6bXqFG
AxQG+8+OC5xU0/wHYwxkE4pNF920HudEC5Cb/4lz5W6V5hTAh703k7rcIUkCJZt3URHIQ86jG679
+NUwKBObpE3RbIrDKtZkXzT5s8dP96u2/94too/yhLnhYoHXtvWQF67lc4d8yjRxnyHWSIEKuyHF
1u9nZTlZ3rihQLUYmaZlgaDl/T+Ozms5ctwKw0+EKuZwS7JzK8fRDWuk0YI5gQTD0/trX3mr7JWl
bhI454/Hdm0fiBP5XE15t0kRG5bs4yYMo9pb7k0XdJQ8bxaM7UEz80c8SNBv+RaNbnUxVE+fiS/b
KM0aQtUy+gIIOMDcYv0ZC0KNqvy0zdN/gYVJp+lj7RRcsG0zJ8s8XzsbiVWQB/cYX/vYreke3thl
trDLIyPdEsIs79Xof3HTl1Ha9LdmLfnUyOJnGEg11quDp2MFZBtMFecdqEtA3SR5ICDIvno1Su9f
yiXhavdhXNMfT66fN7iFvNiGg9lbY4vpKi+Nt0l2blRP5fesvWPhTFdUw4md5u+1ntSxKHDJgEOs
o0B1uUwHUahr75anbpEDO/DySHn4t7/pv8jpGTQ5ZhKMiyruMfInhep+GmdhyGXSjcJgkLQsQy+a
/rhcZqLVDpoNHBvKMMcu0pCtTdvHOazGY52r4o65u/lIm8kgR9To/L1nVNZhtMJtN5ui308in0D5
R/+q/bC/L26AJiTstDMb45tR6S9VxMdpbU6VY8zR/4tMwsB8cPh5cdjI7FBMuB1Sy7wbvOBku/lL
QHzOJuEJHHfektFw/pKD+ZIvmICN8SpSTExtiDQ83WQV+bZOgYs06M0m/GSSi06skaNxy1907n+Y
nb4UvfO72Jsfaat5nxfzM5+M72kZrmng/rOCOSY1hwN9upate1q89H4S7HLDlv1UG0HVmSBjpgDQ
SMfbMzL9mnV2aqoQB/uyq+38sHoUK1re2VDhEBVe9WI3BseZOtdC3PMMe7uuADoN1XHJ+93qjynL
ZCGjSsDV6Kx9NCQqlrwUR/yfuJeAfJXI/4QYeImlWz594dr0vE2PTlXIxK6NP6YD6teJgi+sCsco
990npyr/1X63M5b+WhjbfTGx/m/GqXNcFYFhJE7h/+N06Q9ktn20dn/VQ/POHX6CV3jh8mMKq3A/
9u0rB/B94S+f5WAtVOh5XxS/AYb484WV+dRnAJANxTpkZtVcyu65XUPgieCaDz48yDy989rkwJXZ
y9IFZ3MTKBjLpA7GRz9Xp5YkkpiP7mjqrN95xJnF/lTm+1Rav/nIjiBnc9ppa+ZEMZ+dxTWJE5zn
cylL/eS6Qh4xoo0X0IgKksf+sIbauBQ8z6tVO+/1EODcJKyM+1N+5TyXey3NM7/RpanMD0P0nL/Z
EnPngVyP5TEc1/pqOTW1M154rlT50FXAMcgD/zSqlzR0cNwIt33q5i1NMly0MckuK0cr+pJcNH6y
hYI8pkA/GSbcg+dkeud7vL4bs3xc2621I4aI1msjyOPBNNTexwgQAfUPe4xqmlqFmbfM21iKdXGC
bXve+Iz2BDK6O8vM3oWd3tUO4IJjvfaiqON5JCnOqbbPYBYPRUqJ3ibdh3WZ3ombKxkdZhFRT8yO
q60496z2TPHSFbesdzdV6zUY2yuFUYzLIYGUdjGdTEnJQjCRQcwsN7b+B4E/uI88v02sqmbZDf5N
KyKayQz2Rb4VNNITeYgfG9E/UFoZ2H7Ud1my2ZbPSAmq68/BuZoBN4MmuLPd6rEJjfECWEfGfb3s
tL19Faay+N9lRzd0tt22ZK/K7T/YGA6T11qx77Z3i0jBg4rx4rqdhtk3H3A3jxHWryXi32rjueIw
leI6W+F9lc3LrgxFS/Ie06IeJYjn6J9I41sOlanAzXJMIsHm7ZbVCW/pk09ZmZVxr/w7w6w+hLU2
R2MEmql03iZ5qIKd1/Z0Oir3rhUIgseCzb/zhj1/8Kl0lBnVTf7orWAtaT+ViSk2/+os+luXTcf0
7k87PGPWLugF7hSetkNppH+GSuE0XjRRfWuVYLsUSW5lVtShnI2BY3+7qSr41yUd6Deiyc+1E2sv
OORjOMeDVZxK6ZvX2hjJjxtcdeilz6RXedkL0ZsMIEP5YIsgmYeOV7p8zUQD1g80d9/YS3PwZ/6A
uvTJsVnMCklVaOwGf9hXPhr7obPighyhpGoLbtNqrh6scdQnzxj+qwRtYJ2/UduWcXsbVX9JeQvi
1nHeZNdzjIryI3OZGUnR/LuYBMhvXvosA+B0mwOBmfBxFA0AJyddjrx1t1kwiYOmYVrXSzS16X7r
ORwHr8BgUDaHBgcDih7KOXgBR/Asmldxt7+6vESLSa6LQXJoHWoRe6vzTOPtr8zC6tjozN43q/WL
8mUH84axUjJx9yJPiLjhlfbUqwZHQnPKVFfeuRkLSTUlRJ49DUN6pC6apDen+hJT+LKq/mAs9bnb
FLSxnumpqzcWqrC51Yk8uR17TV/My91kd8ulNRA4sQ4+hrV6s2bVMyDazc6uxfpWzYBYbbdPlX8q
VuVdBvcDbLQAFl12y1AcrPLHaKxTPfVtVNSkrZJrf/JBQWLpejvTRNS/nNp8zC42yEUzWeuzwj13
3XpyZspbouOsIZjYw1CluPmDmswO83BGbOfMjVSErYgbackDQS+cYnn60lgmgdJLC/qh1IDRIs18
j/91cWIja04iGC1yV8t9WndFtNbpeWmHa4G/2N34L/jOwiD9gaCSJNzLT0sUH8M6zUemDqJb2UVH
K78n0WOOZQ7kRKanDvr6EdmEjKuxXB8JfRW7rKGkbkZRdudU8O0CClishMQ2ontjavwLRv7my/Da
Kit8HmujOac1U17dd0Okl9mPmrB7J1P1ZKr0wZ754wfUcElgizlGfuAzkQf/hYSFutL6m4NFMW2A
nYmw2zvbL87t1wAoNlkD63PxjOd8JDxNExLEGHo/BfZhG1rQNhOatvzX2m7cbMaDMb8tuMQwQbeA
usZ1GYwfU3kyysb03Mqcd3I4WPidNK8lFCEQqrbUZdMrxMc/8Jg71+5+FgzSx2wJ3pRGu4hijlKT
ueLDTMtHoVk8zfWpEQyQQ98/rnIp4nDz/q5DJmIsxKCmG98tbRdTGTHXOtxswZLkI/SotSjzUNc1
N+0c1nE9cFi6Unmk0hQ+b2ztb8C5ORuXaf4D5BbHuhLTjwvPgTMLQI3nmKUwb4ydCwe6Gz13Iy2R
DASaAHU8FKOTpNk4EEC7codMKUteY9HzkS8HMuYtXN/VdfLchNTbm4+VXLYaKkTW9WurGa49XjsS
g560aPWOrPM8dlvNbNRbmH2m/LloM4PeeX7L3lQ7Ych301wfuSkfCDY5uCEzTVlNTdy23DFuWB6x
QCXIkr3Iq2WkRfdfJrd7PYY/wczXp60tPUtPPtkNGXKq7R6QiuWRtbr0dmC67nVIumsxJ5Un7+f1
azHFnwYOMGlVz9+YOgLRZI+4TBFhxFj6h02ZPFbV/YFnODddc122iqkoHV5lG3zkrtfGTl68jb79
Rq7R5823SIzdt4TC3k3CeZxufMcaECYJE3Jd5wbeaCJ8NuGanM/Sd/mdjE7GKod5X5W6SBnCHE72
pS438D+7hPT0NSuOd2w1RbwrKyh1g30ixcQmYfv3E9L5HSDoFok2qw/CwpUaQY2Ue8u31YtflT++
RwRya5Tjh+H324nQsTYJg+q/YK5O/dTTEdl4J02lZdyLyT51t0wA5oXslmeF3Nrr3CsaXvng08L9
RKr7+mqu4z1hlkbc2CVLKmizwGMcrzckKl3Ta1r2Dv02E7MJAg3RdCQkGf/J3G5+jaxOf81CdDEd
P9ZFGaqESur6PXMZD/7KdgI+CB8+t1nSmco5iNpCB+0t4qJhTwqTaigd5u0V67R9JQIHlJNuWz9a
N48O+UFkicvkz2RaTcFMcKZyyepUVEv1pV7vpsFG+Zy+Ctai2Gm1/WGWhn+X5rN16JRvxZUOSYjW
jj40gxE+qIpohUiUCzjxCM3/q3mtTo7sz0axTa+Z6z9M7KXvrXQHO6JB3IjCBvKswjrkxd6U08k0
9t6hdKCzXW00kcKYdMpTcqkjQ27N0Qbx4zd0znjAa/XOyfi5VA6ctfKC/UL8dQU9Zju38aerHknt
ejBq6UQ3gcGF9RMC0/M3CG1lQzfSBxWDTQfwPcUQ7PS4Ak0btfky2UrcCzml8QASFNtY4L67mg/P
lFz2u5IojzQKdaoPWbC6iNu36nmbPaiphmLQZeSZc6u6femJU8ztG5xWtr5ZJ6a3+JfWS4nFFovP
189x7qbEHIx27T4DNBbAvLl3v1GBeRdSm5oMZlC8tmsVPCvLu7cybzt1k1Nc12C5saDKLFkJAv0o
lTMct6nZ7oJxCz6dZmWo8NZtIrt1aT5a4g0SP8esNcvVS3d+MT7wBW6PChwKWfksgZL84NygI9+b
QhBgzTEeVSCrZ1uuDdARIgL+ZCTZkC7lrzOa+ke7VfUyDhtsQchIsJDd/Lrk/z+JXWhmbV7KknAW
cpO7P/TO2a9yMYd3ZFnTd13BWq81ERxkwU8IVKzOTrZZ1bzZmRP7Zp++KNOgyLE033PhtKdimFq+
R9M+dDPDUiWN8iUzrPWVh5H4PH7zKLNz/RH4MzUNRLOxDUprJLd3HCsXiqR+KUIeHnOhZWxGFnap
VxNQm7v43eetrSq4pKLqLYYFVZ3xkRMK4Tqcf5Umi8MIi32d5RcKse0LvJ594QjhGqMCZxfW23+y
cDVUlihAeLcUpUY4GUh8B2veyHz0Mkyb5OtlKp/jrKv1i7Z8/ZDTLn93q+TZzcNWXGULx3XwTPyk
t9hhqpthEpxTkHqaf7RlBzEk62yLOm/1zyBrdryaZn8kZa/c14MIvkKIthc1qPLoqyk4hXVpxnNb
+7FoVP5r2zkCqm62QHWzbJ3eZAmSwM5JxbaV6wjEeuWM1SaOXT4pX+d828Ey9XG9MHg3Pachcd61
+mdbun8Nlbciyu58fhr6Ax37DRI0KqDW/WymNf4Q/hBs6Y65cYczvjwUa0Gqblfwq3Fupgn5n9au
VFmgknK1zP/8pWx84gE99TVhjvsrx62+moNWUCvwRnQWlv+mQQGvVUp+CFamIzFDoF5bZ8nI1lZx
oBZniknHLy9pQ9vKluriXWbejZaxpAdu56G/brMWTWWlgz2xSGM8N+6TIlnyniTfPjY8AKh0I8pX
TD1RSUzLZWSn4BJpKO9HMyvu4WOZC7db+P/qWY/0lTWfpgv4cJzSOaRte1b6YVqn6hU/BkzSZE6a
N4y04L3Zu1UeBX5h3nnBPD/4FD/ce1axB5l3rspPiWXuyiLmS/w3Icu8gou13xzqs/shBvcHAftj
Skp8VFt0m/bNtiR6Mqu4m6Yt0Wt92VZfRyTlIeUcoFG5Bv7AdywxcSpr0jRz/1B7s/u3TdcqUqHO
E9MPtoNjF6fFmZrDgvhMiCy4b/rhR9ukXBQzqhkjYCRYkW2Q/9+wd1tE0AddnScszCF8OLBHty5E
8qBPe89Ma3ooUDJ8MkqlqB2C9jSON7Wizyrgtq68U7Csfe8bGux4C95W189MtBE5d8rk9QCAlrTv
wpXvCkyeTuCW0HVQ+PJaBWm6o3PAuXiNrna8Kyvq3VLfI3jwwE+1xR+JAGssgYQlfxrBhuEbwVvj
2Wv19yIpMWRDNSW0jwiRINnK2Fehz6PSsFnBCGs+y2o7aeQLPUqzddh54yBjvyW0C16tTKqZc4l8
+/ytdvUUWXVG4GMwClQlBYkGI5F5wMDTufaz8mAIGGI0oeP70g8B4xLqzjWiF6g+lLVxZRTQsTYW
5oGlLYiMTvcB32nMMx71LiO5bbC4BxxGCDCXBiZKKfvTzKcnlelmVyOKBpXDcEy13bhbDae+Yyrj
NGvMbRcwGB1TopC2sir+rzQyExtZ7yWY7G+zF/YDzRHBZ7WsBBF4zkJnVjX3/9FEHpzXHMYjDDNy
sQfIPbfwWAda/6mTVf0Men1ft0yRO+U2JB6660VugNOjVz5VBSIzrp6VPqJJ8SDIQvoqdgVSbK2s
YG8HvoxCr6hPqhPNgyLb8C4wiAVSQfGQlo39gtC/JCOhoLWZKi0HbKKBqqDJuUI3deN3tswcE/oz
+6vNx5GhYMzmgjfE4F8DMm3joOMpMQEnEttEZYGcerafuTLNPOLGg47tVn3xmUJekEg1aOX0SJqs
mhiTA0JRh/qVu2R8h+kyzpw8OYu4aXPuYnmO66o4m4wzfxRdmWvTW4dC8xxPQZMiiHXeLF67p87S
L1YzIH5f2vYUmkQL59b00/PQ5KqbHhHrV3suG/vGqZHdseqRFoPim7v3g8aPMqLVixATq9rlBqfG
XK5qH5brCgbUicOU8sqOpbnumQiL2yAj90ZlPKqykpc27Kxz0UDs+3mRJ9tCrlVHmHo0hOQcbdCp
sRSh4nJbaYAwCUA/wLhf6647E4u0HIwxvWVazcRfFalzqhCtTVFRaTNI2k3JMEonPTOo0kSaYQFJ
JkPq+24J7ybNTwEaPq+G/OENo+OtJtqKEuGLu41dzLid7ZiICSLWi9jzT2YVER1inGBbq7e0rb7Z
4+zHzRNm5OlwffLrYrkf2rrahVPNsDIjjy+a27ZecckPRW68jnIZZNJtBJcW/fgcZptFB0khTsaa
/XoDZeuKaSpeQg9aEaX6feuDnaVMnotc1oj41uVcGoDCRAzO/699P1j+WNzJsl/R4yoOFT8nJ8vP
9He/1dW5arcNLd5m/5lxdCnExIV6IsiQWruM96aDYN9X6M8ilB8mFJzbPbnobWUMQP+PmgFGUGx8
MJOuyli7RHkJSQI58bM2mA7foh0GKIlm1DGpvcI/uhmSIlKEQcN5lE9MNESd5NBImiEDVLQ4zV6e
JjyZDEvDgBI+TJ+N0Oz36YYSvehqP1p0vhwNozQQlUGqdX5vw6m3LMWGXYiYKXohUCnoD6WovrKB
8aMUq7EjjmvhWcvH/c3VdB1XzOq7FSzgppIZOGddjZwTWLcbswaweOtCnsUMJy2XSK/b98715rh3
FxnNrcu4m+FBX1LqQSLdtf53OpBv62XqQvcOTS1u/Tu5oOHmuPQkggXflPv2vHQT53TQ0fuFATtN
fHjwfrOIiCF2342snPVRpf2DiYdmP3RNcd/lBYBoa7VP5QAT5s6y3VnLREnu5h89Z/SSXgXdHYNA
duJKuaUf1cxD5vSoG/WcbvlH6qDpQPiP0EK6i71rw6q7FFsXPHW2wcquwpAEhDFPQuX/Bjxg54Xw
kaQcb+dt1fQ/hH1nl3DywBkaHAMlGJODlcSxpx3My8UZi99AkkfsdN00RtIyl52DCjUxi9Lb++1w
kWLr4nILiR6EPGMAKkD36ttBQUlYv9rV3Y0zSdZxMa8m/VWIGUUf46dm+1PjFyeP+QiGPEbDMPLW
p1nnx8hDkSn02jsgxAMO71b5yTskdhwJBFp5RQb8pw+BmXZIGtw6XnLxpDv6SK2URLzBN1+ZhYN9
hwDhnf4owMis8Y+i5g9pcvtPFoSZinw4x2PphThHg8ryKGSDG9mKtrhzBb3C4SCuUxlyR5p13tzX
c9h8bHxDftw1DcX2Q1CFj5KnMkHTDLfUmP0OQ5tMdJilX5gWwoeZFlUOMizqn8Lyw53VcY7JHrlw
YvW06KCDzyMkli7lDvlv6QoN6J2WO8KaWe2nrP4E4O1OI0s0/U/cJGnmriciibxHJEhiJ2TeHAIr
LK5+Ph91n/2sM3tW7a3l14glCHTfcuCEt9SJ/l9lySRRNYwsXfDekqcMTOdXzdXqhv6AiG09EIp5
6Ac0CwKK/m8lnekyti4gZ9B/SPMGbHS5/Q52XuwWvLc7Aap8pXto5ekZ5ONSltsv9ojUTsatJLYB
BPwJfYD1BZ+IX9Zq3krTXplFO+tYO/MUI3d2ktlWtEbb1j93csyHuQHxiIbGaD8dvGCRkRttMk0l
Ql9R5vOj5kg8TZnRxNY2O6eWpvTfHo6fRA+ZH9OpyC+ts/b7oBXtnvtY/KzUTbBND5AZQW3tS6NO
YO/MD1eIZ3807CMNGfWJ02w9Zj0CVTniMNEKiTMyhuqLigaosbQeuqOphr05uWk0I/JLXAoAsmGp
IqsV458Ftf5rdaOpzUzqJ4FY855LV/3q3PCOnT1SBDQY/xgDt28e/2lvEshwcqdwohzQqdpnxjj2
Qb0Ed8Kv++1g3/zFYSFvlhgpLwzsyklWT26X2ZfWfmjkfEm3FByNFtUfRxSj+cDg79GoaPSKW6sK
Yskg8dC2IqV/aKJ7eebLHFPTPgY+WI1oboLrDPxvUPjT2ZrzNbFA7mJVIyvZCuJ6481U83VEYVjH
WTh67x1C/veVU9KLWJCfWrJxkioY7FjZXXdsxpofQdnkA//kvuvaWBK7y8kSQFfEiDBCRo7zNn8x
2lrJDRqBTunpdXVp02pSchY3qGZATv0bLmICd4KSGKf5A2BnQZI0/nRmiaOhqdE0VW6mkRhqpHQO
Cdr3uN5RAvoGbQxrix4v7Z4MHpTIL+uvLeVcZ+w8ZaGwg33WouxZ+d0jtx7061zN+U8pJs7HBW6D
sIVD2KzpcVmYlcyBsMVVNjsEmPVT3qMCWjTCnKCl5ggFY0JJ0HR2MKSRARiOX0Y4f5iKlKpUg0Zn
BJgnRtinZ+7fn9TKINKdoDqyR1BPitAPaR6BjhK61jPlEJE275xylXdXgEdvX4Ydhr/Va2Jp2NdF
Q0YO9FLEOYE+0bAhH9WeBGaUNkwnmaFTxCMSvs1uc7Eq4rlqkQkuFfZ9fFjuk5hqlDEif86ssnqH
kt4tRRDuKrszwHbsdsf3jL5KDaBlvcKAgAniIWByOQV1l+Pn4NcM9fQhEOqRn8M4UqXeHzhuZ5+3
wr5Hcdi+wE8ysbhO+WxTifnu5PInWEznm+OF0Uaru37x3QMmu9fOICVKpTXdYprFIa9JdylzE9mK
v4VuVMw8uWQ4tLuxM06jZaxHBpqzTYxK4mfskVWuesrUPKwori9e28C72CsapqCdnUdvw3tEuKaN
gzS1krYUj52//mPjgPsIgw0Cx59jZ8Y65JZeBuvlij+Mmu1/vSOmi3Q6WGpvqxHoD1OAGDJkuYws
8umIjiCP85q5avikWq5lxLh1w1Wzaz7qokZ7i8OYG8asLn1vGoh32GocZbw5eab/gGtmkZMN2YHk
6nxH1RvmgR7Wcm4CFfukwX5km9ieMh06L42pyD2loO1IkfVwtwbd9jMUVNAjfrOjCYsGu/WwJO2S
ZaRHucZpSR1wDluR8rcpYaWxaOv2vg3Kiy6RF7flIMGYjfamEMVpivVDRbWfv5OeSlb2MqkaAmtb
z2M7+O/I0mCgDKwAqxXi+xplHbsWJ0Lobsanf/OB0KQqH52Bj3nLjT3QXQcBue5yyxhP08a+jVyN
vFU5s5Jwxz5WIOG4XJ38KMsbQKg5kEkaqas4vSnOM7QGT2Zr8luqwq8BVHrQ85EQ6USUcBhlGk6n
hQcF1fb4SWDrn3z2zOd0aM7IZjSlG0RwtyXCYebvUx+OH/jSbhpp07nOSMCnpbN/szArf9NWL/FQ
dzVDW9u2sZ+FvoyLwa1v0RUre5opFxaImQeNnevSd5UDVqdd/1cuOREs7BcE+dvmAdtsf071Vv1n
L4H8LXxkBwUJUBYkN7PW3m06dDseo6caO7HPC+0fhtUnlLGDtfRpWlw1gQtGA1GaqtaA5Bs8SHOr
Kq42pPcxD9f2UUhL8+BwuUiFCYUUGvNg3bavpgC+1QMnXTZVGax0WDmHoS/G06Dc8Gzejj45wd4Y
Y8tFDSGaCXQqNi2A+W7qhvVPPth2AZY0YUspZfZaNpUyE7Neh7ttKFj6rT70o62U4R3dfP6VcdnY
B5t+Cxxk91tQtif2uPqdbAR0LSM31X+FSFlEGy7kaBQewomNsj0QIy+ywNl3U+26MloG5imjyIev
gTqvix7QOqAoU4dsqIc7QXcvt9LKNOsG2JoUolKMZ7e4Ivd2sPrircPO9BY2BUz26NKI5eSwIrxz
OW+U68Y8szBPoTvdt243XCbA96PSFSQWv6dzSVFy7tzRw8NSz2ms1qp+Y4nKvzdEn9ztQXnsDX72
okV2RdA54nFE0opyRCaZ9I/tjQEmUqrbb/aAhODWYTNW7SPKfhTHnIw7QxgXz8ofe18g5MvwgsoM
9kQrWJ5oQEjF3TB3y1PTZPlwnpcle2w7bksxjBkOUq9+teypuRS0zsS+3xentR96htgADdUKUlWg
mmuOs1PY9zIkfbWeIUDEgM/LCirjks3EnDExlTtexODPtjoZ7L0MZBI0vbsDjnIOBCuvEQiXdZw6
1qjQh4q3soyY42UM/pWAEZFXpeOh8Bh1Wq/OGnL7OXGkm4UHBgGuXGErVjeemJCjnDtmAsVsujH8
W/R+vK1zB2KLaU+ManiqMECft24pT3rtt0ttpj6C7c7Y0bO+vGxqMA6V7771Iykv2Zzjw24K702h
rzzPYTgfC1VTOQknt6AJjy0MKMnY2li4rL/CLJ4KZlVW3XA593iUo3yu3ympzPdKqJC9Y2IMQhNc
n6cGuP2Wm43fl63i0VZB/uBJ9bfzIRdVYcHBTSRuGz77Abd5jkq1RVdr2w6nvUDD7ejJfgit0YbL
HUuGma5qv0B2GGjzG6RXVOYfeupc+kUtSd0vgPzODor1eeV0u81ehH1NGTqazmqxydQ4+8Dj0xeT
9D5Mv6P3d+gNSJ2wyIOHCsE+SkXne1tvfpB0QM2En3Zz637XuxhuUI+fykXXGJxMlv2bgBiJcQ9x
4HbLzBwx4Io7BxiKkmpdNjQD9mqdu6lBIaGxfzv8YD/Kgvoma4MlPyF9sJ+WCX0GD38eC9G4/0q/
FlFO+MgeP7JzMtzSvtPEwJ0HbyMpZLBh9ctsKa/YbGCfxyCcroUI+EDXUUNoDqq5D0bTeWDB4hMM
6MXbhwBfr33qhZ+lNuR/I0/ntewt5ujGdwlfzRFjZN6AEVVoKAnXNa9Eed9tM9KKMPhi3p2fbRDh
CGfN9gbnbzITZng9GmH0T4Suj79y1tMBWXX+YZitOLk+pYjbnD12Zg43ZXdbs5ubrttjysg+Ndg0
DppggV9OsZD8x+Yd3mlyyPt9H/CL71oZzHca19MOVwY52d5kPeH9y220rN62HTIG0hPtfxhFU53f
7Fcdlk7DGqh2dYG2bfHlW255duoSf6/ahn3RDvih6s25t8vZ2m0Ur+6FrHpCG3xkM+bA19i0BhIp
+qqtiChZ477JJgmKISsAuQA1rUTrdLOiQ8RtPxSn6eNE+6OIvFGg9Voyd0M74wvvkAaiVLHmP+76
yWpiU/YrTKF5ArWCBVyRwHWpdBJP5tuX6ur1qVicMdZKgjCt9HGvYcasutA6YUmKJgfHttL7cGqH
1wzxanhwvZPfZV0QDwhLDhkVCJcmVSzXurXr535Cvea1hrGXg64O1sQW5ZWSCcEKMhzaBhoRE2Qh
yddyAEv2GBVta6o/S48EXkPaiLY6vBzhhE+NRi9uFm8oSEMK2p+uafW5QMn3OBOOwfMl9UNWsCn0
s+fugdy+Nz7FPVHWaL6pvzigkTLu5DIZD8CT3sFqqpS0m5uzMfdq6x5+Y/70BegEAsKZwAhu6gZR
3l+7pdOXRoRZRV5jNXzqZUi2QIbsZW91RcsnmFt4FTrpxnM/VO8prY3DqYOr/gll5n/bjlZ50lkT
+tImL+4KZ9ue581GL0khcvEWyrC+8DXzfwDt672zFQ+vlkrxJQKCf/yPtDPrjVtH1/UvEiBKFCXd
1lzlssuzndwIiZ1onmf9+v0oBzidlA0Xeu++WOjuZJkWRZEf3+8dRqUrePQFRFQJaE2cM4yfCdz+
pfPs6j7JaJ/BxKR75UbJ9WAWyDihDed3Q8WjlzoEzcjLkvsOh/Bd1MLFJ3Na7FXakl9cElWM8MfA
mWsKfnM/pCGfObd2UnVHvXAUErW4zm848XSA09LH0LzAdgGR7JWtwNGQxGpr3+7UA1zqlnPaClZw
pV91M1c7PXLaXecE4O+8o6MpeggvsVVBOABMdkYz3WtN7i5svO6WCeXuMiqRL0oCqFZFNzMXZiKD
o0U48ifZWztGnAQ5OCw47o/QHYpNwtm4GAtY8YkPr6/GZ3HnRCkcB2K9gjx3wHI8hASaiA+WzmUX
bWJ2Y1gaCQJOld+MIGzFEnTH3SYTKU3Q81k7eek8m1X5nKsmGBd9gxumlsF2qkvuEPB461fg8eQ1
p2lJyeIH4Zt0ovzN7IC7tljYWvytxnFuBsfsnkY9uCN7CKE+dR2Owy3CfW6lcqYxVhM0ZDKG48yg
Em8k3gR5jnwx1MZdNWHJH4YGcUTD1NnrtkzaJxKg9z6HLP0U/2nEZH5VDdwNC0FFrdDWzWK6etUr
M17TXszk0q8aa1PkYyWWEpr1zxhV9LXqq99d1L81XsP/7UTkrXOyrfQJGwrSe7SVKmFRRgG3kdoW
2jbE1BRFI++nmYJf6LHRzuYN7h4QbxoFLgrLrMQd23KwlB78JDxNAVClT8DHDx1waGsmxfSaDfmP
euJUTzJP/Nb6xKMu5p4Bnz3cGZrxMPCt1MIB8Est+5gGBXoglSFmQA69kiXeJ2aaQDYJfALHI7pa
hiVCyue25OKopzAX41CKQ62XGYeSbZAcwa3tB2L9dqF6rhulAfDgYEW+9OM2oB9sE1bpjPoWr5On
vpXDCrF/dWtW4tjCe1wEaQ3BLs9Ra8Cw7PBgscYllIvmNCFXX/PH09bOtNzjXKmzpwRTDXBvzv+s
yqZne9SHOwdzn1u9S+5tbt3LMifTOsYdc8+H1q7jqMuWY+XiqB8jNDDzCWKZP03BvZtZnC25TH5w
RBrbtp/CvR3ZAqGjX55qyOYuRCwa2blHLBCq+B52V6bjBrzscrhVQVHcB4HWbeF5oHIBtBqWRlQV
WyowiISmGJZmYmSboDDqrWrTBzvKxpsocUl/p4zW19Sl1I1G/0LKjvME09G9Hl0BTXrKU8JEhuzW
qaKfjei7E7BqeiVr6a3Los4pkWWwnX3zrqIAwwwn1MOlwzV5gcIIQXLA8dJXAzIhD2ZpsAB9qO5T
C2pJERn4sWK5yzSl6SlMgtigladlP4e2InC9QnIvmo4ywnbyX40nSw+qH1dcOAAaHzR0FWLjB1cc
jMHR1r0qBMrGrEAmNJSO9Vu1VfiICmFGnkfrNfKiYoFcq90DoXNJF4n11AcakI0MgslelqNuAXaP
1b7FGz01HHcZ9eqlaGEv+SSE0TimE40wpKe4GYZ+43IXHSxP3OWVCOnsWwkvwW7wYHJaw1im8DhR
6uT+Lk+sH4GZDMsWGvh1qJnvxPdaz2lZBeuhbzHB4np1smJX0s1IIF/m3XMGELTunD6FUOjUVzK2
xoPvFMPKy8YGmjMUGEJln7kC1rdsAW9hqOJTjOvO76gevWfMvvIfysueB2gkgHQeFzWFmr0xbPqG
9Nm3TTssTNPIV/poLOOeCxP8eJQZlncLDx0jTXofXLmSfOkbMbdcbH/eSHqC8+fBhfGtDtimCdd2
D4cKvG5aNPPpo0hEXHuFCyLi5E+FcIxd3bd3JSjhGp+O7DZWOSxz9HWbgn7LDK8K6pIKLkqjwmSn
V/iDVG7znOW9+dOCcLaFNY/uy4XXmvGPn+QURjvaPc9Bh6ix5tDI0vioJqunzBX14wzhHvTKdHcR
TYMD+5naRIS0b1JoHns8YKo95FlAA8+kB03Psngh2kzflVosNwG1yVpEBdrK7g4IArAxQbNS5jNs
WeTgMVrBOyilrU6iHMM1yMyECK9CNTTAnNA7rd+HZZOgYBhRU1kSovEkWzaxHHH9IqvaQx55NcYr
Mn0ruEourbFxnqahsW+TUNPhWKr2JsQUZBUUEHYd8nJXyMK867GRu7hoFHYwuAFtaVbwHfArLlv6
t/F67FtuRBAH9KeutocHlVEJL2Q+v9NuKE8x+pHTpOcHkiAF6AhXHn6qTvZuka3AB7LXrvHMhVtA
kW2GsbqRWAcs8eWtH11sjzCsaC1QQH/4RpkYrkULRNw3cfSLm/B9qHrkHoB8V1MA8XlRBNjlSBNi
hhvK343U4eoL+JptGoB8QO87DCUdFZqWT05Sw/Wiv7QY7KK7xhjBOgVF2d6bkPpW6CjCbeaYN8Yk
gzsQXc52Gr3WupeFdWPFqbMnBIgCcYKtkXt+v8qrditsrEo1j5qc3M16R7QPHFKijZY2FexSKDSf
TZjTFQfFXvsa0+xptVjCA9DXfo9RixaawdrWJS/Mw6auTWT/KCN2bFebLJp3szlG4Do3vqlZr2Vl
RWurTvDdZyHMuU6d/tIWlMM3IXXYS+jbFOeCFGip3qikzVXtVeDEE28ReRbkgLjkBhAVPxRE+xMV
Y3fw8PxCnVj8LlBlo3jXZlIJn3UBUCMj7mRW3DxmnWEF0MtzRK+eTniFH5ZPg7Linefa5kMK9ZRy
vq0ONZ3gCc2/w31PouAdqYIHBPxgTOjaM63fCkG+emY42bAACuywN4wH63XKbWDhii7I24TSELmI
KClpKxO1hsn+YeNl04nfUcMV9Y+/ROm27X3r9sOPNB/0hzKqQ+5mtY5p7VggeF0YOHc9FAbch6i2
xxcj6Wx0yohF68S8SXF0A2JM7vIEb3UnBaUpHWKoItyy7stUnx5MTEc2JC+Em9DHsZD2WiOuM+il
J9h89gLz2GalmSinhg6zm0hLH0NOmo42LEDbYtIa9W0SZYukPzDjJzUF5lXXpbY1e3HlwZr8p2BY
ZFEEMxoHnuyaegGhDDWdT8/55PcmrFk4QdsJiw/0JmijapHj+xdyljb0L3YpAOXSbdrXvLRxAgIl
0DAro4fXZiJ7CyAMPYetV78kNAp3ySh87oQjt4De7W9FhAxPyJGeVh1VN4hj2q2c8Dvp2zr/3lm6
fW87fc5jdqpaJracz8W6Phha3KA0w8XoKCGXXql2LK5Mz9C2+H0Ze5qGM4lRzCTpMsg2bdpmvzxL
j94aX4Vi4yRacKV03TuUkEBXUvfeg7xSOwIlDf5eQDs7afIdwY80HHTTS1e9qG4DRIM/+Lh9oMky
X9PYqtbTzLMl3qLV5nPaDwmt1z1I/Rokv1049zSN0VZ77jEGvs25R32FSvJORXpBkkxHIEoOsAA3
BFSAUkyLwkWXhPq3CsPSnSi0BxT8/Ua4ebQiUcvNF2NcdHs84tqNN3TxSZq2yfeAO+dNXVTGVTOZ
9Lw7j3rGqdHfOZn8WSfyurPj33RMkdsqBI561AU3qVn/EtowPJn8uEdBZ+gW4LkbiTkdr4AsbUBS
RLFXje+0Vx6tlFv6Z2KdRyLZFZqPnjtpIoHGsC7db6UrgqsuNbg1jA7Xnh57ISyaMpwfCNtNzVZ+
H2BUIqymPHwvhOjuYLQnN6agA8f0zRpGxBGOkiFuD7V8dDLaDBS83ab3mvFZo8QjR264isO0LHdZ
UqUb/ArD+6YV2Q6DTzh1ysgcbH6CAVE6/ciVqMfgraka71fuzbIXE6bGYjDErghD+3nAzeKev+Lt
3KkhpkfQULwzdFvuyo4GmnJD/dTBYMuWEhDWo3Uzkm/FFt7CPDFS68kWg/MypiCzCdyAbJdAdH3E
0xGbavS92btdh9q2VlRJcAJ+Jrn+LvXOfKswQj55pPPeWEU97r1yhrhME9IGhLw6hLU58KXDcmTL
A/Iv0xSfIztB/RH7eEEVA/X5CqYIDkZNM6AGrTWRbfDVQtZdFkD6V5irAJtoeuZs5taoiToK3nlT
JBiTC8qrJbcB7akLRLADBCiwhbMg5WDVOXeS07VKi3ZH7HIPTzyMkmbfuch8bsNSuu8SBbMEG6iL
aGvW+Dwu6KEjocuqovuWC019B8XCMqhwcVn27Mk8OmZrbpuq8AUtJkyhULg6HDiV8Yo7tncrU8E1
ZvCvLT+ewE7gzimzGXZ4a8fsdZrmP7od1ZwoBvFg55AnhlkzVDiWhjQVe01Hq3vkBN6poRm97Rvf
e6+yzv9Vi3SPKGs64GYDlcAj1JTQ1gDWsVN7SLXonK6LHoojBjBptsMpSEULjADe64meK30n0GoN
M2yCTIJ1qoXuFrfA57Rp2AuSdli15B2/6BjvXYt2CpFENvahzjNMTdi/t+kUPnHJnIX21cycHO1r
v8KmzO1d++RmBh3I3j1IPxCIqxIPTU2B6qQN7Hnni4/48BSPfdYG93THaCooJ12FU6ujDSiSayuu
IyYoA5tsajtYV1HtvTnYWe50vPb2tJ+KZa+b7Y72Hn6khqG+6ZEHUzuukPSlU3yHfWC990Va3+up
m75kCiohQVYQFPAX+WZ2TbeTdJHfRxQ4h6F19IXdDtiyJhwOKz+IjEVJf5rUzMjlUMMbBJfUlwF9
jyY4w80YDFjZY75C/o8BehFqT4K23BFi9iklNveq0+VjG1b+CbMQ+7qVKXZJHvD6Qs3yjnhMolPB
wr/zHCN9YYBHV2JxUhWIJqj8xnshLPXEV/eAQzzBY1l3b8VTezWMhv06dhOrHX0FkqTSgvkH0iy+
R8MwrGiFJ/dWhNx4yTW0RkU8Sgs7L8wt6hqbsMjSgw3RSWIDUfClxTrrNYi5JCQYu8B8xHcjT7KH
MTDNfRQYM6848ATS8vAOUkPAhVhpm0Y6RB6NWqpWg1HeZ6Xn3eZSGZtSIJUDLrUP0oJmJpQebvsI
h4OkND2I0HDS2MAsvHnaR3JWHJCFsH/VhgiwroW4DeO2qOuf8DnoX0dGJR9FJe1qMWKvlWJj7stv
eHSpYxXMct8ChjY3HzDdlC56lMmNYjmb6MkcRG4DZlnjU8RWumn0HqGP2aXZbYoA5xaCR3TXoQfZ
VBErpUrCbj9aKoQdDNG22fTYvVSLqdGbdVn5UHujNAbIt4wSe+M/PNEo6X9oJt5ZQM77OhS9vs4b
Df9VWBzdTTG209af8hcooNo+96xkN5lTfRgb3+Ja3Vsn9h99hflUv7a7xliBONbLJOwdGgdjq75H
6Cg2eFWKrRMTO7U0q4lueRybwZ6W6VU6AaPDUuOb14lm1nvdO1I2ecchZePTbHAyJ3WXfaHv+rpO
sfcklypPhf8ylXICi5HRTjU+Lv6IPKEzhNpjOJXlY0XnN6BVMCKoJ/M8WWDH/MtR5N3lQaO/4Sqj
raLWjV6blBhOO7TiX4Yp6S5Ahm+eRo078QIftEJQgdbeIYsxqZhGlWzsItmlrYNdnzuWtOMMTOpr
KA8cmqO89dn4HjwfxHtpCUoVZQM/wGrP8QuMzLpZVWlfwMUuce8qykqs/cKUTNwY7fnTtdLGlAIL
HIm+mhNGfBh0bQ4EHY7fgyG393RukUpoTSsXiU8TNwXnePfqIbqx6H8eB5g/11JqyXvSz3ACM/7d
L2ifYmTKFURqo7xGWylf0NUqepCm7T0ZXj6yaZM5BscGozzIqbNefoCBlsXeXRv24lj3ZTnT/Ez8
qRIgAexxOmc4jtqA05ruq6e0QqCOnUWAS5AjY85jc2rvOJTxJhDWrLgccIx/Q7ncP2VDikyxT0Nb
LIQNjp26EZToqHflz8g2UGD6U/xDNpN1pJsVIUysgkNXSHPXV0GNdVIAXNpkVUOefCnN7z2c3W+g
6d7W0oZq6XH830QjROWlE6IeNedbaGdAq/W79CnShaQ0GyOca8JHCA7uBh03GoBuxv5saBt7cowG
GNruWO8pvBDLeAbiLpPTz8dRCHVzmiVHzULGb8SqHJbB5I1PetBxFPtObq/7Ad8yGpb9kh5f8Zz4
BcrrjFb6XWvbsYWnjBfd5tR88PHQG+ogO+j9unDHFy9ZgJCXtvUYljDzXY6rOMIZEy8C3LOzMJ7e
jbHgd2pjNiFuB8PKbrG0WWvWYD3i+PkWwhFapREdCdTz7mOYleYNHdXQWhSICpEA1Fb/5DqUL64z
xrg75LOtKHacBSKmzJkR4RsZxnDP6mxjtlGEEiMkOy01wFA52gglrNCE5bN6MvyJ51N/zekO3xo6
SLWzkow9zhgwAWv9vNhGtd+/Wxgw0iIGZAfLFg0wT1QkvxwPoKHxygprRz68PW6fqCDBr2gSOG63
rA2sQtAO00Yp0QgMKZ7voiy+EaXAz9FZ2BG8Unj4/TIM8L4LQrILF4NlQo9TNUR9PzDcWzV2wQGS
wrjjm6xXqc0eonEs37dTilEythBb0y/phFKcPeKmQ0sLLiy0yMaMolXv5OGxo2u8smj+RxTYk4PE
p7Q3fdbY4aYdjW+9j4IZC2QHOhqK56SumhsU6cZ1outPUaGKXW+L4FSVnc6/ykjp0Gdo6BtpbsFQ
qoOyNONdtxV9aCWC+nlqR0wvklLbwnTVH5RZ9g9alRQPCS4gD9wOvO8eNcw3en3Y7ZpD9+h0ZBMb
1AGLQKPuBtkYZo4x4nTR5nQgxlxskSxBNuHef53Zg3YzDpCSF0C84OJiktuxHf2tXg/9yYcjx25G
PuWPIHbwjWuzFRQvbEe8qNt1QxbEC0yX9dOU1bhbB/mwQN8lT2Vdjcc4zK7axLOX0DLqJaxsfzPx
qLAjWui7jQU3J1Y9JSleA8duLkEM2uCPFSSnPdoRtS3dcDjq+OxYXEqwvguS2H71ek/f0dW3cWT0
SXjxG+QZCAfugma81mq0AXjoNYgGvVdbyWcFYnE/BsX3sUPWTsOk2zd1hiqNlEtwV5zNNtg9wHTS
lPboAA+80pHGgoerO4WGJw8+LiIrloVYBiGFXTvIA9Y0dxw7oF+1yeXcbWZncC2lsTTX4LGgjV8J
nAOMIKRwccvuXtcmbO9GPqp9aNIPmfommR1wNy3ARkd8gY+rdIswK0yrNAfK8ZzvhVfeOyWm/MU0
ZtiyAUcuWLZP9shiKLNyEVctE2Gcyn4Yt1OGMY6SxiLsJmOR1La+N9LsLSz84cj1iOy5hGOctKXk
1MWStrSjxgoWhD8OJ7vCc8tM6/C+HIwfTPXs2JXHO+zTM4NudAliP3kuhiU2iq6FKhz/ZzqZDyEX
RHZAiBOabdsooB2/+WFzCu6T1vV/tY37rZC1i0oMVBZt+ey/pKDxLOB2lzcl6eMAs+D73RRpt47K
1RY7QlQUeNsd+xwActEjL1yjNSKtKBvMW26TkAMGHzNrK51ufKBmXLzHVZF6Hf3jIL/P4W1gTDv7
giZjgXYX1RvdnGLb5ZxJlj3yr0KswBp8tPtrAe9tA1khWlMlYvWfVpHzbGHA+RhqTbapyhCB9axg
wQ1kETWdueHe7r5ZSRAdoeFhwBrTTddzI3imaCyWngMZ2fZxD9C7UJz8Yop+F6nZrREpd6sEm6Ol
hk0AtK72W4GfMXvfHAhevFQpGo2Yy9six1hl6RGykS7wbTSf7CHR6XgmKDVwWGqxcNedb7EEAlRh
cAiDNrwa3TJ7zZ1Z0Uxli4SiNYPrWI6P7M/hwcrpayxx9eWgIK+BKC0xgMnmJJOVVMLwYBB8SxnP
32miQdNDF/PW1P4EdaZSW3DCAqYY//VOiT5cow1pnuMSJBSdE+BOK5SxRLwD6dzEkdCdMmfu+dw3
FZyGzNSxzPYlPXjhavd4NhwTrcItIYqrG71COlGZWvQWcUwtuOtES1NjpXYS/6CFUrlIl51lNbtW
xMkx1D2drTWhvOvskq4lonR+VoaI2cc3yrPLZ3on02lEGbqMDEJaC6y80wQjlbTLxqc6GvtnOAnI
KoxuUhiEdMN6EmBHi1wHCw3qiPaMhMK25r4DQA7RQPulpdiIoA0sNiNO4ngBKbFypgGxtVYH4HAZ
Yk8Lt9w1NAZ3DZpOcWn346pGuv6tQq0awaiZ2vu6oQvSYtWSlQ2eWjYqMjA8b51bnUWnK6H/EunQ
CKWDF/TkTu0qNJ17DTIB6nZ4Hdm6U82sbdJD62BGwrur8Z4hIELe1+UEK0qPK/Acq/C9nZ0KGH+E
p5mLLlLWG/V3vUb34MB7hFC18WnXv/cdnXTK1jmY3J02WZ2Ex5Da4GTwQeGsylZ/n+MFcU+TGjPj
uHVOITyYVecP3nfqm2CXtMber2PwhlB3lk0l300Ijssg6PUbDCyKuWs+4ePb1RoC3AbtVOGP4tio
sb4K0vQ3PGD87mPbxG25Vj9Su+r3wnSHXYwH6jobVHIaUuRElWhxnXbHdyttk51rIqUP2CbYy1Fi
F0C2Jw/WMAfBxJfTj3a98LkJr4UvxUtc4iealmRTcdJE19x5rYchMsMjVj32LumNfqmzfratY78P
sQSTmNLG+B6r0D9mc7hGLaAWoyPUFnS1q710XPB9LkMPyUD+hnAJIFuMbfs7V8Yvy3YkXT2KvUVA
bt92lJCBF5lTyOvJaKJb1cJm6efWVm+WlKFdYuxU1RFo4vuYMvZ1uQlVON9eoAsuEAtD1KFje+Te
0n5r+ZZWEjHuk6p6Lo1TrNk7HzuozawiWuvu0GxAzL0bHR0HQLTvob1xANlwji6uCFDjaIali1kf
au1k2yUSMQaKyNCC8gjiAxk0EeHG0DzvOEFRgsjmVO0jW7der2puwq9IlJNrfr+dAD5BZkmyRzG9
TBxvj4kYpmsLCGyVp3X6nasr5CFsNHe5jlMxrYJ8TYcRdJKHWnItXVvZ1OOhHLubAY8bbETLwF3q
qQKtTUZrOGgow9ZmNERcqoZsN/Yquen8jtI8xL54nWdmdAVEHHKqDFyM43B6dHmMb2OVRGyodbaf
+2grTZHuCsN5OOmTVdz2htm/5+Pg7sxUy5dlBP6/jBzRnujMFi+lk6JDH6wyu8KOE5FWxPUslEM6
91WvawtrwD9+BIXfUS6B3vYGpVGSlxciev4Et30I6AEfhz6GzbdpnCUCgVLTZ0DKtIEemO1Rcu7k
ewH9Yu0tIFZt3ZV9/DoUaP6B5wMatuC6QzgJEdxnA6a1G0ZRCXO0qoIVdGkjetXdJct8Yf12OZGn
4cIjGnM038cR0d/phuFC/DiLQ7RlRSNCtO4a146I/gTsjtDq24OZpy2Kft1oD1rjpSyvyIQ3UJqH
0MU9gruycbDh6uw6rKzxkWnzDR3x6kRX7L4z0ItyVjRPOlRePAEp2tOIZubq69n69P0YrqUrpduG
sp2z0LOETmcLXl5s1FPzVh2NJf3RlbNKiSHYWMtia18a8JMUNFq6FlFNBuwES50FHSoDoaaMfW9d
zMIMZ93mtxid7nrtIYZ7nU3B0o65F8ZbOlgr7rwARuquNfyTSOgfmg+GN11/PQef/EYsFNu0HdvV
JXpp3u9fGVxFHtlwY0jKG8q9A2vm1fJeuaX64JpfD/QxhQttIFnRBOIawnbP59rVyOTRHQLgnOkO
fWSC84H1M9YvzPDH8DeODYZwaWwa0j3/4qa+FCR39CTuhsgB33KfTlZy4Uk+HcOGyIfE2jWgY/w7
ZXrWyAbiAc2fGHEFEsWF2e6/nqwLQ7j6v0N4GLKPdA3IFsyQ39NwqtDrXUr3/Jga7zBZ/3kQ9+zd
54Gv5zRoGWXqrsCpozvcibRDYJI+62gFXlbSFNe41f9sLJu2MEjShdX32aL4+zcw/n1OmteIvHS9
3bi4rho1ZvCrIH6gV/71dH5c5KbuWNLgH8IkBvrsO89VRaBYRah7EePoSW3T6/K79HFbzYLf3aCf
vh7uk7cHeQhRMH0m+HXnCYSVn4EUc+GGG1ovW43JxJ0wRnf39TAfszxNhmEncRxXWMb5p+tXvR9Y
KcOYSbaN7PKnNz7GhrP3ucqavfGsJxcyPD97Lrx9lKF0op5NeT6NGK3gRk1GpEZdilEcp/9vD8uz
rx/rkzXB5shpMj+ddMyzvEtElJ4lonn28hP0SKX2JfpRMMyvhxEfTy7zn3Hkv2svKfrKGkPGoXRc
TisiIvbNwd3mG3+jbb4ea/5R/x6SpoE3j3TQvEvIkWc7Bp7zflRoOgFHKR8WF9X11z9ffDZnjtLJ
3wbPps44O4WhHA5WS9jRBuectbEkz2NfbIYdMpS7aUnbdMFO9XLpNPv4Vck52BnaAzdEyo2z5ZC6
WlM4EYO64tkALguDJxti720zHL5+vI/rThpgLY6to3ohkP5s+kZJN8+YBnIiwyOs39G8vxQR+dkI
BmXAXAjo1E5n85f0NSyBbOQF5WAE5H5kODbbF3ahj6tAGoYwMY7W+Ypc92xhc5ZMMZA9HCCPnkuz
ws7qwjqYJ+LfdcYIrmFxsYBCwEr7d0lPEKv6mAjkjbF1DtAt9/2GAJZttP36fXxcbf8OM29Mf9UM
bmBiwKQzzDhRTeM0RyiQsYiNSzvBZxMmXWfe4dhE8d78dxy/ghEqA8ZxrXcsscEDX75+kM8GUEwY
Z5s17wVnB2A/cBYkBQPg0xnUR1uu/hc/X7ouK8vl1z//7q3RrUIJlLDRsQFiuwwvrKiPJ4BFzu2f
o4bDjc/w3wkqpUR74fL7W/pD3g7vxnQCczvU6l7AaJUBFsZfP9A84/8uMEsYLvuYcpQDAHhWlxQ+
qu92fiDa+3RK65VUeDGV9LjC8H7QkwvXmY/vxxJKIt/kcqGMD/W5GPVOldi/bTAd53ZqWtaF5/l0
ACJD50+SfNjzF+QNYJmZxQRm0D2rjdn/1zuXJRArUnRQKzpM3b8vqNEwq5t6fn45kD2be3tNhzeS
Zf/1OrPwJ+E/7I8mFP+znQVBSR7QXE82U76vUJvrF4J6P7ko8XHMv78jhKM+3FsgRihH6rwI4mxW
kmuS/z3bkai+NVYYQm21C+Odb8ccla4u5lfv6pbL//p32jwTi4RYsMzG5vjn8vojbH99vZLP3/z5
EPOv8Ncepvedhiy0TTYDQr5rKQJ9pUEFuvCBXnqQeSf9axQUIVbgDB2jAFP4BWICb4Eg5etH+VDJ
/L9nmWtbZOdKyrNVRmMuGYOQH4/p62paYUp8hQpzi53o7tIJ8/kD/f+hrLMNwEW5YU8lrmbcJg+l
AzV+YXVmD1u/LN+/fqzP39B/hjrbnAv0uyMhLzgLw4Lm8vtaamhPvh7j0uMY/76fIU+NrtFZBY0A
OgXFdO3hGf3u6uthzg/Msxd0/n0mflLluPokmxB2lBixdlYnEmqwRO3u/m8jzZP614Iz+nzSFAl4
iHAlkQFIEmO6uGme3mJ7fOGpLk3e/Od/jTUW3hDl1uRBd7CqpZmhJ3C76Ofk6dqF13RpKZx9Ru5Q
hVC24Tnh+idRffoO0kOw6q/n7tIoZ+VGZLmpGyj6ebp3U1jf6+H31z//0nydlU1GbJapNfcL0+LG
rn+hsovC56+HuPQIZztB0mJenuGRhWcDFDBtuqZre+GtX1jL6mwHmDX6dpLwWWbSIDSh0Ot9lKf7
vqFbKboWY5WvH+mzWePModqwQHopPf5dZYR22aM1U3MQAVq7hNCOdYX1w3GMyYL8eihxXt7M3+nf
Y51tB5nuk7KVqByh7g2nadDe2nB28ANz8PSz6L9GhwpmE+pQknYWwc1U//bV9YyVAVBf+GU+m2eO
P1OwpC3pnG/qkINR/bV0lsKuWA1Z/b2BixKj3Pac5AIK8+kUu9B82GxdE3Tu3yn2C+XbY23kG5KJ
S3VE6Gjrm6+n9tOZ/WuIs7UP74vYAxnOhSOVo01MoNOU3gYHzmaRQOVcDAT+Xlg5n8/gfx7r7GOg
Y+3AsIijjaflEdhzswoDy1y2+lvXat/+N89nU+xJcIsPd+GmDxR2TVGyIdINeud4E/qMafT2qQ+I
7kIvfuHhPvvSjblydcGYbPNPxfbX5ivjUnkFnsCEXVzDudWLC5/5pz8f/wfbcrHgUuefnZ1ARAww
JNqo6snC5hAw+sIC/2zVGX+NcPaxGV3u5rk75BuiCkKNzHN/ORIZ8fV7md/x3xeW+Yv+exDz36Vt
jwC1WdfkG2l6NzZZZvDD12aS7+g1r+JoTVMKoui4/nrUPwXqV8POs/vX22nH2ibJY8o2OEsdh2O6
LpcNmRCLfhPsogMRGyvv//ig82z/NaKrsiJUtc9VyYCF39CC2/pJcQt1HB5NmnJTw8lwXYZZR9fc
tfdfP/DHd2nZ8z2UTgLCcf0c8URQORLYKLDELMxhrUTp7sq+x1LErePt10N9vjBdJQGuLYNEhX8f
1OFPJlJZmdrI2GArcONI/8Jm9fFp5kXznyHONiu4CzrqMNa+aW2d4ZUw2BD/0P/+MZRhGpJnAPk5
fwxNdYOvk4C6IWTa84mDurAEP5smRevRNHXTVeK80yTMcAoVtB9cu1PynLx9YF3Y8i6NcPb9OgV5
4NjYZBuEBBtEGie8vi88xGcv4g+WxW0QOOv8+gxv0898gkE3YrjxtBfY70u8hr5+EecYCo1ZmC30
o5gmJup8DKIxptCdIQD+dNdF2feuKrANTbCght9kExKpa7uvh/x4MIHWU9IAazmAQ/bZphQ1fmxo
5BlvXOm9NPQFII9i8ubzzQQXltnHcxdgi/Wlg6LYFBJnX4uRY6hYoArHKZcApWYLkxWumC4Xmviv
v0tImLagtcdIUj+vV0C9K5NEAbA0fEDGQZ74ZS7AQR+azXMTnU3GZZNxXeCus6dp+4reXxhEG+xs
SRVu9h6hYxkqN1PUzmJS6b7C1nGy8EfBEMDMht9238LtLDH4H8Lht4rQ6RF6jdscYsYlbXvozerF
i4ffmQTF/Po1f/xALEknHhAD5OQjuli55NJBpIw3I4VbdIuO+uuf/wGVYTqYaMcG8eFL/9AAqkI3
zkXOF9htuiPWwBv9Vh27Zb/CAvAA3dO78Dl+AjQALBvUG0w9aMN5Ayhu0wQTiiLbuMbS2cp1tNKW
NelJ22ydbYMLC+rj0c1gwGfWXPrTOD4r/JFy92E3cIZm6B7tHyl26trhf0g7r2XXkRxrPxEj6M2t
aCRtc7y/YRxL7z2ffj6e+Wdaojjiv6vqprujooWdTCQSCSys1RhuVp2ZTazinZfzbaxZzJlcY4go
qNYayACAo4DXczHHYYkfQwPckxnsHMctl7g0srpZQrSKJj8bcwYOnK5xdXXnm21EFpUYxuUF/T1e
sYosumLUfWBkZG3tRwG1KO0hj85mvWNla2curSyrvMg12tjPhGqKc098YIT6hNyhJ7n10dxxt60d
uTSz/PsLM6rsJ40vYQblNKYk5M+oud0/QXsWls95YUHuCj1IGSfyrB6sNJRv5lNmye/uG5GWi/A6
GdSuNmUVtSzqS0D62RTopvwjfE4n/UPwZDwzJ3sMPGknFduKChTpVVlBC4Eu0LotF8H9GvXilHvq
MTgl7vhYP5an9DDbkgvZwGdrJyhvuLTG82PBdFCkZ+bn+huWqjyFDBrnngm+nZkHcWePtj6fxvOX
xhaVdFlc94MzNa0rtUsyD7RreV7CXH1Sz+Pb6kn3plOxU3reWM7yzZbEksozwft6OQxllhPcKSkk
UF86vT6I08/77rBnYPGWC5+DMUsu4sHAQGsXUELIO8nFhk9fLWAVAuBMbVsG6QHGo2zYnZm2jYqd
i2dvCcu/v1hCJgx9iR4PKZPqobFOSe7+J7oBpnCxUfvn3bZcbEAoVj41AeKRhqUdm1eVE/mfIagM
oifEPnUf/DmZZvfKl3dAG8spXJ3SpUkjy2TMAKHWbmYVag2jNT36fniU+k8meHDjuwwvgbFX2dna
IR7VNOvpNas3Fa2ExCANzKW+NL+yyvcMb3T/4DKDWpFMSbckvqG8crIABjVREpQUCVVPjhJAxU9x
tNee3Yo0V1ZWrsaMUgf3JFYaV/J0O/ZCz7KNZ+SGvfLo2+Kr+26x4XZX5lZuByYK8HLPyVGqhzY5
x3tt7Q0P4PcNA6QBqJobEMAgp63Vpfx+K6It7YdfFfWrAPZExgklxXhzfzV/A+PK4a7ezKvLJ1DC
quK6RoMi1ZkYRQfuoRbD9Ku5aLQ2eQ8jb9AL32AiVxm1Nj/U0IweeHUp7xhL635Ehl5+HpLhAYoB
AVnQClS8OcHrU2rJ21lpdQA0cBEwklYzY41KQM7gByKWMvpP0LSL4s6h3fDqq+WsbrnZL3yImmLd
HeJZt2FtfgObWHpOgPLb97/c1j5dFhtWSZSa5kDTUUCnePMxCwxbsWSklD5CHOcwnubcN7a5LK7R
/+7h0yS+jnWDKVhDH5qhF1vHnoFHlAqmnRt0I2lbeqp08EE58CxcmdBk3DqeyQ8SRHHQgI4+iMOj
Kn588UJ4l8nK8hoh+KyttJGkGoB1cq+IYRWHz/Np9ym9FRAubaxhi+kwlwGDSbk3vkZW4NgdUXA7
iefoLBwzYFXT8V8taY1fnDKmhRJoaT3mKQrxsftVCzsWtpKPqxWtAilyJoMRawxNQn3Fg6c4mk9o
u4PeThxYy3YceyPAXRlbxdNCruG9jakJKb4D0SUTCve/13IwVhGH3+dGWHIbxt0XX7+4t6G+z2AY
Sfhe9bvSP8wGlBdfiv6UinYov79va8upL22tohuyE9qEDBlr6d+jHWktOsnyY+/vZDvbn+w/S1pi
xcWSQgbOJhqrvBFib+mv5jvZ9Mbx5/lpmUxqihTqlNWdI6aGgQ4h2S3Z1Gw9zt+S+uUJ55WF1aYY
TPekrYAFH55UGsOw1nz5B1txsYbVVviJJLdQleXeDK9qYWkOA6063N6DEu0Ey+Vr3zjYhaXVbsBF
T7OODiTzshXDOxB+TmeJoezyg6TsJANbGwO5urrAD2UeOitTMI0xUQZ7mMfkx5w/dL/avdOy4cEW
GBRwLZSa+Gf1ElAMSIVK5Fy8iQag/+m3stCB/ry/NRuruLKxCi/CYIaqoEbQI3bHTHyE31Et3Psm
tkKYRUVjSQchjOENdX1EIgXxTaXDRsO0OLDQwhbsDp4I5/8P67prb7WmVBnSfIJxz1PTvzDU0OkP
Fer0B9lrbfmx24kAm9t0sbxV0ETup4hQzss9AYUh/2AmUOdBCix/vv8ZN3cKonkaAySIN3Mu4gQB
QLd4g+CjItqmZwgKD7Tbd1azEc+ACGNCNWgN3LT1ukApu7lB7bwzZfiiVblmkuHd/aWYt6f0ysYq
pjEWC4krLBlQHPPzQhw8WwUcvB1uXkHVi0iN+FT63d6rbm9pyxe+CNV5oShtuRCBMcLlZp0IP1v3
j3z94vOtQh2a8nNSznXghefeEV2CqiN+7TzZA9XtFD/uf8dtl/jPXq1CkNRVlS5OZuwV7Xfzu258
fykqmWfw1UYtG3nxxcJKkRtpQQ8G86n0nXR+joOdp/yeL6xyz55x6YoXQuD5xvvZRwgZ6jPGZkZ4
WeM3SvjpX32xNXw0UFpRENI48XQfucsq/zYqJrK0tXy4b2c7Bv3HD9bA3jLLM3FISnICd/ZEl0pF
TN8DwTHQ0MF7lH3u29vxhPVz21DLSMsLCfxlYkfUXRsUz/iPf2dkFeh6pYWvXGpir6/OuLitIICm
7k4SyPeDg7wKDrMRF5RE6U2Jx78nyIHQ6s0Su5nPc4Sdl89OSFgnpFkbwIUbdRQOpMk/Ky1aYUHT
He9/t8WFV0nJ5SmS1zGhYni/RgvTmyOTq+EZyicztD7W83P0sxT/zLG+k5rset8qMCR9xwyNRcVS
PEKN5OUOCsK28VH0Km/YRWRuNWWu1reKEnKhQIoOZxdPlNkzvALVehuKVEd2gH82/9IJV/EiVgOh
ljs/9tpfQvzc/Yr1HZfY2S1lBS+zQlGLCkhf3FT6lU0h49mgq1BJ+FImMOUEjoUqrq3Jws5zZevp
yhAV9WWR/FW5wbswHD2Z7cTttDxd6zMZGb0t5Xm0J6e1I28PrrHp+RrPCllXdZqzKxdpQ9DudFFM
d4ofOqDB486rYjMiXfz+yikSyNh7KHRjL4GVqbLsGm1BKEXvn6wtI0u9FDw4DVny5Ov7KRDDoYkC
M/WK+ocJoWfxVpK9f2Xib6X44grsAhXVWnWpySWowB7G+AHapfsmtqrNdBf+dxl/D9iFjXLyqyms
itjTXtdn5WQS7vSD+NQem9OOpSVEr0PRpaUl+F5Yys3WymEUW4KreZRd6bE2PdVp3foV4oiOdVYn
577FLTe7NLi6M9AH8id/we1P8DiqnpzvrGiJnTcLWrrxGhix23FbHyJnZYK2zlMol7e/6vZNR5zb
87PNw7kgi/6fmXVQKMdOD/uBxuxgD67+CcUdB8Xag2TLTuaIj3vjerv2Vk8m0VIhLtR5U0xvoa0g
GPiOZY+M0sle5gTeHqh+c5culrdyC11PmOaXecuiX94FJ33aOUTbv88kpUSFlunA1TmF2622Knj3
vWo+Q2cqjDtethWzAdoZS9+EOsm6dRKlXVsZyxhSfI5O0slyF5gbNGE7F/lWuDFlU1yALAwErjv0
iJ9E0NZhRouehM6LfaAA7v3zsgHco28uUSeVTWq+xhrhkIJKZMC1Qm7WU7wQNgDaGg55FqrPh6XH
DSqg24k/t7tDaQkk2PLeY2FrUEsQC4PWIbbkSe1Drr8Nu53G1u1nu/791VXQzqWeFQpjmoZ5nlUY
0Nt3cmLt3DfLfXUdCK6NrFxMUxglR/mW3kzgGoqDCKygBJ4W/BnmH/e36P5yNHGVIPRaH48DDCae
n6G+dIJtcox2Erjli/zfi4Gt4TpMTzNqqqFA1ByGb2JgV9YvuHwMwxmBn+3ZkjbXQ8sRuCEqUlxD
18bUDtpC+lEho1VzcVjeKoF6WEA8yqvBm4hvS9Zq70Gptq0yi4rXAWxbL7ERUxRZR8ScKxID1Qhi
KD47W9OnvSH12xsCx+Bu/R9Dq9iW5W0zBrNquEpp/k5D+LWqKHk0BsRS+3I+3/eNmzloJgSurK0+
ZgfXHxg0S3Mbd568ZVTNEOzlumgP44PoddIBrlDF3r/a977ncsgvbnYDdSG4BRFiLpO28prBQHFJ
Qu0m7vudF/tGunK9xuVPuTDVQcMQRBCJoBMGUZhpnsWhfoV69ENPfzCIkp9+lZDvFY6h7JVEN0/5
xWYum31huhhnBItn6EuaTB5+M4pY2GnSV2/8ODHfiG1bI5QTpjthf8/o8u8vjPodOh79YAmuBD2K
PD90uuXFguzIEEMGXb5zV27cADoELZRJ4W+g67cul7J9s1p0S472sIzSVcfoN5JKyKWRbMinyOFJ
pe7Em41849rm6pDMU0PbDGkVOmSwJXnL4wPOfbe3hSNY8TfVTta2deMsB1JnppMLe/34yGNBGKUG
/EYFcSACQg6U84f7J3HLBAAHYhqRjeH9VQgNEASAKZ8oPc0nXX4l9DsnfcspLn9/9cWGoh+MbDlv
cvC+nEUQDvOTX41OLCiO3ko7TrEVxC6trcKKOamI3cb4hKF/nH7r7bOWv1KEnSXtfbJVCJFbtJMi
kXs6lhkRPmkvT58WfL6EH/HAFW/A1GESQ0aV8uTM1ORzA/kmZNJANUR05u7v/db1eWFona1D0qhW
SKWwN5BG97zixdMkSHYEt7uCAmAiBM59g0tysb6vLw2unM2ExTpHHTbyKPOo4WFQU9Q0adtpH0ID
7nH4dVGuEiAt/IxoZWBriGJ+u/8XbDrIf76tsnJHX4smRGW5xLsWBvn+qe8yN0eLR9j7tptOcmFo
5YkN/NdjtsARygotZKfp/omnX/z+ygnh6SuqEkJwtwpKXqal6gXllNnJIg3cUlnf2bnt5Sz45YXu
T17PjaBAXo6FSrqdlyi5eXAG3t+XzcuSoZT/NbBs3MXl0eU+tG9jqwOLGR+KUXjMrMexUguv6GAv
nv6guvO5rmDh03YrSsue33rlf0yv7q1GLKxhsOLg76N1mZkv7OS5dNH/Yy672sm/t/KPy3UuZ/Ji
nQwLRqgxEG9LtFv0J2k+t+oOYGlvr5ZTeGFCGkUjgJjQcI1keAdTpmrDy2/txI6ddRir7J53d4iS
Ou+IOentJPmZDIWz6FPfd4vNCKWofDATKseb1i7Skb0MjaHhmmX8EPrC7KWQCj+asf9H8ePiAK/w
2wawzk6E30xPwRD8r91VmJCGBPZCg4lpKxs1L57L6DnKOcPBVI3vVQt1hMJieBqppurRgir9JBeo
+RSG0TjM/UMQF07+AaGqRUW6eJ7Ravp1/8PcXqvQwS91HIYY1VvCjXDKS1CZAYISOvXWuGduDEaw
8WgOfgEhdfYHhczwxa4LwwsWF0wSE43rZz0yoSknpbJcFDI/o210Rte4h1l3d+RqY3FXhlZnRFES
IUJPz3IVRk9PcVaXhwkJqQergQc7DM3iMKDKtuNqtw59vbrVqYnQyEl0JYUfcW5Lx1J8HS1dFGgR
2P1+f++2LMFxxlCcBknHzcNYF+NZ7YvScCfGNg8QGiwKK6nPO6TKdsL27YULmQkoSWmJ2wxlrxcV
aHItIbHgWmIW2yjOfJEUpHZFozQ/FbIR2jN6u17dm55kgDp44TplXWEmWmESSGTqUF3F1SoeRavQ
OwX2Ma06SEGGuIY4zzCWdr1939Rtb2X5nKYJpdbC4HkzYdPonTFr3ay7pmEv2IkFywB3s/9aseXT
XoJ22zfCGsPDTGtxGQJuWXb4IsLOYWE0PrSpbj08JnqJQOezJkCkDwdu8twWyWGovonWu1rNkFfe
ufhvvGexvXRAqBES+9bPnigP86wy+aqS/9wKX8bild7tBJebJAkTOAwQtL9soeuxt2YY6qQ1ezYu
QqDgAQJmiEPqvTfqzTW1WGGobqGZBB20xo6nah4pyowVtf7NSLbTttnOp9qyAKETmpO6tGDFV94v
Z2HaimaruOX8a1RFuw33ypCbFtgHDhh4UEb3rh2BenedVPCquKgdTCj8IpxQtKl8vu/dW1aWtJnH
ro4e5nrL4QppU1/FSj2/Kzp0nnZ+f9Ofl7vOpC6M5sY6skNljBjFhIH+J/twlk7tKbEOy7CQeErt
6PP95dx6sCFClMBDeZm2Qe/z+qOZWtzUYHQUN25dM3xEmkvZYzHYM7F6aMyI6RghrOyuUT+kcKu/
EX3n/iI2vhmrMKg8LOo5pK2rBL+ECD2QSkygfACmnsbXSXtGRo3a8z6ifnM9FBeXBqRCPrMKpaUA
aVQvYWwOkgRJl9x45Xf6L7WL93AFW5Z0DBDejCWSrr6cNSL9SpFMgYbZkxtwgafdbuTWpwMLCMQZ
Qxwbc5VdQXucy6KGDfW5dYITUC03/NHBgLdgj5Ud595Y0JWx1T7p8GAijFkruNqseFqpouoFCYgT
t4Lw4guPl5Ei8XJHf/0W6jimUhK0JaamTvjmR6h6l0bQHTq44Xa87zZCY8kistFkQYR2fWAtNEy0
RVvGjfPXUvI21r6UI2LbOxXMrU9nQFwKpnLhn/1bDbu45pRYbjWtISygOl3ZiKWonjqibzOH094w
1BKKr95gC/fDhaklBF6Y0roiY9arUVw9QaCxOZCRVEFyqMKPAG2RoPD1r/fP79YXZBJXVRk60Jc0
7NpgZcVtKPicqDyPnX4KvgaS6PZJXx7MbN65hzayE1angNL7y/mG2vu1saKdc0MWSnxQXzQJDJiR
MgpujacY4znTv+m1gTrIg8T8pKDvvAZv+xbkRRpUUnQmaf8z6Hxt3EpjMVUDCP7RIThVb6ujCOH9
rwVkJTrtW8TvTpYjijsJ2c3DbWV0dcRTKc8bC2UnV9N/JNFP5pwcXYfpKEfE9I2mpu/v7+atp16v
cXXIjaLVh0GKiSgSQtSIFgxm7+hpcLpv5tZprs2svLT3rVgSUTNwxxjB0xAhxgCx5Nc0ut6qahW9
3G2uza3chiZUGftCyCl/mj20lR/8J+utYsdubu9NNGy4KLStC5sfxKdMuKzBV6OcSH7pY0uDmk62
Qzt6EM+Tl7vlca+qvfUVL02tLrOpq/sk0DOW5Q+PMnKOVSUfa8iTGHzaKdirSy5xHVdY1tKCBhG8
4MNXzi/VZTnRVZNd0ZjjY4I2ybdICWZHnmo7iKXE7ePKEca+tPsy/hAkhva6kcUuPOiEckcKNMup
Zo1hrRHR09bM1J+9OkvHLBpid5ha7Yy4SHgIB5Tgq8g/1bM6nTpmU99oRuA/CkCVzv6cJN/FehzQ
hG8sB6G531Wazp5Qtb/8GbBH18SvTKGVn3R1BGEXJ8G7oc98O1Kz9GCMFL3ue/HWYbn8JquzOaVq
q8djK7tZHh6yKjjKyRPTE+59K5u7fPHlV0dyNqZcHKmwuEb0bk7H70hPxHaWzG8Ca++9AsHIzjav
DibclEMpxWgnTn5kHSwlaGCeQGM9Gufioy5FBTMhte+MRvWLqf7m9Tgr6LuLXfFzmBrhi69Sw2De
f7DDNIT9R+nnN2astfAXpC2qPHKElmk+OkpmoE9RTJ/DAoX2XA2j51AIqhmJ7VT6ViaT8GZWdZ+E
sy5/CXWNtnJDFpBGlc9g7JDGbicJsXrQOIgTSIVqFh5lsSnkQyc0gmDD2hi/af08T2xIW8yf82y0
0sEaEJhnhlP6MfLQOahJ1i0qszzJyio5JqIyHkxwA/zvrJTyQ+mb1tlUK+1nkMQ+SiJB8spHue/N
lE/m67BAtAbGzsQdqkUhOfUh5NAqRXPnXA6+UjkWjmh0Oorv84rW0eHOtZIENxP9Z4geeA+0cupo
cvkp8af2TSXI00+kEjAuodahJvpjHtQVynFjiUxcP4KPTyANU/nIpj8dlunJg5xOXhQh8BqA53o0
9KReVNQFVM+l+HkRRTkoZii2h9ivjWOp9YirFPI7XxBfdYF1HAZ/+Kj4g3nMQkihomoRJaaqj3hU
/FwOqNNnaDA7iQFJWjSoPvo4MeKlVvu5joRPoer3J+gwSyYPJGjxtKY6yLR0DrmmvNFLAbyzn7ba
KzND2XOca+lzL4+lLQIIcIhZP5B2Vt83mi8+FGgPHSUr6I692iIzgxCirUtjCxd6MTwwORwde/5k
yBHMA0MCXmTSs/fL+MeQIwTIhqPN2IlIwmhCiHJNHLmynM+nCenroxEqv42yN/E9H71L/svYZKU7
V/N8UoNkIaccNAe9bYTg8+SrYDDQLxmdcsia6aktk+7N3JUlmuxpiYi1Vn4Vp0YCjKy1tggw4704
Z1PkdnGnIX0eh8ODXA+F3asSc6cKopGTIhgolyNId1Dn0XwXROp7ye8peCiTRsxIM/5voitRoDsM
k/g5UusPAE7fMIoDX0YNbY0hhm8lc3w3ybJXZ/5zU8Q943L9Z4OulsPETn6Y63o+MR/0qvS1N4Lh
PwVyjxh6bf7xo55hoRphY4SiDgh4CWcC5au66dCsqbODWKNUJvbJR7mynhq9LJyizNB71N9XCoKf
5ih9GhmUk9W5sOMxe6TXjWw9EQD1mJbBrRbl62kakDNJhuoXmofGY2ciZUbK7RR1PXjyhCy7n/bP
8lQJ9ugLKMEEuminJjpB/pw1z3PnB6dGRmS08JHYiUyq0UjqiJ9KaGC8vkyPVtq/DcpQ+mB2qNsL
9Vw9GU2JrGqgFW+aQpw+zal6yOus9iQxCT2pGppnGIcgTwAL8qWaKgSz0XM8UUc0XSG0dIVzhIRa
p4XvJ5n+GUJ5wlfQVrMtCoPoSX0uSQfqe/GzlCGm0U9d8jynXePBmBKdW8sonMBURjvLkIaa5VCx
Bb18mrq0tnlIprZkdsJpnk35R6qMnaMAdvLyLCydsCkg6imtMyiJ0mOZqq2nFg3KCPky0LGNnbRs
qDioX2lTlrZpVtVBEPSPqCnViFAhsm5klejUZfsxz2XjwZJkiDUy8K6SNCkHg1bjwyQH3+Y5gJ6k
lthrNWy9KZdhR4ua+SM6a/qTGMXlkVewNRPO25qZefxVV4r62Uei/lWZkmWWQxL/whMeSj9IXXFA
mNDyg+zcMyDcsUPT8CHvmvwLkzQoyISd/CcJracYb3jOs+mTYWIWwaIRociq/pqZCuDwoBEOrYjY
ilQkk21Z8nBO8x6d51Ypv0sIHD7KQUNOIUKymwJit4WU7xX4mXXQ5qg+85ab7b5N0NVB4dgLuP4d
MdfAuGRxaxuooNvDJFXPpjx8ngCZHZjF7p/gnZJIi4TfUzJH7miW1gPk3cOEkGqun4y41tB+9kVn
ymvZMyp1fArHRIOC0vLj9FBKIZQ/7dIxQ1/9sfWD7k9qFT+keAL2qfY6crUzI0Rap0DOVJjPeZqp
Th1pkqdZ6ETbUqzJx2JKzLfprJvvE3/4nZXtt6Kz0hPq15JTIcLs5FJTnxC3qO02KCjrmjXC9axr
kXiHQd941IoaKL01C4dcn0GACpP2MQqkX4OS1CezIuD5HbLOuio2HzJCCUeyyWyO6vOgxSqNxuKT
JUXZYZI7BDPT4VsXNxYa7YJjhFLpypLUeqiF/VGNxnhdG4LmTKjF2QKCeY91GRaenwePcS1/9+Pu
BIlneLKM/Bwk9es06d5lYmHYFRUKJCXDzMnRmn7qZP+dKTEMD9izs7sArWAtrHS00yPkLNvecjm3
kd0Mev8UygTLsM5/NfIA4HAqLbsVxl9zaGme2apfFZ3BLTHXq533/0YJ5TqvXeXQgUY6EhiVDH5q
cBUncgVbeqUcl7EZqk/v7qdyGwkjQj0wu1IC0BEUWRmrkINLpsBgqtrwDJQi8wJxR+2l3Kbo88Ci
yijyAnzQtFUKN2RSooB6VF1LSUe7D+STwcyJXcjVP1jNpaHVq8pQk7bDbSDFQqdcN1Fv5PmhMp36
8o92aWbJjy8rGvXQcSGrqttSYIAf1OlC4QTd5MufpAsz3dJHYtYRePy1maEoC8lAhtSdSv0oRu3v
IQ89paZKLNZv769o2YHVW+ov5JauowEKYF3FIAEhIetZkWbA790rhnEQ5ql/+bvhysrqu8lDV3bo
fqpuI6iPCkkSUtmuGJBFtB/vr+e25oTHQZK29FFpZ67fhu1cGFVHe9xNR32BJ8HTBOaFhGb2P0hV
cWwUiemwdqceuXV0r8yudizJctpihBCXTBRm9jD5PVoaBG0+9S69MM1XXdr3byU46WzSpMYZJmJU
2FbxOal7eaene4u7oFBz+RhcnQb4+EJtNErZnSrlaUzN11JunItAeJsGSXUY2+QPqolnmZHGzOSl
cH8HlsCx8qgr46u9bpNwHITYZ8BChXI16hDRzAzKp4FhPJYk0dOwx4y36cMXe756lfqRGFlWK0pu
ZZS2rtUoC+s7J/IWJLhEsgUhTMRUca5VuGwjYU5qM5rdBD3cQS8Osl4dByV4JSD6XhWWZypUNoXk
oSQjUMG5Wn+i8sWdX7RSGJGiQkzHnvfvaqGTLMx+Ijey6yM5lYCKDu1i9LTv5fDA6gXEwF+6ldf2
VuG7Qj+QhiiLzpogcdDQ1k9RAh7TV6f8oMhDhiiopr04xl4bXTlvM9aqiiA5lQztMf45FW+H3vsH
y5JEhr8oUHMHrupHfh6WlS4U3LMgCmvxldh0X0yRQSAqptm4J392652sZ3n8k2KZkHCvPAdN6hZN
Taz1neqW1IhS9H7vL2j5JNdHjhLfIkGCgBKcjeverlUENGPVQXGrhNsIxffvevPnvomtVdAShewa
thzwB6tVDGXXk7JTJe1ViiWeuBc1lqiwXsLl7y+154ubdaZuUidpwu/HT4Nw7tM/4TdN+nx/EVvf
CeACtLxM/SFQuFqEllOljCx/cn2tfRckPkKtHcE45OT8Axcj7WEIGgEiDSKw6+WkQj5bjcmODEP7
I0C0PDH9wc7z4twpzQEcwk6itbk9iyqchU2aLqtDo9URtaSaz6e38qdWTL9N5k5vZcuCoQNXhqae
J/O6hwh+ED14cWKDhoBqxKfYMnfWsHGJMkoLNQ5NfcTGOCrXHy0O1CJtKzoq3XRYcNhM/pyNj5Bn
e+op8LIdZ9gI6dfmVi4XSPEYWQbmlPfVn/qcuQs3x/Tf3BxLiXxPu2HjCy4ytCDeiOAgMVZ7JNWm
oCgZ9izJiSUXnq773r31/QDJLGQpogp3wfr7CUHr9xiXaJCPX8ZyLp05QHm+4G15aI0geu6S5NOU
9tX3INYhY+9RjemzPjkXoSHvfd0l41kdaHhj2UpG0gChr3EaiaBl6ixIdOuNIX30Nd33hBqdnxLZ
lUPZjG/7ohfRS6o6J2Z26aT50eOsyeFjXY3ah/tfZuPcGwzgkQ4unguD8bVjpX5Ywe2zYEYgP/it
VZ7y+98ZWLlSqVNEriYMhNWXULal/FPy876FDedh8g6/ob+OfPeNKJPKlMIojeRR47c0qF/LWrwz
+71nYeWeRhJNZh6qbJjaSLZWml7ZSnstxI2d4MW54Mc0UPA3kl/dPLTJVBNFZmqYulW/1iLlELV7
dJIbtwkZMLTMKCRCuiMuznlxm+h6ZM6FivNJ2vTWyE0XKo8DorHUeV48ILNcvBemVjmZPkV+Ecwy
/XRRex03+pc+Ktw60d+p+s9Wb3YcbW9hyyZeLExp21npStygjPOjGCvvJwQWDsn4KZyKeCeebNpC
NBOOa7AwN+Fk0mdTkCts5al/DLvKS4bJ1bLopFH8f7l3W6CUFF0jL0NJ83pZeWEwIl/pXC5ZINJG
mJNTVu8x72z4HnexyAniHN1i0zJhtJRKXvA2SfQ5LhI7nOXnSPx0fyk3VhZQGqAxQBwqKN71WH6n
RVWYqeBFehWmusmeeAsMyc7WbBnRF1Vd5v5lWExX6UUfC8UoR8SblJa4JlRuHcngZ/cUDm9CAmu5
MLPWG8vA5xsio3VuGnZ03hmw6P68/GtBNouSKXKwt4AroaxkIChARCASfNdWn5uu+mqNwc7nWuL7
1V20rGNJXYDLbhQFGGxPc9VYMDyVcaBHKmQnvdQOeXLU9qbJly9/a4ocGSznxjsxmaQyVGtM1TBI
FRb1Q82KD1LdfTKG4dgpf3SDcfZW2atMLTfMPburGyhtaQfAC0yrX0vet438Worlc+SjfGLGnzpE
YdMo/id7hxTl/yx15YRVWPujn7BUVS4OAVogUVUepKjZuZduUQzsHvO5sFyY0HXcAHMTZYp1uQUX
VRsihMoB7cxn2e/MU02qHx/oeJZnQauGA9U59V3S6TSqOoGRyEzmjfxyf738W5aYeRF/q642Y0Vk
zZGR/zSHt22YfM/8D//OyCpdKSRzltMMI/0UD04mourlT2loc47c+5aWP3ftNZfLWXlNPBRRbQR4
TTj0H8fy7KfxK6OLiMB7oyW3yamCpuRCe6nxKMLmylvUTB2FtCGWKO8XfGBzFNz8lD39nbF29lLt
/8PaQsCs8iAW189VgfHHZmix9t9cHzQknnJYeQK7tgXnxRclS0NbGOQrz3BefUu0vnAKgLZmHZrL
2RNqO8ldpR4eGtmpjWrH+za2iwqUjPCEia7IjSpZa4m0uRIMidFZqo6Z+V3+rLR7zzDl1ilAPgMZ
BsULZ+H6paeWkjTXYq64/sgQjGTpDwPTE6BWlLoEGU/DmO5s9E7NWqAPc1Y8cyqCt/7ctYcq1RPj
MNSF+P3Fjir91b1YyhvQBK0ShHLQrUaqwLu1fexatXQO2vpdKTHJkYU/X2iK9wGPJy4+YHVQRa2O
OGW3yegrdXL7X0mELqlhoxkaa3sSQTd7+dcMNUU44anYrItQWmZ1fiYjR9lGohto78NKe63pb+pp
l8L/Bi61srRKhqHC0uROZI6hksonpUiOElynEnm3NTduKI1vW8riVfZo+HvR8vYYmsBZSVOAHS+J
3bowhTZf1Qhmg+lBPDej5Y56cFAn/awaTxTJHyOtelORwjT5cGD61lbrdgfuenMvLn8BB4bKKbMP
XCTXZ3Mo4nTqIQp0cVkvzxV7+p2X/imU+lNgPsTW3hGVbhKAa4NrIHyfZb06iPPk8iI8luDgETmD
7Nc8ZYFq179Y9UEgnzZEZzaqU6KabhQ3rhzKh+lbFo+2mMhniCeBapvefcdeJ43Ei4VcBUnDpfZp
rcMUrZe8G6RCpN9p0mCmxYhInprvyYVumWE4gyIhNUeDf66/+ESZuAqURGQFgTOEojvX3y0guPcX
c5MVLKshOC0pMCSQN6JnQmgOVlDlotu0kVdU3xLBP0tpfZqt4uSrEtqbzQnwQamOn1PJPN+3vrXG
S+OrGFFkYROZKp8SLITgFAnQJKEFaTYOsrwT829MIb/NXMUyNw7YFzT19edUNKtCtILyvtX2khOa
/s9hkJUDulm/76/pr9bWZTJAt1HWZKYfNJDFi2z2tSWhM/2U6R3KR72vOYXZjW7ZNAA8UDQBDZeD
TdDrUPoSZ2Ni+2GtCsDSAuW9mBjRaSwD+UPaaPUXqTGyQyNromtGqvWWstf0kM7N1zqWhVfIvRen
vgI6oZZV+X7Qhi45CmI7fbHEUPHSmKGcQxME3VPAzSIepHyGZ+P+QteR9+86zQUgvqSUN3dJNvYF
zxEqcBBHti6e+mDN2Rgwox4m9hhK6enl9nhFGdTgqd9QArz+rkYgjVlWdZJb6uG57ULb0ubPWhke
2l59IdvQsjRq9AxgwDXFG3QV7aB4DXM1aiVQoLVTBIWbAHlgoMm5v6KbuI4d+DnIdHjlLC+qlVNm
ltQZcq6LbtVOj82sOuNoPGmT+tnSSlv5/V/MXVlz6zaW/itdeWeGK0hOTfcDV+2SLcvbC8vytUmQ
AEEC3H/9fLrJ9OQ6XbnTb1PVqcRtS6K4AOecb4Ogb91Dsz55Pgh8JB2W9K8PwP/amd4OwAU2fuuw
sbA7XwrXfliyiUpwN5zF9z8ct8k3tOPoP0wQDYaAkbpLKy//rAda79u2gSE2nA1D3eQdrLGXZjsW
XgkJNSfRrXYLdMohUXBlHfMCrKqs9qJFmeA5jrDlbUCppL58qRtNBFC/vXVAkENL2PeFpw1hVzp6
NA7th9n7MhBSf6dufodJx2nm2WF0RyftKNO34HYo5FsBCQIuNSezGIcgt0oWdqQ2z5lvHwxSNpHJ
F/GaY0vFtyBZmmNye+9PN+feQSFgfiaTDEbQosLe7JsVmEl83eDLxIWnQxfJZni7+l7bIbO7Vioo
JyC+lEuREtNFgG7ht6tO4bN4lQ3rfqwfMiOHT6tWLZfZy+t0dpQdMNWvfU0rVm6txKOqXO8krWZ5
7jzNib3JA0Oz8MCB4oaxc+mczpNy4h6RSLGgC7/YdbkE6LWBD/LieeDUWFlVofbYgch2ULYB5hYW
SoV0hyin/Gfpqf9iyYR3zC32CXAYKC5fisVCKoN73YKtAU2amSdi8N6af5dxgjvw+713q8WBxH5N
LlStolNDYdVLbeVEqIr3sOKrIqcQP6G7/4tvgw/C0oFZJnCrry4Nve5w3SoGPXaVnVD16swOfL7o
TxbF2xP7ZfGHjMTCZwBctv5kvAPEleZS67CjuSQZvrmqf5yAdBveCSHW1+9P73+8T/+Zf4jTb2+r
/vFf+PldNDNeWXRffvzHsfmoz538+Oj2b81/3V76zz/9x48/4pW/v3P01r398ENcd7Sb7/oPOd9/
KEi+vn8mjuH2l//XX/7t4/u7PMzNx99/eRd93d3eLaei/uX3X62//f0XYGp/WKJu7//7Lw9vHK/b
i7r7qD9yKf70oo831eH1+q+WZ+iI0sQkw0P64i9/Gz9uvzC8X0F9R1io7upInLaxO9RCdsXff7Gt
X5EwSNwb7wBUue+JEUr0339l/Irq6oaTGXApt4Fr/PI/X/2H0/+/l+Nvdc9PgsLwCx/pmrc96A+X
H80rKM6oDoG+3cIMv+KVWTeMjBqsCvuqPGtK7Jqp2ur1EDX60zA5AcqGvaG5K5KRx9ruV17R3Plg
cmk8oaZXBwNp9q1FUe2a+rFBzQbphC6gdpjDSq8vetNi1GbVQV4K1N2FBnL9xQNGhHxtcMeZRp+8
Yoh7W8PyLMpL188ufN6LJrDm+rBoYOrBGOrcgw0b+KCuhSj3YQmojVvBm0vLLAiu2uAGYwUFL587
jgCPfsCq7FQnUgNrUvwDUc4LgoUWFo66v6sW2P1zKlJKxBvLWRVgRBh4Ht+4E7Zox2/ygHripVYv
E63uS7YgUFq14PbSbOPlfAzaynvJsv7NlmpbDfKZDPVZsVVJ+UtezA/C9DvUg0O7ZVmJtBJeDi8F
vHKwLs7gyA90VxKIypXDii2j/AlptNmj3mZDONX9dDQKeFS0vAN7OHObVdbUZ4wWM1RkDwWtXjEu
vbQ+yKqVfMn9nIS9psNgG0lDYF1q6dI+2DPVbsNHgjZvyANVGnf2bF7mqcEG0WXgcypVHlk+RroP
tmjvt8FiZEVc8KkPHG0ob0YYC+KKvZe585uk97N7o1km2AE/WuTqQm0SuTazohZb/iSaDhfGrsKl
UF5k0HsNf2Ugg4JOjkr6CgpnuujY0iwBvQDcFidPC/mc3TsIl6RdFemO2hfeBP6zXSW152cBXDqm
BM7eUTYTEnUZey+WJ0K5HubtiVYg13ij0aA5n75ZY7ZV3YI2nTmpIg485ymFj58y/LUljiUGhRGz
PwBH8njhGaJsu31dTIniPYg8RRXb1vKMEOdNbncsnNkTGrEAbypAmqrydWF/OkblbzwEwK8Wk4C4
Zca5ziD7c/03l/D9TFhU59njpCoZ6qT71hjW0e8UCFD6FNp+9m0gXAZlkzM0eN2lRU84UYGkBNbk
UWvVz6g2aFBMD6ICrZr4h2pqn6SqV57OV8W87P0pe7OYdZjb5ULsZg/RWruxSnRwpa2vSrvf9rVW
hWo218Aht40t1+aSHy02zGFGjPcB9oaTUb9oBAHz4DP3cTOOSa7yPcyKt03Lnj2TQgUg+JtN9q0/
sJArG5M65dpIx12C28EMbDk3BRKMcIEg4GwLcJ9dmDSTV70wT7LC2aR2Y626xruOuP9jkDKfys7D
i1nc+Ih2g4/wnH2bDD+h9kSDiqo8qMX0AQwPbKbL0nowEmuN0C/cbSH6LTi5hlzuTMwkfTw7E8fA
C1TPoMpeMGD/hEExDWirggnGd4MaL6XbrgV04U45InC+ao2oJuRkENHFi4kbW1XkWzW/K7tuQ9qp
s8YRYT0P52rG1zCXN2PAqZphB9PVXYC1eGOzDK7yTzh5HTfCrpV6KNiwNib36utlzOr6jYMEDWzb
fFNFziK/GYxwlDJE/PxDU2ShMeKurnzc4wU3Ng4T+HbqOEzuExFbsAb3vN/5RovaVNs4+pR4Q550
br1xnSx2BTw2RrGaiJ96fn6wq4OYMVawxhUD2bDN88SGLZTnlukM708NDEtnUBEuX4CxS6AWHnQ5
ejc/ys15NTYnk8yRKvMLBTWlocNOzTywtSw0tWk9ZPV6AKXMfISqJ4Fv0w6P9aqw9A3mgNHtlQZ4
lZ4DN/XBiRxZxOZcpuNCt8S4K5c6tJH822nQLl+I9WJDNIeeERonFeHzUfkh1/l50uvNXOinlmpp
7aTIAJWBM1JogGzYri1RTf0NosxWg24e9WFte9MqK+fNWIttOZAE6VYru8H6VtvwpC7i2zkBtRTo
A4lcEwT5qTv0owqzPoN2Saa3twPtNYZTIaCJrt4sFvL4SvvYK7ntNWfHljkAXx3kdr73h8+s3Lak
jPLq1OQFssbyezzmUemMq94U61mIGKyVNbPnQGAxc4dN4dS4B/SVLEeAvthAmjyBidL3s5V50AG3
Rnr796AVb70YD1oed+p5aPVtPi2BnucXvbJD7o2xVtN0Itl5alSa9yT1yidoinZVOya381oq/Lqb
w9t5nv0xnnonMlB4era6EetDvZAYIh3F5K6ywV01ojmSzncDxA9tW8iuvLl5LwTsyN1KnEo3PxS1
sYWOOpVlGxvat2VKR5LtWweSyFlj+7x61tmyKqRE+/QkTWyQntMsgRD9RVjs2Rqh12KQDuBnWYln
RuaTplvHjFhPjdDOuCqhI61IdnzfTfxkT9Wp0vP7TvGTZDBYgiOX6e+ERw55XzwspAiVX6/0Zr64
tX9oTGsDxR8WGXaSg77hhEPyVZ+g4bi1KQ8VFlHoWSLRdanfZi8mxd8tw0VzzROcKne56wWKwKUp
L7HKoEWC0ADt4pMOgxVzukqCW6wDNoB6upvZ1c+6aDKnCNqTuykZzPK5rrW7hgauO9z3xNhqehHO
1nRv4T20ITtbLQ9VpR2cdzrn8dKr1JggrzD0TakUOC5eAIsn1DN3tS/j0q7DXtmhXc1rv0EM7DKi
gvd3hI37mW9sr0xN1d8PFkWSGh5pID+6zVLMLtK6oXclRCJLOdwvOfiDfv7o5zVoXmPs52WSQeBu
V2LL5QiGLQ2HIhG49PpSf+gvXlPds9I71I27Ju38ZtvjPesOtOnetKp4gkXli1RVA5KufuL6MzRB
XdVtW63eu+gfc8yA9vCf22Crvufu9ISwlbvbM0MMFRFhf2S47XgutoVunFprWi1y2VYhoQB4OhQc
xNhjlH9l7fQ5YgKRlcuuaZZHVxZPlc823O5fmW2cJh74ubYbrXpPRQWVoAPgASCiL7rAwM1djHPq
qnklmzy2Wy2SgzqUi/4sxi3138wu7ZZ9ZmKFzRUIJdC+9mvRjmBCim03a/dzM++lvmzs1ktZLnKU
NlOYc7Ft3Xrfu7itXZofJxv4bFUVIRumz4plry27etaQSCP0jO1UzKGOjmu2+7PSyrtcX56bJVuP
ZqlDDOSuNRfi9GIl2Rz20rraU55WpfkAMwJ8Jzxz2QBtFilHFWBzXOz+noIkVLYetF+5toS5bWHy
jWrA4gXy4d3q2jaXkS2BIeoNIeMRyzjsxmDvirLDNWOaVc954a9y1RwxOIxVo3YqAyDzZo0KM0Kz
vxhgT9C+Os2SrErM4/ICZ6/w17oytktlbStfHjTDO8xLdRoFWWvdGdvYjtPpUrTewcPUdIa6Rzln
bIAXprSLIMMFEN5dU3dYXT5VoZ1Hw4hmpq1k4e780r1gATmzHNU2DBBIk4fEzM7l4p0Lf34yvfLU
I9gXHnPrzETJVvLTNGLtWGwonvIDg8QrrFWNuMzmHc0Kcgtb8w0Z5BCydg0Jl5ah5AB2oR7MDKgv
0gfzQJQilHmxYwTjBoiapD17Qd27O15We9Xfjf2qEsW3Ym7rWMwuCS3SeFFZ2YnIsA2r1km6yUSu
wTRvOwvzY+XuJXKubwfpMLLPdLmqc+dOz/BXQhAWttmSLF5zPzlyRtFhtgGewCkojHAuGwiaqAZj
T1ljxkcXuGO35mb2UetoE90QV+ImdUM2tz1qHbcKctXTSAMtEEKlKSi1djcNrAx9IrUA67mbSBjO
DU67Q2E97uoRLhpZMy2R1VhGpONWktAUD029yzJnZwg6RBgp2eHiHJu8femd/F5xCPGcsssCU16m
uYCRLnCSgOZgeeV+Fjo6W9nOeFGk3vMGjwii6g618OC9Dn1Y4hTlSpRV0HAZS6HmSNcyuesGdFkW
PUwLbxLPZjyxDbmtDUT1ovGKBxcbcqehtymog9w+Y3jLSJtQCzW6TlDndG2Ow4DyvvD6sKkwMzL1
WK/Vu3Kc1BrsdEHk36Gr8LAWQ/8iFwD6iymX1MdlLnVvXnkClqKL3r75I0NZ4bP91EP9qTthwYGO
TtjUWVsXK90VyeQOkAz37RAihCFnV9OiJuypdSMZMD7D3TeY7WOZWZ/GUHzomV5GLtECkAh7LHwj
2iHHPS1upQdCgzus5pt8V3V5vSulNOLRwypVLjf/s6nBJLD7pHbLQlm0y3EEWhvgm0zBOLhG2jRT
kbhuLnB9x9h2R7UuJzKt5FRXAZoSuhpbniVABKHfboASeRn6XN7aBNFxfWjdxJtyasyjPbNVIx2O
vDWOesZFJsNSN5EtIGIrp5JuEVz1wAZShaDc0EiKNtbbYdxR455AW34RqkT9TKZh5SwK8q/SkInD
5yqZNauP3JaWUM1D9cdrCPewanch968acjoC0Ko/MtVvmacUgm8JrN+4dUvKLBt0nbgXtXoksYNy
IGBuiXson++Ey7IIabtlAO30FOljNwZjtcZFyBJ9VGMMlURguBXbNTS7QVLVN7COMEeb5sAzlm5d
zV676itv3ZrVApH9nc/1KXI8igxQ30e/ZKDRq/LLMmCaYEFrzEeOOajvo3k0fS3wugxPo96lOsm7
EB2hdSqLIiwsja46x1brTK4rc0FXhQWI+8dqyjkW3KGEeUutUttNa4hkwp6XSJYa67d+EBt3qZBP
je0U157xqB2aPerKT5+EBvx3g8Gjw5Ps3UfSWB/DUBZvdhExL/PXRSansJt6dSwzNKitgd3enYSz
G8G+TJlPP7CmzkdcjRqtD0w0+jXpS2+Dqa+7kVL9/l8IJO7XhlGjAvQoLj8cOzGyHkAGVEHXj2ZY
lyLbDci1DHxEdG75XJ8sq7Bwk0w8tG5zlQyEnUenlolfNKAqQEGQFKoaziU7Ee6BOmS3czhZ4tow
7pxd/+DoGbz4OfYxUr1rwhOPuYI9kSmPBe7NzYB8aNDddOeeCtnCbyfXj5W/3OJvrDZoIIa6x0Rr
Wd308nS25E4VoozmXn8H0EMiDYPvTph8xUUtA16U/hYpAF1Y2XayiMLaEwO+p+i4NjOE52vwEpfE
r9vnybf5qszbi0b75s4zPxZ30e7w1haaH1OuummE9itDZ0OsNsRpvS+Kp9GErI65xXvtM/8FGMej
1U3TR2suoRqWR2KV63mhISFFHg4+K9ChZJsa2grEe2xp4UNnbgPiEuqVYHMQVEOVnrYg3RcN/0Ct
g8Bv/qo4e2xsusHjnQi1pMLsoKj2jbvRttNO6k2g2L4ahv1cSJhTSAezdi12GxcO5xuPIPHUV/6D
0mY/bDnY73AOQG3kzaE2KrgbCGclJN5AL1On2wAwIwHJ5jp1Gu09c7UNJc29X6oPY2Ek1G2Bz+6R
CMn7EatgDs8C2ZVBMGSKBdZCUcyi5OxBv5x3iOjQggVLStgXXjIu/oq8tkgMgPz5U/PFqzdZTwrx
XUvUsuGbz+g32chnbByxXTvr3HbXrWRIjloNc/aKdB+w3zBMMgCHB9qc413N/AEWKUctq3fFwnZ5
2TeRI8YHDeOFcIJ4IWCzHgzGvOcTv4K8kJrOAtEJFMLoc0ligcjuZ9BAZRvd0Z9alTKt/JSedQDH
L7RGY6PV/bfeLvd6Wa9d7eaNkeWQ/y4rrWSveTnpAQwycPNiJuLL4nNk0GRgU72jbvZw+7eVwbyj
y+8Zu7MFvcIvDpVb3e1lVg1B14J2AqU4DStKDpnLdspRqJbSxQmsaU44ek+gV/DsuDYN/sqt5TOn
kWfIy6jXu653HzCIOfswYxgNO5Wdv/ecIx/x1PilowIu88/MQ9dclu9itFNgWQiJWJZHZ+7wZFPc
PYK9MtGtTK5CAxnwaHDmLs5lcTUXZ00VGuE8q17zaQSKax6MBUchapeFBaQvsuBrKKQRQKpfWIvB
zgJ6tFpwTmrOmlDWw4Ome2Wgm0ikdGkB001lBvk0V7G1SFgItW0qXTfMdANVMUyflt5fDzo9F9S9
zEMRtRJguMTFGCmC0Ep2tVgW376p69enisozzBGeRyD1Wu5/M2bywnHxQZvSNr1ro2PHoNP0Hiap
bQacKsiCsBILkrgCoz0xXCGB3w7cXpXGcDfcUnVxzyGJhLRaTEZMpBTnO4wI3n3EKKJ9LK7j6MTM
nD9d/AVgJwZTEAIcpVgLA6Fm+O+btJwDDXSP85Qn7bypJbnTPY6FB9q+ooOhDnWcFdwt0Ml5b5Gn
xj3MH8DbyQO4cq+dvrwfCx47fhXDs3Rf99Yd9A6HrpYbhItHMrdBbqEQXuJY4cdyKDUXmsHqrvKs
lQF3bJ8/WHiePQ+xFbYIPRxobWebwcInj3V96hwcdYZ5R9A0w0pj+UOJGGEx7lvP1QLBnXUJLAq7
SbEqajkELubBPidrBS9njLVbNOtupFdPMOM8ZzbDuHs6LrJ9znXcZbXGz0JYdxWcwPEht1m/55/7
HCcnMzSAk7r7IEs0JxD+34bvZDVDauiBkzhNOL5mIuuKoAcTzUbzpqtLUT90COttGryGNgZExfZ7
TtykWXDanTpoZy8BELizDIRWZRIMVQPnCmp6jVZdgNsU5oQmpkKTc4C1xPOsqk+iDXlsWfXjpLMj
5mlpiahZczMa1afp9tGoDfsWJ14V7NPqaiuwCNzPsnLdSRwyXAt2UHitWl3akeF/II0XEEBbn2AL
cVVXsAyAbGhoGP1NodFrPnkHarHY7pZHw2yCvA8Gab7oJcL9sDl0vrbJNX/T9vUrzc07y9PA3sri
1sF9OpPqqhRWV+B1+y2I0+AcUmvDShk2hgZfv9sFdeZ7jBtCzWa7YSCHPqvP0rTvsB+e/dxb932f
MA8mDAvWNF28eWMeSNzT0wKYpeza50zvaar31fVTICOvW9AU2Npmrsw7jpsZJgp1gDhMQMvKvANl
cQpgaFkGS//ieo/tk1H7ay7Qcowc5t4oVxgwBPqN9VM6OHBF8Zw1y/KtnJvnchkfbekeJqYFKkOf
Pnku2hRLIJrUXxM6PkJzeN+CKno7GR0GoWB44lgL4AGlbFDLwVqmW86Lqs92b60onAaYwCNeZ7EQ
2vvQ4e5FltDOasewn4awdem+K/mGDtoUOJReMeXlEBeBeTg+DsU76WWVuAqLsTWSBzg7bTNDrQcL
WxqBF5MHCQGkddjXHGPYaQ/zbB/EKM5DQRLQ0GJGSfqWS8D+zF4hl/LRq5ZHIVgMW+j17ZYVZn6d
FyOAWlOFkwPji3kMm9Y9NBZZN7n3QKWd3rZvmnV7mzqrsTbvsMajHvCwYiJmA6S+yMnFyeAY3Op4
K5rDoqmwUniG7ckIjgG44VgI8vkJ5TCeSeSZjL16nlrrW42wI423uHvbLhpq9x4xM6cBQUgYTnoM
qJCT1F0PCC3KJtwBdeusHA0H6ni3hdqmNK4wR0Q8Cm0wyUKDZcCysj5qMGqJhqHayZI8kDIfg37J
XBRPxYAKpA7zBa6wNpyIVqoEHx4eWKdhWNFcwTC/gbONttR61FdWpHxMdQY8m3HJxiIaTUjLUJX9
xkL6t7DhB8Hxvx9R4B/R5H8gHRQNp/js/vKv0g9xg2fV1z/6AW7+f4IvW6Ap/cf/gLh/wpcf+uGN
9T9gy7cX/IYtg+D8TzTZJb+CoWqA5AduE2w9zH/CyZrz680DEHpnCxJOyOBc8CJ+x5M1Q/8VpFcU
MhbcR8H6tf4dPPm7c+3/osmwsgaRDCIe0KHdmzD5Kz0IpkKenS/DfOnyyDF2NYeDsheChJkh8doP
dLZp9aNZrW1geCwww+5UvhdZgpH2gkn1GFpNjF6e9LHDUjVuwGoKjXvxXvC0zyOdoGc+Zm4Kbryj
7eQYEbmetY2N5IAHwJ3yDk3/hd11IwDFHbfXNjwAaVJZK75EOtt7xptxyoEz/yxV9Eeixu1bw0gF
Lrsw5gT8/FUi/Yer+ztE/wMk/yMg//3NoOIFCduBibYFismPpDF7qPqOVI68WEfs6PDK6bEfr+1I
26vnbgmXfRFbP6MkWz+SZf/8oV9ojSash+zJtiXgIRhFhaORohSpRLr4KQZFFsz1ROiMB1+mjh54
Ub5rWmBBF38AupouIgLnTz8ieaWwkwrU4gIOVJiPBrDZ8YMsQFF9wx4pjQZtVWJ8R9BFzc1PqGFf
uGl//hI3pssf2PgKBFC7RAVxMVGPJ03idgfQ+kJ344RovvMI5flfX6vvqcw/3u7WD9fqCxnNBJwp
NF1HfR+WD/47Pwxq7VUbrp2yMeoPsCU+EyTv4FDilgZ5yN8zgNHtt9wKILJMtZ/IR37T1v7VAX2h
AebcXZTm4ObJAYlR4F0h5QDxfBhgSqgt56B80RTIezMcau2HTt2VLQYS66pLphnj5dvcCduO3wow
JEg4VXnIpiLUKaZ5GQ3p/IKbsWpvrLEXDqNEL8cQZQpr0cRdZewcR4SiBfmAgmbcCmD1MEWr1hW/
Lk1MkOFlBF6PzmCHxqwAvotPekTQHqrsq2WdWAdGXrgMa/+ULfdGmWpjgMrXGddog9CZamiW9We/
PGHwG8DxsJweKFABPOtx8zGgx0QsgVVtFQrNFho8zIgTAfkzalsXgq9AoWS1ErxhXx0tES4A3l7w
eyjnWy/wrmAl1K/m1a1O8LzTEEXbbuBp2u2L12ZOMwDA1cl86s2Qn2EAqJkJ3ne5NHBGDJo9vvb0
AVjqdUYZ+0q6szjzc4vVbUIdvDbGGJ8zIprRDuQUNK/g9vXsOPADgRaGBAOQTtRzxmo6GB/zue/W
4xEDRGYlUCyWPHDrs6NowPNIOnczUC6AXwA/s7SUGKcijtXaiDU5NgfIhi5wEXuA7tDdzCri3/QE
TneBDNhmXDeHbgkKGbJ7GcoLi2/OeSAtPqgTTIO3iMhOpnh5xUREBmqtbUTUhM0evYAVLpspVqf6
HiXIEi9hcXBSrNErzNokRBKRoZ1cmZTdrmewjOwDttXuly0M/BIt7c/Th8sOuLeYE41ZVGVRY2z5
dZZbtWV7dbWa4GcZi99t+v/iIfgahAW3Ovj6eljMlikBWCaCwgltOzDamJ3FxxDgtDHbC1x8i/5c
RRl7Fsblr1eGL2KA39ci7AYwXkewBGaLP65FlV9pBfMWeYH9G4+ctYrJpjuWiefuEFK/ggt2VK7y
Z7WbDuXr+DNbEPNHUt9vHw8/ABhCmDem7NeMgcnwgLHa6rYwERlY2CABP9wy5c+VExWRhHHtysFT
snL3kPCBcvPIraCMjTEEymw5YV6FmJnW4c8EU8a/2CpdmBSg4IDroUn+pMqgHO5tjpSXuQjBqSUh
gsFGL84iGK4toTODbQ54NfRHhG/+LKngC8/9t7OCSZkNLb3ug4v3hR7q6EY1c3+WF5esbFQWSaci
jYugNx98aDZXY+g8F8it5GnpYsVBwwWAAyacIK6tFfaPPBYyMkK4c9qIAfPvyvLxpyfou8XX17vX
8n2CfFDfMc2v4QC5IUwMOoW8wAvOC1uVUIkQK2leaz9pxsTVx5Vq3qA9Txb2UAD1K/snzzsV3l7Z
W1kcSHNFZJGWpQaAgIrMsQagd8Yi6wwntyoTWnz2AAzgVAlk9mqhJx3fB3vv9I8weV0pB7ioG7pO
gqAps4gybCLwkJ7WyMmGU7UdsYu5J2l76GhgglhQvsIvM/CLg2ufbPqi2acKVAB577WJM6UKE6/y
ZMzPLdsjIUfYK6yXuopmvvf8l7l6WPzdsqQuKgfVYecMDeAQuA2wkIPTVteBtyS0W3d1JEOUPfna
oM88S0mZGGY68MfKf7XQ+UB/T3we1PB1jTGLJVENwjcAWjMRFjgKqXnDt9OpwEWH52aA/8cqI9sN
CH8uWB/O+rsW/aw2+F7qfr2O4G4ix8a38c/XFUD36on7UFlelvfO2mEOU6nEXGLzTeMPZr5uZAqT
TG0Fa/zRCYetxCjUAyACLIUdO0yyxisUptZytqv14sTETHX7ZdBPxTd1R2O+R9HVbfyLc+e+KkCH
PSgTEwYjcs/4E1MfOMmtiqZDhof8owGTDQMN3U+y6wDfx8gXCR6yqgtbGRNrB3YxdCVTALc03m29
exNYNMgBetBjzGhH2ABBKseJxHgFIsqfmpX/KMv47bGEm/dNGnqTg38VxAHi0P3MyNqLc57D9m3B
xElPfAywVIhCpHlD7g7D8vWqjs1ePP31Qm2hLfoD//X3DzeIB3svAh70V4cQo7MxLLP8Fitl9QaC
te7i7jkqFCgovj0k2aJTRh88aFuYe8KP2b05RQM6hach4oIN/2yEIOlYxhpQhYOtb4grVMcbYFSR
F//kWG/r059uqT8c65dyM2MOH3Mbx4rFk1IwLuNsWQGTnc6g2UPG4uIWiPts11YRqrcbfQKYMiDQ
ELM224eRcjT7iVtGcBiVqOycAGQP1EHV+3z9mTPb9/zkvzrWL5Wo7cHYuWS4qOZrtmdmgIK4aR7q
dXNSKcdYdA/ijXr1ZABvYGmCIxqAvFWlw9l6KiL9NI/bIZ7eHPbfnJ3ZjpvatoafCInWwC29cV/l
am+saunBYNM+/fnIOdJOqqLU0V5aipRVKzGGyZxj/N1A6BP2zlCvdNZF4v3oF/5b58Nx9H/PnzPz
z4M6FdKmHE/c06tT1DYFM3ox6C3anARUxm1cPcygMBGKTe54m3ntA3Dfv58rtrVvDxaHEBlzuqLN
Jp6vIU6lMiYXMuKju+ZxlncVl9YuJbIfUTsQLG5stUazFtKT1Cwb5VPnUTex0xJ5pzQoUF5lvbDr
eyPaGLyipoI2EuksgOMoPEzgcvlpJ+Vedw2Lkrm653ejMyi0Gd1q3ooS7NShuL7qUHLJxRNOmy5C
UHis2nWa37ULT0V/XQRZsZer3IIWs4w4hGoYM0cf3039udOW8fRecTDUw9NlPCYUiTqBAGBoIv+3
SndQDZuLfypfU50eMiOREA76Vo5Qy27lzGkuvjgeIgp0XXtRif84j5+DQFHptElozH8CWa57ypx0
8KT2Nq8OdQECja1wVEN0q5P+yWw3+JEcuol4KpBlrxg3WupBrGVJWMfLRJr3x5VQLbtp3cYjMAR5
06MvGIe0SL0zZF+pXa3xIzfCulKdKP1oowu50ldMshglz15C8rqp5lYhKUGVfJxRl6Zaucs4UYgd
vjoLiqYbxRfCyzmgm0gKCTbWWYg3xtwRzXMDO6f5yLudiprgHCijT0aSYxrrq3CfLfxBcxIInoGf
OeUzbyTDCMtDXENQAMDZ1wPz1jOHcAz9o3nOyAjmakke7gZLxrEv25HoDJMILM9BHDLtIIoctnD0
AeRZd6TnLvZR+iSNPgpj+igsUUh05HEtv2a3eevEYKfL9koQtnP+yHEltWPMw6BtheBwcAKkuasN
myZeTjyuJKRj4hytULcNbn8rp97ivLzsSF89Gw/VTl6LPIsDNNp78nR+li3hU0/sxniQXijtoriy
jOByRWK+ueYrIHbmAp6TQEZ+oz9I5npAG1bcF8IR85g2EdGduxfZxoW4CArBISHXeBjuLu/Ivhgm
juo5Jk/fPQ8B3Va1Qz2gD0+MOHf1ZRffdojLCQb/uA7BwFpUkDMbVtUzNYg0XwtMuJ/WZv2iy54Z
3RayrXGD83chc4orrduSllKWiBOe/+CwFU9+Y9oaQobCa7obDsyI1mUExGWLbV7V5bhnhKKThrDl
sVs4Juitr4XzYBbFbkJt2glZ0FLE2OMtooBG7ywNHP9k8ZtheGnXlzUi6ut9+VCtDWVd46q6utI9
FFv0XiNAcAxLcjOv6+3cL5whsUNpcvMbSrQqX/fax+WC/Nut3xGTJ5zd63R71leX5rDgtoy4Mp1M
wdNjF0AxodjakmuQF+4LU8Cnxnlo3I4egZ2uyX+QLYZFKTYhXaNH9vRp15o+f0fd+ovHgq8IoK4c
G8OGauAvRY9C2Cia8ccMbJjgsc1QroawCQimKQNhE/nV47Wh28rWkV/Yokvcmo8yxK8d8Q2RUvkp
E2/bWMbx/AlH/kjpbezqx2IN5aj7XagfVGYrWOOjFtbrIvfKT4UU2ecOJe5j/jk+ZmseAWHeNiEv
AZ2U+JML60/H4VwhzJszphtTY2/+lrGoqJWRxIUZ3ZWPOllSo6sWTIxZD8ZiL5yJlt1o9WaQnVPY
sziI+PNg8ohUtlSn5dyykZZvir0+opS/AVe32upJPm3K817ye0cP9SqBqfMXu3SydVe441srIXdd
zflLhJva6VxSeEItxciBotxSfsKMvndkfD2DAV6/EjPAgf88AIciul7P53N0x3AHKNJjfT84MYGF
oCgW08mGFXqbwmZ79LTa1kIkI36s4du3xoc0TH6M1DC+H8h/Xs/8OH5D8ZpzcsFFUEV3xEHej+Ho
zmKXB66kzsAM1/H4UbCfR/mKKdcFsyioYzNLeyUf3GU1KnYe1MvmcziUt7Ej3M9K/V3rM+PYTZaF
5FEXKatuRfcEJRhCPbq5hwiZifPJweR0w3fkj4+Te0VeaNOQGK8I3cPyLk998SFyUIOd7uYeRqSN
sdk5dSFgM+0nB8Q5doFoPJ6UVL2U2Vt0Osbntd7uRsFutnOQ4U+jd0gQ/EvhYOogxSqRQ98DTTO9
ZLqNmcR3ot8lNDyWdCzj9UhS1yuPr0cCfa5DbhHuqg7FoBooVVBwIiTewnCHYpOLb6bmixFnorbt
6jOjcMB6+02UhCXnSrGPaq9Am6t14VgEbb4UqN0IeE8vm8vwkqLyS9X7IbmRGmdS1ovzthF2URF2
sc9sh7anYzjTvR2vQmLH0gV5R+ansl1vEr/3zLBl8KwU4I299jdSdRuR0Td+isbz5eIvTC8el9cb
Ji902+KdEHlxLVtzVQ3WmB+6Q3E89066bVXbuASLx3jbuSK8Fvnf3pDjt/no4o2Y3bXCxjg/sW0n
T/Oua1Dcu5p9OQEH+v2xexHX7V4NWM3dDYfM5djdX18W2IhdgEJ1JfjNC4OAb9Pg+lLtpw9wQFwv
xgMWsbNuX/YcDidtycGk4VUHVLycnXTymw9u4oJa9QMXtGLD+NJdLjhgt42/6LzTg7jOGfp0ukG6
nbUWPznHAYgLFjI3PSRevwJ4c+VAvKyqHahnSeVmMWEs4PRgps3k53eZFznchQu4PONe7BnsKz1Z
dq5iwFBd01ydVzkuFttE/P5y3TZ2eYdCLDFs/fG6Frw5iuI4IrK/ESCRk6XOr42dbljZl0CsXGnf
B+WBqF/pTgvPbvk6l8EkY9q4cWSGimDdSV3xJ+zjL/iMqv++mude7bdXv8ovOnqSNL7r3hrgBfuy
1R+Tm3I9OJOTO/UduQNl/w4/utR9dABe5qV3fWHJuMu2+ifdK3ktZ3/8qZWHQ/vba2ZidVQxS4qk
Cn25MF2thFqMuTDTiraDZh4VCddF8dlxV2nG2kGgN8b9dDCKxDodTiF1rDfUYbfixXOv/FreX5bZ
8rxik6kHewLwFews92v6sJgNw7l4xVLSmdPAWVYvZ+wNjjwDHLhS6Rg8W0sR3IQMYcT11/BafWgj
WPtGubl+ikzGva2PSnh5Wlh4wt3LmpDRw+iJDlK8pRbOcDsvGU1j41yuYS64VTwTEtVSftMXTr2O
g8kvlootbZoXjGXt2/RZwt00jnkYd+pbmdjGG5XD4g2JnumC3ziydf2IbqX9vzsh7Tv5xQr47UZ/
WQFCFslmLUcx4NfJ19BA3/aVPw8wvZj2WNvCI0iKz47t1Y78pqBguymWl8QpHGrB3pEdzU/hfLKz
rRIu6hgOw8x9ZdMEeHEchjw45xczRFvo9UBavqptRNmNw2JX3/arn2Bo7W8H6+/f5cvB2gqnq0QS
QXzXeIzecMtkXTfWVXXl9AGCSJc/h17bqtebWqdbt9oXZhY0+2Y+tSCten5F3upet8pnOi2VcScy
Uaw+qHpwlZ+a60163vcNphL7UuHsQW7kq/O/1qV2+qdirT+fg+ptsMm8v2EOp1O/xqnz74elfIcj
5oeFr1ck4wLo5kuLv4g7/VJejOjutCleCoyCTL7GqecYofrRLSvGPibW5Fzfwd6ZmcBMqcjKGic6
UoZSu17eF68LYUXXQ3z7WvDl4BL8+wL/vp/85wJnI/fv+4ly1o28UbjAhuV0YC9hOGlONv6L8FBw
457nKq31RG96kT3jNvlIH6J1fE/prd0nKDOswrAydVmbP9y4X8ktf2Ij842Djv81foOq8s/rmsQp
1qcF7X4fpkxHYQD6zZm1fqxe4o50CSvmtLt4hrwpnTYOFooF1sQLf7mtn4cjtlKooqOyKujMkM6k
iBwTC1FTkMAwUICeOcyulhIILp7l+ySxBKo3Y9csrDLeTNmShAvNlhHN1/jGXMAN1Ys6P5dwJi6Z
Pn9mOo+lRd659i7lRsj2dLJaCRL3w134C0ehojhg6QByQ5J8BT3ixmxaCVvTnRjG40qZa2JL3IDB
wAduxndATf25OHbbbsPLuR9xr1jJk+ZKIcQTImLr59pT/suKRjixIDwWc70u/dqefjuAmARVVtp1
EbH9sHbzZX5ENZ3u0yUVjpN7wIGW9InaH+m7YQufV59T3P73otX/Uv/+cQ1f6t8kMhgxqHMNi018
7NZzQLV5YTaXDS+vVivwGZFDPXYu95NTuFEItLPE8jszqta4rI90prJH+40M1b4E+XJyyG2nJLki
n0We5ndr1oj5mjKmV8E8ddBd3Y9sNWhu1DbMV7ovO+oDxkihYPZOsGh945GO8GSiAHru8UGonnBD
rXsf10yoc84Iiq3a6zY05zTbmF45uH7IgfySUfCrAyPhXGQ+O9oVspC+HL+L6WSMjLVgo7lLtilb
yMIaINSkcBEWbrdib6TFnlCQW80nY7lC2kW8Vb8S/356PIu/VNx/XMuXE+pqZmKRtDyefG2EsJfT
O63gebMo/Im6yrQu7Z16Wp90W77c4DLqyTnZ6ii3DgC2EF714HRLhjf4C+e0Ix1e34jMRlkX9Ua+
1cS5VdY9tXGHkG29qizcBuUnBV/v5J806lOYEJDvREuqDDZ9QfIlG1RqebIqJ/F+qsfMv5xgf3zX
rycYBv9kULjvFzfbRoF6XzqRC/UMbRykob5UbsHJzdbSd/ynU2a10gEpnhWhiMX1L/m6ztrIb5Xh
FsswU2sZiLKqtpqMKs1mMYE7rSqS1zHPWtL9Ati3sOVH9AKtLWxKA9CIQj00VMTpbs+g1JxBdhh8
LbY0DJ9MdHq/al6xlnzjPVoOK91lLb5J4zMGLSnsdNuK8Hcwfi2cMBYg387CSZ/xCWarUZSf7TG4
rCTFydcA5TtzN3xA8Vn/fpv/vnRnSdQcLKjpv46o33YUKT0PZ7MVo7titHsozzeyHUItWqt3l5vE
jZ2rNdgZINCb8tlpXsxrFyIZ1RzTwU7yX10L7CcxcH+hOvJRlfJabTl2bMNX74vcrVFZqVambYdz
WKf72cU5lx6RrS1so9urQJ7XjPQqW38qHkb/h+uZX5UvxyAZgSahMwtD07/F4o9tF+FN0YWjxmhy
ebQ7h7C+hQVI3bsMAxvQhwyNParEas4ok2LH+oyWzSNzVTx8jBuXf8B65L9tvjInAP8QkIHj9M+T
OdWTTFUGTTiSBJIx/STZXPLggh+tx7pG2NMJStF0RcPNerdX92hnr/37iYldwD3eVK+a/L2JlpX2
gptmmsIU23a+TyM7/a/uHTGVmqpiKUBp9+eFDozS6yKpjO6uj9V9tp3WyJzvuh1+rNwr/GuoHTIu
icb9rrvDwRHiQw6qH+qrX3XKtwfIDmEQTA9vIX25W0q9UDKVgSpH8WyzLZvMHGztbHBqvE2UWuzI
Pr4MycK+hVeN45sHKjn95/nYbmsf75xOI0lN/FmQPqJ5i2nbZYGuO03p1BJNEciOLRzJX/n3wlO+
72uGpko6YfpMi4Jt+XLzdCE6Jz0jPe/iJSN9alta3FxuGkazvjI8fHV6jzbVYxIFJrY9u3Nlp1pm
e5xWp8DYJfMLsm53YhAv7DM/PNklr0dv11erEH+40MX35ciLIdES64QASYSL//mURU0etKvBDT4/
lmg40Fgvyz10R1RY3V68i5/SfbdbDLbyeqnxqB26lXITCVZ6TyOQvtQOB4yMgzDk6BB8UjQAh6lu
C2YEC177toicOAtOeFsdokcAyG+G8NfEjdJSUxt4QAL7+BQip7wQ/WVJkhW9tiPmQvsSNo7mnN8I
7xks9vWzarWilW6En07+vz0pQokQ0sxhb9Iv4uy37RNDrSx2E+9j+aj6o9tjebLquwsu7IcO17fu
ik/TlsYKAvG9XwJY1KXVvvL6KsGA9P29jX/I2ftLicgjUXWy1w2ofQS1fz6SvjB1WctllmW/muiY
Y2fCQ2XVtrG8alayPN8vbvNt31nltloKoyVbIsLt/Icq8X8/5893j9WrSgTVEkJGnOGX5ssUWr2p
5EE+FmnYIiMyd3LJ2zTECGudeHzAfdARzr2wtMK7RIf8dIIkc8aMVCCREk2unFFcahVGMEuvLFhv
SccF7aICQWTPbnK5S2Bp/Y5UkFsSOpzUsJAslJR5JmNMtqrpCtH6pKwuEGt5bTUKqSkoAgX7LTJ3
6FRSx6Svwzs/YN8WI2XJ0YKvdkakzijMGMG5UvxTyzN8i5jF65yCSsbBafddUJLXKqwYpiwhP9At
CAGxv1UknwphUT9lMIud3W20KBA0+1Q5Xb9BVgd+1p/srPEaLjpZ6WiYTl48zELA08KXzl4ZLbUo
jGOGGOxVHLHXAOCQ+OIMlm+ySWdaNmdaVsC/unwSu4cp3nX0XYNVNHf180K1LohmysMcYDPrDG08
3JaCYFGFjgcTPVnAFdUzx2lphNmznK4M9B29XXwgB7SvK+3VILiP1gseXnBhw3MhnKdJHvC4Bukz
qF77cLLHm8YbbfVTuGwMJsaRlnlCZ3gl/8DGiuFHLuZEYBulsHB4jh/98xCAG2IKtE7e+bXR/Lq+
Kw7TcmDl5QguM9hZ7J30vkTQ7kzJPj9JJMS8RlCM1lWy8WrTHQS1NVd2pstQbbpHaWS0LZM7gbUs
QbEBvBzTq57pVO1sPYXZ0YSRX8BkAE9ofjH6abtP051M+EGkKThs4DGIOxnjQGn8S+fE+qYnTyoh
AMnKQr5DPw/bwe2sw3tAVapuiTiAfP4Cr/mqH70ouYFbgjZFOJyuMkdYnuypJdPKalNbFumPGR5s
JfBr6bIUN9MnhWNqOifB16tAG9ZS5xnFK0Oa+fDFL/ny2O2i1M6MVak4yrStladcc4FjTic3+mxN
VE3Zmxr7fN6YWKLD1N6R3CEnPx90YxcRFiA7bbVqX8p3cwXpUNyB06ng4KfTe4XTePDOkt9Wu6w5
iMp9Tvi/AYRqvJ9bXFqybY5oSa/glGGMod/qNHwrqeEMI+Oa22ili48djDSj5KZy2F3jTz3FUokI
QeifpnSxNPvgZBKwM4UGYQ0wqHflEEAeiznUYR9IgAEtqQAOQV6kDkM8nknKglOD2u3dnEm/Fk4i
Nmq9cQmJYorwtce67RAQgWCTn9bqkkDvf5+x0ndRz7w/8c+C3HJquy9n7JSMk2pE7E/Tm/4IkrmS
VsZTZ01+DKLVWBjkPHM//IAf/gWo/fNT5wP1t/MiGssJQx+fKvrxPgumoFwlS9mL7Jk5+Alf+vHT
vuzBAu7ELOp6+UhigCNCNM0Fg0ra/ILBrfEP6ex/qbb++G6/OtPfvpvajYI0tZ18RKZooml1zdv+
kG1Vuw6vV2s6iiiCeGtWbGnz+1WbVirswRFDlGaecMw8wYleO6d35UPyfpKc0+MVKXDGYX/z72ev
zN/729nE3BjJwKBCIf3ljBwZpK1GzUU+np6xmE9UIEsI98gjWWzFBOhArXyxdOWPXLFEJcxEtNB2
/jbNaKEegGi8pp8IZNnTcCKYy5O4ZYqzUJH64hMbWr3n4WkVPy9+qP3//jR/u+ovHgjGFHDUSo18
VCwkGWvQcrfwgVCx/vntD6XzX1SePEwDuw6/yCjPvlR2kjrEospIx6N2Oz/Cbt9+JM/xrnzFsLu8
blG8WGRf2CJAe3YbOfgluqd/PyU0Tl8fEympOnwGAzYUxLjSl1dUvl4bzMypepSf688Tnt7PgvJ2
WGF3bQsHwZCuByRDO5OJA0V4EPu7LMH9y7GnoaNU6qWkfpqXaZkubkhaSMRlT/ZSdfHM7PkKWVD6
em9a5VIzljmnVSyjqlLui3vtNl8aYfl0MWw1xPNdi8+CeddHj1IDj25dLt4g7vv7NFrJhs3MgfPk
XScPQDR9j/cVZ9EbwpyymIXNC91pO4QWEHZvESTXsnVrdzwg9F6edKwpnwnK0feIcwhjMojZsJ4h
YDqTVeKP3uTGA8kajqrYi8danUWviRGgJmjB/kbIg/ZGmnbJPq23inIYTIKo6FNbX6yelE9Z2hPN
pmZrokymTyNdJ3s8w8ZjSn7ltFjxF5XSRtIdUrXWYw3Z5k+SP7akD6zA0gSUGNidhv6lxpdfm36M
ukxBjwlHidnYtFFnRO/RkxCa8EbX+3wGMpq3q9m6ZpcEonq1zWmnCw8JmqN1NK5SgsJ4L1qQBOKm
fQBbZfnv9fJ9yX5ZLl/21tFcRItzxXJBD4yBcdmWsU/WEuoHufRPF4+ojLsTGRiNVSqHiCoDmGsB
EInacEancrqGH67InLHQPzaaX5dEOa7DyqHs/rLRFItRaPKxUY8QmG0WJvJBO+1006+QTiQWtmb9
skmkXUWcCekBC1zbu+HigEoNJ5/UH7W+aVvRYT5O3D5k3TOJG9aFXIfppUR21mJe5XQUmuNFxlmb
P2vDqlm81ZcZ6MKRO6GXPypsv4ZD4Tu8d8IrzuaZNCfWYlDcAsG94lwX9yQ4p2Zw1m+K8nZYvGvn
p2vRkh2fBxkknKo7iLSpxAkzHE/Eq7CALrI/5c8sc+10R85h0a5FiWxqrDdbUdwh6Y78HE6s8pX2
UaLUU9qQOGJSKRfIq2AS82VE0Fr9RO5UBsikIiLplxAAC80FE4jzIGKwjGH1x+q6vOiguxmBDFYD
rS03GyKsY9Mu1vPR0aPUShyc2cpMHfDinD+klO8YE3Wh3LfaR3QqWAu5sxhWfJe4uG1QOdOD8O9K
SWwc+MxeOw2rkUn35Xl1kp2eWLaniwixGYjRK6l56MuRtvUnH+EYeVsltS12eOoT0cYGI/EF0Jlh
XLg46huSZndcpgdCWxCilLzBzHmXS3rPi9fLDquud+LV5VbYx5sqiA/a/RVQkPwo7Cjy3P62R5D7
mI6YhYmkSrFLBFs4BwcxuNZ7pOzNZJmliy3HkKlMbakmsRC9NKJId7h61+2EuIDmQqyqEEaUBNQJ
XQryJV0KyU0UPjm2qjURNoT3LRvR+pCQSDwka90fXNSUQXFLwOh5sC87GNiVtivfph0NtCBgDbIn
8qRc3WExZ68JubCWerKRqV8rWyGpYdcuZav54IZAVzr45E13+Fis8kNKvMcN7f4V9dYOC0Uz2dX7
6QFxQvo8WiMyGRKBsEERbvoULfzi8nBmLh42bcj/vHPPKbliP/Sn8jeYfH4zF0ySwXAKtfMV9zRn
kzkx7epR2glYgo7Dut/qgYZ8Zk8fADPdPDMH43PeUC05+H8YTb4XoH9ewVcXkMb4gPiScwVM2r6Z
SMvcDISUEom50tW1dDmceFfGxG7vRxRdoy13jnpItupn5SJeObuECzP/7sDO6kvLaVcmbHqSIxOp
HkzJzUa4uOVyqIlcs0bJV4xlM20H47URNh0KuWglwsRX7kkKDH2fjh9TD38vjZamE+gGqqood32c
rNDeGFiyrqZXfMjY2557BoKka/Wxe6m92NgnbzzEHvYOL+t1drCR3CoeR5lERjcPCk8MUOj3WFwT
t0RRYjr6mtiFK4RieLo5I3+UXYLzZgHl+ZUgMmSbdesO8LRm95qcW+dC33+KnYKAqtJ4XAgbfiMV
TuVhVceq//Dv/fpXNv+37XpBoqskETbOcJo/q/OOGQFXorCV48XV3xafEa7CZcnF0OXtz+/TcSZD
19NbMdmti+uDzlawgXkihKxPyUdma5vuE7oKgfgMmyfH6P0ERfLIa4MCtNwaXtvNewfy/dfROXkz
lF056Ip26S9lVvFCV7BwmrufhPnfqcxfa+0/X+zL0dgoYithoJ+/GL6b9ZUQDGq62+khuyPcmNwr
HwL8Cd128Xi61cIYU++C6ihISmgIcocPDBT4qV34xmV+uaYvzUne4bdoUkOhXejdCcGTgdHKplQC
6nwCRiMKAesMk9ovT/Gncbt4412UPs/35Q0+6thiBaDJPt0QdSK8D7LXBz/RS/J8On9bDjqzeeYB
kAzH/VIDlxpBt2mmozbPrf5FFtzh2O1yB12fsgjJe23GWaQ6F5+7eFXdntKd+mouCVnzINSIrzUV
K/thiX539M537bdrmjmL35qsRVsYE1HBypG9kU6JiBKr3gJdNKo9LMc76UGwxVt1x+7eMPmBNla5
7w6khI2SzUn2wy763ck4Xw3TXwwIGyYB/GoJf7uaPpum3GhU5TjLpn2FrLkDWFOOPHmXhFSUNryn
aCt3iJqbuxMisx86ue82xi8X8GVhM49Fbc50MixsyZMpfLbtS7SCdA0at12Twxvt2yXBvjBp/cNP
vO+PX//LEu4ZUKflAl8fGK22c3Lo1vhB/MU7KSEKByqnCKUI50dLi/TTzf9O3fHdaV8Zc2Yw8uHb
1KRYM4FYhVYBe55f6zN79GIpvWYbso2zj+QgIISamIOyTNlxkl3qD/sr+R0/sRXa347S36/jS1+a
dlNa5BnXQTr3C/yJaNMI2bO8VV6WT/IATGdXdt0vL5nTtk5yakjaCRvKH3KTkreWcV+xZJWjpY5e
giDqqdkstvq+fppD/nmksks5EKU7veebDB2FW+INQHTDLobxUDZ4xQl3LMnKff/3efDdDDrfYVVk
6hAgEUDRl/J9cWGwQKcrLO8lKcCii+M8SF+74MS+hJQcORGhJ+efZwT+rfH9/XO/3NE6J5A+WojK
UdsRBDatVTf14lt9C3WS3PX0hUYwbM526Q9kQh5/+NJ/fZy/fekvhyC5x2VeTny46p/Ci5/5IMZW
uwQpDX74pJ++5peXt07Lqu+h7o6yT4eBvExaExrzMDwIF0u/y9aip9nn4Zczvf5VeP7w+fPr+XV/
//02f3l9FfXaxBkKoGO+ngtAneRrqyFJCgEpwwRWsQeMzzuMvYSaGNe9uf9pJqs6b9f/uISvRWCU
XnN9ZPEd6avO9gKCJt5cXqQj4OqFNIKzGpxB8hVPHf12ez6emTxvwumgz0CtsQFaEDBbNJs0UGR/
2JYHINPJoqVQFoTPOwquEuGpo4HHZ/eeQO//wH9pf2twf7uFvyR4vx0AWovwW+009qA3vAdgMfLp
ATYuP4UVU0HPdo36g0GhTIRegE4Pt9OrivwHxo4IAEJnE6vfn0/26b0m5JvkYbJVjOReuUmEm/Nr
mtozNkqMeTYbZqUeNeH69At3b15acgFE1HGwIWcre4sPZC0ltd8xXOmnUaS/uvR/PaQvZ67RLZKr
nrFOict7WYCebszd5Mgu8UUn7SGNBq8a8U0h+4iqV+FBD9Id7NO2cFPn5IhLMiQ34y6bthX1I3Rn
+3Y2t5JNX6gGgJ/SBvlqCplJcApzBiQPykjinQtVGBmiEx16/KvumrqPkgW+jO2ToF3VxuAMgTbd
Vg+n7TlsPvSl6CfMupBWSWmJBd4IezZZEfMXwkilhDZaXUiMYWKfQ35gVKE63sTdEuz9h/dKnHn1
f92w+ee/rYooZUKeOm8hNVzROKPByIpycXtlASt4ADo4K9v4kAJAMod4jq32Ep3ZUhlHQHTTiV6T
bzAsy9477cUnrhVWwaEjFkhx5gHYGU7vW4Vk2Y9CXg4xLiFvfG7v+OMnRCIPxKYRMnbDULoGi8/R
jNy69PHT64+Le9NLvetD/No8yLdEZxEWc0wZ5jbrEcmPEqMgQlYJlQU1eVmCqhSu0frYUwtpH9fb
qvPLAVv6Ta/fyMyQUmb2pMOxrdKxiLaQAqpsJtiTwZ+iUO/cJgqk04dA38bYhcr94Ub/fQPFjA/F
inTnqzVGFeS+UvVBOV49faeGUZCsSq/2iWhbpffQ6XqYB3GY+0IQ+//+6L/2z4Y+G6LxQxvKV3Fk
VRinVJZ7Dv2RETC2KofVeaUajk56BAZK+xqySzWaJyNsIlwbQ4PhoeB/ngSAV+ffF/Nrl/m23n67
mC/npZZqQy+lkwLPZBWoYkSUN/NLgtA0JaPYYVDspC5lgRD/Ozh5sl/1Z2wIo1M9ochX7tgzAZyg
AKbMJfKzBQaBGxcCvOWS9lPN/NdTB8OWJisKhcXXyaNj1EaxIDbzqXM6jIUTDfhpCZqIXMw9pOSj
ytkWe+0Of49yV+9+dv7/ws2/367/XMG8qf/2eppynlYRQ8cpW0sCNDkw1uU7hasN5Qf2oR9qxr+8
qOvG/6kR1b83fRgUmPCJvkVn+OnXhuGq1FmW50V2vHa3ot8LHHgTORJXchsqIM/+Vrj6eetXp9sM
b7MeINlRHvGR9wsMQU6i35rVo/rRziag8w3G12h4UvtlhTy68nJCtDKsrIBtr9XjJPoQ1BNdbSs7
i+RVbg8NuPkivlf7UKk6NzHuI9IgultpXBbRjWKgda9xYN5dWn9gbsHVbWQ/Wrh1HSA8riCneo+x
JjYhtVC720uCCbEWPDIMLVwZVlvTMIdSu9R+En0pc2jal/0Ua5/EFC6Vkbzat7t2EZW8rBag9Bra
uGI11WQcLs2rn6rvJGHlQIb+PEyCwEr2u3l4lE1mKZxE/6kby7nRr8inho9biff9Jt1nq/TpdF/f
0GsDACMP0aAdAHjLfbcvnxKEZJwriHVf8DgdF4TQ8iLYnDzGyEuVvo0fSXhy8oeHxa10071maBtW
M4prIvW3L9ESV5V6x2AVrbSAo3BzLZ60LQDOg/jYr4naWMbBFW1j5Rqr2AWMt8zNZNdLCi0XVbdF
EpM1G0xI/QmYCOipPunUvgCwWrrZrn9QZvpDNwg9IC7DPd8XtF0hznGZEhFwU7oHfqr2QhGSC64j
YP0cl3koPnTP7f5Cs7yfp+Y47arxTvi0jGCEeDQdtBxPyU71NOQnocjJGmab+WgyrAh7Ve1Vj9Vy
8PNDcsvf5Vx1R10mhMIQITbDYrqFEkRnwwnIpIUXQzwBrrmDD0eQnb9A+9OK6Z+XnKii9LXfLFLU
sQybsuIHZNsYQUw0Emg8bky/XLXeLw05+buSDeTkINy9Gb2zCzKnB7OcAlyYSEe7etQP/0PdmSw3
jmxb9l9qjmvo4RjUhADYkxJF9ROYWvR9j6+vhXxl9W4osjLeq1lNwiwjpSAJAu7Hz9l7bekNjd8X
eNi/TKvznWADfRS3iGTusGlupTORKGfFbU6Lp5Xhgfw8P5GpQ883fOpLJ6A5eDPglpFOC0lg9BDd
rI27gXanDNpyZ1QbURwLOpIANyQCirP0EM0bZQ3Kv96H8cpMV0ZNX7Lga9yNR/2LjbukJ1Z5Yb2J
9s2lY8TxxLmvIseZwsZJr9w9F7k88iBJjvoJ0ThkPIUANrpnIDw9R/7KtHcIDyhd+0uNJ/ElS+4Q
vvANM26tQi8KvXbeCQUtNX/Q1Ce9mHQwDoZyel/dhLZb0/AGTHyUFpnmWj3Ge2WxlO8G+17Od7L8
DuhJVRwUYQbHyOTi39m0JKGvVT6qHhpPrmmtGg3RgVsg7Lg1Xiz1mmDri70e4mjufybS8z9vYeL3
kolHHL6CquqGKePj+nVN1vVGLvu5q+4HyuLRTc79scav6Bif5oO1K92Gtvl6QVIZ90w6rpUXq6tq
G5/Y82K68TMzy55R7OxE25RbZgrc6FRQEbyGm8twOVGEx/e6EzrjodwSMETkkxttjGpdozFZxzdi
p+64k+2T/IkmD/rLtsQPSDsWAcaFkYKAnEV3+uUNBgJDisUMvqaWnL1FufBf6I7/6XL82KLqKNQL
w+JyUFvIzmJ/ja/qyzJxtvf1Hb66P9Qz1lIi/Lon/nr9fxz1dXWSsz4aWWIppMYjSAWOfOlKVjaj
DeVnpUoHzfIQHHK0QTYfMFN7rB45mPGYJQ/9gckZllxxJz2jcUhICqZxMXJuXA+0DBo32HIHu8EK
drpHWE4KvWNcmcHicq0lp1nar7uE1glUwumjznYT86+tsadjfG0JIZ8PJKEzP1kSfHDVxM+hvB/o
OaI1Dzd0ayexl5KD5Gq3kuWNf4olVv90cX7UV41iBITzcXF6cUMxnwKduX9tzsVlbd/l3aNabQnc
QRGdH6wLLsDAxtqRb8RZvlNpZ7P4MQH4UyP099qXLwxzzoLLYoLzG6jLn3QirprqvlvWngR6Ph6A
mKnuWt5P32BSoIkhWrJPuKg/cF5oQJGZjDNR+6sn12xRmB7kP/Qj/6Ys/uVdKctO/m+llaS2I4pj
7tsaesG1eON9OdYhe8ifiLBBZ3KSn6U9EVuutuPYYLt/aihYvx/If30DP3rWVtjlEVOM6p40ScTO
7OTDuYXc+6Ke8bLVbnwEiXlb7buH4NJuoUyQBeQY5+Qin8qb5JA9yhfcs/pFutHW46f5xQ4AQ92p
OieG9HLVLvJOv80u4rt4024mR2BwGbfyp//ZEui2D9+I4XkzZgeWRPTC4FQJyONdTUc8A6wTXwgi
Y0ecCMcAh/7+JzOD+NOH/3FQt3yVrB7A3fTr8l2FDPkpmZy6dpkRKFdiv0hHWxw5zZd/m9/4++yc
0SbZ9p/jJ/Pi/IbzvNZslpqFhBicijZ25rOcnhssCLA54BMbjv1mn+MbkosLg8odgrVXH/DjTQ6a
2qO0j7c9CESvNl1QiTSdrd2AGX9b74f76kheCuyTNaWLN2wBIbrGyOyUrZLOxVaod+Jdpq4VKxV6
NFh8qid+7k+efONvl9b/fHB+iuJtOUsSIbhDwmPyFjw2j/p32WyHC9dHuxaPQj4R5HX1N+JroP65
nbAQAexysgeOzdeaeyS99k8BrpCH/FCCW0zP9Z0hnPYOvWl7pzyODMfvMx03iSueldP40N+1D/I7
Yy63OPzzrvnXe/1t1f63z/Jjm7C7yhisnM/S7Vu6pBhvUYqTAfaMGuW/Qgf820L8317vxy6h+V2u
pAqLDtXZrtv027/wFw7W0D98MlVe7tV/+mg/1lxSuppADip2wFeyfspV/SJj7kNbCp6H+BW8MRRx
5SpEFFpzY64pzilidNONJA8TL9M0bZ275D7f42MaAfGPZ4jG2gSZjqQxt4088cWshnuYtkm4OB0y
Iixoopm3KbfgsFMUwiJIe9raJZ2MW7lakc5j9WxWvrKGsoDgOkbPi3x5WKGC5ldDOKUlSZjL01Lo
K0JoEOEOL+g9wefVp5CMp9ey/xjiFbJriovwHUgKSzN0vdHr7nF6Ttf+lRsfPhALRABUAKQ3It43
lCV4ovkrNJKAbd7Y4sJgw6Ml6S5YoO4TDbtE2iDVen9awGbRI/M3rVzrvDGE3+pfWxDn+2vyrt0H
0pNOEy3wsN1m3/M1JmLvZYYEiiUlP2OG8SRoU89Ztpi5/BtpU7ih1x2IE/sKsrVGzZvjSJRQPTxE
gNRrj/Kyh+9arIEhyLTgOBK0zHv8V1yPZbThN+h0RiR1oual5Qk1i6sTr2jhLm0InOz2N5oO2BDK
m/HQvlK8Js9x77avxkNzQ3OlOVTIEzkolSsbFxl40Ofk/Z8fpd+9yMqvG8ePtj/h73Pft9zaGDna
Yxls7BupWmpKHCiXyQnu0Jqsxq2B9a86qtIq2Ix7Y0+HJz3zxUb0EfoNqzx+mH9+Y38zhPn1jf2Y
EmRTVyvZxIMAB7+iXQK4ANjZAaUfu2joZLfUv9jR/iQ/FH9X9EB6wX4DYEcQ7PbrVp5archEmS8V
+Tp5G49wirGfydeKb5pCcGXftavhI3/nmYwSTyFyS1nPCu/KKRmEFhshnKA8ozkvKvgr3sxRkrw0
2ZtJ95sfevPbRKmBuhUWSaRt8G2CrVjzHzN5nOaKEosSXSeOCbAfCdfAPweipGnkbuZ+rYpjhLrm
ftSOHVge1RWPPM+3o+mSHgZHJXSGzClROsobRBRKcTM09KJ9fHXVjTFup9x/KnppLTWWl26IJaiw
qtreoD5Y03Osu3/4Bv+uVPv3K/ljlU5FVxtaVFT3rStPdBkIqsPzm+1Djh0ElZ6XScCneZjeMRXu
/vm17d9emy4T+h5yNVD7IPX98S2KqCbgxZf9KxNqc0aS9t3qj6n4KNseROGpH6JN40+u1W246I25
FuFlVnCY9LXXD+Stxs8QCf1dl52V4DUimKvYRcRPAhiChkbj3rQ5iOLnoQFASoJFSGX23ujXeb5r
S4/RpqrQuHabHnagk6hOdCPdtx/y2T+JTXRHTJBDMCOHvOaQreHtHq3Loh/zOecQxKEgPMOgI27s
/DDFDwELeRuepOGNceXKLySv5HRUi+gwz16sQbiL3NR24H+FspcHNybdgLAhU+Wpne47Yh8ywopE
j6CKoGSTM01cPYTLepQ+y8W+bv/wtau/Q9tVOsMU6OS3U6orP9WPtZFW2jx0xlWc9H1/nI88G5hP
9PHCrsGFVIOr5lvHaHyJBUs5OjcCxRbAT5UiDkRyiDOPraNCAtmQ1daQ2qHn0VV0015Ht90t4SVt
62h0pyJvYXuTYr7VINJ2Ccia0hWwlKD9vRMp7t9/mFdCvmTt2KQPqHLUI10Cer1xtI3ne8u4Umz5
xdY3T1bzKt7Za6oXmzmaR6aXVh54qbR2COhkMhPF66rybNCowXbGiA6FgeK2Try+ALrpYP3sizdT
3+GS1TDe6AB6N9R4Ba2tcuEapOOKj4sZz2aCdQtuT7w34o5TXEVLGpMxKDNYGmrqlJmnnBs6ldSf
bGnDiXifPLvo/qMENgPVmktd1oMUke9C2F8sSeuEvYEiCKW9o3wrG0gd71mw02G8v1oyhPIXW14N
7N1w/K7GQbxVG9u6WA6QEmAkIdz09/wKsBHt2OQ1XNX2idxU2kZIyO4EkIUv7QklmHWridUCUKKT
s6bdH3K1BgejCUdbXcV2v9Lu2iefADAs9+kj5TTVxYYN+8N69RuXlKYVI17jdbndH9ky8QOQDZMz
CcIPgl7AXsMNjBNytvttnHwQA9W1BzJlM9oew3YuHyz7cdTJoUpuU4IUzcE6VTF3e9p23pwUXgqm
N8H6PfWgwuZsTdzbvtzYSDEMipLGf0nN24pocG1rlQ+M15QXaf3P647xW5d/ufdRMBmQR0ztd2pZ
EdjWNESklL6ykT535+GBNtgwnkITnuSmGbYIIIg8lf3vsXAl48TWUeVOFOBBuxf+3Rjd8GADmKjd
hKkh2amPGhHe85ZhSvDZn8O7GBoTgZOeguRa4rBdx5vE2Mz6uR52grZV7KbKWsTPZXciCVXrT3l8
UGWSY1zD/wbTl2PT+JOF+3dRIx8bqDAPvaUgnbB/VBFS0MckIobGlcrKXMWf4rFcp0xB0TG6PHUa
Q8/VAnv67zN6lxemRY4xmott/tRqjZFcJrbk69fBAW+04Vk5B5yrPAKrttwMPr0r8Q5c8k9CUmXZ
vH6p03+88I8zZykkQe+OF9bq7dIt6h04vAliQI73FObmp8ZBD76C8/9wg+kqn1VwrWVN+3GlzUEr
UQdp+pUEUwhP4EDYwJhT7LHGdRdsZEnuTq9TdUds9ewmEJahK9evKkrr9iYQ0ha3k4V/BRwHkcJt
Pm9tgnz76a5EjTuEH418KIcPuXXtbq3BXqJ9S6C1fLKUk25v/Zxy/tY0QGnXxAttTRxpdo6ZIWYE
zyhJWFgdia3V8Lj5hwEXRaK/6uG6lj5N86J0l3++Gj+VWBhMTXZ4/FwazHZwuT++hcbSy9YoDQ6a
g3E7Ggb5o31Nj/0//vzrL/7zj6qJQJZVxEX+/f/nkJOorQFx7K93+d9KEPqvxQPdlF/5ta2/vtrT
W/n/Q0bQMuj7v2cEXb/q9+jtl4yg5Rf+IyNI1f5FEAB4bcVQTPxGC/Ng+Gra//k/FPEvDFrosxXD
IiUAKcn/iQzSzX9BrIAJSTSnrqjK0v7734lBuvovFXARdmyTh0O3TPO/kxi0kO1/ecIZU6JuXAKL
lL9M3orx4yTeEW01l36FYsU+dbrawu7CKiSI365FUbltGh5gHdOuyZLSLdu9Vsf91kDzQj8fmUgh
TWtp5pCdqblrZhAj8hLPz1ShM49AhaYK9Lye8n8uGmROkfkkpjhh/Q6IYRDKTTJQPRKabSaS6tlH
IIubSmUiGZXbvEURRsYD85Watr1Um1c7pgQUebrNM8r9uQXk1rS1m+lktIXJ6zymKGlmwi5NAWYx
8L+MNn4w5L7zQp+MU6seyINkR8p9ccpiMRPFKxOxA6h9pOlVK9PngOrQqRhWQEFnYpUBd+5af3ZU
vBPSMAqWg+Q+zeWZg6pu8FdUYjmpDWPsqztBPh5PMgMFo0TzF1kH3dRkp9hKdaWTHQAXQLGYKiW5
j0nX1wD8009Ik6DzpHDccv94CZk/USPZnpEptZPlX0VZ3dQSXrBJjRomvjVHoTx89Q1cqpBwqIW6
cXS7MqVoGgAUJnpwbExQgoE5dOthkpjkzdVXnZCUqdjdNmr7FP/f3iTgyS7jJ3t8lCIKsSA+2NPw
mfCDLJnJmy8BDBsS85VE54yGx7jASNL9XFHLRLr6nfV4o3XmyGOL837Q/bPgMLIK+IIys0ZXPaOn
J6vcEFiHdRJU9DKkxWP6W7PkpN+1CRLiHr6lVrxXE7kH9TEMBny91ch4zG4U/vF4VVtIf82Ww3DU
FyD//DcfhEvL8tKhHdQaxqNmBH1u9E8dw2KRduvAmE5l/00++Dbtw8euZ9DB1dpB0lnpVCl5n2Ns
J/TZa6T5TeZfmEI08KWf7CKfLF91OJdZhuOP3wsAj87G/BLHML0GRUNklCvnIfpuIvMoS/qr1Eqf
g8bIN4BZOTSVE5B850y1SqUqaY+7xIgI1YiCkHK3rjAZBTr+vZMviVPbYyv0XTPAkz90yyixMt+k
Yn6cOHA4Y8MYNB7ABtjSWUTD0cyDS26Is6WIZ4PYSyKAs5uITmQz6Newrpc5PQ1Wy+93Vd5/50q4
G6FXi3LGBbh8ZD3r7mpGMIVCK0NpzyBFrjXYgVb9boPs3UwmIqSMh2D0j2Xf3GgSB7FpMwRYh3Ac
PpkhjRKaIvTPA6O5s5Tyow78TUAsfRenJ71Etho+6EPlcfEOU17dtVW06/pj5uscEuaKD5vXHBZl
81RHyn1gMhPyu4pjDS2fMlWfqzqAC+A76otllu/qkuueCub1Wit9aCJ6DhoQZWia6ubQBQYEtd5/
FSS0gwpvQkc5SDlJ7G1DJniHPI9ww7diGXNO3W0UKzutRqsDu6s16zepVz4MvX8ZWu5YYFF+yZJk
G+ZtWag7Gypz6ZMRpbR7M+BmxF5wDDPpUg893YjEos5MHmNIW7UJUipMcfuqIYAheBDEMjFXD8iG
TNWFjTom71tSwjlpNe1zFKdPtiDIKcFOaI6lW/T6NUpNzAEduuUoTAglvNSKhqNM7TGX2+quXuA8
GbehE47jU61P517mSALS6BHFBLiZSHsfw2mdNsy02zAB3J22gJ7izxmBcht/dFm5k3T9ZGfJ2ULL
zCXA2FIxNahnfjAM77p54N9pjK2dCA6NLPxqa9Eny5+igTPiOA43NMcat1UaLr8JWp4otldt7kk/
bBBm5GIbNApxSJjArCI4RXq2b9SIsogPlRqcB/1WO/nkrtqmsmu67lOrC9qcvY49boKKVmTcBSWx
cFJFO76RpUNgx6qnKf2jItL3yAyJfRmCyJPJNG5rTlXiPVj+MrXV58YmmVPVnqaxaVF2gJfSTOyx
rXG0pHLTLe9BRKNnSTy2bQXGslUuvcD7FUSGx4qqMapMgUDKjtnTXzKCVyVOsPjxJBUKkv6UKdtI
2ro76PW6aj6mWcuQww/jCuc5pKYZpQE2NIJOc7AUmC6buHqaZmrPsRn5pEj1IvWh0qXXen6ypVOa
jp9+YJ50OO4SNa00Kzur6jjd5uZblCFj9JtqQ7DrM1Vm56ZzcSIT3Ws78r+K6EEk09ugT4qrh/il
WJjVcTGvmaD6p4K+wKjZT2GSQT9tOFBpaDia4EApfW9MBhTDOP9MwtCmvYJcwiq74zAIVubWxAtp
LWnD5Bb4wFXh17HhCmxXszyo6Mxst5vt577VgAUFXjMUppP7tLvmDIgBoQDdNHBvaI+9Md20fkNk
pkG72bTyix9Lj71J9pmJoN8bgmXmAoqrjTBZzjQaW8NKvSiIXqpWR9NvwvMvgk8h7ZQSJVuoRq3b
TfmFpxdRAOK6MGFv07p0mxrNEq4NaU9hgVCzkZOAz5jfd8OmB/Og4yLM+gJEmxjmld7tYm75taSM
t/ES1iu35FLVA8z6nnmhCStKxNVz1OAOTElWUJXqqvTpw+jTx7THHNw6zQ1RkytOWnMXB3TENJb6
IY04dAKF99kF9agyva4iNUwPxEFWhnozajN+UZxGVhTzpuQOOWaPRbNLN6L0WX3YOR09ADdmz8cG
CQXLm5TTQEyMUVlPPf2icmi9Nlzg8ea5zyC8JaP6bTUMJq3yaSxQIAY2bv3UPEqqdZdLhu6q0QfO
FcKUGnjMMarboCVOjRPkuyyVPMCjgoCJysDKC7HVIj9mA4UJksQk49WV4mWt7GpJfdcEFTXH1DHI
iPuDXPijE9rKWzHaDGggIpeIJ9qA01EYLzumT5Y4HmS9bp+kMaVDQUa7U8QjClkNnaacM68IVViK
GZ2cuCBsPO8KZy6y0Ik7+S4O5LUka8/UQwkJcKHi5X26V5Semq9G7iZmA+h37oWCJZcdj5FeMbAP
0vybbfZxe6k1R00/SSgQLPpKdgrfqgjajzzIyTWirahIozul/ofe+F9s+7tRKF6nSIga5nTxZzTn
agagjY0zNCEljHK0JliXPaeib6X6lu0pdU3Puk49taLDIhMcZDFzdP2WRUywcde9fS7DftPI03tI
S1JKsVPwau047OhobigIejoYyt2UEoSgQf8xAqy3wRy41JCHek7JDpoZECVpfW3njgyJtH7BfWyl
4XcSRCRI+49jkH0EoXFjQRwr7PHeWG4uKaVhNhnhq6Xcjr2lraWREEKrqC9U1bsyB9MyjcZnTG+9
aAmCyWBoaQp+99KGUcpOmMd8LYoc420keHdKZFpW0oRM2IdML4jMyLVU4TszP7C0PIZRurFL44E7
P1kpRq06ZlleKpHelxkU9iFiJFQBFWhTnH95zZzKyoG1IETqC/RJ+cSaFUb9fRUktxyguP2qAsS7
eKxG86M2MEFLAW1qdtN9rCtek8WEb0bDWynznuuhPdtNpYFTbwtXTaT7sZrv5gnkTzhPjK0qBAi5
kX3HfnlqrTRdq0Y1rWKFkV9fb2MKQ6WbmHUk7avls1yy+RJ5NWVru8bTk7Yj/JeMbTcLwMXMsRo7
9UR31JcZyxH4hjk1sNZ9HgI9auDW5A0hp2HJEFOPm1UzxIYzWWIxM8hOmGCRTM203DRj8RHPPvWL
sjPrz8lPBDMDCoBW4oafMI/WpZWtCcnOt01fAk0sU80NCrrreav5jjzo8aYItJkkofJix7JgD6ET
opKis52Cl7gk8l1oSDgbiYWjGWaUOerkthTaGyXy733q+HWmNNjo8uhgJE12qvD1gzMqqQmLdGeP
9T6ajNgxFbJPNYo9Nhp3GiPupoBUYlPJv0bmoeWgncYWWK4Uyh/GiOFBydqGxdm64wwKYSk7ygVI
zi4jYLkstjbjo86UtlJsZ0eU15wVE5iDsxZyhjS6byUyKG0kRFpqgaSySvQnlPBDMwBdM9Xas1Wy
lSmVMCdaWrKTPAP6m4Fhn0Hl8gGJrVY6dnq9JSibC4f3xne0zRzbptNn5VdrNPtk6iWmldOLH6kM
oDRp00/zzHl1lgk3GzZTbRlbJaf1HOuF75WeMdgjxLZ6O8yUAmWcW47ty4S4cDpUYvlcWMaLbJKf
Z+T5VUrIqqzRt00pDeNxiK9To9zPMuwNs5mE0y2gAOtZHrSIjWwxV3bNpleVcK82Wyuiwa7Gc3EO
wqFx4rtkiIsrQeYXU0+avSXTzgyAJg+Dre1ITLJXaj0w6C5u5VJjaRjbz8bWvSkPLbdq69hVVflm
ZI91yy5vnViFNGXGKiPO1OfcE5a0K4U4WlbFfi8P5l5Pxxe5mXvHnHRrnQUdG8py+lCwK4Q5azvF
t1grabetwqDeziG6PLNQDnEmNU5RyNZ+EPpN3eETHa1DaBXFLlCn6yQXywQO4fpEDrtpQnFSrYBB
fhVBjR+rty7Aitv20h1tiPhk0WdP5io/KEZ8rEKbo57/Da/c2hfT8BgKdKdGSS9Ctrgxhx6lrGIH
xUYfwAZkOv9umIGtSgVrMsO/XRfAWB4pJSq92JvcXU6Z12TTMcDM2AWX/D+WKfAuOQuTqRJPnyaa
4sgGjf2seQjtVxFChqaIyL0ZR7RKBoMxeZU8SHjyUhaydnarcVbdypd4MHUkCHpIelaf3JEWtqbG
Z2ylrOsqEhsl01APSHiqhSiBIHTDSYoFCgDBOd7U0n3tQxwf0MsTKy9jqdZOIu+2VsLqkhjNfZ4p
TL9qRJNCKb6nTo+cXrVjR6qltR7B8e4MeBPyEpHEtkw0Wo+4O5QeA3VdRgZ8Ypm6ZYoEU7aU5bmr
DoPA9telBKrmwg5IgV/IrRx+ONMiDAhYknxr+sxni2eBgYbWTpKb9lGzEjJZPNVYDE4jyn6dZ8Vz
ZnGyFIo6eYWl0EjoH1KpBUWZpVSeWeBZIdleCe/LUjgzYR44JBypHcNUVIeYQB0C/0C+gGGZz/VI
VD2/q4aoB+wQqRm7pdNrXBl5DnonRWGgW6W2GqTe2ka0DGJ7QsBkF3uppejUx/wyJuR3dQQSlRNy
A46miU+Q3GSaBLsGeHSY2R4aX7tVgy2N1GeiF7/liscjy4vJK9XW1SMia+kmrWczxsxkmy9pnpPO
a9BZfTTt/tns/QzeKGpwYRRnOLPptuiRQqSlWjilZPurNHyjLCtyf1wlKg2GpPQ/YkPdlOnw4Osa
NXaqIp3swltdtu7/akq0hP6lVZR7dG+JWKqlbd6V17HTZFpGXhZbDyKLYfnOWOmydESFZPGSkYID
mvWQJChgu218Ueviy5qPllzAP9B1xzCq2jHA6ZFOlxz6jqY2TS67RMiSDoL2gNVu1bZ51KJJdbQU
+aw57EM7+QrDQeLYIXHUla1t0YQ0KcJZWWl28CaLY+/Ho1M+tXYcsivZD0rSfkwKzpiZ539VBf26
DpvXphOBaw8o7EO3kmjCyAW6OamIuMmQ6hhmavJ6OeLdC3svj7ziP3UqXJNa+ZCn9F2kkuyMsvyZ
2KGnaxI3BUU8a9qwqRSe6bpLmE8WWzNk+ZobDi4KyFxd4regWbMVxKxVXZG/dPAe+swgTyevhePP
/itJy+5gIk0r0let0l+05NLO+hNFukUyav05xPWDkk4NEpvoAdNUrRksFNn4FWXts0VNSAJTzBGm
uoadeZPJ8Xeror9eEnGWV47C/EOFw5fn6VrTtHGlqgEAimQ4aK3xoQcqlZJ8P0/aXRfB5Sso5eMc
EmMlO2VhYvQwGK9aFRaBorkKLX6Sazxzf/3clJEKoivPMus7dgGxzmWNFa2DKRB3wXYcKGJUqWOu
K/StiDlwFRKJg2maQ/KNSU9J4aNAxGjj1gZLnhRO1DPZgVhgM5UnHoDcybBTj4JmCoDdOWKZ9wM2
VmtY5zFIlHbA0ZqXbl9Uj1XUboq5Zb4KlAwH9Eifl+lcG8wv0SQ4LYCRsoqnyl8EgnrP4gk5TU18
x5K7dTVX1zgN3uXWfC0N7WYA6FI2HQPUYmhcmfVO4rQHsa8sNkahLg3W6ZA1H3IOdrHoA3xzRvIR
cbSYAnGdBwUTTQA4tue8K4nI9WW6csT61a4Ku1uWZ3EQsSd89aNvmtcqYR+tZ2Ypoc8JPiX1Tplo
ruUTPIYGYqVK6p47de+NSetwVMsFBlnSHNCONR2WoIEFWbP1r/olz5FIiDILzpCB5MXZTC4Rbf51
ufx/Q5LffZ8siqm7L9tyG8pIiCvLRkcN0kvpjE3Rx9gs7NmlCoIc7Ovf6Goag73eHlqutRoPNBEf
wkZ/yNoarSbtUoe4pmcJ/fCqLBpyCYfipRbxizW9ze3w3JFilsMSkzOEslGEgE2iAz2E5n0hx4Rq
CqA5kklHUEUlqwVsnbq8jpLc5lxV85SH9ndaZG9V0+8D2hX+jOytD/kyJoiH6qi9V2GdMr1lCe7V
7aDM0Ly1RUWQWK4ddBjJsVqprVpio8gvaT4+6wgyUpmloBPyTanY7c7SgDsW+bQ3Ens/aw3HNHsg
tdnPXlodNanPGVuLNafRqJUnyYJvLpc3bd2elKzTiGE8Jq0Bf4Xt3bFIjusT3QCbSbhqEpHk1k5r
sws/Jzt67BrebN8yu6vZ25YjfAiBFVmGXg6jpzQHqethoqaCNnLHilMU9UaSeODaUb+dYzlY04Sh
10jjouyZFlRt+yal5iW1QuyAvuYNM5RMkQKnmvLuMx5pGpWmWjptDbitKOVXvcDtUAAJyJDm8Yiw
xKuIchNSDujKRTdp3VLhJSfZ18CC9qL26mQ8az5c/8ZX7jOxlHqFf5F7vv7Z787TmBhOgbUmap5M
ObgbE/osaqXIDtecJ0ABCou3uBgWK3KP9E1QQ3FaIMOgDtd67OoTPkDRSKi68jOu/Mrxo7hCWLVE
GgrUr8r0ZEZKtoryjlTLRKrcqMvWksEezFTypuwMmMYTqU59HD6lZeamvv6W2jVNJRYsCGvxS6sg
xNUmxRtn6aFFjoaCDF2LT9Qb732ghgtjrxvzlyKTL2ODxwY6OEGqjUCJmCc7Vs5H2hWVICBh7ozQ
wYBbOkmIF8eSkTkpbbzpiojq1Iiueam/T6lOVGDVl+ui7wh56yUWpRmHjYlmxw01e9uaxpcWgF5O
mhTCbsZZUYRkBqhTvo1HaV6VPaVzU410QUJcQxYnmVzpYb8aY7bug+pRrmWkCw3X3ver+WBKn1EV
bPIFAjy0dAHUOHc1MZikTKa3rd2+R0zWKoZaYUr/cApzi75CgcKnM8F5yNMTaOB6nbbNKjSGwdPT
nFHKRDyazUnSUPA0Z2T/JdVLFHWnZBigF/goc2i84rNouexGKju9CXhKequT22hd9VDRCj1Jj0qM
BRQRXRf4KgMlfWQ+g6CxFnO01k6NoAVmz/7nPFvnSpqJR0ie2qpKKYFGOt02Ryut1liyw2NOl57j
JQYyVQqslTVVHgZaZWV01cj6obxmjAWnjq5kHoWF05XJfSzZt740PEBCeExaeZmxZbjWIjRNudly
cMdDYmSbJNKyPevKSI6lrWPyUIlf1LSSirCKP3yAh7L/0jAjkOvwQTOAiGVEsY5++674csq9VLha
AWUnDFjxZcE+E5oGALPKPuomnkFYr086pS6lg34ZKj6UtNzeRs0QqiEKt5I4XJkhFiy7oVUSt5iS
qnqlGkt2vQ3iu0qjtdJ0F6ExyfIna8nnWzTsJUqQcJ+PFOKNwgFCxAbsTH+fR0rgBjXq8nrM96pE
OEVn215ff9jl9CLGMsb4bmE0i+nGxqq8QW0SIbwbdn2BpFe1sjNL87daJpIr+6//i7Lz2pGd6c7z
rQg+p8AcDPs/mM49nWd60gkxaTNnVpHFq/fDLdmSbAiwgC/uCd1NsqrWWm9SJQV6ZzJrnYT4pX4z
IAQsOaTwvYm6z6mWMzMZknET/2bTsB2z8j3wCvJZI4mK0Ga6MvrWShZFeMjEVYnhvW6KeKta5e3H
SW6TKErJQTNmpuSnhwWUH9vyMR28QxolH1kpiOPzMy6U22NlnlNk+UGyTzxWoeEViN61YlzTKBIy
Tu5n5+8Nqz+IwnuK88eSTbvVuVrlQFAsVXmzrCmmVIbAvFbI+Uf13nqoF1SZYXVeBpy3pvloh8Nz
NsW/QZAYNC6oL+uaRde6gDhO4X+lNrhHN+ivnIgkubm8+FTql6Jut9o02dtJSz9DTrV1KKBBW0y2
zQnf4KLzXUZ2+BELq9E2pWpPnoq/RUcrXEleRTrB1XMrBFJZxIlpqq1oIm1DlzxxpJ/rMDjUZQIS
QSfMtMJUjMfNW5ABZ4yN4xIZC429+3a14LkVwSWXSHv1KjuYwFxuFm1kdNR0hcknWO4qzuVxnNyX
qIH0FtK9B10AiTbyIKM7s3efxZPlUNg2XReuRKb1C9PtmQFOaDBMn/j37LURMjnVdfuSxvrWhTiA
y4QPN1OJ98wxfu2KM4Tai5OY881jhJ1jD7dUHL90ZMRhYLUtvMLdczZuypguTBRISphZSVNnwk7g
Cinc87jTXvVWm2AJhbt23rXb0M9o6qyaVBJsm1ZFk/8Uvv8xuyHPbDczAsQml5CUCUS3mcAxIocA
30AFZ0rX29WvUXgPzRgxWG4ecuuKpR1ke022RCj6D71QYpWG4w1F+VdlJQDxU7AOPPs7Lq1d7Dsw
ddahhcm0qcFPDZMZYVx0WfeWtjZrycvvVskkq2tk+hG1OSW/jiRwFHa+1lMIpJmFR0WonUb820bK
xFU9z7zMURUr16iSpW/XuyQJ1K0xcAjt62lfocl2Db181D2bmFqWrz+Z68a0GQlm1yosvWu6UyrL
15XuHJxJ3TzXKDb0q/k0t2Hml8OGv05jZlyRwqQsU3TSnUbdMrhpvhZ9/5MEkEgNZ/D3KnePTtJ4
BDdIn5BBFKgJ/iJSc5t9LKN+I8PqNIbTKdJFQD8oYTOFDvPJ0Qunvd1FX345Yk/iae+Dj1derMVL
xyGhLPPSDxcEsHGtRTJq8aoYU3AamYPs4xRJvciBnk7Anz3upmXpH9gZH/DNRpNdezuoENXS42Yt
8wHClU4oHyGcRGJgy42NTNslt1pzSUDH5ax6KgIRL4caaLEdh3UUQPQXEQLDsCfsehyZJsTIjKIc
4a50bMSWLdYXQyq2eaQyRu6OtS1H3acNZRorhKc9VqN5zRI5kH2Tj2B4WKXzsYZV0AdEKowU9INR
zF4bx6Qe9IuEo8veiXh0cMWdNn9iDzhYjkgZXLGbTzURnAGcXZMVBoa16Ca8y02QraWwyk8csLD0
JGQ6tJPVJFxMt/AY991dbrfi0dMGMjVRqyYDx5lfMAV23WmXVelLaXbYHgjaItuDjTvkHhF5gf9R
u/5w4ICHzzkTRIQigiNvvGPWJx+u6WDQr9cLTyKyyoLmoywg52LjA2jjZJu8cHZtPJUPkz+k+yh1
HmvHhJOTu6+J3q4jD18u0s1IKeoBPgp3WPm2CvCAhmtsOmpjRSW/O7cWI+3MJpg66gAGYsiVzb6R
2OBOtFN29ycDMZtE1W1EQoXaGziuBwg4VNPTyvcl317M+u6Am2CMkH/MZgwfrFa81bDkylifnjy/
IsQizV6CZmCb1OuTDMsL+94bNClOSAQ9rjvUDNOafWM4T3XHrbCm5o9nmkj2S2876MNnX6ptOTXx
QgWQQaJK/Tr8zmVIq01G+Qz0enoN7RkWrgCn7Fzj22wYubuNfrbb5iWj/l1aubfVxKQz0PEPZsLj
WDqd9yAmPlHH+G1d+O22bXFPbgqBOsbJfYaoHGfSeyl9dlwt1O6VDvdRGpqB/B22QHcYs3ZmAgZ4
Hff7rh9xtq/C9KnwjIPuaucmD359VaidDKYEAkX7luTDd+hqCycJ832tb2VB2xLqmzxm2NqNeEa6
/TWuun1t0jaNhlHu+gG/UE8REOEbyVLh8LBommaXVmJajRonp6fl5kLV5VWOSUQmAga4SRWQ55R1
757fucu4MtOlYh/p8/pI2fXjvBjh0O9D29v5dfvau2A7Dmc9Ko/gpFw2A6zYqKa86pj24afpEkPJ
vHMrgoE08jH5qvvgJ/OLP4mj0Xg0OPRo1jp3xldRjEDgrConr4Ck2W6Wg579ROBfWkJ4a5dMO8G2
vZQ2MXuFfal0137MrOEyjMCfAkoim9j0FdOn+hWDlinqLs2Qcg5lBNxqPZC1IvGBRYuCoI4xAPL5
o2wssTan7nrQ7Sk5SKv4DpteW7aGjJZu6z+2jCDC0vgs2h7HPgFRXX+FyaXIKg2jpt6NLZdoRitF
RPyNBg4Wp/E+bAHRt9OQkStkgQ0nMLfTIbvlZJskXU5iS+GeCp2Dxyz7EOroWjawr70Y1opvGJ+U
RrOBAu5tajua2NcGCmzf8+L3lh2woRcFtkXQG+ZeucywX9NDnBfa4M0ghb7Hd6eUKQPNDg7MhIAj
k9tOpyfJIpyVBajlYbJGi2lz+9xU6BN1MPKFOab2Q10P9tYJbwJSXYS99iiQBUeumI5mVS1Hf8TL
SZxkZEPhQTRQ6duhHd6qoeTAM4OfvM22HNPbKZwg6DnJcgzVE7rAPzpVIq44Z2kB/kZNcs3b6t4k
CN2slq4+ycRxkEaPq2V61NMDp6RksDtieaWjrYce9OLENYVrNq7A8sH4T2kkflQKf04FfEcdhFjF
pBYuClo3PDCewUGNb5fjQyLUCKxjNnvtRXeGaudV/T51sgqgtlDrngYxbY1fr4szIhaaq1t7GtUR
ST21nFXq/b4Y5lGu1luLIrQwXU0ziqzJO5CrRLcelFw/uuOgCRtYRWW3ziMNevVUZCvPpq2YWUmx
EvWxwcA0I1DNBqhMo2/XTD9qXWFlk5dkqofdLowYREkRlvsko0scBY6yMmluTlpu9TL/tYKy+LKL
6eaVQv9xKrHzcrzYOaOvObUklfNQHiByj9Gor/ouuoAjVNuEroNH16MB7er6pU+sHY7cL2bB46s0
d1zrQ7lvI4ULsZZfx5KG3a0FmRZOV62b0bFWTOzA9KdLn1/KQI8eRdN8QVVbmrnv7IEhON9U/Jug
pEwMrz3N9LLQ+ggz5P7VRDs1Cvnp1+Nr6RnZjiXtP2TsppvOzfRl1dv3yFU0GzWTnW5i/Sa1r+/Y
kV8dWWvrIBXPRoZLi2Tz3oWswDHssnMCQp/2jNda1TJ4mfDAZyTiedJAY5+ZzA6RBFSR+DRC+lmw
Xj8YN7poUInEaI9trWfNFaQaCKHtw65rVngOq0UNTrtbVK0lT74sL7nrVkvGTSRYJkzsNDP77Dys
5WI7/ElC648wm5d5J0urrVLoywwrMaGp5F9QAEQjGbFTfDHQXmdNGYMEKuKfOmsFFWEQPp80yI/+
wAhb6c2nV4EAJbqPcIFmQZnttGkmFxmqFO9dRo6ZCtPyZEr0tQ5ihrL7JmBpVWUukJwvFkAYpM2g
fPUZKmCTHT4GM/3dkJ+QlWZMFxRPwNp56HCELAwPl3mj5ULkQMYT21VkJQhq8IbSwvbQVB0OUEW7
AtVnn0i3yeT666LyoSiVxSmvG3/TuuXRcoa7redbeIg85JFFPUdFNyhkj0Z7tzkEHtpCWfB0olsV
Ne8K1+xB2lhww7aj3jyIujw01GBTbW3NmgFwUI9kYw4MPWvYeQfhIAzErWaKW2/tu63GKIpSLtGa
g99DDmt9DW4vjuNuzBg2U7MYnwGug24u1rBNHgMEwWVj7v1k2vbtDBQkMyIw8wMjYxEYOuh649BB
tAhuS629NRmEF8F4hyhpky3ZQ/Tfb3PNO9qDvoO7tdI779hhQc/poh67kSoI14syhCxEAt3adGuS
ypVH+aagm6RV/CPFthXXPM2OBSNHTYcLNGb+NeM2NxGTkZRxRwO2EYYoX+voecw2ihIABorgt2jK
f8CY+RMiKEby9nda9y100QzoSkUwTgByBnE30+ISmOPP/CZDt1i7HgKg2ni17PBJ+REhBniONdOu
jqdrFcXPcR/cpe0fXEXmnc7ZUMbPhC4ESmztKb7ZibqPxiysCe9F5zyN2oNnj69R45/yZLznpXsI
+yfGDbtxyi6h4Z/SoD2pzHqcUO4w/N1pEaiERz/RuttYZBd9PlJM3ujQGUur+GzJUK+7A+rSldbW
Zy0KtnGYvWmuuTKY4CkUF+iUHXc40/3vJT5kdX0PvezLLGIs6VrwDs0isShi/SUNLWuMSaKyxa2y
tk4KmhlIzsy4ynn2Y+1Imf1soTjtWybPOYGF8TbEG9+eqHdN6I8MgHZ0/m+tll5HWzxNHEvzhgAg
2ZAcb8l1TbZJHn5wpvxxMw7dwRYvbhKdIYgAOnjk7ebVo80EO4tYrBYrpNGn/VirY6fwbCRuoSQc
sVE7J4hxBUeKAkNuDI5UcW77NTiPWmS9abU42U20knW80uwJntq0GbFPiXFgC5LuYLIdxxUTWWmV
Rz/SDnRsmW1cclt8pEG+d9v4taqnlyCdDpIUoawZ/3ie+dW6xrHr6aQT64nSup0ea2vcRjo/GVWP
AR4lTmX/OjNTU3MOo58ymR5fB1+7aZXa89ls8rswntLKY5chOKvxLHyTiX4hUgGRmO2+h1n8Gtf9
Z0bstT3cIMx8FvR7WQrruMbF/X2ayt+yqs8iXo8RU4F2WFlcFJbgykfA5vT0G1G5qoLoRSGWU6m8
JXWwL+rkipoH9RaJ6zNzhoDCHnFnWHe3ykg2SbhrenGcau/g9nLtBGobmcMuHMkHiGDOeYgXu6tH
EdWPHiVmC89k2sdMMssCI6YZlv7Uq+DESbjS5bLJETDUZvypGAY8xIa70h3B6M14BeK/VGHPJH16
cjD1z3Jj2yj5lBrmpWu0u+YydgP54OuvvqNefZowjds4jvIeqEug8EhU1iuS26d5AcJVOwuzW7lm
ts5DeTM99VpmJULlf/k64lkZ7kVfHEazeXfOwo6uyIgupUpvMh1euiwhchGlaCCe6EYWgwkBx/cO
rdE9wcdD9jjd8x4bPeCKzj5pCgQK4m+pi7uW6a86QZyuOOqRftFLCPL5DNO4h3xMbooIOl/JEzyu
UwKSZYluLVvtSVjxjeRnbD/893kbwfwTMMN4mN/9KBZ5ndyTIb7NO0ngj0tij8nH8N23ob5EbfYy
oDyKEKCSDDv29+7PRGxrP6vn64w6OB9OqsKFTB7h1vvdxSnvNDHHIamWLVOnzMVQySFDNmnXY6IO
Oh5MfZZeRpHeGk2RvAGpL01eqggzSoOISuG/t8zM/LrbGTZrCggyvmjnfFp75Maik73N29z8rWBb
zyBAd0vKewM1JB+cI+qRW9OhnwcXcfXk5sIYi2T0UrdvQzKcDJedsU9eQZAvQnqnPE9e0sA+2s1P
LsQpjrGL89SltPDx4oN1XXyzNPtuVOC/2ml+P8F8PSVzSqqycnjq8nJvSWCmIb8M1VMexgcr/YxV
u+9VcIo7jF/T6FR07NG8FEFIy9R1V1V9mqb0GLrWqzOKUx9rT/MNmH9/YXVHTW5cK7rBJHqEh3Yf
rPG1SZLDyEEX9umbpaKX0YVrzKn3kbg40TnD0/xEGdI/jt63qvMLTfOtL+yzraKbD8M+KAqqQHmj
+af5gHXEw4e88CFlTu2F49XyxU33eS3hnuav5Xa4bdrPVpRwlzGeSPBLqabr/KEmO7nQvnVms7HU
dAVyfE6FeIKh+/730NG9d9McKGEBhuMXqKFPiee9N0l8c9qVY4mLEtVX2Y57zwyf2sHcxL5cGUyu
mf6pYCAkryGZT8BN/rFSuS4CtJZp/Dy/hYL4Fr8/SCN8n1cU1+pkCONVyuEZg8VUpifTUI91c+0s
+TS09peXlBcqqSewgZszpVsR6msFf+rvY6PL+3yTIwdXVhP6AhNc39Yeg7p/gtPzNk3ylmr6K5Sa
9wpV6egVlya336Fr4FHtrHkyOSCyh1SFd7MigIYFOp+Tg10QUTTQojIRS4dr2Mtn0Sc3J/qVbMm2
Fb3YGjZYOvIifgzg8+/xWmbRs9D709AWOCPYiwJrp7HJvmwr+2hf/am9huswDe9t8UeF8kyh+2SP
2jUOu1My8OqOuAMenmZyH8BWV5PIxM3zfPmkm+mbYMlptnto1VkE8q614412twJoi8e/Zcj8tv7e
xgA2aIckyYJZBrOW1+cLQfjy93265l6Tz9Gk/8RNdGOAQJ33MX8Kty/f2IGvtrsP/OgEiP+Ep+Rz
amdvZqy/FjwU7ejC9hb3XoQIRqbHAcoMaX9dd8dW89yybzUzwJip4Gn09ccCYaXrb/2Wn/CosSwX
1ki51vmyV93tKL7Ph5dpzl0WYcXlV19330YRLSX9k0tHBXgUvViFsxbsoJGl3bqxXHezphtvdbKy
WyTsRTUd0TqvLU0/NrZYOUG0Tctkk1KTenTsqYPhPmHJECt2hVc9An8cHGNaB1qOB1RBVZld55O9
DYptkHbfsagXVeJtBjd6MTRIU5phn0MHd666OFrerGTpq8tQvg2p8SNyjTrJZFusn0e7/HLa8aWw
vN9ukOciP49acHPDeKO71kNoy2fMcxZm5h9qiyBpbAQCQAsjujlKx33WWoaut/Wa/E2oajs15Cb4
A9lM2LJgsAzhHP2ZESDL15feyMhLTFsfchE8lk3Y2wdZ8ANQnbxSLRvHXCwV9MokVOwNuI4F4jDl
5cWK5tGXe/BS4xhV/UGlu9YTG/jZZMHjJIJI/8IhkZwYoG7zUBwQ+xxGDIN7BtW9/phgIxPG2MgN
PzXRWXoib7nzyqpPzk1CVgyiJrgpvktQN0lKfSQhQg+rVm82uql2MWQZnbGkcun91EsUJYehKhZM
6k4z/S/08Q7sw2eDiCXHLGBLoV3Ml23zC4ZKeeksh4gSBq6njjFEk+j7Eb5FDcOzysb1fJ3nihJa
oh5EB3jt+wrVjCkDtgO1dyRR7NQcvvOVBt3NFclNpOqK2ADKKyJ8hz0NIFzW57zMLj4kRPRhgDkT
rM54NuIFSoAnsbBdiESSsNbkYKbsSELeK0xjLQ1aJIZ6ddDNhGaSWaz0GuVsN7xc9lYoreBmoOPS
kk09qqOMy+1kwxA7eziberCn68eG0dboBr92V+4dZhOuQ/IZA7QKQVIQ/HiHuXCN0ggA2t+YbGdS
/007/zCzK3tvkwZH04Ga48Y73N4WOSAlPA1GCeEiYCWaXbXS5nfJnzeCsKgcZ4e0AQkdl1JeBfLq
3hu3IMELo+fx4s1E6EQy8176CtaQD1ET9JVe3yuYjOE6y29duOtMmmsrdHeJShhh+3tLK7exMWEC
723Dzsc0pBvVosN9zPTsda+QBGVMZsK4wwY7X2IkhJWSn6hli9+JDUQThvPC1Rb16O+jWe1skwGU
yV1V6GcEYvtpmGXf8aZTDTbIajvE+a43KsKI1gL2HgzTVdaY4IrQDruVPaVrDHNdJkg1Jemg//j0
4A4LSPKRwp6T+8eC4gpTgOcUqmtgrXx18+3jfAX4r7lenu9CEdkM/9tlr7B97MKb740vWtZtPMTn
QUDqz2rUg30yYXmFtISBaHKTQ7zVrHJD1/9exnOrFl+LzH5Pw1sKlUlW9t4T5ut4Dr3xArP/PWRg
TpdVSx2ezdrTHx2W/lSpY9uNz3DJDj4paRJ2Qd3qQICveZPv0hSbRp6CXNeO7Dd4ilTfg8uohnCp
/WSrKwR5QGpanhkZdWfpiFrOz3dAyZlVwX4+8Ho4mJHCBmr0di2GV9GgrYew3WD2jF7r5mcEXtDl
HiODk28wz3qXnDw/W6TN+B3qAcCy2hu86wq1IrazflDQoTvLFmmLQbsayGyLwgPN7bkJhycAk4uR
aWyB+tGpB0iq9gIO7kPJ7mSh2JlL0yZiwDGtURsfB8dZz1/mRF86qb/zBMca8pcCSwGziNYKBYYa
bBSENAr8f1IYmI9xGzFql3iOuem2trUjHclDehjCVYELKayI0+hOG3jUq7Ye16EKtpxAK0tqK3RS
s0oI9fAq7/KlVqjl/McTF1vzwg1L8wSWLtkMZsq5q75mToWCyIgueDMfhGOSXZUsLqqzD2PlrMcg
ftSY95EGYId7ZZ8jCVmwgsLf+afCxpjfqM9Jap1Nv93oYbBJ46caBNeK1k60RkG36hlYad1tCM+T
oht06o3Spo07Ne+1FV1rjr2k3WWxc4DgyQRN0Qf7u5K4u5YvdfXR5Kq6pK1rLlsrgQuGbJcop5YS
YqhFBH2ntZtwlCurcA8uwPhQ2Ey3CPLRsp1P5ihJV4eUS0COaDmprTs4S2R7L3XKjaPAS6DIz90c
HcsyDbwnIP3XZMr2woYp8jU/VH4T7BsI0aaz88fiqOJkY0NHSZX7m+a7QQecG82VXtZbY8Qgbu4O
7f4popXJcuutqfXHHktRzXgPw3hnD+WqdpjjmQfFo1LSJPoonB35WTjasRMgQG1+zN1yi31zZl0c
LO5NGw8ejR1GyDU/WGyHHtEa244XFjObaecVwaZo/N18mfo/6SnXVprHxTNJKCDZdL7kvFZnT8sQ
UI7ZIkY/VAqE5/EmlQaBOA02TBweeFY+BH9mZfFmRFLJgBqHC7xrJEUA/06TcGUOI9bg77kVrt3K
J3Y6upq2de50G6cneU00cWjQHDIhW7C3giDY68S2OePu2gQTI1ZkElRbWDIPYpbkCZ1RQr2eN2Yp
5DZOtvSQXJPm8e9ejXcjZlSbguleOTprRvMrEcOhJamAq6FSAWWzXA9ufHBqnmCZbDTP3fXRsPV9
GEqJWNtSf8x775SV+T4z5b0GhsumcueZYpfRKiPS57g2H+PQhjEcYMUH2Qa/KjTha1U6pxxoHK7i
oUvkOu6mnx73S7LumMgkr/OTnHX4XY3Vearz41BrVzeg1rIh0sJc6dr4MEkeOjIYwK63MMbw76wf
ze7NHICqZLcpjXpZxF8efR3OA7keLlMiq+tyDX+aAA+1nG9040HdSIqtcsp9fp2oSbL8OaoNQEX7
rGvWCgLU3mv9TV3JU+nle7wGyNLSN2GCVi30l3gDPDZNe4bafQ7zY1tVlyQpd2lS7ItofKozmp4a
+4Ek2LV2voMveyi0ZJlavBIkmwldZw61Quc2jHBSzQmXb/JYHUpufzr0qtqpCeF3l8Pashv7JzdT
awPDqEprjPyYk5XOpU1JH8pleLdMTP382urWj+HoxytrqgGIcTUfcKB9+K8bhDxXBX/9354f3+N/
/65q1aKD7//xn3qIzE4k/+fbun/8/SXRb7X87D//w/+syj7p1RUelLr9diLv//E/+Ml//c7/3y/+
0+/f3/Ks6t//+d++K1H282+Lkqr890YfpFPNZi3/uTfIqWr7+J+On9+/P/il/QeTkH/92X+zCbF8
A8Ob2ePF8OYosH+xCTH1f7bxdvMChP264aGt/jebEPOfLeBwHEQC24L1NluU/W+bEP2ffWyCAlL+
bFcP8Cn7r9iEGMQD/j82IQHGMzqxTHaAWf9fa6R/Z/0rYBFK2DIo1IJxJd2Ism4gicfzoRLOVWB7
YeDOYkwv2A0+OnV7V5pPQK3A/SGFGUVR41QwrLV+lkxU4iy0+MMxT5rEoAO1s/ToNgdN23tReGLM
t/Ywf1DjuExaG8Wr4b75U3MgrK+nmqSeH2aKNoVNCCeC9NssZsVPATozarcqS6HaYampu9NKeAzf
8wCLD524VanFn7Bln4fUzFZ6aFToAjG8iMyavNWpeOlHJk6O3gNJpKgyi6y/hzDiLJXO+ESGgQX4
b205WHzVsIGnMXj2CJ+LFVqFpj7qjvmnxnMMD7pxX5B3XCGRY0wO6EicKEJXREdz6CyTp4dYAQ5r
guE2y59GlDzqhfc+1IWCmhCUD4ipoIE/4e7BIHwkgnHAplxVw6xnmdB4PAw1k+MhJtBp+oa+Bzff
HY8Jqa8uPhDNSE6d3kJ91RoOKRMYwMNzr+3OmUYzhEqkxAjlIWr9i+WQPFvBi/d6ZhX9RGKPvKQ4
UaySpEbhl3DCzW1mWjImsizx4XryUx8o6sJhQliAy0gGAdMYifywG0ZAtGwyO+fah9EHL04e0fnw
jyR5bev2q0migx4PGIGVt0KrsNEdMGszl8qZjojqItCG6Cw7AciiHcwYC8w0/2PXzuNgxSdpeBGn
CfMZSw+encYMHib32wnlS+Ix63VmyxBtRHmN7D/QZ6rrTLbjbup2dymY9sa2/aKV5XXo82s/mDGG
5AA2ME08t8HGAcaEQXGMtxUk1r6tugcEE3fo3k+ux1ZMw//QMysYh0sSc4vCWj8IfQI7GPsnJs4Y
Q8+tpECv08OqigvyjAb/Ca3lFmJGJujnpgz4rkfpOcAaK4YxfSx0kilNXT6VVbIpEuOjtDIXe0sy
5CoH7nsM8yN4MiaGJGUIEJ4UkD2jGkaEHF6twXiFf7YEFTwOlksQNGRaiKAiMbBLKA+IiLeefO+i
2UffjT612NpNMyckNf2vsjTuhRfhBzvigocUF1ME4HB9oAbCIySC4MXuBsAFRSmaGH2W5bmLgwZt
tv2tjbMntsR0O8ahZbCcBdr5SwX3OY+G+9+vOj3ucx2lo9nNSSdDgOzQsjZiLPbaAPFalPoPIxmc
dUmUTyCA2njS1HC9ajP/GrzuXfflHwhMXwnLH1gWQlQGNDl47c6s9qULFGhnxSVCyAEzZDw7s2Bt
n3ohaosY5i25QY5JPrnLh7AF/E4rY7XhBrRWTv6qAnIlZHgY0mllOsPV9rqjY8VrQ48f40Hf13bx
6cxyt5dq8niGzYxgYfs4RRFtN8EjObKSblgaoYFjixgerLFeFDZK2FIiADUV56cfJRpMB3sBoXUZ
DtarzGo0erw4tu98/HBbTPPqrnudXCgQTBupXJtrEOej7myOsxVBEKBow/Q3LXaQdTcBAyBYxhAn
BSkvTeB0DxOT4drBg1GbIDGE2njBF+yWerH70OqQh/J+X+UETEuhv1DQy63Gpxv7UIMAduoEVe2U
5mJ2NqF5q+8+jNMwyf+YIxIk3D/UQ9eN+N2Zi6wCFYuzBtouAmVvsvepm/6xG/IgM6MBCGbU1hfw
sVG9IgIxtEXr4QHeqV8qYypWq72phWE2p0KiPJwmR62rKj2XZk98lCzRd5TENHcl3lK1vsmmzF8w
/X4t6/pjgkCCFxQJAdPgbDILTtUYhXT375BVeZvNO5ZKvzAfgof2Ce+BkjcNbN6hg7A7tHZ9dYYe
dCp9GAZsVo8ymt0AxvQX1hGM1rp+SDgDgCNZYEaiv6Spge+oyRwMgvliSIOraiiT4QqZq9Hdwuo2
8UzxocRV+peyP8I0gnaoq3TRaymkPqlBr4KQJvvZlzIXD7D+e9Ehmh3wKSm18YRwl52/1H9DG69x
mePfKX+UTyacmll5A6g9Jx5CKz6L4bG3+Gb3UkyusXYY08G+uOf8Y56KVAst0dFSJ7eg7pAE6eOm
DFr+Hva2G5OCE/C8h9VKhUW7kAIxL7fs2XdCg2Fo+m40V50TYFEHCYJO7y0tkJlURY9hJ2ZF+GlA
W7LqJ9iwNHmGvu8c48zhx1QDU9pFYH1RgiHnHkGK8J26502mPdgyPJVNdrB8npjOdVbwuA5tyJCp
1z+1qPkW8Z7G7ddrzrB33qbMuwjSqQYfKrltNx+G03NXnOLVE8OzY2aPnfveO9NLWxfvRjA7iuWE
ZuORtGjwXsg0sgPD/MeEjgBcDF3FM1sUkmOynsz2MPu5NEZx0FrklVHPATrIeoeO+O4BM7LXc0WS
DqvOWGxlByxced2POzYoAip96Vg641X2zAUrwGEQzTxrnk245UlCYHyY/hd3Z7IcN7Jl218pqznS
ADjaQdUg+pYRwWCIzQQmihL63tF+fS1Xpr2b95rV4E6ePXuDzFSKohiBANyPn7P32uCbF67PCDXT
HGzp3ndOJo/Ewu1rlvLFsfpNYCDIGS3rqQrbFOaDhw8ps87dBDq0RrOySloEwLVxzGayskQunT0H
hS9MFgu0EWWcHYHFLnPbHJCBCxPMBGJ6PevIntMZpDclPWqjkWtWuwtIHgRzWD+5fOOHdPQjykGs
kS/4x/i0tIihvzj32iWc/VuIPHJhIOcnaXD85ufmz6KBBeJ7+XMY9WeWu+3IhKnVCfmwv4nSeHEc
6zBgqtFCMC3kV7rRC52HGLmfsfU1Yr0t65G8ll6gELUYaQancZC3ErOpuwdvBIslPeQlqYedSE/k
RZiCWxhvjosqEniFKRfR6C+5U89hW75atOC2borz1oReMQbacWi7QxtY+zpv9r4xbz1DOc3ffhdl
+bLu2wh3/YxwvtA3ZZVvssQ9lVnzlQsmnHplLxw4jUEx/mi97F7r1RuTlS9SGW1OZ6g/f8nWrpf9
GDH8rJqLnMnqEXFsLxr7LPLWx2wIqNzJfiUJn3joYU8EPrcc64S+e9AHiAjhGhdmfXKZR9QdUOQc
RTsdoJ5VFrkWVd5bMxS0IDX0/AViZa2JySDv2MvCe9yF10G3z1mFdkQWRMuG/apTfvTCs941K7kY
MvzFzrdI6K8tZ7P6DHzjZZiqiyoT89jZD7bzMpasPaPNXEDicHXQVixYpD+Tko2cs8IizRkV8P7W
UzY+9CjEOYiSdNHEM+RiWBtz5HzJOH/tLXTkko25jOafzF9YvpJwXUTehyk2Q0avp3zWGkrcSsHN
AhePRdnZz3Nv7RmbF0svQ3sYAJlz2diN4pAo9hxDxV2raHQaWLpR8ekiB1IdSlS0jsDrygGKXTUX
GPGpfWH/kf9sYtbCeRS8awmq2bihndtHWJKttryY4stwB9L3FDUvA5/nMrNKzH43Zo5cd1RzLkAu
elMk3GAwpR4oQEWELUS+ajeQBQtH0D6mWQ6A3WI4ouOInRTNr4H956KNWNXDBOkvU3lAQ/qCaN1b
CHCAveICViEruz9Wz0rthUwOYzWziy9txCFoABZ0AAwWijRYghz0f7MHXSiEMThCh0pk7QAoDKPg
pwuw0FTkQlFhnfKN93zmTkuHml5Lx0ZKhbJM/WQ3VqG/nHPr7lQxgQeKjlgqTmJC8JHiJgKA3AYn
V9EUhXnTYQxDH54vPbPInddRWcCofO1D1vKGEJ9oRGOJLR90EXJkSD/ll+O2zbKzyV0VnSpj6IfP
IDKQemVbXODdzkgPZqyVq1ywDtuTduhFUuNwIfdFladdg4dLzGd0oxRAdBIs1VLQVHNhq4uh3Viq
5UDh9WhVE6K0r0QsL3Br1EiAt2PjmVtwG19tV4gFhkqMmnQ0ynw6ISe6pTzYUwZFwJsZX9nRsO1a
+92Gw73SGp5ZiVuvsmq8cx2U8GQ2H+bMTqB1wyHPnydE/qlUKspU5bd21tuMm5IezS1G+LaI6apZ
yGijrPmQuElW3FYUHe0dpN99wgExW2UMn5DPBbU8DV0WVDZLeq0CibtfgkDXOhDNDSMRQ2fEFTq8
Xg/nC4pgf1h2aWUv62DSoIVN4zoWDutmgjLNl2wIPlmvU4yUSXNOosOL1+XEpMQ6qltWzdSwzkNW
fAu6bDO63dGGWMFj06wzsJ7rOKv36cDK3WuAuSqhPUQMiTNt+CgtwFvc1FGGDEYgzvI6Z02aJ/4g
ehvbCQMb87afc91ntLTiGWNOQG0JOZ6eZ8oJBZ9S4J6jIUH0b4/VPuj9ta+AErXuzntdNtYGUtte
lL1/QUx6LGSSHGXkb628hP2fGhLCt7OOudEYHw7rcVbIN9ng/i/iR+G8VZjbVvOUX6LCCtdWLMJL
w6Gp0KrpiALLcvp1RAm/zQtOKZVCQaY54acoTG9jwuG3VRK7eromrtGf2tXYpA9jKBuMP+DysN0l
W6/gqBIabfL0+19zYsIxMBLkY5IBT6AsjlJBhhF+0DMe3gTTVOwdeobR67UOE0gricE5SBuWmFrY
2nI/KTedQRZMlptnK4OSmZfn3uSJqtwnGZBWRisX0uTJFDL71orhk4+2wX4xQhTH68Igqz6TUvPb
J51s9MDZhL29GzJg7mzMM6OYabqFXdhgzzoXAkF0Yyf1V1DfYKBVKPDqpySe/JMr7Z84C2d8ajFq
ukcaJi+xzgbdiEAs+8pgoK39rOv2JWlU4ZOiADO6elh1MQ/dIDhO6ToOFQZ9nYS5jsZ42ZkFfvLw
tXVCMuRAE6A67J7HKYbBaT+SzHgTTvksdYZKPpShvg5vbZ1/iSJGuug+5yiYJIzLMWlvXeD3t9zq
NqYYIXMa5d0OzUfJ0ksrbJfqnGlFybmvJq2tMrUt5OZNIRH2mnRpQ2+6NZLWsYuTcc0TtWqFT5HY
V9ky6lEkRc67V03tWss1cgUs2Gd1TCSJTMhoz5xd4VEmNR1eab3JNklQElrFNh7jlWBaAfdOH823
MWL9DgVwcuCI3710EIfiZk5YssFP/9Lssl0V0Gg4xroRdfg6tzle1mGWKQ1fgSGu3/QIpoU+nV3T
vsQcBGtTHLjzmEuzENrlu+VW7PLZ1GwGL/xM5T6rG5wIpv8DBuqH6SL7mawfk1a/Gz3QFavofoXa
HoHcA3ME5xnxHQwH3mLa26RZ+mk+LM2B6qNSq6HvFPt2Gn4ORtbuOJygWbiUPSu/B2st15gVJOUL
PfqTmIuvniOO748tWTIjFakev4czihu/XfUJIfVo9+Z1QWOAagDiG3Paoi9LDCvY8zDjQsRMHE6Z
wUbrLnaBla8MKUaH1N2oIa+mrbHm2FHk7tomRW4eJDR5CKYgDpaPXt7HTL9D8iKPA43UsvHcI/jI
eeXW4DINfCOB9Ik1s6Z2RZR0vQsC92GDtdyYA6wF7yvq1xbjFAFmizbMVCaAZlvKJNeKsEdGsbnJ
MVyVMa1Jp3StfWA734Mkg9iiWyeUKUzwuP7LSk5ffarNR1xuMJh6hGmh/xLP+uuICLQtHIELISPD
2am/h07zazbdK172jRHMDCVS1uzWigE+dirIOmDokXdBt5LuhESEk9SEjxkhHeo0sPdyzW/JyP1R
lixlnPcCGpnYS1Q6zlA9N8qqZhsMzRGUB0X/4nTuh9FCEShLyFaB6Cj/dGufNve0ravnFPU86JJ5
NUsxHlKf9WeyG3sLPQqrmvPlzj4pdUHzrSc6tBFztkk9BzoSMY8tdp0F5vVb5k32xu3NH8EE2g8j
1EscjR89tsGNIYWC3gREZbrjWxYm3Z+Jzv8WIfz/swEAvXfL8WjW/+8jgGPZln3596nB//mmv3r/
xh8uDXxyrh0D3jft+r/1/sG908oURCl7vmWT71KoicJ//acl/jAdT3dVhI+wDMYD/+j9//n38TUe
cks3hfVv9f5dS+V+/SMEQCHCXccUhg+KH0a1J/4FES77yrNyy8pxbXk/BaOKEwCLp27Sq0dn3vpk
rr/mfOAk7Z95NJqD8Hw2L7q0W7p8LGhM29rM24xSZ6sD2oTztD03HlGqQDLIoizidts282dO+f3N
tU6JnuYrxgn72n0a1KZalGf79ybLbturbdds63IDA7ZbbBy6vEZosT33OW5E/ZWZQHZKBj/cu/P0
xgXibAFxExgAf5xMb4iMDUweznlIAczk6fe/wMBQtBnpFqH5tBmFRv0g5/zB5iK1/jT5V4JLHJo7
nMkNn+V11jE61AmQXQTG/Nio21reoEQCM4ato2YEd8uIoosBWgtIX3mRmfRXSflu9umjdBiL+CNr
yezrfJOOI8x119QIcl0CraYMDra5KqRSKipTlVYmNdasiq1KlV2eKsB8KjFDlWRgs0NeLWVaNpAQ
ktKWpXwLVSHH1H9eTqq4E1R5I9WeGkttPVUABqoUnKkJ27KBFdYzTFimJicpV4IeN8L426DKyUwV
lgkVZv671FRFp0P1OVGFMr2AsVF9azvnjGaYgtcFJRAT7Qsb6Wkmx4ldzd0nBJqNGbePDSx6MnwY
MEgtwcEpcS0VDOfEmGjuvAROUxDUp6vieVJldKIKao/KelYldqyK7UCV3QEAY6sH+o63jGMLtXlF
jS7au6lK9irtKd4N+WHRP0Oys3YgyCxy6vyJel9Q9xfqAJCoo8DImSDLnwNOCEHbc1RwLTSJBa4c
dYxoOU8E6mBhgOVYUdm8i7AatqKydWgo9byk7za5ww1RJwgJdUzd+WXGKGReMQ6g4GZWy8w2ZXZb
MMO1meW2zHQnZrsxM96aWW/BzDdl9pswA26ZBWvZuWQy3DAh9pkUR0yMNXoTLRNkjpA7DkqHmsmy
x4R5ZtJsMHEumTyzKa6y7IVibpvfODoeembUtVeu9ZA4KhQL2YzISJabPjtFOrHrJlG/7UvQfzYI
oEJLbk0EIp3zFun1UclkBNKYCbW+ULlCYXISUcfYCNyIUZ6HJnpGeqYq2Is+E6xXcpLw01d7LNaq
YsoS80vJZoDJnGhDHOKEB3mYiEgGbcGIxmO2HzLjT5n1h8z8E2b/fTYgPan2GXN5PaAtgZDQRtQf
puZxxEuo28WqAno7N96+FMkWmTsag+QkeU+OyZap8/PQIvTRx8ippUShUPAxOCgWJpQLHqIGyBMK
TcdYazegb1C/laN36NA9oLFaGjR4jbbamVytphNLp/k2QZv3HHvDD93R8lzGzKBqYziBlL6p388p
+VB33kC2A3fVNp753pnTRqD6MDvEoAwM1X/zlpyYqjwk6BNMh789ir8bAGU5zWxjKjHSz1e0T023
Wva9D6AHQp2pr2qgtTxNW2YjDG9oMvZrpJXahVZ4DQEtsLHoDCDY42kvaFWrT7ocw82ApmOjLkei
wgPRz/miWqepfXUOVVbt/Lg4pzofxhRxVPneGtx7SDPVDwOfnemw08YS/E6yT9IPm4C/yTeO6Wy/
qVfpoCKeAVcyRyOTscZ8I9Y0cpm677Xa/2kjxpkR5fiIc4S9r2eBqdI/REh3xGePjIf518FF1pMi
70mQ+cRTuK5n8MwlQkAfqaHJKA9sTgOHULhICoEi5MmJLh8hSTl9gHE9Usm5iIssREYaYiOJ6MhC
fOTONZNUKKxwSA0wQb+xw1wmsyK3nUMU58g5j1n6fAyMMzOKiKwE54ShKuNLUsQ3J5bv6lZW1xzn
KtSCq2tx8PEX9gB1r9gkxaZWSIzobiCvEsisEuRWKbKrAvlVgwyrQo4VIcuaEdwj0poRa4WHCeHW
hIBrRsg1K0EXwi4bgZeG0GtG8BVGCqbzWSIDG5CDddoWS9dT6AVbHbEYApB1iNiOYle1nNaM3JbS
YflDbYjRAmDVTiTDRmA5kuO07UztzD8o4dY9vCR2tcA/c47GxoxQCRV9Za6JR0OOgv4vnAGni5Va
iNX/dyRM2OzW9PQIcXb2pdL58jyGs7UpyuzMhrqZzJM/j0vXpjlGvf9bRgMGxEGAB03rDIp3C9jg
2iDQ47R7AVYfINszke+1yPiQy698ZH02XcgK3R1iPwfRn4b4D5/TD0a7SwNRoI04MEIkKBAL0lpH
yYl8sA3pAPM0ICpsEReqmypCbNghOowQH2aIEAPEiD6iRI/rZSNS7BErpojwDLfe9oJ1OiWgbc4q
yIOf8AMSJZRlQEzHxWHd5GJn1WuNKHJAHOkjkgwQSzL9etERTzqcd1Gj9x5sJfwB6aeGzLJCbqkh
u5yfPCSYA1LMFElmGjwXCDQ1hJolgk2JcDO0iu2AkLNA0NnOcbxA1bdhrTsA2iOcUEvn8+yhbx77
b3pJXpo+rQbiVwrkojOy0Qn5KCSSBjEpJhV+5SIwbRGaeghOLYSnQM7QPw+IUR3akz7i1JGwc3ga
NQ4CwXJrpSjmGeQr1SY1UBfBc8OKiazQrNZlz0eS6TvIYqsEBS6shn2oVQdkEpdmHvaDQ+sAPJ2R
sFB72jKHyxuW1VFwGEmjmZ1nWMsLgKKVxkNdJUyQ7L5d0Y/epLCSU867JnZ9FE2TR7vLOLs1CxFh
46CGt03n7VtDbOIdtrrlhCRYrcyhhiSPI2jHWyqRDmfmg4sCRAT5h0TkicC4Q2jcqzyn/iaQHzfI
kGnjLhxMuCND1wR0iokYM0LrbPk+TXr4+Px+5NAok+E+D0BMT2cm0p6iPXMXGO3PDmV+izC6pD2v
7hzvFPhfFdJp9Sm4SKl5NJc20uoJibV6MdBmj/hVV9771DFjvA9IstH8nlsk2glS7UJpthlcvzWf
EUJugJGMElF210i8bYTAbuUuhlLeZS4fZqTdrCI6uf0PG4G4yWIQIRiPEY7rQ7uk8bcIf6r7O0dc
jgzgMiM2D+wr9KrtgAS9R4ruIklPkaYnSNSjZusgWA8QrgsE7BVC9hhBu4GwHeOXjczdRe5eIXuv
kb+jcWEEwIAvqw956e5Cv744AqAR0kbN/pkn+YqhqSHY4xnhwJt74NBDTZZB1ZJPJbLo0khOxfRt
RphvINCPEeqDhN23FCWkTNCL7+n/sAcj7JcI/G2E/g1ReBfCdnP71cAGUGMHkMOXhjkgoQjsiOmi
FjGQZgI7OUV4DbqWuoa+2jJT2kqlJGxNcRGT3E685Kk5afV8LjObBESyXooM2r888TQup3Y81Na4
opNG14IFYsbmMGB30Jin4nPe+vRzGmWH4AGaYQNhktCYB9AYYWGGAL4AunLQMVT0GCu8OsPoitEC
w4XDNGXAgBHQK0EnU2PLgFZ4SrFpaNg1YKQRyxKhtSVPPrtITB0F5g4Hk8eE2WPC9OGY1GV4QEbM
ICP+GawhlvKIQJM4a8o0YloXU7lIkCd9q7CVxNhLAmwmLXYTge0kH5JbPad7znVLv582esmgryiO
VjHs9dl/0WIuAhW+xloqEPSSnLSdTEaGuWov4ozpx7PmU6Vih+GGlJhjJCaZCLNMj2nGwjxjYKJx
lZtmwFaDQHrVYbOxsNs4uG4YdpmYcGzMOF75MBCsOMUGkwOARhw7PtadFgtPEW0mltCMLze/EYJY
fdRGmGP9CaBrcv2wA3XYghrsQe2ITYjBr8A2lGIfmrARVUN7D7AV2c6hwWTkYjYSmI56+yPGggSD
7znCkhQOLxEGJQdDVaoMSxiXTGVgwsgkGQ7FytlEcsRdfWHEec3po8IAlUa4G0fQzdOj8C/JoGgx
2VVP8jcRTfc6r84SMxUBkxnWqgSLFVfrkWC5MpQ9ES9i4Y33yR1RNPyaSu0xbV3MWvWrwLgF1vSz
QxZbwfMbG5xZGLxKjF5q51KvU70LHyOYjSFMvawBg5iDT4yThYZtrMY+poydNnYy1MBb9W3KB6q+
LcV2JpHR2NjQJuxo3aBvG+xpmZ9eQ26iANsaSQRoheQzFfNbRbAASVXHAshPA/qxrPHa1t1T08oH
JPFHjPexs2YqVgTANSraAZt4inNWGJ/6JO9+cDWj8UjC0FNUbN2yexlx5Jle/TRW2XXGWtqmuMES
EquG1zwI7iZlRBNIKukfkhNg2pcfExVnJN2Fbb9lDulXaO2L0bu7dg9ULvv0kWv5KgRcu9WN/c7R
+V602gN1jIltUN0UFq72xPPe1ceoIXiax/HWYETEbzhZMVptlxc3klY/vNqu9ujN7Fw131PMjIRg
3XvMjTzNDwgyOKvGW4z5MULdpr7mY4oEZ8ZcoX8G6HR1MU0KzJNRZV4gXzzXTXKV7Y/KdM6DLBCF
DffIcd5zLJizIgiamDIxWb0NmDQrzJoAU141a3iMmDj5ZJ/dEnZjff5t1+s0CkHvnmFfNDvjVXOj
c6idNdNWwPuVeuFdrt2TOjgbcfhNvaksqg+NgUI4PA3ecz4l1ybHlifzwxB3d6ZYlWEcq9y///77
sfqO4BZN84G9+aY+ZGjetF6HK7DC6zi3T4P7Q0vEWf2oYLZRKBjXOQ5fq1F70Ih+MoiTwTTrYp51
MdGmmGkbTLWMHJ/zwT43mG2b4s/bpvaCu3TaJ+VFJArsWeMdjO0GCfxTSPyUej26W+8L+BYcq97V
Hw2j+arZ2kPXiCKS44Ecp+cqj666ifCuHU5TunEwDGfKOdxiIR6xEptYip3i4bdXjg6eJ8+Tf1Fv
jFyOZXhVpamYLvqPtGoebBIDeaJVdhgimhnBJZVvKO0jnrJgWNHpYd6u3cYoRLSClEE+I4BlNm5v
s5DjncFrxBhMOsjNzfy7iYU6inhdWKpd1i1Sl15TnkgtcU5Q/A4zFuwZK7ZwcLIn6yBVXsfuMWDY
DlhBGwugIxNC7Nx02R8DlUGNzdtjWMK9uZfYv9XNp+4ovQ6fGlt+SzACqyeqs4KrfzaK8j0QKdXg
ocJZgcXc13lgsuxqogNUr36akk2gN7R0jIv6ejR79zA3XkerfLIBoVR8TrD69NZeeXJ4LTC5+yZB
KWH2lEb+A23PdZISoQ+YDZ1Jh+LciOZFGUYbDT+5kGt/RMqjDOX4bj4mnXEvODkX/KJV54Rm+PfZ
nF4nHbssYch5rh81Sz7LX03m3yA2vcl1aARXaYHQiiS8rPQTIMLHIPWt2h3E+GkYwbngrzBpvQCa
KYBPLlrOq2EGbwP1x+zpV62WD/WaIrzEhCNsVWfGc+uHg4lYvUd1ZyPQp+idDupZtWGyytQ8FC3G
g2h4tBNbZoLKp9Tuhec8FaZ/8loIn/Wx/csvLsb02o647mR+thqxkjSljFjdA8arurqRO+DWzd+q
Unmemg9rgKEypL//n6bNvKAShndXv8ZNczayeRelbzONHTa9ki08OCPRMrWvNiEGmto8Ljhgu+GT
l2IFULQLfyJcjfInM0xEuT6QRKALNE531ejuBE3FqFkHAB9UgTpKLEs9GR2sqAWKhd9PAJ4Ry6Ll
mcJgmqKTbn4rSc/NqAfVTTOH0TbnzIuSb5na/ovlUVeb09EOXhu6ELJ7cqX2AVENnBF+D/6rjChF
htIqJ3EWA0rPMCZypx2CxXVRHAZQSykyEeJs9nCT19JUOeIDHE6cWCydwBIQmV4rJ1n5sCP7X4jQ
zhXh0ik4HUWrkG1zjK0LaWAp+osCkD/7lvLQ5TGGH4OXTWyMpAQuR/nkoOnUEKfyqdATAbedRiRf
MIautC3u1F3cOxtgx0c/oez16Bj1+043L8qHof46Hr+VDK2VNcR4xsuG0nNbxdp2jHS0N4CbqjdR
0IFwVv3YrDwieyzaTk71HlkvI1g5rqu6znV9w3p8zJt4azThWuAco423tGk3qqsldT6WbD4w08Jh
1pwCw9+wS6EuU8bDYBj2JQB0pTXOWnmqGUR7rv+ivpN1KqzHHT+/armkoJiSGnaxSoPB9ZhwnJqE
RoxevB1MSKrANNIMm5UYdsWEEZ+YN67J4PhbfQCKz+jOsYN16xaHtIUn3A+bNA2A6hDWnZ70jMVU
O4y29isoalgB2c8shtCVQq3UiCdd6m3/qvWjcSrz+CNTAvMIJGzaI+UJaEp1egsttP40E3R+idUd
s44EcR3SSUknPh7HdWdW59hHBcm9SCM/PeZQXJXsAbmR7+YgBQ3Od2m1TqzyxQ78n8ZMULdoUWLT
8Vtmtn2zq6TeJYl/76rw3uJ996FNBK0tiLBqt3aYdmSbl6uEkJRVbackWQj7JWiHS5t2v7o4iFfM
ab0xWTI5JefR4pg7lQS6dSCT52r4Ks2OX+jmJwh8NHvxx+Q797BNdqVBDpx/BnewzwyJ7M6xlr0w
kG4y5B+SYlllWrcoNG+XzpyltSIgAxshV2SJLwL5foUcEcIRpXDWHu1rlJCj4M408tAUITRBNRvk
+qs7d291n8JvtNu1Ld89p87PuBgoLux7kkI6qoxc2zSJuwhdDQMksP8gFvDLGpqGhS8vkPi5sB1M
/4rEFpGzRluM9Edm6bUPJGqSzrE0gD4CNcPOrRGFbnA1pNC9Y2InK5FkSzKXIBsG/KG0TN/subjH
LcpfzawhTQg6GtH4w4L/DCsQoZhZgzcKGmjw4cBEFQ/whqiEmnNgvRQNHfhcm9Cdohlf5h55lF0L
898Zfw1DuGt8E5cVDYVZxZSABVCh5vm6cSTBdt0j9YatFSC0cziGLoyHM5RI7LD5svHC5REAl3zb
ffGrwV1qpk9gTeOjbyxxm/NRL8vpbjrAecq6fjLa6Uu6XYFkh+glO6Y0AzDJXDv74q50FtkUbGr2
L8C8culk8y8CER4aotIFamIDSnGEdHghPO3Q9Z1c5TnCsJH2H8zhMz7wc2wD5fKC2vm/7JP6u03q
v7c/y6fv+c/2Xy1X/w+aqWwCkP/3MeqybOX3/3iOf/yTiUp9z59TVM0z/7Ad3WbmaXq66QqLL/1p
odI89w+d6SpQFcdlmMl8868pqmH8YRrEDKNUFoYnbJ/v+ctBZf/B+sak0jV133Bcy/t3hqjmP6cs
27aD+EPYNi4t3dVtw/6XPHMtnzudY2+60drSP2nUtX1uHHX6z6JpV0xfiZ0hpxBBuBedyE1GcNI4
L5HW0qmZhnNA32pvuvUVkvhEYF/3Sg8JzClJQuzJt9H2JoBlHN+nQT8Wuoe619He3K+/XfDrnxPf
/yAQ4lrGhWz/6z//snn9YxTM+/B9z3Z4G1xlLo8aVVd/s4GxnWSkwLBbQdZd20GYskMYmCK7LNgR
OnItzNg6hKEBLxm9o6zo1TOqSNZDm70lem+T9dSQkVOGBzv3D/iozKUxQvfnrA/P08x+paZWHzPq
CadJdcgaFKuuBXvBj9+0JDZWZAiu5ynsz3k0n5KyTXfCsY96eDdiePh+yXw2cfICIQ66Hxq1S0/B
d5MO/HPnkBZTyi5lBqDEaP1nnDa/alv+iASJNBiVvqzWfuucDvP2EJKLMaboOqPpQqjDzRWhdils
ih+C6z6t0iJ4w+sf9pvvaOT2ztouNiysyCGi+dDEf2JSFtedB+WOuILG+cTVIzYRwSgrACOGjid7
QhpNWvVpcNJHXItv9Ir5yShekg7cQAgddQr8Zp13NJUiuq4wxhHZUqm0WFdSis5lNOAIieNtSdzm
rq7nl5GYYHYFppte37MtgbJu/XHZhTV4S7ClK8fV14zcZjx4U7zpE9qn6DxfJWkAK45eEp6v871h
jCNKUiqrMf1hqcLT23fSogT3m7M7kJlYDxLuOvHC/pQ+i5Mp820XkMwVm/axwzq2dLXwIugUBCNY
V6OaMMv4lC9wJ7LVMPv7sqoQHGkx5IgOR1EVVRd7JgbVnaBMd4S70jM6tUH6aN38lM7rwDX7kzNo
JDIMr/PAvmtahAzp6BIW4AmTVdVBc+lBjRHAwLws83DPVXAP175RM+wStPFag7dgScKHsh6NeYAL
q5fiRq7JO+eyeYF4Pzs7ibXTgHhFRkcOioZlw6uIq7B8MBF51+3jHOlvOBBJEPU6I0oboa9fOMs0
iA9tYs0nw2dwTMxBf4knxO92Xi+IDI3VgWLTammzjmGsbQmLqt8dqW9ck6rYxr1C1ERP1zFvNlGa
0zyDC8WtXP7EZf5INWJ25C/EVS/YM68o8ZdTQBnc5WDXYklapEnUGkyGDM62h7iY1My8OFBK9fNa
L/vi0OGT2ZU06KfBhwtZwmu25egDvsyGdi0a+1dsBNGx1o2tDcLY41NeTQajKxAWbUV/omlCd1+0
ay+vL8EQUwBM4lTO8bthMV8ynG9xazwCIWFYPyHIWybM4NNCvDh46FFOuGLaDz3xllGMuhgyICqo
c2WyH8uRDBGGbBu3a74FhfWdCu3RVsUXMoBw0VW3NkFUII0306yubdc+QpmhT8wk1WGwJ5bLWCZ6
6+xExg92udoNh7yhHpjx4k70YFQvu9yDRuhCbVBhmtwD/k0nybKJHVYum6TxVJ7T3LlBXKiXbAdb
14z3spzoUoMlj63yqPuARo3RfDV9CN2aaBniMA8mLfCHi+AMvGpfF98aUqKH8QPJegEwRWwoVA/k
oRE4FSw7kQtqGFNlWSUuMuzyuYwyOoTGzgp5CsciMPYlJzR9gleuRzOx1PkbykRS7UzvR5jT8xm2
TVAx2YSNGqB9CKeB/jrBa7YEA+O7Vyd3oAA3wZpcbeTvxjGvE7T21kcPMiPnRBG1BBgFTbLVUtTV
AZoKJmly5zrgZjS3X5BaPLrbssM+4rD+LJxpOOFC2FSsGJsyq4AQRqfIbDjFTu7nMMJYYXtaDuTq
Md6xPvVm+MBc/6PMk6PbKD2divpMiT1YF3ZD6qRunp2IgQXhNSIuSGipXaxXon1HTQxIpsuBh0Rz
ALTX+V5OmjiGaV8zWZUeoIktLrDwxWyLZy33/PVMpNXy985o2KZAsDsS1OU56SapCKQaGS7MFk2l
LC7zFeF/jTICjrtIWXFLr/aWYaqFeESyY1nKmZ849PCk2ETcqfVPqY8pJRwj9lSwmxWRWEaP6S4u
CTGuqirfhxFdfy3Oog9zsN6kZjT3Mu1GtIcsJIyvv9JkYjVtGBbHYwBNqICiPbtWeTPTAVdPHYiN
04bh3uqMA4rDlEisbB+21Qgqg4La5d1keRVdipkNexp5HKs4pHspHnxkL5VnXHmYxCkN5j1OOnHN
w2gHENi4VR6ExI6VnRNJLw5hY8OgwHj56jJ3QXoaH4Roa8QgFlx/TX7PAo/jGdXJC55Wd2XHJHj0
DXEknFOGi1WhC8Yyl5KhwEEBk/R07vpKrGIOH8s+jHum09V0sSsBcSMwejBxyI1cGc9HoyNtKcG2
sDC8IH0O05DVqTKiT2nhxoTb0j9XGYTNXG9pDblOvprTUjvEgfnUeXnzXBjkRumZ9jL77X4eghlB
xoy9MNO9p9HiIEM+MaV9RhOxkdd4ENaisWxnZzhJzbw2vsi+DK9J7C3dIDcAXrPKjgMT04B8dK/U
b/Fcm8+EtuKXSyCqg+y2sqq95PU0QzeK5vVQR9Gh8eJnM4yhI+gxeUKN0dxcVXlVRRAxQblZpDsc
ixlJLqGa5SWf8dlZQt/2jdV806twpU3uHvuc9T/Uncly3EjaZV+lrfdIgwPuGBa9iUDMweAUJEVt
YCIpYZ5nPP1/EFnZrSyrv6xr172RWSolKgbA4X6/e8/1Rum0h3oIa5bv2FrFS3VK0jymQ+SFTn2q
q5e8HKJDVnF7NzmZ3ThqHMb6w7ZIHJ+nawJHFyq1YfdXbcC3XpcXLlQHT1t2nhmMgPmhUVjvaTuI
2ybdts5A62V/Bixo8jskSXSJR7RzyF1jUaspPAqJzce0DMAaQoa1L1bVnHF+bzQr2YedyQ9D7UBT
zzzHuRNO1JKrYNsxFe86vLTBcjYuVc1b1U073hPjI9M9qHBc8Z0xSArUgxpjnHwN5/1iqTHrx9U0
pDXPX/ujMbpzXM53gSE+nJLdpFt+5fmCL+qhCSRVcYTjUuOsbbe5Dg4p7hkB50YK1rP7Qkck1BqW
oec7y5xOwwEP1bWC/k+PB/sc3aH+w2qNu1amr13fs+LFzyKhELU22Ip0LX63WAZrF2vvqmvsTcDA
shP1RZTyXFc0R/a9/lFW5i9yaClzMazfFvYtrtFrFfZsHR2M9mN/baMYJwxgwHpcFZDviYyFO4d5
OWXcyQpiD4RXl9oaHakgaN2nVkbPWYnLJ16w/SXOsQDfuUGqWJOgPExd//L75itZXD1znIBPpxx1
EvaP0qISSTNaSkCTBKxt8x0cCPXE92P+M/O7x7qj+rC27ZfMLM5OnOwLAv5eEEzbTpU8Y6z4064o
iuuFfZ0N9roF8IIRGHFXFq+QHrMVzQpvo6YeRTNALanepgbMMt14RzEFP2w0azz1U4S6FOEdyvvx
edTbQ1W/GmX8GaW8GGzJV447900x3XPXtsAL40TeqaZ7YFRmYsegZzCa7XRtRSwQAa4swJ7uCC4a
zCpd8+UbWChCYQV+ad2PH0uY83r1Otvurkt5uXlFa3wUIRGb8bwXWst/1RlhOAvNAaWRspV2xymR
rVfCZjmJ9ceyCYZ1HmaQhiz2B/1E72s7PVlSPcZg+Q8kZBkzbZVWkxQW89GUzZEdXsSwwZFcNbwS
gVvxWFLhpOzkl+83cm34yVk6LgG/A/Ez8jRz9qMgibvKaY6K8qk8sAAKw9qOy+WExkqbjB1+goWm
XCoAPSCcK3Hj+SFKeOpnGoeTGi8tPlWkBdyPa5/Rw3ZszkxN0sehpxxd1HQXNb5vAljgEU1K0nkj
gRBsGh8+hQSbjLi4ETaOJzd3q3Oi690jtc53tA0ydCklrm54zxNILK9rOvMbPvgdqLY3HAbl3ZD3
7UOpzLeC/Fjhv6WJCO7UAh28/ac/+GJjcDCxs/AQYv9bM8zrEWdgFE+2HC8ZHP1aVf6jn/vd0c1g
XFiJ5j7SLgYGK8mnnV5KuI2WXnk1ZwAswjm/sB3m7B8p5Mzpp2X5/YLGOge20d1pg7xMrNnONFTP
df8z7ZyG1OeQYb9/GOygedapKbi6T4R+voCnJOCrXe3FdqqrYRctzgYH3rVVHGtj5Jcs/pkD6t8P
QxQ/BQab85lC7L0i9/l0+70+hCuL2WJMaSyGlBRvzajVib5JmI5meZEczAkFz2cTTb+f3DerUO0+
8Ofszimce3tuIAG6n01W4+/I6NjKdR6Rs7ULZhKLtjbr71bi0MKMt/5isOWtp6HwnBDum6J6tbOi
/FxaTb+2R4H7ee4HDzIPk0X6GSrGjXWIx3TQ3iqmnpgmSw4bxGioD9Es/cwcbtyK3i69UqOz9rY7
EhYoZB4Y9GwYMU9nNV4mSc427KJd7jdPGpcR+XRucXJx5jM7Xssa8FUK2+QaBa8s+0MTCkmsJLzG
+ISyJKLXM7vYNKQ/QB9NiAwVvldN8eDd/moOL8mLu1/UsOCwqZ6KBs+dbmvmQTfyuzJ0u+1ttxaR
kWdGsLN945P7DttgmVrbpgv7bZDgLIVTNCWQXdErgVsm4yNrJ2amOWm2UyoXrPucjV6c2NnVjMAa
jLs+xyxG0Qebx4zZCAXXzVdVQlbRmmlc1zJsTgmo45yrJ6dpkA8DZ22DlGGGY7JNLLL74HyzHQE8
8wDVT62otDMvtdTvwcjfu4sE0464e6epvs+4+u5EB3sGu0di7BqpEU6LyhywLIEmZwmbWukAgzQW
3xzH4E/kBqFV+lWp/QwpL56yj7ysv4pKnUKNW3E5r2Z0tqwbGmMuLZ/iWEY+qKvg3nUccRVZxr8S
bzuTUO6ElQYDJ7gu96E3+v7kSx80VMU329a721c/AIVa9arE71XVtDhH5TYLE9hiaPteRO3CXvjM
LiJWgFlO1raji3KVlLz3P79Hk81ANtoJEjEJ9ZZQS2Q07HnYCQcdSbjA6aNtUNsPt992LNCAyaw9
CpdaYtfk+nLcpPdET8Ne7OPOilI17MqJlLcgQzRmhOljO95SwPFr6sd0nc8WWMrxpoqPF2NOSRnk
1WcTMS3UtWutrood+DqoXI4lmBM3ZlCFf15zjXTUoWV3rgDjrQudVm42h+mmZJyyscq5JVg3xstW
Ae2pGsPnoY54sE7oUlnYv2pmyRYBP4/MDHaDqfKiWPpenkTtKQbtQcsC9Ux9NR1DIsu7jvbKA5Vs
/oO9HA3GLP9EjqT1Jylzxi9er/vNPcUNaOXIAcv3dbD7AvcQrRle5ZqvZRHaR/Ja+55N+ppWxiPE
X+fbBKqlaZW4Ti7N2oL6g2JQGn531ROP0s0L7WjcmjYlEFlIbWlWx/JwWxKy0IhPNZURQdumz1b2
q/JdrPfLTS4URigzS8DuwTUCaPNQSfetpOTF1EpQzSX3f63o0iEQprbTEPbU0VERE5nE3VzZgsSI
hXXQtPzn7fUDjWgetUhtsuxbMXLmieyI+lrZPduhq5275d7JZtayMGdZKkYsvaMf8joxMWkF0XhN
G7VTCfkdgTMR1GfMVzg2GrAbtSkMU7+LTTpotRbjOEOYynN60zzgEJxXYY3X2F90iUx3P1LcXMni
JjVU7d6zhGdsBzp5YqibBIrCcSZXoALhvtuy2Q9Oymm7fDT9sDvpPnOBVurn2zC8BTdDB/qFJEG5
w5Vmr40meGor5mtqtp4tneD0uCy8WB0zLRWHxi8/b58919kbQFLzMZ2r5XQGjXS2ogejGjh8ukwO
J8dLR2zqfTZdAlf8CqVTbPXlMpBdZu51jZhBb2PnqxzC2ZRR36VautPZRD+aM0m83FgwfuHGEHMO
G3NuL/6YXI0CmkQRTZ3XlGW8Iai8E12Tr0EyBLuZOi6+ZzrO+jSBXtu6DxygOYkUe4yByA3Lui1D
+MVOyHFN0ec1gvlYR25Xr/XYp1c2sP0no6GInEaWk2k0mLYz/5A47EVhZ2SfpTw45sUM/fjs0tG9
mkr4XkzCTHCqsBNUjEhWUdtNqfp9MaW7CTcFgKSBNG8JiCctKarOC/qYb6sEG6zyPenlSQHUg7ob
uWcmMbDr9HOiAkjS7bDn7BWfyh5Woj2RR9QL4CBYLvJ1PtAOPLSJz2nZ/GH6aXMfYMlsayM4m5O+
b9ErH0lPEzUaH27rOvTBTa2n846HTOnlTtTvInxR69sXertjNPbVS9GTXmPxnvo43Zl6/GJSOqyC
Oj8FOu4owXPIowjSOavOPQeuTDbAM3i2FFzqcwSJKGm4DvruMW8SRsWxgbUVmDQ5X0WUhDlgx950
N/jM+OE8xvg5wcdokcm8OQuBT6fkLK2Qsgi66/BJ6SGmVGFy8mW2uqmcGKvJchllHZDF3BrJGtIv
hEZIsVYMR4cl/sOhHHgj0q7aRMlQvhn20dfBP8i2iZ+HD1OaIfgJ8B2++UO0CntFLBp8vvLdHmBP
tTxIV1hc9j56Fws7F3g0UmhcATjYgQ/4oBlI3DnL9rhnHogoeUiX9ciYbbVqOfv/+YkSvGcu0A4d
HmW2FFrcDbtgWjrGndDholDN8fZGnDQNd9yc98Lqm/cQChuwAwMrC9R6j+4mcYzrCOGFocGp0pYg
htTD54rrn8uvKI/jEOQHjU9ypdt1AVc1rUg/8KTQTO0wxrDNSP8IqMU1vYTxwPHQh9Sm8my8q3Jn
uCtcjEJz1nd06EqA80FHVjgxd2ltJ/f4Q/UnrayJOIl1X5vEUYPlhM/xnrZC3SBoHPH90MHsQ+S5
ukTkWbMCKj2Ab4CK8i+hzWKCIHMfGbZ9nIL5yUyQqZbNy4hrkoN6d0LzNynOxFhRDBOuQQeXQGB0
D+EAXdLUX5HMLG507iBFIgvXQDx9JsNP8gOGF1WlDsleYItwtdekjOcVPmq9eAonnNi4Z/19qpff
oVd4EdP8ByOmHLi3EJibbJ6Ptwe+KKpdLKLwLvow3S6/zABS2Ncz7dUw9xxzHXXG7UpiulLLtylS
/NE12Rk4BlI6a933ctSJpJQY9H30f0tM6RbPTOrN1ZBf6CFKRCXOSuVfKajDLTUwSEikm+BD8VqW
54ZpEzaxw3RLZIpvqjH50mtrbQHf8WQdvtY1BDDtrohE+diC/MnsGPdZQluOPuFZLROxlOooIN9l
axZo7YjLURGechnV+7bp7m8bzyl2mxMDFHYCM/s8S/vetPmlQFMmjsRlnoeBe3aXzSO4lZoOHPRV
RytfYXgwdAn89hAl8V4bp+ozTnmsY647o/H7L9BmLixwGXUrHN4geXuTmfjfEN9R9FPDM/vaulBt
9pijSWXI+wCmxs9wcLVDpMNHI1jl3rOqst8IDKRaWhFPPHcBLcw09TZKImBSK3WAaEvNaJkgJhbW
pYfm4dbto19QtTcwnmkEYcDbFgObt/miKv4xBICHm4baavnBjdx+pw05qZZE2LsuK6mXm9GNdbPf
2D5UPnc4a0rRi9iN90vrtfKr4O22NLdViWZiBtmZdHu/KlUT8E1uKgN2mmZA18lSfB0E7O8hj44P
I0msXaXlgNawLxgm0CPmCT26eKyTMxDFuirj4+2VlSqQry7uXhwFDwGi5imKFSe/ZANbLQBbxVYp
cZ0d3d7BXbuVy7UivzN7O4/N7J5SCF6iDKdT4jIMme2yxB+fHFPLzB6GhLlXG0YczCmgKeQ0PrQR
4ZNGMXnJqkrtoAtBlUFKRFa+y+b2i14nIjnLfmsorI2tVdElz8DSFBFH1yY/cdKj9BAIiuwbkppm
R7+nf+qSOtsqibqvBh3WuzFBwiJdj2AZAtwfXi29pLPSdo1N0dHMNqSu2jd2gWiiNsG0S3E6nW+b
d5tB93Z0NrE9BDulYIUbfnaqG+h91dz8ouva2HcADyJZV4cqB0srI9XvRuiP5L/9k02tGH5QZysQ
BXF6NC+NhpzB8sEYdLnXNAF5kSmlj9xgBbvbHp4hno6CUnYzrJW2O9QxwXqlpRurF+rV5LzsjVlb
7zv1HTVHvRTLbKJO0NWMHmNnz2Fol4ogPThs9joH54ub0Qoo9Yru2+UmaJL+mdO+eRAVuL1ietRS
t3wfFMf4nrqxobKNfRRHxYZnfbjv4ppWEvHttsUN6W6s+uliln21LgzF7bJ8O8Ww+JjXXDYEeNo/
fRjYI2DB/otxt6H/LfesmHMpQRralTBZDZ1DxN+H3XOA4SfpHXsjZrUfRzE+1IwNlBU9htTdebe9
aGC69wlRbCwtcgkK8EDul03M7TXqyzHN0Gr6O5hfoUaaR2s+TWWbPQ2MpW7T+f8oXf/fsnP/5gn5
1xn8/wcdIbbxm0Fh4fz+g8q7OFr+1//cpP/j+Ufa//gq6t/T9ctf+ssSYv9BvhOYLrt06SLWQbX9
hyXE1f8QWDJMHA38AvTqN1OI/ENKdC3XJHrPzmVh3f7DFCLMP5aHhHCxSQqJM+Q/MYUIw8Be8luy
XiklDZeLTPJDdeU4zvL/f7NTUC45TuZMkJQE7BWV+qMIEQabN0ezLoyiqAxQKIt4MUDi+ofel6AT
aS73Ixs6FoJzgvUKNSNFgs8kPBNqRpPU3TWYo1IYlqtOwzrYUze3SsNgm1sWfv06pNlwgB2S1qgX
9cwDx42642DZADwig+FIsopYHmB9EZ5L1Rc3CdBK18bADCsRef+qOf57bn3Nkul4w4OaiIF9Xd4C
g+nPnDw8RFvQq9G6L5KjIwBG+qjomIZtxmYmxMrc/EVLWt1vO4ZBt/9nVMHLONiHyIczUvh2hJSf
oFoP7hoPF3UMQ0ys2CJKO0P7SGHEBWBxwF4JD0YJY1336oz492KTSWVb8xqH7mhYyY/lZY0tG8VE
qMM8O9e0r1xYfhgSQnKzucOBKvmIBSFUWwfUogflF4Pj7yiLgLY6JA+BSbNK8GKawbCJQwXSKko+
QoxlwYyg3biCdpeaWFiVfbesGm6xHX5k7EEW59w9x4Brxodf6w0rl5o/gc+dy7FfdxwRe6+V9bUC
tmMNGemrtOcplcXftUj+uv1O5UafWvGOQZAzn6l/q5bQcdA/BbNxnCq/4PEtDzW7CsZV6WXqF69z
eFGdbW61mP1pG1cHWbftxhEWrnEf41Gof8uYZu+l+1So/DJSjMc0hQFODe6nSXiauxYl1LX/Nfna
OWhyQMk6YkdBOpNjeJ3Jq4NnUWTVwUizdhXHwwu7MIcKzffKqWHuNoIiYHf4sNll4Yfk2ehAJzUy
3yuhQ1LtND4RpNDX29ZI64vDZ0enA/uqaS8qR9sJcziYmjEeEhAQOaOsk28X+HNKtPWiAmEz8Zy9
TBkfmK9JpqAnAyLcymYES6tk8DRIRa6RiB3pzaOLG32lN+UH0AdqSCzU7CGSDuDRjkR18mTFsX0i
N+dlrmS2xoGYKTTOirDBIi4DptPgYQ6CAoUoLn/psYDSylCFMYB87xUVmxzs31N6zjaUphseIGzM
LH1Pu3FjPutTfqhLGFXsyGPYdOJB6Ww+JuZ/fB9i3dXuuUbTX4cMKABqIdG4zqNqKvQVblGwum+Y
Tt/GNkq9UU/Y9X3FGsfLkHRqvjf08MsQMvcKOR841r2PnDVWZucfIgugopZk9Kb5T1grPjn9bPsS
0LUZubiXfb7xDJQXNxB8tE21bE/1NC4OZbsORDjc2f478+pHnHbhsyUG0owlczKL4pwz33vNuAZl
iuE19VIuRGLfjY79XGUn5s2HKCIF6/ucJGrqg/nWGcriHV9n/XjNWYnGUv8m5pQIHb1Da7/Pvuhj
6xdjnHPqhsZj/x28YH4F3RRKD7pksO8XCcyXwxqCBGUbbd/siwr6nKmSrTvAXw4Ba7T9BDUkwMmA
8HrM2EthPMDewheiOHc9Q6/GJ2tTmR6YBB77Z6unalknPNEk/nea08suvo9MSNUu+WcsHfkiMhfv
eXLnxuN3kMHvLhE0rwo8PRpbryUMPWjZ4A0jM+kQJqMz+FcGDdsRRZzS0jmc69X0YlaNAmyI2ywo
eizLLGIc4MXWxSmsAyKVDrhufwkdVtUImzWSijHouCde/gSMhXFg7zP0C03F30PtNzkcDNrsbByf
kaIcKwh2MFVajrfSyL70HthZLqpr65CFlWx7wwYXgPTzFyYGCItO++hED4GuWq8HK+MVZoZBnqgZ
0wca4bZySje9Mi+NAb8qM+QvrSENtXiQ5dBFmM1pIG1gPoqMf92BDC1a8vt2/mqFhn+2Ir9hcBu9
N7niZLVAG9RYrfHqp9RaE/p00+gRWnGGaRf/QOn23R4PAPWpE8Ef2j/8lT5hHEGL4eLkCbXVfpL6
3+mUp9LETrwccB36QUlmgWlCxLIA5rKShgJ1wDUaQAkZX8HYBMcB8UkQHV6VRocwYlErqCKKIAw8
6gybH2p6lgGDHAcSLWDEnV92j9glU4fepMVIQxtduWMryxTtHgzic1Xlnxa2IsOowNgTDnVy6+iE
OUHhyPfSoZ0JAZI9Zs7dkC5jbCvc5B55cmLoLrttkw3nAM+AF5fBKQR7t7WGdZ2gWxtE2FO6sIyn
dtAQl8NEPzthDNglmZ6Lxv0Wj5gd7AwyTIcbJ+ki42meBh+T1UI4mcCxJYwHUQ+oE/Fxu6TtZdKH
F0sQtgpTpoiYM9ZRgH/Dgq62SlVz6FWWvsKV3zhqbfNAWzl19SwjOlkjncgmxQPNaeqS766r8n2t
17/qoCwOFg91laExNvOM5a9zqbd2Q0AjY7xLnA1Cfr71neq9jpuTy7zD158VDdBaC/1zkOO+0RZP
V+fsesWD0rKi87W2aC0ukocpi+/0KCDAnoXvLTO8DcjznRqEOHZhdGhK7dEAFETf9Vept8n6tklo
pKeN4F5HbBObwhfJivxLs4quwMLiQnmyIiya1+mq1Qcov+DVhpH6FSZavS8wyVX3elPQu+LJ8GHK
HVgO9UUxuVz32GA25JvpP0Q1a1wyKtzItKkHh4kquEUHxyQTfidRhNZa4aSMaB8o6+1suJupCInf
Eo5MDdwX+KpQWAv5CS5c7FKCzeUFo+KTYVUlj2NwPFHcHgqDAplC0Ia97bJG20YRWGK/mT0mv6fA
6onAErSvhfttrk0E1ae6qXgIjxFtINNdjnGORgZ45H7uui8qWZxZPIqdsfE4Q25aZkQV59G1oG4Q
UGlsQ8gITRoRSh/ijxaE4dbG7e/1BsMHm3EW3PKsB5vybrQjqm2L85JpAX7f2s/3U0cCAPVuAxVw
m7aF/SvX91YTtmuO8NUD6TOd4hYbvgfjfo+BO2zaZUbJyIcB2YujDSPce9bXFphMHA4HAA3otubW
6JyvOOZrwp2Bj4pE6XQNcumuGWScol7/pUccaFmZViqHReDnobrPRnHp4vnAjfbUlf6vuOjftKx4
n0f8Z7F6GocBC0mf2+soNb5mJfYamzO4Pmw5VP0Tu+Rp7GpqTVO4J0JKDw0p4jloQUwHek9HKd5Z
OT3R2515mtBWEQ8nNMQP1wEYlJoRGockTdUCzrGjtyENKnYchBD80nmqCWSPNe+fjgrJKCvQzO8E
Qj5r/Vq7/d43hi/hsF13/AIFmPKclS6e7Ym4SJhd40zuegNWOrwZ/KYpzo1A0DkkX4J8bMFxZXT5
IV0jQxpAyjHFdlHNBQG+Y8LTUNLlkATGTzd57YtTMdqgJgyLEQxXfiLx7Uh+IKfYdbyYaIKswKVn
xGAkm/QC/u41Aww986dXbuC8dfdlF73bGoh5MyVDNsYf0kmwVNqAHMiNTve2K6IDpR5WfcEZfd9l
9qUvqSWKneSldmBrzLDotSJbNUEn97nPiw/8X7bfPtV6uy9KtlZF47tECkOqcFL9zu4scpZipDeH
R/VRtJUi/9SfRYhQG8xQANIuOSaV9UOkYUYeA9ublT7CAauRtd1yp6tlKGiV39yH3K79Y+Dg/VP5
OPEjqN6qm9eyCa270ZQDvYgFzPnwvQka3zOhq7COGwkll/UJzthjbxtbDT+bN/Idr6OGHRY5/AOT
o6svOQWEGEkgjrpXap4aOCGsblp/N/h0h6XTvnOzUwbcfbnR4rUc8FhkO3s5Kxh4EdaOOX3KAMaG
zxKjQk5ZqCfs2QP9QwCHwZjNzZBaIVsNVP/EdiwejcHG91W0zmytXwN6vFY+hSsOBhE/QInN2myh
gy0qjZFTkdZepF8sa3yxymImMHLZ/HHBN55sbZ6Dg72th5YhaQlHIrKOehoiEHXJR+HjnESWvw8b
DNGVjEBloM5IWbtsrjqXj4nVlTceC1K7MmTrpLfONQGOthKV6hGY3BO71J/OpWE7pJG806fqxxi+
3v5sBjobpY1Poq9ogxc5w7/oA7vE+1AMpzKMPoKAY51V8ghnMJXiRWYszd+Bl8D3wJ/NLDoQggl/
rlUxgw+S8aJrIxMtWPXVoD7L/CnN7fmxFv5RJaZ5jMS6dXqCeDA5T6IFdUnbmr6xRPKhsCWs8wku
c9g3YtsOcjotNrFwORKggrZPHT++16mi9nWZeKmjPaTk8TdpiYdH6+7qDOJ30yTQqoOZBLXjPFKC
ds5cvgQdA0DWaj+khjd81pbRZWu+LC19LoYuPUkxVuYtILaCH9XmwgOJz3FU++S8gE16Sj9u5008
lYd5OVS5xq///blbk/M60NG+bkW4n1pdP9iSa6bvwMLXAjSb7YbPJYmxspqGI/RZ0LZ5wjkUr32H
KUQdIyzHh7grnuh4GyanvsMcHOatewZScmcC+TzEecZxx/cBRE30b9Q2iOyO+2TCVrmFaWp5qieg
PQ3mRO1rwhnDtZLdbAUBFhnPFiNs9zj4Bi3DP9rWWc30N9CDS4QrpmR9ZsGk+wN5mg8nmB4ZRdLD
SFm4ezCltUyXKGo1xk2Yxh9Rg90DBlmKZFG47jUIirvCaL6G+Eu0g7UpF+mkN4x7Ndjfi4xLhsNb
wzTjHNJZNNH2BMNp6KlK4NJp8I3RZANfvoJXEc3BNtZaLyoiF70d1ErArb58zo7ewZepegDffBde
yCz2HCSSP2lvCiekpRU/l89dEYTaNeX0gexyAZ0dr+DJmas64DUJx+IX+tSNuAPZ95p3P3xRM2nH
z6RIA8JwiE2eVf5VdcuTe7kvYsF/GYa7ws645TOjSwLRIo4YJqAY+OPd7XbQDdaRrkk/7MY6GBVP
0KiKDxGq9aobS17UxNtgC2Rmulov72v5rB3+bBZan1ovVwPIvl0yop44uH4gmIaf4VgcOipVVrYw
3vS4a7yBEoNpFv06tBVDy0M6xW8pG5fl4lyuSzw+nJyC9gHrIUWJ22VB1OIZiFu8rYpo3gY+hwyD
U6AiYLlSTL9Xy4/yg/ZOy7jHdD350Nng/PlymKdzDFlWJeSdEuBVtmySWGERLBh40/nipWSfmaaa
q9HmFIbhgm91WRAgDmk4uLM6B/bTsWR3WfpxG2cFDYiXijN3Tja2CEGzawFrYTl9y0Rh3z4bzWSp
M+S3ip6V9W1gf/s65PKa8+gqO/NH5fCyli8CGMVVDNp68bhXhXCB4KQEpKlkaG37200yizN+3O3z
nRbFbB4kwhU8poyk9ajGp5jId5plR5nITR6/uVXywwQcAhQx9QzLmPepQwNM4c72Rg2YM0D9pCxh
7FYI1dLcoy3lAtp0tkcuYmus523jatds4lpbFsjbwj0GFVuy/tOyEYNq0L+rfrt8/bdHwGi1hFgC
hUS/hF5svhXHaR7Yju6lgT9hMgNGzP6QHGXDwajAKLAq8MR6icwD0rQ8tWKBLrncJmPob1VB+ArD
1bKyAhdjZsEYkewUXa0UZul+/6Msm5dkcQL8JgD/C8neROv9J0HVFEBUbUgNRAEtd/n/vwmqVm03
JWRBtWV4RzQhJgSSnRhvrRIsdjCgrLz9jLjg5AgfJObuuomGaelfl1em5cSHkuDbsggs36100y+H
9pzpOJKOrmKIdlyEEfAQTiObRc50S71fD9z5jK8usWk8Gf7q37+lJVH3e+JOSd6RItFoLglG212K
2X57R/jKXLdVjIMWTTgbMvbvKGMq+mhtsSvG7puVICYOhn349/+u8a/+YYO4osvignfShD37+z9s
5IyVOATxUdbVtoDnAN39ssjALRWeWmtdJMvysoqUs3uh6/eKKRGw/xx9KFz/bem+Mxb7mPSTFTWv
IdGuzsh+ymVz03E3h0G0d+rC63jhNPF9LHuGaWGFMtP892/khqf950/QFpL4p4VRDp7u39+IGUtd
D6dIbancQqnllS/r34CnkEC85cQfZV/fc80fqojbl7YRcwVO+sOaIoQ9th6S1SHiZTXIuvZYb+MC
cIl2TViBOxPtd1nk6H+bFc/MosAtO/EXzL82QlKymi77mMZ0nicgi8vHt3yX+NU/bu/0P5oA/evZ
zt/GP/93Q6L/j4LDLpfufx8c3nU/2p/Zj/RvueHlr/w1JHLIAJP1dWzdkUyKlgzwX0Mi4w9juels
m0vWcXWL5eSv5LD9BxKtZbiSS97VdZMf+H+GRLa5/HmlHIKcuMj/kymRYevLBfrbBSws4sm8Dvs2
xqKa8Z/mkMmQJT34dkp0qhHU5nJQqjgxmSGQHfdXthyklnHVnjo9DPycsrBu4LXJX4bl+OVX6hIH
3T2jiUv0Pddcom3uTPXoZeTsVkwUIyXZB7LXs7Mc7ipOef29z4kvFyQUfKJstCC+xnl+iZOc+bDd
AjT229CjAGEd6j3bRLK+GxxYx2I5XkqOKPN48pPXlLMntSp3k+FvQ9qW0bQjCKUYB3pAA2HVx+ua
/BXbTA6zI4faoNinAT/QXY67tfRDtE+wJXlxZd76MIvnuGOXmHTUISghCMi181eOVKoFL9LKP4vB
+o4Uh1901xrLUIbHpNHSsV0GS+VETP9Blr7pQXOqrGET+uTpSCAqBvXFB5mG1Qxh0h9dgi6c9lWZ
FasZVyDtBCirdoXwZSIyBiYiQTA19DhpdK13P8kLH/xFUJhQFipHfrHvYPxmIf7WqA/YsNg/Ve8o
a29+HDJeWGSKST90jUl2B/2CcId/FEga86JthIvIgdgRRDyu2kG/ygsRB7byScRhH3mkQyVZ1JJx
0U0cBJQcIcWBkXQiPykGICd6Is64gRqK2dOYcAxdTUEfiVU5mzzFFMWQsbMPaTT4JXCF0wu5sboR
9LWGKC9auiBKK+H0UaFLO/o7NOJ+ZS2KEFVxxChSp6KwCpRbW7LJpdgE9KsDuFHP6XEpzxZ0EpAQ
40mDmQqogk3jyOYIPUpblKlw0aiKRa3KkK3G1CBmhpDVXvG2oCoib6WLzhUieI0IX2jPHs24OJkX
TQyXRI2nGk7FOkYys+rQ2PkVnRoDclqErIb3jOntbsi/pLOmbWQ1Dhi5EOLmRZHTkeZ8JLph0eqG
atvMANdmO/4uUqQqqx/Ork20geiNVyP4QbQBso0E2C1aoFxUwRh5cEQmNMOHWfME0iH9E9SVmMdG
4l9l01lBxqSPJgMWiKNhzMJLoLfKm7fVq/J1AoqaZGcYGBHiIrplLT2iv1ydi6IZme5XVrew0EOA
1PGhrdAoTQA0IQ4mcvTxO3kYxgR+Qmtw8lAhnD7jRoC1xkamRVR1LJIqPTKrv+itEuG1Q4B10PeM
9oTe9R78F3tnst24kmXZL0IuNAbAMBUJgD0lqnFJEyx5h77v8fW5wcjI5/WiVmTWvCZ0iqToYgOD
3XvP2SePz4OAlKUmZADW+S4tKKVxuV5jiQvJRNmc0JS22sr00oTulmakDo3jKDsNyS3uCHHhqXK8
UzCUq6T5CCKilQxLnBX0Sr4+k4sjquUb0084vCPWiRgJnt7trJCioVSrW661FOqNROXUtAlFeSiR
qgpSS2PziOJk3liBGR4tHfLvqKAaStow90ACw2pl2MKXjuNK6uw09AL855IWD4Kq/oH8pOB0Trvh
S1vK5zab9rZKK9rOf2QVEefmANfZjokgM34OWH/5qoMYTyPyeYywODIAB9jsfC1zx0Y1FfFeG8b+
QSQIyHUcXn6okbeBOGsTdXN9BYyAZAZRZjAFAcnSpCIl+eDLfr5S7UJ/YygGvLPGs1oxCgq00VOd
3q3b0Qvn6GaaCrknvbJvAkMcUNDEFGt2uZlz0q8cVFhBVJq+IeZ9fC8NspV36qS/MIFi34IdK8Mw
2hYdK71MNbDcM4YCq+1viZlO2yljCkASkSvEwlTSoYm7BCxymHTRp6iHmJfYlxLTnRGdu1ZNz2ak
DZcI/q9mifGpijEwzEXNUAhZxS6dMYLMeI7QX9HoYTmHRzZ9DA3xRMCHlEeawgY5QnHhaTJ87hNn
OWc526Bwsm4Ip8y3OF1YdJXqV0dcOQIDvhWOoNnV178bM0iPjYMKcLB3AQbT96B05mOZMp1OMZtO
OrqyMCVRjXV9Y3eWcRzXKVtN8PcK0M4VqPaFrV3gHlhXlbisB3y5JF2QafeN8yQpaIaaot/O0DL2
wdaCEAL7FoypOgEBlVbvLZXVnHifdxydzbbooSJZ+ZoGhHHlFhrqAFzBQdVsNrtBbWaPvTIQIcOk
FaJ1zrd2yl7aeHJ+IV7YOjpkw1GS1BGhVQxwXp+U1rQJ5RUsBor+FphqfKKIJdCEpPlKFi9x9TuS
jDJLormWCS3tpMKaUROdobTkaxoVLuU7fCv60/H8tAwVYbEWS2ucpbS/R9/K68OUI6WfoECNQHNr
FdZ1ujcCDPK6jq9zzOsCqaXBuSvalg3vUY2O7wF94TUGFBhi4jEbPcfWYbz1MzL3a5CAQ1TyJyg+
t3YgXjZP8LRFRtiwrOEGTYPqUKXms7YOiabFlF6FunVjFLpxxO0Y7nAPTKealAAzCIg3xPT0lrJu
uijMvtVWlGzJ8Z0/GYyXnVZ+lgFquVadoDrNst/qq25Rl3Oxm2qjB+ygf4rFcG5DlD53DBsvSIa/
jJViDNwzRqjqzLsZQcEmM6T6kNdyfs5k+KYVcEE5zs9mbchdhqZ3KwiHDp2GkAdO6yA74GApY+xF
S3iJkYxX89Cdk645zzaVozPjQarAXm9bx5mB7+ONTpTVltHIYDPEgIr6ctnWUeAP5SrMK/O3yQDp
lkV8QxRr+mgGhlJFv7AuguoVRnjRnVHb0Z74itD+HklxgMNB3Ki3xlVFdZi+GM46+2iH9pJ1KB2a
phn2XWgAPSKn+sEuya3BLPRDiavpkY0YLwI5umXPl2mJfy+W9s1uFhgVsvGUQQ5no8MYQs40phQ9
fm+wLGKmKoiiNszKc4IoedI7sJcmno+vggn3gzooI5zINDxpnFVY581bo6TdmSaI+djHb4S5jowt
NRhomEhOUcsJJ2vC+MgB+sKx0+7DHDpumNSf7BrFqQwdYyfJc3MyxplpKg9dQmKCVvl1cjQHTrC8
1xhsIKfA3A58Gyh9IdSvuIouDSDThxTHA6ptr9UYCqsOOD/NJuYjQF1QEwWYYYay44G1PO98Qbe5
i62jk2p+5UR8T/C+RhMz3OpVNZtrZegHVPQFZmrbLRxUV+E7e5IW+Ct7KoJUd+Nknqta2cxW/Z2U
Kte2AtwhDGXIbhsfljRo8Xg4bI3kdbL0a4yIPUnE91zjqEH/arjqCg4e6K7oFfYyKFQsmXqOS7x5
7oP2Bfc+UBamGIO2y+eFhO75QnGxtSqHA9jGBqcla6QZbfmlLD+ygtGTvg5xk059iXtgIEwvmJPV
jd8P3VNaz/1JH83ed7rgbVnhDKQoniaMmX4cvcgwHY/3C4fBIgGNXY+rdIba/seN96tRKZgm//3q
P36rWfgbdUP3/3jQP+75++PLIOZ/0cETHRb5837vP25ifjEe//j1P269P6qZE3uvseiWtJIO9XqR
OBHsjP++thTLn7f97SFxlIM5vf/KX793f8z9GRZdZVf2t9+5P/D+tP+ru0f08V7aou1lc54fBqiU
hxSt7rzp1qv3n/+6534bkx5lCYN9A5KKSaRSF4e/HnG/dr8N2YJDL5W8Vs55SAEYAThm8uP+jPeL
Uh/wU9yvWvnIY1iSyy1bHBJLBQlXFH/6z7qpajeVRnHohrA8SLOHsKfoaP7Daj/My3/9iQgC/+sa
yWHfhnpAyoC3H6sZMRBOTjL3/ZqyImTo+WD9KFcHgWIwMlwvYD7E3jg03+7/FT5LjJa0Q9F8858q
aN3h3/M3KFnIeFyBHKFOTXWIEJFxINgV6nDTiatDuJpy79fu9+uL4P77jfefbXR/u15y2l0f/MdT
3H/+43n+ur9sl2nfJlng1tbA2akX1aGPgeWSe3cgWLPw0TRLHI7rG9BJDQhshqGfbBxENOP6kTah
wv3F+mnef75faxQCWJ0F4MD9tvuFAM/NDDSC63L/OEQpNdT95MHnM7GjzEHu78H9Il7fjb9+vL9N
uG11bFgkZaZoYtY37n5xv++vH++/JGJSQ+630WTjzHD/+X7P/cYE0PYm0C4BoWUBKaJupuCcQY7u
Oc06GiS5YV6gJozGs9NBdUghC9bBVWhfTMd2xTKcaoANaqHtdVv6YTvvqCV3akApkyoeEQPbgvPr
DCMSgxwDE5YA7YbZbNcU5aNq6scifrNTjBPEN9hKeajw/Fai/Epw6+rHJiZyRZW+JQM3arpdZzZe
J0ryWS2SREcPJ0udek1BqVENLsvgtRHQZPXfYfGbiAQvF6vWAgyyyasbR2bMyEZCDGWEQSIP8upU
82z2c0WPts65wlDbrogI4WbNvMnhFiadq0w+o90gdKM+ROChvHdN/SEc82mY3gMVUR8lb5oVa+Im
CRetT4OB2EYQEiI/lk513FlJd5yS9rHr2QgSP5SSx2bnCS+CCqb4NobiYPftcTTMHTb3Ay2kHek5
J2tFhnb6Lki0H1M+v/SB+Bjj6LQ0X0ZP/zaMThDyaacmzMkXKoLpOLTiYOV0QCvBYGF0C5Kw+rnb
abO+a0rcvdWESTc9jBOn3OwyDJxKlM2kYVUjEQP5HPsA+xYs8nXIyyeJKLiKauRiQfXQxcMz++Bz
CpdhfQFieutSt7Sy3aI6p36y92U+/koz7dkyjNfGUa9FrD7qAUSClAosReQZMfosumNhGD8noDVq
Gx6ztOff4gpv5lxBV7QYlAa29ojtQC2j/dQRZzHynaTzahsunqxN6Rq53JHP7MnzhCjN7LIT0JF9
puh+ZdfEOqH169GwGN3B7qq3sJ+OJcpJS0XJo5GdQ47PPF1qK8Edou9ETiIXqvvamZ4CvbqkoGQ0
mR0WpTg7E/+7WI7ym+xSv2QXUFj2QTG/RcXMgI+kVxkwcjI9UMdHA61marX7sqz8FPSKEs5HKp7z
bLwqhJfEUj92ofpYp8u1TwDFhLiSMI53seYVXxH6j2Q23UY13bb3A4fQoYkPBlIk20bHgfpDEkxv
2idTFufGyE6F1PdWH5/XcK/SfkFbBlGLRnNo4x+m3dDG730WfcOybKssNQzX9r3Qj6nQD1XZnEgS
9KT9USj4xUydiZSoR5Sty6EZ6QUoG3K/joPZ7mwBeZf2etq/iem7PiPNBDVrA+SIJt2LKhaftt+G
M/GXwYaI0Ee1CFkz4x9lbFyGgtOdtPZd8Iradq+OksOAreYEJnjt7g3dYTToUIijOtq3BB5BapFQ
loSfkw7Un2egfXDgmT/MKbtRUT8Y03gK6AKyeWH6ujwprTykIrnYudx2Sfg01KoHA3FXNfuBPr0O
xtTUaoKuuje1kke1tm9LJQ4JYL4KhWlnN08K8tQ+7KFeIIKtdxVdFata8eChzwpFUYp9bk4vaTF+
2dHvpcPZWZcAMdoDk3Le2p3Cl89awqeoHz6QeB91m/CuWtlWnc4zqG+x0D8yfdqpsXoeF2Bp6B0b
yF2ZGrzW0fxUJuY3Jy8+koxgqyXYwQz7BnzHp21JiDjo1q7cN/Z0TBmTZSoduomWI8IN2V0VIFop
ql87YM46vEniP6gbdloV+CmxMIVGgri5j2R56tDfDjbxEp25b+mFiOZUMFNnJu8VmcEsaDk4Fat7
Il5SpSOagT3pcpoC3mK1eK0oDlI6MI4Ja523uNT5Jinao50kfqCFu6KyMKp1h8yIdlnunPFeP/Vx
4aboow24elGdXqAzXq3BvrF9fQw0+TYEwYsgfc0Oi12JvT5UtF2gBOchVV5M8ucQ557xoPsChODS
0/TolH2KHqXC2w32Bz4Ooto52Fg3W412ZRcdSgy6IHVojGr7qAhvcDAvVqETphdv+6j184CGpLmL
2PKr+NvqZboQ8X2JNXnpg/iMYZchKQgRULilGZ/HMTnOwrrin3s1ooSueCYg7R1Lk0wQ+LPRzajJ
maq3LYF9pC+icEf4qoeEjmY7dSl3hYEPefpQmmE35k91sBwqXfrBQFyprhKZw1fcSN/mOLpmFYKA
DDk/Iju72etlzyrT4pnCr6B13qLOZ41vQTDMezVZtmb7EcjoBQCOO5vTnkb6Q7YUtzJeI5QJTDRR
USjtvnsmuXSH4gKbB+tmSeROWLgBAI7uiNsp78ejaoLjicTZska/dLpdWs6bKlA3HaZawmCP05Cf
sgI6dBofUCC4EJvf8Tr9FGH6bkEgCFpQ8xM6PBvJqkaciJ3flrh8TegoplJ4qqzPReY7+rFOXlTT
j5fgwRmf5He7eR3Tax0wkcTo5prVaQkNl7i9GoYf/t6Cw+hCevKDZUDddm5m1tPY1a4o7m/Y857q
NnuJp3BfIkcggXmrJResdYSU7YhxZBu/dlyH6LWS5beyCjZaHm2CCJNlvBxMqRz1OTlL1pN5RiFM
W/gsSnNTggW11dwflWhjLlhNFlaEYPEis+SbPBCjprv8xbaoPuVSANiOPS3DO53SQlQ83Zr2RLN6
gW925Qmur9vtC9sif+KMgfpBWP1Nw+IVGGwxxXCwjPhqilujj5tFEndUpm6WCl9MujvqBAMrsDva
aU89trNUJgvmthZ0LiNW/S4/4aXIgLHP6SGeiNgaqpuBRT3Ms0chn51G/kqcq+jMq9KqB6GmnoTg
VEPrriayvt5nwI1qhGQob3wZkWKQT0ca03OOOdVaNqN1mAKM+sTXF/18rhqBBqr6aIP6i6o5E4eJ
IGsTI4X065XKU69r+OzOnNHIwYZKGx4iYmPmmlN8rXxRTbqx/ZRmrVeD3umrgj745GXTLtMyIsQE
/XTalWTXlyDna6xH2B+9QrD9Cvd9xGLXk5Krk/VEvkFRfCdhGKVA7OZ0zy0k2ySjnFUyvXRk9I4M
QAwuj7pnoGavzCerVY82M5rSDPZFwR8aUDiH5H7mfmC3j6ikjxMCVrLUfyD/vFlKuV+0tyRtDnOk
+Wk/v8TWciKxzpf0MS1iI41EBbaSHhrh0Agw9yg1XWOxGQwvLh0w2swXUGAn0X0ruuoE8ZX1KKWW
GN0sNzaCEmmmyx0o0x7OIAs7awooONKyC3yBA9CZMDaZ4uBxgMq9aJ4mSk/BRM8UA70YWX9B6uv4
qIXC8p0+T6SehEqwV8PinNVsvsGe0nB67UXjm0HhF1Abs5KjP3pdyu46iep9wvYuA6xYVuQx3SP4
AONz/9nqw3aAN9tR8NScF5vRU4L5YEKwG2TsKio7ZVYOTdMwZ2qvTYIkHWylvVT8x8GufNf0fi+C
cKcL27eM33Tztoaan+YkOhrJfIu6ylvC6cQTMkoJD2rIoUIcAKE51jL6LcEsSgNTgUnDQExGieHR
LrejM26heyLKRFkSQfolWYVv2XYxK3pqC6ZgZzvLyqv7x4xefg58s0CCZRrTUZXQeuTo9am5NTsF
eUy8TSvVNTR4CH3uDiJmCle/lpyMCAeJWyzNCCitrvAnQqyNZNpWdso3yTrBWDvqHeOqwh/InU67
1htUxPILcqU2ep6A6zUj56gWb9yY+HFZYdq1HpXXjFS9SCKYziGS6L3fm0ygDPb47Z7lm2ZvgNja
QH9+6EqFzNXBX8CyF/Cdxqne9rzwYrWIQDfVAcySsmbgz7Pl0WwJQFVUsqsqlwxHn1nYEJku6/GB
TiW2X2YoEOKxIO+jDNnrWO5DVCgkmzhO4BmZ5rWGdophy6wvG/khg4dyn6ndIf8Vk+MMfiZwsFzo
ht/CwFJqoDHNLlKG50iL3suSNmulXmvJtoHNbUkMr0nVWMEerldd48BevZ2glnUuPgFeBz7++WWy
ba/G6h8j4hxa5mgJtJecAqfhRWA/gT6y7e3MBW/mA4SdEVcL9osa63MglqutJv6QEquY2adgbv3M
RNY9fQ9AOqa9c1Cb5luVP/ZreaSiuWcD33f0tZ1+pVZAuJ9g1zX0KcW1FMk1jK1HK1K2Rb06ODiA
kuRcDh2vA7R8G7G0t0dhGJ8KEjjroaZ/3miGH5gLO1/Yp47hM3GGZjxA32ATFVl+Oq7LGJkDzbxL
pHpGdUNPI9taCrukjrWdFbBIrG1ixO48Rx57lFMjjlpTukMdn82Kia82IIXUGAtYLiQOv3VanxKI
YPLdoDd+Jbpd1aZw9Bp/cvTtMlfbOAz9MAt9qU8ULtaNXsBOAN4Y0J8XLM3ETr2IWngauOg+IwoT
GVABGz8fPwMMS6nu96n10K8EDsu4YCcnZfbcLwIb2qcEiTpywlp6gc9u3sRFvWksujK6sRPY7uKi
9AClUixP7vrhoUxFYjZuTBIiqgpJIs9sr+2doT/EAz1a5TGs9L2IHE6oHWwlCNZK4Wvs9CHDBf69
+YPZKtlULSPEsjNoQDGQKg+IEBPVvV+9X0TrjYUFp0Q2JI5PZQovYslzHn+/CynCOn4IlMUFaFtx
7lbrTQ/tmdFcGOv+DH3y3v74Wzfkr9vu1+4Xf3VR4iH6anv+EEDy7LwZ1m+DqVUZyqWfja6ne3Ok
O/TfDbSavjz5KiyU5kArSYPex5Zm8ltiGwelt/1/dNhEC9L5H90v/FznpCwlZdM/ez73ls5gUrxb
dtFs1VJxO7OaGCuZl27OOa6bFanV5eN7aKvaQ2bDwhyHxHoFY4MNrR7eo9KR+5FQ6C3m0PzJMLu3
vAwUGjtsiYxKbb8l1ZFtW3BaRls+9BC1j2UQIQC3huY9zhW+mGFhH+4/RgyPUgwnb3U/5ecWuDoH
gNO8R4kjt2adZfv7w0hH8a0p8AVoFVyyfY959UphrV2XsftwBAUbIKQUEpJMfKIIWSyYQr3bgO7m
Ru4jqsGrDSP6VTHCrV2Zy85u9dLNwGjt22FBNEdt0RiKcUvbjP2KFW+7cMTfLPGXWFoQn6pk2KPC
Hp/VNcEvC6vvcTEyv1kcDop8hBWTi4lT3MU0S5j6WZj6Gl2KLFZ7rLqR9aTV+TMsEMMFINLplual
06S8kBL4Sx/n9hxpeDVzM/cRhQcfmY0RFzHg25hJINmZthynfMAIq6XonSlXO63adpjberGyzbCx
wiLOWfhMGpwR/iQt/ZHObwPe19BhVnXSVknKoVQf6vA0A9Nq/SHeD4VPp6Cg3lk7pSif3UBjeHqV
Ei2C28HGmhQIXCezQGpOjQOkH1J64laoCkqFU49gwXB0HwsZVAr9Gd6lp9rqwVE75pe87sHcq+Xy
CIZstWPs5+Y8oMhAOH1c6gDuHbKcZHFFj+0lL70O9UFhMvWz8SaxXFV1fciSpywoGRwn2OBI/cmK
bTbwXXAUrxxaMjL6vaYIBnTLRrbEWwMsI0120Vt37tmuaDsHO1JfFMjhkZwskZfa2OvaaKfQuYlt
6S5q4w3MVGjW0gqcd/lAKPUvi2qc2Qqi8beA49vs2kcJ7aRYIJrnDZ5EUmhTx7PAXBRNSNALRFIl
3oMM3ZBBiFHpU3T4JWs866JtdikqvrZgEgxvHcNcuik+6xwJN4KFT8N4pMlhfuTBB/JVCz9iFx/I
ATHUvUUaUj8fQ40uILDbNVxHqV41/VgZZzhSfLQHZXZJuJ5iVqfIEzlNNq+UZNq/4B9OopfGeuRv
4W1o09fJedebF06IeHmjkSaaUm3m/rkrWNm19yReFSwYOkMsMZbtdXP5AJWMCesmU/BdiC+uaa/s
pQHlZsoFx49uHmyEXk34zeS4OsRltKsWLHqqPBX6TJgWYe+9hTtyWwFYhQbOTl08zFO3nyrxfZLz
gb71bwoq7PVSI0DTec0uoyFPpgCSWl1HaHit1r2zR6K/QouxRtmIuqIlXFC7VpxjOgc2dvM4Iwvq
JLKo/JPk0IdsR6jVRpTvd3Mn2/wojXlTjdVORhUoVu+8gTJY23XJuFuYXqE0a2z+l5JWrZKJrUz6
p1RbmLAaQJvfQ73gyFYehf2pslcph2PatlQGI6indNNThULXRYZtv8hZR57fHOUyHYjNeZpBbC2R
vcOLh/lg7t2SrqwU+5LpuzpjVzSNs2OVL6I0KLgzYkxrP1vUp1Afd2p7LIXjL6m6X/j642+DXuJ8
SxqNput0xPB7jsp5t2LOu60VOp4zDQ82cV4WlXG1ZZlJxQ4cHUkATbSL0cgwQ88XqmsSzJbnof9e
6f6i+13zNrCYhk/roa3pfmYU2AxGfDe/I/UFIXioOQ/VxVYugVjRnZcM6gpi/h/kY4zP1bRRRldU
O1Pbd8YR5mRJDmf2GssPmXwM6a+E46NViecocp88kmsh12CQ1fkY7rDVrq6RFOtnBdt/eJnZoydd
tsn6V2MYD3HLgasGHkIub+h0piTiIQqvzbQQKC1PGeYadhiDEnjwef211aAI8z0vSGEFHVmk6Gqr
3jU/THJ7sBjCh2PHvMGuDN65Owej3Kt2eXXi+gsrqPqq2c0nakzmo+2lspeLgem1FOqRbk3B2WLo
m+cG46YxKoSJVJi0ii3sRk8LRyQzJt/m5NKjZRjQIzD331axtrOBXPbyliXne9pBOzwKJvGD/VrN
oKMAV/QWwDsWx5/B3Dg3aYztwbaHiSXMVL9sWrAtJD6hrChrRR8x0uXmKe9pLecWOHnsCtkPxz7h
Lom/OxXw52R9wKixe5pKcVRyLFoswzRbs7OzWPoPTWHrAuFJY1TchMegxPxN9Hn0LlPncH+EVSPH
aRxRPZf4iPAlE0s+isw+5j1iLFsPq0M22LbbMaWjRCcYBeKQ/VJLXb0YzvxskWKW6YZ1c5q29GvD
koznq/qj7II9qCvgElaSnUNVZd1ZIyfSjORYUAXaaWn18NVewJTPdgVzrX6WltVDCJQ/ijgLb2Fn
Kk80bmFuFHtS5CA2FUr23CRF9hy3RxU2/u1+i6kanTtpUnXv92WDJU9VFj6qnFEwgdYHoukcYv0y
yoL1GoWac24tbGuzYn4xgfresy3vvGxJAHQW90sVydKxneGmJTJ+kQoisIcAysRBrhf3a6GSXgyz
dna9UowTZ/PhNxAOppMJpGZLi9qNwF2+KY3yV1XQhJtVBbmpoZ+q9eJ+bcbc9pCFWemBxrSo/U1E
gV2jsMzhFpxi58z3gs6CGOYDm1yWsqWDQSqDll0ulDImAwwL2ok47h46bMrgf3N3HxZBOHCiUXy2
ds3L/SY2gPshmZprAsswqcAUGDCwoR/P+/uPukJCXD5hyL//SITBy/9Xh+MM6OaXuYIG9APXVtfM
t19hXBZ/8oBQYP87efiuLH72zVf7L7/yT3k4yB9D2IapqbYAIbSCgv4ZK+X8h4FBQgoDf4RpS+3/
kIcLzbY0Fc+BMJF0a3/Jw/X/IDnJAY6PP2VlD4n/F3m4+Bebhk7r0cLpYkp8cKa6Qqz+9IdIg1kR
XBPPyQqf+SDZb1A3TBA/FCuTgw3LYZcWu1iZMKmXpyBojoMTMDw79oVz7VQI63167bX4GsfzW5S3
m9kZzkPx5NQAyLCkAWfQZfKYp7MbLvG3fhw+UNTcDIgXQda7Mg8+K21hqjq5edp8LyWLSLO4S4//
C0uoVrzFKFTSKmKkCWQ9z56ILHJzA39l9KuZzn98ev8XC5D8lzfEAPO7Kvbxn1i24fwtaiu221Hv
xADUbG5QmTd2dlo44z0gD45DVf8ZBmwlzFHcsEmGZwSkBaNsylZk5Rdgt/ZWE2H8DBvP2U9DeY2K
5m3COf+RqOYHFmYTvn5G/I7SRU9xj0ZvNhkWqdEA2EvVqHumbNeYof2Qirq5aamHeHY8GFF5MrTf
Rj4Pe6lpj1lCB1+PSSXXGPuCaIFawpSwSRlvFiV4B3HIOjeKKmUfWEO8gTeX+A3kx4diKNbx/Mhs
3pkVTg61y4JRrKl40XYWgVg7XNijwWEf1aZnL9Zb2i23kI2aieIwl1Gds1Fgvqus6MLfciIWamUO
diRtqsbCXAALeQOagEZCc7EnxnqUIxFCLTAHFmxx/Dthfl20hdFnS0a2NVdu45AIRFaLdqXm+GlO
yqdhBRoRLt17+O4U6NmV+qRgGt7/+09bcBz96Y1g9m/iwoDSxVdf0/+F0dZGjQFdaQqoDlqK1fSz
jGLKgoC5daViZpygXc9lPW2oQD+kDgkgTfJPB4pGl43VzWHHsWfwT/7jGB6dQnnOM/u1zfr2EYE8
0ugOgDiZKb+G9UoZy+6iIded9dZ5lqMqXC0nvcoOIU09hNYtDljz+5msKGyLzN+BWVYksT3UEhti
G1Mu5A02DhUyRbdASbKw1P4PfjF9NYT94RZZ3xHbxATHsrD+s648fy4IkawRoDkEUCi4Plw5osSB
lBX6TKU8RcqZIK6YbZwzUza2QA6wuPwwVDu+YI/woCGBSOzJysLFQMd1RjwwmRFAGL39JqJOowZG
b5I3r40CaT3Ic2c/yh9y9fSaDBvo0lXbf/8Ra/9yQPMahIr9xlZNAonVv9lfrBKgD3wR0zNKfKkp
zgLM70SoysVNDbSpzkzuAaB+eIYJEP2JKRpjnSlLqk2YACXRE5g8szO/txqFj9bpSO56gEI1H/u/
/1M5+/896A+7HkY9gR+Ivxcb0N+W46It0TY3oQGlC0QwTf4ujXI/juurxRHjL8SYHVGoKxWQSq7i
1oFnZROUOsWBOOYJ8oWoMtGYdt1BmabQHc2kwiGjtC4TwcLTtRnfA+SMsLuq3QhaZCZ0Q5LXHJfO
k1D01UKj7vpoLkkVu7KBfB6tfKXAVK1v2APJzL9DNaFOzLIXdRl8R0Pz38T0GUC/FK166+Bllfor
chqvqNvwkGSvwUwky6StFplJPVSIPfx6TCB+hYQlGE1dU8y2RCTo7+Eiv6uW/VwFFOfVVJKymUzP
0YoIi3Hnoyt7GayfFeigTmvfsYFso34+geBgScteEts+A3rDG5FMr+2vhUkopn74trYJRKozIKzh
2EjykZDflWFcbxisY3tFKREtYtlUQ/Q9lCBxWuLntg7f6Ukd8L+WHmlCCUNC86kd2/SE3fixj4Kz
jIW2k11Msk5Mn0ERX2Rvu9MQAyQxso9FEitSW1W86SacUUleJYzNH+Zkeq/jXv9ODxx7Q2p8p+v5
eyhtxmWOC5o9Zj59pauHIqNXcJ0bwzVta5Co6hdToG1RwtfB/RJjlQqx7oBL3RipPBlmSQFMVu5G
NaaXCuoTZvf2swKfv2pDN1Ihb0dB5ACy4bspSArP5dLRfERsj14iwagtkUe7oomfBVTXgdXoOC4N
swi9VLcqooYH+teUVkkoT7VKlK6MUEwZUbjRl4EkYs4vBEU0R7GoXx2zkSJYmgPUY+NxacLOQ9Fw
hnPxpIY0qyhvDkE30k+OmI8DwZl05b0dtBviRAK2ODC71vQFsIPbbGGCD9RrHj0h8m49B+CurAGh
5ShbRaemvM4628+9cZbpfizAt3Mr9T7w9IfcHM3VvVuqId4p2f3sYtgzUq3dKVGJdjPhEVSWYh9N
y8m9nh4i3m+FX+66ZDvA6qyx9z0gh0T2Eyev1Ls/C4M+OMlE2j7o6t9BHnozRKtNtS8bRuTqaDwU
03tVVXDKsYxYOgMuo8gJWTHUbVsw4jOz70ODvnee6dOpSTc/QCzADi5re1NQo2FfApZMd5U0tdDL
Z5JrHKywAzG+BnispXO+pnR8IkvuiEofpZv9oa0qtKqbXUGy5ENQlOquILu3jkrOxahDl0h9SmN9
2kLIsLO2pO6NnLO5rulmRsEGJ7htKHxNM8HXjdlrbJvZjTUqZFIbI5owa8+a1GejLU9KtjyJniAo
y2nRi1SPGiTWjWWK58FGBDdPKv7Bno/engFDMgzgCxR66tg811rrADDVmHr8J3vn0Vs5knbpvzKY
PRtk0AS5mM31TrpGXhtClt6bIPnrv4c5aOCraswUMOvZJKq6MyulKzLiNec8pz4EpBEbbXQcRcYW
Iq0IZhDWd8SOEheh8dozElhrSBjSIH6h/bkYijFgKFIsfCiwV3VYXxz1pPsCRO04vtf+eE0KmvUs
PLsSRwrT5qWsyzfbTz8GFR7SyoMaL3W5iZsWh1W6rPMxWNe90e0iTwPbAhMQHa12p/nWHhovBJgE
618dBHeSonHjl9GmqOAd4QCpNnKO3DCH4A0R7UNiRu+B0MQCbPC+MsF7FZP+1IpYu09a82LBzlxk
nc5QbVxariK9B8mSNGE6OjIrCOxhkuHnQXexPCIUU9M/lMAh157vZ3C5ynYjKAoXfQ5U2zUbfecx
i6lc2vmcIJHKwSWRd2ARmIe9gy1zWEGLji+9irvv0EYgKLRgqfTg3VDDQ2bqeA/sIYedQDJoxMSE
PqXlbMgdUiknys1SrMY5nWxA3SbQjQl0oAxKS/zuyP/R/JSENRMVipuGscq4nqzoqoXyu8Wcsagy
JMgrL2gYF4GppfPNgVZlkHkaftDTUB8AW6q1r2UdBZJ+50cOIM2+XvU1sSVdG/96LkpJu/hKq5zw
0a6lGp70h2RoLxpRDls8CmQ7we2cM+BIZ427tfLR7wNLXeaxxIbjh8+6sl9DkxmUMZKoUOvyI8jb
kyi8z2mA1xNq7NuSLARjlPb9ykybx3TgJfT4BJWBWch0vplOHxPdP8UexMxc2EtjnvhyIkrAGdHV
tlj5BFO8Z0Wx8VPDvNOS9xxLyiKh1F4PKy3CvMhnKlhQEWO79AMkgwzGbR0qXjcwek9XvQGPdeK4
RUr5gQmNUO/2LtWdT1aKpFnZYt9D5iCsM1oEdmkta5XYLG7Zt6A5q6N1HwTi4IThNSiwyclw29i5
wuNqPg3OSZm8fIVVwbXroaW2pflpmeljbxZkUahfUzaPRISeelvDSpirc+pghagZHPoyT3hrddJh
vtFya0vLDk6O6D7qYFyrJvito2OlwHMOq4bXcmk7LvlbiVMtzLbjBx21u4qVF+3bMOpPlQSGMvTa
A7QNDkWn/46zIr722AGtDEqqyoAtGPqTBwcdZqpghFX84u1UZJEyIiXQgrN3NgilHmIaUKZGmZcY
/RArOMn3vPBAo/WA/NiU1adEbmRk0SEXABI7EwYkDi5NOi/+rzeNHQe7S06gi8fC0/NfXav3Y8FQ
uOW3rh3I+FoRnoaUrbYriJ6VRbwmP6g91LxPTI6Dm8YCadUC35MOdRlwrWZo2MXo24qebtM3NbKU
pL7zgi/TS98G7BuY6IDK17rVHnI2+5WI1dZX5a+Txx9MDHDuYAiywc6JEh5lJa0FxwGikCC/NW6M
RoMvQY5fxbgpNW/dspoAwl8uMke9uVPx0oDFTjJiXazRv0MQ91LVOSXfi8cwd8lFWCxUqV+Qd1FB
4Po2C7UG9s0NLLgGhA0jTyaYMNESrwKne4mM8VlWBpPkCCat1x4Mi6TAme19MbrooJMpvDJ0rk7M
8NbSapz31uXf3F6rN3o0PeospkVA06JPwcugMZ4k0+rICjlc19VB0+9Z1ntUisVG5pyXXczeRGkM
/W3LWBYs7riGbo4z/cRJFG3iqtspDcmfVR+RzYEya1Ns351wUDOpDw3n3VIK47FKam0VNMG+sZF8
dSQAlLX+hLJ55MrtXkJz4vhiu15qUpzH9KUj41IEFXpbVDpSsS4ax4FHvbi57ACNvEOzjk3Y8Shu
Wg9HI/0fNu18l0Tjpyfti1dN0HNTcnxtIe8EM/rRw+gjcoyqeRVAx5f2qpccLbXLrVJp5W7+gQ1u
fnYK8ds4+p6RJ5a7rDaWfv0FrhNpcwvErRiGja3Ht9xXgOVgj0SQQPG3KhD77TYkydKoJWqiERlv
gtvHcJHP2DlYeyt6nDKUUZO4Aa67FG1jbmPLXKmygzuPWXvHugOpr7jDBZpS0clnJ5gQti2T3l9r
CSokLou5ZcvXaDKPZh7Sd1Q+pVj77gbNZmrifNmjC+dNMD+BexKgkPot6q38vSRYG/95HE39Brss
Ni3d+bB1XHuutHamFZM3nmLHJvzQV9op0/oXXfGquwNrGV8OD0nrH33swGEEh9eoDpFMn7Si+aZd
eqoC8MN+ix0OBzzmrzp7SUAOuuHI+TYYeEO47EQlLmUjoGhYJTdPA/XPTPKVlaEK7IYWqhyT9ZJv
PBtIM8qi+gdBLuiiKZLv2HEPKGPcsvrpG3uHVoP7UCEdbL0EcFRTX+xG+00d430K44MBgTdQ+Ws3
jdDrnYpBBXBgo3pNrOSXtDlUvklzaqmboobLr/WjH98rn1PaPt52tYin8Bu9Ag18uQYWxP2bunew
Dd08fM3j5mDFoTULKjdJ234lNbGaGsRiEl0WCPxApnYdQTnWRDjhDtw+oYNeJKAhuR+mHE9xHp3z
rL0yjnso4vcgNeNl1o0PBCYcrP4+s6J32Znvk9exme2+ndB4b9B2Ri4dDqzPzEUulWKXbqyPVOY/
A99iVtXnkeHQOtMp2gBdHPIKjnUyAmPpA3vRk3O9bfwZLJHaV7e0dEx6030SigS1VmstTa89jm7g
b1oA5BsjdBBSZYfGDTDgy/BOJ+x3gbD7kmXN3qBWWZBP+0nWXr1N3WeqNQkVK0CQDd5TKf4wcduf
QwJJIWHVMpAl2HMrLzV68zHifiCqC6cQ54miBV661MBTge27SHi+jXZphNkJzxdL3ZAff593ay8m
GMVnBmXBrHCNyUHUjo9iKDH2a230S/v3kbdZw7mVnCqD6HTWMPeSOEKmqiFyxeSSACxYEatCcRlv
WklTBVXgCWHy3hRUmUKMjzYQy1WVqN9CDs9dFr7Qd596o+JqN/QbZstF64gCRC4ri6R4GEx762bo
vwpTHWJQU4TyWd7C7Ya1ZY+wk+uKQV2MVjGl5q+qYQR+Vy2aDiC2DYFjpTmfWQSAw+iL12pMrl6Q
9+tVD7ZgYYcseju8ta1c5br6+POh97Im6KuhKEnOpWi7le22RN+lzldkOXh7+w7GBd8YnRmMXvcY
y26EfsHhaTgp9A7ymEX6PBQ1gmnNvhdOu9BZcdCFRNcs7h9bI7PQoQiwE9ZD6CK3r/XwWOTUDlnJ
W5Bl1lNEKrwZmPeEhzDYgFLOFJEmjzWnkcWPk+NcwCqefaE96ZKXDsgQ7XhMmB2bj6bHTaIASXnG
M6rHWzYRplhYxppYu12DmIvX9My8/TPRbIKnppt0m3NgZXuXHwEpN8cMo+Gm82ApB4DFRHXXGg8J
W56l6Ruf7Jt3U0xGrqPTsWFkS0m3yK/uRHGDcmw9Jsk1f5CgwSZDMaW1Zjwdm2X+vp7HCIXCTeXB
Zx1GuzKwcYGg4khp8rQg+u1FnK9Gv2NM2nYvo8BawxbOWFb5d1ObnDFlXSwTN9p5NNOZS9hzRFwL
KN7Wz/Z9mfcHTtpTFk+ffVpES66lh8I2yCpysiuBJM9dBafBQJJgGs6DkPanYQFXnb6SiWRTzJ/a
Uo7RrwYVuptgI0RD8RUDsxRqeozVUOwym+uCcFGgnGjc8XQwKRvy7N423Cc1mvdp9tGaA/m7bvhb
BSEcSdyrYbKX+E/sgAYjGq2XcMI0NTw52N4W2HmuU9dQ88wZ9tlCx0qjsJcMrnNIVMAV7BLSof8U
gsU2/DU6QnVi2P7GhY+BI7Yk7y1h7bnfUrK1W2fEnJ4W/M9x358E8s5C8cyEpMQtwsT/6e3EXbTE
gKIiuMaZeDCHaFh1DZprYW8ax/p0IiDxYSFOYcRVW8nmOk5MgUdaFkym6N/MzyIvkaMQlWn1z6Q1
fBF8zbGfo8R++fNXa+lwSMcSGZU5HrxYvSU1KWN4navhs88NXmRIijGrvcIgyMvvxufWBaxcUeN2
af/akjaOOBAYW9vs4ob4eLNHvI8AeCDcD4sgJz85zap2gmWnLCS48sfV+S2ZmVxDF74ebpWCuvU1
lvpb3bqfZu9uLcaW3IYbMapfRvvRomNawoCECOcUT7tqTVj4pVpCax0XYg7Ck15/9d7GAk9WIpAv
5TUT+rxwGOCa9mLsQYTmCDhGvAjIdE9BTGFQjieTFEIuMglmBjbOSg+uRW1csdO5zIx8lnA9QdRM
v0a5cYBjjhEfHpkBzdoOwjvfBOGNrCvxOzwtClM5MkDiqEGt11EEDwtHgQcOf8S8hHjXXQn/2BdG
QM0x3rut6e1ifbz4A8hK4ojLwHipI2Ay/vBhla23Ilz+KTWzU4XmsclxOoCF3tadPi6ldwZai+QG
xXmg3nXddHaWLp7zgcrLkNrGKzR9VznQTfIUQUPsJSshWY6ZVvQcNTzBNYGm6y5NPCorWDLtBDsm
t4wL/Zt5mGqcOLYebvXBta6ddEhtmOTRkwVLErvT0IwZtBqTfOA4NDd1UHSPE8KuxBg/3NZ1T1HQ
tbcMUfAw/KKfCB8y8hF5KS8pUePr3E+4B5ow3PUeTPV+MOKXwrJI6Mi9GFC2EUMl4Nv1k5wMIA7Z
HWjCdOe45txjRfSeaad9T/k8CyiwA/Q6I/5FOIfUBShd0YKtKPipQyqzeqzYyK/cNtS3uVtVj2WR
azsvLEE3FSAcTfT+3LsANLL4O+D2MZC77WUqg6NsqJKH8q4OEHWkEQCjzNecU+/GD+7KT1mMZbbt
rQcWooxNiJyM5yxmSSBW4A8YC8d+64sYl0NCyGrstuNOBUZ8GOsO1KxXfno06UwYWv3GhAEFNGfZ
MYxIAO1H4katVIVPxA8WCyAH5skE778Oz1XMokkZyqPFU9O16g3kZF5XIayPtWuKNGUhG+F8+9w3
2vi/f6dR2+piTLcgHLI9cyrtD0/zOXL1M0dL9qW72k4fKv/g1KQHElOGPLeCrR7q6VH3Fcd5RWqD
PeblyUps79AwK2fUkt4Z8y9//imskA/QAzq0fGwZg/JeuTqD1wZSzr2FQmujmxLaRXYziy67TzKV
nv/8Iq0+oyXvwKY32a7XRAcIXRk3IM71sWniX+IDxC0xtbcusPNTP0B+dKe42dfIoR4yzsc7IzQe
/vzbn19GOzx7ffBrKgbJE58k70lXHZkssBfUUZtWwfxLUz6AJk12unKbx3xMPoQqy41taNBg2xZt
q0z9a9qN4U4m86PN9+KjunxgBslmTQ/jOfoQR84I6HrMPYwAbj4tulZxLqDiJ3F15I8oAjBAg9W8
PXEiznWCpwJ+J8nPkdsfkuDmaFs0jXWeqPuMSLc1orF6GQYUaVRzxCIqiUzZiojbENlFc+mQJl27
YQ7FM5AJb5MiD36VsfMdkfOxsTQqzsnmMWoqIH9EI0T+1NwqrTaPshbv7F6W7C6MO+5GFJiMs029
me77cCAFRgzxzh2Bwk4S1peTwsD1CRhBiD9BB8SKaBPatk88nAnMz7dMpPAhEVp/30HSd9vqNDaM
X0uPORv6kpVbMKDmxb6R3IFTx81GhPURyXEjR2artf6hnbIlVAtU8QVnc1gxiB7s5gLrlVgBtD+W
ESYHELHuPVJar9BfSzdwDk5g2YcONh0PU+itTIfzkrba3dXVSCbYCETJM10o7eWjUefmE1UH5vtm
IFtXkwvIPf4ylUK77+3xGBdmvlPKF5hzbR4W3d1NLjHE5Bb84sWCmD+E0UYC0dr2aKUwuw0FnPzq
N+QntoiEhJAkNEq8uBq3phed9DKJjgMJJMpsGc1XRJcmQXWf5lq2kgGkmow6ucTBfQvsy59XrhqG
7q6qQdQzRHOQ2KWgLqsKjl2WryPWGAszS2+U/0jqq246yrCC0qvimqcuHO5Sr9rCrhl3hWt5h2DW
99dKKzeayOO7gS3ryATzGNTdwUXJ+8Yw6+BF9KSlpnDi5VID10P6CXOb/t4r2me3BvHYqPqHz7o4
Tqp4bh1n5oZO8kIKSbo3XW79ciDRwdc/vbR7m+bkyUESv4D5DCteY2qHBlEWTwkzcLdgDunPvwhA
z8Aw6kU3WsjstUzbjVGcXP/8ktjZF/GuyLKQwGO/vHolrwCsO3LZvPoEBmsdDBbhrAkKajazB7zq
UAH7ZR+4b5ma2i0D9Bh/AWIE7YymWa2NCOexr8xTE4uOqEY33MU1W5LeTIggbUrjEuoxEP36nreC
Q10V7p1AVLwsicShAOXIHZi54L2FERuZ3YWnAxhxhifNsRw6+nhKzg2pmAqdE6oFwzpCnYVuBApZ
TYRE20N70jIWxLqhrXthjddoZJ5r3SuRRb84Sy2ciAme1DXtWrEc7IDg3tw/eDX50fRfW8cwHkNr
wvkMNQddoY8zT81R6KI0tuxr6BeRbu201vjtjOqrZGi0sUz4znTSDgAI6wF6clRn4qbDb93S5++b
VMN4Js5JUYeQbeN1iCRrZeBL3hR7FrjO1ivYH7fNLPAiPeNg8fd1KRtQi8cNK2lW3FuR2FSNF90K
LmNrNHkF8eWYc/odJiIknewU6B7MmnBxfOUlQD6lVd3BLHiJPABlAeMdWducVA2p6uQGHCfHuPDe
1WynOrEZQjO9K5vovWBesQ37WGwLUAS+jSha1xQ2D9XeDD+5dlN6OLQzuknFxnM6KmTdPgdMIGdD
/7mecU9BDOO3p8iOIUENMxJKtAyTrBkTxVhoX1V3PTQTNVOkZpxU25WHTOu2MZwpcwZO4QdjgRHB
oIJFNeKpiRuZUepKeCT6Uc3YKrNvwHgU9G/E0C4q+ycVDKtDNzmIID0JhCUnGuVnR8McWhc9Yzd8
K6dkIn6ImO/yNmTZezrAz6hD76ep40crDrwXr9ZHYk0Glt5+Mm7Sbqh3QeMulWqxXBGPcKtSRsVx
0CanjLTNVWXFu95S9akpdWJXTGM5WSCZgBw6awfAA0AdbN5pm+xaoNMLJO7ZC/B0DW5mQ7yT79rn
ONDvszKxfgigWERM34oi8R/zdDCPcQmYMS6YmtRTg/vUClI2QtuOcphtnhe9TtOuD/BiaJaRICfP
f8sYmUVUOjoeC7Vpur784dt9mRLDelatdSt5UhbUB9OdTV6Tw0JpY5Qo/Q0x526ZIfNFUw2Moolz
oJFKc1hs7kBQUeY31i4iiXPvkRQDTqNVVzKPMRNUrM+GKrlTmnbyIQ3dOSBoplkEXgMbQy5m05L2
BA60+brx2nU74W/VyHUnS7a5mdKDkOb2oOVyTjmoN8HKmcFzAwS6DBJdMiPpwhlOx+u8z0QwW6+H
fo079QiMDndDRqPSx711kL4HZJr3mnb36mRQp+FNlhUuIw5vf9V1Y7XyS9iPI4p0d1Dn3mu3dQ1S
z5vheuThlQtp6ttgBu8VM4JPo7kwZiifOeP59BnUl83IvnGG9xlQ/MqwXevCpJwy3Xbpz6i/DuYf
hNJvg4WuzXRzl0AF9KADOlACa2iBmL7RvzYfay3GSxPwkgDG4bDppmEnZ9xgM4MH1YwgDGcYYTRj
CQkcprIoy3RTBUNw7AGSLwPqK16iaNnMaENrhhzKGXfo9xRI1pDfopGTqQ77dscolFdQX4maFAZP
vYi2YMxrRQYqdjwHMeMdpv9virn0LjYot6IywHRvXp3BhN3vae7SLWub+TKIDcLpqCbqfWUgiB7m
VMoCkZfjb6cZ9dhZQB9VF9xh58s3sbsuUdRsjd4Ld+x71vWc5oOzd6DZZ9YdkPRTEfkD4hYIGyFA
Yga9hX9ygSJkIrKuHpw5M0ja82297uYsoYRQIayaQP7nnCE1Jw4FjCO5sAOgduqpI5QokznrEPxD
SWZsOJHLW252xTLvWNi5VSdumT4SmCHCbTQnHuF1e9V6MpAkYUjWnIrUzPlIcx1MbAqhSdWcnmSr
ZTCnKfHpHLWCfKWaoKVpTlxKHQu5UxifR8ZxYELIZTJnLmcyZzXFhDbJOb3Jn3OcZAS1rJvIClO7
kqCnwWLgCpLGYlDs9iUfDuBzprz5gYTqdjUSF4Xxj30BAVIVQVJyDpSak6WCOWMKx9GlmFOn9Dl/
qp83ujqJVGCqnn/bOaaqtHA/W3N0VTGHWKk5zorUSXC7CccQ4bTJW9GPpCGDamx9rhm2SxMCfmwN
JGThHQuRSiLMJEGy29k0i8vCJlPLJVyrmY0YTUneVjEnb9UtGVxAdt5jQrnsOZ2L0aF/Mgns0kiw
pzHnMkGPQ14dtjiCIyxWaxuduC/Ch5pFp+RvLYjeQpx1ryYaZYYFPpPvNvjhHOr3VKByZZHispLR
RSdcLOoZRpjEjQVz7pjJzBscMbNBIsmYrDMqJ6SsoaCJW7SWmLGucs4x6+fZVYtZYCUJOfMZVKxl
zxKqEBTHsVPewLLuAKzaDHIYcXjuPOPDBLfQw2LvcvwTBm1Q9yOwD+ectcTq2RMXSDCexpA31/U2
uHRXBlIwCUAyQLyKcThd9rzRq3n/m1SiXVXpyu5TMt6Ar7nxAMPuzozqt9KvBPjDHjC4CQ2zICjO
Mbc1sXHMMF8ivcVPIR8MwxuQctgkG5WwQ6mKH6o5fQ7jeWdQFBhDh3Q96x6HwUQeMlSgUTBOxGSu
KZz1C6IfICtF/bQdOoyY8y6JLWu4Mz2mrgHtU0rC8ZPfYqA2B/eohCA/Myu/XeSfDPPAmfD5vdYu
Pjii9qo5c8+Y0/cqYvgAJYZ3YQQ3ZUIawQA5I00pI3sZUinyCALRBlvbUtTVIB1I+atLHlLbgDzi
zBmAE2GAjv+m6SFZ6biL5qzAqkeZBc517ZO8m+rVngeMzYgPQt2ZJ1Eat1gRfA9AQTX8MPuohZFC
OKGaUwpDmb5ZPSu0Ob/QIMjQzXdtCjmgHc699e3p2VXNqYcQA18q/0WkOAOtBi+VoflXuK3Md2Gn
aHEIaZ4QRclif9mMbHUsfbgkk3Fhtxmv8xTdKoGe+7wxH4o5lTGafyAApbGDzJmNmmu8dXOKo0Wc
YzLnOk4xSxCKwV+dyEeqj705Z0AS/ICcbQ6BQe2LN8ojK5JbY+XYtnNEVRZ0iNs4PyEfRSbpFDMA
llKeFQcuIY6dQ29PiAGYSYQEVJoQzZZdkmPKq44ApS9RGUcLRwbMS+J5fSd8gI9z5iVilOnIA7KP
Z2pUWPZQGVz8MONuipp907HXtGtZ3RPvUbOycfqbxziTSbu/6ufMTdVRBpqUMLLsPtM5lxOTz7Cs
Ymg3JHaaTvuEMpgpP2GeklBPUmQf5ZzyqZlfOgNAjfZuzWrtDj3pT2SCkQUIhcCMpNCAyNC0kmgG
CRGFzpnOmaJ2qL8WDgqk2BwRBhI10cQV8mGSSInjMTdY6RwkOeDL4/tGI7W0J77UyamIw0kc8qC/
4bPZqHJ8HZsQjo18HYvgq5r4eGRh/DJCeledIdZyTNOjd9ERo9lAx18HV4tXSqYVyiuhL0DVAV3V
QQk2NrGVk9Vs9KRjZ5kDiUrYhzZOsklCQPyTSQI37fPJsKanRuHUTTvshVHK/jlpPjB64pSXGi+J
OzA9hy9Md+cj0iizb7fUvWszq/N4HZFeMwxCoulvdVP76nTKc0dinBRki6+Y4aLLNoxvqcQNoCRT
DatgkFIU42mg0FqJissi1kMCfOJJ3YWJdu5r396PUUd1i+dEeqiyDQNTvob4BpQ3mNKgY+QVeleO
f3MXWaAhbI+ESXice3YTfFkWarpI1/iMGqK02yE+l3X7U0AjT0wDKhB6Fn2w1npJV6E11pcxOphd
IS6tojdT+MMjG3Sf/mrr5pGHY52cj1K3Cc1ojGHtsZg85Eo3V1zx4LPK6NLl4rVxFPGtfYUaKErk
efKSW20X1TmNgC6l0VLPnAL2euMsWgg2q7psCT2ucf8p72WUunEqRTltlBjoNtEiTXpbrTsLJkIO
fiNuzc8oZEcWaLVFfCvDk74rjlGZYzQbvVcM29MGtfgDOFexmQj+2LDKVa4Laxcng9uPL6i5liHB
gn+Uv/8/euGfzDUunpf/c/bCffT1UX8E3V+yF4z5z/zbXSP+JU3Ct/nBejr6Lgfx97/dNYR3uxIp
tYPk2yWiG6H7v8MX7H/pwsZCYwnTFfhukIT/O3xB/xcCQNv8fwxf4Cv7q5ge4RPrcNTcfAHCkX8z
k8gUZryFFRYNn4Mfnofaq9fkJqAHQZwU0fFln0EQrULUcX1SXQxjOCmXIlh3XTDe6i2S+b6fbGCa
4ggW+54uhwS2Lnv0oRf9t4+Wcm4Mivx/UNxccH63zf/6n/+hk0fhqrMUtxi7oG3S/yb8LxyztCHb
w7eX3M4ICOISEll+qazgrCq0uNOlldru//6XGv9hN5h/djgvhGPpnscy9K92A6AsVHURaEcB4Vwz
ilWKFq0wTwHMCKZUzMhBqzfvAOlXJXOA7i5JzQd375gsG6do3eoOOalOnv/Dh2HMQvu/2CDmr4sH
CuIiwYPO30Mz+rqx6xGG8QagwGaEzpUF2n0OZrhBOYxpZqJr1pCVK9f6BwfSn4fi73+1cDFlYRnD
nfL3wBkbSF+M8bbeNEhd0X7uIWoucPGcO1dnSO6HFn1lth5Lf+0UI2RaZMgMQOKtTV4AjK3wB8qh
DbWH0PK6ubo0vrFSN2MYoThObwXC+O6pd5q7GC6KGUSXjHEWfaF4ZIq9qEcXcDrJaY6+9Brmc7oB
Tp8nOI45fDHoot7XvafIQEnkhkunowNi3ddP8skd7W0LFNXtjUXuoFgHoIg1ZEuU1MyRWTWF/cQf
v5Uuksfq2NTU3XZBQnxT7mEuYel21Q6TLpPzgv+Crk5cKJiduxtf3LOFodURPk3iCPbaGb+CRrDv
Kys29iP5sz29XAmZYdG+/8Mz6vzHw+BgEtI9DHy8wrPv7q8PaSx0YaRcWJveuY3JPg1XRnCr+yNK
c7CSWr2S/go1SirQIyxgyDVPYbgcnx0gmd4aOB56mKAF17cYn4wJJcDjTDhh9/1RewsaAHzxbIDx
ZheQ1NYkG2GNiYuV6FaedfYOyUzWu2ZgP6dtGgOSopzp6a2Cqlrjpl2LcjNkr751H0XIYtW6LhfO
eJ4xWc5SixDnRw9JdJeKZW+f9ewLaGML6Lqc/0ZAT62Gt2mT5vsSLEK9gbFhyb2PvbjdjPlJxOtR
36TZ1oDNREJXtnVI+VQrdhxhcenc/UBnDUJDv9YRMUX7rjjnOVrWLW4+v157zcaHH1SuLJpQnRp1
IdzHMoIWuBX1QS/hrY/HGsqBh7D6UILRYFfgotrv1jLaDXw/JcZz6xirpeYDUYMZdh0QwjXEQm6r
6MxDF5X3QNMG71ZPr/THQ/gQRPuJT4kgmIhAX+wZq6k8DYVYaqiCesozhjiGuureJunvx/ro9BvT
YnKxbL7DctnJfzpKZh/nX8+S+fHxqNTo0rmi9Pn//28eyyEg/7FI3WSj28fEe5HqwUOSC0iO3JVF
ZGoLZyJhzEWPPN4xCsH8JZaRYJwXNDca9vMkkm0PVtIZOXcQNFUWqXztk0NNog0PudavhkpsqO3Q
ogBf6peGenEMQYjMD3bypTBZRnaXKgtW8HNBMuursTF3BS0wQndMydra5Hkd0h8dzdPYspJLfyRd
WUYvOCXJyjeopdR2pLXpU7IPW3ROGy1hGL/N6kcbIN240q2dhrohD65x+4k0UtfvRX4dsgdNXrwU
KtWOFWeSbMBXdjVGnJULyoH2qkvPjDUYrq2AzlizBHQk2TIXG4Vk0/Qupnff+xeXxHZ7h/Vzqp70
9sEaX6zkXIOjtxEJS/vFjL5aTHoDGlYlAavkE3IkGFYsAiOwj1qztevXAb156Qf/8OM1yXf6+0+X
WDXBAAPLHIXD3+74yA3j0JZZtqm06WPImnotS4GfKjcNJP1YF/2ySg9WpPH8ZfpZ59hbDf6s5oRG
aYzjSYTFVW+HO6/zPqUPUrtGIubbots5ZnewG/8r7f2TLYqa0JNsdgx8qah318Dr420bNigsYTIp
hCB5PAbbLjc+NVeDZKWF/5CFRpH09/uamsoUOEts/MIm1/bfnuWYo9mKIijeCHErLghCnjuNCNca
Q+uqsdREZ/dNFCOZZ71O4zhgkuj9jqW8wxTFKQ/9EKO/Ljj6S/sbuC5J3JX1qYXGnd6QoOPLz0FB
LZHZRFJs1XbLqkPmpCX7MJAXzVJwSgywIbm292Lo0545bYkcMYiG9NZN4m5G8ZYHYOhsp2hhpEH7
zTPeKOJp0piaP812VWys7Qri6X0KPRhHLPuQNNCQUBQ7ZpSPUxNGK9eu1n05AeIlAG7pWWSd8kYh
oAFnRlfNZI4zWyccCU5MdgqJPAXyV5NxRb6m7B/1LFnHIvFpA+dxBTKWvOK3tDnNV856in2civZN
BXqjhlHMOpGsAPIY7NpfGaQ43NdEp5Cr/FmIsVtpTemusrT0Fh47JqhG6io0XRzcMsMR4GnpsZ2n
dm5k2I8jbEx+Blp+lOIzm4OvhO7GN8y7q2Ksw5PrEYDNdOnip7a42MJ9cgIn2VUoOeB99j3MHIIv
cfe0YHVRvDRazXVtoQ6NNZuP1Vb7VtecA4fQhtbYvcb4OC4KMVNnmKd8UgjqbRI4SbBiUY0Seg22
9RyYWADhwzOuq5sXMyPHcjC7+1aZJXvcor3JqWqXImy9bVWFgDXj5BwK/SkwU+MT4pt94ie0CGTQ
EXO5KwyzRo1NduKfvduffxo6QbR2pMKTFjfUJW30kw9xt9GIB/kkhHvcp343m7vsaCNYnZxi0ox5
joKfPu6wb5dRvQkDdD5SqOpEdNIzmzh/E3cNF0YRfozuCNH5v9g7j+XIsWzL/kr/AMqgxbAdcO0U
TrpTTWBkkITW+n79W5f1XldmVFmmtfW0J2FZwpJBF8DFOXutzRiXR/x4WfeWrWxQnDS+62U+CX+8
147LfmRKEXu3xbZsvc+wGel4bCsAwmzT1am31ShUoh3rYBY8DBdxRyyge+QQxzRQb/mOG+R45/gQ
2R1ioiXn7mt9iNwkpFykO6OPr6a6LEGM1HRVLuWDNWZjQJaI4JTTeltjYnpUWdHeKq3Z/3ncLzCm
0k+JJyX38F1EH2z8+3XE9G9Fsq8n8VN4WyUpWVxylBxjql5yDh5lCGEwh2dzBqDBWbOi2fiZdu19
qRIFRIzxNEFKUkRolH5rkVZR+iOyw9OUc/8kbeSnGbnweOE5PrTulMqp/TLqCN4Iz9sMFYlsJf1y
3GHCOZvycD4Z2OS+mqFg3mkQ1dGzdpdoSRPoufa9qKO2TcfhNBTyWJFjbCSGqq1zPmyYjKz2kM/6
PVL8hHsUhZ2aXN5YncF3wzW52NRZdDc7MDMxrtUg1C1O8mrx0fI+HT1SiYc8GzuiZ0rxWFXIsYb+
1hu5/LBH5CtpFpaPO+pzNtNsX8yMrLgsHCqWlojntHXWe4qvLs45rJSngj7ulcHOATzH9MeUm2fJ
5mYbhuND3S4OvHfQOBx7bJBiI0HgJsQ2BEHeRAO3DNRku9iQpWph128S9JkrerE4k7cZgTPqXduB
yHdVsLUvoubZtaigIYB85HqtrTXXlantIiijnNumcUnBWhg9P4+Zysk4wi73ZWaYInWcZW0BRFZN
5pFdIO6RgqoJGoXt1niiSN6SUKmUpHXLxsqGdMueOEsye0swweCbRc1tL5DZOfzpR2FGZ83MRXLq
lo55IifAtK4Djd2N6OtDg3Fgo4d5kCrYBOq+tvw8nMYAg5NS0GIUAwa0rpZu5hq9nMkzRZA2DAVg
oFZ1s8Bg6PyUic8zw3NBnBHsK4YhoXqhx2M79ER3u6MIQaj0ZhkDlUrW1eLpIDCtiTbM7phwc4ON
+otHnw+Zvp5aip7TaGq3e1janekpr1T3ZMFcckRvp45TMsn9pN6nyc+/gVLggUzzOJGp4z5+LePr
XAMQKdNMcaEzPXPZhuhD9RAkhmYEPNpt9JGYmoKMGHNYswU02yfMnbfRPFw5ktDcMiN9JpEE2doj
YrUpaMQ8PKyjqsH9beKKmkrnaJBhjXQilUJ0xGYW/exBBCnkwPEcc0nGHrBnLc5lTWcBa5v6I0uC
l3xZrB3Dw3U9deFeoVlY5bvA1b/cd0bNyqDsOqrEtUs46huVOnY+m5/WEilBR9G5aofhmmehApFQ
+7oQNdj0jYnJ4UGJ418kSzBhcnSM7YknCoVHSNaVvOxFvGt72/HTEalH3jo8OSYFc97MGYOigtzs
CgoEiG0CmW1IkJFhddSEqCYcscNNwyM+JHVxEjVnHyFWVE/rGgJWslNUI7vNrQWzoyhJ5+d8X4mX
ZNZ60K90aPR75sDtxnDrbRn15QoQK9zH42izsliFnWrcmFFo+HOqWYEzd8NqigzgB+6/PHiSEbBP
WlEJFJmslWLFVbeuGb61BFzk9NLbGQm+s/hL1XLlkQYnnl54WTFnKYeM58W73Bod2jE9+7jkyTF1
jZWrNPN+znG/hq3QDsSyNelMomFq1OJj7356i5lR/i3CY/9pcwY5KaT5Tj//xDkbOkS57ywg3Fjt
Ha76a8A3MEkw6INVE2wZ1Xo9LjbYpac8EMduj/C+lzjT1X1etc7tzx8Zx9XbiL5x9J8dLes5w2mu
E/Kj0hc3vfzj559+/mhSFK0qMVVDPDVmh7mUkOw3KUxN9dNWtdc9sf3j1EYiQOtC1XmG7rpXoYY5
B+3UOqQndEmTU9mybp7NWz3p9MAsFxydlYOvr8Z6TvaVy9lSFgeKwbncjiJkm9SItd4U2NJMc20n
WYVz2vE2VsyusiixQK5Sbrk3sfwjV7utnkXVKS4wGIxNNG7tqWGFbtfHSh15IvUq14+itL3jF6WF
zBtJUvSer6AX8WlYRCS5KFKxhKfQHFqUB473WPaRcuPU8TFVKMVUq+x98GRtUxc7q5nB1C6dNLK6
fD2p7MovZdYJLGjN+OpG9Vkz6jVIrI64r2Sl5uVHuvVYh6kNUWKYy3MUWyhs6km7YZzd33I1giKk
/DlbEOdUnHkA9fHsUTsAdTs4HzmvARVSNNfPCpdqbxL7BH3KoSgXsmKj9Tl38USIrxV3TjEQaYes
XuldgnQhc0hnUsXgLVHGaSnn/m2RgcWyyZVWYdk7O2UaWOzi6GRRTjzRiZNTm2QkcjqDslbcFosJ
lR3r83HuM6JFWnsmpnoCS+f4NSkfBUaU3bBE7k1Rd85N5qjlLk2Nt2F5tQQeBB4t+ZDU9ZEXCb+5
kloPpUYPfSpvkR1Wz8wy28vQL3zGkasnVjMExVKPj3jELx3abzsnmu70TEyGMDI3KbeChAY7Agre
bWm0D0sjon3JSIxjP9x+KuPXJjlsQwayExnN9kamY0tChGHgqXdGR+eEkaBRQH1igUS0O35jgxMh
V092ynKnMNLHTKFtexkK5wy2teDbdRwukbd4QTOr7x25yFxdnsVctuthWCnqdO/JwLlK8nySEXQj
PE4yki7Ipsd5sW91g01k2PJwPm20iYozVC81wSCi7SMZd77svk3mvZPhdyFj8A55eCGD8ZOMyId2
8QXrUa2h8Bpx7kjYeYxQ2hQPoVO5Do6z6RSTukfAd1qa5lVHU79qJouUEXW0PKQ+i7GrGUexjhUy
xh++umT6w3rGjSdj/vDGDKAWeg8JG0yjQRlvrtTrbqS/PDT77xmET2IDJvxAJzmCdnl1sHNIvCCS
oEGoJ2dPogcaDMIIi2A2euQrWXHSR9aGElco2TJ2EmAwtOmkQjQIiTbExHV7WIda5oIk/KBn01Mt
cYgy7u8jXqu2xmxBFOKDA6rEJyDTXznyHfiguKxzxgPWXbb/zzncBddqNsWQGOXQP0X6ciohNGJI
DVZSfjIDK5gRCIfdnHk3mXnNKjUA7EW5D/FQsSmqFvxDgiBKpD4OkCEDhIjQKo4NMCOJhEdqiZGQ
9V9ncCU/P9qRqIlT0FhUhyuBMBdcVP6NJJiiSkLFHE4ajAIawvpbfMWGBsiSEuftG+swccoXsC42
EDPkyyIRGIpzz3QCsK7PrxGMTAorY0tohnZeJppcG6FpEovzVKp8DRKzKYp3zr/kwaFvoHBSaBxM
AVfdwldZL+i2cKsTTabjQ1wMTbJ9+a9egj3U+6wNS/mCmlH8XMI/qfilwwKxY/loJ/ORuG8wtCR/
irp9MqzsXEuMqIAnmiRYVIzTh6mWJ/IG46GDPVI4+K/S5JMS2nMImwTssTMkrMQWeOSh4ZepYbui
whPoIO6eQTni1SRhJ+DfL0s3+SLbFYkhum/gomb4KFVyUvBSHtxUavBTLB7CFZIiNmRV8ThDWaE0
X7t66K5s+KtKgliORLJUCWcxsdiJRnzkEtsatEfPq2h4gJDkyJJLvMuz3GMHqRtL7gv+S4iHXOJg
8ufVkg9zOarp7U7NFg1y2/5VFXID+tRIsKyHMFMkaqbAnDntdHLrkU9g710p0r1TbPMemOViSVxN
SHCNSOyhhGQzIdpSyLYSwm3o+BrWEnrroN/ynE5uhDmPJXfvuABXLyHlgMTOmkTnWLEDmBLhbUmt
QAk81VB2us2xWWJ3I88UdGPYx7o3A0MjBjjkHG9iaL0Gas+U+F4lQT4MbYkE+0TeUGMs6VeYP6O3
g34hmgcLOEkocBVKQDBZmLEmxQtTdbwN3YfWcbR0XS4bC/HGRW0WAqksCrifbjnbDr4lYUSUWPwa
JhCMBBVriEVPoosLDKMHy5jDNHJbqwj/pBgJ9IdJYo84kE4jHGREgw3H+W8sxsBF48TvT0v4xCYY
a+J1ZuVD8CCV/Xl0L0nMEt7SkeClDYGpxvYtZDEEE2xmISFNnMXvjqp8aYneBRFOjBX1uSCdrCUU
GE+KvfgQQn0OEv9MY0BQXRKhEg31YEQ7CYt6VRDNPRZdPKWOQvGcrUQFcxWdFJNETSV0qkOfcklc
z4vOnIZlNwkrdwV5uM0kslq4T8UPwlqJj58XPTRIuXT1vWvhIh+y6KZDI84yhZoerhEWiY1NEtke
0Ht35BlKEl5zFizRcqvqAnw6Nc4uNgto4Dzd6jBNPPWzLLHU2bcS61BKOFdITLf84XXhduF3Fzje
gktTCddbE6izM4YdivNiT8ubA/9LiovIvfpWwgVb4y2feryz6qNZOSn47FtSqo9pOZ4zqGITutiG
MrZKRVtpGZgzyx2NnFmU4XAKJZosJKRs0C+WgaS6RvNrMHKuW+DMRI8RwoTPpdi1HU5XU5JmEEwS
g87goXudB2uLQjoFUppSnq9UotMDZ8Yu64ji9owPw/jbLasXvqYrA+p6lPh1PJUvOskdUBIy4+ab
Dadt9PW9RSR35YzY3Fpy7eiEjZ0H3U1wMIX1VoT31rm8/ZsSDryUQLgh0fDImz9GWHFLQuO6xMfn
EZAcPSuNt7DlRsPMTC5gIpK/aoiqJodDb+HRm23FtICmiDVBRAAsHk2iuvtEiHYlE3TAEEWGkxaK
JAJYVR8dib13MN0+8/tnBSK+Vi6YeUSAPpvNG8w82VKpvLbfaSTkPZNgPQNH0MR1DW/fSfC+lAi+
CYuPZQcoP2fK6cHpW07zlgDLtLNeS2/UcSbSTVssSaQcyJ9x8pq2kSWc125oPgHYkZRiAKsT8VZS
DtJTVjOToTtvStjUkMa5Xyb1YcEt0OEY6KfwNAPir7MaRI9CXINHr8LxvXRfdN22QnzUxB7rW5eT
V9sgLKO0mvnevBmtccUFwN2F7oe50AAdGzR6da2gz0x8T7gRchwJNa6EEuGgT2JkJAXDuUYKFUJG
3P5Cx89Kw7ZgYl3opX7BlSIGtJv3aYKZAUNDi6kh7vJlZVOehrkYjrQeuxuVj0OM32HG82DzZMud
J3rAHT9sCynlMJ9Qw+l3Jo88gWayz3AoqcztJdCS5apLoYRLbtsMw5095krg6tol4pbvK1goOriZ
tSfFFItUVFioKqSyYgw7cuROvGmS+atM4wdT7ffyejJK3UUvxRe2VGCIEtMlMs2VaG6b5tBJVcaA
M4OsKuLpKnwKgWNWKrtx15kuWcijrtVNkz85xhtaGtPHEAmQrpgee4XoUCf1iK2AuFydH/gSRP44
LlDLzfRUDd2zo+KnzkMEZ/pcbpWpxkGtkAJGgTetKwX/eUuIGmOIIdUhrpSIRM+1VIrYuEUqy71x
ef5mRzE+OthH5BsWjgwLpTLdowQ8ohd31n45WEtaZhX0TqE1pImXpwhGiRhOTLKokVSeaLhPLBwo
Hi6UhbrhbaqyRw6phisMTvAeXpg1n8bXMPplYlTBSEUTkmLiQuq3vZSuNBH+CBa2rDw2zLCmwMTP
UjptxBXSITRXcWozNfKulJP4jlCORDeBIhG9CKl86eZmPzvZ9xjOxOJbQpVWAeJefIrRfM68bVG5
zHJU6a7To4OSxRf6GT7UZocx6dHGOtNin3Gw0EA44woE8cCKBykiVTUJzprMQ7AySY2NaX4pxAt9
VwpunG65GnOariYG6w5nAcV24eOx4hAPG32Inccm5HDj1cuVDF6TEVDlPNJODeN/R+e46fGxV9l+
s0MOWiw8HawUTh6EIUDo3buFqyeV0p60/CyM5V53kEWNuNbroet5bh7uZD7ezzD/mBiAhnyg+hlP
xpxeBgxB8YgqiJeToKrDHGyxT/lgXIkBs2nDLzS5LUc55d7BwHowwDyV7nXpnMAg6UJfFnetwSLq
37IPnrAX5dPISFsxPpSip1WR9ik8R4oUHk3SfIQBSXjjgfzld8rD2L4wTraDM2rgsWxGnRTR9e1n
i8jJmNdk8PVXWDrjppfNOHmyz00QQ2zJZ1VKmSyp4ZjG2cIx1D/AoJ8yTT3amJxGAuIkXt6seUxZ
VdWX2GPZnEv9UyJFUMTYOH6r9kc0tyfadN4t0KdtHzJ4J5H5wmHimnpay/XQ0vxIp5ABRiCqMKsL
qaFqpJAqlGqqbmnvqY56LETNLMlOkGRkxS8XnxU+ue9BCq50qboCHtt3vXoDvzWsQsMb10bEV39h
kq/oCAUUKc2aR14JqdGSmfR+PUi5lmjMz9GMaEFDAtGWQSg1XBWnwpUn1Vx1RG5vQdZlYO1asHcJ
qfEy8XkRDMYikbUYuDqH4TIf4lWC/wvfeLkqpRLMasfHKQtfbQ6I5C3nh6VrP4eZO7Bl9s9zviUx
8yaSAjROCscYnd5QZW4z7s+4mDJPnqSezGgRlWk8o1PVBzncCDRmBT4z8ljalr/scJ9K2ZkjtWeu
gQBNx4RmSSWahRtNn7T1lPAvVTvr3qoG5TZy9avdatwSMKvFUrGW41qzcK61afiCUhyivZqaDZcu
7rA5UhipamPrc+pK/upDnNVbMRr7Ogqx9XJXsSsbiaLZDzuFb82aC7ZC4SD7fzpc48zkTcYVZ+KM
w0X6GgkpkcMm1zeY3BTzWtJhN8dMdzJyMkl2NZL6XtUhDj0r4aFCXdwVA4r7WIueW+qiBimxWyLx
0iA8ZzCpfQ697FVweaNDDchxcrfCqim5YVXdpB5lBfVj2CbRhjXOys3gvUiIHuyhy/eOHiPXU/XH
Oo89v6jKe3Qf9xFNQGsnm88pfLua1zQxoerrY25AdscNPWrzZd2ZIbFWjWD+5FB3aKUtWdP0l0af
BtMK96YE2cBdtMmlIlDFFdhJaWCLPbDCIhjSXsqUnDN/g2EQALE8lc5rkcB0sg8/LhlhCpyE3Y+c
EEvh6GUf5cKyq9CizUy2ovfyAFJNhvM5J5SgaKCeUnsoBYhTiwrRzj8wGaL1lJJEHp+KNWs4YMTk
0NScJ6r5xVYRKwL0vnjbRC0NvyB+O2DwImWu7dtJ4xlWTz4zHI22lDUuZHj5nEZIlqs06KTScRwJ
TDCo5UMphY+jVD96gu+YKup1DUO5ZW7xaVret2usS+mNXAQri4ry4BVFyNHadXeLpt1whoLflN7J
uS15k1putyK/VRVSEaD7RXO3UPG7qmK1eLASc1uhYCIAwtcGveWE5rKWvks0Z2cPAeaCCFNIIyZl
QecBRSaRgW4D7Wrct3XbHuYKTjle3lPEmpk0bGrStanjpXKkfbOWHs5BGjkT6eYUda/LoaBKIEua
O6XD0+Bia7TJoyPtnvpMtBrdmsnDYgECBxVA9idS3tOW8hVHOkInZKGVzCVH6EMr6REFGLhYHmZR
dGHGjY5slNaDhPsDXoLCRGgsOs6hheYFlTm/Y+a7S9J+vBuHMCCFuRyW6g4uDzJIdrho5jsulm/i
vx+KNKC2CS5UgRSV9VUmHamDtKUmJmHf0cJ9F9fpq4Y0juw6oYZef1+ISLgjK82MsvEdLoobXE73
HW/gycyNs5oiS+45U03IW10krq5nR0GkFuhW3PBdi3DA2tL5mi3hsY0aDqsfxlLhhFVH4SuL7i8J
gwkLPGGRBtn2y0Mn20uvbIJglvL5S6e4aw1k1UNA22ndSwUAk7afwnEuZYUwRCMYnyGuraTBtpIu
W2E7jwDrH26qvxhGs3NighxEJsSKSJvja6nTbxVlOWgOWT+dHB87IGw3TH5DdGCuIq5xt0rr5cFT
GUEKSvnmEhMYAl5dSS4QuAr7y2/H7B/6iL4gE3kzAFpIrB4qHZcvF6adiep11xTOWQVkhJ7ImTx1
I3aT/g6ofWWgBs6kIziRtuBZeoOF2/IYLvV3miB0OIn80CMvPBLLm9dckurVqPfjsa51Pi0//5i0
g+BrVN3VqZ1zoMsYb3VZ/1qrN2MRfkZjnFD4PHbbMm2/67mlKCjxtnoUkeKEl4sdqBWP31QgPE9L
5y0Vbbf/oYyXjkMzGUBmx1VyT/YcTYIx33qit/fhEKHUg8xe903xzVPtfDtkJq0/9bgjr6LRNMiw
IHTn7rRwD/2Bs3tucjxIR0e3DJ9gxrQAvg33kJtEhx5I0TcJ0XtRNaF/9N5ddF+7KCat4CGAmVr2
kigTnkwj1R+uSQEPgxW7XDtV3mzxHnx10gcxaPlVzLV9HOoMdWZC2Tc162yAbQgKeyqWlSfmBGmT
65KDy7xLR2RlKUuKtxhD0OsK8ZlbxYNLI5HQyz6wB0usPWLNgWXuRjU+0KnDW1k1gs5BC6HvmKa7
xqQttuLAMVlc85Lv1Cbu5+YPnh0o1nKICvUYIkTCCazu0BTvtVhdGT2piomSkE2dwGSbC98C22q1
3VBYz31KhXHlSYVwrWGQdxvtXqGyUI2aTVPU5lV0PWai+UJv4by2uS1L7UfN1qe9X5TIWM2T8WkV
nBL0IkYiwDKLhkUVfgS2ZjfSJMixPs+fxmImZFL0F9Bpa4cfybkQCH2s2q7ZUmfnHhYOCSWJtisr
QU7Wlf7iWql6ywX6BpVF5tOHzTyfOF1Y8SRfNh9lvnAAY+mztkxHxhubNxatD4h9aobodA3VzjO1
shTxDawGu7LmVbPFbR1SVqMnDLNMacZn2H8CUg/q0ZyOfLiY9bJc9NXsqFscoGw4YpKr45ObFPoe
9SdrP5t2LJI+87hbeLq7MDhLyU+XTiBGwOdCnTeG2sZbx830UxFh0yIWuWij8mbWTK3d1E3vFFJ2
lsYpRm62NYHmhAAda/n5qe2ym1EY0zrqdXsbiXp87hWPI343uEHOgjcQHURNRxOzhmbvdWhkv67i
RdsucgJdVfXrMoKduzyFjxiCVwMNNKKaFvIh83TbKGi+xi4N9FjJdzF3sEsahhZRO+shr91y3Tha
cy2HgVJItgmBEREVMnnXj27SnDsDlDJcdNqTlEQ95SmxUAPLhmHM7Z0JABssk/Ht2KOJYoenyDTa
Oo3BlCsGqXMmvoupUkIjDsObwxmVMaoNi+bmVyUBpCrsRrtTmiTzFWV4VA2vvWsYNyoct++q0eS8
VRW3pD/k495S0SsHbdKYpb7u3LraCYcrBMOOZMeDMB3ssFinOX2KZ6wJGWoVQxifC0zdW5KIu27h
sy5mVMdJSYx0VrrkweAz3FnEHwR3kwdnHr7x2CSHEeKtzxNrL6qq54aQt7sBRJ8vZpCpSfdix/PL
1AxG4KVckOIwZxrWznyCy1I9KsVPnNZa00CDQqDjd1sqvqsjt65VNMfGSZBVm5hs+Ig9k309D8Go
GNadTeHepuOvphQV/TKRy8mZM/AqsepftYZw5Hvq3fWS9GKH10zskoisKAC2YpI6UgeOl6NDgM4d
2rvMVI3jEqqpT6QjXE8md4yCKN4tnyjyYPxS3miM94OaziuVvqyKeqmREC7xnyhoe9W5LaN9koRE
1S033JaFDIA3pKcoEY42iqmoRIDKT890PxAAjpcaIcCe/fgqm2xtpY70y+axRAEJxDlU5qwKkOmr
atEXjPmBWwMy9BVN2eHjQuvzUQyvLetDT52ktjTfexUGC73uylMOnaO2nAwVjXEJAtdN3/UDGUAG
lmWcaK9TSH6ApNaWt8ujPWN57dyBEcwQfRrqcGa9dqd4orghlt6z6vRAB8XOqsSJJpbUZxJW3zIy
20G0qkHMpI6nUIMxIx77AS/COCXpg1kM6cMSVgRiNZ62fv475FrhrgzzL6W2q4PpJfWBvMOz5lSo
y9zmMmeechWak91ObfbpPohQlBdK27tHnpdcbSqoF6FAuRm/nIUVFQRJEE7mrWIDRJhLdLLscNyO
+vJVdom1JadR+4pTeudmEt5Z2GpDCIpReZ+Vy9YVYedbmeKd3YLwjFeGw6GxGiw9HrkLx5xvcz5i
XdmPDDUIhPk24ZXQyDahmulkfrXwucdlzjAN/uvnP0a3Wm4/R63d3y+JV9/oc/0MRowe1TVe7FQR
QdxPNsyGYb54OR4mCos7PGgYlAtCbykI94hy1KiMXRumScDaMEIL1LrPqCEqvw1DA+cQ9apVUdK8
SxXUOddP3kDEKF7a3BeYCpoRPV2uKDoFcjGN0MsswIkvFSOi1dzkdOE68S/DRUo8abV5gv2wN3hU
Sv4LqNVVycWK6U39rlBztdIP0ZLwiEGF8aDNpp9jYfAi8jRaalI9ytRzwKK0YkjCkbkeDp0mDqb8
7oHTbwaP5JbHm2UY56mZHkqLD5hmM7gp4uKpAjyl7kA9m5mjbAUYCGPbntyKnLQwzm4GumRUhemd
nood7a+csBuN5WG+0BrjoIJXm6cqvWOMetZSqUijTW091M/TzKDFnWFb3YxTqzpEOys5xoKWqBR5
h59MBGrMbrhPMvOmdkKSXUSHpruwEHeAIJc4pwgiVMElw2uOhrMY58fEdt4blSe5WquQlT6oS/Qe
hRYrWGCBZmmeieyi57XOuZo+ZyYNV2SZniYMbD3bZdlK8OK43kXJyeJjPfjVWwy9FWXemAt1kk6a
7XKjOmHYv44FCxqc1Ofc+FoA7vm71N0bgyvtGOp97WtWT4alCt9RBd8sKTh+auil743dJze0z9DE
kcOoYh+xB6ETzy9n5lfMH/TV7GaPSuc9CMXdpQBQqyYBJ28jbpiq2/lQx0Q1YxZC7bwymJDzHLHD
iHOpmUkEdTx+pxhrLTMnKubQHZg1YCqN8T2M6kfTQBmqfJp6rb1VGIj3ncNEnaNymsI/8yYiEtQp
bs1K1EBMLJjvrTozf7J6/UZwdvFtlSRyUvwzkv7/acK/own/wPUE7/37//r6Kfi6fS8o+Prf7fDx
Z47w/1CEtvcPF9Rak5iG5Tm2RSvLf1OEjvoP8D3XsDSTssl/Aob/QxHq/7B1wzA826LAy9IMgv//
QxHq/zCZXuscxV1MDLpn/N90dBmORO/+RYTRRKVqpsOAzHChCV3VMPjf/wCQhJCobh4XTlCHN12y
dRd1RV9JMDKbUQRZJTGcWYuuF4/y97TGj8/YJ3pkkL9hnsdy5iFM6NOYmJ31s3urUlbiShZ+EFQo
v/Fd6uDNO8ax5dLdjc1yhjvfiArFNjPhNc4TvxBosAdlN0wDFwZUSWymKfSm95k4FNWLzbm2hyva
NL8UxOs4OTdGdGvG0VmLEKExQi+5npazti9KnQk5iUS2rsLO/bh7yH8mY28mT0FddrTVb1V/g8O/
9Iblq5618tJHrc034axh5e8DDsfEWmXQf8tWGtn3c6RweM8+e+TUGilxdYCeukE8ta3754bn5Xic
gwTdSKMetGZTEDMtMZ7P+KYNsnc9uR6iVytYdZgcyzeacZ1J/yvBtRpdXo3lq3pBD3Gi3pG1jReg
gWOeTtcquHM+PDVgSkDVu5HEnkl8rNzMJTXMgOvRU8fGvrlPqkuXPCbed82zbTW5POs+Z6g0FuDF
IvlVkjrX66uz3NXR28wFlHEDrgClus+Ko4FYMs2fbfNiVh0rt/OI9EFdoGfM07yEa4tuyijeFYz0
tOSVHosgZxicRdgBvPZ75tCM/U+6jVdKPK2MIac04U2JMEGI8ZYMC5HKaJMty9rl3qUJUipoDatb
AqeE9T7E8pVVr6P1ZJSlX5DX4YjGbPazwrJhqfeJU21C0/CX+iY37mftnd72MdFfFJ7PQjYkenWT
R2ysU5wAuUK4fWILbFjFkRoNJms8ZQ/UBVgTi66eZ19zoHNEJedjDslJZw3okPJWTEScRrtVbGSW
bPdTCjjqJiIj/eImV3MwfGVkoR8lCQ2uxkEVzg1TSSBNgsaRVq8OjSLg4iKG9szLC9t4sDzxmUYR
aSrjUpZiPYbV2QH1lJ9s9jFhSa2RfjZyBC/4XeqoQVeSmMRZ5mQ7I5BzasLLTjOdaXl74FxIxJ0V
Mi96obFGO1hoICPPezZsBCXk7OHpkdv4vfVs2oQoBppCvHsqgclTEH3Rii17VHpqU0yVPFKBi1Q/
m9GQA2EGZQ+mljITcm/T6VokZCuW/C6appuej12f7qicpVmTA4Ju+3O404mI+7UT35UemZZI8XFm
+GrN/8cZsCIMr8RE3pg1bBoL95BzZ+rpHckTwTzFKgcWg1T2dg8Yb/eNQqs65Iu/uBf6gNYiM3mo
dY13s7i6aoaUAN8PRiKsKXhlMMOCoUTYeENXJxnRXnKPitz+TRUTlXfTVQgHFcf4XoelQuvREnjT
neM9CTM/6PZN5nKBkr1n3nTrmfbKWvKTJoUQbATL+phzHPXNCQ8ZD04slVuke2NB7sA6Ygl4IDOE
PJDnxtiZUF8jfu83ffig83L3CjmEbq/zdJSFyVoIxKdmfcutedVNfMHzTU5evNF3irUv8+q+n1+q
hkylo/JQz2KY2Ow+Hl7/cOe5/+eV+4+otYSa/+16butYQVxga8DnP1/PYzsqW81gHDB1G6ayoFLH
Nrn/65+h/8ebBo5GaG6AB+13shpyPI0pu0SLvcZscy3OKXrej3AImi19HhfQ5YBIOa/btbhjY1l+
sZIN/6bR7M9s3H/fuP7wd5B1Z3+4cdHXVVI/UlOKGG0ZzcgOpPVf/5o/NPS/v5b/+jV/w++KfCDG
VvMjlN38K9zWmzCItuD0/Vpbo4/31Ye/+YHyX/hXP1AScn/4nXJsVQzDeF3ZwK81a2369SZa08nl
ntCYBdU9u8ob7au+cf6uyU6ydb//ZJfxDKihQy+o/duriStDR8CvO8HSror35QlpHeDAygOR29qb
eku04K9/V/3P4PM/3z9XdTR5iDEtFst//l3bnlpkZ8YRz0Z4xwV0t6Au+3Iv2rDxhk0TqBvClEGK
RD+lLXsXfTTr4vlv/g7/6XP8x7/Db7+16opZ69vBCYiqrukmAHMI5ufhGm9gPOyTcnW2TOoJoa+N
/bDL0e/cYNL/67/Ebwjvv78Qv33KPGNqizkZ5V/CWYmATZiP2G3tbI11ve2Of/3TdHme+/c3+l8v
+28fsaFIbXLB/MrWalrrfud31+Uqg6bPJE/9/LHfwbquBwYja9zUz4UI6q/pqP4d2vqfvr2cbjUP
5FPD0vDbsTNnM1eYtITAe0VPYyNeHXq3/uYj9p9eWShTnY8XH2rCJ/Lt/8PXqabieU5KXtmfj5if
nU3LR7gXyG8vD5ScX/76xf3N7PDzVvIDLa6KliV9F7+9lcwyMdc3kxOoB17albZrdxafIHWXbv8f
f9Jvb+NCe10z9vykbr2sx7voEJ3UTcV79XdXhv/0Pf0v9s6rt3E1zdZ/ZTD3ajAHYM4Ah1FZsmw5
3QguByaRFHP49edh9e7eLm1PeXrm9gB90btcZYrUxy+871rPUk0Tfa+s8Cz/MtcbSk88UcuVeg+A
EHstr34Q/Uu6CY4nb/YQe+Wc2qINlLWfF0BBJe9/drOfPsLVa5q2l7owIxmYm4/KyaKA46rMSsLc
+G7G/2Ia/OVmr77ANBoMNQ24Etg3h3qPPa6oe1uDR6TFt+/iF+/ALxe7+g5PSpvHKsYgJ+x7p2OX
hGRm8ftxMv2Kq7f9l0tc7QbUUoU4O3AJyXSDiSUuqfuLIq2Igd7HWncQo9k3E8w3N6VO0/6ndy5X
oL5j69GhyD0kyAq7MPZ+f09fv9Z/Dgf16rU+VYYiG3o/rZKtc9lnXuFPs5ZoA5BefTf4prF19QQ1
URPgtEjT//SrEUEUUtWFOSMCDnNameR9XNZkDm9SHE3/+n39cqmr8dAN4HUhsOgORhUm59Cm/L+K
7GkNKjff3Zf49Y3pumGIVCHM6xkYA3KdhClXE0WLQqUbe9ER8KeX+qMv3wwOp/L3wCGd+pu7/GKA
cJd/Xnf6+acBksQoScVK5S6z7A3G/iHB4QW38QXwL1ayuKJJux1oRmajujkD0W5btLSBQHvnTDbu
7z/Ndx/mahOSnvNzpdPAcwABR0V1fza74++v8NUmkvvF/aawJxcN5WoAEWygijmlISdbh3vdy9kh
t0tt1znTlIJS8Zs3fvrEfx2vf17uahCVMlsquhS6EzdzStx2gO2NRtk3N/X14PnzKlfzioDPCYoD
V+ls0RNeKAqLBCA5UuxkK/oSbk7b1R7JjRudpP7mO5se2F/uUBdZ1qmLwde9ev2HbEi7WDW4trgU
wnlw7vGrrVJzOY7G7pv7/GK3pImfrjWtF58Ga5+bl1klcC3kXtOaHtrJc3AEXWIHb4JT+t++ld/d
3NW+CNDQWAgiF0TwvEIq4QCI8AqchzbVasekGb+DqAOXZ3n6Zu2bvrLfPNap5Pj5VsFMkG/UMU6F
ZTSPluUc/f20AZ3/fKT/UgF5E72WeZV/1P8x/bPX/DKgOgvr//yPX/5rd3nPbuvy/b3evFyu/+Yv
/7D6z58/Dt7zqTT7y3+4P8u0N817ORzeK0C+Py/yx9/87/7wj2LvNyViaart/tfAuYcXjCjVv71k
b//mNXWTvVAj/vnhFm//599//ts/wHMYj/8GtcxgY6zCQRFkBvgfJWNRN/4mMl/rwEclFQkU4/GP
kvFMlPkR2BRT0WW0AUQH/7NmPBOVv8ksXqKp6RzZJYb0v1I0/jll/TlUoAzppqoJhkR1AXQV9e1f
h0o/YodRz1V4f0rkO7ETVspsoGXUlGAQArp1uH0xjt7LAwFrgUGFlxZF9ayV57emaU/Uj8etqUrP
mGWRpj7FAgZ4owLxUsjzTgsXEmHqRT/52LMPoKe2zLa9L17VyCwwbbQHQY0AJWeI3dGPifCo4xH5
Qhz7rUnERKgtossrYrpdnShLaquHvqZoHDbRToCuNZO63dRB+fRV7v9+75+rLqLw64z4xzOZHr6k
kQYvC1cvrkx7TG/MLLw/G8UPA8dGwUOQwVcgG3rPxxy/CFYjAmY2p0n8bk6trj7xdK3z0pR+fXPX
okoMzg3KkVVeUZittd05kPwyHXGgsJvq9dmLgvhCaXRY0CoizLgBhQx0E9IGZ+dRsuv61hihzcTs
yi/NWkrjIyJTPw2GVTXU8HPA0OSh6k3O5hzAtqLP3FP2gdAnVZ+yDLR+1nmZjgws2dEVWHWatLho
YGUbE1zUpeCSUUmeRu9dRjA9seIqgnoHz4aPcdmaIlJDRp8XNiIlNxmRF1hXwXgasoIOcP4i6aJT
N4jxzwiqg/NKQ12OcNI3yKQOqm0XhG5gsmLI2S4tlHV6jvZ6V1BxIeBDwmMZghc7nV0MvF7VKr5Y
qPPcaHY6bnotgO4yyptqFPaniqZ2mNUL8nZShEns5luMymIvuLomualyEu3ysv5mBPy68P4xAOjH
CIZqCNTerpbESNDirgWJf1+5navSHLzDpeOmdmt3jv5RvA2hRZLHN+Pu6nTGVQ1GPwhKiozMIcr1
VTHut0OsjPUxCIghYbjhK3lUcMjXmPQGWbjNhrcQ+NtlqLblLPMhq871S+qWygw8BjpLKQchLNoX
oV6Pgb4uwsL7/YP5dYv1l094fSAoUUMHJSCFY2UOq/NAII1QfYM1vCI9/uMa+DmZkeiLXZ+7G6Mv
Q7iE9TG67yiaDe+QX+eYiOzqMdyOLu/PCqyyA2T76fc395cv/efj//PCV7st+gYttA0kmTMJQ0GI
bFfIEJG3/7Ov+c/rXA2uPIYzII9ch/ySVdBtsF/0TGateOzOOEVlyS3F8EEf4AGePHL6/Bncl1Pe
O6ZcbsCuObPQ9InQBXlAApVmvv/+MVwdJn5+AZRi4UmCPRUE8XpFMMkwSsymrY85QXIvwVyeE0Qg
HOPbmUsB76Na5I11vunm8TcP5ovn/8t1p1n50/4Mi1Oqw0hgcElPXUP2hHQga/Gbm9O/GMK/XOVq
a3Qq1bAhybnGqVLORQApUoQHTGw3ob5hy4EFFtJYqdmC0uyKjMSOKN2cstKuQuElNO4TIqsrpJ16
WtJHxfBGTPIsKHFnzhazCvxlMMmF0l2FIAPZ2WIm0btMBTcqDhg5O3AmJbFISZu/5sVa1VFL6K0H
j+4QGv1GrgtvRteEDK8cS64CP2g8P2V6uBoUYUGKiJ/QFtWjnSiglw0IOhNlIJjPl8tsP5OdQDNW
RYnxPzfjKa7HgqHll/VTG3XEvm8j+tBINiPc5ONDFb+mGFpSrNBJSDohqRYo0SPvAiYuFcun8kJr
rkTNeNYTMjDDobMu5GVJaYCZJ0amLcD9FxR41GRCtcKkcuL8U5U+vXPW8+wlwxw+o81Z5TfZALJv
4DTaQAiL6Lr2530wQwqVQfsBBjaizYn103PeSK5GP1FTQFNL5kY8RSsxhqNDikcoIXI9VZDR6MoW
CMkSMnmMyMOkch9ABdJmz0ID5wcTKEI3ZmxWxHNbLSdNrKaeXCUqt2TBKaPkkuiU2jlSnNPZtNmD
2JFCCbFIjsxIG+MUgSPAN4o4BAav3lZzIoHsmNydQsHYeymQ0pOXFYSLVsyJGpir0m2EmaEwUcMj
ykyb7n1WpotaIUc0LNxiIOet6teCUPqDlKy6al8rmQ0mnLhEOz4tS2KOUhn7an3L9hCuxq4Zoq0E
py26hMvfD//vBv/VFCcmCoFy8cAKkwXeKYztorr7/RWuyqb/mD3AGwrsdg3W0F/f4qg+VzDG+vp4
XpeLZBk6xDN54Vz6tmwqfT1f/PNK8lV1qheaHt8FV2ofS2oeaHPaRebETmIDU6fekrBcg4Jwc6+b
E47knd+HBXRS57t56+uH+ufnuDrD6lgXW+KV62M2Ppg6aqvvJuRpu/nLFt2QmbL+vMD1wZV1/Ew2
KN/aPS/PfmrnkLWNVMobnLMb33x3cP32yU4f6NNMHBpUbuKcCyq+2djtQpwn9uvsJpsjQrPhec61
28aR7dhFgzdnV7sGVltYwNy+WRGkv2zEr+58evSfPoiuwiXEiFsfpxJusCJUZ1tbd0SnJwPH6dA+
O5j8VxHTwr35DgPXR7/m0Ui+OFiOvtkeiNPI/cvXwClOnDYmqMWuRraE37GtFKk6aglSaNwLVvzW
LhCcOLhjUC77GA8A48u+4qUeCTrhUl38/uWaXs/ffIKf796nx3HWADxlJz5BS84U/CvENfUyqlSS
SLeA1pxebL/Z8H39Ov950+LV4M71UGauEKujEp1BwT6JJ9mbOIM9pC7iQnNQK7pdqeLN/+5Or4Z8
cUpOA4Gk1TEeIJcZj5KyPeNZ0YjvSBENfnOXX84kn27yarxjqjsXQ29URzPD+YVEYTw/qGSI/v6e
vhzMn64yfYpP314oyqDtWN+ODQDcBMYwSRcrJSwcrWq+uaEvLqULgoKFURcwvv/s+X+6lNHgAhej
pjoK4lNZIiY8jYtenM9y8Zv91Bcj8pcLXX1PbVjS+BUr+o7nJacDwGzA1+MfsFLdoa6sula+mwy/
viI4flMzUIkbV29hegp6E+NR9XNKkO6l3k6xl1CvNG15i6UKQqeldN4F06V9Wzz8/iv8YqBwu/+8
uHm15IwtcaQdN3asBVSgMoI3/Gz9KbT+d5e5eukCeIB/v8cZwtGhgddc2ENcfHOVn+/u1XTyy91c
fXlJgFk77Lgbwp2tWUP+W07UkDabdHP1odIMt08TB5ZEyhOlXoDt4/X3Nzpttn/3Ca5evLCKhzAT
GacXQXGDi2YNgw+mZlI7FyAkf17s/1cr/11knP7Xxcr/i1k6Op9fPtcop3/xR4lSk/4Gc9xAO0pD
g7E9Vbv+KFFq8t/Qsko6mRQQq6ci5T9LlKLxN5W6Hr00+mh04wUGzz9UrdQ1FZIsJgWKoqmG9C/V
J69WIGO6LhURZjLKMdRM1WlC+DSXiTMhrRpSaGlPZHKIvNRqYJj+MALvUjzG/So7+QU4/TzU2EID
I69JCD05aXoruDFCxsgZsNBINZW5Zc3bmhkfPc2p3NyTrQVfJ8fXzRFN3KbyTWksTOFeUcidpFDp
IlNNChBXxJ/2PsA3q+t6gOsIxGzNDwnTO99eoBi7SFRbSuz4dvCRuydfXeX+SKzQY5rMk/6lbPwo
dQV1GV3cYY4b/COFoOsQFgPAXrU4FHHkuIk3sd1CbiA7ybCp3ziEJvvpXOIH5Wv0UjqDPbgwcZfY
JW2soNmiOMwe8ZVNfz74ABBtlUQBaBNvJv8qJHXxBd28E7gzO7JBid9woHw8LYan0U7vzqveHt3h
rnCSu3xdutq+eUX2RtxuHlB+cCk0xqpf9RYHZAhg6HLx0NwI3cp4G2vIXLhq1kW7OwtOcUTrM65m
PwxfsyMXkiOLG2RVp3iaSTvsb4+DA6UCctcp8UZl0SU+AeatsBbRUwRQi54Mu0ERP5+EQwnHcdk5
x56qLWeQNdx+XltqtCihxJBOXvuibnev8ke7bT9gAlflvIW4dIsAfxvJTnlxDKfzere6u5R2Clnt
Njga98VN7HHi6hJPHVyBHbOJRc+tQSORKpX552o1ex/t+gXvmhIRZr4xsyWopKZ6RYxJMcA3zZWY
fCTDNp2VFk5djB7sO/FfAa07DMfmBsD5Ie0wlVnVwvAGcZ2DHgfqxiOPyo0S+rV0M3UIsenW4jw8
by/CDPWza8TrLnBAQd3lYCwhjWK/oapnIS5N1gX8jOyIDhEwH2GIBgLtwWmnaK+9/CzabeaG0p1S
uRokgtRTORcTFamYfljTUypBVhvrUSPNzD7b6FHjy2HQANXOI1Ln5iWBHu9skdHO5F48H1Cj4aFL
HiO20MMi3Y22bF9uxHvqnMB0ypvsXVnPFvlOIeuS2lt0K5kcpeKb6q4eiWb0BuBNzyJFy5tqna9b
mAuKl5lOsmaXk96RQ2jztjo41elQu/muvzduNa8+SkhOqVY48dZwgvXEudnn8DWMxelVdEPXBKPL
SwE07J1A08wf5a2YrtvLMYv2lQk8h5fp08S4//vK87n0/+sW/+9zjUzmjyrpukAEw1VxqOjOA4Vv
SinxYhqO9bzzFO/7zuC15vLnnCaLkjFlhNAd+kvbsyrMfpTiaU6b3ZJRhaflJt9kq8RXt7N7kFJA
z6amMo96Fx+Rd3S29g2jX/z12PrHvWLYw3pgyKJ+rfsM1LgO+g7Bf7ZG98mbFtloIe0neFWW8/1Z
7rp3/vd7RnyhKSQcIRG8WuvBgKdDa3K9bplIS0iU0zl2KilG/cp4hfD4bYXgWlzyl0teHR/Vtk3H
ZrpkvBi1g+6Nc8UxGlraItCo8b9zRY7lv2xp/v5Yp/ADY1pNNfPnY/+0XCEkg98YFwr6Jkr16cim
apswrY6bIF9mC4q72ROEbMesnOjASRKLr5d5WoahG5NWd5ue3BByl7If3d6nh+JI/rR+bWdv8Xvs
JnfnQ+Fly3rT+nhCqWV0S8RNM7fKfPrLfIu0T27xvpNdC2BN2JPIE4Kf1OeRhvX8WQ6Os/PhPDym
HcyflxD3RE9bwzy07UNIlKeEjB1WK9z0/eMZ5ukkYRQfKsXBfMQC2eVM7vl7k7/15SMRywQ1gli4
J1/CgJ0IV6VciLTT7fwMWhfnhR05J8VXHeLiAAnVXqA5sGLUYIUFIzwlVPrSJSUcPNpwAismqvxJ
jJ/xywHf3RHzoBKsOmaHGXgDTB/ApNN5AvbOUpG2elLvjgXLIvgnCUZeZPfVXULJHt3/gBtkttS0
VazPnYnIkflmvE6BupQ/MnCDBrbziFOsCCIiB8xi3vZKRewwoRmQnQYDT1gIZwuu5gxgSIvPUZdJ
XrkximVCRm/tjgAT0w2YcE768oidxAaC2OA0MyDe2bMPNbTzk0/vs72v7f4dPlL5XECW9JvlyAz3
AQcoDA8xvdMnoPhOU9gsh+dqLgh2R/So39fLjrzDxg3Lx7pbyu1KFz24vdZIGvBLK+M3BCk4/wmg
oBpvY54Hm1fYuH8F5fnt1K8v+SGYrZSzW11sKsw7zWeeAQIF6L52eid1SR2KHSV5OKGDrZcVeE57
pF56eWjs5nKPBvuARTMR/NrBM2e+JuJchOFIWzHij0ZPO5ZOuWj82UF6ArHrpXO8/fh5VuGm9ZLt
bF6sShnkKWU3w44X0SH9yF9MmaRlK6yWnduvG2Y4tj4wdWAUzehiWc2DijIRIKi2VFxKeLld8a6o
XuUbT5c7aHrj7eRAt8Y78Ta8aaxp80Rs8+mYNj+E/nhGNmLOL/JaJ3rK7TZ4Y0QLdPiiftRf6Reu
iEmhfq4afrfK3cFu16dntiBUlub1q+iFF6tEHHgoeTyEDJ+OA6lXvtQ5M8C7Dj0hltLbWqIJeRid
aJjzgik25piZYkM9m4UUx0k9PxTdWmJRwx06h51HhQ5sB8k5LNiv4JdHV0aHTeQBabnoMQDEJBBZ
wIikOGSQax8GspOdC2FmwqbsLDyg1Rynfv6UeBSNrfqxko8EuGQ4YX1M1dJhfCLtJ/dAzdlieNA2
5+OJIdQ6vLmwrHF+vMjSuphRLgPZQxxYW/smpXRGE8h4p6H/AF5wd54tqgFsEiwgS32j5ieIzimZ
D+0RZnv9KDxjZxxFOsbWyLRS3onFLhDcRtoM+go2U4mmuPUG+s9uRZPgspIvO2P2oMU0uv0otNLg
qW3mRCW3+nqWWSr0s9ADrQJLGaVyQaarRdD6yU2Fp/I+AqPNjoGegC1BioTRhLVrHaEYHaziowBb
OQNZtQCJyK+CIISBNXBObBYj1RnvkpfiIzr0dzogI+aCs6WKjvkqR1Z8l24vb2NosaeLw6eCTGSo
gdwWfQ7EOeyi7lUPjkOyuqT2kLoFNcd4DfBMTzwwpfD+TrqHky65PWGJo/Xik3wm30aF3b42HwNk
IKcCLkvEMW2z2uIIoc3W8TQFwPgFlIqJc9NlKyXbZ7lMtsFLEhPHwdw1WoMGBP1tSh566toXXZ8b
pRcgBZbBqEJM3bFNxkeLPUMC/mRVN0BKmNg6zWE0C3a1TWhBWdoTQV184+i/zco+ffQEUApbQV7i
KE4K3plmywRvE2VxVCDyKx7go6ylrEZGhKUHfnxX3HNT9ZpIHpdIZMiSkQ6E2p5N8Ct2phagA+kZ
LCj1VYnxBRqJUvuyoriuG77s1fszETaB3yXLi7lpVE+ylXslvb3AgR53HR2rG774wdXg+NplPC0G
2ss5gtjm1aobRwcwRWfRYb7SaLTU25O60cZ1oKAMLolFiXZkJkEoP8jyFlf54I3DXky8IFkmbPW1
7rl2AhyLibjjpJf0DgQKTkeKbued4xjRgq9FxY5ooVvQLsA+aa84YKV4BwB1gK+BIERdHSxICWG+
9JTOMbOd7GFsCgWnKyx9torG5RjvMtBdT+f4UDWHM9CG3sWgLTyrMmfN5xjB/fPFPsm8+zJ6Ecfw
dW94B+oZTMk8y4DpyQI4V8uoFFfVFKPqpYApTEtwk3BBHataASCatY+QUkdHjT1R/YjJC1bmIWJp
vHu5RQHW8TBIp6WdCVtRcZtwJ7BO5lb7NsARCjf5zNVOLqRyYYXaTXZNtj2r0IUt4g9u92IAWb4X
LbIouBV5TVKk4oZP4Rvn4HIBKZvHE9HaX4wYEOmAv1288K3bhncFdPztuKhuzrcze3gyYY1jZnOj
cHl6Ch0CQ3JYhta5czjslRWSEjb4hzq5mxEZzcF8XviMWJCnJyfX9rJ5R3aPXt0al3Vx9jPjUAac
i7bKbD8WGyPf9+VcSi3GxOyNVad5mETr5ituvMGGQz80idVFm9JcsIyo59ROT/TM7ioN84dezbth
V6krdg8YMphCwtbW6aGbD41bwIY+LcTUgzFomLdm4zfpEsnjyoC0xhCBuce7wDTYGqw8A8ImbHFv
bWuJWPjnFQ2mgNcObp7LTERWVR04JBtTSKAqHXBzMViFFe5TnPHSEyn3g5u4WekDph5iH8sii5rB
c0zcWrLZesHTAaHDTjj1C4IfyAwG+MjGr7bjztfoJcNRydwUvH/3Eje+fvaIHge5rmEJ1fGmFwd1
LnvgsaZygez1ixgypX9x88I6eZ2XL0YiWaxojUyJ5r3LFoCTVngPPnnReJpzvgdoGO+MJ0LmQqec
9yvopHj4bIPvEyr9ZAXYdp7kzZ7Tu8aBEdg4ihctCHgybOxyFskwSDLIJfIydxJlyAsabRgOX5K7
gNXuYCzOq+61nBP9bYGkeeG1JenZwdUonKz4wDHvIE+X4+OxMSjt7o28vWFOMMqKSXKeHcA468vu
sXdrV3dnG+o0jHO3dGd+ha2o8ui08oMOb6kjeZpXSFZ1x4iw9WXu1P7ptlpcPjjCu9mHtBiMI6UW
n290D1yPISnTINQa+/JAJkE1h0UbrU/1cpTuABDDFeP0GuPTzPeKsC/xB2I4lY9JzeaQTCbXpPQg
Q0Bb0/QZoTgSA0KsnotnYsKxgti2DeBivT0coYLKPkB2yG6EQoAVCC7YbUNA2GhsoR0Km1BTmSES
K8gh0lj54LXiMpFt9aaSPpBdlQ5N4uq1/zHeSJV7IRKSrSel9tbcIpjypNtC3iZsQntiti7L3vS6
wVc6V4jsM6kgqkt1ng08gyevPeEdrQkKNidjtwvZdFzkZ5v6k4OWOVogTjBdSZsbVsLE99C9Uz/C
4SssIn1BphIVq9TOTjZRFMUNCBiRekzlZnyMak3RgP1wkBL6M5eeKgdR3Ly1KZuJGtlvy0Gbd91K
DkKbBv1EHZv3+buRb7rL3dgdq9MmrgELrSi+XETbWAfn2pqVt3W9Oo+vofSD/Ob3xAYlLvqR/gO0
ayxRKosOevNisukPyDbthwZteY+U7ihnb0O2ay6TSRfqux/GDzonhNng1Kwh6vLEhkCerY2OgT4a
t6YP6qPYzAQgfNlCS54lfdFSbRkoEM3hy0JkZLiMKXK1ZU+c/bCrWbyFgdgBzASb0Y57p7Y1r9mX
m8sSBIpVrZsdS4TDScYymC77H+bWuNP5/Xaf7UHsnLgJxjZw1PJeGX6+aVDDFKI2bNCbbnswbke7
Ivunc8gvIp6TzG5X2PNK840+py0UU6faQImiLrIy7fxRcxgyrA7Po51tyaz5WUGwGm8k4tLSOGDH
LgV2Y47Fd0n17Uhhymt9BB4+UZEQ/9ic0kLX9sIiXxMcvu+wyK7EOVOUIx8uGKddcQszhkxP1UOU
1J6Xqt0J0J/csncy97IxidBiPuQ0RAwtjWKiwQ3xA6/wAeAfcQOq4PIyON1ttGDXDhmkdQuFTyUR
vMmsvleKOdngbryEfbvOnvMHOXYGSHTjD9I8huRGmq3KfonH+UKSH4EdrGK1PfIbU07Hi/QBZhhE
ndPJSpyprohhtfxgUrCGeTRisMaGz6bZlcKXcK6Vfg/Bnq0F/fpkG+Q3snKX6BKiys6WOU0nYEI6
k3PijwQNInQo0c4Mx8yhwmbUR8GPPA2YCwk1f23vmZFgusi5S28SEC3eVZ0ATwzasQbzztdLb6QA
Ziwa3Z/8ax+GvsiqQyGuldqvTWfgMJOg/Yh5/ixW+JZDkggaNnlwe4UK/pm2Uln0ZhODNGOu5CX0
uocY+itseb9n6RVXlLFJhSItMnuvxGNQPtThR1i9hLOWv8Xp9u6kHRL1Xa1/lFTH1fiBDFcgA/xG
rfPZDKbvpPX0HiBa5gYkNCIVBWIcFlAZ7OgJMmV9svPGuciL2RluPAFqa5Jfe1t6NKO51N122rwI
XsSyZlVaRQSzUOo7v9SqdRbmZMTY4nLwapIirHYFZIilY8bstTy9dvpc0X6Ih8tD551ZwXFbW0U7
L2aU1C3K0Vnpze6pMGMjJbMmjVcU1icu6IAcE8VVAatoM5KL1cz1k2t0PlmyEPxMH2oteCej9ktp
119uiZ24XKA8Ow2h8+Z7ld8Nxu4kv12QHjHbdQnrQLIeeZkNmwLs6DeO4CBkdYwtPK6GVFLKt8UD
C3xeQn34kdKvMkZhWQbSKuE1VkJAzBNW02XxnpZz/aDtRDu2JKInmS0Nq1tTWQ9fRhtYhRU5qg+A
Btv5ih1W/0DsjTMTl6zNdoS+mitTphXYyhFtCQ4j4nyMErLh26/9C+83YSVe9CaXTBXwEULPtMlj
hB3PGq7zf6nKc8hSrWTJZMxf1TwkTCnpqi6UAUq/H+XwzNKX2uOxktdJ4+d3dlmtJcXNxKU2QzOG
ShgOUW+zscII7+c+XwEzp2AuacGw9piZc97xnsBMTzFhwmJlX8iUOhVEuhWP32BstAbuU21OtcQ1
fsQnPhieH3boTnwkYyK/kzElYL2mBNNYL/QXyKdlPS720jxwzDvTMX6wotmzd2Yta3r+Ej+bNTDl
7w0LQDTnrZOlgTtjH5A7VIl4BxGj+Z15lCzOj4ZbEeZJbdFYYIZ9Ed3TA3lYnMTVo0Ay8/OZEsro
yck8uOyiYDWj1szNBWwAL1tKWIRA8F97qtrSXbscHke3PoQuiVuBL7Ogcaqkdk65Z7SZ9G4Euqcu
ZFUQifbQvSpn//eV6StNzl/rilNr+lNdEYJaZ8h1jhbbEexxLS3b9dSHyPl+OIHOz15wg6GNXQJ7
Mm9cTj5vnUJ99ZB+p2NQv6oca9Aj6ckZCHSudcqjDIW/zShxUr4cbI50vCQ/5Th94cK12ugrhuHB
gJzAR4OD0WYk/zKDwtt+PllU55COYoq/p0K6CrwGaaUV7KhtUBCl143vL6DmDhZs3XjxVmbZY9XG
NMBb892taFMn/c8G9B9P9c9buRY0h0TAXJSGW8nYoi6lm8uiDVd0niZjKtvExbgaPco7Tugpzmk3
9QJOXugB3WTx4ixvCYtpyHKc/Vmw6PfqIli0rsqOAGsEfxZ40o5SBTdf2/WRMc67oP3o5vq65Otp
OIF9K5r6sgD96ZauxANkd9Rno/tZgJ4qy+18EiR938P4sn8AyRupui5rk9Tv1wF5EaOq6eNy6mGw
0+QWncLmbIMYineM3JLdwOHzm5fgq5H3+ZqT7uXTS6AIYYE9gnubfE0kFpj1badY+ZKjbLsPOc/U
bntPG46ZkAMDWjDkrWG4zDjma3ye72xW6q86m78PH11SMejQMkKRcqWgMND9GUE0UOzfFB/UA0vZ
lr3UJe1tfGAfz6gPk3l4nzE9kVL9YCwUkZk1Y0Fgzi5tUHvnD04dwV38MtsUi9RjZ/BYpzvzFuKe
zNKxqMAIdJbg66/xGlKgo1EoQbFr0Tl7Vu8UaD1QVDgxPNBL++7toJH/xetBZwgBAPJDbLNXYptT
Djo5N0boxYpHEvPI2eO1f2pfJeY62NfsUgZrtpsaDKF7updxtRVOuaKPsZBXvUVVC4L0D1DebIcA
ufwQzu5ZPJxi9u4AGy30QsFauisIDDhQF+geJdku1poAm7J0aLzH0GpIvVhlLxzUoDVpe9K05smN
Pi82KadUVnr1cKINfBR/dH4/H+f9Olmicb5VCXfappv0BlbTjMMEjpHEPTks/5yF9/GW/ZUKCouy
mt0t2GyzKMRTq8WJXc40CyJP16NLo3iR/hDYLW9PFZXY84ItV8f+ufTbYJlB8yAkhyeA2lAKrMHv
6Ri48pKf2y1Xu535VIC3M/+0Y+XsCA/AncHaPxH8AGzZPDFb2GIYP0aIU00HTNBTSgDrZrYJ59Pn
QGaQpTsBAcDlNSKG1A8INHfGp9+/U5MD7S9T4Kfv+OcY+PROnSJSMuuI71jxu3vBhhN8Iy/oCeNw
Sazog8XGqaitIXNnPudbk57C+x49Q0AxIaQdw1q9Jrvmm07s19OLKmlQ0xQZptnV9EKkS1DVqQTD
wzuTSkDxyJgG173iTPubfhO6384u+tSCvF4N9E/XvJpe9JPYjfHkdyKcKLnX3IbSZrgo191S3+dz
3G/mbefK9Jw+6kX5Oh0zggsIUWuqZJd2T/zsYJ0OORRht0PVQNIqW4OpYDe1Os8IdwkaoS5z1+2H
fSc6l3syIWj2JjfDpr2LX5NnKm2cGI3b+p5jvu6mDdKN0456AvU4Kk8e+2jVqjxtrex5eQhKvVH2
wbKXF3Lu9CuJwEEr3lfbC4K45J1DHJV3n9aM3XjBHfwvWfSzAwwomReo8zsXoPJNv0KZETvyetLQ
wdliF65uwJ16p1ttrT2NC3011TDFh3LVvEyCDDwOsXVeXTq2XYYX7GHCFYFPXN84p9KkSXawlH+0
LHi1FdzUD+zXxy1RYLx4C5Vqz7QbpGKzYVV0EBJP53HBqw8Xf7amvKshKW43mU+63EdyTzwdYggK
xFMvxeWos29WSvRzxOXe2Rf3JNDOvMsWVBzvhXCyZ0tKl47GzLs9WSQcI5UpUddD24HCKfpsqz0K
v826djVPpfNoaY/Dmhr6D6iR+n4SRJjLkt8QUjLfBRyPMz9303t5Z847ClsU/Db5fXB/2pzvGhei
zp6CwYpcrrXiK8vgQ2X+cqFp5w85zexoBwbGS7fZmrdXBHLGFpZS9vfu/6+GrYFJUIGNYrAxu3pV
RkJCC/DGzNLswhQGWYASh51zQC8/cjh7d98oB2FDffGmfL7k1ZsiSGZa1B2XbMvHjJzk85IylH5a
nrE4IzcFemO8UXYZLsRX++Zwe8rey+QoDZtsEB3RE51oGUt2N7on4Y7ny5oZvZx61FOXOx1B7JIz
17FeybjQVWCjNkGBHZze2qI5vhhlN8EKiL+GZuQTFOrOre/6N+lefoTgXUUbajv5QB3aOi85IIPi
8GHYm154a9rn+/OunNME4j1sKPiOlpCthI5uRrTiND0NDsjPNlVmRFZUmN3hJfoBoVsmFs6ZrbXn
mloyDDk7rH3l2dhMz5u2mMNvl9fCfX6gB0hKUP8owspzzkBZYZ5RlVqlS95Wuh5zeZgqfGW0mHIt
/h97Z7YbN7al6Vdp1D0TnIfbCAZjDkkhyZZ1Q0iyxXme+fT90c6ulCiloutcF3CQOMiEvYPT3mv9
6x+WHGHD4EB6ERWSmxYMy4hTgD0ln4YCF0e6t5rvTID6s2q0VXZdnnx2BAA8PGSf09vhviOvFY4U
SfHmxhqvomPMFhJ+py9p8cHtsLcq8bt9GhGRLTuiw9WTqH4XtDXtnbbheW2TkyAv0jsIbT+gNgXj
MjtNGz10kDU5vd+HDne3RQD3TmQ4s5LLVZyDgm1qYxGTQdZs4WulULMObCvNC2bR4WtgrJqX4oX6
PwNVZJ9KSVRa0prA4cNDHnA1WehwhrBNxzu3xGjXzh6GEhYDx72+gMdOTyvKIDeE9sSP0KfgFIDr
aq/yIrnyH9t+cdJRiEYHOuKJKSP+rI7CKXlg9sLkvLOZQOSAJ8HCoO/7nsIZ9Jfyi7QEoNKeGJro
zBajZ3wndz5d+DQ79X8R6y2zEBaEzP6ZEvl3TPdafhGD/u1UHeAYcpCdejkp37zv/bd2rYUndE8i
B/uViKdM5JhniVlb0R+yjpudbvrQzjYQtq6LE/ERrWfngF0mAfaOf2/9nAoK5QooowqvWm+j5jtC
NxPL6aMVqIa5VPHcvgKsW3lXl5SmynsS9Z+61dSh4egatqVYHPF5vznzM2yNjS4WVNxJ8q1AA7M3
X8cHBfu3gDKp3yY7cyutJWSXk3qnFBdUYz1ehvT6TmeHlCcWP8x4IrCxmJgNVFk2wsTfJIIL5cnH
nQaduwnFFOcnUYaH+v6n1mVuJUT/UAe8mGtCrR13N7Vj+Qqq3mpcAxQV6zMT3dfObgA4spcJG+hA
YJlcHBO722ApCZejdUobI/1tedHy69IPnJGMWjckpKuAM0YOzLBQYHa6u2pNFBNfCK8zt03BeqF4
vlghTc3F+2pFN1HT4eLEjVGludIqLqiOclKkbePWO+PJuTHtdqc+8E0xh7m0mvyeqj29Mu9Wm6ut
EpMA4iRhtdbBvn2nn7WtRouy7AnNWRDgNxU3wsp6svjUnf6p56DXYNdyBlNHTX3upZd4Ih9/cv0T
KZg3A5X27AzC0HGIPAN213hr3WovQmGH14wuu1fmzjBosSuCuvHSOqMDjaDeTu57/bZ09DWjfnAK
yVFuKTLOWFHmd8V54rJ4j/kGpuw3MtnkhbVjnAC9dDzhHyfAWBRuvEMyfJ8oawL8ohwC7YTTYQ45
8TNBeyeq4x3+kdQJ462Gen+xA00Sp8nYrbu85G+lfSzcIQ9iH4Lrmq4Q9Dg79iOffGcl5wwOICzD
B1bFlbBhlr5NHY2cqu/ZOlgZJ22jHYrT9HIUdv2t30mv1qpbp1e+w8aorLWViX1NQVFtHZnN7Rjc
bemOBppN80R+XLc89tcoGb93m8K4UEb8VhLP3mDoj9M+hMGars+1HKnRj1Ghu38gBIySfgavNZwg
HGJf3LO/zbfjFoPOA73dYWI511f9vljTQf+eVX3XKeOIJ6HUyQ7JfQdGv9fOEl8epGMque/RMVr5
DtUuqcmTKgSSLHzwRXpInMBWz5MlSmSnvwCAz95tckEYg7fHh9fTxNTZgk6Ki5yGA/T7jUtXG73w
9IKB9K5ZjYcuXcUHc91k69Qm2hTckDoCmIQivDnneI4f8i00UJKkHXdbrUlkc6BYONVjeddsWieh
S71D9AJjaKo63fVwap4mv+QtiNtKffScyY7ePLa2uKrANRfKg0DL4F/LO+lQN8upjbP2nbGPwUbv
oO4clQeQBA+o310X62Cd35Y2Qy/8G5NVdJ6+5uTs2QrDc/lm6v10qqVw24hXExtxhbBThg+zNNcq
GN8I5Q2xJVF19AIUukvFzouViSizpNhLr9trV9zmNs82gU8ImyuEtGX7P9RX88h8A9//CUdeJt+i
M3XBZJYFaR1MDvBq3EzPc+pNcPm9GVfjPaWPd52fGK9ilLfGUIs82O/uLenRoiOsDeDtR3LNkLc2
S7gVmLYvZId4rBs0a6RBL6I1RcbL1EEW7APErVOFjSvivIFhVtBCl81BORIoUe/LVWdL3wJG3srS
WnvLmDn7dC5Wy/ChWPt8NFAKFvkZD8Jlj/qocrRl/og57sS0kCA0Phv3g7Oc8ALlacp7Wxrbye9H
sKEy7SsbbBy2kY02eeOe+3W/Q764trbFnbrPanDFwTYdOIMMN/3NRAQdns0VvDCk3QcSZIP7fjeZ
Wyon95YqIabQWpgP7Eqmv5rG5aYTP6ZsdcwQ4LuuNOw29pNfYnCdECWHz/ZSOhq5w6dRntqjYCNu
TiAaEYmFSebkBUXt+33C0f8bofxfIc5/TWYW/y7EWTyVz08/s+qdEIc/8bcQR7NQ21B5ifJEXP5j
CPS3EIf/RKWGF4ZpSKJFyPo/OhzlLyJFQOYMzgKwC4tt5v/pcJS/Jp8yjIIsnf+DyOd/IsT5wN+m
s7SI3gAHxMreIv/u/X7WJUk8moopLP0DTZl3nqSvWbRiMOTekgfV0lsb2ze35/rPSfCWjk/252wT
/b2ogbWohDkKh/xsE611V2rCUROWohn8FEx2sKhuHML/COMjoEtiiJkehQ7/5aYW15aPNiXeMSdx
iCSj5zYx6TGW0XiWEXOIN7UZkRDV7LQGsmR+VNETF/hgynQUOfxEvSqXZXrsleuujZ6GoFu4Bazg
GPosgXSV5Z4lRd+1nvlkqST8TIGDXgWpsjeZXV37vboK9cy2GneN4J+KIM23w4gDAPkaWM8vxxCr
aBG+AeHHgZzb/ihsW2jHTVpvslFaFy37aSkeYk44DKEHJqkynNtygWEBbvMMAt2CnNRqUULY6Br4
NJa1Vga82eR6ZwiJkxNN0an0Iv4pDMAPffHeM06edZUq8WYQtiNsSPLb8YB48vjuE/QHeQmCyVS2
L5EPtaQDx9/DFkKufh0ZwT7wWydXFHZ2I76qUscsHkr6rQTGWlKKeCow7ijQOMn9XZv79+TwHAKT
rFk/uAsKy8lcwS6GdqG6xs6MgJk8GHeEz6om+w/ssdbTdxa0vD7SbNXFqiLf5Al/zZA+hmp+06fq
HbnDe8Qa9GGy8NPvk1cKBluXhqe6VVGcC5B8k8K/4c0hlbEqt3Khv5aRRL1vgsXCVXEzaDy+xzTY
KO0p50NCSIRXIu9tBtk73hIPZkvaz14eHZMzJa4IS8oM2PNwiKfhLX7B3XhTD+OPXLrrR8TwMhxL
/Xs9UUJGUm94ifrnevyZggKSA3K2Ov3JGw2ngxMWGXCib/Ssh2y4lpr+UQJFd4fHcPIh93uyA240
xXsaq9d89LGJgLopFucMGLjlCMdnDU4hsDskRkFRMVwn07gat5JyRV9AyDw0L99aBSzmu/1Whtg1
VNui/JFE7n7opEUWKJu6fPZK7xjV2t1owGcXKxSrxIBKWnJQs1awZZMCXmwrJxfLIwE8NxUs90aP
XAbaxbmqrUdBJyNPgXerGCc3KrYZeiIl07eGqV4FfXdlifwug8lElNta2W8ly9xTtS5jy7tW2/GM
F9EZnelhbGpisTS7jvStlkYr00uehAA+cwXzzr91Ff2pJanMDUK7qJt1pBjP6phcE7t1ULRsW2Xy
i59RSMjSriDYoRqyQ6apJzVI7aisXjHF+iYP1YMqjhvs1K9xYXXiiKQIvzyX4g79eCINR31Q9qFI
TM2YZ8ta6eG0GtLKa8GYKdxxNGvNYF2a5s+qEA4Ytb1oGW4vo0fQFVKILlkaXbkiiy1Y1IbGtmMd
+jFuFrn55JeQCtt4nTflqbNMp9MUp8sTqGIn1fRwPYFWBCWd4CaRDKgCgGBQhL3mJb8aS14mvv5E
n3Maocmo8nUeGysrr25K+CdDZK4LVzlGEbTEr3fYz/ZXa5pe6YYpclNmm3pDgJ/QkK/3e6AGbXZN
9e/UFyHKD8UwDbwoaohB8VFGs/27E3gDONSl1TSFl3kMGXD99Q7qjbueBte+/RJsR2qkkK4qXQi7
dNyRlXRhbjgfG06royJVRB3xvqyrUyf5ZvXSa+rW92XPlsDJtfK5JfXy933835Lmv6gavihp7vxf
/2fx5D8lT++qmukP/V3VGPJfeG6qGHlR2+AFYHLz/65qTPEv1dDw2VNwUiVNZ+I8/O2AKBt/yYZs
0DkpKJIxs+dP/V3WyOJfGNyKiIKBpSkMVOl/UtYo/LK3KIKqUnOpvwskXZXQws2+gAxr0j5uSrD/
uEBeQwgpQdHY2bNdEwmvlrWCVtigQ9DD6uTmBepZ4tBOedvJt7UeWkelTLN9RDRLmAcPWhn5z3qs
0TkHVWGnFeIGV0p+kH0NKS5kYlJ74yEiA/6+H9MCEFYoalvTU39vhRk0ODcmj4bQD8t2K9LiSst3
3jyfT2qqGVw1XS8J64BpqA4VFIgz1CAn0b7AfDFygiqR9kHJ+YjFyo9RbfCXlfzV16tZ06f1psWf
lgOawjAFH0U+wHmLHwqZxRC5ipyoUsUl+QvApS56smbMQFPS0UIGEPoLsh8a1AgNaTRd9gjWhI5G
iAnWbYhiaf2fIiEYuZVh91DQKuoV4zDXh1oa9SJRyYivSzlfyolFlzP2uxb+fR+RKxMQ3LZqK09f
1HhpMnD2OjqnWN1HRkvMKEfft1FK6AKJW15Gqtzagm7VS62LgW0D/n0jjtdy566DBh1BZZDgG935
pfgSBcIm1hiE9VVlj2J/qGrDziRv20NYd6P+WjUaMs6TjFlShQ+rJui6ukCDf99gnXUTJbVyrWQ9
nt3mqxWYwqoTKDRMVcieKnlQVjhbUt4qFTgOCdmroWgGmKE6Q620RG5Tav1V0Zu/DGxS9nKb5Avq
Ie1QysVArqAg2f2oFk8j+X4IVeTEPVhWo94X5Go+cwOlRUyy3KYnVNEZDf9Rq0YdukFgeQQcDc2d
74X6VsAnGxlQTsh0XA5rJdfvrC4jElkZueyv35LZ/vz7JUHeL+F5KIKZTPvAu/1Zak3PEOvYEWWz
XaoJ8JVLxs3Xi3x4EyejVQO+EllQpsZc+f0iVtmHrgCDxOmg3FkFOqY4zLfy+DqWTLqHEc17dmFJ
yfzwtbH3cbJilQCAbfzO/np7ZSMPyfI7MXAIVjIJ6jGjbVwYK4+B99mSoCQWLmIcDRRzh6UoSqdW
Un9RKIpETw0gh5XIW1ONhEL2nXZF1X50NaOAPBFZtu5DkmSYMGYDFqW61jia1kM5anNvaQ7uQU5d
YExBNBQqtcw/RIp0oyrRq5KWNy07EKNRxUNwMtIpBMma0FK+g850N2bNWFgdTmzdHtp++pslxrAF
Pq8GW170a0ijLX6vR93A2rQW1JbQur5aRIIoLoiqtjtPgGlIAbpOxOIuqSRhLxcERJoQbKVRf0H9
jvqmKKCNILdGudSZ0XVvNto2c2sQMLIQXqI6ZvYeyuatW6samZI1pBPpYbSM7hvxqKFdS1p+l7Vp
TStILX9UPQr7tDLFg0iZ9CB3EZBXnDCg8ZqXrCN7tq37DNPQTob16t9UurAlWRBzUhju2D7aVNnN
z9qlFPGZ4uRZ5K8ysXpo/Dx0Br/uUXEo33QZ5nUep4FNTbE3NNh+o9Q3S0kqNnqu+zf5ONhVT6w7
lhbSWh3K6Dbv0JB4oxJdNZEMuufG3nLUZMSabdrvksJUN0aT9yfe3QKdbSYsiRFBbe+b3tk1PUIO
g+EWn9TkHEeqh3uqTwOhSNG6mTh4RWwF+26UtFMshFvTjXCgGpm9SxHzVJNUpUNQ6RNSz/YbZSiE
dcSDMg63P2AbI/UKR/nQaoJ0UnQYyEZUDJsUI4VUneanvbTCaE/dZHmxjdzoWUwYZY+F0NpdNyI/
DcfH2s83PuSjsgqx5WrCh9yLKJYHlFym6ZGr05vqNigQ9w0ShrSi5Xq/mCO46zKlPs+iAAFMM3ar
Msb/G404mbklJLy6ulIKtXICGXGyO2AAkVilQjJwrm8qKyLPysKjwfVkJPNF+TrmBiT8EgK/GI2g
xi1v2Nfbh6J82KUMBcKjykEm4QpszE2VcPitc1lOGGk34TQNrRG35jmi4qKFhBbKCGF0NWWKF6Cy
1UEOxIEyIpKqyNZE78rQ4tgWsnurycO9F1bNftRciMYhitsyIgos5Rjw0xC8002rlQaqUIndTgza
Qx4yTNb6kVlbr8fnSNBNTBE9uOCB1UI78sdguO/1Ire5ne1BqBEuhAahkV7mounqrMwpGx+o34Sm
ouScm4GoGru4LfUd+bsvYmTCIM30lqUJ18KGWbkvTanahS3vqtyjkLMSQq9VePEto3PriEs1IcrU
GbdhJcMD8xp5jUkMIvCwihddPlz3meh0NcOIUH0ycqaqQarbSabcFGp78KCHI2JNH9DQk/zhyraZ
Bc+U6I4UhcdkDLaNmn8LFQvpvP+AxQwbSHM2Ch/D4EH+oRKHDl+7OfcM/L1YexqUztwS43VVDsar
orc3XqmDGoP3LGrXZa4vhg9pnjaOKIH6NiqzcVWKER0EIvnjqQltpqxyhK2ySQ9Pw9e1MFWUkPlx
2MXrGiNQMtvZa+MsxJRCHnI0LxlzccUVYYDhTwHg3AvMm/PKMBZ6zPC5Vtuc1E893LceEWxpFxe2
quPLTMD3SxinzI+LNV/DsPISHaJADP+46BGYVap50jtkHsTI/8KFWFxKIU6/uVkcDPy569CIFmaH
9tWLlccyxgW5zSH+5DXWW0O99gPEC8qIHj3N62t9bG9dsVoY6XASPFTsRVg+4pv4IDfBSlTF75Lg
NVx4gzBJF65pos5lJdhpIN+YIdtIpqj9QemF3GlC/v7Uf5GtcpP6OayZCotPvU/sXBK2pVSsoswQ
l1mdrURkG60QKyvTVzcN4+NEj5/7aLgzc7LUwDnXapygkSMvnqbxinojXGgFZaChYeEY+GtZ7XZF
Sq1WjHKz9LoJ2kOyF4ryD3ciThEWRihfPv2DcUBX+gctUH+6mvktQL+T68F2CJCDcH4ddLPapClq
30FC5RMGkW2o7r3YS+tMVr9HiXgWs/6UTe7VqtevWgXPEzdhhJu7iD38Cuxfle5FM66vYt3bqgPZ
eWPQkZaZbHxcEIwyOqouhEXdwoeH7z/thVXYiHeSCSaYaQVkIvkpN9uWALzSW1RZ/KsgyE0Vi1Wo
Iog3erc5aCSIb1Mdx5OwIsOyrdDv6R15hHqr8HJGOsI+l2QEspNNLIgivF3b8JtsxYqt18m5aKK1
6uovVR4zAy1xkYlVonuDpIUiH7R6+q30MPkuVYgwQI/giwHv9iCaPlszc89G3lpexCHcpeMRX2AE
8YGZH7MGMkIaDncRDuXLTDce5T7dV5r1YwjxnAl0+uhSrg+h6PvroRNIOsmHU6bKD2XKaRCY6HzG
3tWY9qjKqRrMbl/rorYJ8kmPy1e4ZAc6aOL0HqXKsSiMu6Zt7mMtQnskYYog8/Ux2EjRv8XdJpZz
PGUZw+g+g2ewrkNFbLhk4R6uIpssOwYnnXorQxfxY7hGWmhyytWmDmIpPqrFuG1NP167OsIJb2gz
KBYGjBWDnO1FYRIGH2WtgQuE/q0bTAIUU204B/noZH54o/aYGn19osydrcDmZZlyVLT4n0WhOGNh
BGbKRjvidlTn4nnEZS0dfUx8hW3eKUfPuEqb6Ci2IyBTc6Etm2rdd12ZwYwBRy2RzuyToNiqF5NB
1NADqhgR6egcgOIw1xAuXOEny5i6MkE+CgOND81fOspAhwK2RIRoOr3yFIinBuH/hdv4cRUG4JZp
KegRVNxlZjOCQhmMQtbyHBVs5hRoY7syfRF7ZV1Yd402OEIab0UdtJj6pjbZ9SVCT2Vw8NAFjuv6
7ILJrvxZoSDLdL1MS6aGYwYpCHj7dEIAQRjoEDEpaLKYBZuo4hSQs+KX7IEhlMM9z2ZTpi1B5ejl
/aWvaWTO4m5myddlN9k1jdvCh+Htq94q9hhgpuPI9i2uK7nbumpgX7iP8oeXQlF0zdB4LZi4MJJ/
3yDFLRyPptJyB5nbNUE9qHhLmeEnkCdzUyG+KSoNH4GBwlAucLIJUFcL2YVf8cnDVHT4ALyVqjnF
X7z/EWHTFrR/eu60qr6wOAF8hJbV8PPra52RWfjyuNQ3q0xP8A0g6OFtaNXddKnFA6Gyy4r8gtyy
peI6BuH9eq2PLSBlI66xfAiY4gGCvV+r8ywXR1nehkrz8QrJrmBq/qwldPMUMV8v9dllMZ0jbMSS
LUP+QOuymAJphZk7nJ9QVbD3RgFFFnvXTPYq0oXVZk79JORxWYwD2UgMsDoe1/srG+TAqGPLzZ3k
G645wkG5w3gE8qMd7ctbUphfigdSnyeCLdy41deX+tl7YtFYa4ouEQg4d+qyFLOK3MIrnDIXV21w
N5ZE01xyyLy0yAQpvHlN1H7IvHZgkcEFM3H3VfiEBe+F9+PTh8YuzHWwI3/wAvPdUCTrhqgGqU+3
Uomvn2/wxiu7HnVsl0brr2+cNKMN/Xlqb9abtoE3FzWi9nARlxYIOog5KK8jUAfNutfUJ62lJhPC
K9I8j3HZLML88cLaM07MtDYFvcS4GvzR+EDqt0K9s1CIF06Q06e3+b5PKieaWv6MiViQWQclk3de
I3SbvP7x9eIfv0OW/J1oMFHmPuA/9G5ZoAohYz6XIBQldZJ6J1ZTCPJ4/fVKc98xLlOfzN1khRcT
cuU0k397i+M8icK2Ngenm9gUK1JAjy3GXMkkq9hfGpLPB/N/VrNoSrFWm8b8s89Q030/dQVvdIZd
CYWo+0XJAH0Guou3BP9gwvf3tIPEJsKUPsGQ5ekC3tcPUzwEhy1EBeDzOWiutSK5sw2ydSHAOML1
vWWaJQhD23ZdaJMIasRE1tULzY6KNCP83L/RcLO3A7HHn0wK1qqc2rz44DoFviujuA39fgDWavZt
mK1NwrJXNanEuEHmF8qFaWv/4qfPFX/yMIIqJWHjNMb3DHEqUNvXT5/J5oUlZju+kea9VA7y4MTd
oNldlR+aIEd9FPTnvqfWNMJeoIPLOFv9bjEYCsCnyvw+cLv7zNCjk1GMBxAhaAeDE/Z5i31QzoRQ
aTZ1EX8Ls2STeuN9QsPoJrjrFGV/8siPsFVN2SgGqnGDTDW45drWKvDCAvdc9lF35+LUKGiE7wbi
PtCSlTAgzW/HbWOFNy1mN50eLoNcQAySgp23ong0ouphLJXrZkxvgABT2ES6tWoMqQZ/L6HZK8MN
Gd+WXaY6w+VR66INhnvuobNcQlk7r5Z+DqJgd6a8TTWI5qY5YpYRMWGsy1s5UqBX5PqrKlgkSsEU
zYRTSEhFZkHBrn3cqFwMZfQoAs9OuVMWIHgM6c3s5emkmWpXw1iJCQ1laaotQ2jz0Jaw+y0SLrJK
eoY3uwA2wpqtZSm/KXcUggzZa+PIzykWHQDkKarS3tYTD1GI2erw0skr90rhujdqDJvca68ybjjf
nczqfXLbUbxa2bHt5ZWrYdiVNI9doFB0AtyMbnfToIZTUkItwuqVyu2uSYl3q2XVUXXGO6mk51hD
NTeaH5k7cQCPi2A3iC6dFD/BXcSxe9Qr9dBJ+XmEP5GMycZtFAxwJohVN5lJBEOw8bXh21il15jj
0v/qneaA7bRk3jfQHSr9Skl8cdnItbTgO70J5VBbKZGFdytwsWAcKtO899xhV4nygzJYxMy74YPk
pa9SMzi+RNjfkOi7xIdbV/bWdad7a3+oD5rWMe7yYTcjnvFwzcp80JFwrJ67RC3OQtruvKLA/ZNJ
1zJKredm5OIyiKN+l+40ozsnGjYZSjIFrqDCC6ud1KXKWnf1K61DaR3GXrSWwkpYZbUH40R6ymXl
uRFUpN2VuOuxLeuEbN9LWfqie53P5l05Hcg+w/ah3aN7Zd/ILHBn3XSyVF4Df9wUGQL9Lk83CiZf
cZ5BQugVCUVB6lN/d7isWtlSy3gF2/6lgamzI7jlB7N5BvCGZcc6XnkiChRtbDea2hqbzDV/qHx3
LV8gQ5rUGfVw46ukSYuYAFUioyyir8plI8HVsDAqagbtgGQauk0aHMKgOAVjbueysU/H0iT5bBo2
1neGItkAi1s5JggxwchcN24Ym0MjZ2sdfEhGkvbDT+QHNynPneB+N9wqWbtVgecCw0m20OFsDuqy
9IqnwHTraxjSHYbGA2Zh2EC54bJXzJUqlatab67TOsMQuM3xDsvCe63p14Ig/NJaRFFjXiS7TO/d
C5ajl7beWeWRklJaKIXLqZFJSyy+Yzy3vt57P854mAgrMuEMZJIybZlqrTe1TQSLKEhyfCz02MiW
rZwdTdpqFKyOnG07t8Z68MJZ/0mz937JWY04Rq7hMwduEAqi5dyibTqkDjGPa2AOjYM/usf/gbiM
wQ738S6/r9ny7rHEu6RF/qQa54eoMjTBiajHvP39tVdxpURi5o8OQNzJwBDKTjF/Vn+0uAhhTrAI
V90mXcm/TUO/vuuflJTvl549WNWMGLwNJaHSk+eiBfMcLOWQ3dEuXlYiTOXM/ACn69BNhnjYD8xR
k9IqJSMdg9FJ1fZHIKhbl6Jz5WvJNlLArRTNt/0hg6CUPX19mR8Lda7SBGOYxO40iLOXyxw9RXaN
aHSa4VGtrwLrQTHvSjO16/bu65U+vcQ3K83eKUOOOk2uKVXDbbstjsE62RI8vr/UQ80STaYG7v0V
zSrHvhICK064omFdrTALIDwH98BAX+LA5P3Cf+12og6LGzfbaVQsp0va489KVzAolV5VJOVS+f3f
33yvvacqoVxNP2D5x7ESYTfvzuTshSyLcZT99Y39BHLTgWVg0fICMcMxp47vzYLWEKdsG8nowMXf
RbtyHx2wO0HxKVyKEPzkGcL5Zx/ihUEcMB83m0VotWOaTs8QR92HAKOsbJkcNcTmqoN1lbRKbomo
QhoE8zpdNxeq0M96kHfrT0Xq2ysdVUXAOQb7TKSAhwq+OpLQnXn1x1zm4o2dPvHZV8lycGkAMhFr
zUG41qMc87BbRmbFZruaZGTSeXLPTpxmc0lc8S8X989q00nz5uI0GagqduOp5fnjXY3pBBz9yVtG
wNP0wktz6dpmL41kCGJIpBnSmofensSRGV/HpBvw9/Km2Xy9mvxJ9wCzCb6zBCXEoFV+f22QUPQk
sKrRwSvJFr+1t/hclNm2uJ+EEMqu2Wo93gHKFidS5IiR8/pa7dGXwd3/zy78n58ytwaABiJIwbQP
tVCZtpN/tvwjIfaTN1jcxMv/pG/GDR1vcB12F4y92Q4r9LIeGSqdrFFOrtZLuVpg3bcsR7wxyt0k
q/j6Xn92q9+uN9tnu6JKlaT2WidmQpbk1z1q10pCioHd49crfXZEvru02VNNBE+yPINLqzAB707B
bjwnW2+p48d/8Vv8CFvpb9fSJxTmzdehSMTHFj6XNdklS05zMpgOPk+2NWSqSEt0tWtSMS4ht59t
eG9upj6rP0QxIufVDxhzTRTPTb2JttPZ8Xfm9L9iD5fu5NxzJSMZMLemO1kj5WNkrthIqvbJ1kKY
d3m1j4jV+3s5g3LUwUr7Jglb+qvEUSTJsZThMRWaH1koP4cYgTaivm9G/Drc4UJg+aUbOtvkRjFN
yq7N2E7XU5JetP7/M/L5pKx597bMdrdB0AIIHULDQYEdbcGB0d3LlK6GjyDM/fX1d3Dp1ZydSokG
IUGEg+gk6Tcd5Xh4HLQLAbKfL2ES0qRNQpU5+ObmYhIyKRwdERdcn4NIPUiRcaHRuLTI7NkYbpLG
lsbOWBZdvswF/aFsyQfFmvjr+zX9PfNjdVLu6KomMd+af1QFsZypF1AgadamNZimhs9fL/DpUaqB
VpoiicLwwGcbk5cVQaENrMAe39oE0OwndSXcVWtt4u5yseb87DCdLFZkWhXJIjno/eYU5tLYpV2u
OC4atTWpT0j9Yhx/MmxA0lW6VrYXLvATrBKQ8p8Fpx/0djd0haAvA0ym/cN0pkh4zlOcKL8tukR5
Odmkfb3iZ+/G2wVnW8ZgoI8wEz4kNytvB+aAizwggydTL1zZnFQ/le/vrmz2EmZD4Kam3E07bnsI
8bp7QYeNQbS8LG4Q/65R7mOP2S4YLpoP3RVSQ7LZV19f7Nyn58OPmO7G29ur+kbf+QMbZI+DWzL5
gE2y22j9opTo8acK5dIN/rRteHuHZ7uIJeAMZBS8Q8OuRyObraOlhlXE78iUAedt8cLc4rOv8O16
s7pEy0UvCQPWS6GaLIaWf3T/0XcIgC9NzTvV3+w7zJI0yCOJNULiWP5c04i6Fd9XNOaXcm4+Awvk
KWL879XmQXamJboco7w6HQJ+CGRLvLm30nOywjqH1CNq28lzD4KG7i7lC3valDX2YVN7u/hsCwC4
C9sI9ppDurq8c8TV5DL7UuKuay+VpeovLn+TUyU330ffLjnbBPpG1XJYLsRWRDK43KHKzBsDdorn
fdObYjfqyaUy/vOLpMOEMmUw7pq9Mx1MWk9OasoU3AbGLQbfy+Rhy1QtfugRWau0SDA4USqTuQPj
PNp7dvS9tOF33n39hX76Q2CXWGglYGLMydWyCxut6HnUQfLdiu5yes+4u7DGZzWE9maN2QfZZmYn
pzl7rCjGe/ihG8vIr3ON2N8WIHgYL+x8n28ABvwZxEQaGMZsiy3CUIiSgR6pQ9gebOL0CP8pIPtL
dXzgTtxJ5OhCWSF91ixAHOeYNAErmK+/3+hSq5fbVhL5ZG5aJPfiiszmSa7/I7rhQb60Kw8fq6X8
nXb+6wf4+dW+WXnWpnjIFmvyqP+cYCMj2nXswHucDLeXlbEWkWtfWHH6HD58LtgX0MubjBXn4IVq
jUUh+bijWpupW5l0Wvph6lfadeBcAm0/fUHfLDZ7ebIyCGutsrAeELipcb1vFJzTdPlCOf15pfNm
ndkDrHTDSqTRbEFk0rspKum3Me/DH9Dg0kV9/rb8cwdnz8zwrKAEXR8daMPY8XricahiEl2YPvkG
QSVfPzD1wvOaHR5FL+qdEjTTxLAu4acGMRbz+urrRf7lPfzva5rDAVIitDXam9GR6mW1MneZtyAI
D4cNDUTLGbHku1RdXLguY3ZSVLFfj2LNJppZolMIqdPrF/D7f/ms/7mo2cmQKZnoVTJL+EFcreSC
8ikpTZJrcyeSlPtB1xxhyH9kdbJTpXArm8TgFGZMnZMZqlN4yc+qgyStBsmFDefTI+uf13XOhOoS
MWJqxuvqmg9KpK/+L2lXtuQ2riy/iBFcQIJ8FSlRUu+L28sLo71x3zeQX38T8hmLjeYIvp4TE+fF
EV0CWFUAqrIyA/ueTMAoM/TTJxAj4yC7/H0lLkv5x1jc5IakmYYCw/C7oc9fooRDRSMCpum43bO4
e/5vxnhSWBiraF0mjUGRSUcIolQfkAQ8DTwlNI1lcf/OiUANZADvaOKwoPSd8BwakmNfBDHFO5pT
et1wqiSw2m+iV7QSwQzzJyVDMafhgAD2Q8ekEWCP5rvCNlUnfJ+YFrtSM25Zo9w45QiI1DSBvMQI
k2+jwVBHy6oEkyYzPUZq4HxOp75Gi7WAKM6Q7otgflCSTvKN37k7P7kwiQvCJIrJSYzivt33ZGIK
msB1uYv6EqrauAKRiKU+w7jB1irDF0dVQC8+Ydxi4iSpY+YqmCKHcML4NBjmnZHMgCREhepXrSlD
Toi3CMxHcdwfhjFNvA0xl/T2t+VtQPuAAG5Fyzs9YZ+jIXPN+NYO2Q7VdMmpKno7N4ZrNgZT0TYF
6ko4DZwUjY8+AhTJUQd1o7IGKl2QATJrFfj9tp1lGy8eqdwegXY8ZwPCoLWoHs+UaHYCpwXs6ogR
d/QelC14AFGRRyeg8ZtRZo9v1vIIF+ydOiGLAGv1zElnqGLshh1G8SkaksbjdEcfwntrlzwErikJ
6Hd1a27wdDsy0fUA9FXYUFtvMLVpD8B2zQzEOKC003iHzsgi50HtLECTrPyolKPpqRZn/O4ht9Tp
4AgbMiD/w0xLAMIAezkDAeCk2t0jc2rjsc1HyNqaJSOYTsUkTJfuEDS6P0GwHUSTNUaEWjVKvbY3
Ru9yihLzhrgg4Qgv0hZkBUYPMj5Mj21qhbwUgAL8P20gGgFE1TCDDzwc/txbl2/mkTHbdGq/ajB3
rGCSOFTi/X+zwde58ITYqtJICyBE0YCbKCPoV9qSZte7nRJWISTzthiaFBMwkW+oFeS+rBtFpxJQ
9bvLB5d/Xu6UcEsMSRnrE9A76FSCsEo9SfBqt7yvjkkfTsUrbTLxy8WbCBIsCg6dlVk7DxGgL/wF
xw7QVDtMd/XBvhr3muRB8+64EEwJrobXaZigUAR+WNZ/DKlzPQc6QEgT+48fSsj+JZAyVq2lkV/S
9JkVA3Dxo3/Z28Rri/CdxOaDOSi6M4HpBUSc7c+BOJ/nuXlyYnU7hdlBN4svhMWSm9K7loBoU7wm
FqzqaGWW/uhqkMDSNvxLOX6AL9VK/FDypcTug9OyvtNafCldnZ6TosOcBmZI80qSF/iHuOB7lpAX
bDw2mZoqIajSgpuqAzSuT7b5COmj66r+4eiTH7cSxjpJEFtCmsDcY8cozSo/nsB0mvTHKCslq5Jt
Hv/3RSZSwSClalkL3+ggghpfM4wSDGkjOfpkCxEyhdopuaYlKVjac1aBgJ89Auewu+zl7+9RbyPW
EpMDkJtaT+Hm0HKPwfLpse9xugk8Ck0d8O3mn3XMQroYDvwIBn+J7XdHu2BbyBZzkhpqmsEHIasK
eaQjcAUu/QApPxAaueC39UEMdNmkyP6JSsub7Ct2CXSbzEEQYzJP0borZmBqqqzx/AO1xa4OCsft
9GJrTQF4PjP2yRmhxhPl9xmlB8Oqv3Um+WY3OjiMwP5g5VyYCKR2uZNDXt4x9qhvcMpfHdLzYOBw
rOaL2kwdFOwo6oMj+W/eIT5iDXPWYlMrK78t8L3ClwosoZc3S5aOxFfrZDuFM1tmKKSj+WbcO391
thPwsgHKwyng3kaUomLEP3AIVlPiI4zJVa45krywHrRnE8IDuXGCoTFChowX3Dblx0HdJqrExOmy
/T7dnW0I6c6quqDMsrHyy1SFLjB7CcsBwwm4bz0pYfY1ReMKuvfgdyxB20E0I972sfqZNOrHsFS3
ztDcKA0BqWZ/HVqtpPj/Lz/Ohpg3RYsMMh9v99jsMN/KmgH3J2D5u+/ql+yggE5c26OpY0IJhpfh
1M6FBJlkW3gOebcrtgl8FPj7wJ8jGNbtSCsjjGv6lvYA7clE/9G2AOQaD5P6eNllV7/x2ZIhIAYc
vTHN0MbY6Jy2gA2foJJa/OmykfUr3MKK4Ky6bVRmNsEKv8K1jdv6qe/AbaHlqISo2vZ7sKxctrm+
hbaFMjy1Ma4gpGlmh6Bn1bCFA7ti2Q3pQOf1nXTPsbTKILMkJOWpq+tODQ2+OOYN3+fv+lGBrir3
EqyRqwT9oZesHHfoboIVEkMtQF+JXqJMmEYe86b2Z7CEgcRHhzTs5U181+PDH12aEN0D3B+zRVkC
tnRAkqqBC5zt0O2DOOLVtAOB6FHd98S/bHTFJUFmacLtCQqzv6RpFneFdrSUFDkPDK/AddWQtTW2
PfhSLxtZc8k3VgSX7GrgRUMM0IAm9uiAXCPjY/XQDwBvhwc1OeDEj6pxY9OPCnpGOQj6rVp2Wqjv
KhHC7gq/AbRTpQUWjtBvrFLdNJbzE/wS+2AaNzhD9qbaH4NsvCI0fJyN0XcajGJY1Tezil/CALP2
Oea8rX6bNuCkSM3qcYjJJ0cbdZDqki0x4mPNoGiAYRDPTKv7HCLWpC/ujRnasmn3UIdKBHQ+RsKt
CKQTIDTYJGZnA/1hfxgcENIP1nNbYUo9j4HQnIt7c9aPDeRWczN6DgkmUdrsqbJNKL+mpXbsde06
CY1XQ6PXJhLWPIUvUCjF3oK3WNe/jax9CCh9iO3+BZSWoA1PZ1BpzPFtmWQfowq6KiPU4OORYVC+
30+T/blUHTc2wEWvAeVmjCAT6DWIhKDI7cdJQTdBCSFGClKjKm7vUQ840qC6SpzxTktBbBCUP1UL
M1+sv68CKAiiPAghghEDLPUcpq5O6RfWZdFxzo0j3i0/pxgTt7VpKRBPINBWBAlK2UF7APOGG1Wb
t6xFT93q9AeA16H2EbLc1YL0eY4dVzEVyWND5hnC0dv1aZl2g4rhi+hx1hmEV4adwkD0XD1djgOZ
IeH8jc2s18xpLn1zmh6KWgFAFUhcGkKxY3y9bGotrhfp6sSysojrMWqCTKGgwUY5bKPH+Ph0ZxSS
d+7a9fxNxuK/YmElpqjb0KCu8Xaf0W0twOnphmSD4TOwQZe74oZCmcqPtpHsKSrJxgbf6YVhwJnr
uGyRjdUHFZTl/DGaePY93ZpQYRu+oEUiSc6r+4mqLnjWbPwnAm/HJDIGTNEh/VuHAPqKevIlyLvt
5Y+26h8LI3zVi1UNRYtgYWPpNzkIqRNQ4tlQSFFn8OU5ElPrh83ClvDpNDKPsIAF5S/6SdwwudP2
kce5qyuoc2yiY/nx8upkWyh8s2AyWFQNrPRZ3x8dxfJzmuzxgtxdNrPmGmADAKIXeK73d5G0SIoG
G1n6HUndunqkqfIXvgA9BAJGXLQe3g1k16ETmmqEqkGgqm4BoZa4BBuK83J5He9wR/w6sDAjgkeC
rtXsrurq0/uGbBvwvEd3wT5/4HIhEPV0nSPKPDs+cBJ8kEXY2sdaGhdOyxaF9KJA88Ivxw80+ezQ
Z/D6SPbxXav41woxXIK7B0g6RMwEbgFpYJRB6M+dOW/aIaabOEdwZarpRZjKSxP7KmcQxRnLHSPt
18AxjrQANfLlnV65U2Kjzz9DcExiTHpmRDz/a3gPd5PfB902SyA92oDqOJH1X6TL5r9nEeZZFtZ5
qWHZvLBgpCDE5zdXaM7NJx54GT3eWkAslydcmecJQ6AkdUK/hih4kN2OTev9tw0UXlAZVZPCqowQ
2nyArHcY+AygC/ChgQ54KsOdvpstOTkNIDYWhj3AniGCUsLRqLOko6GfW6NHJg2M3wq06kwoIkwZ
RJ2aqDhkGLLD6C/50oWd5MLMnUF4LeIpczYv5Gg9JaUe9yjCx1nudxMEgZMbYmUubSKJpdXvtrAk
ZOhOCe1Ir9TSD6FVzQaIE0qOb5kBwe8bwuoxIzz8HOKq+X5Wxu1lx1h3dQ0IVA4MBSGxkEayoubE
Fshhxl11IK9Qu4DAOnOTGPB48LVJUAYr5Vx8m7M14SJXganLCCYbysEk2ab0E3qfrmnckGKEWrhf
QHwq0XaXV7iaJxcmhStdDt6odszRvRhIXrngpTU2GbF9Y571v8lSC0uC4+HpCASENaPcVUHEy9QT
nwzxQYm1e2vMnlnOZP63/mpbWBQcEMPYCEAVrk584CWje6BQPPsaRKzbQr8Dt5MngyyuJuKFQcEh
2yDOpx5dDd/JozvaVq4SxPNmMMPbqIwexopJtnT944E7CazVNjXEN71dajY4yFBuJcWTVU+eCtLX
Uftw2UP+ZRt/WxGf9Uljjgo643h4eqjHqKDjLt3fLTUu/EElcf0vUXe2KERdngdlQRjyMa8Ase+t
ax8gNQ6Nbz/foTkpgw9J7Qlx1ze93QzFyR4mN3Y8ypV58w2TW3t1jwR9eUNXoxzDx6g2QRT4HSdN
C6zSVAD26afoCMyJ1vNR7AfoRhz0oT6yjkAYNui3RSZrSq1VnHEnO1sWTtJ2nEB8GsI/efGJtyrZ
frozj3/Sqlzf04Ut4UztFAVwqabH0wrKWmCo8aF+wLU9j8UR8sSPl7d09VD7bQw07m9vJGGbOUoI
mlpf562NZl9p35pm2kyl4f03Q4JnlmnQB2D9Dv0SJJbMGbY5y7xwNK91aaWQ/6l3B7UOCA6B6BV5
NxlqOD2tbHAz/0Vf2eAO/t4WiLQAqcGgrfg6bINyHCwb/MC6D70zCE8VX6stfSSAyifecBUecYns
NLe64hLlpZc8xHfJD8gMXWHWBBif68rlGrj1VxlgkTvkpd8lnBlFg0ag/etiNgJDWyig5baddKN1
KO2oBqQr0VQqJyp5nq9eLFDB/2c7hIMDvMPh0E0TDkUVvCLt0XZkYN1Tx+XdygA3o3jhgc1apPsy
QDxWjhwLEdbZQ+k0EAzWwVYJzvWbJKf2RzU0v7YpGl3dUE+QptWfUNl56PTsNgaJtKcm+edSQw/N
wDcwyp9BElt3rTEda52BkJipXy/7/eqHWPxcIUPOI8YtrRbFxy4rwAQIKWpoeXSZV4OZtgKt+Fxu
Lhtcz1ULi8LFxAbdBmYss+h0BgB6vw87j5MVNcdpj6PusjXZ8gQ/MxgDO/aEF/FcQgHSrH9YU3SM
hrEDs9YAKTn7PtOKH5dtrmfIxQoFL6PVPFdODKPWDaS2DvMeuse3mKiHUKB8Onn1arIwJlxNoqIE
l3SI2nwX9ld6fl1GKKV+mbk8Yf4oWdhq5lrY4r9l8T7sZtA4az3hqZ9nk2Q30W27g3o6ptizUnKB
lW6jcKgFGH5ktDodasYOzWYIxhycV7KpD/kO0qWyy4LMVYRzzVaniioa0nLZBtdMp18UjXqaDpWW
Qr+ttfpOJ+q3yxu6mo7O+yli9PSpGIoiKBAKoIZskk+61kn8f/2OtzAhnGvhBD4pOuCNzW9cFNAE
b3HHg/yh9I63emIvDAoJRW3pYBQMr2Ag0rd6Ro7ZDCHgxNpbNJC9PGS55LT6hUMWLLQHrcLq3gJ/
/qTTvnq5W6xLzCT5mPQQ3AIiByTvDtolA+QW6QF013sDKg8NAfvQz79xj98tMBF0YcdDqyUh8oiC
4b4Q2bgNZDHGk+370+q3CSp8rcyBCHA/IaKjawzvQDnSfBy+qp/Tw7zV92kgpRTgqe+SPSH5q4Vu
ZTaxa79J6QPpr6NR+aDVMuKC9Zx4XpXwrSwrJJDDwPPJgEQCg0Jdk/wwcOTa3Y9qlvRo1mP4bEtI
9lPZ5oNWqyj4Y9wRMpBqKcVsr6fdswkecksvz6x0HOv/xXC+D4/N5DEM8idX05VVSDKGbO+EHO80
iqKZBY5ntb1OK0iYFQYgueGmsj5jDlJi7F8C+Lw0IccrCkpkNEC24C/50YdwF/jBNpPHdYNT2UzO
vyTDszUhxZvpbI8GQb4Fexwk3zX0PPfRDo1QyHcXmCbdK5L4WnUOooMMkWgYBBQpdR2tMGM9hyN2
0P6bKlR7tNfLOWI1oBYWBN/ojSGsjRRvzsh4GUm+dQKuKaRuL1tZTX5QW+LcOeCYEpH5dB4U6EEg
TcRt3AB1/UoAIze/J2CrT9l1T4qdltUSm6s9PGdhlG/uwu2NJB2pEZu1X2AiNnL7G/uAVrffbMPv
vEYXQs9bu5ONvq3eAhZGhXAGFK10NCgw+iAosLVjwu4NO3RHm1O6fW+l3NU8v77LhwtzwucL40gz
Og0V/hbc8wCqbByj2A7WvtRiF2qPJC82kODxnQ6Szt1el8EY11s5C/tCtMf25IxJiD2GtO+RPnO2
UsvVrihY0a/YHmLfWw7v6F500IfJCWZkbiVEvwqBL3DO4u7at4GXOUaJi0JlgJs92YPh/2jmKJY6
YeQVnfXzskOvp4LFwoVUUMZUHzp+tvLEk/V7PPa3NgSl0eHP99y5HEntaz0VAOJvGSjrYcT7rTcX
ijUC44211kYANQ4b6iiSk2g9FZwtCGd5NJmVpWRIBUDMhCFoA9m2D6TPN5kV4QTXjcQk2YwAgaCO
R3CfTMMnqPihhjfved4e95O+n2Ri7+9mxk/NFXJenJgM7NKZSIzbOZ5xh6xwuaB5kh/IhuOqlBgT
ANBLhXrO4bKf8Ph7H59ns2I6YFFvTRRuomGcMmJ+zG4Sp3XngO0vG1o9dhfrExJBEqiN2aCG53ej
s5kC6IE3jzO5t4e7cRq8y7ZkixKCvo20ohpbTAHkevUzGlsIqxr6ZibOK2Rod5dtrefT8wYKIa7H
SZWFLQp4JYTHHQpJh/6LaQHUsxupTxXpES9bmxDXRQfFAd3Ao5EPbXD3zPrbOsK8H6RMoMy2MV+S
o4mmLb2WoTUllkViYdKrCvScEH6K9S1sDmDueZwziA/HkcQnT3X5C05pCqlkBmZLSSOcxpy8QX8B
k/WHFHrGLlDZ2UvzVLsBprVbUE6DWWVjHsECvUsAakI/18Pc10ZvNo6HWrR05kySGkwhAY1hmql6
hWDp2b5RmGuR72kknUJe3WdTd6D/aFC0eYQvDH9qOsDAAAAwIY+4UX+CkW3TPIVbcuj5iCXoLh3f
2oee8nzZlVcz+Nmw+FofM0yvdDXuqhl9baJdkxubywZWoS8gPyNAwp5kvoXABNcByD2NrvQzcAZC
eQV0w1f4hleccK3zp6/O51ICMV7fzLNFITxro3SSLoDFEEX1CbIrQXyNjtSuUbSXy4tb372zJeGz
NbWiqYkK3IYWB25t/+j7j5cNSJZiC62CpJySpDNQeA2yzE0N67PBnK0aNvuxrN3Lpt7Rp5xOo/OH
ErlW477WEjCEhtAe80C661O0ltIPHaSiPxc/h58lmBJynITBrXINueX/aFwIM1pAMrCakb67FgWx
pHcDNXfrvvbSNPGnEjzzrIWSqTIXxy4nD/Fkbid9fGWp/ZVF2hMK775pzQ3ALBH+D+zDkh8o+xDC
DcEaO62zCChY6+KHYsBE16G67Du2IjnHVs/MxVfgLrd4IIDSWw9UCqwd42rMevjK6H1VD9skA1xn
0P9iDgCoKgcwcoy7UEqEu8CoaanphLj5VM0BMGsX4nlb6Fsp7uAO26hxE7DnACyDOvbVJHuArUfP
2Tbf88VSCYWGmJaQ0s/tclOACTzPHMlurtdbF+sTsk8yxgoYrbG+FpCuVj+ER4AVKName2b0pBxU
CQ/Qqp9YFjUglHASCH67pqYtMC9cTjguWkwD/YhsF/pQ6iSdvF4tnyzsCPGSMcYg2YsrCJ/f4IBM
3hwtD39SJFz9TAtTgusbrZEbWtHWvgKhabVzgNQtJLlHtmuC09cUulhJiOMPIu773PrcKiDJ7APf
qiX5dL02s1iM4O+QuK0Gx0QcB1kB/dJpz8oEGHUNijlV4qpDcFOARz+NnXFDR/QR0xYjzJJcJ9tQ
we8rnTR13uDUMO8GL8g27UP8JfCavbWJn5m1qYsNvZfB0tYLD4uFC4HQTmHQ0b5DSc+3/N7trvNt
sivuwm3s9h4UdVBPdEMpDc5qNltYFY7iPJxJMhRD6evZE52ANq8hf6fsEy3cVuHPy/u6elOjID3g
rXVkM+EwRpy3VcvxAr3S7SKT3mg1OdChknVDV9d0tiPeiQFLHsesxI1wLGK37XxSX0f9zhmuh1GK
G14NcyQTEOei66qfxriWKRJth6ohCPNhZ+x41w19ReaOyMfRUVolXQf7LawJX6uNLV0LM7zXxqLb
Q/DLLXtzawXBTsmjKwv9VGguQBlFn65BFiNJAatBsbAtfL0hLfLA5kBDyDvnm17tdlSxZVOm6y7y
eztPlaPFdvalFYOjF0OMUaddpzTF8dYdWZP5lz1xbboOXFpnO8JjBrTKdjWBF8kH9PQBoxSmZxnt
NWmc23JKtyQr7804vqa14fW2+dLmwRO1mhwSHtCvbNL2w1SE7pRBKTFUmUz/ab1KRMFnjfItCGRE
uvCIlkaSB7y5CoRUhKknbYC4CCbWVC/3muo6c/Nif3lD1j/u2aSQ8WxqBwkhQNOF5uDOkDWMQal/
2cTqEbJYlZDfhqAKc6iZAqIQPltZ76ZhtzGmyitVWXNk3YnOixGixFBGu0pP/Tm2xwiB2yoPU9tK
liP9SkI89GTUonY8HfCBrxDg2CLvF44NY5nq5g+oIfg5/u4Fft5BEQGvKWNZzDw4OHLujUXAlP4I
OSdxC0cIkwC3d7OP9dKPeijHmtq2j2bfHIav9gTBmcYuP0JbHXq07UvVz/5AU1DRWcVRz2aPhPoo
23J9bQO4RB8yLX3PqZRCGMUpC6BL2W7a/q83DyQfTmQ050dw1MnSxKonLQzy/Vmko27QALhzkFeJ
H+51jIlXhxr4dAsl28mL9H0B/UpUqMOPl0NFZpb/+9IsdfrR4mU55txNFG/w9uiof0HQAlag82YK
IT9CVCZhKb9460eQv29UaNNfXsaq9ywsCBEPb8jLmWIZhCWHBhrE3WRKKgnrzweAVQE0owC2iTFR
5+kwEIazfsDAVX0iJWjZLXPnbblLMEghgXKt39IW9oSIiFuNdB3ha0IFv8VFGO5gX4+7GTLXj6QH
wg28+b7jJX8F81wY5rGx8Am9AoSsHVDo0+GKxW7YG77i63sZHmU1Sy/MCG+JKMnVpIb+O57RV87c
Yg4xAXXgUyVD9ay7+Pm7CZEFIeBubkx8N9TqNkp3UCNIYkuBBusJ42xFDKSy7c00QcWEj5Y43RPn
Qx3vew/8a/0Bo/Uy9NBpROddil5snxBUuaMk0CqDQTC0PQQTGTZzE94nFbuKlEEH0NA5hHb8peGy
WYVBo01XkXQ3dexDn+bmxkZX1S2NCM2nKL/OjSDeQMT382zUh1KtvpV1DxHlnD1C+ucbMrCfTdOP
yzEr+/5CzI6NxSqm8tZ4pXvzQN2o/gDdciPSvcuGTmjyd1vlQA0FGcIBiZdwSodNgSGoHK8BVG72
VEm/D5YDgSIV0x0xbaBJP3WbrkAJOcjbQ9Y34ZVCACeqOq+fErYljfKQtZrl0q79HLbVq6YN/hiF
O2uY7qEt90MDXT6pp3wDTptbQHbyTZVAeWXqEretIGIHknNZcuDFvktLEq4EuR5HQQPFBd/JNA8z
Rr7ipFeD1kJMYqpfwN3uZiN1XLOurnJwK17e0NWIOu+nSIFU1KmTQPIeZCl2WW+dYjoEobFJprKX
fLnVtL4wJKRABXcAYiUIXQe0DeA29WJTVvTif+LCRop8R0SL42CYtNIfbOqzfHBHEM4AIfCl6FtM
lTTapoweu0Q75Ip1RYyvl3dyfYFEB7RO59x5QtaoqiowywmX4Wb+qY6+bseSp9T6qQVIwz8WhDTR
o6zGBo5/5fg4u5s2vZ/7v6h1CebHG192k5EtSQhrSAR2dq3D4Di+BjXgSbnseShdkxDPisFmnPPY
NYaXsJ2dCP2HBvo4xbbNngtXNoK8fgFfbKIQbSOIkbtcA8qc0zHPXuRmoEYGw6a16a+NbXwnG8eR
rVCcXGnz2AA1A85+fprE8ZGfJr8YkIoMyCEt+auI/u0lhhBogTpqE5uxwAJafc50w7Irsx38y86+
mvAdCu0bUMA7VJwfLOENxlDDM+a0Kb0oTj4RpXRZFjy2hh7JHH89Q56tcT9d3GIK0iEDdqi+KtNT
XNzXQeJNHV6cjLmF3u/GYkdCcx+BCuLyKv/FWc6GhZhWW1WpaIfU3JkDDoC6ubNzB0p5kIaFTKeO
Jm2nHrVw/pEPgRcN4ICay60dK6jp14OMG3b1WrLYcyH886gbKOVohuRQpR84SyY5dNs6/aB6AIHs
pIPF6+n0vHgh+pumbMMItwpcWoPjUAF0Ug3faw/zotfR0cSEsWSzZfaEVFAAh27aqFQhMv9hxjNu
/qz2zX+6cFKAvhUSs1AhBG5HnFmrVBJEwErgvpKlOyDg401SDHd4dnzDLfY5d5jEg1dOWdij0HFz
NEBGRWofB/0+ayjrCsDLDnKl0C4pS9cBj+vlLVzJ12/MCDvY9XlR95z7xijHzRwASGBJkEFrhfY3
JoT0qSZ6rKglaPF+EU2iQXHFiSab4yhXTltxiIUtUAG/DfvQVuKcOafKBXeI+jQp9osqUcZNdvkD
YWb/rSk1InqTgdnS7yYHlCpflfHRLHaXv85KzgSNr8YlGYEH0EWi+jQp4nEqo8oP8vQFqhZ+roG6
oYYoMDMl7apVR1iYElJFo2UhC3IQPJHsKg3tTYEpmcuLkVkQksPgzEpdhw14/cKvqHlaxafLf5+7
6rsIXaxAcGVK4qCJetzz527PssIzhlvITm+a4hMd6YbKlOxkyxHcOprBFT3TuPJHmrhD5GxI8Hx5
QWv3gOXnF8n8LLMYAzVGDmi32i5LTiMi03dy4ngZQcYo+UBrZ9cbe4JLg6s8boO0Ap0Yblaoz6Zb
yJyZLt5Ie45BQ51DWm2Q7KKI0I8UjPXPCZxCnw+RCnrkKZatajVzn/1CRPfWNauzuoYJfkgUUEdi
23k3e/MzJy/rNhZ5nF3V6ygo7mQ94NUcsTDNV7+4hVgj7gI639C0e3Tyhyy8iez7y04i20DhvtFB
iYnqY4ChJUjtadMxUgpZ6UtmQkgNRl1QzL8jgXN+tHivoP7ppW41Ya6NK+8yX70iMj0S2c4JyaKz
7RJugXTkoPehjcmmt/daZEl8Y901QCsE6AGYa8T50Xl2hiJRGY4m5kDiHN2I8LnOAneAFPbw/3/s
IbjOtgRfqCBb2IWcZ7Htsg2ZwfgY/rjsCms1Q5iwdWraRMX/hPgNbRonpdlzKkdtZ70Wn6Bl4dHh
Nvene479BX2ACsli6dz76qm7sMuvoQs312JqgaaPb+MbKuk/OeHXk/x5iYZgqgHRRKWDSjPqbTfM
X9XZH9luaH+Ymo3+gC05gNdd/2xO+GiQiQHOSMPKBvroFPcdebr8yWR/X4heY7btWBvhFLZ1W9Xf
Y1MCmv6XlH5egBC7hZOwbGiwgNHFC8M6DUnreANE1kldNXAr7/KK1gP3bFAIXEunuCiXU+Ur7fTQ
FY074WORKpUsTGZGOOzV1IiyJsbGVeVzZD8mYbPpZVXdtfGBN/EkHPFNzQqHJFPkOzHZJBVmqsPu
USdzhKpQ/thGpRsUdNslwccweekZ3Y5K7VrZFbXsClNF408IQrpqHTzY/QnQWX1XI+2/7bcI28wL
JQESEHscOr03BB/6PPbrURIG63f4c4Sf/n0R4VOt05DZJzf656H1pxTkMpc93YqWtkIVw+AZbPFb
z/+6j6i0ggof/c4KKF8ZtFkShKcftDCIQZwWvEVgGU7V8BPJg5+Dhsf65bCQ5eYTOHZhpJz0shhM
fKfkYO4aEIzu0fBg5lbDYRrhOI2bA1eTttVUKgvO3fT9xfh3SJ6GDxamK2VS03rAhhrVs8r2qDSq
zQdi5V5Oj2G3MyyZ+Ij0EwpZZyRzPpas45/w79QMVtMBQDGaZmsGWOiESA3zsAByGlcUphwj+mXo
vvW9LAb4KfZuG882xNs4YKe5YWCkCXXHwO8wrurbXgDNajAfNn5eSmXKjNXvtjAoHOe6krZD1eA4
HyfjGo3JrRlk31qiQcWl92ZafI+hPTDT4btTtHemzj5BeLHY9Il52yT0No3yl4D1bjxmu75Tf5So
XdTqvLXM7gA6EIw+OjHelZzeNIUmYZ4cgsQ4JOG8nTog3eJQd8c5/lA14e1UmV+KokcBy+4eJiPd
hkX/2WKBPw7B4XKcSD6k+B7oegi7WF3W+PXcunpXbkj7TLH0y1ZWbxEQ4QHO1aaAaAqH1JDVlcos
PBXDMPW0gYEUdt44MbQTlbtRsdyherxscH1ZZ4PCcVWOU1gaA94gU9oejMjch+r4HGt0f9nMeuAt
FibEwdx06ERVsAOa136ru9TB6Fe0G+/51KlSXckL/jKTRCi5MJWExTTgjdNup+1vsAjn1WvUU7qW
Xjf5He99IP7eTHHWzE5JDO0IBDvxR0zcbGsEIpb8i6qc+dGRKr5kX1dvuOd9JcINV69sLbNNUPQ2
Kih6s8B6LU3F2ITAE7up2kCENuiuEsUhYFMkP+M4O5iB/Xr5R0iclghX37ae0qbro8ZXmLlpo+FZ
jZi9AfzxS901D/bMUJKsA0lZaP0OtFg5PzwXh0dKY5tpuo46JJ5/fHzSvHKg+4CBmw8BWEvHnb1J
rizE6Se8Az+G3iQDbq+ezlC7trkGgAnmwbc/oK5SvSOjVUIMPfPw8tmorezrrjvU2YRwXGFPgzzJ
cWcd3RFTVYWXg4wD6ErFH7+nXr//qyEHQ10sSkhAbd4ndlKcuOK5+E7mYZrpVWlOE4eRF7uYClXg
a2CNT3zbcS870tq04RvrQjYqwkpVG83C5RmCgF47QtUjiMetno9PSZE+j8mE/G8YmzmP/AbU1ole
folSFKCC2sxcME6i4AklFcmvkn0FMXdpva5EPa4pvPpEHJcjXkbi8Sld3ZtqlItl5Zl/yV2/P7x4
eYaYT2MOBT9h0dmDmiXZAp/MOyRQJEe9S/46Wr9IG7oKSSwInhOxGGWUpR7G/Kn8i8rsn2K4fVX4
smut1JYQulYxolHKcOVEk+k0GRAc5ts/o01bPd8WyxKClCrooWM0Ea+QCKPs1sc47j1nqCSOy6Pi
XeJfWBHiFHyxoxOqKlRpyts4OYLnPQcLHdNUL0wGiS3+ty7ZEiJU7508U5kDb8z1bWP9rMLQtZQv
WScrMaw74WJVQjQy1jgRxan99wfo6mm2sChEWhJCOXGqYJHXif4RlPqzttlq9jYgxKhZNnKOOM44
zGbJIhvHB6lml2gvpUxpc93zfhsQQ7h2jCmtugi961l/BZjiGw3UAbV/VeIPkoWIL+BO1+JWMVCQ
rK0QUna1sVHU6sPlFLju3+e1CLeMQgEN/2jiu8Rmd0dL+zhXLYbpyzsyF891mZLNZXv/kiHOBnlK
XhzuTlLGDlSDef77xxHm2/oQXGXSbCTbPyEZdXozkqHlawu7bWJdTVbq/cfViEkooERlySmQOE3k
ObfKFe1kqxEykZXFY1pHOL9JA5W5Duj5aJKU3WXOICQgwKlUfQTDpl+GEJIKBmhIAqKm5e5Ue4S0
fwEVMNBm/CdQTzOhC1eI1QwM7vpp87QdZnMKzz5M35mr77Ltn/SaVnMQdOM5XwS0h8RxQ1Uhs1oB
a7hwvT+uKMlsCV8rUNC5tyPE7q+D8JfU4Z8dhKuX9MWyhK8WDlHTByaWlWjtrg8PRv/KMOFQVaNb
T09aI1PjWnVE4mjA1JzACYLPFyTq82DGZ0M9/Dq1usIFyY1UR2Z1A6G/Q0Hzg5kqcSQ/j4EMSHpY
OR8Y432NGcPM/wutSGA0z6aEHBjUsRbMjgmtJnog0bEwPzXjw+VEsXpkLEwIWU9R45n8H2nX1Rw3
zmx/EatIML8yTdDMKEu2X1jrxADmTP76e6C9Xo0w3IHX39tuuUo9TXQ3Gh3OqUYkKyAbcZM+83Pl
WxEJh2HYn7nIIHSgWqI+gcMh3L2uYIxrLC2YApvp/3tifImfWB/G2iaAKqiUx+t6rWcSBrE1VbOx
xs7v88xROtOJ8WyyubHKPNZvzHk9JsWxQsBE1qKMjGUKFzqeSeQ8S4nl1ApZvYHhlrQbNiwOsnTh
sPj6RXUmh3MrE5TMZm8zWru3VPa/ePCqdZyJ4o6tLwvFiEoGxaJbfqbZQTiSrdJNu+uHtRrez8Rw
ORgBxm9NUsQkPTxSPcRU2h0FK8hsGG4lmhYXfT5+eYGAFTAqGhjGLwDlX1yvf/rqeFeMX+XBfk5k
pEbx66j+voV/L9iu5uhnorhYYepxUXfM+vo+8SI1coiEmUzVj1TRuqDwC3IxAwPP5iyBFmSTS4/J
yOZa8yAsX4yxQjXoEDdWMMc5DvFTIVpgWI3wZ0qyfz+7mGMJWPfgK0LimR77XvWUsPCvm+LakiLu
4H/ihs1dIsOMBQyAVWFKWNnKqox+e+1EXeuoVemoZGsvP+vGBAbk12Ke3HJqvTCJPNlunSUy3b7d
dNaP//EXcXElbsyUTmUOktNfUKzRHgRgkm9g/EXBuAb1Em27LTRvjP4oKT77GlysGUrbHKcZzvLx
svsdtPHVbMEwVNNGJQCXK2dV+oSxwqlSgRqiSUFv1H4thfsmXvxMCt22L4PSbDzBp129y89kcvak
dJR2nQlL/oUXwKoC7C4X03f+i9fYlqJrmslSh4+2W5lDq9kJawCP8R3uSLfp0zuiSHd1nN32aQfm
s9YB2o9bWktQxSJC3vUY+y6e+7xmpVrDoOCiT+LaoV3iz9nNAqa9yei9XEQwLFSW+7C1knRWpOPD
/ppzfC+3iEo7q3YD4gTUwAn6XTxn5xSZQ9bMFtoJSYZZnKKYfZSVCneq5c2YYsvFhAdjs9a9bjsX
8VZRkVroGINFhobUnZnWWSgyp7JO9DSsgkz/pkRfouFJUXpQB336AzG2oWsqeKQUwsPP5KSL6lIx
q0DNyj2m79H/Ku7LAURjYfp4XdSFhUAjsP8qKqCHLF01OV+nLdCWlAYa6eVTn+16C7Ue6YARU4C2
i2Bb177euSwusWgqvEGUxK6CRfuOhUUPc+h+ZLyEprK9rhQztA9JGVMKDwJCLHDmqjxrbkFr1czG
uA6yLGgQH1MiOKCLFIkTwLk11qJsMy+YAP3Fyr8O8eTYcOLrWlxOP0IKCATAagpyWl3jS0cR6FWW
BGyHgYpXTTkkrrrsSty1WMSt5n3ZVE6hHJIReIYgo45FGBLKG54X/xlN0Bgw/hxbVfhs2mjDIpeG
qg4kYh2ktjIco5sLH/xDmdNX6XQbZpXk5GAtPeRKfATs3KYCPulOHa3vc9oHuaYvQR1XdoUZ1G45
JjP6fpm0yB7Qewo3Ap8O3vTWw5yCqVE2mh+R1L60RN5F+ZQe02x6qYEI6AC5+4saWSdN09NtNAFV
XxnSE6m63qms2aGmpXhVp3gJmHNp2t7JVRHMhv6sSsXXMQcscKIXgGqwwF4Doi+w9pU2yO3MZZuZ
Bu73QkEvhwJSNe+pT4wx31Hd/JR3ls5W5LAySMnW7AGhOaRZeESzj9wlqg1e7Gy4M0Gqecjk5Xvf
lI9VPc3HWIt22L0H8n/f6L6Wqu1TA5ryvVzH9o7k81cCHOGhnIcDXZpqZ43A5KiVeUtqqjxXdkG2
k65km9KuotuG1OYpHPWHycR9H9e6U7bLdJynWvtratgSIzAbnGVosAVf1rd6bkcnS0keh4oGspEf
dDs1nDaxU8dG7c4duiLzMc1lOlVrP8TZCJQOtDbm9G4s0NowJzXoYimwx+lb3pnUMcbmPrKLZ9Iq
r9NQJu4o5Z6qxzsQy4BhJddiTybmwY4Luu8lw/AbICSVsX4XRW1AtXmXhrbtydJ016j64OlNjcah
nG6lrIwdCcQE/pTKKewn1hyZGC+TkgY5qR+KKIftAGpD7TodUz3IdroiMGlcfDZi8LPOxuTTmcyO
rSWf5FBT3JYOFn5dHTvoLCuOZdiiAsBa6MIeAlbBQUUNMAsu8E99ZDdDltXBkHU/Fbl/Ma3pYFlG
IFNdRA60Fr2wbAUkOPgeSL+5S3sOl04zU60Oltp2Jjnypl40if5WFOZcGw9zAzkJaJNlNGI+XmRV
2S1Ul5c6UCJiO1JT3NEhBkpTot0Z6vgX7HsXx6Gb5yY41ZaZCELbSvyEeJvRmTECJD5AY93KNqNF
qQMt/ZFXT3V8aJOn69Fz5cQ+iOBCtAJIY7tIIILY9KdWm5NLhxzbqeoEIxG1x1f1AbYPWrRsOV7n
blE7MvU+7kgNBxo2ej7fW+3sKmb687pOF8UGXNMgNPtHDHeBtmC/tfRKrYNJAi3Wgxpiaxx4AiQb
nFH5mnbfVUn0FljJDz6I5F7poVXHZOggkr0F2ocIMAxu4kcgDsbkeLkrB7DKJN74NQxd0TT+6gna
QOEwkTTIJj/SpDYR6dO5xyXbtrd0LHHHLYvp6A3CR1x3ukDV1TN8F3cx3aQXWpMlbR205Kln0U57
mDrRUtOKTqAPxLA1o3Na4QgtMwDPlVETWJZ0g9GCQ4ktEykDzhVYor3r1iKSxVmLyXKtMYGsvAoP
VqNu6/ZTn2VeU4oSu5VP90Er3kiiOOybVEI0MXBXkb2WD85EF8Ee1ZoUrBLobIMdNHN8VgwK+Mjo
DcTFojrO6gZ0jI5BK4EVXJYCFFC4auhPw5fVS2pQqVPlri+hi7StX8rTsKNoibNFCeUh+2k50ib6
NL+ad7UgZV1L9j7IZad59rQA3YSMbUXIZRUqxQPu8lH32QRGt+m3Qgg0Ft+5+P9BGhewek0mFYkh
jdzTU7LFvX0EFFH6l+KqPsjeb0Qbvatnd/ZVOVtcbIRjnX3VyH6kIEORJslJAEd63eL/5SMiAOOV
Zl5SdMZYkEAKBTHpjp40f9ra7hgwtE6G+C3CrF65p/EN34Wxfz87sVTNk1JD1hEgYXAlpXS6UoTk
dAndAGsEDK5lWJalAI+LyzvwdEsyMptQCAUoP82Xn0jJbYcOhb7JqN77ttpukkU3TzpVUxdIDwD/
7RcwA4fhJ+w0Z67d0HE3V9RHer7sJ3MyjsNipY4aGdMNMmHlTh7M8YWkgxZjKwM1sCzRx+NcdeY2
TvTbaTE1d0lp5iap/nr9vNYilAGKTgU4Hsbl49PsF9LYxGwC09wSs78pi4NNNnoyCOAiLk9Kl5FL
YYcQu4Qyllc/nlRup0vRGt0YhKBOjWwpaORP1zW57DwoTIQJim4by6oXNN3WXGACtxgAT9M7bLkK
tcOvElbks9pVgRUreUIk7IsyFpNIAIsE0wB6Aj8WZg5q1vR45uJmlt3uqd9YO3pATn8sNiJZq9/v
TBQXm5p0CQcApY1Bv8Sf5r4LqKKKPiC5iEgf1eEikqUC8doyoM68H/1hV3h26lbbPpA203H8qn7+
k/M6U4kLSEViG1XYQKXOwwQN8ZXt4CilX/mDbwTVkZjOJBB5GQI/KshdkpJO9L6QIHExym0KGray
U29tDJdd10xwVvw4iLoYVTG+KYbyNAF3twiH+TIj/KDHWxXwLOyBgbilI4UeMkEXQD9Kzbc4xssN
kJZprPvXtVn3q/dzeov4Z9Ly2GpMVYVZFAcZbPGFByojzwTuebkbd/JWE0x7Xk4GfvSqt99zJo9K
uSSH0psZMgoZeoNuwPiDTST2XuhkuQMs2+xZlOqu2gYqLNiLAWjnRaVnKvoeJdlyDHTzWa5v0vYk
JY+CL3kZbHFu7zJ4w6iSWo3qpBiDdnaIW93VX2qMfXuS2wfNizmDZsHYNkfDdETRY81gTFRNAd8G
ah4gd36MvqXZTguqdGNA4l3R/6yTT5nZA20pcbVy8a5ruaakidofGvVADrggdu9IGo52ro+4LxWM
dN5VA5b608UHnNP2uqS1IzN1BeB4QMgjuMM+akUICEXL2oJhpqHbGHguB3EtmugRCWFB88waQZEd
gtWcCVEfCvpZ1Y5q/+26HqtfDJ0JNlmsKBdUxGhcmHMTSRhjrr5RADsRA9guuZ8ZkeDNv5KcsUmA
fyTxoC4ZsDXLprbHgLEzaXDmZHLYFclwa6pauPRD1iLhuTz+hOJkAFRFOAbahmHWaPv+BILgY7Vl
Rj/stTs2uk0c4zUDOxpjHGpvZGHjnkX1j4n2R6W5E6xidWmUFj9C3gPyf59sxsDAtowIdWjl2fJR
Dkv4zyylbgtJ1zvISXcG1G0BkjncvEHmeX0A3LeNEVAPS+YiBOCVStJHwewUzgRXqhzioQv7SXdq
0GMAIgPfM6MzaP/E4VDONwwbvn3BtdWMskzsLpoCYkX3eo5wrCDfjmzBNQ0kw8sjMxTZ0gBbjs4S
lmM+ahRG9gICFQVZzpQE5WiMjtXUPh3nbRtaQaHLn2szph7KatoNHYiXAWDMnirMptmYG6TklCHi
3IxL9TybFARa4WI5mir7hLZPqWJbTl90HpSMHdqnrTNYABgYqgR9baVzpNwMvZEkHs0BapxE0ga1
4vtUmb2216x9luLpWYDNJZtT9UBKivuI4ivog5NVybJvMWiazrK50btEGh1D7fxJy5BKJZZWOka1
ZE6iWF8KE7jlbWtvMHgBqHvQ8wZZJG2p0TZBVmvyTV5g1xOjXH5Z54+6CdMhINaeW5AIptKORIri
E3XSG4AHUOkJxe1Uw9Rzu61tpd5ji8GXOlATJXELBsWkaFCprnzdHsptH36z2qW41RsFgITtHcC4
AwywbmZrbB3N6g9aq8V+JRlBCmiRoGt0FCWV7gftUCqu63C5oZ3xLOtL5qrV4NZANnyNI9n2+wkT
EPXsym1LvqcNm+AvqgWGGGpT6dBlyr2haZ+ssWBdm5C6mZln90rUyd68WDr1AMRE9nFGIbRunpK2
yYIKEM9WYS0OpkfGbR/PftpKQRi3QU1wsqnRHqYWFLcWJU40x55aEsXVU2AeSroj2ao/S+VXCVsr
T1NPN6iaRzugA6GemydurtnHLJ4yh7TEn+UYBaDsTjMGaIPrSqrQEq6xsGzqz4kt+XrXeJ2C4+6b
bnAkcwgdKk8nKjWYP8CT14nBpTyr/asez9TVAd2HrungVHV5lLPiMLD3m9WGkyMP6EFnGYbLBm8y
JT+s2cM1VohTdWoLiGD7ucPMJboKtuqgFJP61ageGtna6hSJQzskQT0mP+WMANix6vyhTm8qgAE6
9ZxK28JWvMKc/dygw1ZZYN26nO01YP7nc32rmW0fZOFcOmYe78jYn7JwQX3ZtPaGpN5Yhf59jtW9
Oiujq+rWhsLdwXMRbwo12SlFHG/7poi8UYr9NicndWjdzhy/FFpkvQD/7XNTtVBbSv25TXRvIrPi
1xGwpKOe1mBlT147HaTfY5uMHhgsvtCx83Sj/BwzzoUhwjaq3OvPGDINHRL1CxJbcOGRCGhgtoU3
nKGivTCpG6PEXB5JHhKp+W7GZnZjpe0Alqw2Ps1RkblYKUH7BvgxmLf0lrpD00OnKFtif9DttPl7
EWuSP2XVT0MyUMsqTVxNbSxjin803MwyHzMJ69VytAuJbDlhpnwFaMLXBnM+jiwV0+1UF3hcknAv
pYNPq3g/9dMDVa0fg9Z+npNkdss8vZPyrnMskFcyUMZdkxiFs+iF5VRkiDxr0E44rwzDuwsqdSo1
3Sg0EUaKQfVQDvhmJuOXCCNF42x8Noz2y9LbD2Haq064LPhD6PNQkj+P5XKrzBa4SLIK1ETViHZu
VkLpYn5JBnDOqTCbDH30bwk+bIEnMvqAgGZsGJdRlhyKtniMpDKQ2+mvxE68nuq5k/TzIcpHV6qt
gOb0hD6JbzJglCidfnRLfj9YE8MsSb5gpfdmSqZn2wAvEGxg22jtV3AjKyC5xn9NWfpJHkfJq8bu
M63nT/GYeFNoIPW0DOoMMuopA0gp8owEpSa/dl1quiRUX4xEAtJMiG5hNrtzF/ptqh/1nDZ7ksbJ
xlD600jj55T0T1iH128yAqTymgRJJoeOnZP2OTYbV57CxpXKqXfs0u4d7OpjUaNu4YaaAjDHxoqd
vqVZIPXqphkx/RHP3Wmoo78aLTn1yJW8yohfsb+yD+tw27TxXk6nm3GCqbVyQPTaH2vLLWXlJlUK
tEyRDe/QcdgoOb1XEvVpMDpPJfiOVE4cmvU5lscn697sDdfWmvhk18mRROOxssr7WE++qFP2YKOX
XLV968Wt7Co6Qp7RuTmU2GVxj52g7lEaxmNMMYOtxQlwmUtzChqquepQfAGpotuwwCrFYRoY0fwK
mMJ9lVjPTb08GwAPUHOKbabFbjZxqWxt2oOFL7SAIdCa32Pw/PrNPGhOVHeWH2PD947k9HZKwuSk
0vk7RrN/GGNr7GpSRCi1RYlrtIns6VJrPNlyOgSdlOq+1SNIlhYmgIeO3mKI4sskgZtgmRt0NMtU
GzbAAx0OZt6EASGm4Q8Kav1Vl0ovC7jdb2VcbYDiyY3Gaag1fFHR9HV1qtxpg6l7Y9otXterL4mV
S74iN5EzjXXjpXI5bHO9M3aIyvuwEJXy1ZUs3WL4mDrjiCIoKH7MSdKpJE0MOwrMx9lH1yeQ/GVL
DDfad9vIj3zJ17z8SJH1lRvqtt7b0Po2RHOmAO269VDdxz7c/aZwU/feWAR11/Vfh6lbwLWxDI09
Y85yQIpOozTI+HVV96rWmzbGMdzI6f31l8olgoCC96P2Lob7CD14mHWAm/UokTPC0HIfB2DP8pjG
aNd4jaM8j69CmhSW7nEZvEVsTP3pJroOF61SjJaDwVYvMN/rmd+yJxg7hhAwiNd6k08GQFALc/mV
hwuaGYqmMt4E62J8pbTDqarTakBKTfBMAoxg6eKhlABuiLEhsgXfOhQsW4hkcu8UinnfRq4hs6wx
8iAHFRURH6yUAT5oxaXVnapXBcYIhgB5UWH9SKoXLd52EW4/rGr/gaWcf0HuURL3vaEoIWRVGS4S
r0XhaKf5IDz6nsUuOoc5cdrd3ySzomrH5RQcrPRcNucMalgmDbq0AwZEvO5gv6GzVplnb7KtLIRI
WCkQfBDGuYRFZyxU9lA0rm8HbXH1PHbb7L+Xzz8I4UqzJVL5peyg0YywGkbfFiATCA6MvcV5J9N1
zcI8giIboFb7GEGKVFezaaiHoN8XO/Ww3Cgnw1Fc5QhML++6rPVP9o8ofhQc0zqKibWyIZhy6aDN
tSsBodfW8+/XxVyS/b3Zwbscrvwwynpa6RpUYnj5DdLlLxLC1LIHLMBD+4g0WhZW2taqpTipd5mc
F1tVnjQlYFSD+DB4YDCT0asPPfW4AKUsnd1qI/qY62HjXSDn1KTu9RnwSlhYlqx9hP3oUoRztFaR
/aAT58soly50DmF9bEV5OuiBmvjs/mt88N8+1ciKMQ7gixRbq1Z9EMu58Qi0tLZVIJZdNtN36g9b
+y+2DVYGWS80StF35PwYTH1KokQwShreaSNy8uXpujmKBPA+vOjJjGcQBCR4GNd3FhU1cAQubHMd
FeCbzqnS4INNyQLQkkM3wuZqrGMBV3VoH4DE7cjZ6Nj658iM/Ova/UvQfbdDLn7MchYNIDaAs2Vu
uGFlqPk7u6DrQGzzl+yQHzzb5DFW1QrZedHjWzJ+VkYz39JNHABbGV6WNej22TvVATa3M27/8Hb5
pSiotz4GyrpKJsWW4HAMWCj340DJd0zRwh+3UygouQlimClz8WQEZB/2qWCWbIOruw3sIA0sD0S7
9v6v7mhhslZwEawnCe/qcfEknEiKsR/cZ52doSqGPkVtuLTbmCPAGGoRZ7cgXoLH6OPX7Mu+ms0Q
J4nqyoHlWoBMjQPwBmxUPxxO4svnuhtiROGjQLse6pkQCEwT2cnnAeBwgcAV2Cf696vUlLlQMlZ6
Cc5niFCJm+0Wr2/eyLQtoJnuVLeqXHEWIvyOXHSR7DANMc76694xh7N7h2GWCe+dtXq3gREqcFqg
kIVtfc7hM1WaIxCEAsh8TwBJX7s6HtWuhknjV1QHnPKu2YB5otkUm1FY8l7LIFAgxsqpAritC3a9
qDBTJUuXHr1j2dVe6Jcpdhh54OQqLgoh3SYvHPbQEhzsmm8oKtpNmGrHWsBFxwlVtqGI9f7NGVs3
2Zuv+bHbqidUvdzI1V6RUczbbCOac2EGwxvUuVwuCHTagCWzHnKTJjxqQ/2AZljqqgaKWiVmHQW5
++rHfX/p8jDjXZaiENNbkEbsxFEt49PQNCmSdkVwI67e8Odvag63KZ+JvdDQ7DFxYOzHDb6lQ3f1
DhiooBgQnd7bps/FV3zXi6cYAMZvnDQGpMl7wI/tbR8Fz43mmq8AvqeueSTB+FS5kmdtq2OxT8Cw
pXwXGBBT6NpP4A5yLhdLoyZ+grYpT+V+2NKDtNG2hdBiVnO280/LhfEswXCRVeMQMT+EVt+oObEH
t7wNHWzigsYrx8yoqD+0FlrPZbJ/PytCzEan4/UDmTVFdd3eYoNNYJqrjnB2hFzwTqxISyIUEINZ
yr5UsRxg/B50Bmm8tWvpRXBYojDOpVPtMBqNZSGMR6fhoAYV8BIpZhBQqm7Qqow80Qyn8K7nIiot
IkUm7JXHoDCW3EUPOLun6M8uCC6z6jcu9uNE+O6rlqIbSOLBmWCp+LgfT81YlDlnMH8BCok7AwN7
+TGt0J/tHBNt4RC3WIw61yYR0rGuuv+5ZO6ejLCthofFW27T7UbqxAF9i+Dzrvoi/rxr1nkujbsh
aVJo4LKGtMEqAvm2t5TgusGsGee5AM5eDLltaM0+ZF8njo68kD7X1l96+p/5Eljye3ZgnJksEixT
bnuUVoi2K+R9ORsCTQSfip8TiFsNIzgUErSw2s9p4mj9LBjzWbtkzpTgg3G+TCNpU2TRthI5Pakc
tD+8Mhw318/kzXr5iHsuh4u44VJUI02YKpvizv5GULRVTlqykch2cCc/ArxZ/CN5jG+oB1gxdEgd
4yg/mJ/JzZ8VFd/PjUf6RlN7QsezGwIj6R4W9LJkFZji9bOFfllp/Qy1Q6YeZNr4OR5pk2K9Lkb2
uVvqx+ufRHS4XJQezHoMbQIzNbvUb8wCXWbRIP9abnhuoioXU6i5lK2W43TnTe+rwfiwgFyauIaL
MbVpS54Yi3s6b38jK127YTGcjpldXX6b3P0YzTTM9xlpPyCajfJTjqndKb8DjQmmWvXjEmYHc6j2
HWhMFCLwGeZ1F4Z2Jpj7rFajNRPwNYdAUtDZzqzjoCB5Kvfmjyn90Sf2KUFyeP0kV33oTCT3lRVA
4tMmh23Pg7zrqHIvLbBztLqui1l/WyCllE0VXDAKvwVpYnMwzfLx7zpa4Sk3dCPvpGO8BR0qvEa8
/r4aSd8F8oNyqdph4DDHt5yRqSlO9jg8odmwYbTABXvi6wD1TIJhFOX3LBhcnOGZXO5p30S5PFkV
FEXFqXTqPcrVXvrX7HVucxQ/J1Yd0bYxKY+dJQx5cSlaEuuVPg2IB2bY+X1k3dC6ebh+dKsWciaC
M0o9tUhRhBAxxf0JbcYWNjjKhWAtZP0iPxPDGaI+klgG1xR7UztqUASgCX0CbK9vs9y2dtTdda2E
8pj9nCWao150xhDinJLZCTdVwJoz4920n/wOkIkimtD1DOlMPS5z0EsUkmkEP2vALcBqPupNRfxk
E2F07UnfdKd4T6aDUEuWL1xa47t9cPkEmrh9NlcQ23n1y/Cpzp0Z1S4zyCNXtZxobyMZLatbxWe1
bGH1da2YaGDdQbfZarrB7/oMjVSgnzixi3PYzZBEfen/25q1cRQ9HdYM9Vwa88zzE01aWtgtpEV1
mDmtjQGE7DEfRKDLa7Ny2Px614rzuXEKW6se5yH4m1mWkYiom3j7Gy1E0ffjXC9vM7tcNARkzOTs
xlO0tw6/209ZDdDnWnH+p8yFBXxDaBUfGHjsPNymQaq4micHWBZPP//G7gP7ULxxnovkXLCqmjFJ
OxwY20rUUGwCPQHmAZzihMkNPI7ARXrd6dei5blAzgmpKZnq2OJ7LpUCqOPIrSSRzYtEcA6H6SeF
dAQ6ZWH/GXvI96r+el0J4UlxubuSG2MhNxDBANzTT/l+uNF9usEY3Q4YYDWgdgUC1660s8/G99ow
A1NmeQfTMI6TJznqdrqR3vDijRvpz16w59K4CzSsS/hXCfUY+tcQO7PmhHfyXfktBIu4FqT7anwS
FcdWOw/nQrnYsSTdJGU2VLzoXIqfrGtZ3rksLn5MLWb4KwM3HYNpLn+yIQip3EqnYpvviEcDcyfd
NW7ynYDXVHgPic6SCylDm9ZlUuHrtn60NUpgE4deiAUdECYHGeCifYHtCHycx2TKjFEn8wB5XetL
WNnaVUEc1J7VO2WHu1ZHDvY/uqDNhRVrMbSsznCzR/3k1jZGL0yBVgInt7k4Yrak1IwM1hJi9myr
htKprU1JMMsh8nO+FdcV1MwljIoFoHmeMyd8MTuUN9gKS7P4qk89IMR7guMS3Dg2F1vGCixBUo0I
2QGdc09vMJPkYuzB3KCeIiz/X/+MFx04Y8kwIcdS5SVx5qF9nqvlWaDPWv7z7msXjTYj6xQD2BUI
xxjCwWqTbTqY4162mLcFqflCnT3weTA2XGPScwK2oPCDinTkAkupJHFja/gBv0h3x/EoD58NwLKT
gGyjEHANFcrE1/VeLVmc683FGFJkhj3UENv62t66H31Mraog/PWaXbkHAadf3GCNFEaVodvROdpt
sdWwXgCM1K/CT3Ddpi7bcwsBlM8Mb2E9eNZ7rNMNs+J0m+4L0ULPv3gNEBbAlIUdLI2z4Lhq6hEQ
LuzEI5AObzHlghHJ2/5Q7cfWBT16Nbn/mUMR1TTsGfySqXM9iHFo0nYJ4TVqMTrz/FrntXP9QFff
D+ciuFvRwHR/TCWoxcjrmCnn93KE6M0MKXQwsorR76MiXMVeD9/vmnHmG5d6E5oUmmGOFmJjd9Q9
xpeQ70qPElfcYVl9l50rylluWuaqVBbyL0XBUn3LQCpmLNzQW5GfsKT2MgN9V49579mToaBWDkwg
CJvzjZqnWAp4LoGYd/3s2G1wTQj7EWdCKk0ygICsILcAT1LTFZ/arqgctMj2Jhnu5doWcIqJ5HH3
H4gil2LEqn4A6rKDPACBu3Pt/JtmjW5Hf1zXTeRuPGZKi1UYtZMhjNklWwdbQOyBLip7NUx0I6Yx
Xw+o70fGJdjjJJtZMeDIbHsjRzQo/ztZHufNXAQh9qTb0lu6G1ruEGEnZPIEX209JJqyqqABTAAP
9NEkJkONqlrFV2MTGVoVDFsASLUeY87K5r0wCROJ475ZGBGSV8wiNFYkLxAvwGFNw/u5+dS16LBP
bhMpTo11KJIXrkDX9RDyriv3OYdEbrKSBWRMMkwYopNCUE7RDSYZsNMXSNHvTDKs+/U/Mt/YYM5c
TjHmuMkBHhTUxYvxjHUiN7nJAroZ77ToZXItZ979xnNdoCm/Iqu3MzCZ3xx9z4Llx/kJ8huZ7r88
W9715MKzqllh1jbMGVAgUA/Jfr7LgZMxbH4jk2F/6zKMvcviAjMZ1ay1FMjSNsk2Svapl7vy4wJg
hLIGMkIz+ALDWff0d4FccAaD3ZKk9E2gGkQgod8ANF49ASvNXfzIxusow///ZwD5N+9/l8pF66QH
QHiJvBQdfh3YXR/VLDZKKlJTZKtcuO7LKdXiCWqy926ve9aztVG8PjtN2+UEgjQ/tu/mLWAjBZ9X
ZK1cDMJ2o55nPeSyKdPFm5pbNo8ZHdiJ5vkto0n+HyVyYUhuI1pgFueXxBT55j8SW3PzGxNNgsDH
j6FEUWTnqoE4QHA57f+e4m7r35ziXt1sADHor6jOtzxRQ6gMo4C0fq/tMd+63PaopMWsYRXupnv2
4vi9DyswIb4RWluxIRUxBMfGlhUVgMpjOgoei7ZrPGYYU9mEN+Lnm0gqF3xSbSmJxQx3xHCWZO5V
LCV2tSyyU0EY4FueZd7bAAzD/TE1fg/MCPBOjigioOqal05K9yT4HeVEUtm/n90gFh0zTU4JznI5
Dnh4S7HkXncHdu9diad8fzOJJYCZ5/h8BtAxSbQcDPvQpochTrBMOvlju4nBXXhdpkgrLtaMAMUt
scuIWNMcy1F3x9QSSPiX/P3dCbiwIvVEHSwWP9mVNJ6wyuQup9++lARBTOVCigRAMzJ3sHxsoHQe
VlZ9zQJgFLDfME1HMHgqLFoIvZzLZ2oMulgJK8o3XrgpsG76hezHU7KnLhZufqF6t9pW1N4QfVme
oRCU0crYsVcmu4A/3EzD8FsXsODG5wkKez2dw1aCtbAsVTFAUCiBycwHuhgjdANC6u66dYrSGZ6e
MF9ArTPo0PCiCisuzAiuBp6GcAmVelnYw+VClrjiK5LFBZNWrjO1XfAhW+zFMFtZHphHGL9TcBJ4
BE9Ig6JPZpgL/K/0l6DIAzPAiiG44Mo8wEY77ETY2hdpxwWVir3YtWHtS4pPTaQdF12meZo6zPP+
fWrsSzrK6XBQ3PH2NzJekWJccDGkVJss0HBdmohQMUFg5qtWRqS3qcUug6ggrmVGQMW9u+5cAgl8
jYohrYNnAl9ukrDRXL82ihxcl/AvjdF/Qj9PryMXsoxRI4hgtQAzyG6TzVtH4/Z/fdC+YV6f3c7g
1jGKmhn5hfMKT0YUlHiQ3Va1pnZkR3MhSxwoRIfEBQpgKtcA+P5/WR2YbzfWvt2EgIz3Gj/elvb+
N5JkQZjXWZ539jEjjDWhpQ2h0o22n1RvAbkAkLLMDfGkGDPMwoKwwIl1LmA0YaooHSvx/el+m/AM
ubBRlmMZdtEfnSH7U1fSOp0LGoWltN1SIhpS+jiGW0O7jzsAbID/qWgFhT6hWlwqkiEXSeWZnRw/
HyA2zdVgqAJ20WQsAxekTNUADKYxgctdlBrEslYt8kwWZyDT0AKsOkTy/X+0Xddu3Ui2/SICDMVi
8ZXpBEmWLWe/EE7NnDO//q6Suy2qxD4lq+cOBpgBBHifKu5UO6yF9aug8AuAtr/h61H1uXaBGBNL
XOP+PW7kCeoBcm0tYQrOhq7XP8u+z38mym5S0JCMVlEeRi+6Sf5PPVHGzcEEBRlqktEkM+CR0/e9
0vq9AiJ1QNNiUHqNFkcFAbskBkg+nTgr0BSmmnYhJMaR31+Pt9E5mc8Nhkgqbx08+QDc7iP04YQi
TVNFq7icCn6ZyhcWBV0Z1OTzfzwTP/PGQYJaQDewuvargUX8BDgNE2DHYsyeAtb9v0rj3nMjbWYA
c8J0KprLP1eov3bEy5N5vFZq/XzGhuyuM95coBByehppdm/yD3a/bPy4aPmspS+ZigjxRo9jZtUx
Ppl6oGDD9qm7HssrdJQK4I3JZ/a5s7hgA+I4QFcN1lLNuM91uSJzCpie9ylQ/sb2dFlNdmP35iIF
JzLZbZrb/CIt+2ypCyoiHy8L2I0sGwGC36hYlySkgQB1+qLTBh0kIDBXh2Z5bTV/TqnKy6AbYYLn
iMOs1VoGYf/z0MLETdyyWCva1WTP/T6jCnnZ/QKp87F9JW2cpJ2FoPmCQHbZuADw+1jWEKmTSpS/
jQv7jfqmxmpPz6ixXtYRpgrOIypYkgB6Bnsdlg3qgitwarhVhOcEfbuGrST/uOx7mbh3q4RpA8RT
CIusAPOQbjn79iAFldibxn/QRCYu28blgvUOG1K4JiZX6xW7Ns7h1TN2iWSaIaQdlboCaS2BHr4g
07/sBJkqeIskti3g8EEz+FAEWmLG0QYWjb3wCTdf8ahs4Wf/cfbboJkqeA8l74A0leNwi3YeC+LH
69t6iJ22vVUycIeE+ivAIWLx9XjZaV32vkyc+6+AVqVYWLUPIkP1WDrPrroC9a8c4ho4U2PlXhYn
0f/7W9gEzzXR566juNZqyN0xQ2G1qJ0JONB15Bfrh8vCJPp/n1ZuhKlGlNdrCc0051ed9sXsP6Tx
x8si9ot+D5/t/u8bGTEBw8pgQEaznPjotnGNKpw76ifjvJzk3lF2JMF/gKqwnWsCcUP7Pm+vWHPO
2X+8NSHhGEpiEVZyRVw+z8ZNk7/HTKIjuTaJ470fp9lcW5OBnIaV0INl9Pj6PHiTGp95nTeWB8PF
dKX00XI5/LP7svFGoqJXWrpwZcixrVQBk1lpJLq9P2ux0QXBZ6xaHnctFrn/Sydd4hNFPu1pBLKh
leMin0RLeV1A4hM1IecwY9xhSeEruE9kXzlYS/eZk2fkvp3KxUmOJg4JLMA1jFkHcS+BeNpdzN2E
MXE4IAlHisvEx0tzl++zaU5Z3vAe+vyGd1zR/5Rbs0QnRd5KyrIO+KVIdab+esDuh5kl/9HQdMFh
YA/dKBv+mH1pLUd2JsF9NK0aT4RBYKm8GdebFkjul32HTIDwPJlsM2lqrhZ9/VnDhGgddf9RgpBn
RHWux6ENmwLEDuAEfKZr/uUzSCoaTBdcRd7nE7H5w///oaLBRIrwMsqB+ZtCGh9haCcM2rAS+NE6
3nMhfeGQ8oMffNLVZ6uVr7wu/4K3iSSQiD39FdMDNghJeDsFXGABBf/ex+rArouTgRbYR/n0usxR
iM38lmD0rOH6p1zRQ0lAlsCRznunG9zSUT0QMEon5iVZk8Ed8zZ2TWUS5QNiV0xSx9QAAKZHTgWC
n2I6x1kmU06JhYkd/XhZixiosuigBoMfF9h/SHwrdUd3xD4AYEWxo3mQ9hZlH1LwG0ufLqMWQ0fL
7zwhyL9n6NiObqF7kAnEDhlUiMwExf5+OeaWOlX4jn/+mpBdqOBQRhAp0JIradT91JPDjJVGiT/h
GvDvRRSQagkaMmL02OLZDWQcrfCUYwCjB5jvNR9ZTLGa4F0WeLlwycS+/hIDCH9Z8LVi40eqvMtr
jLCyqxzQ1ykJiAxtSXZ/QuLRVpMCHGucThuvxum1rny9fBpZ5ia27pW5XgGdzY/zQkQ/mfaJvXuF
ptjlaCHxz32k5PbErn28Es2M+eGiJnJiDHTSTJbP7z5LiGqBxxaMzU9wovQsLwxDQ/JEE90pAY5d
qxRoxllw+TvtnuRBjFi8rgaaV6w2ETUzy0vib3ooZWLcTTo3IvjfN67WyBfWmyFEhGsHhvrMSp18
sn52pn0KWaYep86cvDWldybQqa4qQMs64zDI7lN2UMHhDzB90+xwn6b1rWAfikmCzLEfxDbHFNLC
OlSSpeECuL8gkWt+nK/gbk2AegE509EBE3+SdYW5l3viozYy+aE3VzsYalblGWQC3t6zZmV2rKoG
uDJrMQYXGrI7lIkT8sQ0qYYJNBdjwPrcKde/BvNbBiqFpDlcVkqJ7ov163LQKwZiXmQgenQ3FEYe
6CCa8BNqfrssSHYgwcdrhkVb0NjByAbQC021B4hwH1wIXpOa3mVRu+CLALVDI8M0bTCtCWbAt42z
acK3WtADAPjiO0XxyAEASQYqYYr7vVuAHItS2IJdfNkc6p7yb2ULyp+m61iPPLaE9jUzr7GA5khO
t5drbCWI2r9iBem+1sbJLVCR9a32TaP/ZWrf15Y6VpSe5/avaj2p5AMbGzepZLOFezqz/QGCKXRh
HVsKhnLA83FeyOBE5Gf5Eq43thUiGIBmVLZORgixyF19Gg6Vi/rhgj2y5mTNz9hd3ctSt/K4/m7s
G8TYK4jL4TphdMe2+gCeI1e1C2ew39JEdS9/wz1j2AoTjGFY02QANSMUFFhdND0aZHGaFTXS3r8s
aHeecCtJKMzG6HykfccjQtS74dS+SsL206TRNgBzu+aYjESOxdoDp0J2q7xbD3Yfz15yX+E3my96
2ShfM5S7HFpglVDy67gxiE51++uE1KjXViVPI3zkf6rvvyCdW2c8KPKSjESaGICNRon7mvdLuFuI
rpIz1tvOE+amn5WhS8xU7B1rLQnnjp9tsjA8is1I0F94sQfgUBLoQXt+xvDoXvjfXKct+J5WBWNL
POJjq+fk2E0oSY5uvLq6px6zj5Zs90bi6UQO8hgAUDbh0jgwsUP0T23eyMLgrgxNRxkJUyHYZhIM
BfRCS6FGNgqE1o8KzBCqTg4SHdwXQQ1KCRoINhMcjRp2FPC1iIBN/XfprJhROlPc5ZbP1FvJUR4k
dhNonOe3UMHbVJirSZuFC/0fAcBvhQmXWAwEjFEmPtQMMp41/0szgtluAsk97irf5kiCp1GtpJtp
gk/15EX6QkveyBL8Rl2pQJ0ZLKR/43Jc8xznMY9JWrxFlzx1bKU5kXLxmqy9G8bCALNT6dXt8vHy
ibmQJ87r4UeI7oQOVlWh14trTb+sNXVi69BpjVOAEKv6iAH7Ov12WeBu3N0IFNKaJiWY9dUgkGkH
y9B+VqnlraopQfKXSRGcyGp1Voj+IUxujd2hpK8iFf+rqbIkXqIvovvA9ZnrxL/h/6yIuLEBm3uB
TXin65SgX/5Sabu+f/OlBJ/ShPGypA3MO1uwUqL62C/LzvDGLfCVVS/Jn7GVyI34kjYKHiUc4haE
qxBp2rdNXp9z4xRxPN7sI6k+/Tc9FPxJWxRD20f8Lg2PtMzLtB7EPzLILpl+CP6ksHKttfkd/r/o
h+BRlrYaAWMOaS/oRF06mabiP491MSraBiOBL/OUMln87xu9r+dytfuUvcgr781S/GNj/FyC5wBA
lqnbKc71Tzb39yyF3P9fsi8uif99c6pZy2IM3ULSi8fKZPco+A81i5cWGD47+vGiXu/2GgXnUa1J
V9YmzCuLT0XUAVdD9y4b8MX0g9+f4CxGW+/bDhgeT2O19DRSWYK3SLNCbcIRx3mSF/x3WYLPiMw5
qij3TE9kSXXwUpjkVyg4DFVtSWa0cBjaHNjqD0s7N7XEz+4WdjeaIM6bNMtUzLH6W83/nKpldyDE
0g3dYASkeZbYR26bUtXUQuFN8tlDbebQ5jcJOieaDx7typtkpGX779ONQMFnqEZDFJ3c+ydy1uIr
/cscrJ4dgIXXpeDiAwxrEb9+RgbO/+En8XIjWHAhOrhOfr0s0mYz+lIMzxx92a9JbeQJDmQEIccc
mzjofTgLP2hg/sTEjYqnBvOG6s133qcH88IzjrrrLTeiBYdiDqFapSPUiNwk9Iqdi2PusZNZ4naZ
0/C5WBlkDbezS5cr+JeyIspIVCBzg8jvY2/XB6OZHDJrLkiibs2kP47Gi54fm0MKbmbCCESfRRD5
56YvtRLBzRiaOjWmBlndX0Pu9KfmEIJ3bQDQIIhd5MM/+y50czbB12QdYOt6HfL+d6nQgzSxKR3O
Cc0yHhyeSnuGckrsUGxIN2lpVPEAaS+0w91Avjmd4HCGzBrNsIG8J3oiDUe7D8SNKMHFjGQBr6oC
k5/T91NEPYa+d2xTr2nOgw4op+lVTqa7l4T2jVDBz4DJt4yy6qW6Ivt6gmux1LyJ8xzS/kn5/qiA
x93GBbciMlwiaikkrVgbWEp0jNfeK4wrc/qiUDCmDpOHhvHUrtehEuSscbQ6dtaCeF3Zu0lK/MaQ
zcHspgCbqxZcjhJWlBUdgmULnu7F/Ei0D4weJN9T4rzFXnVR0qruFtzwANiX1bvfoPgFpAGgnWet
oMskCt7G6OKqxQ4R1Pa28+sGOGDHEkgajVflKaZutBt55ZLf1IUPK3aw664stbKFyCYDUiUYb6dK
fZvNC+i8SeRXRJMkwJIv96R/PWd1nliQZ5MVMUoNQKrqFYBKknw8mRzB2bSLXqQRd26LOwK/qnM1
1QFLJ+gEwNFZu4tje/m1IVk44xZ+6TIFt5MMUwOiM7idMOmcIQrY2ruXz7V/LEotQkA0q4rESrWZ
2EvLFX9SEz+rMP0MKOgcqUQuY0e4L/A+OQwxmEl0ZMK2OI2lVqAcX+Z4+t3Kyz/NweIb3h+jPO2+
Zh8ki2EwXsbJ6Idkug8U5jVnZTDOIJuUhond77URJDzRzTIZqVpF6IoWV6l1t6a6c/lz7brNjQBB
CxHvkqQiOInFAHoM8mOP4GtRcHsn6vjtsqz9N8tGmKB99jz0JYtwmhc/zfnPv6AihhDxwjwifdPy
+8Ngb64GQHI69GfOgjtiqVMO0bGr/ZsT8r9vig/jVBo4ot0GmTP44EafvqTgGB7d9BW9bU76Mb2p
bqXwHLtpy0Yo/8YboSTKej0ZYHJzwB9miR81Tn3FIYvbwyIFLJZdqRDZVquYwsWAxqgHdrCB8dA7
IKUKIkA8yJcs99PbzdmEdHrVqgoY0PiATxPOZyyky25SCG91W6i2BS7qp7NL0hrB7lqM9XAyMa7Z
Vj2YtME96uVVln+zl9jJ0jMpV2eiH9blaK/v0thyLpugxJ+Iwc3QRtrmZjoFbfh+NXrH6GRzRjIJ
XH02ymiOYc2WOptAnVw7g2qfM6JJgpj06gQ/onVqO8QMn0k/cAKF4oDONCdrkHLmSbwjEd2HYaV1
oRTQvtR+FWKaiDIl8lMtOtBCr18SOTcKIfiO3NCnUW9xKlZ9MzLN7UxA5Ca5RANkRxKcRVfM6PQz
BM2xGm4qLTuQOPWLWj0bwyDDkZa4CiK4ign72KHKgwsnG+VrFexkf6WY0iiCsPJC/7Juy8ILEXzF
XOfMztL78KKC0/HvdLg/8+rJs1gkdx9xmy8muAvgkNm6YcDbc5iiAdCSxoGgYiJ18BKbEhFUJnMY
1iilU2Dcxq91nyNbkdeWr9wgpDipP1xJ2TskjlAEVBkycD3pBaz4z1/CssMJDkMpFsMmNvLtLL3J
p+uFyrgXZHmiiKPSzqRYCx5D/hn5+pUnUuA6/kYDBarjMwoYsmsU/MeK9XYyTr+iFznzep7iaiMw
CZ7D5S67SMF/ZB2ZamzcTgHDXJllhm6UKYHExPYPZOk2hilMdGwEiy6KSen1Ghb953qx++4jD6IE
a9YtLKoUGlRQV28N1a/11FnYARSUTjd9lxxr/+oeZAmGnHeZmq0LDHlybyqHo01n/l3l/o0i9Fbq
qS5foyF2+QzGlig0X3SN/+IV/zmbIW6da5GGEm+Fe0RVmaOamHiWod/cefFwB1hIMGnKRuj/JWl7
ECmYdBlXYbJ2v4/3AA4rR5G4/OUMsdtXIWFbrQyikjZ3zfBT3kpmEe5ToqdPiIfDCDbcZNE8Nwxm
hfJZ61Nlvlrt7qal6+s4ijOnC7FNP48nk6nX7di8mrPxnalVxMtnPXwVxRZy8S6N/XjWb+tidta4
XxwLVOpObna5q1vVnTZhEjOrDtVc3lbTujjZaAVaqHiA3Tt1LDxGtf21NWvLadpVccOwzR1NSyun
b3Rn1aPjaqqA+sS/BrxK38zqH1YTR7JgzpOqS/cguJc5GtuJKEgdObwbVfx/4N2KArn/s6bkZFYi
pCp1BgLnqMPN68n8hoHwOtcbb+nSTyTPUBNeszeh0r8eUMdL+kJxYyOzPYljkB1a8HdDWyPZa6Fe
8y23HQMbUZULEPoKw+S6I9+HkpqO4PWsYraqZcWZXzL8tZ+/PKi24PbY1M0Z63G6FIwFJZbnhqB7
Djy15EOKvcoB+zt2kuBQfx419vsvv8MGYM4fvz9IOS1GN+NMfw91c/Dte8Tv1W/P7WEcjxIV2U9y
f1/i/Q/aPHi0NY/qxEbabqKm/As2p0bbjsPm6LEj93gyFbl3+BuBYKuL1ix72W1K9P9+22IjSwmH
Ri94octWvV+7w/r8GTBEbutjx3K66w+yGXnp8QQ/064wgKXEA+WJskgDFf+nLrg0cXN+Gm3aZhpO
V0Q3Nmmddj1ldHYuK4gkQt1np5srpBMGpPOBe7H5FsS3gL+QTYzLJAg+Q+nUupxSHEMva49aMeh7
U8khpGYluIoZ47dDhM7tfSEN2LO5Nx6XH3zTtkKhXPplZPLEFfk0Id0yjDiTUb9hZ+0dxqNBQBTN
b/VgPjyjcLfrojBHrFMdvBGUClo3jrMW4dqmF1R+dj/XRpQQ1sIkpAqhONqUJE6jFE6t5P5lndtV
7I0IIWyht2hbCQp1QdYMTkw+kTQA2537EiFEu78xXRWXaRMT1f2CIrEk7XVTfWvS69iSJF+7bwDz
QQS/yo3tdJmmF1rdTQGdlPd2lpduAuwTt7DiU49lNkcds8+XDyWTKOhB1CudZoT4OOHsx+EbVr3S
qlOu3qh4flyWtLupZm0OJ+jBtKZDqebxHOhv1vbUfO2czO+Ptemg3MTc/gML6ptGksXd07I+dnlU
1TUNHJJ8MEmlotAKRL8qwaa8pc7G3VJVx6Qwb6vB6F2aqlcRKxnSyuJKYdmneaWetdZXAJs5KLkR
qDp9Z5dz61ildQNkM9uzW8NvUhAxV/OX2ijealHxJk4AImtwkD/FRmpmlezQtVXjTnX9fZizH1lh
6N7SsxxciE0ZFHFZHIY+cevJiLxKjX4qcGbeQlnpkia7Ka3Sn6zYQLev/5JMbR8Arrb0adp4hqUP
h9lq16AdS2+ajeyQ1S3+H82+t2mWn/K0jlydKsiU8/zr0ho0WObyU27Xtt/Mfe/iMVu5apZrwTxo
53UJyQFQZ4YbaQl1c1LGDhvQKjDn2g3tRjtiUkb1sB18oFF8nWmyiSd++U8+DoH/YYwS07AEsw2z
dKgUs4FnwGC6tp7S+pqMtdPYL1iEhxqYwCtmFvh7dTEoGXoxrUxf8CjUnPpU+GlADSc6vCaOfQC/
UulcyfoGT70eJFLTtlWwsRqAo3tsymlRhnZsQ2KjEcecm+slzw6XLWpPhA0QYGoammUb4tR4OGn2
ZHdobhoAwev1T1EcXBbw1K1SbIGoNgN5jmpT8SndZIY9JgQt20j/HKmHsa+9qcz+2K0+FsLzzY3P
W6IlnxgfBhsHLNQ3PZSx9ss4kYSI3cvanEX4Hp1u0cG0IMZc35JycBZ9lRyEpx2iNm9vS3DeTVNa
XZLhtgr1OGvXy/RtxgM6ir8PfeTOfSZJxGUHEjz3krR0IS3EwZwPVI/fAhRRImKnlsK/DQFtkmYQ
y6ZCFlTP4bjSFrlp+JOvbRkeL8Vmbhu7nLxZ/hzcV7jf8izeh97oQlYWVpQZyB0tm7ip8Q3VPa+X
jcc9DXmPDmUJL6Z4jFhURThUnBmfwqU9peZyVTaYRlCGr2vRSRRvXy0eziTodxIVaxNZONPKgG9j
quXXyay/xGV9Ks3u0BerAW6NRBL3dmZJHx9SUHfY0arGFIesco8TlaSjqyCJjfzMVb7Ytsd5SHPz
OTVgfh7BDBBqNR1YLUwn4Ep//A17pbb1krfc4hM9t/ePJ04kRCsn96Exp8suau+gj8QJAT4rhnWq
VohbzvZ3wh37eLRe2baLmpFLAx3EueN80BSnkl3xjgE+kixEL6PKjbJbc/QWA7BCDOA2Hw7jMW0d
9pZzvE5XsmRmJ1wikWGEMlAuUvMJ4UCl9AylILQamzfLMnmkuKUANtL7vy7f6e7BCAIKHzPRmMg0
R2K9n/AZeQ+6eIOlxk+9UklE7Bi6BsbI3yK40WwMPQp1u41CRH5Wvw77m6w/rYokOu7elon4qFLs
09tUMHNWjjqpVuTSgzE6cI9Ga7nmcL3WMhirHcZIqqkbSYKFV0lnNZMJSUhlfTMo342n6ZBhVrz1
26/5cX4vd5S7n2gjUjDvJkqq0Y56qML6lurMVZXQu6wEO+k6TkUNDY9DTTONJ9NGtIhMq5vwFrmh
Z8WJ3dSz70Z3CZQDwIqfQ0j59E0KifheKocq0FXxTbracRkVCd4i6WlpXN2Pzr1+22GQeH6lnGJD
8tba1Y+NNP73jQpivzxJ5wXSSFSCMlbXr3OWenqyNk67LLLb5B/kiVe0LWJTgyBJEFckACfImnRF
PYF+4dhWydm8qw4WKNhDhx3jN1K3uKcgsDCDMjStTEv0FWtftklrsynAQqhWOZqXg000OmiH8oPe
AheEs75L+UmejolBVQy0yfDxdJiE4BG7qtMy04TKmLd8TiG7CY/NiV5FUsin3dOhIWdjR9mgcFKP
v53OehpGi4oy9dwEyxD7ehpI1H/PQ+EMjIHaj5owgMciukGNQGaw8rjCqdin99aRbyf0vhpY5+GU
IpYVHyUy9461lcn/vlVJNTWUCJugAXmj3JpBjto7H6bKTsM1Z5RJpPe4U3ykGkzc5mRquEbxCRFp
c6v1IdTyf1F85KIsw8YuDWKX+M3SBBAA88DTLuNuSG/SJnMwdSe5wT0XYhgEibxJCCXii6Uf1ZSA
TWmnrCUdVbwHXBRMWlfxnMRKvmajOSwoYa6SLMtDNt9PQ4xv1Qrg8f25utHucudaD4oTDfg3iw+f
ymuzdlbiyA1hL0N/9CPE2BPmYb8w/IhmARWMXTlgXkbTHWSqxiEHOSyoy4tvly95xzJ0FWjeDIZh
6bpo5asaLktfQeSkfaGF5VDrvVW0EvvTd2zhkRQhQ7CnSNXICimYCIrfLX5nuyrF6bIvRYTCUXrK
7jhfBae3nq57TKLMH9b4jY0VFHmJfielffRbhGfQnCgZuCPtGcVSetB97Tg69VE7ozAHlicpnB33
kqJeIbEEOrulYexADINmQ5Vp1JQ5KM3ip5rPKPu1qQaOutozcoN5cVNVnrqUd5TEb2Or+1RioQjb
zuqhI+ClXtcicaI5Xo+zPYHhTleopGa492nAHgnniPTAMsVXIc0bNSsj/EA9Ru8WCIKjrMLPL/TJ
FWiE27AKLy+C4JWkQL1rgQRy6E98aoVz8sgHjXZSANQGLRtQ53hQAlfjsb/taIK1tzhaUHogfpYy
X0uNv9DCvrJ1JptD28undI2gbqxzd/sEiIkabOr1qViC3kYJioP4qIoTXWuFk520DwBbcyMvJ95l
W931DxrBW4wYBHJFpF8KfzxjSnfBTS5+6XU3sad/zpB3KIciKN8DgfKywB3dMAghgOMCgggxnoRN
zU5IT1GJt5bSVYvXSrH6/00C/wWbIJmUYWYPqBkFefmmqN9Fpmx+ase/PTqCoBWLkjZ1oeIIU/uN
RkHavepbyUTnjuI9EsH/vjnDElJGyhAiGgDCWVrjGutyGNs6aEKJH91pLCHj3HwQISdTaK3TlEBU
H9Qn4q9H/iyxDyCxd+Xzo3vq9kia4LVDlVYDJtoQf68Gf/FjjJwlB/Nm8FSvdWNfyoG54ygeyRM9
s2JY4IKAPKs9W87shSChnlx6ng4oBHgEpMmJmy2v7EN69Yzx6Z2kHtItiw+HYSdDzAAmrUCdpSmR
r91Mvg4WiHvSiV8DmM/jn93Jbx5JFMK9bgGQd9Bw3j/P1/Zyw0eyhAw4KdJOA04j7nZS37WzxVxt
YLWzrPRVydLrxTLOszURF4wReL0n35dhoBJb/xd9erhhwdi7Cc2MGBDLv4DY/yan/j3gAPCQFw0x
cot5kCnYfzrUq6ZVkPnkjqU55F7pANkqHk18xxwBVdBfvdPaou2hQRwr94a47WftyLA/C7Bcnl08
I+Pf9W7Iv/m+kmbjfx+7Hitl0RLFI7K32F1aTHBwyP7UI5OjAJgFvmHxlsRvpWvQ++q0ESy4hrZQ
Ys2sUfJ5wbXupFC41odDCtdqxtOkzy2uFdtmPhiaDZ4b4xGMTfrMR5cBm/R9fqoBRjxJ07ddE32Q
TYUadjSxDHQtkN17KAs6pRedy6MaoAd4NE+XQ+G9gxHypO05xTcV7SqWsrriM6OWW6KZtxaYrDum
dPXXtQKkpOkM+WHpb6zp1TJMkROxj4rts4o54aB8UvP30aIFazGfxjXxNEW2W7ibDVimxsdnUfoQ
U1kCxKnaVvHNNeVLgT3UGD/z8hXsx7eNCCGUKqG9JMoCEfeDE9Nd5oecUjHD4AQDbZg04uzUONAK
eTiSYD+93RaRNfHKZV57VnHERI2jWq9NA/EujtyyrJ20+mbrHyXn3FMrJKq6xfCCxlKO8NrU1RIP
ThoCYONIzuspOf/aLn4WPc/OewdCDEsj6JUyvG8f+wh9pGhN1KoK85k+GN6MlafOy15HvOwn3TnZ
q+BDmqWZqkGQNooz1kM7GrTTdRVlv1l3wtUdVodW6Jg5fGp39pvXZHTh6scM7QrZ7O49S6RoQlvp
gltaC0qymvDHTJO7SWT/UBs0K3J78MwkCv0lGgGCHCVZ7WtL6yVa1vpGoh8Uk7SOoaQATCwZaqNL
d1hU/djPtDxa0Tz5dj6s19UUfy41dlfQPnLSpf5Z2bRx6ZyCN572bjUTz5wHF2ZrORMJnTnU8uM4
tC5yXPwTnX0V4S3h6ioeWr2qXwGnJPXCmvwYjcVLlOqW1Gbj2HVlO0gBj21q2m9QCs+cwqZOS9FI
rftucfU1Oi6acpMB864LtezdqsMpDqwMhrK8xnjE6zHRIkns5hcnXCxBrwI6hOcVw8d9rES4tins
h2UNmoTkTjVUAGFmBBCfOnA+FRPzFZYSvrPxqpZYyk5W9kiwkDMUtt4mYbliaPdm+WctJvSMm9UN
8Q3QtZSNt3NzEE+Kx7qFQjmz6ZOOFyYGs0Zp0+UealI7Jocer1X1KJsU3IncCNkED0UABCNDETxA
v0SRGvbFHGidHQBrz0nmd7neScriOy77kRQhw1SUsMhtmuPp3RvXSl6cbENCZiaTICjGMiSz1WuQ
0I7DkZqZky+6LCrsJACPTiHoAAW1SJoYGWoo1+ygecbHtHQy17hZvlfgsI7cKojPylX2bbmTKN+e
1m8/kpA80lQfh3zER+q/j171ipmODVDg1de8DNWq2i94DT6J/TnHTu4zyBd4uHuiixslEcJh2TPW
VSOqDCBhOiRXmd9Mb9i79dBUTvS69MuD6eUoCtFzJ0t89k7O7RwbozbR0QR4bO8hQGDmXulRsGPV
DdBQXYJtgSlTnTalDhsTpx9kIvdCB+pjKjBR0eUAX7NgEomCNjfGH4xAKZ3eGwpsAw+H2FNNV/tC
fnQe0jy3YQ7YyajkQ+8p8VayYCZm3/RqVsC7zUvnLGmGeSJLgvq3KwLRVwOMrUaZOG84KRoIXqMS
EX/4tGrvxua9RFf3BeACsUaC+rVYLFfTCsNfUcj7beG5c5ovMXNGp3eqExTlfTujXi1rEe2pJ2ob
v0UK1zamBlt0e16DbjCcIfsRl8DTSjN3TmeZC9hzl8ww+X8ZwVai4GaMMKuWbDVQJ8Kwf88cPfPS
oOwdAOcGQFsHYV2NBW6aurKUYu9at4L53zfFnSJsizCsojko6s7p6dlsI+fyl9u7xa0EwclMbQSY
IN3GlLoRO50KBCvr/VgCdVU+By27RcGfxOA1XgcbohqU4P3JB58LgIcDZiAjnH0zccHb1KOyI7vE
vbx+E8WfZIWowmVtqCBKGIyiPgvGxrH3LS33w7TyLeV1oYBqcF2dkSLpzuyDqUsZlveCyEMGQ2wh
NdQqZqymhnZc5xdf1dwhLrBtNCdnTq06iTu7mqsTl/ZOD1MJZMj9e4+7RzcgONRUW+a5C6FHnW9/
x/BO6qh/LWhy+FXpDTdxUPugQwgdrQP2DdaEjpE7fgHn3umyru1q8yaNE56zHaNsbFX8CotYXjFh
IYkl3n8TIXhxNmFMsirhh0YMn7Zq6hQQdVnErhpvTiH4HWXOrKHv4XeGGXxZHXPhE91GbyWGuVev
2nwzcKg8tv21VZqyjhSYC54vWc1ek6q5jrvhHabHsa732oxPU6e7aZk5cT04KBLiGelfPusOXACK
78RGT8PCzB66149/RAgk8jIKYbPquT9NNz2IApgDOEFpRvovx32QJHoHw7Lz0uxX3l3gExvNgXk0
DHLIM1x2XI7pfJAcjiuDmOBsD8eNduNdl2bENHcyrL+GRIgPWub4NTfFZw2J7OoN3i8IkHhAaeKE
8tRPeRvmOKAZvZ+tuzgHlXv56fKR9hrJIOZ4ECL4GWLaLasGZDHtJ/3MF9Pa1Ysqt7sp3tv+jFHL
4nP4PT7yoY3yMDh0ddZbFjkvmFh+9DMEf1NmKR45aQWP240upaunFxJfshu3Hg7KBF9ChrS2VnNa
gwg93Ka4m8t39RAoZiSJ/bs+ayNHcChpk3TRkkGODg5DpwmX2mVUYS8ydpRjMN2tQZo4Y9OWepjr
/bgC3ofjL6SgzwQ2WHQ9eaHTNSg+ybzY/rkeBArmhokpa67VGrWK+me5fKFE8n1k/75gW1pcj1gC
aOaAxjWUrBvAIaTJGqFcjZ4YMGZDNbxSTF5eemzAdAqJXsUzJlPRp05TTGKDNTuLTXdddCfSf5K6
9nVDAuS+E8pNZNJYBbE0HbPywsnUPjetUFXQ6dVRwerTq6Q5dSBljrvIqxXJNe5V9R9JEwx61tGh
xFWu9yVgZA3OVGFm2gm9Brmn7mHCLM0ccJL+udo/EstvfuMay5LmQ2lY6PUa3bkygRzXvrvsqnbc
ISQQFNYRVsCxKkSWzu4n1pnRGmir5rWLgf7LTHw7LP+Pte9ajhxJtvwimEGLV8hEJpnURbJeYCwF
IKC1+Po9wd65BIPYjOm6azYz3WZlU54R8HB5/HjEeVvv826MlkCSYdLZNNQ13+d6NmeBpVCUTosW
f70BskXog2oBuJK8aieM8wfizeqogxM9oPBlXefn9Vvh83hb9xr2wH3RHgmaQYqsMtdp9aqWVKiN
++OL5KtO4aVe4iJVoVBmWgrlZ0d7Qe9WJEt8smAiZsxFiFTvlMHpQ+lQOL09Lnb7BuoCPniahj1f
bvnjiCztyViMpG/oEZMwCrLCTlE8b9z0cXGnByHkma+9cAHHA/TBUHGdX9aL5KmSdFYyLvDd2XkO
G6dAxylBcTCs3MTrDtXhsrrumBoApS1JBu0IknW2u2aKCyZYLH0Bb5J5VA5miIwJM9G8wtz+uQwZ
mDYF+I4vPbW5gsFREsjpPPVY3mYe5auB4/4DRjL0mLIfl4+1+wo34hjzki1FIYOVdvGNzJeL8bCm
d73RuJeFcA/FqD8RC22YZYQDSViHy7kBFLH2wPrnyLZ8mP4m+tCkj0OxbbNqiswlGqTFT0xwaBFw
aPA2LO14t08SGMezTnLeGwTeDatmHVL97uTby1fGE0Bf28ZmxdjenWYCjhDnKC8o5Xw7pTyM6F6w
+OkUTFmjM820MDKconcnb3kbAthge3FEh4bC1DpRYM8/FHxNqMFoWC63K79rNjbfil7E5qBi2a/J
QL+VcmMG4MU4pdfkWbqjm3qXQ8WLS/fd6UYc43WANQbvVIojd14btnGgpP8X5ah5UuStznIF0pHk
yH3WO6nGp6tmwi0za2R9wNynv/4kt8UhulVdDO+AggotBI7r3n9t2OcMWk8VIxdse4+ofdHk2rr4
2Z/0DTWjQ4Iu5vRS/gGQFCDDvzPF6COqGIm0doiNhChWK1Dq++KdjCyxQdX0p3yz+KCYhynmdk33
4i/EDZgnAa7CkkzmKjNNHlWtygZfRee00iMUaI0mELu0dlapfo2GMjQs8hAZ+o9Eqgtb7MQnpZ46
2wTQ1476+KbvmgdLnZ1xMn9dfra7T2r745jgMBYEIx81qQe8c3GiQHVyt1HtakbA1k22fttjl2Z5
lm3Rln3hWHqJF3ny917yL/+OPW8Fen+UsYHNwA4q5mWDmHTsUM7EgMVyu6SqM0qhqqHjavXoQh7N
un7oGx5cT9r9MO9O2YDaWWwFvS4W5H0z3lbrNt/osgHlxbLHXylcWOdjyWY2OtGpxwY6XrC6q/Hy
RjJjLWtNKVVCEOGpNQiBKQdV/kCp4xeQ1wEsxueW3UOgaFuJzAVLySKaqazCPlvF5JQCOehxHsro
qQtRm9pVXhE7zXu0mc0GmYIkIknF9K19+TPvxpUqjJZIh+HpB/9sPZvOjEVNQesgfhNu0lP3e3xu
f5A/5TfVL49oVSjYDM5R8d3AciuTueyhrPPGLDEsSr2G6gxBnNkaRhmEI4CngfVX4nTU2zBwq6sG
m26lppRZ7azQBIhmxp0The1hdqwgRweKN4i3p8KwLKqFeRdVgrTP95kvC7JMFRWhPDdpw155Lubh
Th6tBTV/zceYSMj5gvRvZMPmrUTG//WC0eha8574U83997tIeEdkPCC27aTDIkKgmVUwCODYTW6W
QQuH9kaJuL5hz++pwJnosgVTLbOzSupiWWSlE9nicQyNU+GMGCZozyIl9+Fd5Q6cRhdNRQT8GitO
UbD8/PHWVK6sBHQuvqIU7gAS93y5NWPJsYyX0XxuRL8YMQZTRZwe9Hs3kvmEoBwAjAZ2FrVeNjVY
liyNwf4MNDa25rqCvNR2amLT5ioe2q48L8mou9grnxy0RnCIlb2qbf6jF2ZsLWjVq9WMTsgab9Q5
8qom/66Upq8p6O820zFOQDGQZq7WRLUdGx2wT0Zhk3atMJVRkaA2zMwpK8ILb3fcB31xIkwqPOyX
JESQ1FySsQ0QHOeDbcmnZDpWxeuEDfVAeziFiv8Oq3v5JVC3/eUWNzKZTCRW0ppokTT7kQ4q3+HV
bI4jUO1N9POynD2b+elw9PCbiJNyXJEiWigiCXSSXufE381brLl2KCMocqxX4fGyRPrLL5yMTUdk
Sq6KHhQCovqXOAx2Lj6WgJAsByN9KIbfl4Xteabt8djoD+G0kU6VQsFdZahcfRAI8r2grFHr9OVo
pgTKeozq4R+MMRkNLa5WsQU5OEi0naYxkx9tawCD3mNVOKIvhBxpdS321XnJk9qBwQUjR6E7Sp1X
rryiTDDPiuEVAoAUnfZSFSa6YbXZOiC/P0sZ8GL1EkiTcm6y4YRdHydhnd9EKfphmL1ySKbqsepb
01arFiUdmdT3izwKjqIno7NWAMALI/ACA9huBjm+0nvj51g0D4UqB51uOFFSPtRKiZCIjGdLIycs
dQvNqDh08jA5gqmiUzfVQu2CZxUrfYHO8yOjJg5p1TaYU8sphwLLk8fMNdNyObVYQCtVc+8scp+6
5lApgQF8nyPWWu3XUisEiRAZfpd12KAhJtpky4PhynJjOrPQPSiTdWg0XXzT+053owjstJmWzuDL
G1fZm4Q8nHWt8jHQnZ0xNElu9TotvHERVH8oEuOqrAfBz0aEuCrR0DOZS8M2hWV2+0EeTjAUV1kr
nPppzJ26HZ66Av/vphzKcyQ37bcyW5ZwtcbfqdyHJC3HYy7pv5NIVBylUL6ZRpZ5c5UKniWAwbk3
hmdZEcBmo7QYmJxUE6laqXtibgSJuoAGNCua4yT1xSEzWu0m74U4tTVteMBSKifPNcFLUvVNanq0
YFV/kdP7EtQxSTV+bxb12OmR6k11iQ0V3Xido451HTd9fBLjJVzUtfT12BxtPcnvZhAVd+uKgvlc
uyPw3dgN3rhyVWEFuT74iQTWumo56rVq2Uvd/SJ552WL6AFh5YidoL1pefwTO6tSexTqg46c4b5e
u8brskFxUUKYr6JThapS+bvTGuk6Rl/DBfEPCUtdJQ9C3VmAOMvTpNjY54AmnETm5EHVp3v4p9QR
GuQkklw9KrPwiCVVoZot4RzP0jHRWrDzzJPdJhk4BbIDCCIf8XfajYzpM6k7R5kJ7ImQuZjuWg7C
qqO2TTrljOjSDJJoOE7mqLoLoIXNmoRVi2HcYW4DwFtI0BXDeZVzlMakCIt2zew2Swxftda72JoP
SpIM9tQR8HzUbmGg1a9V0YvVUzxRUnqL2WRhpKKELuXP1QRIBXaX+aBwcsoZODgMmDQn5LHtL0B0
MmIj2TRsJIB39aDeRmN0U2q6o9f9MTFrD5gJDGb2hXiF1eanvgZ//9w/rPp66FZ8bjUSIC7XntdB
By60lb0IkckzaE+OUWFWx2pWQBRkvOliHxSRbOJXl3YxKJJjdIDJotGVeELXiFdSU1ucyJoaLtaw
YS5RpgOZJkCyTGBdl2UUrxFs9pw+xe1Vnz0QHkHXnu3cimDiaIlIs1YsgFfN6gxe3tfOqhyOL9gJ
LvWtCPrnG1entQT7FAZEJv8sjfj/ElxCIKZlTRNzbV/mOY1FBaesimsz6sbNimcxE10zemrLg9K8
XT7c/hf6EMXEC6leRfKsQBTaxnYOCEMTA/caXBay+41QYH4fHhS/NCmieBBhqYXVjyx0XswUCRUH
I7mXuwLF9CGCKWfIa4OEI4KIsrIpvlA7rQddsLFD/U95X2OduaZwdHsvgzMo9hvgQoWyMjCBckvG
lGDF4uJLqLlJV9X1aP8E/oOuofgvpkR2lPCTNOZDTbOlxtUwUGkzlvWgIPJ7BoASjtmewuqB12vZ
0YtP4pjwTk37FNNwPfTCDCXLdBuA6ob6+bJe7ASrEEL5v1TKB/eleRXlSaHLKHkJku70CMyzqnNL
UgRyy6GG2dHAT5IY9VDyBMQwOiRZg2SPyY9K55ZgeSIYdeiN2CQK7RSNPwFEB8C6BFlAgvJJjMm+
b+W9DKy86V2+wD24JRAlQDorCp1CYDNtQV4LUlkQqo9uItvAva9u6a6nxB0LGzwFiVe0dNIvsFxe
K2evCPxJNr2QjVmUBuwt6yPIloMRM6yLvXyjc0t0RKBsHAOsOy+a0wa8M+/eM/CsoqWAVAC12c9i
9aXCDLq1Ln5NFm9s8m9SNn/jXOtOroGjfchgnMpC8rqdxAUlJz+7H8PST1zLqZ6MezUcfEq0Rb5b
r8ldHvC0aPfZbQQzrqZqeuwLykbZJ6rqrHHvErAJlpLiXD4gTwzz6Sa9M8scNOAIqC3iaJoaoKDx
GDUA0l0WtFfNhBv7SG2Yh5e3egqq8RWpDdYfgWXF0+5r/ag/jmAJKDC/gj0cZ0NxF+IUnCdP3xsb
e2wlM+/RKuRGW1UBFbXhiMY52AwfyBL5kRKQgtNm2j2lpquSAvpWOCF2YKbQurgWFoznaA+6ZpMU
4+S1D2d6in4hjn4hb/lZg1uw/qqBq28lM25BtgC6T4FL9qPMVgP9WHiUUGy+H15En4LLmwPng1LV
Z691K5BxDHWGOmKOcBqFRJg5zJliOnLwF/h0ULDHLrcNs6OqOCA4DXQdw1ZfoHOFmQpxD2YGTPQO
rQ1CMeypS/zRRh1+PVP239yLH3g2Zs+3f5LKqG0vArah5ahDU6Y2TfOMzEG71euAFqmikM97sGPU
PsljlDUymxLUR/iMcg/7aTXOEnEbCzwZjKpEg0mkBHkToIGAR73D2qiu6FdaMFxRS80tW+4VwOhY
KwDBtLLHwtl7bCEwVwlzZGJQh3T7TuTOhV2BZyHsXPrlwMh2oKBE7TX1q+fLmko/0RdF3QhnbPg6
ErOUxAQ8LMAig47sWKsHU58fspK3NmnHWwASI1myjkCQDrl+9khqMmIFpopMMS1kxzSq45A8WN1P
rWqvJ+FxHh8vH2y3NrWVxyjnJM6rJK6I2TVbdNJD48Qeij8gtxG5eI3dh2CIJsr4OjAbX0hTa2SO
K1YXL3gIorO8oVSC0cPViV/VAx9ts/fWwV+DthdmH4BIYS6yrcoGBNigBq7lEpOHmPoTKocUPOLR
3Quk3Wuwf9B5a3YQoY+xzXPqcCg6+Dyd19M/k5vTDX8Tyd6j24qif74Jkhq5joRYNRB4ig+y2tk6
1m5w1GHPIm9FMLeWS40lJQrI7jrU/ub4pKePqngzRq9NPhwNLPNAC86RyGSn6hwQZK+X5e9/tI/L
ZLRxns16aFNoo1y2roZ6TRLPth6vnGPuPeftKRkL2SvikIlVipy4ux6j7zL5o5EMBT6enJ1V6KjD
bpSDMZNgiO0UhWb7NGKpRE/93SCopjyWNLJdXIrgGFRHmNB15nbld9UFZAfA3Yi6YbLB7STNads2
EE7XiEoopnd26Y+H0ZncLHWt34XLx7DuRi/GRihjKbNoKdpx0df3Uj4Qpoo7TWFx3eKla4FpL1eF
22NxVf9fTB/t5u1b2UzAuxiiURiWgKzJjw9CBELUxE3qh3/g46k72Rb5cVlfeVfMvMh+tIjcCLDW
dWYE8AdFw82Mdl+krptggTZpW5mJkRpZKhJS0hc53Mt6ILb6NVJ3LzWJPZHfVX9dzccV8ylDalvp
6F0+3/6Vmiro8MHniTISIx3LYjK1oQpMGSxW13yTDhR9BAILGqLxTdy+Of0QyGIkI8XM45h2Zlq/
DE0B62+roDwVYVNgFd3fYIDwMgxVB4UB3O27Nm8s6jiY1mDSmuJfsFbs6gpaoAgPwAnyZZpxiGVp
7jpAD6o/ws309k96KwUroAGSR7yYC+TiCWSf4qAKiT4naIIOIiIl6888jr8v6wdPBPPiBrnGxgTA
1n1x1u8xQe8D8eH+70TQn7D5RAgyqzlS6wX9fxTJ19sJNAyXJezGJZuaLNstriIikp4q+ccO2NYz
QKJEkxDejOTuk9pIs5gxiWWFmVpGSMsWp/PM4/yL2inMD2HDjt+iusgNnXe+0qcKBOPUe2SZgMqi
3Ie2y9PgiV7pYyjTvMWe8xB5809+G3LvSj+JZBx51CpZPikrnjEQKZSeFBD559prkO7ED7w9fsqO
P4c0A/Ey+BoRPjNWami0eBozWmA8UF6q0o+PFuax12fhPguqQPmRoIabPSUvjTMeOndydb+/U0+Z
XzryWfnWB+010ulfcWJbYeRUf2FEtz+PXRgVD62CkueAFUO4DFq3SPJrcQJPzeyBSPpQVcei5KXW
9JsyGcsnmUxlq2xQozQKFJRzMHM/thEqiChih+VBvtFtC8uBzvkxvVF5pfMdbwVKLtg3g85hACz9
+bVOBihCVRHffTpSPrIo1LwBFL8UXQf+O97D3fvuW2mMluWy0emZBMUef5aYNnnUXuIDqP6wd2T6
mX+TXwZAW5z/YjBu70Ft5TLxo9mqg4oZpH8+qIb1lKfYG1Eindz8MDyO13z89B5EwsBQjYImDshc
MV/z+WLpLLeYTSo6iBYSNRpDJiAC1a/i69EBKwgID6x/P6AOiSpaRjLkgeDns8SJWOKSirhcRPvy
WoHoow44hpf+aFZJNyJYZ48W/Yy1SLP8XhkR37A+BYyfoj899nyCqh0o0vY47DCENlpNKY34ZmqQ
3xondH6Reja3fO3YyeA/CWLcrjhNWbmCw9CftNSyjRyICuAMf3RiKthqM561tNdtPQf88PJt7r34
7WUyvjhNl6JvxBlezJg8QMruu+gN3eLwspTdJ/ehFe/wk407jgjY2IV1QkDYKfdW/ht4flvMXk0j
5Vgw3nEYS1JktTGkKwzYAABKF6dOF/UAPlX+/+48jAlBzVPI1hkGCy7Ls2LiAVulyrOrD38TS39S
DMZq1LJcrOsEbV9QB1RGW8SUkzeDsXH0SgzB36dc+qPdtspWJ5j8U2wrYjQLLrF38xE9FSwY+iE/
UuJE84XuWgaHR+TInGm8vQnlTwdlLIe81mCeGnCnSbgAjiodtLMWUBPFjd93DfGHNrI4Ls0qc1JV
uNLmj/rHnMHCErkGzHAV2WPqyAAa86HNCv35F6wWC+eqhKaI5hVC41o6TIAWd6l8WrXv7fJdGH43
0eiR4aHTLbsDlfBIHEsF5Fdsr1pwSCvmd6mrbWSLlYVlTjUGOqI/bdY5Vq24hTjbygSA9KKj0ILd
D8MAdpO5DjXrKeqWY5PoKI1rxjkpmtI2Fv07hXkMHZZdGVKoRPeXnwbvchlDJqTKCqg0nnoizdeG
1oZarHiXReyle1AVUwazPLIwjI59djJpvLYWem/UA4yudNVhxUYWJofyyA+89y3XhyjmLQgz4MzA
Zc7+bCx/QK9hV+ri5GJ9xPAvx3btHwvoO9DWqCbGhxnj1RSpLpABtvjfI/52v9JGFGPAAJsaBiwL
kv2xCwVV+t3P4p/LH2mPqgLN0Y/TMB9JUppGIyImZTQQLSZjgPUXR/IT9X4QN8t++nPFIMcjqCOQ
v2A4KdRjm9fK3CukffoJzMdTpszsOjq73LtmIHqFV94mWE+KmHa0Gzd6mLAU7U17a7/z06ddvdmc
nrFmlTmCpaeg41DRsbW+Z9Zsj8VxinisVrsO70MOmxeCGBwrAWcMiJiD6Qpd5clYRTx2nCiBoy4s
ikrDYims8MS3jEbjrJX1rTr4l9WFdw7GbKyZISQa9ahyKgULpmllafRVo+QEIlTpvljhzXUx4Q4R
o9wwI032Nf1GE89jpbV2UozfpfZNBaff5TPth98bafRaN2FPhm3MSNs1WsiNgsRBNgliPkcL8vfB
IdRuYrvjGRF6UZdOyBiREgzpK0gBZAD133e4f6fTwkZg+uRo8Xuj+9I0iW48kEEYxdxnquQjOPCh
5uNP6ed4VRyLYL5r/2SPMpYMcKua9G/7erYPacx99uDeiRYJyo4+bB6hOOXQHnd7AuwzMw/yFfGm
g8yLkHcdN0aE/nNE5kKTOjcyNKEWH/3hxBdTQCnTKMFI2nA1rSkJJiUXbEnPsCxRyBvOs9jX1w/h
1MxsNKiDm8MeKxmYKx2VWxQfxNFJAFVYZkD6v11W1y+PHBMXmOzAOkQAyjD/xySLZWYSoZTqLEBZ
2UNF/kkRlLvLIr6GlowM5pnXi4I5vxZbDztUXDS/OmaZjaa23111YY/9QUrYXnPjPXpJn9SGEcoo
qWXOBlDe2IypBlLrmneJ7Gp+FyQPgpOfphfSnAmYz/8LxBxPMKuvQgPIa6qCm+D74piBctU+RK+F
I90XV0YCehoK1IvdjrdC84stZc7LaGw/L5E89W0WyLV1Iy29amNGvXHS9N8bG0YSo56WuOoaNhwS
AOR1Z47zAMnKucmNQzlLTisUoWoSp+sRZSvKYkdKchTF+t+bBeZXMJHG2swiiaUuC+Jv8jE90Bq5
5Y1H+eeKCrng8gqHX+M0Rh4TVlSDqZeWVYFyHLRN43ibFODxGNpQVFd/su4WXXRG9bkGt7EuPV1+
QLxPy4QV2pgaUz7HWWBg2sBYFNnuyeSo88QrOH8xPJ/PqDD1ZmwpFeqxxEM1u2/6dCxy4PrS53ZG
D0nhuCyO3VEYuwO6+HVKjBl493j21sjVktm7fGtfHTFzGsbsCG2y6kTDaaInne688LtrpFeYOh7t
1aNgWcOVOJHG154mI5OxOnHbV+W4JlkwOdGdBRYnDMUfdLf9U1h2cjb99AZJ3sEKuVHvFy/JCGas
zoQxnq7GJGtAo15aRUcd+75B/Vp0xyAPRF719kuNjJHHmBtRzPTYMnBQErbYYTIepEAI/htwBu/h
vVf0N95wKCvBWjpIUgMa2zSBAK6Qv4WdMKdijArWzSRguxWpp5rQb6FMIWk4exHaO7VDeMUPjqdQ
GJOSC4AK5RHJgiSUfko+2GkPNdQlw8ZKEXByLOak4F1ej+frxCNzSMacZP2KNEXG08vy/nYx1ztN
JbFtJWnnyGMC9MtifO/H6VcVq2GigxupnFU0k1sH/HxeqWlBnBf3WZTbzYqtMXNrhrGQPnZN56RW
qtvDlBwz0zxnERY2rShkpClu0Mp/ma32jJnHF84z5xgtlTFa6hAPo2FFiMlQKxvO9UPum2EGnGdk
4/rQUdAcZHq33LF1jgVjMRPmMrS6KuPrvS/cwvCvDRqbxi5AjjL/Ed0+SB94n+5LVPr+5TCOixFZ
gJDZ7uOkVpYmFO8KQx9dFGJI7cjvde+f7H/EsOllOjSdgr1HaRBbMh2m8oyyeeB8tS/1/M9HYZPL
MV7jIZLew7M+VAAcp9wKpo329pEbsPDOwziCoo/A6dfgPCQEk1LmVAERbeNJusfc4exhaupkJn5J
OP5n32t/3CLjCogaNYaYIA4UUKuL0agQwMuZ/WsSNeYeGbsv5SNY4JcEFp4GQaB4LMIprAPuHe7b
qo/TMPa+IrS0SnSElwHlwGpvOqgfrCPemQIS7ZruKElsnsJ/HTRgjsfEmkABllEqkDSo54dBue4q
DDOMpb0kBSBthgv0kD0p1THv1XCUf+U1ECdyoMggsDJqAK7B8XZZb/dVCczuFqgnAU1kHESClR5z
phS4BkkabAzi/FojkaM4PBmMW7DUeh5TAXHLbD2JRWF3mBq/fIr9j/lxCsYD5FE6NuA5Q5SiIqsU
asdC406SlkOv8t451fKvadj/iGLL7u0gdUaU48Imkt+NehTkpRxkZfSqZ8WLqWr2OpDf5jScseju
erJ0L55mx8x5VPNfqV3eFenjdzDxZjwRVYlm2Bu6CCZxaE5m/ABicGqQio7Ac5NTedZ/gucE1JpS
uBigU7bTGx6uXKa25tJ9MLZoMlarw5ZvGiCObvlrxa8Zrsfb4TuoHBz1RsNG0aUErxalpga3XDCc
eEG+wvsJrGHq1VwdlCYLhnw6TjJytiJ/jVK6Bn39HpWNB7d2h4GQG7Ttj0Uyv2KVyUGI8e8deTab
MYxJ9zoN+gPoYu6J0jmginxqm7HFesI0TDTNn1czEIboRPLY0apktAVdKJ3erJ2qbQenWtqfhEic
wYt95/jxhRlLuJhjrixaT+NEWEK6bSyQsL4oCS6/nV0xFOKmmTLI5FiwMGYKFY1ECoGYGGLMUAtA
7sY3uPSVf1GUjRzG8mHRYzZUq4wsO3ea7LmRLE/qsXTL8GaQAaYYH47vquGGWkISt45c3czlvZY9
t2tt6wPt83CMxn4gvvlFjO0TTDBlCFjrF0xH/Yi1hUHhqHDaFiIQ3hjgfu62kcXYwHJt1QQdXBrU
iZgRd2Zs7sbKuszp3PiXseBpEE/lmcVdj70RyprFpS9BYkyZOVQsSEqxdzd6sLSSo0BfUV3UFH2I
YbPsQm/LWVZIgnukFBaZZ6KUeE9XhZBj8rQcuFMluzZ4I5CxffJSKi0hIwm0hxlw1+wIZm2ts1Vb
uKtc8LQd+GhmqgsXtPfdBm2StkiOlsko8UpoEVz9TZAnVDZMXUBLxcpdd5UcjMwFxxefL57zFdlt
CXJfWaToNZwWLSjAivNH2vupT3qC/ZqTW3oo3OA/vILjvlhDAa+ZAfAN2+rto2QFKfpAgpx8F8As
UZEnpa84b/ArG+q77nxIYdzHWHdrnmeEBE1rE9AxohSOEcH5hKJm4mRXWuusx+GK7nQ0z9ZV9ESI
e9n8fYXrMb+A8R5rq3RSvuB6xdY3jyiousp9HKqtS8up/KVQu8EQSDP/c62MVY/bTMRUFK5V7u6b
urQF4f7ygXjfjf75RlOnuFGTqKMCZnjcrgrrpD+a88RJ9nliGHNeZllqNohCgrmLnTjS3Ez5UZPU
uXyY/frT5roYG53o1ppi9oKWgbIz+Lbs9Ng/UxyhgIZQ+khTYum3EPJoxXhfiTHXCXZclUIqQimW
1ZaWwa4a7/LJeBIY25xN0xAZKWxY2Xdvqz7fJj2P6We/T/FxeQZTSRALeZzW+v3yUMeA31XQq7BA
QXVvAH9p/aljn74sLvUVfbRfjCVY5RVgAED/zo5xaqD0asUqS2mrArmVBPbdDHus63ONfRo8O7V7
kRthzKeqW5OMVb8irigl22h+STFv4m9X1TcSmE/ViqAwyrQoDQoQ4IDQ0U6Lwe3TX5cV4n1h8f/7
1jD6+fnhaglZ5clAOJL9GY4Uqgy2XdVub4hfOZYzvMSPIqWwvJuvhVteXrqbQP3PEUEi8Fm2kcil
0YLGJxiLV3UM0d1ILCfnooF3Y00MioGBTVKlL/u1hWlohGaRwPZyt7rYLfdQHKOwQVky8WniLbpK
DA3pTu97V8K/ud8P4exrmPpySFYLZyShAtC+bUU2qJi6QMAmguTc6mCcaG7q6+hHgmEh0L2Or5wf
sKupmx/AXLIyYe98WyMCxoLSPnGbc/0KuDZGR0dH7byys8c3+cCNPHcjl41UxsMCVjuDpAb+bUGC
poOSOnXo4kMM4r5g3pjyor5Tfj/0yJg5V847MONaU9IZiUEMFGYbGSRbIKJsGp6D2H2cm+PR37Bx
d7IG8p64UBEdSXYHSjoX6XZ3TaFwwKJJB+kPrZnyEVXvUdeX14qRfE0DpS2iX/q7NnInIZraKELR
mQLb89fuDTtYjxLC7LvpWvasF8tvb5VTf7DustvpYbnKC7s+xxgcoiEF1hhiiB3/HpCjdstRs90b
2fwyxjPL46iuyLVoqJqde7DKVefOxnJFUGj0tH1CWXe54+y7BmQjlPHTnYqlyroKK5xcNaiSu/gY
T4UjvvbPMGGULTzoTpbAr6dRFbr0GRjrL2BGJqni9p/gOD2IJgKDdcRRJexE1JGAGDoHG76fyukm
qJhAsEi55j5/eVUc67gCpDkYFuhXFnkTeH+c2RKP2Cl9bEj6fTJSughBx3LeSXAXKXrOFRWwRhBs
6EbBq5juR7CbH8Q8AUsD0TDpQbWFXTWeZLelTSmWB3f8pvvLKf3B0a9d774Rx2j+3K1qJo20XX5D
v3N6bA8/jWAB4LTmMqByz8Yoc16OZZuOU+SXuVNiqiI+tljjRtzGxU4SLwPL399UXTanYxS5F8em
KoBTCeQeg0JVMXX2FHd+BcpEOysmbzKwSEAkh7YWAs7F7ppLTInIBnguNZFtwLRrLMv5im4IrRGk
B1l3ursEy96rcIjeV5ENvc2NEXcf0EYo4x4AQC3jTsd5e78Ox8faTz0z1K+Ss+pXbvubK2/XOm3k
Ma9n6XpSyeizob4fH/Qj3Vz9zmYgP9KCQeYnT9G9wvG8+1nmRij7QrCgvO/jhAQtNlcX+UHs3gdk
DbRdo5eO2KgYV2HsiLb4PJzkE7nWHjnfdvfRbH4B+2gKAd0vo6D28T88mLQ9pDj6QeAD2nat8UYa
82q0Ms7jKYdTBJfRCuIizCLLtg5+Awqji3MfNCd2U9vdCLaKv6onbmQzD0iShVlPRyjUXESTU0nR
sY+Wxa4X6U7SiuuokI9EIW41W7wWPo2fvviCjWTGF4AJATszCFwyaJzAkAxbAXqT6+5KeeJf8Xsv
+4swAM2wPktBvMxOe+VRo+oj8BiBMolHUmc3cwSkwioFIhEPkpS9rpl6b2rjOdGr42qoaN4Mxzid
/aGawkxOX+bCuKsXLGuPcyxWVobf6arYJJIqT4njyk4FObD6ljigqThNrX7Mqh5t5xbc+dZ03UrW
YW4AFldEW52E6zgljqi1gdoYT2s+B1EHGjqOClt717s5MaNUUmFhRY6Al0uzk9lFlgA3g4qx4Ayl
k4UgzgRfzxnVd0pb63LdDv16ly6c0SuQjrXpSsV3f5TKppkscQtnIbZ1rjFop+Q2OWGVjIvmj4su
2uXD887OqFYvDKKWGiPNHWiRHEN2Po1peLnsfinVAlk9mJsBX2TB86KCDXD1+h5VYsfXCngIcVOM
uY1e9wvYwoCbqu+ZfwyA63QlEUbdWegrVswCipqUtJWs+Gvn5rEbp4cYY4TVler3+S/xkHAqR3tu
biuSMcbKYCZmJAB41pMnKb2RE44H5/39jKmNdARdc4nKFDHfdKBa4+LusjLwBDAPQbSIZmRJhR5u
b7nzGLvWxHFYuxIUUQIpoq4a2ADMhJh5rs4k6mG/ixrIQwTT3JYp/SvY5wRSK1BJWqYug93qs4hm
aMUhXxDFjZNsD0g+49zA1sb7Fe4BHJbu5SvbLUVtxTFhRqeUdZ+l8Ejyde+2YRf46LYjSgWjq/Mq
u/z5r/3zGWCOwCyu9YVVUmtULW4TXCG4ZLF9/jA2Nya6tYMC2Nz08/Lp9kwTVkXqMjDFGibKmbtU
StRPFgKNk4bc68BLbsjou0agb8kxUl3cCVniXJa4ayi2Ipn7lEAXM4xJh6YglofRPQRqBQIC9K8m
l66q0X6p3LHqvaBiK5KJ3OQ1GrE6CeWL3o++Y646BIVYYBBHKoBBnL+ByeyeeKnLJwjd8+vYPm8p
2Fam43+ZBw3c+izrE3C5JGzOxuH/kPZdS5LbwLJfxAh6gK+0baZnZseteWHMOnrv+fU3MTpX243m
aUg6D3pQjELVAAuFQlVWZrhXPq0OG26OhO3szffGuS3ubEerMlRxkzHAXBiUbv5QhkDyfAji2jUm
BkUUD5uvSZRJNTZCAf7Jjw99VkeoAbCNuwpoQGbQBEdO7Fse9IAX2wQIBbjqQyeIj5sn48wiCz5n
FpWoXWYK5o8Az/WvURSflk7ya7n7VjUqUEOgyhH46mY0OzPIfT+aLCSkMqAKbJgDmDzDjX3yF57N
rfxQtoejCJZwPYeJrs75tnLfMYd2QavVgI/+VYLODuZHXzs/iG7QTSDGuSU+VqcpCLDZdhqKC7VA
QImeWWKiu9kpfaBuBpqJ1Fv2CYpQq9cHkJZm8D1BfN08m0QHSw6IEyE7wYUDgyY0VhtAIKLsc5EW
XmH9XrKvQySys4lfgrbS34a4ILD0k5Ub8ZoFOd4x+aN2l7vFL+DUnehRCgA1caIfYvJC5iBXdxXj
KFVxWYH9mGVnZx7bmlKWFiag8UaLgEe+LlJva+vLbTfdDOJ/jPAD+aay9joZgFJKusRrIu0OMtVB
nEIRMYt3IR0xmioJvtrmwQCpJ6H4bNAL5VxHa1G5KiU4adOh5DyAc7LO/dur2gQ5WGc2uMy1bsHf
nlEGGj/1++pT5FnOBCjO8CCeDt5eDq5AGfI41tUY1RRBdaSpAY2S1N4zQESV/xckGf7PugpeMVy3
PF5UqhWpDlMMDmAm8yD35jNt5e+CDds8Sn9s8GBRtU6tdpJQL2e8ZdP9fNcclJ11L3+FSAZmXeZX
tAKtvQjEdL13aPjIKmbuwY+kyTwKp2+VZigY6DeKTb8xlk9zXDwLVnYd+C9tcDGxqrIY0jo4RpX+
BUoqJmBFjVOBjlPdV/N9cgc1Tkx6MuCjLwQXX+/qpW3O1esKhYA8QjqmB3RyVTQj2NMREyCeEjvy
c++tHuZnJTv0BIu+PtaXhjn/z8JRbwqGokreGd83SB4PuTs+doD7AGfgNHjlZF/zT9IkHGLcgMZd
mubCVm5CMGOENHTQQunMXme08urhNW669ykr/Iosh6FaXsei342Z+mqZQHOYC1600HCMQIgkE29Y
y8zuluSX3ssBUZafalxCdGAyv6tg6RfslOAT8TAei4YVOBoQjeI78gx0y3CP2P5qFHb53XQZk03c
OrlXn2ZRf1Xgl/zoTNKndQPtCvjG0D73knFI1tJLgYCFqsRTWVYiLXuRPe6ynNq2i2eooQWxEX2N
dW100lU/Tkvqh0X4KU/qt9s7e319XfjBRyvp7PrqLLmLzB6lok4OkhKAoTHdQ4PqtpGNzPXSCosw
Z1ZWq5ZyM0Mi2boddQxfAaFwCxECFCrCz+ICmCBgaVxSFybyrPYRQnGBGmOoPdNiFDjk9rYZBEAv
KF5AG/xyQRXNp8zS6jSo5CqI2yFIy+aXVuiit9S2O1ggzwL6EUxa3EqitVp6qYX7tXILlbzcTuaH
RK7tdHiVhLCPjXyffaY/1tgpPPtMGF8Em5FVpgFe5TPktLQXUmcgtx+7g9xajT1bGfgtlOI0plPQ
QM3IjntltlWJfpMijM8uYydSF9koj1/+Ji44m6lCxhVFWWCJabDcf2i9H+pdcjDdbBcddFdrbYa0
QaoOHLGFMqXzX5wXt5+CEhTVVP6IpJhoSEF+HILjoHtj49CZ03p/4b7EE62bH/zMGHdSGr1AR7fF
Gw+dpTuq5/sa88iDqrJZT7+h6cvtxW3G1TNznH/J6gRtmKVPgnwqn9pC3S1p/agX08syrYLK1HWZ
Eh9SBQWpqWmY2OeLOgTa4vGySuggJacBmky9N8Qaqh8PmWrYSq46+tK7t1e3eUrPTHLB1BhnqTL7
OAlKqFKt43FdnnqpEPnH5i1+ZoWLBVKGpHONMTaRDsu3cIhPs9F76bp6eQF+tawMIPTp1mb0SQfp
TAzFxLHR76Fik2QyEDvP0zodwvJLptWCDd+Oumc/jPOlUrdCKe0BsZqc4TejfVs/6y/Ji+GYnxNh
X2fbk/58Xs6TUsscaiJhtn0tK78cdrKq2NWgOQbmz29/VXX7jFh4DwHaACVxLnchVSopCTsjo6/5
ll9ldpza1T0I39Z9CqsnoKb91QuP7al3wgcpmPbRo+YlIO72YxAYZN9v/6CNhydz7b9/EI/eqXFr
A56PF+7kAH+v+HkKNOwK1qPI0930bXIx8hdWtrwT1eTZF7x8fMIwO04UtH6Y8OaCYzIaUPCeUL0w
pIeW8fNDyez22kQWuBS1w9gwSRQjZAX/Vm1BxqwLDulG+fVyEdznnMZCQQ8JyQEBlNHwW0hxtBgH
+QAJYGgsfJYC1A9//be4/mfz+FnGQe11NQJWlNmNXzR/QMrf/Fi+sOY9wC/B7Y3cPB9n1rg6bKno
5ZKGWOVUNE9J3b1B3yRI2/41TbRJFJJYYLvhFzr7+9lFbkJZuZd7VEL0T4irADkq31lbyPTbb+Ir
azPKalA0BJk7oMM82qgPtakGXxNQlEl4SCGMlsbKo9mE+9sbuAG3ZX7yxw6XnShFhuFTSWGnDK+l
t/B392YkdsEmFSSQWCuOfDd/kwDpOQlB/dun4I9p7pwtVjT3Y4iLJPqNWfPFVnC2Z9kGiAZkob9x
uttgAgeM6GRsf8Y/ZrnDtxr1UMmMIqDz+rsZhfR1F5169hD21M8iB73mckKv+Hx/uXMIpnKq1z2y
5ip2psXLXyQAESKP1nb8e3kMffJp9FqM1aOQ/qyIgGHbx+PvpX7UTM88liQ6AXoF+JIld02IgWsu
oEJ/cTHPDmQSwx81KH3+gboSu52vjooOTU5weCsaNBAuj4oUVUo9NXmOPZad5qnJQQLPylBQo4Us
LuR/ROyom750ZpA7m6Ssk76QEFE7tMsr/ThWnQAFtnkgzyxwCUluSSBmloskiGvzHYCeFXNhpuV0
mYjPZvviO7PE1nr21cCKWmhzhxDKxsF1J/MAPk4lR0KCnD8ZGKVy8lP1md6LcBwbLSb46plhLtuQ
DWm0WkhtomSzMOreA9NJWwPTRvA+hJ6Ic1W0o1zoAcwCNMcoggRhnbjQG9nn+lcKnkhBhNs872er
4sJMN/SJrK24A1m/xcIrmc2bLD9Qb9l1R0ngJew433J8LriQpR5JJBn4dtBPUrXIbcbRrkoKdIfh
zphVpRKIGotWsMjNg362Ri7KtCpYQkYkhQFNQX65DL6ejHZmeguJfMF2Co42XzVPui5MwIjMqg4z
0rHcTT5ZT3+RXZen/CRKKDZmPZlTmhhVVgjIBXm6azOWkCvFsNd50dP80p0S3c6+1Y/j3RSw2Z3M
ie7mA/GSve6yrl3kVKh0F8fwKUUKe6rA0be+Tt9FghMbzmtp+FGsm25gWorzKrNvaz0N0QEeoZuY
SE9j9CXNBPH74xHMeRNa6JrCWtoq0/u7jAT5pGvxaOHyGH2mAZb6hWdBxFBzUyhkreiJykDRrxAp
MO+UI3bIzV7YWGEZUKd8Lb6rwbQDMmev/LztAxvedvGzuABlNfKKwbAsDaT0W98/g2TPleU7Gsfu
bTsbb0AougHfBSCXZV51gSJJrueK3Z1Ure5bfZfgMRK2g93nn8mYHKFxYN82uBUBzy3yzm3WCoRe
CYrW8iH+yVK8yNOeDFBUaB6DOImAMcxJrr7vnwXyNM0pWDO1wkAGNMgvdH5t04dBvyNSY5dEEJd0
9k1umeIuyMZc0QGOkQqMC1TWdDPy20r1lZh+giTyXjcMYCIT8GTIdL8SPP7y3IRAduzUKC3Wxvit
S6v9EtWPWWg+5Eb9lGNQem60e5RV9wWEocDf97kdjAPEo/ZlWLph3juo+rhDVP+GMOWdOaU7zCWg
XTntUED8RdfSJZl2lON+lzbpXUfNANTxjtyPny0MAeo0d6VFSALBRmpubQN3omQJpCBJjeSPRa/h
Xtnp6BLXT/JOEyXWW9e4hStMZ70+Rblqjg2ZUhftGuI27XKw5i62rJVvsToCfGNSp1hRW6+hKyJD
2DV/brQaPYF0N5lRiPqF7ErAtC94qOVSDPkh80VLDHBGVLKbjW3u6EN1RMHjLiprlGBkN1dOeabt
5T6r7LQboL6dO0ktez3SIW2IdhDhtQ2tPhikc825OTRk9HQoPDe0d6NpslP1S91kj0ztz5A7l+bh
IzWtO5TIPrcNoN5k3C1NbPdSCiXwux4AWnX5UYyZE5LSnRRqNzMkrA39aND4YUrUQG9Td6x+DNME
UeXG7k2M4zc/dXCb9fXviMZ2p/4yI/AkrL1LRsmD0MUD6SEifacN+qEpYreuJ1dSMXJr7Ob4baSL
PTQjeqaJP0KedkE1wBiRzUqh12FXrOrYzbOXkuyprH+VS+jl1nPcgWYpQ4KL2R9qgOwswui5NfhJ
Lt0pM/yxnm2U5aDe+9YqD930raw1jGd277qa2daa26rZiFof1+dQNVByxngtBdk85ek3sj5DaypN
Qh9YtXWY7CVavNtBbNsCcDsqhdwgGqeXl4aK3c2bOQ79CHzJtCuPcv76f7PAJW54z9AijBTi0+l1
SmQ7HkRTwte3K3YJutcUABnAgD4IoM5S4LSnBNX7GQRS0FhyJ2na1VHXwoUb4bwpe4pcRgQVZVOw
IZhMb8jgL/K0Z9PQq0l9dXTrfQZxA8mpIeGxpzsxamOjOQ9ryGsBalAUTM9wD6NpbAq5qCLrQ4Nn
uV93y6NpK86ElEX00FU3VwZOGwtxFvNePLQ01DvQHfQL9a2asc/ITyrBKNKCwpm8uLml7ogi36eg
4K6HgthTCB3DkRz7qIdCR4WnampVdh2HmS0XlluHJua15fazNNW/8ql6uu1SGx/clA2gtXUVWpWo
vV06bRtbJthfKfXL9afaIhj5Q//rtokNhBD23qAmqoqGDpEpLkm2wrgNh1yx/NDo3+cJ3F5mm7+T
NHybVOCv55hUTtdItT0RabXVWTSndZ02wT6cDBREOJoyf/TBZW5CAjRJgnU2D2mH8bUhN1/LsQee
OsyFA1rXW6pYgM5oDJyBWMMv11gqawlbvHvYMxJ0ZzvTdAiuiocsyPbDSzQey2/LTpSvb3jdhVke
TQEwR4vxejxF8n14wE0D5qhv447+DDWbEWSxBF39TB4ll3oEOcdj/0vESrfVhj9fOc/MVUSRtoQF
Vt545b67jx2pc4rX5lt1ksC+waYvm732mj0bkl09GEiYrb1oG7Zv/z+7b3H5lhUamboaC1rOd8i3
zGB1259dZg+VUwQM3W12e+pnrvT1v5TVLlbPpTgzEAO5JIMrDIMGu9yPH2RpN0CNAwogABgGen9P
vgrRd9fOBuUUBBro4VBAmPlLZ5SjWY47ytp5mMUD5i9DDW+9G3e62yCSLpJDEz8phZwVW5fduV3u
KlK1Wm0gBZIHxZi+gwTY7ebuWRA3RDa4p54utzrKlIihkyOhiACyN0wvE1BTDl90cMBPR2Gyfn0l
XWwmV0TIEI+tdkTnY2whnIHu8CALwq1oSVworPq874e5N/w40k9TFPtaJ3pLbUS780Xw4BJdq8tc
m0vwjEXGp1ICPnmGpHllPFmT9eX2F1IFy+HxJEbXLUrfoepihEXmat1SA7qrvTX1iv51qfiWEZ5W
adyrqf5kqmhMyMZjUvjq8nshBwm1tZFBlCg96jlamg+kOSTte0ZxKUAuwbQL0if27Z+80Z9BhgMa
REuF+DzYENmBOstw6kmOJOApqA99yKBdjvmX2V9dy2eteKQfwFdL92K15G2zmDcEIEGGFCB/KdC2
xxAR3ttQjczBde6AtwfMhYyvcxk+FJ1aZxJjc5k7XeVYZzcf59CdTEA3lY1lYIKG4hHH6CHbpQ/h
V3pXe6MX7U27j9GZUjx5Rx6Xf+/rDB8L7niZQImQR3tka1IsFS5Df5wtO5dlN4WeiOBrqlsLpCAf
x1iFBQUpLn0B6b9aS0Nq+Zq5x2Swa9xhqNJVzb12oBhxFHUVNs4WdN9UC31aS0M+wR1ftcxCVZGK
0Ie03nvRga3UjE99lt1lrSQM7ey+uPp4lgkJY6TIqEFx4W9caST3aWH58d3oqo6igosldOWHFfPW
Mv5FSO+6UYVBomSh9YpMAt+M733p1VpoWQaL5olZhMDBH4vx8g/A1Bu3NURZAKWWNUqpdqUeGzfy
EtdVQmCxehsOK45i6VaNLZdIFkZPdul3ALp94d5eF4Au7TK/OosCszpNVF2sOBgHu9yr3jI7oJst
Xs098eJ3clhP6aH52p8Sd5z+i8+er5nLE8islQsdZAqNsGg3jW4TQI8erMFuC/K+FHSCwe1DshGk
L/aY/f1srbQi40AavBpnBuZWcidHoeK2ia1zAW0dGQVTEJQBWXtpwqC1niGdNv0hnpw219wkrEAP
gawz/PfcqB8yPn+b4hKPNE6HtlhU6pu69SMNczQtafqqU82/vaTNVwuU3nWMwlAw+3zAy862zWo0
SdJkuCYmRe9p97tvy8CStF2UQjlFCYmb5fUO2MmHdARRzW3jm59MhVGLGb4SxCXpWGvlNBMmS+ZE
JH41QlEmsnUjmRhF/P82+JKrFilW09Ud8eVvsgIdRaaBW0W78vvo9KCRmH4qrzXq2bcXtnnuzoxy
8TqPh6ErBuTIdYuygrmMig1GMM9a5qdBNX8OPfl226BgJw3uoFsWIKgSQaU3js0futruMlmsZ771
4D/fSu5EmwSlQaWGT/4l8JsclscCQ+5j8A846rZuhXNb3GnOp5wmawtbMXroqtM3OzB0edHdBNLq
eMGdJ3rXiHaQO9tTqKlJ3TShH2qZlyWTSyDGd/sjbaUp52vizvTaNF2jobflVz0GQvrK0dWjhEt8
URtbGwuUIvfNZAlccePlZCqYxlXA4Kzh2uOu1wX8271MVuJPa+OtOuSlhro8JnllCla3ea2eW+Ky
sFxvuqwdUwJlK/Y0TCMwMVCX3W9x6ao70F2Ijhn7P/Kpw7lFLk/BPNY6d2NE/FJrvsayuldWFaA9
4zgrUWRnWeNjMEI0fbZtFEMpIJwimHblHIV0YSYtOMH+gIwMaBLca0r5CWWhFzAQKHZK1JdJTUNR
nN48EGwc9H/Mcs4zqnERNY0MBAKmSBotYOrz4MVxaGWDeL78JCYW/HhUX2/vH5Oc6xS4Uec1L0vM
VuR7aZfdL+9YnwsADXHaI/6pPbUGiGe5g2CqO0A0tfku7Zvvai98h2978Z+fwvnWLHV9064x3hUZ
OXaR9qPP6XOnK97tE7qBvsS1e7bLnEfRVdIafcKzST3pB6tz16OOBgK4PCp3MDByJyqibkadP/Z4
EGJnNQNuKJ36lEK2EP6UVILheIG7Eu4qUseurbUQVcFmHhxtiW09jHdzdlDx9bQutDWhbDHzxCu3
sSydtdNxsxPObdR0bae0R8QZfUBo93FtJyb6+NJT95WAcHie9/3pH0gSbm2lCkCnwpph0OnkzqXS
G3LPGtqBPBInBEk0XtYC79g6g+cmuDO4Wnm96AnFUw8ka++y9yGp4xD6OdtDChdMa3G4E5jcXBV0
iKCnSAgYxzmHJM0MQlMtJND+lp3FAxHYZ+hxA+pEQWoM0VGmDXXb5JbDqHhjAjoPc1eMEWVrkawJ
+zKIiXIvG90xVRVQ+cx5FehFtV8N8kKpMb/etroxxoAihYlpd0NWUeDjsWRqFIVy0oag6cckKHjl
fmuAsSUB+aYcrIPhxAAICSyyrbv0Uw1NRohl4pOaunI1DpJCwLLSogLIDwwngZjiFyhO+o+gygj7
83cwm/nWI6PuLx3RU4J54y3j7Lufpd1TX63JOjEkABkPUZbaSv2jJksgWCM7a7fMcIeCiZZbRQzC
5gZyLch68QoDa/7nEeXaas8kXeMD9eLDvw9r0N8A0wSmNnWCQgIXAmg5KWlI8iJIJwV9/68mOvi3
V3Z9Li4tcBcCzaLKkNK0CJS5cZSydTVJcA6uw9ilBe7k0SVuC9OKiyDP+9YJFfLc9PNxZPM12fLz
9mq2vOHPfoGp5dIbsjEHsWE7FEFVPhdTu1/XxAGD+X/x+HMz3F0wxxgfXIGWAMdD+Ml4Nh71oN/T
X7mLgUFU56zXftd74ARCVVjMsX17P5F4Xa5R7UaJjhlcEeVUy5fU7jepu8KHKm4OfV600olVfy4a
/XFtCZgj40EFu6Ms2XU73KVTtHpyvJyUNP4aR7Iwsl/jNs4/Nmpelz8ua5IK/UzsTL5PdvUDo7uD
qvBjfBBF140O7aUl7uAPUDxRrQVDeyyPm3+ykVVGdSTHtnikbiOduTTGHX+5r9M8rMYCA6P1bkrS
g1QUHkSJXKWO32RAZvI2b3dLGI6+UangiGsMp5DG9cdt997+HbjFLCDNDDSoue2d07Q1S1IUQH4C
ZOcau+wUQodlgQZQffpPwefMGLfDrVEpa7HURTCksROD2qmQRevZujrAP/H3erh9zcJWr5oMJjpv
TGzVMR3j+3wMUVUb3MUNfaCfXQZ87r6XjRBhvhn6MOMPxJ6JThxfDI46CzyhkVwE2qjIdou3ADhO
3gRfbCsiYchfA7RIkVGw577YQpUKwluW+XfDDXXD5nXeNa5pL6CIb1BM3InqlVsroyjiwWkxkXAF
XlmWuE+yBKew0RcUaUKbdoogHd7o5aAGC7AfgFPoXl/BV5ZlCbu0hStOoH9c3vMXBkYuXe0zBVWK
5ESB+sBWCEH3Q3mPu/9ev6u/NZ8F28u2j7+XKWahFIrCNzhouAtS7sHwExaoJC7BtDgmGtmRF500
sJHv4yeAAU+VgKNlM786t8hdmJh6HtbBaP7SiwBRomN0DmOiMSH11z3Ur4UvBMN9lO5vrZK/QkMt
UZZcMX20usrWtvo0x8in/JagEOIk1fI5ibRglpr3eMgARSuOSj++hFnvSXrxhizU71EE9S1S3xMa
3U8oQiq98ppZxggSpOQlmosfhlJ4o5Qc80bfA4wSTFV/t6RLUGfxS7iGL1Fu7scG3L1Nu7PM+iUB
EM7skpcVDXSo6FR3i6W90DBxGil5l6d9lQynOIX8da4/JsN0mNv5tVssTIrUx6qKvCadD1Yf3/Xp
gl+7OLEyud1KMdMO+ANAh7/AS7CbI/MxK9KncFXBzTKlvy2T5o5Kqhepzo9h1Wh2rZi7DG1feyTZ
J4Bm/AaM9+la4D2ff0toy/AikoPB/Pd1zClYD/sgjuYgCkc3ajIXrbfBGRLtWJuWB0ReaZtzuQe2
/qdkZY6pdj/AieZnTXvfJ2SXaHJpy0rnT2QCwWmxnqLUcvVC8gxzTe28bnGxjpobLqnmql3xYKjq
A7sPjKrHaJw5O2tvfFHW1JFiika/WdpZtX6fZ7Brp+HqGxCY0sJlX6xa7nQ0D6QGo8ZWhLIWUY79
TFxLGQ+kmO1FxpBKo2YPKZ6fllY4TZg+SIp2yAbz0KnonfZhfddYcQfyv95d1lD0htuMMZaC3ijI
dlHI595wWqJ1GMg3P7J+IAkwLAO1gQBIQbB1r6fMHXaiBuFWDo55878tcmcdCjWqXmIQwSfdHMSl
9F2p0u9yYzng6AjmVZMESxTZ40562M5aNwPS7mdTH0BPba9IZhBJ6rEf6FEhoqqmILKg9XuZOy1M
uliSccqj3wNjDsPoucsIi6bHFdcgWnhiiv6t+xePTDSZDXSZdT6f6Aq5ySYT4XP0wcAGyRQlgBTk
ThjBriverGH3xw6XSiitaTVFvhDf2tFg+oDTaYfWHoPEF9UyBX7J91xbpBOIVUoRRPqo7SMVVOqm
OQSCe4cl2VcR+Y8v8vWmfjAw07iuRbAcwgAv7EMCxBJjqmWU5qIlbQz/YfvOrHHvjRZyjJqlY3yS
UZrPqAmboEsBtuX+R7FPAX9EcHSgICZ45gh2knAPjWpIAWwO4f9tMr1llfw2KKIal8gElx3hFbOQ
dWqJr2bjO8apXhrE09ufauu5dL537CecFQjGSurltIOLt4ruW0gjUZrcFfIbQQC9bWnzSXJuistm
5QbXjGZNxA+z5xqDvCCMc6b1cfYa4LlE2flmYnnmE1z8zeu0HuMZfp6pSP+r+S4DSt1spt3tRYnM
cEFX0xYr71H98RtwQIAq8jhhYBe6naI8WeQJXLBV1CQuNJmaPqZTZldxqVLbVZA4C+Z20+xnff+h
PCHwjc3wd7aHXF61DOUYqZglQbcPqJbBn7Xfsro4kfIoZ5/68DFTBS4i2E3KhfhYRuqWEjSJm6l2
46J3ZnIk+ufbn2yjgXQRLnjwMvjYJi2UDBOI0jCINYzOpq4EyVzbCiqMEfjiFgf7OjfCIc9yV61y
oZk5koE4Gw7zmjm9gaEus35tcuQD8VuaiUbzBZ+OB0jJQ0ORWKEHqGHUkyhoB9/PXaBnq22oXprv
OjMTOMvm4/vsePOI2ayq/sdbsrfJwycMlHuW7iCyAFwjBKZuXpnAuaNwDKjmFd59JLEJWmcs8N83
ibcSHWQArKIFSh9UGy9D5BrJ1jRaA/GVbrInRXcLQ4MOSoUWx07XRGzg6lZEPjfH3StZMsiQ5sSp
+2tuFhj+k0YYhKfz4aDY1b/QxwDd7itPPqDe6mOW5QRJpNUWdau3DuT5b+EuoDrs9WgaccctvenO
inwaa+lLPneqIJfcdJ5zQ9w1tKRZM6JDBY4pn6GWmI754I+e5uQH8XEUrYr9/ezOW5RqLKmB7ERR
MWBkphQKNmr0aTQLwe2wFbVByoqhKaDOrjF7uTWYGR0BU0yS5WtqolmsykIVjU1/OTPC3XRa3JAW
WjkAQJ1oEFVe3HlsC83ZVjBSCe0U8wvms4gjxu9t7uOZZe7yG6JE6stMQ/FmpnuMJHSQser3UmEK
tnEz9T/fR+72k7Vi0ZFhsYgtI2ZHRzzGd70dv1tB74Cu5kkUXkQr424+NYvq2iot1Glb11QkTxqe
SCYLIqbACJ8kS1OrGWHLUq85/K0nzXM0lKeuTQUlGYF/8J1ZGV2STAVGzm+Q2TWzVdgFVTDAVu3G
xRDYEn0pPime+8oYyx4Bg30piDYhy6O25dWGzYj4uscqtkHUXgl2cgN9BTqBP57IlxFlrVJb4M6K
wMzsiiBDKp6qQ+yDZD8sbcOw+/f1hEvoJGqvbV2z53a5sBXm7WJCXJNglfKL1M9fCksPkDI5qHR+
I1oXjHmMKoXowSiIK4QLYNlSk0RVsNw1G+5DA2Tui0jmbzNLOl8aF1Yms1QWtYDbtJHLxEoZoTsk
x3QVTWEdqa4DkLPoM249G89tcgEllSKFloPKrj4aMIUVcBx4OkiaCj8PLFFU2TwYeNYDwS6Ta7Rz
U5vo9ywhe93nBSDkyzeATiRbeyInmdHhgM3SoTL8VURStfn5zgxzN7wWDhHtm5H6IcEgIBhynoZJ
xPW/GVzObHA396wuEuYnEZsbzJQmDTKFqZLtvKEPt7NpkR3uBORdj9HUEHbCYXCi3KNR7hIR5lZk
hPN3I+sgSJ5O9ANzGxt7qXqLqKBiv+kNVGFMXYZ+jQ+PMllJC1RYA5rFtga+rEL6odSPUHkV5Toi
S9xtFk85aBcyeHk/2HXk5YwRAimCZ3lh7yyWrf4cF7QFFe+/vYpBqvz3Irl7TS+rQu00mCZD5Zay
6ch1c0pFWePmSx+zoUTTMLB3jXzPDdLSaIZTKEkN3R4JCp5yH4Hg20w8/Oe/IT/3qEXVY2HSEwWj
iJqOb7fdcjt8ga0SeTsxr6HwzSzXqCqDKxWoC7d7yv3qlXVbZdAjdaUtHhjcfCSc2ePOdNGRroeY
TRk0UHUu30m9T5Z7q/+R0t+3VyYyxB3s0kKTE3I9pl8M5L6WmrtiqHckWhObFuU3PRNW1zaD8tnK
uBMeF3PWmomBx+ueHoYTZuHs4o7aLaQAE1cVaCGJVseddF2yZqjUoc4x6FBomIb0FQQlEIcYQBoU
Wvep0goyFpWdNv5tbp0tj53Ws8eAleZjV1t6AT5YhzrTp9ElXxhlRhUw7CG0PZ9HZBI/tGB5IOBp
GR0TlKJMrXtweteUndtf93/xWyaiBlkF4KO4EzpMC3oYckY+xhmaT8svcPB87VzMdUHsxDYmW0T1
sxlbP1TbPgzygKi5n6QqMXAZyfEJfKp2b3mm+u8F3aEIg5ki8AUgvl5NNFh6qRSdDrzjYFi7Un/H
YDZetKK+7tYrEo9IUBJYoDxUwXl4+S1NDHYX2gIQ/ox6fenPOyPCtG76zsTGS4ATRB9rw3cu7HFH
I0KLuQxl3EvpavldadjVEj6tqfLG2iClBBaLrI2ellj36k7/XqHLpM/l76TL3yNrfELf26YlwWRH
5E3Z7As8aSPLuPhx3FEywygpwx6DMSwVL2OU4ZMPGbVhOjLF2vAI8E0dCIxulGUujHKnCeo/Ndp8
JuqU+3bfPmAICC9QsEP+kyHAjcB0YYvFkrOTS6bQXNVFYdj9v6TpwKuxUw7/bFLg+pjoIMDDxKEB
qrtrLRda6YsZsan3EHy7NLnX5tcoTFzB9l3jg2DFYEyQJuquV2QriyElWWXMSSAzghDLBitFU3tr
Za+DktlQOzzKWnMEhEuUk1x/N2YYLygCmj2cHa7GBVaTfASlxwd9hH6QT0xxT4EC6z+jj7j+cpfW
2N/PvlytogM1j0B8Tw7T2Wb8V5DiOOA1H0CU6uX2pjKXuwzwMAZuDEtDd+FaeyEvdXOiZEkCUHF0
dqOlnoppflDL2BFZD7dtXQcE4GTAgICipAnGK34cNimhWZWCT8/vGvRe5/ykztFOkaejOs3vRJPe
01g0krPBVACbUBhBgRJDYwr/6Yg0QiNSaSx03R3DNg8V+GS97sDUqtgbGPHvTcIGQ3V+QQExPIqz
yo24y37CxywnsPNX47hLq0Dfj7aWL2MK2Ox8xuz1V52SdBgtF0nXbLBRwh6Wq0PPBbOq/GxEN45A
1kyYU10CGoDE9HVtPT3Q/MywNdS8fiwlwDW6X7OilzC5vY6rzDjovoGUBnEaf8n0hhbNeZFbuKHB
5qO56y5xkr1xv4K1LbUhJtsIy7DXWdGlSfaTzs6LMdcDyFEAxRqhxVi196nU7Ih5XyahJ0tfbrvw
9scEMArQL0OWKY/7yquwipdMA9/KrtxP90xpY73/awDrH9Txt0KBcmaNCwVFVQxz2MhsN//T+KZw
eVyOoOVaQsYPOpmP5SWH9YkV1Fu7PIjnLjYKU/hyGMUFFgwjCldtCjXqdGuaPsZpwgClBm037jq3
vFcWTwrQGHGT3la///v3MrPKcPzg7EJ1g7v681DSjUJVQwCipmAyh9mOQdAFqO/447azXNe/Lg1x
171cA7/XLyhwS4Zi2akZds4Ym58tyIXSeIJaeI3+VkvBwlO2Ip7PDfb/S+Pc/R9madbFIwgt5s7Y
d5np/D/Wrmu5blzZfhGrmMMr8w7KkmX5hWV7bOac+fV3QT5nREGYDY/PrZqnkWs3ATS6Gx3WQpth
HUTZ8CwUs24DyqM9AMV5DJJNvEnk2JOLXgAj4ewupeYlTeSiOHY9ZUKAtjAvHka/z9ugnypOJMYA
cnn/ocRr7K5vPEQ9ipoYGRnMWAjWWviSgdPG6Ys49pJUBHTChnogwNpDUc9v2iwfbfTKZraaA1Yp
qe+jobxdLOPnLKuPRaPrBNGucjGJ3Nlbohw2VXRHgYsQz/RlOyWiXiJCJLZbU6Mp5RcWSuVOk9/+
qAbbWrzykIJVGrAv0u3wPcm87ImHhMvSLCAdYHIek2gYnqCuKfAipamS0CwQF8ei+AyicHduv6Eg
bVtT5wNt0Fk6kXNQjLyFiqmQN6GUnVWzXBpnOJ3XiBLgB8dfhu93qI5ZXkTGxJWEOwocJXrgRo/E
LVraXPCF2NPr6TrWFE5CixWx7iTQE8mphcbaAf3QwbqIP0y9uh5T9CY2PHRmVni1F0NFjuZStfWU
jFVA2g11QP3V9WYLaDmLuFNzLDe4F0X5CqmYo7JsVsuvBOOqM7rmpkikF6SaniKhPI7q9lUsm6dB
j0o7jRrZ7rLoIW1XpzO1gyVI6POL5em66uuvulFxgQhYIfT+6yiNleZIMNJRtXxZ1I6COGCAuMg8
YUNzL7KK1TBPNsgebuM09ddxvh9X9XDZGEvMO/OmUxqlvopVTth8nDjJeeXfsoPsiF9JL5TgAADZ
6c/oAyW9coOTHXkuhykb0+8EpQ0Xlm446KUI3FDkhd9J5zl+Hrow3gwbD8zeOvd6ddDzF85qyX7S
cT1Q1gB2Z2Hu+APYRYmyZ12lxmvcS4JdQCm+FgwcWfBln9R7/qA+AfuwE0kp4NZOZYQI3nrt01sO
LVjAluPsxg5BVeXVIJmRyl4apVBJ0liYDcIY4H/ftwRk77ep11mB2F4apTwoEo7ipGlIk6B8Jnrg
GnuGZ3W0I4Eelu85h8e8ypZI3kimjvECKkIpW6BLpgOgdEixWvKNmwHUupGrPoJX1yvPgAR2uyDy
JN4VYT2w5Z1cKmCRhqRZNDwHfWOuHlPLsLcBY8RAVDlIaY9AV4/BdCkCkQLUphjqKL9z1s00yjv5
VMyiDmBL7GfANP4HL6n5TvCS0IOE+Zw2Bl7SJFwX3MvJjED2y6YikDTLlS2O0SNQq8IPdD+Eyxyp
h1ybb9uol7zOkH6qcvpplZOzNsSBDpjKgwUMXDtvUZ2o1hupj49LkXi51b7EsnK/CIufzc0hMvu7
0Ww5z2imMdntEvn7LmDC0HU2JAnQRfs2dUcJSFelZi8lmFPUR2kMtfpWn2Lnfzsa2l9WwqAjyYMR
WDWIjpvsdWi+ddGKv2BkTcNDsvghasAFnxr7smBWnLU7Gxo9ucyMMm7W1MRo1OQLUXbAk/dWrTF4
3wpfm2g9dRtIvS7LZEc6bztMA3ksersmegevXZzNQPTyo3FP8nTiGXCavDvHNNQ7WZQdE+JlqZYI
stQvxYEk10HPFxQnc8RICAH1+PeNubDSO3mUJYuV1FQrxayCSm/+AhC2U20Fp+rJ3T/afom5rico
X8E2m0F6IhglRqAAo+Q3puuYgYWlmOh1QzlLoUNhpOYstTWR4EnOBNl1C3+lVqQrvixmVGph5Esz
FcB40K2RUVSMsbQhAK7mBD1DviSN7h9p3psI4od2dzstrLRuS4Ogu5iBckajtqufjYBAx3I9KHvn
3mRRmtcpS5PmkfVfJJnt9N+d4ycyWIYdA7WYYwN0JHCOKJNlbXDWGD9G9Cd/lo0nSfGFhgO+wwwI
EFwBxRwIX5pGZ/qWpRctkP3+Wg7JzJCtKw9A/gl/AxqHHAQdX+2lUQelNcu4pBWwbP/fwo+9NOqo
tLSu13UCnokVqkei5MDID40gwhAEH1OY9WbZC6MsRIe1zYOG4VgzKk7Gkhp2Y4BIA20ZTqmWnJIm
TxhlKswtawcMoVVB1GaHdVIB4D0tHibL7dQ0nMu3i3V/9wujwpsIz+l1gLSgz5dPVZ9btp7XhndZ
CDOptZdCBTFF01RSVW6odSdO/E0+qqDFEa5Bn/wDdB0EGRfjFn92mfdSqRhGB3HNlKaa6Q+tO4Dc
OPWQQmldKyh+A+Gat5HUdU5US2vHSEBTZXPfNo9dxauIMj3Ibjk0sOioNogxBWIwgDT7bysubB1E
5RVJXYN0v783up0+1VInAmlxmZSjvjwhmezkc5BjKzm6wTK5KF+hUoZHGcZeKd1IjKEw5hgbR6zG
v0uhsN4QMIMEzBEd4NbrWOjOkyRA91CEHJ7EWHxNG+xJ/Fo14AjPlrC3eLaXua6dMEr7ugbwFhsm
IvBgWb3pry0Ub7UgC+Uwf+AGTEzlw+Ag1qQYsk53M7aqOEhJDtVATQNd5h5hfFaC5vSr8btxkpxb
YWA0buIttpNJvmm3marZxWuyIMgQj2m4xk6/HDIXsybg9VIcyfKUp9TfuJaEuas7qZRt7LdKHOGk
312CVHJFvwh/o72Q+JAPHm0njbKO41hVVQ5WbdJeeGcGZZjebbDCsg0ca38NzXvlkXMbmD50J5G6
DYC+SU2kKH7dhvw1TPxVbPidlCLbpOyk0TqqWRUot5IauBuzh7DXTY9gZguAVRb0nLYZtg/YyaIs
ylpripmoEYZ/7cGfAJ33H0DVwe79/0Cq/mGhEYHwLwolIBkTfdpraTQumWnBuvy3NvUrAiIlf35I
99r6QusLkFtlWbcsA0hP1Omhy6pK07iIXkPV9LSdzLNyjE6/USZimTLS8aOogK7QNZ1alymvAB0X
MUKmAYPQjQLpsfkOPOVbDH8geafrBxC+H+bhN3r4X2ePPiwSfUagxLEAxERzVAB7bhwbAY9+BLfO
2sROGS+3oxGDYDjfrjEe2HrolJ0da9Cf6zi1u+SwyMqzMrTOYKAEWnYeCDrP1RA5dVUe9WTyp6lu
HBMdLSmGWu14XU/mEN+Wogo2k/isd+lZA2RGnQCQREqeNUxirx3KYqKEMkZSokkVXM3DcKtogJxf
lFYMgN371IjVcWnNp2UzQMRS5M6IuQunVYuwnXunS+ZzoaaO0C4v2gx2wM4A1lJdfIpi6ydgpFyg
VKOls9OcviZ06YZkW336bcE0j9CY3/MtPxVpKTqFuZ5RUnIKeTpO6mpb8no/l9lmj8YK5P9FjuzK
RLZeTq+TJkmdrB4bYJu1p0FKvyVmeTClCTOuS/FkpdaNXOSHyxaF9cxQZaBx6EibARiEUklLymZN
mntk25tPg26AyuIqWUX7shDmQwOMVSZYLFC5QkfI+2uWmok26koUY6CWEHYBEtOR7l/hY0LhXIcc
aSyzvJdGmeUNicAG49c10IMTV60Fe25AKJPL7laAFkhQPKH9OaJetgH2sFzuFUyvSV1w+SNYLnf/
DdS+imYOYyOZcVAWnd0OgVbymr6ZV3y3p5RxNpJcQ3BuxUEUPTfg/c3DufbBQ2/DuV5eC6OHECC3
O1GUbc7wupdXkA+BtGFnmZUrUHQC1PQ3eiI4a6MnWawGIKqKoMZBsraOqq2eEQGxIcWFEe/MJeE8
ctjqqUhYIfD30JVFFGrnBbJxIzAjSQM/DrJXMEtGtx2q6jJaTYRbHqIJK3RWd8KowAhpaqstFFSZ
Yy1yJgP8ULN1m1jnbZt8zrkxlXAnirp2NfJWUlvouAhSYudyjP5XsIvF070kdq41HOra8gwhelyT
QEqe0s466UNojTNHf3ifQd1HEDutAMZBq9tYzNdJbnya9ZmzVLKSD05HUeFUQQdIbMz7ExxTbcCA
eZQExXaKMxK6h8vEI19ndkapOylUBgOETO2WpALioRj+aMwOXRcI6KirjngYF6MD4pSuu9bX+8gA
vmgh2HL+Y9U6NFLHrlYAwraqZydunpcovoJddy8fN3sPTEkTwaOlA5zn/R5IkjCWaFgD18gQdLni
KIu3airnrjC1VwVrEl4RwHSl30h4XMx6Y2lx0AzgkVzNrXAwp4t8R9PcCFrB8U7MCBSUUH+Lo4xc
v+AwtxaG4JWFyjqRwWpsnOgT+gBuJxbr9YBkGB6rYHRDbpTawULSxmZJEZ9FVxVhsA/XG9KnBJha
LpwAcx8BAqLrOkaA0crz/rBETEJNoHmOA0X8VEonSz1b2bPecFwh047upFDbp0qLPrWFGAf5stl1
+jNFe8D2qAtBtt5dVj52bLsTRe3dXJtgVs+3yJ+PIljA82N6pQVJ2HG5zdnW+k0SPdQ/KhkAwHpI
IhmBf/sGYu4gAmi0Xmqg8aFz5WK+LrqiVHjGJuhEEIJ0PTTbITFvkQfj3F+2m93JInZ054bGSDSF
ZOoEn4zHofWwcCP3u7lcj8AOB15/mE2cQ2MaZkPWQCUhgkyWzjEjHk0srZKBxWrqoGCKHVXn8six
Xqzqmwy6CmbNmzKbRNHN8rY4gHWr8dGc60z5g+z/Tu8o88B28ihPoEXrJowmWtUadCO6LWCuaq29
RfcG5qBWJGgBd3VZ85k3eSeQcgrRVMRClaxxMKr1ZDcDGCMavJGz3EvMmbedbGGo3SBkB/8e3Q+c
Wa08ThJs/BahlDfagoJ5bGDPrt8uL4qtGW9yyHfsVFFY4wzZJJj5zljt0kIQ1j9flsBbCTnHnYRI
N8dmU0DaEDf6PTgIF/T5rG674mm1gafosjBmdgGUfybaOmTALGtUhNcn6PlIyxyW/cvsmUfQGiAO
wigHxmD8LByQYK4c3vQIcw9NpDSA2YCBfbq6UupN3ygpAnSUCz1dSu15/QP8T0TmOxmU8vVpOi49
IWwoNdE249KtlutePRmtHkTDQ7PCRReqrYi85iTm2iyEljrKeuiXpk5vMhq5RuUo8jGefTTV8aoQ
/yRq1ET8PFrRkSqhUxhpK/VtladN0LRhpeFlXMruZa1gLWIvgdq8zVxyo20FBL9oBuwKMg36/bIE
ljHaS6DULs/aHBQGieYX1YsmPC3WI6YIMS6v2F15f1kUA7QKrY14xhsiaLNUjGS+v1CjrGFoyJxS
PGJmJJRjdKPaI3LLko2xTNNtwBfqi64+Oeup57RXMMO0nWy69rDWrVbHaCIFIbfib4ctjAeQjoMy
55gc9YpzbKw4dy+MsvBga9gmTLWkwSAkh3SSr5MMem8UnFcLUwz2UUauTgd/H7WfVqH1W6wPEKPD
88832tC4QvGNc2osHSTI/Wj0w7TFh87qRl76GNhLID5dD+TggBus2NIrFFO53VrBdvWHWc+9UNq6
D9bW4/YCKv1MGBhL7xclyu+1G7D2cS+MMhVKDVISJQViuC5oNvphHBkE24v8fHkjmW+zvRgq1O2T
ejCFkUytOKblqcflQCjjttqLbWD7GU58rEINM9Bmg+w1snY3fPYc5jXYfwOlMhU6K8ZuqH9Fpv+u
VsWMgney6DHLIk9kHbgNlp+dSbwtLwCdMnHFk1BbbH6rIoNUAznCN0V9XfvOX6egX8g2YOv6kVp1
nlYYV9aSS3bS68p5rPTO6ZM2stc6v1JW8RbjiTdRDTAcoIhiik60yodqnb021bwOw/appJ7nLn9J
8v5WjucND+PBXmYQFGzxU9+aXilaq31ZQzg37XVDdwsQSiszAAaGF5D2NWk7FxMMnEiQJ4G29qOE
aNeSgNtWxrOTZP1hqZeFI4R98DLmXhVFJYjAlNcaxnQbyxHlf1KyUNBTDrbx325sYDDA4dh30qg1
jZZopZG5RAS1Y3UIh6mahqSKMAEB1vkFPwom9N8orjHtxk4y2e3deQGgRyrNZkaX15X1MH5Sod+Y
/V+Ug4XW4ySUTxgqXiMuswljfvv9isl37eSWGF+uyrKN4UclP8vsAeW8Q++0QelgWDM0H/Mf7RMh
IphdwCDlNthbLWDRet015tcBr8kHhWHq1W4nKHO9obA/AQQJejU9tM1p6BXO1eCeMmWjhaIFd8xU
xihGS37pZW6s2lJpt+7moJKZuj9NT5nt7eXyjWTWiAFprYCzA2WqDzMLqtjWRhuDoAP0kCT1KjuC
CeeHAQZ3iuD8uiPf+TE3800m/R6NjApYohkySmOc35Uq8q+bNPDmbplCwHAnk+APTp3az2HA5KvW
xojFtCHY1vtp4c0uEHdGJzx11Nck2ZSBTE8nPKVIKvUVmhqYrS/FYG4eXsT8Xhs/VcZprgr/8kkx
17OTRtmcTe7GONtWPDs1yxEWy0HYdL4sgnnddyIoQ5Nlla7oKd7tgpygWBMI6XOTctJhrDfnftPI
MndXW1aLITZHmJQ1Hr8CBqJ3E9PEoF5dP+O5fX95QSxhyBehvx/0oCB5pYIBXTSWdeuRe0tBWVbh
SVtFo7OUqmMUvKwA0yfsZNHBQDIn4gQ6RHJ/o8D80TvmQfhR2EJQeOPGNZHky2nd20ujAvBhWBNZ
mqIKjBjq4mkx2Fps0Rz0a3SfgJGmzXvLExc5zn1VEaJ7va8f/mRrLSBAICKRPzT7F40GurYlroNy
XhwJ3MSCfGdJX/HivSyH1eYuKXC0GBkD/+kHNgEUfmepahtSGBKdZfBq8AF7rZdel/c9xlhNt3cB
7ANnnx8k3ZY/S16Nvg+MYF7+DsbdePcZlN5a0oaZTyQcg2kBP7wIsMjmtslK77IUxiV/J4VyfIax
9Gupt2mAEpXdrV80lbOdLDV9J4FyZLWqZWWd4kklNFcgizkUrgnwe3fwVCvIAf4icjolWY8C0M6h
6AHkILSQ0e0dTa5uUaVBYGGW14aO8YItudaqHGXu4puUl9+EVT4I0XCHVBTGMyxAdGHsyo9EOTA3
cI5phnTTTtuntTZCJY3uE2X6IgmrEzWA8vr3u7//VMrEiq2qdkIvNIEwTY8ytM4Gu7DiXhbCsEmY
7BfR+Q08EzgNyi9lQprNK8kRtKBSzH5E0qdBPCYLJx3AUte9FOoplmnyUPcJABKqcRiduqif+yad
7XFBc9Tl9Xx8caHQBQco4XhlGQUpakF9ImdiUhky2AVnD1zZwXaSQS6tAOpK40Ur5LfemT0iSwEd
pSSqSIjTsqwWxkhaxvVVVokgOKtsoT7W6+cJMFCyu4ZL5qWN1yphozs8iL6P08mUeGpXwYmjWtO4
rXjwkTQB4VHMkGvJUCQwPOHpF/lH48S++mwdeKHahyOlhFPObFHg/POqX/2iV+7L9nYYY69pjWfO
cX7wLEQMwhkCuUP+o0yQOpRWvUF/8IhHGtiV7EiwtdLeDuWXpndSoCdtnvSUhOWDYXj1yeAFwh9M
ICWfMlACkqViMq6rb1hflvxKWHj0Xx/CNkoApa+5PBi1Ps+rj+rpvSZtyHh3y4u0ri9bP/jm0DyP
JdqyLm8r8/B2u0ppTjtE2mxMWFWC4oc0lGi5eh64MHRMKfDG6KJTVEijogIYlnGWI+inuaCBaJaE
cEjLx7xXeZ3Or9nEDxdxJ4kylSmaln5detKWCLQXJ13s6iFBX9lTIrjgD1bdBIBbEpgpMWwl+3ib
PcUPkTM7tSu2HghdkydTOI3P/x7ajBzv7suU9wFmK/dRhAGh1V8NsPSAmxrl6gLNZ1cbAoPY5aHs
fIxPKHlUYDAKJh6DmgZ9RcyMK9OH6HBDVgAYItXz4JWP2YPplikAUw1n8DaH2EVz4xlh5q3ZrZq6
tcgA6UlUtYs/fB69CNMjr7z0Ewbq7fh2815nWYPLKv2xoEOtnLqpmLlUynh6Nfy/WnaW5tggQVui
qENYrAZnGF1hvuONJTO1HANNYNcwiK5TWo7SWx/Va70AT84X1fmM+UdfSjbOjf2YzCfL24mhVLyb
BJDyJtIKQ9gkoJMJN0xeHCs/OkCdVMmVa3tOYAw1h+CJcuecmK5uJ57SY6PIhc6oFOLqVo+A7xDc
Z/BoZmjGnV0d9Ar5YI+/0RbBtI87wZRCI4bL2yHWVx84Zz46nUu3Njuw6qkD8CyKHiOi/QmIxr3H
USeyINqkICAyZFUDxAle7u8vLkDJ43VJjBUd8iArBd+PjlkowPCUr4RoYDaq7JIX1bOuzU4mnYlQ
qkqJugbXRlAGp9A+R/EtZ1VESy6sip4EBRlAM2agsvLFOzDphEo4hLkjf1/d0uWP+n2M7qGz+/VQ
OjssiJpysp7oyjTcNNxCywEdE5BwjyIy0rzy6kfQJkoepaRwM1ssD9noaw/EBCAeA87qK8bvZBfI
zq2H/oxW9asxbHnN6uyNVQkaKEhfP8TRW9eCdN0yV7+LABSFvtZJM24204Kxz4LSWk9Zpl9vzdh7
glj9lYjjaHeNwLOBrFuKsdS/v4Ly66a+bhV4nxe/x2zleTyCYivsCSzfneVJQV46xSdCQcvPoTEF
y2hAgGXHjMdrrWCXR8mNXI3LvEObijxHTtVE99qcOdXSPE6SFJYar7vvY36SHPVOIGXt11I20lQs
Nj9J7frTcBgelFM8e3kQn9sUwFwK8A4d8WS86LwX5If5fkoy2YrdUgdBA7tXk27AdI5Dw5YDfMMt
CkrIRqdX5ZMA8Oq4dJrr3O2uqiueeFY8jCq7rmJEARVdugYOEoNVKqJk8wkxPRnpn32gPAXcASHm
KndyqKuLnn0xHSKsstzCXKn92vDrPPerLgu3NVTBtba2qxfp0meOhWJqEnqrQGWswd/R7VW1kK1q
UeIObzfRlfY5mQG5MTyDCc6urkUf//vn4JQ3xgsvcmK5cXS3/C2X8jPogRUjQCAiWDW7gz6YdpV0
gV5zHsJMCw8yYQ0VFEBh0M8ZA2BK2iaogMkrM3cCUdy48gIF5kJU0l4CQwQ+EcoIanWhtFucg0vH
lw13/FqBfVpAXSZ/nI7C3XhYgobbgcde1ptMavOmtd96EBqMvmDKJ2Qe7T6uOA6ZJ4Ise3ftwP28
gL4Ppq0Dcu3S1I6R/bysesRkfPCNu42jTIoo5YACjHE2opIdUmDpmKhhqpvllurTZUm8tVAmZDZi
xZxFOIvK6O0aUAwxb5aQaSaQoST9TWgHoimKzahNlyrHM2DGsM9wbh7Xrxv4sDJXAk7OofEmT3Yl
9KM1aNUXDjzAX5kZPO3EUzqoDmnbDjmslPEwueh18YdvqBDc/eh/RC8p3h3zubuzSAzgmp4QZgfh
r4UT6bC3+G0DKI0EXqQmjIaw+rLQ3w0ZGso0HhInO9zYrZJSyaaZIl2rI7yiD8KDBuA9welfatCG
iLYSAW50QAVQD9XeEWY7utZ7jiciP/9RX9+WSOnrDB/UdJEyQIsOSvSiGoctfrisqDwRlKImMRCn
ZBJPWPFtpHtxct1zaaSZkdNuF6mYBQTSXSTNuAykmNzdkiwWXhbn/tAFBZdRmR2S7qRRYb1pzAD5
F6EX3ecIGecKHSHyofppBZWX+rp3efvYGoJ+bmBcqhaMMfU2tJaoL7sRGtK5xs0cEu5FkgIoHQ30
yuDJfTKcX/i3vNzgayD/QTl2kin/bWbgjh6VdvTTQbqX8q11omwRwGC/hkmXVHaC8Q5Bls5rIzde
1YkWbIGQO+hbPOHP7YMWL1+0xpqDOlFUZ1yVyakEC7V+EYyvpWa46qgGid5/aqf6q9yUYRnHom10
Gejeh/SHIS1OlUU/amO+j9ayc2a9f0gz+aWaMwCAt5LXtwv5p93nTsoju8dPd2BXzRLJT2TjRldT
xY9Be+ssQv8t6pUnOR4OSQXGAnm8EcTCcoe+5+E9sqPK3a5Rdivd0IstR4gqCdRr5W4n4TrNbcPb
jvO59LtjjnxK/Em/v6wmzFu2k0rZqhgok6th4ZaBeZYUGFDMAcrr1rmXxTAzJNDCv7WRfMfOhRr5
WEmTDKusSfaG4LU+lk9aCI7q78gDOVk4LWBu5yKaER2/pImUmRKBBBMtCqSqwXBYr2oAxc2+dZyu
+Nkv7vlR9mobhGZQsmxDRhxtbCUMyvxJcesAMA7uWttgGk7C4sif42UlKfY7S9kwQCOrWYXBUN+q
zdxrjOFaseI7KR4dddaCNCseLGHmlMeZHm53mpQl65t5jjcdCQo9asHZHFjcJhC2XoKYHWBHCuYB
KAmDUcjAlaxHX48/13jWNc23BSM+f6SVf0uhK9VtsmT6akI/MOTtr56Od1Q02zmamEgz9uYtoE1A
evayVPbmvQmlDLMhLms6DRBab7NXlEex23i3jSkCaUHDQrso6tyULg5Gu8aCCp0QwThH0hFauISq
a901tuyS9AcvR8cTSCnhos+wmqlFUs3l7AhVea629ucf7NtuUZRKbKM49HWFfZMwkWzPkeLmi8El
PWCajDcp9DzPhOb/VUvw+Fz84pGkrkVwyb8y+3JzRuSDP1innShKEfJqVMyBKEKTAv7eqmV7tqJT
i64ja4zcTs1uphxAtI0wqjzFZxqNnWjKRRdFnFUVJuARowuFk9zOvV3e517sWQ5Q4D5NhS2jhjg9
DV/4VlnmKItJeTpTnMs5LuHpRLP05a7+0SjK4LZjLbdOv86nxkAwoK0YiRZ7P0+TwS6kLfKyWDsk
newUunLUShDVrzVSotVZ15bMnyvxODfTVd9o56FOvxEOJLsGPwTnajGLHCQl/J+rZZLF7RyZMjWb
3Fegi930vrXrcXwShdlZ9TScBuVHEUVhF82Fl6xdHbaxfIWgLxQWbbKR7P201FpiS7Gc2TA7g91U
0RWYIW9AAIWs8jZfFZES9G33ePniMOvS+2+mnK+w5VWZksfCWvwcJoxypSNadEvwQIXYSD+Lem+s
E19Jr3r97rJsno5THjiaKj02GiganrVhdZMGqy958olXCGHH1rtjoSyePiu61ra4tpo9uc3tCooH
9ISi6V98lEOeNKZzQroR4ONARDNoeM8sUXO91FakOXrTSSvNNy0AWYwvl7eOWXZBt//fYqi9E5s0
lcQca+o90UnvK7xPMld9aTz9pvoKBFGgsmLE+IqXTyY/+9EsvYmltnLd8nzNV1zPbAwBmvOp316S
ZHETYfnr8gLJVbkkiHIafWkITZv0i68ncuSVeaE7uchr//gHzXhbDuU2JqB7dFoujq9x9SS4wAuO
beTIUa3SWw9gQ9yok2zQhXXRpZR5qJOlI3adZGkXzIW6aGG9UgFum79IV0prT70NDDG/PzXu5R39
OLRJEsRvKvOhxmL1YyejNd7Xr5pD42+nyG1d4649EDYrw629y/I4J6hRbmSNmjq3iLNUNsmfwDwW
abx67j8Y3L/Pjx6WU8oylfSpJK5KdDRf+N749Q89s7Xr9QbIoVqw4iasp+pIiuqVYI8hsOicy+tk
W7G3byD7sDf6MyA3NwnfQOCjpLDD7AbiKK5d+diCTB0fZaj7vpZacD9v/groOaTYEQWU9oJC2eiv
wGFunuZnHn8MV2UoK7OOWzQJ5Awnv3uMEkfGpDl45VC8BlZx4fHZZ//hRC0DpAmqhjkjyv8LRYyk
AHmVVSsYrNa41+2y7r9lSnkX59tDo62Pc5H+VWh6mAn1o7jNIIiuKw+sQm4Szb4Rd8d5yp0mzj8n
KToIikU8qvPg6Zuq2XK3cJJd/+A/3z6YOv44MYoljxFOI+C8NqwYGIdiBqbzKD1PSTy66Qpol7za
DlhyBkeeAS1+Cy+rINuovH0DpRppoxd9nGHTSvEwTJM7ogEzATVCqhphqY4chWdcbBMtbCAFF4FN
g/He9woPVtECYxYjLjZwibLoGV3WnCckyy5DBDAyUCrA5Cb9wuvN1iz6Cnq3HiUFF7sPoOaf59om
BWEUaDmminW39vLot54+T4VstumESKS+nhc7vqsejGsyVBA70Wn6UgVlz9lFVtbjnUwqwi/qRVPk
oSIevLyuXpbKzjBtDoBHT3I0p35AUycxy5c1hRHbvxNKGWUJ/GTCXFmj385ZekQt71NuoFeiKafO
KbttcIxGPOZF+3RZLFtl/j5P+lar9VA19Yj9NaLDln9GqpP3aOFJoJSy3VJiUF79aiHbwyMpeyLt
7fapndxj+gXxEM/w87T09YR3ln8ZMZFZZFgVGYfsbqUwvrKuJEcGPUj8wIX84K2QssVLXUurtMWb
L1/pQaM6ukOYylRbwES4LbrSH6H+kzG6t3tId+E2izworQyZam7Pjn60Tok/2XghYBod95CnnQw7
ZsoKhlDQGa4Bl42KLkdz6lFBg3Za06lVSk+sWnBf4r0kBWOm8VSGEcu+k0aFmC3Qt5q4zkGBfEjv
CZZScoOnLrrxTpaHtBxw05AOQY6HW8PmCaaizllOlnRToavmFUYOMdyaWpBeX+muEqiWbQVz6eu1
LSIQ5L1O2Dr7tsV0CkNr0hVRBN5c65FUGaZTep7dr7KdeIWjuZdvPXE7VKyLDca0MJCqGMSBaZ8M
eb40iIza2lnUpw48yUXC66zmSaHuBRCFi0pecAtlETEeSBv6KzPmaSbz8u2WQmlmqzdaZdQ4Ml3o
b+cEU8jp18ubxeqaxm6Bt9qyTBmIGVTk02wZ0tEtRBB+hM2d7+UvbnUQbHGzCREZEMYASYJAL/2s
PfEbZdi7+Cadsp/b0Jp6OpaTX1eqU4r1fW9IbtapvH4k9ka+ySHfsbOZY71ZBSgWSMQ+udPjeEfM
dHzYXpkGpB9zyO10ZRuVN4m0fiAVpApZizyuC01E671yynM7wnAmirBucq2gMRFUC98QnV0+UVb0
/O5EKaWpc6FeJxOBEnmdyA6a/lu7RPYYcPke+u9vRk4Y+A+X+22plEUz+kgdWgGbmx2qxzHA1JEz
HbVjZJP7zasOsVIQ75ZHmbFcnyptrcj1vgMoNTBKDukJgHSgWxxdpbCL6yRcD8ClQy2ds7EcZX29
SjslAlmFNRXCTBI64He9JZ5QCUlSZ7smXdS1j2oAt5mbJ5SK18BCuijRBjuzRh44BOyh+65IXPgX
EoB9sJno7JQtE0+gD/AvraEm5TpDW6UCwwPWK4OTPZnN7SyMmg3KtNgZMbuGUkQZtkqUO+ABus+l
iGdVmT5q9x2UPYgrY8QEEnS3au6ARmRreu1IXefmZscJhJn7upNE/r47TLWPo2UGgoWvq3rtdtP0
TAbHHaXmtc4yTc9OEGUI9KIee9PA1mogmMtEzGusny8rJm8p1IWXozUG3AdCesxMnDo17LTx0PfB
ZSG8k6Eu+RStVqpOAx57/XBO6+acjelJs1q/VUze45ZpO0H3qQM2k8GNK5hVJhQj0n1WSHxS9Eku
PFB/H3+lUPP2gFRA0JBmHV6gwt7KN8nknuy0oo6s0ShMYrUr0S508OCM53aUeSaaJ4ZyuuVSmEWx
Qc2L9jC4orO5SYH+XAIaEEcA1vzN1bFV8W111O1q9CofExk5oyIJ5gWAUqnEWxn58o+G5E0Eda30
FVak74gvUO5X+J/0RFBG2uKeICGsaGL5X0+Mul7VovSbFcEdJALYL5XGbsTBHuqK4+Q+wnuQN8lO
J6lLNkRgqjLz7lc2P7/Pdbe9Hr/m13j2xZstfgUW3UFFXlMrjs1XNIRoTvejugMwsuByx1rYiYPd
x1CXscgE9E5r/0fadS1HbmvbL2IVSTC+MnWQWtKMNArzwprInDO//i7IQRQapzHWtatsv3h2A9wJ
O6z1WoAcPTCNq+CDoCH+b6bx9ijvQyHTOD9GvH1aJvBiX3tA4QA3QG7lxWkP2RGAD26B7Ys/Gpfn
O5x/xbGQSYado2JQwkYopPUQd86YfM67JKjlD3SKLdUALKiCDto5X/U0mWbV59UKNmNAWE/XmfVf
iSGp7rwJsOl08carkB44HWM+4ijac6inh8EAdMaUBZc9ND/x24hhUoV1tNvGJsvfhYEDOLFdWjfV
nNlvXj5oeRtxjK/smthKmhHiVj36pYMbOh5Cv8zGX4JjcfVuI4dxlsYAbPQ4tWiVrHxQvNyL7zXA
syvucNd+ESZ5fGkayC3A26GdLbGSwSrNpVho7PmLFucvBqP2lRZHVMvhxgEs0/wjjLVjObRRDoDm
NcZw0I1TUwG2VRS5eWNAeNph8hUNV5S2WQjzqbP70qiMISjV8Gm2FbSoW38J1eamGBNMWTUP69x9
Ii0aQCH29PPcdLtk8KZ+wAsijYBtqKR3y5J8vvxhudFo87OYw+Ptp2iFDPLyCtB8vfaVjB8SoKOL
Db5DtKAYe8izCDOINPMq8+sJmMfWIATG5n5A800E1aaNZY+D1a5rikwF8Pbdo6R6tKBioZja4Dn7
0D62oCcXl1M5vR980DeprEUYi64mI4JsE8euNVbgK9AdICA4lVy6etti7WR2ZCIKgfwP9iaWSR+k
dekTUs70YUmhaECIPLntU+zlmGiWnuietYwpguse/CW922qoI4HcwH6xiTMLZ2KocpzlGVglBZIt
9qDPwPxGUoI7SoWZor0SD259DfZX7JSfwjvsdR61xjMc4qIhFjuvIfhDIeNNPBuc5LZv+6jHF6in
53jonbUU9CK40W8jgNHdOMaAttVCsfqmk26MZnXsaHwoy/bUTGH4kfi0EcZoca2mwD1fYCirLrm2
9XVa1F26ih6Z52ATNAxuxDBqO8+AUOpHiAESuHosbpK99o3s5yfJ/2slVfWsq3g/++tv4v7JNjA/
QG5+AKPADdFA0KzhB5j3Xe68LgydTBesQjfNgRJOinJTfmVkI5DJhs3UaPGiRcWAUrwaj9Mp29EB
kPGmu7WFWSH31bQRxmTC46xL2UKDSb+0Th7rD0P0u5nsR1L9ikzB4g4/A90IY9JhdSyUWreR0lAQ
MAVLhbXsxPcJFmtCB6Npt9LdLIJU5beuNjKZgAH+MzykqbOlbMs1Rk+qXalgftbAYKTszV/ykz45
IkvnLW+801om7U0KgEFOHb5h5dNCXuYnmqO+zA55GjInD4pfGQ49++kVZYvxhiu9dkCH3VxJgvRO
4BE0JoksCrR8pj4fA63GZB661CAJcMJB31sYRLscmUWGwg7qx9JgJP2MmY0JEHZALI1S4JUjrGHa
YYf+bu7+AZwdP7r869FZ2D5LwRBqJuOeNWzi6tfprYkBUethRGXNAuCMs+xVUbVJJJJxSLltdmQq
YTEKVqgxo+JmhsBO+PnB26EYj5PJfRvHITxOLB1N+TNwdB0jern8tUSnYJzMWEiLUlUwi7npvNH6
pGpC4HUaAC5EW41xLQqlZUoSPP2oMmCD7ih9xvvXkz5RpithaY6r6QB8VbBnDmhjNl9VO9tcJA3a
h4eFU6nlqTN3jd56KhHNFPA2UrAU9iaKcSkyAO3bNoxeFf0vGqj8OT/IPoiTUI3J3L+rMTJMWxwd
uA4bsPk6ATAOQKqZDydrkpxlRjhQ+iYAgtTxU702p3Wx/Mjubodo3LWa9CmN20MToSZkyV9SMwrm
Sa7BmgSwXbUBCUsb+RORWueyTvH9++a3MV9cSqKalBVdHUgca3Gt19mtOIh2cDby8+r3uz/YV+Bs
2eJrWDYlF5QJAB3fZ9MgF8yVXsLXGI6UypDy7pIj7TCLnLrCzaA3kpjwZeRmOI5GOqI70+OApjdT
EAfjzgTrl6QBpfVvjIzEy+4AIbEXPTO5fmEjn9G7dTSmpNfRD7UKoIWWgWLmu3IRpHVcx4CtcPAa
YtfqDHDGzKXEqiIcUtdQXdSOUiFCmuFa6kYCkzhOpKEQCii+KfZxUBEd7DtrjT19HD+kjxtJjKte
zD7uVwv5Ru+BaQ/WOX/Xb1p/BsFS4cV+873Zf8QCNhIZ1513TVQo1uuY8HhI8qvKLVzlqxy0yqH0
JU/3usVRdFcglWsCG6mMT9DtrumVEO0e3aGIFJhAuiK74dDvhCtxPJe+EcTYWiFlEpkTPKAUTPyY
IfGXpvUto/z/fjjG0oayaQAsjJcSRUrRAHyTYKQWGZO0G08TWDWHpw8VVWww4ig6oQU9JmEbJgPD
tagKB318lS4/Qutzmdxd/ky8fQFLfZPB8m+pEuroeTQjGftkY7eqvLOD0nL0a+OrtVM8ZZ+c5idS
ONFX2y0O0jEMPUBB9/Yf5E18I//3tCbzUKwHdRmjssYcglLiGQocnOfLZ+WNGr47K2Pk8zrGxUQr
372HBbKbMsh2ZFfeRDhMLPBYvDnMd7IYM48WI1zziT7rsXFYB4iGMcgZY/RG1iukuxaQ3LCrnTgL
EC1qVzrIql+eRNGB79VAzIjZSMXCrtL7MNSFE7D0FLS6iDF7y9h6wIt1pLkNdFIEgsvlf743WUwg
SCIlSvMWvbsMSwJoA7lWdIiDxJWtA+2fA67OS8fDZaEimYyBtE1vAzcaSWmaj9dmU1zV+fz5soj/
oTT/not9rSCl6uJyQlJKQzm5/i9E8K8QDmfZqf0mizGBbJSwBatjiGQ1mpOCSVxSNj8KUz2tSXM1
WHHqVcqIoeU8/0W65JDHheZL5Rh07eAXBma+9P5XtYB0ty2vC7v4NmaltwBJwKl0A0hHZewW+Xwv
JfJ1pCSnSqVZ6VgCs6KSnHHInxoJI1Tx2DidlB6aUbSvwk0TN8dj7A/j7N3ct7A/u9XpPlYZOU2l
fTLq6isJyZOWCjEzBAqiMVaoSiS0YwIrHANrN3v6dYPYlwBVPPmJoU0wweSCsMdNhzZHpD9oU0YN
9bHKNR0PMQw6WGj06F4K3genqYX9SXpZl3SFia9JPJG2xVw0uLGs3ZteApNt/9FRzc25mCC7KHMz
9uFEOzJKkAMcDAg1r8hL11aQf/pYSH+zA8ZvrQUIRJcZgW/OXkzyHKZBloouUKQajL9SirEhkUy/
FEqFGBZxFlUQW0W6wHgnq7QjRaJvTZBRhfPJDu8sQxBmeBYF3GmsoWoA0zRlRgmIVFVAvYUSGFr/
uZH9Nn1u5KDrFKedEv+yJ+Rd2FYWowIpiK/qnKpAGQExONNcYnU/L4t4nRNnlXorg/nwlZRLrWrh
w0tgPPgvtMn07i8JYr4+KVUQcxojBqpH4hpL6QC5gGS1k9UvMx6krTR5GUDoLh9PdIOMQjSY+Vf0
BSpnrk/ddG+0T5f/fG61a3N97Bi+pqYSNoVbEqg7+rZIMEwmreAvWF0jkPfG51Wg4YIDvcbOjbdT
ZUqgMOFzjfKTJQfT8uv/eSAmYujLOA5hggSm8keP7pDPNqV62cnImqIpKF1RxiS8QiZiKEtvTVKG
I8UgW1k9TPTTW+yPFEkBgzriwVGhRHrJm0ssxhSbjikehH9R7nYYNYFEcqJU6IiIfyCRFzq2asJ4
DWtaTCxW4ox0UjYCtbzhzcdXjgtM+YtulK8jqAthfcAGYSlzoQsp5iwe8cCojczN16/gmXcEWsL1
gsDf1zAo/dqGfX+D5Zo2yqojylNOC80HLt2XbJf42GBGk4LudhlAHHiKT6LRWHpPZ07kTS5rbkRH
4y7T6XsC1OOp/VCRn6U6fiCjAKL5P4djbWyUm6ZZJkzIdHbyQ2u7H2NhBVE13wsukfudUL3DsAAq
1Aq7O2B241yONpSCrkekI9YjEp9CNXQA/8R6RAt0DdFQODe3plh0/8hkvPAAmKV+pTNWep1HrqVW
Idrn8nVmT8BAnUjqjOXqDfKwl231OETGjaVMO8G5eXWK7W9gnLJeGZhho4zMaTMRN2+VU2sbursC
ucjpLO1xmopP/ZJ62jhEjmzKveAH0LB5rkT/3gG7UJDHMVZ7JIJcR529dmqCGQCw3TD/KjKBJnHb
TngEymAvVoHnw1JKqjEZ5GWxx6CBN7UTp3Mn7MvWvvQYjU570+8SL68CzXREGHzc9uFWMps7rCCe
N2hflqIbjhJIK8iJVk4wJOJF3ph6lz8q1ZuzO90clDqMjUtVS1uppXUkQUJAwzf3TtHGmauY2fMQ
J19z+xvp0qfLIrl15u0RGV3uG60CbyGGe1oQ3y+do1k+ff4ajuI2L6RxKjpA9yEPtDkoo7wJxgSb
DPuQAVgNvGTdheuMUt7L5aNxNRSMgyq4e8C5zS4J981UAogbASoyM9PPDeA1ZQt4+HSrxsRgJdBS
+pPPvt1GGhMOs1ySo3xWkdKq8Dsmcto883qrBbP54o0AvUrmZQ/4cUEQER2SiYl2mk44HmwjxRX2
8i+tLQEhsThGJmIb5BvD5oSMMehxBHYaE6LoCnv4SFEcaYqWvWDCRtib4br1jTDGFND7jNQSe2/B
SA1eCRpM3l9WD34CA+ZTQ1dM/P06LbGxtsKysb3dSfSRPfkYawva3qG97BVrmMUtMBT2lwVyrXsj
j6Y3G3lZ12fRoNI+tpYAAV6lbkx+HNTBa4zu0zKS26hRBZPc3FC/kUneyxwXoJr1tBSbpPe94Y/V
k0KCy8fiiwD+qqKAmVyzGFsG4Txm6EKIiDvgPqGgMyPd1QUZOz8GaP9KYSc4p7Re6oKiF9kdSkJS
bas3moUd8KGPQWlsYvZ2AcdFH+5UW76JzOZqLoBuF80/7TA8poV1qEdDZHvc5iXZ/Cim7kV63Vrs
CjcanibfjF+bliiXPky1s+6NOx3rhLPfuwuSf7S3Rb0fvom8XQmjT+WsqUPe1YDKaHovVvyxnAQ+
jRrZuU97k8Boj2GG65rIgJK3pdspG1zLepaKg9l0jpWK8FRFshj/GVdxbzSAvQrmXnHG5mWy7wrw
M2ElOZqeL2vs/7D8t3MxTnOoC9uaJlg+XUYbvkVXqQeo+h1F99IfY1+UL/J99Js4xnGuiZmXxYqx
PStNQqdN8h3qBbJHzMg1B1Ngjtx9wq1SMp4zKhspDGMkZrTfU4F5U8MskpP5feykP6Tv1c7wBjqt
c1ObLvlCvrX1tWjTlesSdA31ndecjUXfxhDa0iR2Kgej4gGf29FbtHhVgTvlZy4bKcy16nHfzFmv
TThouCtq1wTML8p7tW9pvuzZj+3OqjwRRAHX6DZCmdtN1ErSqi4CENjgjmblAcjIv6yd3MszqDOV
NazPskOz/TiY5TqWcmBjqTw0vL64l0sR4Qo/mBuaTt9MmklYLmYJH0+eI5xDPpYhQOmjY+8YDhZt
IrffiZnGudnRm7izcc0BTNxqBxMIsUuWls9pdDKiyEkwdtGGVwUWOIxpFXgvrtltZDLeOUGOB7w0
yOyr9i7tqn09ToEyd55uiIDuuVphWDKqBaDdMNiBmaissiJEkRGQY6rTzo+RJNqW41/gmwSaXGyS
h3GWE1xdOQPq4zRLyPH65z7OnZHIXlEdytnEPf7+iCK+iWQCe4PJ7QbMeZg4SnS3XK7n3MBgnaAS
fPlcpkyfuZtzmUpRSkBtJ8HQE0czjkTJ3FErDlreuQT+qn0uq2+Xz8XXi3/OZbI0QOXaNaadIQ9T
V9nr2ruukV3SfzYwO31ZEFcrAH6BF4iBhys7XmQmhR1HER4gdVvTtZa2EGR3fCveSGBcYBe3/SJN
dCgjMHZaFxjYNymvioPeBdSKRTUx7sfaiGOcX5iWiz0NK+b5K/UbAdJNXkq3Q6N8mmepd9MxP4Ra
dJtawqcHTTTOEpGNYEb7Wwv7ESSDfWknEFb8AJUG+F6MnwDGeyj92BeODVPXcC4PsMyAL8Cne214
brRyGAG+Pmv0XoHLcm0jPwCmSOPZu3z/B2No/Gt9k8akPkOVzG1T43TzD4rLOZ16xS1u8B+/YiDD
SCYW99Drlz1ac7B/DqI8kh9IzTf5TDqklDEADGNCXptklKYEyVDodqln21cNMtjSn/YaVjEvWwc3
zm2kMroLksI1bke4Z6Af3OTj4ERpvbelw2UpfBu0iKrZCgUaZoKAJbdghk2RDcWNFoRq7A+D4GnC
P8ebBCYNV3UtyvIcD38JOI45mf1lKN2+728vH4Qrhu6GG+B1QjGDsT1Dj5dGpxFUB5C+SxLLrSur
c+V19i8L4lc3N5IYY8NmR1+gzYh2tzn6QEdypAUUZoaPVNWsF6dZspMcfllTzeuNwbssnPu5bKA/
WZb8mmW9Dwc1BofSQsJlqpj6KE3Fj+pSoBFc978RwVgbBo5lTFzhodHF5hdMHSp66IZ9f6j1+8tn
4XvnjST6STdeJFvaeQF9Lw4DxF1ClwG/m19W95uxn646EcAG12VthDHmtJKok3KdliopD5cJWARg
pdaYi+//oBXD/0w6MlQTrDdnOPKJJpXJZKOTtdq3ivxzqUWRRiSAMSrZUpNJNvo56K0YL6bWUVoR
JQVfD97OwDxutRxIEqoBzzCBBK70zWCK3PUKuLLOkjjJQ/wNiE6eolFOCEFiym8XA+Thn+tjVFCP
C7XD9iMqk+UUpDMwljrlWPdt0GeSa/YVkGBR6jZuQiUXOF2uTlKcWhPldDDasHm/NYNrgJio1sjA
AVq94ogZBZeuxCwP4gVV3hVvhLFZfw7imVzVMP+6zr+B9uZTL2+0slParWDMnxvDQO2lY/iCEDw8
Gfe4zqM8aHlNMFLl6gMYBs0g8S3PaI9Lg/cuOiS+jTQ5uGziPDW1ZVPD8DiWO/GOem/hnRXqbT+j
zxsOEygImjEEoYkI7ZJb+7ItStYOTlwFu6rvpUxrXSpxT6WYg68MnwAJ5qTTr655kcfSBbOKE057
kHa6of5tbvfReJXXWIUUuDPex9z+CiYsyMUQK3MrI5Ki4qb1p/AZ2J5lPYuMg94Zm3vZ+IhYPVBB
S87e6aokRj7RnFY7jVhy7MxNX1lVP+jMtgIZa5TzYhhXgjpa0/WfynS+G7Rid1lPOMEbykkMrP+C
KAum/f4LLk2Ih5oG9ZO0H1KDOkUh+bZoqpBXjrRlBXFTk23wvr2WvTbxZkE9IdRNaUJBe7xOdGf4
1rnF1350rcc8sLAu0j9Wmtubbo4OkxBikGeCcCmmqdKSOgD6GWMgC1qPpIf4v4KdcqVhI3U/ePM3
YLHuQzf6rn2+fK0c84P1QR441jEpyhpGUZtzuDZooEeSsS96UPoZj/8/CYzSS2tRyuEIpR/Twm3r
3JVGwQP4dRqa0Xc0NomK1rUCtq+zDFWvtGk2UZqQUzk9WFGZX6Vh3zhZpPyMrAngpcMkH4eZgDdV
jlR3GnGv/aoGKM4Sp5XI4KxhMexBSllQBsqvU6+CWctsybc6Vb7IXTU4gMs9yQk5YBK8dVTJVneJ
lD+FkfLczdmdWgweeo+jQ4Yu/hYmM9hgqjpxxzDb6UPbOrGcPBRNeNTz9anS0gwLLysKi9Fq3lVW
jbahEhGHRKFnaGXq5mMWH0Z73q1t9UmCY3abYcw9GQ8qd8ixlp1bLjBvndhYTl1b5q7aSqdezTHc
WWO6mAApbpbb06oPT32h535ZTYAEHA31N1DvrZu5il26ELjT4/Q4lZKgOsBJfxEbTSQ2moEng8pO
RyRxbYZNqMzBGtaGIxuLM5vpCYw0raPn/QPWH912Sp28BDy9XHr4MP/dA5qGoci2AgxGQPaxMboy
etKXczthdJeOJJsjPKDkR9d0skb+Ew/ISUggET7XAno5/AZbc0QRxpx7M1v+8/zauSN8L4jJ6yQi
D3kMHCt0uCunzL9UC4gpZe+y0fI+4bvjMJ6obVW7JxOOY2Mcj1wDte+uOETuiEEBUW2fe3UmvJ4G
hneAV7KbmhGRim7E4yxQtPYpA6nWXOCFPur5o9qmvzO7tB2S1lfpQE5aLhqNOHeA0FWNztjYugqn
SysLG48fGXZiSDpBC6jIHIW8GLogS6aB6b1zggDoIpFNcASepVVyheX/WS6UAP/wtHIJ6ki50XRl
Qs/tqtXuBR/uPMd4L45xt3E0GqPdyOBVXJzE9NoDXQMMvfxp3QHUYHFWLI1jx/cPNt9EB2VuMjU7
czHiBGxP1uh3xHR0EDJo8/2AUXR1qN01r504j26HdLzHAK5bo/do5Z8HzCnmqwlIZPjDNosFroBK
vXD97BB/V2d9Hq64j3lJ92Cdd8y18UblRSqerHLeK7PsrYUkeCNwlertm7MarZXAtpVbCE2n1I++
fmQi991XZheNV0UN57DJlaCe0/0UBblci54D1MIvXRzjAQY1b7WoxBm03ZCpzirf9YccezMo/o+R
/2d4SZxFdZwLAJ7EovMEFntxJJ1bIkuhDAK8z13yqK8JBkFKN2o/F9KXbo7cUsFslvJ7tOsgiR+j
9nZsM6fpQzcr4lOjgVylwZOsTH26YhCNIM3NrPml6IqHy3bGVau3EMfCbMfIIGwpmjD52mmRnyeK
dlJhd8DdzRNPntLQ1fUqvbasIt8Za1MItJoTBN5FWKYmV1bKFKcK7qltpgPGmR1Lnh09Plw+JGfF
lKKpEgV098BVBJLQe+e49mllNdKrDkR77Ex/Ul/a3Cuf0tLp6IyluatXJ8UmYV9hvd3HGKuoAcB5
bb//CdTfbfxzVdedotX4Ca23/I6u1ivbTQ7VYTj8CSgN5534XhrzylAVyZoU5DSo45YH9CfTB1rM
jXwsjizADXjFwxbCv/G8xfaWGZedLtksaxWEhiNQi+zPhREL/BGnXf/+XIxvBq+yWYMXBCzS6GiD
jwt0q/4wvTJoU3gf6S4XPaXoj2bdx+ZQ7HZhka5Rlw/hjHZhMLSPpA2Rl34yh0M8XemRiHKMF3u2
0hh7WOVGnvQU58v7xh3rp9XqA6UAe4HsmUjeL5sFB0fv3W2aTApW91bXtXiHBE3rNJbbPL5W/FEF
MpwFWN8P6sPyQw4iwJkDHXcPOmv9cMyxbIh2un/5p4gslH3qV9NcRGAboF7avrWdFuUajJaVAYjt
d8qOTJ7i4l9HWsMUT/HyFRfUXfgLnQG2x5OUdWe0HYSTUjqomBBaQu/y+fha9CaB/oKN9ZMCrLMW
PV4srzsrn4ljtyMmdAfsqZFdFo5fjE5NRZcqOhfj9pAzDNkyQ6p5b/+gJQBaB5sBhpV/UwN6kaJ1
3//h5d7OyXi5oolbMFvBBczPBt7g+2YnoaRYF976iGztA6OBVIHfxDFuLulLU1JyHHDWDB87wIC8
E9iI6AoZn9bHWd1O1G3rheyHuexPvUDC//DVb4dgfNqM+k0sjRCBYcrEXfDQq++yY7Ib4dFyJ72x
j7mf70TjgIKDsfmkGuVDb9ODqYXtRmSnlrJI/XiZ1+brsEmQpk7AkFFRBeoD03bSO0rIYHnJdVJg
EwU+JRBV01+ryGfOGlDzmGWxwTLOFlAyjHmYVaLKlCAn+dYe+kN5OE1ofv/US1fa6z+Qh61eB7Bo
LHL8blJHvQ8jShDxAkq79oZiZIvwe6iNXfpJjI8lcZnUSY2fRCTpuuiwm64DppqIjs79nBrRbIBL
oCfILtqv9qh3+YLAAXhLR8lPM5p1l10YV09BH6VT0heAU7OVy8Ku41kmCIPdUVYe+uvxln7OUT1o
wHyqioCuo4qfY7yDbaUyBqi2xIorbUFggJ17+kBir2+GVjA+wXttbqUwNph3RqaorYomk9YcRx1Y
2gDwcdW4wLRxqgiSXm4WYyqyRhG+0b9i52QzwNcWaqnNf+9LvVZ1/tmXArzNH+xL8W4RLxFCYVUh
kx3DU4akz8oOEkHnke5S0suOXs2103aN+jj3eAhl9vBjnBJgkyy7dmiuyDRZnzKg/UylrgAoKRT0
ynnVEhSIsU2FGrhKiM28yyYz65JQxU/qn+moQx071kN1bQT9LxEoPscEbcywoZYF0E3zrKQVGsDK
JnG3BNUA4lFt8BerdbRVlJxy7vidGMbSa7uvcpLIatCOUgBEaVD+5Z7ABumfwXgTW8VzEh4OM2Zn
mUqndXUP7h7K2q1gxCf36u+tv7pa0AIDSBYYBU9P0USjLCyoBp47FQsgZ13ZzCpeEcCTSZxhV+yA
r+jOj+orveB/b/Wihfwmj821F1leLWmZUXvsdW9RpIOlCZmmz5vj72UwGTbwBuCOO5wpPXSGI30P
D7Tl2Y2YdcxdUYbN85nvTsToRFeMspZ2i4rYvvjKg6Q6S+aADNJtffs43cet29yK+egUzjPinVjG
toiRLHobQix9JtnBfIUq67449nuMTWEcTDqYOysQ59EcdNv3l0tNZJPm2mouDXKGD/gvEmHvSNXR
9DXkMeUNnR4ClKVW7qu9wDDocOCZYYA0GZ0filjF9n/0Vo0kvcGJo5tw1xzDwxCEzxS4UqSjvBQX
d/smiQlIo1LNcyZDEhToJjPxBrXdHOSN8nUHgg9fFNg5Q9z0Tt/kMaGpbcwlI9q6QIXSu8GfXMuf
EQydaRcdO+JYPwHB7FHQRaJ77QmYh4fLV8sJjVv5bKKI6p89yfq0BGHUODKIn3r5ZMTEXaUflwWJ
bpbNF9uOgFY0h/bMg1MfCt+SHOMufpqC9tt4Sk9ipg3R0RjrXNH+WvIWR7OwMLr42VVZOuZN3YJE
ZPA07JunJ3IYejx7L5+UA63z7puyoB6GWoD7l7za5+TLJxK0iafNbjo5JHSmLzM4Yl73qe7mb7F5
k3dOeGVhVkI4xcmNjG+6xfL4SYR0ilWOqOWPLdLk0jilZv0wdI0o46FKyponkWkUMSzkqGyZse/l
0EiNV8fw14KVCTRJR/crdLKIb31XZUc62NfJo/GluxIhC/IC80Y428brQFOTq1CuAHs5a9G4SqqK
zsfTpK0IJqoUlaa0OdLUoILyBBQYPfpErpovhWsDXwv7k3fZQMeHRE8sXjTbymU0OJuq2SaTrgbl
NSUBiAOsicPF50fAkQrOyIspW1HkvW8Px8UgWrXAD+jlD3M2r1upuAkj6arpzZ+rIWp9ij4aE0ry
fJwLGSA7WLrH8mvfB2rTC/rt3HAF+mQZQ9kEnAAsUbOWR0Oervhq8m7wZb8En4ETl9j8owSMKlDm
q1sKRDO+XDZ/bl61lUu1aRMm9dJKKx0TAAiTI1Lf0rNl0LgC3hXv4vmkgR5K4HC4l7k5KFMnsQdp
BluQjM7koh9qbdrFSyI4FM+VbM/EhEXJimyrVxGmFrM+tmQfR9MxFU5j8/wIqABUtFQAlHDWYo1H
KwbUE0AOi/RoOosfwmFQVsJpB8RIT7sHLJJblbf2rj1mgdDaeNn3VjpjbVZtLQtKDNjeQsJ9IFfj
leFZ99FD/BnoAsJyOjcebsUxFrcWiiL1EnATKJRMtl/3pk+wmYb6K0AuRKkq7/uhc41RQGJx5pKa
NDTMyQDIRWr+0uefOqZErETgQjio46Cf3ghhlCTOSJ7GlHxj2QG1yFMeyh/qEUVnjK6hNoSazOLu
KDlN5DbmTlwu5ObFAJIjtoV1NIz0M256oog57aiNr0TN0urZYEe7yz2SuqNj1273LO0KTFUfM8AI
7oSZI/1ebBDcSmfUp5HnPpsoMIu2W5pXImWMeOYAobKAjz/vln067y57Gq65bM7LaNC85lrdETIG
sTZfz+taOnPVqcdV745KIeVuKqHZmObgpKslW/CxuW8fUK0AQZYq8Vm9SFYA/lgBHYMSK1GKeglj
/ZTkEncdF39OG8XzdVBgCDR00PKw33iNANSbJJjh6+PB14zen1btQ0fbyGC+pIwBs7Fp5wm71NEB
5GX7rC33SpoGY/5lXVbMacWHPB0CzCztQ/NFjW5jJfW6anLKsRb8GJ7hYkQfvlDH4NsZXVyJiZM8
VTD5tpQ/q/K+7kxHSDjG0yNgeNLyoqmCwIKJH3UcpRpGPuj4erirg/Cg7ECWtROFKe5RNmIY92AX
K3DsNSwVqcvsTvO3Nck8on26bBO8kSAMr74dhh52E32ndo5HVLk+AocoOJDBrLTlmlU3IOZDD02N
bszuvom+jlUmSmPOkkCsJWExCZU0unl/VkmjoyF1W78u7cjueOhVf9wrn9QAbYPJJ6K63Vmqy0hj
EzMwuRZGpRN4sf6w/qQv/e6G7JVqD1D6GMCEGLCeDx8Zr2IE08vefDeMMmbRKmNKnyKwdLvQwwNi
p/jpUZRlnH01RhCTnhUE5LGELgoZeuOkke11oYWyveAiRffI2JRRgjYs0zBPqiuVV2YNiOE1BxNP
IG4RKYjoQIxdYbkBq0n5QKcBZg8Aysfk14DafeyQY+kX95EHXLWfgN2/bGj0T30X7l6vkVadoZjn
lD+DnRp1vgK3w8B6xa5Z7Ac7jRK061GwUKzpKpMVx1Km4LJU/rW+SWVcc7iANn5pNRIsRuOoFsCh
c0/D5yuGw2VBZ3GGOR4TW1NDaoZuwvHsKN4n4ewntmh0iXsWDf0WG+CI58Q6sRR12UT781h9bT2C
d+WK0SXJTZ+ixAETmx5jL6XeZXisfL58uPMnCj3dm2h2XwNhPdISk84FuQArf9b8eU/3YfpH6Ug7
d8LZSartZ8qykcdkZo05DEU5G1g8jOFQ/to8NB4wyhj5wCZI9+ZOR3Et1hwgyNr7y4flfsmNbEZl
AMUyxhjKRloP3EEtcbsuFORhXAM0gFSMpT0OinE1jN1Qz5ocyOtXK1TcyD5S4JfLxzhPuOg320hh
zDzr03VKQpi5tDfvR0961vfREZAoe+ve3MnXxl783V7ZJs6+20YmE0xntYuzwdKAZCONpYMdHz82
ez9LgA3S7+013Utt6i32XYqdyxj4+rKU32Mq1gOkrUfUUzZUDkZc1rn0rRUPG2V1ZlUH+u+NPYP8
D/9vXH8vw6e1xeS6FmjLi5wB9Fp5qI3fFXiDKBRfb6cuSHGxcAnGwOjLgKmjuNkt630OoGFJHRyt
2Wc6miXwrZdvnGufb4dnS6NrMYCLA/37YFKzkz6Ut+2afbbVxi9zReALRKIY++g0VY6VAm3kXG0d
ogDFI4s8c/geTr8vn4lrDOgt2Ris4IAdSoaE4bHSBuaE8j2c75ZIiGjMS1d0DShLGlZXz9dX9QH4
D1lJ5KDP3RZl3sjXb7BMKgcIg8LBorPMFTaxFcbYhJ62aTzS49BshVz1e5oy5EcR3C9XjC7rdNcG
g/Msim0b2hmWcTAzrMYYpTKP6zJ7UT4CJAFYGnKwNuU+Fa0Bc300Ngf/FUp1ZpMQ5d3UDmU441O9
0iNSivjljqK1/YWgLPTRNKKxtq6blAoGVwpYEibi9WOqD3q6Yr7vV46FwfxHdqQLg4WKkgQNCqIH
My8mbOVRVd2cLysKwArGkFeFg6+DSnae7yQJ/9m/WLGA440vy5KxkyWr6LAyfizN9KHRm1QJxgzU
8HU6n5Yk+YKwvJP7NMD4sCAi8MxMN/+VpzMvA7Cqq0YRVQrO5kf9FxWEuZft+PyZQzV/I4HxGD06
gIvyf6xd13LcyJL9IkTAFNwrbBuSTU9KLwhpJMF7j6/fUz27IrqI26WZuzETMQ8TwewsZGZlpTkn
TzFA/49R37ctcSWLuUHNZsHyA8HprQBgBVu5pcR/fzTQsHF8RJIppBB47AhW9i5NY+hkVQAUO+bp
sGlf6c+R/M45vg2DuJDAGF+iI60rRFxsFGGWlqqyd/pfis1qODI4iPaKDfKtPyhSbbjZhWTmndOb
2N1uI4T6/mD4BJWxYB94vUO53P5kwOZzmVFGc3F1lkwYQY1Ga8iMtEE9pY/ELf0zi1t8Fhdz+6e8
L0fPfeXUgHzvoylVRc9IVTAWg3UJjJQ5d1GW+g8Tqy6UYuJ+PDdRoWgDRh+1xEoNLLZ9aUa/1b/0
oZcKkm1mb0naeNeNhqcbE0SCKBUXbP5i/Az8H7l+k0pv1wV8XqxcfytVZDFySBYEU9HD7uUH4dTd
S7vwVnWxmoYh3QGly38Dm89IZMKI2rd9gL0JWIcFQG67tWuQ7OGh6k9+cctrjH7uyJylEQVcogRD
Qez2mYFdhIHoOMHW7W6S99RNDCv4YX4jFvnLxMsD5BCAiRKs/B9jJjCCmQg2REEWF0SjRSHD/5tk
wbgp9yC84u6JbUeWDx2Z2NXMY6JmNWZkiybwlWrx0d23RyO1+qb39ezHdZPZeHrAET6kMXEsJbMk
xxiV9GRddoowAbiKUPkaGCp5Fw6NE59d7kMSE7eyyGgqvUAcSW6E0yzuJGOveq1P2SqAQpqh7/qr
71wBj0hu4fA/xLAP2UwM03FLBIIG2cTP7o1vCR7J+i1glh7kHf8Dbrs5ve4kSZNQab4MYdGsa8VY
IC8Zsf2V9JkVzIt9/av9B4V+y2Df33VvSEONRro3HzBVYtdfAwedrZtx3/ixx3M7Ggw/f7kPYYyP
EwJ+kVGlUaVc3Lzd9+OtmjwlQmUn8k8iPV7XjXN8CuNqcSQkQQqGbKyJoHoxR2CW4M2q8kQwLib0
KYARdAyNGlJrVxLopqVxd12Lbb/6ODPGr5Ah1u1AdwaAuX1X1oOvgJ9zzjlpCE8Rxqe6QjHqLIWp
NfWDnj/I/I2ajZcL4sOHHoznqHqP/RYJEswnwbRAwLd8UU/VvvJKu9s1WCN/0gBvHdmDq7jibhIs
8/n6QW6buoIYhUki3GgsYl4yawugmRChRNVq9q0vuMaN8ILZPFxomV9yIv3mia6kMYkBEdNYyWTY
uqR9V7TGJWXMearzJDDhQZCiuegwhOtpYfqGwQOrmni4ddt5wG8tAGd1GYIywcRsBM2iAKjiza8S
WIEiR3O0pxLkydVX/luM85UAFXkpUWjFMklieC3x491SHxInt8t32rksQT7qNIN73SyunyK27y/l
gW4IJC0D7FIRn4oiskAdcF3A1qMF44L/Z3dYbL6UICwjkTD9gdzpbvyWnoHdKhcvihBcX7HDH7bi
CqQqr1LfbJTVyYwhEF20h+Jesuj8fPsOOsObaJcc0LjjaMg7QyZ6SJ1otLUBgRkIlsTbzDPd5U65
HVxKZyZ+Bw4HJz/dDIqrI2WCCQCAJkU2dLzYVez0t2RfgtjH1DhzyTwpzBNCUBugnwF2wjOT0iLB
qyg8xPK/uaRWmjBhoghVLQ9orUOZmxcjbJ/7mIc+xvs6TJxYploLdYAJeXGY2eP8JDQGxwAU6pSf
LvYPLdjJNwDoJE2bmwgRbf+zwd5NFdyIQwxk//uqABBlKVt1qzlAmbOi5W7KHuTqlUSloyWArU7b
k9IAfnA0H0kqv7a64MiRb8q7IMy/q2R+W0LxLq8FJwbmV18CFCBrdhMAr5WBcBTZdh1dRtVQ11Fj
Ow+WrFwHSwtG06H7h6qkBVCs5rlwKFBz9p3SE3SLK+94SwNb9ROC5O63SPnSW+tkkqRxATIXZTnF
JCqe4dnR9Au38JX9dUfdzJxXophINEezfIYF8uogfNCyH33VHIzxa2A0nKTl8wAMfeasJDEhKC+M
ppxm3LWN02OMOM8OE3gO21vTnQ6m7twYpjVjtJ+/GbjpsyvBTChSsQTTSg0yMj3F+EcQeq1oOknC
iQyfl0qofiuDZ24ppR0LYwHbxLlHjAGt3YTEhXjJof6v0gjpfF2uDLJu1XLIIgHOW75qQuRUSsWx
+c0TW6nCGIU+RmrXlQjeevEl7AxApByqggf4uWl5KyGMPcjxHEZmhM8ySe1pGJTbmNQ3wxwBcsf4
dt3Itx1qJYsxAVld0joGTRCuP/kXrTOZNgCFaGMv9cT/VjHmJtKztErMDHV/Sd+Z9WSlir/033tM
WHO04n0m5jKSQq2fJpVGptQbX/uHxJnezNkRfna/Jrd6XH7iuZZYI08/ev9ci+zM/STIY19pAT5c
V1dumkzgouysyPwyVaBOzzp3yXjDe5tli9XnY66rWh1LYCFBUb0s7voyOnTV/DSgf6801U9TzV3O
wXLurvNexMrDRrkWy4Z+QQDvkoN4uwLerXzelua2ckTD5aIpxieAiBohuM1Jg+yWroc1/X4un5I+
dhbgQkQtjy2CJ40xzrRWpkqr8Qbp1B96+lwmxCrqpy7bRcAI4RwjvaY+G4qBCCUqGL5nd9uNZOxI
RNlTsLLx97MOXJFAqjlX8LCuwvts2/7wIY+JKHUhldKktbReSBGr6M5vWtpygZrhiBp2Z3c/oWT3
5bqa27nUh1T6q1bGMrRxVqkJwGIHIdzl5Zuq8+iQtx3uQwLzzQIFydp5KKgbI9nuKvWVdNpdkaid
HRL9tpfbxFrI4F/Xi3ea1JJWeskDYIz1CdMs4JXem+NsCT05FvLbdSnboZkQjMViO1T5tD0chHEf
5i0mnla+Jg0OrtGduOP1ETd1+hDGbvnJeiQUmg7rH/XMqZdEtFqzPIEFipMM8OQwuUAyF0QUFsjB
xLhVi+/l8CaPPF6Uz0iLNONYacOkiWkatCF23GnFmq6xjn7mBV+qJ6DKYMNcs+hmZoBJ9WMP8krO
V9sMIyvRTIaAdexYa3K0qPoDnaYeH6u/AFXnKA6toXSiTTdB0KLiR0veyTI+HrRdlwMnHFmkcj9P
d019TOQnjnKb4X+lHP0NK8sXBnmUMfBA4Z8R/i9w1/kmue0AKlDTJBOA05+QRtsl6/IuhAPU2SXK
O+jduHsEm8e3EsYcH9FLAwkdSocoFVlLHDmpsdPDf7yOTA1zJYU5wHpZpqinAGokSh2tNnwdtsD5
SJuXy0oGExSBuhEm8Rkd45Q8695ypDxgc4miUOIWNi9wfF4foCphqts0sTT/GTu1GYlYND0ySOkU
fovuDawOzKFNvjXPAKoHUx22IyInWixQ68hW6ugoP3BXaT4j1TA/gsm8RFkBzzhQVTzhiAEWgOIE
XyV43XBfnCIv+x54qg6QJWAwWIYnH/sjbypi86pbHQKTh5lKtMQGkBi8uM3sVjRsIeQxjGwa6IcI
ltARXcxMiRrENHE+Jdpih+0pzLlMDpvG8/EkPL/5Vx4e50RQCT4papiGj3qzrzyS5/Tmb5KBWeTZ
6qZSK3GM12lxDyzVEkGL+ODF1DAtc2gnS2nt1FcwEySndpJbpWJV3Bkk6gWfUrCVZNYTRwX7wqjY
eqVWHpsFmxhl+qWvl31EizDXXXIzTVnJYjwSF1HYTQYaqJp2FAIK97UTyJMZYhJDfRLbX9el8c6U
SU+qiARNiql0rxkOzTxbtD7U8oo/mwa/UolxuDDM2i5f8OEykXhI9Cw+uCLvCzE+VelKFxYVXlMq
mZyyK5wGQ4jYf0JGx2uTckSxz5p8VEkxoOPh9UvnT2JtTe0t0YZT3fAQQTkfR2ZMQVuCSU8VRMt5
wQoq6PDy1jGGfz7FflFQYiwg6bK+rejJzV3oov1rhapid6CeAY3odVvbvqN1DNcBYXVjeWuakjwS
K/X/8Y5eCaPBaxWcCMDqA7WDsFY1LNXQfdMcKaftjqPU9kf6UIrJ4TBB2otdimEA6Wn8VaGs2frG
vtsNgBTAPRq8gzJwx2uBbVdTDSDVmuCnUtHCvlQOKGd5J80obWoPGqqA9V3r042R4nUBvJrAHXjY
NPmVOMaBA7UyyowWmapesdv5Xs1vJfkhNbnYHps3ykoQ48ZyEKAsRyNFtMdaPfZ5Szu3279Mv/TM
Pa9ou/nlAIQkAQyXbhTS/7+yEDUb9LoRoZWRKpiN0U0n7wPAXOmxf91G6K/+dH2sBDF+bIwBKi8l
en1NItxGgZpb5oBZ6b6SVScaMETVGMJTSNQ94FpU57psnpKMpcR5IBq9igAfF/lTPx6VptkXjcq5
mzcj/EpDxkCqNEk6VcGlFXSNYypfc/BwXNdju2G6EsGYBunzaZQNmAbwMzAJLAVW4eU++CBiC5Td
DXYL2u+8TI1zeCxR6ZJogZQmODytJ7hRir2szvdN9M5Rbdu9fhuiybxz0yVDo6o/q2Zmdv7a3Eix
FaHugg0pe/gV9/7iYhXslrcmxflqJhMiZ7o10dERu3JarFFLAfu+56hGo98V02fHPAs9yschhOm3
rgK4o2UXlzbZqz6dhWxeBMXi4chQS7smkOq8cmpxAtiVkMGpiyFxp7C0APdizfMxUU1LGhJk9Vxg
2M3PZwJZQQc+FSgMmM9HqkEaAjqhrpz092nfnKongPofl0f6fMcCWvE1OoRc4plN2/ybnIEiBbEQ
ZEWeqVk+4nWoapqdajsz6uxheOB8v81H/IcU1gNIVleTakR0I4Wiry9H6Y7Op0u3/EtmM0quRDHH
iEJ0UJslFBIPgV94uM98wee3Bbe/1pnUgp4ba/SqUjRkomM/Q/UwhN/r7C+jG60k4b3etzt1K33Y
xMAQ9UyIYRatqk8PkUCJ4IS+tlXwSrpZWQJ9qAdPQ0dyjLoV8otiJpml52Voh1X+Iw6WyomiKdnX
SJlsMUgraxgnHh4ZDf+f3MU0AbgEM9EJuxfc5FNVBx3WHvp0KMEUp7p1QAqvEJq7iki9pQc8dp/t
8/+QyFwVyxDoUz+hwZc08zt2rSLb6OrbJjJPUTh//1fm+yGMuTRSsoiCIWGs/Z+P0G8G04+TZDeF
i3YE28WCSBeqwOdSJT/uuHAnWy6CLgDWenBjqwYLAogxO4D9ZpCR3PRuvJN2GgrxgS1PvvxlHK2f
2Ll2ZGfe6fu69rvR7ibOZNTWhhoWlT5+Af26q/AaJHU9pLRZJuwG7DO2fuRIvTd/6Q5ZZsle6Y07
JBe16XA+5JadruUyaUypL7op0uElLMD2drzrb4N9dQwUKwapF2BXECmOeuJrb/ypny2DpSR2wEZB
mRiwpJcqT1I3BCKFnw800E+ofW9FSvwktHVuJXwmxc3Ufi2OucDKagZtIKb9oOnogmAFHOwAkwKi
jC87E9pMXAipzcxqLZHJg81wQL0OXBAAr91TnMDFiXVLsiLAoiXlPUVi+QM8S96pMoY0iXoi1y2e
TeOhfFW8wokB2FWADMZKXpUIVHeAfvNqcMIXO8HjGNNWUrJWmDGmIJuNKhwhu/PoKyNDHhncUCsi
Xg7AufyNI28rNKzlsSEvH6NlzjCzMdq9ayKziw/6nSnvF1xwGRD1tNKdeG3D7VDxYbVM5JNUA7ho
tLCL7RA/jSQbs4ZAKANK8OBNSepQBGucv31d1euaYrH50lfCQe4bLKsjFYoVTDtHGHfojZp7tV43
nk8owWMMstGugY9QUMa2tebWSjOHEuu0joyFEWt+MhfgQVY+b2pkK+v6+JQyO9QYDk0PjB1EYFDE
Lemp73C9jzwUDZ56TMSZF9JoyLnwCh7fp+Ym/6FMtrrwXh3bIfX/LEQWmUDT93UrtjSuJZgAfaVu
n6pW3GBBJHQ1B1hrQPTpb/7GKuI9rHiymZCTmUU35Bgl9rKxdGbANwdyjQE2sNljLSVx/jujZEJN
MShVJVEAZwNonVUK5NiWa5FbhYu1XTAhJQ8DPKwpDQbxw11VO3RSc8rdM9aTD/AJXpeed4BMSFGN
EAQ2GQr8uZHYY4Zd1UZ31Dz1apKpViYIIcezN9PZtYZMQOlHqRqz8zV428iOeUIru3imj9TIkffo
zxqn6dfc45JC+b3lPP45XsdOQfaY1MoGGsyC+mdT+XL2Mpb/LrP57Q7n4uUqsymzZql0DXkp/YJJ
Zzdf4ocOFKLxs+EJ+/C9Lqz4xNs63iyJrk6VnULDkki7dC3u3hZIOeKI3htJrDgBT1kKspkK7AKj
L6cS4G0np9GerzvG5rDdWjoTaJYuM8twRDTrpjaw6zy1c0n9KgryTuvS2U6UHpxNKgnsflGdOCa8
GajNQIfJcLw8DGSz7LJYFtdY0QR7kZfFumGXVelKZACLUPtXHspv15XdvJpA5aOYRKHMooyHjhPG
P9IWhYEuEv1F3bWtvP8XEgjoaXSQXYKkhnnAYt7dVKcGD75+eCzjzuomHlLUpg4rCUzBJgfedkFS
SFD78a0RQUE2SMqP/04LxiZikEEuPZ1aVPR9286WUqTOdQnbKe5KDarmytUMoax7oYCrCTtw17rK
rvSlCsw2k93us0MQ2FzII97BMfcNMePFDBKE58HT/OqZ8mjoj+SEG3aXuTFyvtK9ruNmxCIGZtGQ
BBHgv1yqWKDwlagt7pxJD6xZv4kS9O8UTljc1uq3EDYsCm0/GlWMsNj10k0IaA21DLgTAvR7sxUC
+UMTNi6iHTk1cQ1N5IfZ7rDdk9u6O58ovC4YxRzCmfn5TLyF7vxaHmPjcxqC0luBn9KnCN2cG2tL
f4sPAPFHeNobnmaN97BOfLbAFR/1+7i1gU7Cu+621o8B9oLNdEnfwL6DjxeGQndLJnOSraYQ7EXM
bxGvcjfpJEcRgrswKPZ9g2LOpKPReN1+Nrd11vKZC74wJmGZEfk9wxSdXK9AE1+jdJnXpRV2wKhV
K6m2RsFw2xCzo6mMmaGMPAlq8cL5IZsxWiWmgsMwgLnGuE4dC10fg0Lh/D2GvUDgrf5fmhXoOzqk
QRfas8Hl7ZRt+o+KERGMPQL0nx0tSIFDDpoN1BkUQwZV4FjdqgIhdAvw6bp+PEFMLCLg9RGMGVcQ
SfN9MHSPUZH+MMXs8bqYzaETeaUQc4zJlGdDESDmzahu5m580Oz5tfC672HlFcc4xtQ+eCMmsDdY
Mpbb7yP/+g/YjBUr+UwSnItKUWCTmCaM7yVWlRudg7/BE8Dcrxlm6IU0gACsp4AF1nQiLt3VdvVp
pQTjFGqaGP9bO9zHjzNosa0cQPGhH+/j5+Kue+h8ZGm8LglXKhPLx4IEIAPEp0NT8pf+Hh/7l/IF
M7h+9S2OHbpqhiXH3fXPRf/mp6j7oSk7ZKAqZY0xZ5xmPYBzV+8MF0zdTgnIqWVJKlvIRGfqK6BR
dmhdXhfN+ZBsO6Nooj4IqGg5rpxFfI7T9L+zRZkJ8Zleanm94EpZ0sLvybILGs5yB8erz5fMKsNA
VqnPRYKbEdtTjtKD9di8W4jmXD+pTbADwE6jki+aG0ilwHRqkcNCDL2ras3K7k0PlKI27dvpPvHC
xNKwq4V67HXBm9axkssc4KToCIYDdlemlGAfp7aEKbF04xgv33vxez8fK4E37LV5oiuRTFoYZK1Y
geYd7h0YT11uHrrROOgjDyVrOzekA5ymCCw04/wMXX25IEjjMerRcIqBRInksLWJfIyAFAmWFHds
XD5K89ncPvmaIYOi3gRy8icynzDVtC5TcMMVmL4FRt+zEXk9cL1p8qGl/nnH05EzT8Km2pA7f0Y4
unm+hop/TIkCtDJBBg/2TBsoVNIcoFiHQal7oA1/MybCMZ3tA/4QxPYpomGQhYhiH4S/sr3ozl+l
nWC3jj46yhmWmoc6zxXIPIvEMJrTdEFCFwLs8BCb79j885bHfF9UIbYJRItP8fEfPunv09QYBynV
IMv1COBMrZCKLt5kxbEQ+pdKSBW7iANbyrWjRObvqUBOvTEoyOkWIJWIlRuS/FcyjPhlpHeECaS8
Wq36vSGfcjlze4AdqDVqHGHO4zjYzvhWH4bxMJm0hj6m+M10XbEDqLw37YId5QknAWYaeQsz298F
fEdoXGu0o8PIA4D9ICY0sVMBCuM2e+Nb6gaA8I5nDwxIf1Lzp6f+ydFWEunNs/LtpcPChZAgp41u
AId+pFTeH2BnXLvbvMdW0piMSyxAjQvOCgmvTMP/G3w9s/B4OMOvU5ozzpW96cEreUyGteQzYBrg
vMASFCOLxMlRncbBAlUIrxzG/XRMrpXkowRYPyCD/Y3WJcl4z/6mH/sjUvmtOQB5pRyTeYXdnGha
n1BIq8s5AD5QAe8cmUg49IahGy2FPdOfStEdkvcx8K7fn/R8WEMEhQmgtk2QF38C+yvDrAzKAYOV
mtjPttCVYIgZKqfW5bdWLgoMi4BN8LrIzW+2lsmYB8mrrF8KlCCkk4axd3ROTzrwYIozZ2Ho8Oa+
tlIEjNoTWUUPnWhsMSqslbgFCTpOMf8pRL4uBC5YRm4q0S+1X1md2QKqbddV3PpwBHkwxklBxfEJ
gQ/UDlkv67hZtOZRmmsghJ5qiZeH0GP69Ok+hLCwe2lcBwoKtaKXdq8xtgOM+pCLt2TkVvS3LH6l
jcpcWz0SkQF3MYor9eVCyZ9sVG0aJKh18K9IAAjJOHQapUmllYhVoNRz62V66MXQtIQmriw1MI+V
VLacj7UVHVVkO+DSBnAGvtllLAYO+ZQlKvWyAq8owevSf1HC0NAgU3UKmIsq8xl5dhXucxFwXI3c
aKgcaQfVo3nGfApOopM6wd0/Zr+QL4UxJyhPyNLTpg28IHhSyFepOprB43X73nDhSxlMENRKisYR
RQEGvdJHsA/2EwBAutaW7pTZGh6L0I7Qqxd5kePzp7oUywREuQCzX12LGpLSGfDfglV/nXYmdmUG
N9qB7+YgPF9X9LOPQSDgKzVs6ID6geUJlWoDVGzNomHvzgAo74s+Vs5gHDNZ4qi2qRmCk4jGCng0
WcxOsQzDRAJds5flmC/TFR9P2+uqbGRV0OVDBBsvmkzX06yACLrkEyVWC5gd1e1BqP4oO7HHq55v
DFNcymP8KmulIQ1KSfOqVAlAclNbdT57aiAd5UJ/08z6S6jXb4GWxZaoJfD3ZsEbEQvSrfQjiUEf
fF1/zgmr8qWbR1IArN4Sn1JOA0dofqQ1b0lh2ytWJ8zkkVHVx2FNT5j4i2z9jTOu+AAmkewSJ4yb
5h8/7i+PmOq8iitz380Y3M4Cz8ieSrzVpmxnmDEnPm6rpSoyRuxlWcdT4lJKpvRLFLepDqCN0V2e
JWvZdQCjmNz+PoVavIbutqGu5DH5QVyPU5o3sY70X7TTxcrPgO3IjzOrP/Eh8DZ6fzjFlTwmYArY
QZu1oNLpuOWhv+12HWA2pls+/y9XMyZsSqToidkm9CSxkYwXfW0PRzBI7tH6P/K2vDcNHvDGhq6i
j6CxY7FVDlj/kN4Deh3iqXdCrscJWtv6fIhgZ2LlTgjjIek01AO1g+xShHbJbzEpgbocd8z3cx6H
z7QSxsQTI5P7nIRw4AxYjKgXA/6abiTzGtGfExCIMc6jfYaOEghjDZjHCLQR0AoewAa+TVV0LyqJ
O5qCO03SSVHVyLkelz7nipfyGJvIlDqeqqQIvKXHsETTAj9E96Sh5HyrM5LjZbp4KYe5O0up1NIp
CkxU6IQTsm5LO8yv+jt4T8DFgOGvb9g7dYijHESn3IMT9xuFm4l2gzvfTHclt9+/+TV/HzPA8i6D
ypCWlHfoHCspcDqdcW738o5Xst50gpUYxmhqM8jQseoDrxEKK6pSqzC5E5k0rH8+WSCJmwB5RcmK
iY9EmNNpSKCK3tl5jlnQwin98HZU7CCy8Abw+MDK22p9iGRCZJiXwtgomeEpMBYDvS9Neblulhu1
fmovHyIYP1B1ocx6swo88tC+po1NId5S+69Z3y+2Bj5R5V7Djunbdak8vRhnSEtFnQwDek1aYVjl
qGpWy7umtx38QzHGEVqpmHNBhWIDqfy4aEKraUzdzsuuQvdQT624XLzram20cnGYpiSCIgDEUxqL
XCJlS2jISaR7WeNovyovvy2QJGiHBsBlHpbkLDpxqRwEvzoA2mSx2v1wl3u80LYxuXT5M+jxr/KF
El0vYYoNzVtMS3/P3eUYHikaTeAAVvQpvm8O+kF/zU8CpyO2mUav1Gc8ZMYQhWg2sgYPaU8AAT0O
4z4KJ6srCuf6SSub4XQlivEMVZwLuZ8FhG80ImKaPJS3qpc+Clbrp750o+zqW6gLHIY8tMoX06Wr
KXqN1lUAqsz4vsDh30jAsbfDk3wU9ryAtH1nmjplHwOjnKIx5peXEmkGSdOQA6BAdgeIDUe70U7R
Lvf63fLl+nFsTFXRL/5bGgtQElTDnNQp0QDcJNpmb7yQMpNtMD86Rjr7k1T/muIIkHdL+zQt402Z
KL+u/4JNj179ACYAo8QupDmN83OEiycNrLLjJPbnWX82/oIzzpBMWREV8MlfWvUkKHNbq7Cu0VBm
W2zJzgja3ZAvr7rYYZgSSM2ZOCagGqkcLPhaaSTc14b6Bn4bTEAO2iNRaluMiqdxliyh7l7aDMzb
YXKjini3GMJjK7ePYV1iabHkrBxvnc76pzPWqhj63CuhqXkl2LenbF92Mufe3/KHtQQmjBd9lS6g
kdGBzHhrKjX0AYz09PP6R940s7UUJm7P7UDqxAxxF92CN8QFZc19vpfcFGiqXBJx+lC79rkZByrm
tM8FDek68dFojOz0EGRWVljBg+iqgD4FMuQuv8H0LLgLgSUv3U4vf0BDS6V8/hUY1VPxqJaIzrz1
liSL07bCTdW1+1ZJnBBAVEl6irTSSRYDA6iNPQSye/2ceUKZ+L0ABAUzvDhmOpmp7GKfvlT+oA/4
eeQHK5jih3KMR7UNplsFTAliVxE7smhShbvxK42d3ZHgMRu8j/vUwbANXcbkl703H5xr8axXZP1E
5AhBa0bvEXwVVvwAPj6r3BeQlvm8/gjvVBkX6cJaUtQuMvD+6yihnE95dfgPC65ajJPEZQmo/Kim
79rR1V573EfEqm+I19nyzuSuqnPlMY4S99I41wJem+KhCixxuKHrHYqPGNwC2PRViP+A8WMz01l9
OxZvJezlgIgDIho1HX0n/sRUjzjaf0327Bheesp8CmdjOtJe349vhZt6f7DHw7FfljdVxi6vYY6o
ICR4KqpHTIWB40QDdOa/us3X6tJgtcqo1FnLJXPK6IseRTU7g69ozoBEDuszHg/sgNr9lZhjMDFn
lLpSTEEA7lWyWTok7L7Ndd27kZTZ8lx9uR5rNjrHF0HAYIJNhcd2G8Y4RAyNSNhYjl2MV7R+fWj2
vR9hVMvvHYAspBa5SR7AXPPA715zPJOtPIWZkqZVjDgkHuJdeuh20gF13h2PM+A8Q3TtYJmA0yZC
IJnoHYEv2XxZzP4mk372GWB0ZBF1rgGNU7rap6mnsaxOxghrUkVbTSIQQOooc89OOaEMPrR3cQcK
w2Gs/Tx5vv45/sMV+zsmG0yUGmQ5MbscF3lxE/iUI1wAroZmFY8dtwSy+U5YWzUTqcwhmkBVpKLs
vTsTBb1k7xP2i4hLc2gQW4/e4gKB6w/Ay7bTlQ8tmZilR2Ki6S3Sd4Lh5EG2BGBvO6FLHPGvrrYx
2YYpieonr+S4WRwhAJUkhqmCCYOd9KrMQCCL1ulgSEr2EgoiifMceU1r94k1vAU/tMSaEjs4Uzc2
mPOsj0ZnCeAaDd+Q8dz/iAtLDv9F5oZmABbp0ebF6Cfj7cKoKUmq1bEfYcQo0p1JAAebxJuc3oop
aymMl4f5og2CUMV+KH8JsQGefUuSX4rGeQDSv8I6mGagfAesM5zx+fxXYXLUyNLImax6ZMSrM/up
Imxw/GNDBJp3GJBFw0YlCvsKKOKx08oMm6+dEz5m94UXYyBS3FPy4NLr35oXXuzfEEgIXh140gMG
HtnSZegP02KYMVaBZ4cKuPtCMe+VLuUl1vSPMAdHCIjxZFo4AJMQ4/XmPKWCADoYeL0O5tLSV91Y
xuQGXS5KuP2ErZ7NhTjG8Uu9RydMRsqgnAQJY1/TecrdeMbL+FmMreaOnxZtZQwXMhmXr2VpziQ9
NHBZNzdINO+qJ2w0Y6E62JtYhEifRw/j1Q7l9pV3oY2W6SNvl3HrUb7+DeyQaQZEdq3vSnqNo8Xh
0I6DfjfYpl971S3vGt+6WS+kMW/iQDHKVKhxrQ1e+019Go+GO2D/dngWU2t8KW/PpFSNNWMbscce
e7Rr/P572PE8htrOFds6/8yVU0ZtGoxRinyU8l5XXnXfnHKADMX7yaUEtbNTuI1d2DywIe5hM4Et
DQoQf/ZILMSH+C7etbfYo7AH7NfYOd6LvHFvrjgmws1ojAVgXwWk4wlLPJTzPUKOVoLND4l3yqX/
PTOlXjtW5vFUSv3caznepxOeTYpTY51UwRZk5MTHgjZ9HoZ77JN6yo7YqVsf6M6PafeOZI/78VSk
VubOTyhbCD4ImQDQj0biEdMqPi98bSUUF1bIJD1zjFW2SEV/tqxaSyC+mX+tjIeJgNxKfaBjP+W4
7LLCz9LX66F6M3B+xDSZjWm1YBK5wNM5nQ1nCFpb7bzrEjaQbDXohowNGOyGKrGJ42imDR1k/fup
lT9Oz2Bf83IbUBBo7ukHya29GvFEPHJnCTcSmAvJzKmCPlJRxhFORR6KPUYXHenN2Pcgl6Hrw9Hh
T5475+zks8V9aMsc6ACauWbKIVN5okMRuZuBNtgJW2sBIcKyM135ic60Lj+zW0S0L3zqZJ7SzLUR
ampi9h0C2qh6dQLElpdhfL7+STeeAhfnytwSQj2owjwouAjLL0ErWqPimcFkl+O9WX0dq71u8PKv
rQ7IWiTb3cz1DhNexbmUjOC8r60MhHMuHRGenTSxMNl45PeIN4Oyhr4LLWaKn0awiVTEelEiOFZa
fNvmcm6NhfIzzuvveS44GNZzr5+rTL/NJ+P5EMhqqdZhPVXZuUpA+TMyZ9qpu+QUvZe3wz47twZq
EGje0DW33FPv6ZqT/Cjuqjs8PESLdztsmtLq5zB346gWy4z6vY6NASz/5JE1Lkdx5qHW85Rmcjcx
FUTAlyBGC+28WLpiiH5Xd+O+6uLbpSAOBo0clM55SSp1/mtnzdx8fatFAdaP8HFVpbKDNvb1sMms
Olrc2uQh324H+NVRMhcfmSYSdCq+LK1NYIn70OzKG+FArxibN3S26Z4rWfSzrnKJedDIIGGu538r
k91u9Pq9uOM91DjeYTLRdcEa9tgKmIJtDdNNJhN7f5JdiO+yhHc3b/NuO3NYKcXE1VATCzCXwEpa
t9p39/r34Wjasye5eon5Bt6i5VYVAqvAv13fZKJom6qjWdT4Xvop8CWnz+4SD33JffUI1Ktd2jqg
Q4PzYSHDM+zwiQtJzXM9JsRmoR4NTQvXA6qwT0uvspsfDMHS3QldymFH9hMyYvGGPgRQwxt3laN+
6e3AnThdkes/BGHw0pjMoAtCtccPCbrHHuZaF71jCvvrgW87vP8+boVlgdPKdEymCF9XPLR3yluc
WzpSsdgfPTQAW6vxu5/Aj3I4Umn8+hQCsBYP4idRMTDmeqlbEQVolEiQSoebmntaUFFwpmBC4MIZ
beVZqgTsEHSetf8h7bqWJMeR5BfRjBrkK3WKytKi+4XWklprfv05aveuWShuYrZvbXZmzMasI0Eg
AoEID3cMZjE+2TSgu9QSVLVI/Kz3qa3OP64vZm+fdAMTSuBm15BtMbFa1LMIcqHYJ8UUvDD9LpDC
VuqH60b2IsvWCBOq86WQDGh40Vpuf6BkeIpvHvk9j11n39phYnMsd2IppLh4KdtU90AtqdZqN3dq
wN+a3S9nosdCwNMPrBHjasScGpUsSJgyKQSjfV6+VFJ2ktb49vrH27ODigiB/jBYpwFH/3jawJWt
xLmcouEvNna7mrZsQNpjNP7mKUkkyp0HfLOEkshHO+GwLIlO8SiU3DKX8MpSbSXIfMAa3iZQC6Su
eTf+ArmgfX19e4U7qJr9MczccQOIWNRleTe8uPFBeJL9+oAHVkDn1wo39upg8UQMzUVHA7wdlvnQ
umCBuoMA6El44l9Q+x/8z++h/31zDxamqa+JCaR3KEMkRshsUf9RRr+vr5pnhLkFhyjuyVA2UFLX
5thepvA5qcTRqvOZEyP3Isj26zLHZ0rTtcHeAm9doHMeOe3K673xlsLceVBZLNIU0DSIe5j2Gq2j
hQm5r5le31//ZLtp7nYpjMclcl4P3dQBdlHk52UeQSM1e1pkBmhrO70KRmwVsjRZDK0RSWv7uwrN
fj+S4nNiNi+aVKMwUcrHyoxecqJ8j6Z4sbS116xCSk6SXgIcngZjB/aDpQd8Dk32PkzcMkkqSxxe
rq+Fsyvs3OI6DmOqUQATFM8cLcocQ3L/fxaYwJ7IRt7NOryqKPtgaQ6irnMs7IbbzX6wc4lq2v8b
wSbdjk4EAkfB1s+a/662gcrm9fXsNTS2YUJn4pMK7Zy1EoCFFSRLbKHmROkEUWqDTkN/nDzDioPu
DnBmj1tlodcTe99v18kEKHpQyrwqddz3yUVy6GCh8dR5gt/7w0njJE57d+XWGPW2TfSJF1UNxamm
3ZMooP1l5Z04losj20titnaYABSXQqMtNaLc9D4c3Nn5bR0oRz2AGjvnoNAQc+37MSEoWaa2zJYU
h72+JCCanCThUOk4memr2vCotXmexUSjrKBUgSBf87RyxCjQVzV/4hxEetCuLYcJQ6kJnFKpAY+6
YIIlCSbdFqCuBO1Aqkm9BMrEl9fbLYZtdovFgFUi5ElWCd5Md6u6yMCdVzdo4eJWLM4Kmrs2raqX
diVaTXB9vZwPSphAosthZwjguPHmMpwgVDL7xFw433QP/7V1bsJkiG2OYLWq7zkABOwBbbZ1MLBe
BkqbDwVD5ZSWluBqNwCuWBi0rm3zUF/SS/cTUpqc9e6o1OoA9pkmhoYwc4iRr48eWETTXIsEZarO
lbz0ixYID+pdcT/HQM96BIBZf7RUS33DjLU7nHK4DEW1RLf6BSyft6l9ig/N6/U9oE7/6chtfhJz
qKPBLKQJr04PwuRBK612jTRd+guVSqxcwf+Q1mqg/mJiT6MosjLU6BljUFBtIbLzg9oQ9L/y0Y0d
Jvb0JYS08T7Es00QrSX6Lo2cnHn/alJ0gt4rbVWyjVeSEjXG801HOZXyziqn+NF0qeRf/8Bvf9Gf
+2l3NsaoB21C9pBk6VpPGDcoV93uwIItRo+ragZmxis+cdfF7FBu1IWx0hmz0YtDC/2QIEMnX6ON
F8zxcOsZu5fRZmXMRnXj2knLv8wZx3893LrDP3i47V5GGzuMy7WEKK1Qjbj0bt5pgo/td8VfzvmR
/2zb4S7CIVdFWZIkXZEA9/+4W6uIAmyOWAZFSAPki1Byt0x0crBXykkEXblLXACs7sTRTt7AUhM9
6g/XnXm3Q7v9BUywa/RlqRF9dE+/GX5T/qRJvZgge51dEzJQnuAoX1qeMOBuFN+smsmetCWswH9X
hV5aym/IbQ9TlJvW9YXtNkUJprR1EBKCPFxht7FP5K7tUK0A1zoYNWlHcg4GBUoMFsZM76Nje0KX
0KXUHNNJfs1exSC315+cX7HrjpBONQEEUYxPKII8kmUB+pe0BjaDWRxcjy9IBUS3cBc7ewBfsWu6
0QFMS4fqrB1pgSB8lH6jG4BSEU//an+vNz+G8SBzBhOKNqIrnQPyMx7SwaoGR7moj/qbeC6c+H6S
bDD2X/8Eu2VjTKH+3ydgNmIWtCor4hFYGPBz1V54SM60F5k4fHwXd4XM3SSvk5QNImyJR1JZ64Gi
d3tLOkp+dQDUJ0i4VU76J36Kt5vVMQnYgqZ3I8qwmBDNJeR+6X7FUWGpyl1GZGvseCOau77zxx7L
TLj2AwH3Po51nolWmdTuqPIIaXkmmKCEbmPYgtkJdeM5A7RfbKwhrrjdMLrtVz7c++2yuaiWWELy
2sMzwDSdW+ERPW2gpMZgSa06yDHnVLrCZLU3+ZEnX69wnPId6LoxDYyCkvcioG+qCFpfY3lUozwo
dfkyLQBmRZg774rmXK4hjs7UP8pxS6xMS/pHJQyDkDSHIe88DPq8rCKYqYr5fjSVn+juAepn/NTm
9C5Pwt9QmfaMZTmmnQApvbE9mrgkG9qA61WhcQ3D9HB/9q6SNuNd2wGoH7X64tSV+Pu6A+6XKjZH
hu73ZrmhiEYApOVpidhAHyBx+9feKi36eJy/1z16kEBDu7hlkMoaDxk4O+ULOaQH+nZObnktlx1q
L9x5m5/DpA1R0fZCOy7/KoxqnunNZyDRKM3KaFeH9QVSg+09v6e8/2zZ2GWiX6ZHwigkwORRuLRq
596gXjrdlt3sCGlOx7xZXe1ZDkh6l6AdzD3vey81QwTdo6rrYAViS5pSMnXAJSH46s+jg7Y6QJ/v
pECzDYLe4Y7fGtg75VuDzLZLCEvTWg2IhSuxDOUihqM1CsQ15N65fsJ2yyFbU8yW1hAc6UBRQhtb
hj98a+9UN3HfUTi4X5cD+U3ZLPnp0y5QYWuX2dI4F4sl1xFDFrt7T57wSQ9mBcRC5LbfkzO93ofb
/EEO8ufm7h/pru4Fy+1PYG43Iy0jsFzi+UBhgmCT9oUfMhYfOuXjejIfTBvN7pWW/VHMQLNNsTo3
fY6feVMse0PnoJL9c7yYm68QjXUuaDiND/WhCKJj7fYvo8//6NzNZm48wNMrALnhRwIeof5g6/dV
QNkzMnS7ylfUxFHKBNGVwy9+7Z9oA4JQmI2lGNaPgWwstGJJVPqtB6jKrZUl1ak1SKZV8060vLut
kHIAUJLOu7PvbmnQ00EqFQq6Ki7LRUgQoOaTIlqmK9yEQfyAv98Oh/I4nbogcUDHgHkLkMdy8/Pd
NdNJNAMk3qBkZVxriWdZrSSa0QDAl1vlHVWN1x3h6+SgyI3uMX1s1Tc83NFeWvM+APdvs4xnJXVo
hG2egqC90Oy1uS+k0ZpmL9O1oC78ZVHt6yGEt0zGjYamEnOS6DhU8qgEhlK4HYYgzGUYwMgt3l83
tn+ENx+VcZZcBWRQarR/XUH6Cx1Yze5pprjakk3nSUQH5KOe8JNjd/9U/dlMxnXSSGx6AtGq9yuo
/EIn5FsQ4SMJt9v7DEKMvEL13pt5s40K0/muc2ksMK6Oz1rdF7pmNTWEIPIfPeDSRa04hf5bnHmL
3EvstjYZL827kJBBzDCh6VOwv/REwf6rY3q5J7iqjBKB6pU1AKG82jjn6yrMU3ZVY2VJJ3zdrgAO
EJdeaH65voG8z8k8XOGL/dguhHjAhziN0DmV+jqOfiUggRVHR+ofupZXsOativ73TfZWSFkuhSMi
0aSMoa3HOWB/YnZzfWG7tRxQVlGhMkX7PBwgJYMqZAKC+nREbmKRk3mRb2mBs4XIKo9JZG+STN1a
Y9aEokdsNkpIUPaYXBlUAKWXOoLdOLRq3d50HFqb3ZRza48Jol1dk7ls4AayZpHz7Emmr7SOcCsB
R5v55WJVZobhQypRxGN82t2+zYdlAqkqTmKlTfAGAgICYlygJMJ5YO+Gzo0FJnSK6kC6SEWo1meX
rKcGE5zyNyPkijFSv2UfbNuPyATNrktk8L9gJaBtU490zB/M7aNj+kaQ8Ul7di+gzaqYUClXRdsk
ADV4sj+5xGuOUUC5vUfI/xpW/RA/IGT64eUf0PfQw/Cf1/lJaalvBrUSwRgKntwZ5Lh9Hx9LtQ30
cXodF7EFrlnyjRJ02GoPTQAhNz1jDJtTC34ca0xMDZTIifEoTYnwVxsNShBRE8GsyBYLBX1OojhB
fJMnMBfNi7OmT535Q41N73o02D+zfwwxgVQmatGmBS7jdpEtWXuZeEg4efeOAL/z/y6FCaRkNRsB
zK/EqyiCHsT/OEs1xHsv0011owSoA0TWrCGNRGPusfeLx9LOvi9H7al1qsA88FADuwEJhJWqLKkQ
TRHfE4ZNkA0ro5ZXTaLFiOy9qxo7VIphfVe/y/2CE5D2XHZrjnGl2VhHpSpwxEYD7/HwZ9ucJQkM
9Vz6it1e1tYS40ZtEq8Y5Zz+lcfWXuJGgfqcuMlNdjSBSYKwF7Ke0YVo7FtRWsqdigzX12z+ZOve
mdr8EHYipl+qpjAFXJ3QkHE7WXLi/C+a1eDUMzT8H7N3LEY/biRdS0CT6QnZWc96K18Ee5K/iMCt
d6CowwD9rJicObTdosLWKBPeG1BiKUgKiFcIkS8nqF0AtBpbiynNz5g7HJxBFR/MMfWXUI4hkZUE
Rdp/7+TqrSK96ndD9DXpC9fspNtZgB5hZvKE43ZxiXgt6SJwW6DhZp8yZF5LVCRw+dHyT3uniVbh
JxgQQXnHUo6Ki6nT77yRpN3d3thkDjjK8cMEBSYMl2I0XM9SuyKcHH63vr9dFnOytXAWJkFBNKSz
vNW9caAMaCgmxZb2OlsmcK5p0IgYAMptHGy7PsbHvwFfvo/SQSvelCBUz+QV2igrKaqlGGlmuXu5
0/fyTsz4YIs5aVB6TuZZwTZOx95Z0InW8c/UVqz1DWqhQMfNQXIjYMLtGF8okXoWW/kzxB7BqMdd
90741igAEPQoKuXGYcK3sZq5VquAAUKMvAbVeWfPASWeScDNP3j1ywT7sZv7vHtj7xts7dJjtwnT
TV5NhpFQu/lRGH8pa2bp6W2o/wW3IxWyghAsbij9E9Wd0lRT1AoIJSB9+Rp2hR/Pmsq5zXdchMIb
JdEE+TO6v8zZiaRoTJsQ/Gk6lI6fIqMlNjZ4Df7rq5wKEKOCYYroL77TG22+WJcPKEZqAqwUqmCL
Wma6Qy//BcBap2JMKhakicRg3J2QsYvyFuO4tbFYDQ7FMIIJ679fygcjjMPruW4OCG+aVwzpUU2y
mzn5cf1j7dUFECYlPIDwPMGmME/XVo+yDukUGDve3yUdhp0oWwl869RAt3Fx8kA/LSdcLhzDO7m1
juEcgj3CgDb26ePBrsE4JHbToqF6F/oKRmbCAOqwKET8g/rdTn77wRbjRHLeKKtsvhP3Gffx3Xgg
pwbUrfRKMFCPgFH+FNJeY+6DUea0ow9rNJ0K/qMkE89RnYO+ablNABw2SO8hfZattG0eSDjnaLmQ
07LW36DvhYL1VN5mIKnhfXB6IpkkH9JHYPGmfVlUTZkPHpK0KsWmTrHTRRYYOq5GFUXjzDe/4TmY
x7b6oznQgUnyDyAGOzvwwTizA8NQDkkogO1YbMjTHEs3RofajBR5nFO1E2I+2GE/eq+AvKzAIv/d
8XBAuKGktvhzPUp2GsTIp2NeEWYP0vDBKHNPVQaE+swYsWCy1WOMWcXCAV+aa2ByXrjRjkh4hy+z
LXuFgycU/6TtXBEEbGeYn9dNEG6xCLFRmfuwKdPMF6eHrgCHEmjZ+vhXNvJGvnY/LjjXqEgc8Nns
3a/MZVGU04RYUY9WSb6UC5dhmR7CT4d0Y4L5lNMEsrXR0BI/b2YIx4MnRCtBtDaqqtOVw8+4BjWk
btRQXU1vxC5sbU2UGkcCPbeQ8eb6aHT99FtAq4nbAiyOKBN9jFB9UVfdkLeJT6GgnQ8tSZTx+Pya
u9uHdApwNw0jtyzTjlhKer+YYeIXWfyEwvylaYGDrmKblIN33T32QgBe9wqYRxTEXpYiOxPMqcxy
OfEhToLhvPsELTlFudeX2dKNY41S0f/LHsuXXYTKVM2JmPimIjm6cChLPORHu4j9VQUHcrNy7O3d
ZmSzQJZn30hrSNnOWGDye7GNo3iUbToiHjqmDcDwt95Nv9EtFAnP8J5rbA3LH88KGQlgqSAg9/Nz
e14x9qUE5oN4W51B72PLr7nNg0nuBdStQSaaF1Eb9motJL4S3s7TS9Yd0unL9d3be0l/+JpM0NZ7
tYzRn4EzHqIgdwqM7zotZHojt8Rb89QGIGeloyH1UXC6kxjEfvggf83t9oYHwOR9XsYV5VjJw3JM
Qq8p+mAcmiDhzt/s5CMfFstEHlWdqhAgwgTsNZABt4AEs9UDnVQUwS1x/cPyVsOUL8NZm8W4VRN/
BVf7OnwtxO/XDewVd7AYzNyqKqj1ZLa400252ENbC+x2zurF6Lo0N5k/vUk2as1+/szl790/jX/s
MdlwKcRy0ivvuQXV2ezAGGkJBQTlrK60obSI1yjI/Aan4yot722bCrAsJa7BFNjn6NlniJ0LvfCB
Fn4DINMHzd1ZccvZ+huSK1wDf4wxXh5KUtKMawovPyie8F23MacVC/YAqglA0Ltz482DMz+HhfV7
vhSgaOM9Q3deoR9+AOP1GGbHVSiqqR+aj5XymOiuOojQBv4Sk5frR+i9T8befvR5g8qSpJFP/A+a
NNeD2cHUZLe5Nzuo2qGukPwWzq2H5JSOhmGE1yZflzvBNfEKXl9kawVpAmhCR1s59omt/g0XNVHx
SsEW4FH8abR/VM2516M19Y1Mt1QJSPSZE/T2bmO8hCQJ2m2qKb6XcTevR0AFQ73qpcRvQwmEtxKU
ds3mkpoNFGOjmHMf79XSQJj1xxrjN6PR60ojoFY2US2OygIeVlFs1P59AexoN9lTCEDdNzpbIHzJ
HO4QCm+xzPuywfRTjCEryNIdVpC54K40flH2ggzidOU307DzAPxh3FO8B2LZLpvt0TY91YCd1sSf
Ixe86W50WR1gVZ8yMEeOmqXelvF7tQ5PpGPkGd+FA7eKuReDN1/+fQphs8+hmelSKvSpP5rW4jYP
pZMcEbESe7WLO+FovkAR2L7uUntBUsVrXYOOkkE+aaQJWT1opor0uUwAhYeal7CWVq01vFyEdrg/
ee7GDnNtzyoI//QJhyo9dBcpiME5viBzVU885Uht9yOaEDsEQzJUodj2c2EOAPu2WeorkD20pBlT
EcacOUTOBmvUpoNoFM5c126pgOSvTJZvSb3cyDNK8jmVvYMAsDmDLDxbHMnoHzBc5qTtBKG88ViL
ywGqQsckrM4QEPeUITpmFTS9BTw9im6+VyFPqdKukNSMT2pPfpaFWVt4uFjRaKIpOB3VtbHQJHRR
dLZb0XSBTyvsTEImk8h45nZFZedmLluhrEzIRaWgbiDDAyrT80poW2t5ltrClifTWxKT0w3ZS8TV
zYdj4rjStabRj4gy4qqgHkBO8kpsw3zQlsJtI+NO1rjwHno3sadCUzF0ARZGWhdj7q5qiuNmJELq
F5r1PtkbzGc6YSPeILpjdFBAOxgEo4XTPsTfZtc48ekZdh/K9PhDBggVCMgBfcyS5WpYyq7BZU1/
QHWswJ7tJl91jDUdNL+9DHfVI0rWP1unCURf0Tj+9x/ME+ir4i9FIky0ncBONnRoE/t03eqz8l0H
KWJqhT3FFLndIwZUn2vH/DJE4GSZTjz/3/MWTftjnom2o9pqjdDMqV+Hgj33uTUXPCrC3cRvY4Pl
ji0GjHKQ6X2Ji9vflT8pO0L5e0KRi2BQjjuhwlkTm34J6hQOWreGXjZ+K8KXpvx6PWby/nzm1E55
nKIWhixkjcgPo8i8uC84JrjfjHHGNGzyPB5NnMofyptIX25ucpaOFdDAxTvI7fqS9gqDZLtHdM2b
q0cAW7wcTg1oQM/qcXUABAEyObKKNx0cU7IjBkg8al4nfY8jkKC+gPq+rqF3w77FdSNR0lEfM1++
l3UnP8AwsDyQWGq+ia6ON10MjF1yCH/UD+OLULigHgc2RDpwFr8bhnQD/Wak7FQn9+PiS33Wp0KZ
qA9mlxVkF050bBzjdoL22T8QN949PxtzzN6Kcjhk8TJDgmNyptawNIlX4/gPH/bPipjtLI1cMcp0
QE76dVlc2tqPXJTHWqsP4tgag8gnSORSCwjrIOyACl7OMmZduHBY3lKZN/LQGKHetVhq5Q6xTWvq
YBj+joHJ2l0xnkp+1T6XGJB+vk+Xyubz0gRzc5SLUEK4k5GPq76YW7ERUGU+iiocgEjWXLDi8SGx
vHUylwhq5ENeNQhxi7reJFFhl53Mw4btrgspKkrlxICEIvMtR8PMyp4gscHj50xnYGNHockhhmJB
hSrcKZxXx15qCFUwyYRynSiCN/jjd1SHeOqXOUcJNyv8GrrArQB3HF6vO9+uFROpmqliHMEQmS+X
zEIIKkcUiqu2svvkadA7S5w5+AB6i306EhsjzFIkIYsyJasyn84+DWAgbSEJ8g8Ilj9nuXgAqiJ9
9GOfPlHzGHmRGpE+oKwh9mhWqoWVtdlLV4G4r5nN1BUH5SiHfWKRfHkBCSwPZ7qDH6Q/AKqeQEzL
UH5lQktclEjapgVf050Hm5IFGM50h2sdxASAevKKRjtDZbCHtyJNntCCZjt1WWPIY6zNmS9Uxc9E
byA/iEFi3BxAhWtr/aVd89xGPn5YSHKchVm1zU60r5+g/UVvfgQTvrNs0Zq5qzM0kUrI7hyxwY58
MGu7xyuVP5n62dfpmqHeroH6GA7CnNgZV3PRyyHW3E0HKUE8nRKj4Szqs1vACJLx95sRwu2Ms6M3
PPeppGU+FOgtNCqtKs+PErqF178d/a0fHeOjGSZWNjjEZJ67zB9AP1zGd5hPmZD6StJTCljUdVuf
l0RpFwFd/LcgK7NNbaY0Q1rP0M0yUkeSA234ISU8yMBO9eKjFcYDzGGKlKYeJGBBVsCdpSfxqww1
4nR6r55GfoyOGBLPHm1+j4fW37l2Pxpnrt14yvGcyVfJCzNLeptcxemeQQ77Qln2+1MEUMbkhNZ8
wQvjbn7pKXTS5mUzn48nfgNSKcAVoExLWG3TEZiJqEkkCepHAA4Pj6Tn3As7uelHC0w07cwon0UF
Ou6TTawkkA2g17TSeZcQsQzU3KWSE795a6LxfXOlr1FeTF0vSuCbGG0MetoqUojrp5Oe9I+eAJI+
WlRE/AYWhIWt9UqmqAJEnDwF094E6zK/D1DZXd3rZna6QdSOCWQDpaX/NH9WrpEeRTE9n33+u8gi
Z06lmzUzbHHE3Eoutl4R1phk7G760XhW6v7SNAXmMPvanvSE2K0WH9Yi+902ObdR/blu/fG3McfX
iCa5z1FT8RQdnN3rAcHUKYaDclwO/JRpJ2x/tMaEuCovxyYdYE3EgEJdeArk9cpTcdA6j86pcQuL
e4do++WZWFeFIphB9R4sMI/RpfumY4CnPxE3OYy/p3PuRh5PHm0v4G0NMhdFJCFf60A64E1yapfD
XR/WVtwuzvUTRb3t88H9c6AYbwRbVT/kJawoJsZmJt1qBN8YBmudVktIMnvmteD2N04GjgRsKDLF
QH/0Rk2O624yZwijHORjFiRHE3ObhKp2Iqbyugs7uEkck401emg3vq+UayGFAsQ6OheVNSpC1Yyu
gc7K1wUE8qUrfu9eMyDfuJWZz8kcMlLFhHYz4qkEqr2PhnsNowoAUEpeRbT6BtwwcM12SsCn0wPk
L9TCqYonv5fB8Z3rr61aPVzf2J1ZQvwAFSV/RVUg/8IyWTYKXFFM8Z3nbrF7CJk3izNquZ1K93M/
gBfOiYrJ6rv/HhIHu4DEaUBB4d9YSEUDUEPXRIi2ZAZoo/5F5FfOyvbO7NYC44poAoJpKgc9XJlY
s7OeixeKpKxsKDiLFIBOe3PFF/1kplZ6I3DykJ1ax8f1MX4ZDxkUmypYb9GIhCpAkGDyGoLj7oDL
ebyvb7g6BHuRYLtexkebZqzMPM2l94GzdrQHP8KwM7mpnsjN+1od8VXh1t14X5m5NSN1WIekB0yz
94qX4lsIthbhol3S1/p7CdxIA11WQbGmV7DfcErJ++vVaUcByiCfniGVQsAb1CJDWNET1GP112S0
/kpangreTvWUbuUfQ8yNpUhrJ4tLRhnLJncOLfO1ecY7wF2PdWxLx+FQg45t/dJgyC0rMSbLOcd7
V8rWPHOFCWJYq2OKk0TVZRRHCszIKk8RpFRVSKkK538gaUEPJxvutyYZ15kwO5aUpAETJZimv0o/
FC855XCdxA8hbHGjvlVP8Qksvif1cn2xvD1lvKbvGzGrs0XysLW+mirEjhPJM0jHe8TurlBXEHSB
/TQNlkS1U0Y1E9IGTDGx/CgMoLxogL5yTaNGyQMYJGtZzJZTXNld3B+bLJ2HXtehUqMl6kmQaJAW
7YdpRBdF5JKw7B6YjR3mMqv0JZrLFaFV0g8i2qvLpUHQy/sL7fEtTmj8VW0KPrKxyby7oFvRZXGM
zLYj6CnJx7CbObnz7otga4K5KgeMfI5Ubf1dMDzSrCSypADDn7Z2BAS5RY1f+3n9NO5UHj6uivF8
Qy0GIyU1skewPm7H4HKMwXEdnS7gk9dtviHj6BoO5VTpsKbfLBD+ICCCAoBLuQFPkJWC8Y/7lNyP
bBTzDmCBiRENxt2mrDRMUILStIe2pRL8neKgoXNrG06DdKt008heXT2YAp4H7mceG+PMfaVijLHO
Bhh/V9tFhkfArkupBP4qKaftH5BNmwQVJObk9KRSBSGmDjE9tuS3EqdWKRDgjVGbBkV4iB6E3EgO
3GXp3/r40WgCpfmL1+X2NzBHaZpQVTVApeipRlk44lLPftyIPKX23bR5a4Y5Q6PaZWWjmBLU18rD
BMdHNfVcAN0MkL7H3cLdSLP5sMw9EQq9IGeRgXBd23TuO7ZLglnRwp7v6cwRSSC4x8vVdyP3xiZz
ZucoGQvSwWYuAsWdvIa16DRVZJcSdFpAv8MJAbtOuTHHntLcqFajxwdVfdyCxJJOmR2FoPemBR4D
uGpFveOY5H1VNqWal2VoMrAh9m/1QXjN4I2hU8M55pc86LGPf/VJ0RwHaSEU4z5NREIadk4BIJC8
rPhZrIlXmuAkjiY7RBY5S5y0bT8z3lhjvijKEeIwAmnkmaBIXM8AkuHArJfR7c4aNJUihzegpu2w
IiGOb0wyXzQvsmTUF9xOuhnrNkE30I0rU3tTxqwPAJtNXT0WZWsgsWmVMhjZhh5IiCouh8Oc57dr
GLoy5Nq8rANQIhOkyCm00AkXsKK0IWhB9RRiI2sqJVaV9idjUDtwzWaGNfdTD5an6tCZua1k5tcp
m0AQryb1bVnWeGQNnfQwlUbyPa4X+TQmMnQKiYY+eZc7w1K/jMN00JXxW1wm4SMBw5wtCwBIa6n4
jSxV5uLPfA2V6Je2TgHgBW5RLSMYqeMeLzatdPta8ERtfgn7Bq+guLYIaZ4xVwwxQEF47FTpYnRj
a82lcjsNS2TPaQya0bA7lNl0Lxmql4cjoCkZesJj/xStc+IIJEM3L27h7jWpHpIhdgyVkqHkihaY
rRasunhqTZCppuryRoZeDPpIDXRBODQNiK+GPPy1EPjrKAFWOw+yH+GKUVWoyusYE2kxCm5LjfCr
CMd7IZqa87KamhWbpXCJ5qm+VZWkOWBaJD+GU50/ZChV+ZGQlzbR0PKY6gwUA+F009AJfBJLTiH1
YG/NosfOnLSgzMC0qIPwxJZTsXXmXtVvB7QyvCIW703VmI7NpDlilICAJRueR0LOFZLI2yVKstdJ
BElZb+aHJMVImhhaeWMCYyQ06aGe48Epx/QQzfHoExw43wCO7m2m2mG53ONam1QIG2Xyt1WbMX/S
RNpjokRGsKo9RGYFSYisXJ+7FzxD/BjXRCHk0HsSwsKVy/CpF2rdLTLyQyho5TzpgDGks+DGkM8X
dQaYh4iKY1bj7biqrqkiNxqy/F4149OaK1/RenvKRmTUoCJPxPIL7J2IWKUWpnSOsThfiJh+mUQN
45vkuCplbM25dleJhWJjDOxrX6/nfs1PWYXuvCist20r3Iq97krNrFppZzxUZuFXSRdb0WB8SRep
ssJysBu9IDYRMSPW66voRINgBgWEUSw9RIq/YIgXFRWICiRifRT7qvaBTzrqwgzEoVCfp0G0U0F9
apJOsKRYme0+kqymE+9bQ3TQfv0BZlo7a+KnaMiBo4oe0bP6YhjZba3kdreMd5HZlRbG+C/L0Nrg
XwPupHtY6yLoBrm2jCW8A1fn6sqmANxm3D4noFEdM+UQLwbU87TF1+IWvHGVK+r1c2kKZ9nQ74kq
DSAcXNzCbMIfTS/d5FOvuoYe3qbFhKAp5IWt4T0aTBGRIJcMosWsqpRzvsyt14jke9fX5V3Zzr4m
tI3Tlnpm1UVmXiK50txZEr5rYoRLe8Ggp1JO9pANKqpsJe7TMXGkuDpJEnJ4EWwFlpIT8agMYX+z
xNoCNoLVzE5FOUeLBaTV6sZRpDzhY7+tHXCjVPAMHFXJQa8EkBon0G1D7T5MEQqqYkE+BOq7uiSO
uXZBp99H5mUAM6+FRtStsEI7u5ftdI0ezGQ+xYLmjYtuPKq1rJzMdU2ttkpSa0rNJRg1DffljOxm
VlSQ2PerA/DDSU7RsMu08X5p89oWSoDSSA1+NAl8Q4upvxXhWtn1mpwBrRutpp9LT5yzH5ko9wrg
aQV0QvJYvTVy4ccgN+bbWMM7J5wfoC2gLjWCAHcwqg79ufxJN7pDJowXlCe+QDHlXKol+FpwLmel
9wTsnAeu5XM0C60VhvM9Bh3HR3BJxlY45b9ECSGpzKe3KAZQKQ7le2lYz0pl3CVEj6yoqV6bYQCe
bLmVx9IiRYcdD+E1IKXxQD2iOeEEFl6SEdscFXeqm++YVr+sLVgi0ZRFV0o3f0uZGlqgj/wVr/OI
UTlg9Vbtfs7ASqiSBBsuT46STYCllbCRq+OxUEbdNqYhtoweAvVjV59wMG8qIgVaJt32GPxenA6o
Vm8V2w4/c6pPGuLU/7B2XUty40r2ixhBb15py7dVt1ovDGkkkQS9N1+/Bz070yw0b2F27r5IDx1R
SQCJRNpz/kDDZ2QvuiwElVp0xy6qyDOGteUfapK1bg4AyHtSqoe+jJMAZGmnolx2otC/kj55nhGW
OHCrAdMwzb1tFPpi11H8tSli2RPL+ofSEgNMAjnwA5Ucne9T8mOZBQQOQlp7SSFNAcBmnCmH/SrS
0COJ7k5hVdrJUqJ8q6g/TQUEh632ZMBKw4sjiS1Mk+4uquIKS5M6S9t+C2Vw0CQL6hNaqGi2pbSp
q02YopvEzAvLubxIDdAOJNAL5Ub8FMcRciPKkLujKoS7XNPm/YTnIU8Q6Ldq+ypW5Ivcl9rPEEwO
VTX2j6hqf82QN9e16G4qp+OYa6dwbtzGRD60ii6pnB0aWfiuyJHXSdYj+I7uQk1s7LzuPDkJd3Kq
OKaGRhs9e6wiWcB7v4wgd67Ocp489IUsnowoDI/ETPc15nMFYfxKoiQLQI5julUlYEJO6pYT+mR1
b4yNyNOIBH6xuTplQ3tSxs4Eb7J+0WYyeWo+e9aiyd4yaagCxoL5mOW63WSJshNydDcNWnQY6hGI
uHM2u0IVf8nHyRErpPFBOp28InGfw1uIFQ/wTZMDb0RB1bLI3DEm7qQKaP+I9dqLull0xKzDHEWR
3VmmArggtTnrYfN1Rien3Tfyt7KVv0y1+vW2F7zpBFvocjAwlA2SYSa0gC9ldhmyx76a5iFAyNrA
IILIy9LStMSnkHslhQkm4OpZyZiN73l/9IIBIuMRDhlmX3IfTbWae3tNmwmglTTG8y1TbcZALkKX
bnyt2kBB0137elvEZsoCbQroCzEVCR0vbADYhZhpjrBv4yj9jovoV1uAG1cg8A4SUPkY0WL3UZ/b
IRHPObGeFdngxC8bXGQY5sOAM9pdMR6O/rDrmkY25iMsGMiNpSfUOesXTBM4ZbA8ao/WJfwpP9EM
ePlW70s3xaTIxIM+3goQ1+KZVNQY5vli5gifRjjllh47lvQ2Dm+zpLhFyIP63FLTtTAmtZBLU770
MXJ6MiCcTelVUjgqSvWc1VDMYyiaqQOqC1Xj680MjbJVzQaVt3B5RgpnVxqJU7feVOccQVvKaWqA
DaGFfQS8zFWIpyLBKFOp+QtuOkGbptMuhac16ujdVtHNLVsJYm4B+kzaKNRDaCj8OlCUa3rLuWeb
WZD1WthNK4HoOJZE9pfego+rxj4xp1MuNadymUzAtoh+QoS3OoeVzWQjsrU0uVSSsLu90s2z+1gp
25MM07YYZgnlqOOveMT9ssFLUds5KDtuC9psSFktmO1GjhGPpcJIdR6usyfKB6z2ASRk7ly7oIhz
9WNE7PpUXca7BASAHOlbVnQtnblxQ2pYmTBUGrDGi2dEyBThKftt2qDMeCDfeHlSjqKazJUTiTGN
87Jo/kQqT5ZsofQTreGo0KaS6jpw3JEvFPEPc+3Kuu2JAJAGNX5Kjf2i8oZVNlfxIYDtSu5rA6XJ
FHYaPlHSnJT5LBacJ3Q7Y/6R9mBxmMRB76coRF6n89+bH3SYYXkPEmPBQ8/aP2iK36yjG6sXjjmb
RVHnYiyxqvmAINcZz5lpZz/Sc+VR+obpkn3Lgopb8Niy+Gup9DBX1Xs04kZ6iP5vmK5uP8zdRVP7
y5g0uwQN9CD/mYinLJh4EMhdrZLLMsq7qVR7p6qrV/h8J2upjrGlP7aKxB0Q3VKk9bdRPVh9W5yP
fZUtE5L6/egvYJroJUwLz/3oFGW1V+foUa1M8K8BWlKNBCev6iCUtUPdlb6hiByDRE3rp8dkpXTM
y1wUkoZRJYEmob/maLTNi2KX9gelEI518pzyoGK27fBKHmMYxHieJ7mGOgygMw/BA3BIUdDbZ0ie
Tpd/kDrlXSpG/QDV3mG0DN0+Yx4MeumgEJVxZ+038ILh36AVFexuCgCDP3VxtaVVlmYh+4IBKrAF
oyaz+iWSzQb+N/JtFrBsK8SA1oAW7a5ILqLUHce5OAygectHpHEHcUe0+TwLM4LJJjzOoeJ0enaU
69ZPS/OoGF0wYsw9uG2nt3YHHaWKgs5hlMzZIaQUIE5yNUWyL2PGSMWkU9TBZUkP/50UqoMrhRf6
sKmsCA6L3LYHoTKdfJARr8MQ3JazmUe2RLTJIWGNjjrW041AeNsgYSSvlQuZ+QmYkREgwEQAjgwJ
x7fdNKlrofTJX60OiSQt7gc8PtledlD9FzA/glgVUMLNoZkokwfnIdr0ptcSGb+sTMR0AGeR7M/g
uQAru/R8Nh39W7WvfOLrroRKi+Es5gUYQmCI5z22m/GEJdFIQqLtnmyDUl8JgPKpDNrqWuyVU3IY
7w0wegyB4PLGxLZPdCWLseOmidhdUHCx5LMekMGhAVmKmYq2B6yb6DYHfumDuz7GPk+dSfQZrW2A
lqMHioIZNhVcgl584O3l1lOAFjrw1KD/00Sd5Vp3RIMMIdpmNV+LJic0A1SyOHdi0zRZEgYc0NFg
6orOuC1TA84kOcZpUQpmJIkLfzoiqxK/xSNAzQU0xtuqbQS1n7ga8malTRv2yTlTUHbhHie17uxr
g+5ytAkDLgzgZ8zWVmTohyaP6dYiqqgPtDAoPi2O4pS1WwQS8TgWgZr3WwKZy5mI6MomMQSqQbev
iF864CX4QpGNZxDC2NZ+4MWa2/ZgtUb2dsqTGDYdNpxOVirAD6uVEYCEWhBia8XdbPb2v3K31/vK
WNhOS5tq6SEz/KUHoodBZwHleorRY/yKPZ4B2gpiMDOKnAKQHDFCy2htFlZhr0Sl7NfLLlwsrzQs
u2lze0gb/9+c30oU4y6EyD0LVpjKviKjnBztYqTxA8HLQJ+EkcQkQ3WQdyc330RVo91d4BoALdf1
nUTGnU4rt7Cu0l0kV7uRfNf0ieN2bbrFiKv/lsIYtnHOWzL1OUjJv5BncI4cjVfUp8K38KTfTS95
7YKNjs8BxVsbc/8GMNSESoztLJCFKTB4Ny8+bxJ+s4tjvTTmzgFwaUSDHITQ90E7LTvpohykM7/Z
YPshXG0ic9VkQHOFmDcE5uuRgmJGx/mbdlx2yxGwtoCY/x6iHdmpfWzkXvlJapuP3LflPlvAxhDB
Gg48OTbKbkt4s8qEtTZu7ymxNy4BDXWnx8mJVFgZMbZzsKi1R+kX/3XcfD1WwpnLIQIfTEGyF+iz
8dc5+iPTJc7jwRPAXAXAm+W9UmN1YvSskQLw8wXHQG8r5Mf+Mddg6nIiExUSkHG1I2WxIwNA8CoP
JH37TV9tFaP4tdypGoazZZ+cRDRSSUhIGBfkt3d8DLPNJaF7CsNwioF3jnlwwT+mW4bQyL4kT6d0
QEWjFh/kiuO5bx7NhxQ2WTBJdYR8LaSAasElpMHGJe5t47s5VmRptJvWpAmP95mSlWdbKClpIqDc
ogO88gURYYuqOWYbHiQ922Vq52hZh6e0iTHhp6rPQghgM7PZNWNf2y0dx2sBZdIIxyqfDyUa5WOF
eJGWnKMpDAQBo1GT0v6ftwX1Ibikqiai//dTIKb2o5znhoYZfNEx5+EkLBGnH3XDoboWwZg3RZA7
gIoUadCY/akW8l2hJF+0fvFQ0EFNttyH3XQf5/nXRlgOQ5ffoR1qny/5Yz/Ef5Rp441DdEbvyWVQ
fqZavs+K/ESm7qXt48M4Iz9XoFR/+yQ3fJLrb2YMpZhmudmmahpId71XvTvt2qX/OngEFwCO354j
j1qea7frWh7jjwzakqnikAJ/yjfhj6SecFkuE+DU1V3ky5wT+WyDNUSwFuhVFQxMAFDm+sE2CsHK
dLGHDSkHxTbGKBiM7lC33bfEan+kRfMi0ZaW20v8fP+uhTJaMHSjDiDPDj5Qn973y+TKZuTdFvHZ
kFyLYA5tDJXW6htcv1QdbMxhJLJs6xGnCXEjIXMthTkqTCeng55j9/4CvQXTkV3saKPnvOMh9dFP
ZvTi6qgY22hmXRL3TQWaKrFFHTk6L415GOTOWxL5GUNoHAu2eUiqbNEVUh5Q5v0i2QTCihJr69TU
zQTB7oqM07u2JQKMPjA5CInhDDPKVwCCK06sQfSFdirtQVUucSbxhgTfrTm7b2spjLbJWkZAISsr
vpm2jWvmyxu4Bd3BkDFFNttx6pZC/8PS5bcKpT1NEw+5AWDAuF0e4iGuHKJaTjpoXjTHBzXP90Le
vkh9f4iSevKyeMz3nVg9Kr0C1CCtO5ZquO/IUAeFkAZLNp/7ECBAxHjtTXSzCLkY+apqRZg56HLD
rkn5UEvWaEepmjhyi86vJepA5Fgg31KVqd0AKtVtiPkaL52NyNDTwF+PTJp6Die7ITx6p61rs94r
5trgXZjRsaAo6CBw6x70XGpyCKc44RiAjdQE4KsQu1PSCMA9sa5fZklDKpoTDS1nD+D+T6Zgp/8L
8GceaS594QGXbNnxK5nU7q5eZG1pIrD6ifL/NkjX1ikN1AT0jYsn0rHezJF53EBUtRjVuxLJ3KGl
zLMuFiFyQFtNSAynM4gTo6V/EHhjNRsnB1GgsYPDoQGcmbEOcr4szVjLsh9rHioGdiI/DgLnadqU
AY4jQObBKgD/+XoHTXlqiwgJJ3+ujDct7dxaUU/GVPq3bfeGWdCALP2XGHZWMdSnCQ4Odm3Jajdb
Ekcpvt+WsOWHXIlgonAztDozxtg72tGSEhgrhauEhYcWjVNmSvdio+8Vo3oTCHoyMC7Ve6nceFFq
IHsGRDmxkIMCrV/oeDlEAiqCc3kPn+YPbe4NR5yaHxEBeoOIdh9M4kmcfPDWm6PpGM/CpA3840+Q
nFYlaN3UgR+Cpkh0BzApZ80DgyPcg8Lh0q7RjWA1eC2NeeHEUhmHITVxFjJARYpcdQYw+dVD5PUS
2bVN/lS2kV8WyamIwB4ZRkgX3T6rjfADkT7FfxExUoqpSuasiC6pFQgNKeMVZf8E8fNBBcyX7DZn
LjYGvZCflouZIYXCYMuf2Au0qh6nNAUrhXpOXmhOOPYNr0dL5elPvBbelOHGm67BCP4lj1X1LAMS
xxiDLmjKfJEA2rQsfaJURyMU0Yw4ctLtW/d3LY3ZSUEidUkSdDGR8UkpRTQ+GC76i73bB7aRWcCB
rRbFGNreUNMZYRxlrTYf8gt1YSnCZ/5gXNQ7tF45GYhTQHPvU1ZRbpp0y3qYAIVDGwm+AXjq10bK
arWmAggvRm+AoUSZ8yg+XHOsdkoAQJVgDF2e1mwueC2SftLqZWnNMVEwbISsr+lUmGwCU/eBMjJb
GDRIvNhHp6yTh7bxQB47JN1EXoiypUVr+fTcV/LLyBiLSQRKBwExojW8Ee0shhEgmw5TwwM523rS
1rLo31eyEDX3+lRirWBQee724GH004dupz2gZAP+g+pLidw3dzJmI0xBPPpxqIxfgrEYcRHaVoG/
kOwwoUKzEGVgAdwTPb4GTUXYsWe5ij195WJyb90aZDNpcIRWnk9wm2o1F0IyoQMySx5DfXhAq4Fd
mSPnbaVvJ2t51lIYHbKUBkBEFvaVJtspfuno65hH/b8naJGTWC2GUZVo7JVFIJriL/FwvyTLnaio
Z6uxOLOZm1qyEsNoSQ3ntzY7EStoKl8ivthWjoHHoxh5SP+b130lidGMZtHHGYDzim/IGLFRYuO5
brMvty3a5v1ayWAeQaCzxEmbQwMW8aSCudY8j5jQSvufQBH1b4viKRvjYqn5WCsJgPf9rPuqNU+x
2Tp9o/Pcb2qB/7OyATzl+hIntZYAUF+lNnJyKbB97FagaRGCzOuPvLh10/H+0DmAhl5LG4iSULRl
9X2SHryRmNvX36hNRGwZoIWQ96jeVj5VZN6fTJ3Gog4hr1HuC2TewAHqyoR8N0etc24f1wY95vo+
gTvtem1dO5lllxhgk/gj23/7FjvjLzDC2/pd+kyhyv8Vx+K1RMZQqFHVR4gfgcN7RtYcBDtW76df
LKfzREoddYgKG/EFtyno9j0D/uv1Qs1WLDtEMIqfSijm6pXdaRa5k+vM6xKcZNsC9kEYANjetm/R
2PxRFt156IQAQwrPEsk5XvBta6mKjH0RitZKTVFQYFtEO2x6O2t/V0ALmPSDaQoA273PzTfOUW+5
wqYlUyA/BajhOqPGdV3qRT5l6rsfOn9P4YWOvnWoHv7Be7d5QVeyGBUm1SiY6VThzTF2Msm9uLio
0rmQgrw6Iilha2qBwbKjMpySrPE4C+UJZ3Q6FsY2tCSC4XOAajdvmJreJ0F8CW0NUz9cQIb3FOMn
Y7RaK6PQVamawzAkqp++yKhso0TpxD+0R/G+w6SBm//SPOUgup3Toffano/A8faqr4Dpw+DOnrPy
TbVafQqj5GjOMCMNPOl+lznhg/gyXuazhiYNZID26pOBNxndrm791C12FfAqw5tB6VrBWKUG0rWi
NrmKDhy1ATB+C0w88WdzpD2uHgGuU+sSzKHAqGBg8nU6V4HmFqfwwvO2NmoXMDGrbWDe1Gw0R5DW
pCogMvQDBrmPElp/gG5O+dONR9VN99X38aT+HH3jMIAGot1FP8oft89i095QAB1UIxDdsY0yJdJl
JjqbYebic6c0Ti0YPNu9faE/RDCKl5tghM3glfhm3o9eJYmnyqofRwHLbEvZm0PVEZv6C+ZNAD86
5xjJavTn26vcYHOlW/3xDYzGJVPWN3MJozL5YZDu5F+YU8ltzZO94kn9gsApoPRi+Wny0FpykF/r
p+iuBDPhCIJOLrn0f7iKH1/DaGAhgPE0lPA1gz9786X6SU8co5SC5PSqTUkKRV88IWw7m6/jnQV8
ygTseLb8au17m7Mz1Mp8Ngsf38IoYUSZvoj+boVo1RFh/0PiAeAc6NNeuHvnfadcq2i9Te8PmEe8
I2fpX/SjXB8P4/m1+dihdRR2GLPjp+idvAnz6vs/aSL5w/gbSHPX8qiBWkVXgMEuNCGGATLP4OR8
KTCK72idHd4PhxawS5md/kEn1jOHQovzVrt15SwZBFIg8JMMlW1NqRXM/EUZNcQNovPZcDvh1+1D
3cz7oi8EJVH0v6AoyhyqiNlsOetxqMVJn220/SF8jGp0+GCa0tFeMFPKZ+3boDtF4LYSyhxi1KIY
NGfQ6uUuucyoEwK12gC+cNq7SWpnTxRnWPw6fS9eQD7iNY+Ngzu2u73yrRBi/Q3MwbZRVzWTSu95
99BUz5ag7krxXkox1QvysduyNsYXrhbMDko0RimapgKtxfBfAY7RzM8DrUX31gCnGyN1TnIveahs
pOjp5CVDNvOTq5Wyqf1cNeO5at9VmBKBSCBXTYF3vDjjP6AD3FTZj6M1GT8JCdtqlrTG9Es6Id9/
ESvOuW1gulzvJeMMkVi35LyJVT88S752T+EzJ7e1+y8Yt4XPLQTRefRpIPNvWlSuRTPv0yiSgYj0
PkbyXZW+tsvjbT15z5yyJnZ9VMzjY+FSpFYHAUJSBJlqPAq6/lRrYJJITMvV9BGgOfJ+KUjnx+B1
qeZecAHV/c3MzMhW8+gspvIu643SGdr2IWu086j0AYmnxE5a8fX2127aRotS2AKfUUEBgvlaM6sx
F5rX+NrYTi6KP8Q2lHrYYQrIl7++Ixneo00wKIKOcB6jLb9wLZp5F0WgaCtNjQulBs0+P3TIJcI1
P3CRdWjc/flAPpbImMdOVbM0iQuYfxNuHvxBO85mAK+n4lObIHHZgctdBcyOUc2o049fODtMb8st
8YyhFDtVnkoBLCk00z7slVe0gtnmHWW7Fo88QuL/8BZ8LJYxiSSZtaEjeAtUtCeDqugsA7noPj9J
jmw3uE5ZMBucc9w2F3+LZBt/anNpiZZAJFF/q8WXcX65vYMcPWFpAzGh0Jqq8K4n3Z4yZmjQEz6a
NW/rNHqQKzcBYBuV1beQQw+qfFR25r7yOo8GJ6hVuNaeN2q7medY3QCNMYOL0COFY8JUKHcY/NZ/
G7voIUYRHa5q74PhwqsxRn8U9jnn1m/m1teCGSMo9YJhRguW2gHlCaY3djJ3eEWfxR6ZdWStwMdK
awlP82mEWeBi+XDlM1YnkpLFkqkHOPgDCBlpqky+RzVXejWO0iuF9aKJb/0onZHtmU+8cgZPoxjL
M4uRrA0i/AayT3bKEUR8XryD2xv8d4rLGB5TzWbSqzjebN/tpR2mSAMQFnKzzzwbrjEWRmlCUmbj
u1MvH9rFgW+CbCByR5hfpWRho6s5JQBNtOAfIKTRRTDmjUL7goQVSRz4nswiUfFVp35sVB/d1m63
z78lXvLQHAHneVfu3/lSfoaOdc8jt9gwOldimTXrGmaIhgQaBCwKwJkkdl+93T49qoO3FsZY0jiS
h3Gm5gBQOOL4Jkbf2+HXbRH0I2+IYF1KaZ7NuQURuo/xu3OXPs4xxkTLsxnt8GDtSMVD8uUsifUi
UQsiU1njrMACZQuNBq4pUviRGPP6JrYs2/p4WBeyB0cCMj5Iduhn44/iPnaUY/7Fimy0Qcbu7NLC
knkpVFt/vL2jW97XlWDGpIYd+lwNEadG9nLsDCcKFYiA/5J75mjnToW6Vu3Lx9KXaryIMcCueTH2
lq9+9QmMcQUGZCY0BazLeABysB8dpofJQXYRUyzw/1zOgumCbukQY0oBbtCTUYADN0Wi0+jC9yrO
39JaSPxlVND4lJHJLvXml6mob+NkBboy1TYQsx5JZaDihjEQEvltp+80RXggZRvEpt7blpw9RyFo
iKPuS9VmHMPI3SLGAEdhWhLdpFvkCJgxQgpAAHK2atklUL9sdcf1ATnmwmSslGUJJE1LaH7jVrD5
hS9VrvlGwbqFQEOm/Yex502KbDwyV2rAWKhJyeBMRrjcZI/+5F2zo26LyF3a1p0GQYYiKpSlGkYY
+rHyWtopAhrnCIW3dP2HlgIKaTa6PVoPOYq2Ff/qa0HMmRWNCiCislf92rPu4v3oSa6yQxGS2ECM
RtAGKMCgCsLjP6jO0J9mdXwtmjk9AdWR2kixxvGgH8qH4YS8FVBHW59chLMVyPDOstrmBd28nWUO
sGjbrBtC6IyuHRszDyRUXRswgd++wJt3Yb045p2pYkBaKCP0hHLkxk5+oHzY8fcY6K2WK3I6k3nS
WHJPdSkSAApAmnoukHsrfDQg7fW7GaUAPpXolku91hmFqe4Ms6l1sQxpBSAuHsbf77Rm6FqZGqfx
Bk/JEFnyvK6NaR80ynzcCJb3UsyEiGBIRAUGL40X0Erh0Lkz+ciVtGVVZIDPKJZFW6jYbt5QaJS6
o+/peLDuChgupw5yNFzOKki9RKDEWvc8zPZNpVyJpJ+0uu7AtwJVTUvj9RYwgK0DbMg64uUst7Vk
JYUxKo0gwTuPYJ8Hv3iukOhCjutgYaQWkGh7XmWEK42xLJ0gjnJm0TUBbFNFdj51ajd+RGnA+QcT
n7wdZIyJpff6UE1wTToX0hD4EF9w/kB1Gd1+XRC5QD5wbl/xTfO12k3GkEgjyYqF4BaAGx0YiLFD
otGeZd3uB04vGv32T4ZyJYmxJXMyJmNrYielcnbmYWfUwBMzd/VwGfvftxd1W/dBdn+tiHlVLomZ
I6sy9rITKve9wcsP3V6MzHY4CFYlJdGEB2fIMaSqVJg6AFhdmli/tLR10Wrx9N+tiIn/+zkFdpqG
zdP0X4sBkkDDuy1gy93/MBfAN7jesiQCm1Yu4xmDL2abaEYc48QHrmuid64GPo244bXpbz/aCho9
MYcC/gq2vD6lA6aoZFioBASAz+UlyW3xBfUnNGAmaOI7ib4Jwrz8jo7Kc+/19gF+CGc2VEGxCfMV
LVQE7NV/Dq6He2UXYRAS8+sLEubiqTgUoM/+eXujt2qtmD34kMzsdITJdg2IpngCTiXQakNa6n1S
XpMdLb11O9R+JOTOAY7qFYFWO+pJhdvS73jGeqtIgu+wdBCWWyKKv8x9VAA+2Yj5gsfnodrXDykm
WigtvVN+Ud3epTEBOEx9ZR/52cOCIZeHKpCPMadt7D8owd9fwb75STeXYkRwDsPX6Hf6oikOoD39
5dgcpaCvYNnrvfICxusSJTCeEmxb2w/ZjAfQADWsXugTOamxXfVPZPwuy5ygb9vN+Nhm9sVPQ9jI
QZppge+9OmIXTyUKCRlsOtmBhtLljrdvm/SPZTEKlqK5Qm2Lgar26JmZXdwNdxGwCyogSikghIda
qeBm5+3mf3gqP+Qyz/8Yxui3SqFQVa/+7gX51YwA6WJE0U7Jizddn900zY5Sre2ENg7aWQ6aiDfD
9Ll6oyjA7AOggCGjoAkQv2s7BhDRHOjbxAJ+ux5QsI+udjWb1pNbp8VcJjwgku6ADOqAEeAf1HM/
PT2MfOZWmZFYqkU4FWCpDYPKL4PxXrtYZ8mhA2KaK91JnGf1c7f8tUSWFUPoMnkkVUJXrB7SY3JY
Ln/i1fN9ZvrxV084I4q5MBIy6aOVa0lgZVnkpTmAS9HL4JSd3qGDwgwEDYxgaRiMOeGxkEvvQH23
hDMWW9UUmQiCbPqIl3d6MzQXS4+U87Do6ExLAV+L6qbeVrulmE7VguHybNqRtnaauQcpWz3aZJp9
ITW/ZaEAWFHpQBb9UEsVfs84WmaBaSQAq9ujaO26cQYmbpoDdhmQvWlUvISSktiSgPSEjNmt2hCQ
rxgfuhDpIq04T4La2zFAP+02VlDPzkCMLsWPUjyAajONvQac9Goj7YbRehOX6LulAU+DjEAQWfIG
Ven6tyI1wGkFwEdjPAxz+YIhPc9Im70ETZI0fS8Nkyc3/W4ZgFej5w/ZkDtWnj2n8fC9G5I7sUpT
h+Tkfmra36Ard+tl8hIVDKoT8PqyKQPCjen2U5XYVhKe0ULbv+jhVLtLYqDENSpgdErib6mYET+v
hWG3CGoIhoCoO0qT9LPSpYsQ6Q+pWipeFrYvNUFnJdrjdtUYoUQINpEhbQFJO7yqaXppshJEZ7Kj
THnuhMniEFO8V1OMfVkAMhEBDm6B8FgqNO0kKkBPvf3CfjLrjJYy9m8xSEoisUVgEH6Xk196cSen
3CiE/sgtbWSMXTupo5aPf9+62imd+Z72NKA0sOPfPO4tp4texVZLPJeh2QOx/C8Yofn+z1vOByzh
7R8T8lTG0vdNUZCgL38C7xwIzc68cDEG6HX9vIG0TQNYPpg+Z05JSiYV+MGNAAZMl1pKeF9ncG2d
ZheRHLfV7jOCyLtSfIhjzisleidi9NVEAU0PMO3ozLVdOgVw/m10+iU2mlk9EJmBZvu2Mn7yMxm5
zLkNpTl3xIIyxvlg5+lPIS4BtV45NTAstZaHX/S58xri6NwUcE5FUzJZ2tsGaDMyOvlCfzSAAKP4
wPWnVcnJQJph8Qr0sHMRYD65G4xI5sWds06o+wyaKcl2BAzlCmDwopTaphrc3sqtp3W9NuZplRYd
rK1GZvklOczzgyp8v/37nx2Y65XoTNiokVkDiENqwTMv9vQlXd9oXuC9dcswz4fOfrDtggeaUYyO
GGqCNLPld+C5LL9P46PV85xr+h6zd2wtg7nJo7nMTRfCSA31O/1S5OWONLhWAN4VkK3d3r4tTV8L
o39fWSjBRKLfUnPLT7NfIBuwVUWyGzRmNL0fyt5tWZ+iVZwUnkBA+sLPA9oGowpFbzVD3QuCP9Zx
MOXGvpAF043j1jggzSDaJEvkh3wkd7fFbnqXMBKyZVKUX5W9XssyaGaZaHmgzunrDKYTNzbM+VVN
AHYdpdNelNOTXI0Pk1QdYqMBxLz8ZTbkOIj7qvqqJ3j2u6L+tszTZE9D9TuP29IhSRxxzmLLUVt/
J3Mn87yKq1BuQl8IMSgK2sLME8Z9nd8Z/bEEvbLEdf63VG0tkTkRQCHK5VRLoS9/MH1B1cq9ueNb
883l6RqyBsCcQiGDeTtKMgl9UldFIDZ+10qOGT22qbg32kchnoOmOOhhwtG4TeMAtua/ZTIPiBzV
ZgScpgj85YOb7AQ0qLq68AcASlz1FB9Sg1er2zJ3a4GMgYhnJSFNI0YYwk09Xfc6zFfeVufNW7Ra
EmseZgsUMlpTBII52+qsOXBRpxRABcb9UoPOAmwEtwVuvsLrNTE2Iiam2Qhth02UHYRfiMp0ypgW
u4b3TvmtODEaRLmmibdQ5jpMgtijrU6HcsIeaYCZlJQfefIigOtCLohfSTxw4k13zbIwPEhpnyxg
Al0bQ7XI5GLo6j/dtfmy7P58SsY7vmu4qScrUYxiKkqa15mWhT6SKK2AxN3AzShs+Wrr1TCq2MYj
iZRMJEG2by/jGW1ANjD+ncZun/5NHoEa99WCGLUMNfhL6L8M359hipiZOiEQVsJ3x5r3DG96TGtp
jEpWhbgUddITBOzAP0aWQNmVjnEZHIrpov7QeUUu3nExupjV6VQSVRf8ft7T3CM6jDTg+8d+4pDy
3goWTHnwBk3ojrF+wHqNjHEuFyMvtLzCbHSUNhhjrPcqIvVGb9y2UbiDYxvaImGWHjVdXcRbyXaV
k6ocIkDa/Xl+/w9uFISBOMMEvAOyPszxETGck0WQ8dKJxZ7UhQOErzN4Yjimkmo4s4NXYphTE5TI
SgcBDofV7FOl3Sng7a6qgTPktnFOV1KYcxojJRp1HYtpBjwu1WOsEaQuHiUuePqWIZZECXyOoiZu
zMxLGnyluc/+fM1o+ttMX4ZjdFIRwaLvF6UMt9fOXC9hUzVWYhlbVbQiKUI4V8hVmRh+kXaU2Z0m
49DQx01Ibp7ZShhjteayyqcyg9WvpJMElMPk1dQ5ftaW9bjaR9ZWAS+1zHuVBKOjBoAF98qz7qq2
9t6jCE41l/OAbrhZV/IYdU9Ubez0CU4B3KxqL4IrUvjLo08xJndbGm8DGaVXDSGadGsSfKGz7NoE
oqjuzTVvNnnDIF4tiVH6aTKmyUrp4wxis67B7JPMC+w2kjVrEe8tn6vQZJbGps+EGrsGYtjJNUCl
duhVDDcZQen2NWCRuZq+KRJ1QaAVG0BpYtvZcqsjgBGAEYyyX2hkddJj5oNYQvylgzc92/FbhDcP
SwbNiQxwdQAIMtsIR9ECCkYZB1HXop8siPGfNnL0fVsIAMNNVQZYynu352ojI0VvxRhqEWT1uZyf
e0QXJrryb6vd55IJcGRFzHhYIiAhFdj1a+cp1CNRBuRfjEuFCEI5FK6Bqth+cAYvFC/oqEEtiNcR
tbkyBdA+4A9WJaDsXMvs4tbswFEY+tJy0SrLbkEDqHGpdTYN/EoKtY+r/dNFPapJLRaIUWIQEpcI
GgQdOM5mN+tuW/Mu8KZ5QiZdxUmBCOoTRpQwLX0VW0MS1Eth4+UCE2rkWc5ofqfkIpmGtnuuidrQ
fIBgmroEvCgRwJ7M6bVJ2U/iokVwqGZPoE0MpaOfWhj5BlRYGEAyeKB8G0YREBcywJFUTRU/8SUJ
oBGz5HqOoC+SP+0l6MqMWcXlPO6s3W3d3DBWEIXMw/+QdmXLcSNJ8otghjuBV5x1scjiKfULTJRa
OBN34vr69WTvjoogrHJmVg8ts6aJgbwiIyM83IFCJbay5gcfSdL0INSIQ4iZdmXpGegj/X9ZIKsk
FJkMeymSBm2g0R3tG7+N5v88ljFQpZOJCc0ZbHh+FK42Yam3eQomrDi0zLNs3fWTT6jI424tybWN
1b3IBgbS6yiKQ97lSnfxAcpwE0j+9ZO0T0S1oY1T9WlAq0sx18pm6ceuQl0zegJf88MyzU4GxhOS
PN5enA0vAUs4S1Dl4n9WXoJyRgA1K5DP6e8i0BzYfiTisth6On6ysfIRViNVc8qqJtQvvPmhCa0H
ZKk5hPFORD69OXHYziZuKU1W19pYVld3rCNZEla4kcBwn0yQ4XrMVEPg0bdOjf3HzrpEKcdLmuZ0
rsJ+6f4aEyvEYRY5AX4uVhG6cW1jtTRRmuR2y6D+ku2HfXmfgJPDCEGQdBHlObec6idLqwWKhqys
wVDWhMrPYU++cVCY4duXDn0h9Cew4+7tPSe0t3KoFLeS1ZH8n+tQ7XiQ+aFC1CwByKWgAFcLokzR
cvGfXzkIbL4OiFoMUF8OdvfbQjO+YEg8cry1WCsXZCaFlTYmLPSeFXa//2mdUi7yvt1JL3OgejXI
GSs/edEFz29VsOU/mgOuxtZGrWZk3LK9U8MBNOj5znhv7wF+iw+EOv/QhpnfQA95psF8ZDvTj+/R
K4kYURc4k6+9MRooeK+OxcpvSZDMHWuIm2IWRp9rH9TvSeKUigvZ0ZCTyVQAG1ZeDco04Z25sQJI
nsscmw0yFdTFPq9xguaOyEJKE+lMUH50NVIQqW8qwU8oa3D5F078MZq/AAHymGMK7riNRfhkfLXB
qqUazdGWAaa0+7eZZae01e97SwONiyFY8K3T88nWaqsxiVGqxBgo76eqJryY/k9EI+FkzhGq9YLd
zZdttbk/WeSjv9piclGBoCpVKshY126//Gy6Iayb34Y2u0zJBWeVh/VfjUGuBPg8i/P2fjYm6ajW
E9mOQz0c9sqx3c2B5svH/yaSxKD+ZWeN0yIZHfK60nhUF4Ul+wgkrVPvz95CdxwLK9qh23vkj8GV
P2e4LqJ+4elv1Xrra8NyjQo6vjGIeVk8CJZs417/NLqVS5dGEPhCYwwPxDZxmBR25BdRn247PXX7
yP0Z0erINQppTdD8xGFjROcl1e6XCMSw0KTfAzb9s4TarAMmsMlZavQ8JVJeOKpRHfCvgrYF9WrF
wblqdKaq/AxxxsBshnBJ+l9soKdObU5GpD6TcX4EifuDbpexo+Szu8z9cU4lwabj53O96TRFt8G3
aBBwz642XR9HE9VbEocLi3agqE9yI7g9WV+btDSwRP8xsQ6DOdPjxPKlwX6zQs3DFWt7oEiWHqOA
7jnvoCw79B1d6ano6b618a4trzZeR2e1Y2qchOVQ+Lk0/Wwb7RSl8ZNqp4JRfiWDWY1yte/KQtIX
qcAo5YsZGiCuzHhVyQNnMDDfTyXISFMwHk4/xr0JXxWD7lAN0/Or+ljfCcMaPq6viwrIraVAxsXQ
VrdRDYr2cVCxPfltxF9R03G+b/bWcdwJaZf4uG7Z4kflykVmdTTKso4NxJPuBUBSwCh0Xk89dCSh
7a0WwbU3bwF0QeDZhownZGBXt0CtSWgtaeFNOl+uf4HFMuABIqFH5i3+AMJSISxiK4thXpvk++xq
jHojMyZ3KYLrtrowyYZWPLgsybxTQXoyFc1xSZSHFO/HbJwCJiWDA/p1IDTN/HHIhOdpc8avJmC1
ujlBN+VoY3VJXtiubRRloGv2JcmWV6J0uSM3EBhUjBjwMCNI+uykk+HSa9Xb7XO96TmuPmO18NRa
5CQneBfGOnS0+ldZ9A7Yug81G9BPw0AF4ssLrdMZ1RRS1x/XPe8gmg4Jsm3G/vY4tlf3ys7q5BYR
sVrawQ4vB/MEegSSoMB21f7AW0hrF3DlSVAe2Lqlrse2ukBMtR4QBMAzVZL0HKtNiOrjvqSzYGxb
awRNX0yTToCiXTsCpeimobeGOmQcvYGC3yhK+W5FvlBxA74aEQsqRWtmD5NMfY6e0Prj/EMqJ9lH
IQun4+QMLp0DLnHGaQ3ifyM9teXmrk2vjqWRoYc0zj9MT96071yeLOJurgypQO1g6ybBNALPryJn
8EXuSGNTUfclqUNKLKc29oz8qNNvbf1yey9umCGofRFDtUxAMNav+HlW1TxWM7R3gTu0kmu3NC9j
pwIvKgnCJIGl9TseKWE2aEYMhdWEejGalsHHKBGQLYsyOhtbEHSLeJpAjgINbGt3TaRlmjSm12Ee
3xf133rl/+dTdv37V5tAqW1bnZalDqUEWakmYPQU27/rUaQJvnXvfBrIyu3SGMCfprABAwcWn+dC
cx2Iw384mfS3Aq/Q2wP72k/BiSq5mJIKDSKIh61CM0Z7Lu5s8JM1+sOvavY4zkJ3wdOZ4c5TwL8A
zoWU7WvE7KINv7lsHHUPWBsvRaxu2UImjd1XEYxXhdMuLywJbg9vwwMii/3HwGrdQIJSgIEeJypL
X0iuQY4ALSu97Ny2whdlFZ0QE7ofigIAh/WFEz6FCOQY5Rr6XeLc0/QfEgl7lStzVG7L/nOVCr5i
qNrYH7cJpFE+xwmy3eclmZEF4LFQB452wGEUyP8svjngHS5+WW1O4pVBvopXgUkUN4gDgJ8K6+mt
bvDUmD09eb49hZsbn3DfDtomE+NbRdHov1MrkETUIVcu7szvHOSjnTkIteu+c7kP0Xtxa9GuDa4u
ZEkylqFRsTWkJYDM1DgjnoJeIAWboyJwgwbZcoTo4FKhIqMrprmGOJAF20a1cazTSjYPaa2AwrFp
FdOhxXxpu1wiTq9HqVct/by37ch+rUsoyUPTCoXufDrnzB5clmu+BgIPK2KJ0w7GAWyzLHdJPi3n
uNcLHxhHC4oLmrWz8yg/VmVueIMeu6TQfWqVk1tNw86Q6Flp6lNuVhUyNsVLmyanZkqsl8TWp9ZT
pXZ01DlPnNkaQMZN7IoFvQwYdFs3zhyl2b5pLP1uGKEPOdpscSrVlN2KlDQY+lpyZ2W2oT4q2X9X
alK5YLFwDarcNRYSJ5U5PEiW6ei6/mNuuwOducgkknvu3GGtIwtUPbSlYdPKT+mEhoK52mkD/s4z
TzGk3GlK5UgkVXfRh4And/dXErMHO4t8M8lP1gKFqnGc/XbSvKJVHyTSnVtTfa0ICDqjsWmcKZ7C
yqremQk56Gl6o9kI9ud09odmOqCgfN92xndVKxOni4ALjUuweyr6i1nn3wy7+q1EaMpRLQh5S/Wr
mgJCqhoh05kRdhp6QJgcgUFAib+XM34DMefjEDPiZGRAI4ntUrSO5TlIG2XICXdz6uJJTvw2rrwy
Xo6lTb/X8zC7drK8L4yeM6P0hmI5pxq2J97muhwdVKX7VVOEch1aYZfsUSLKL1OjT0W0/DAAqHS6
YQqlYbxbkrQOQdiIlrg2YW5rU4eokx1EEfL2ZjEoXomthwYVX6Po2pNBIStRzevZ8DSS8jGNh5Ni
Loel5phZdqYzKnNAi3tmksVusWSSK+X0UdX65X6g2VNqTmgwMcodzQe3mBkLk6VKPcrQDQiRuFqp
upPdYAdAssgrhyVxooIdAGg+qYQcl7LY6W0Ebwk+Qt2QSqe0Wm9MmmdLMt7oUo+exPojaapfBVNA
eD4bj/iOE5u0CK+govEjS98xKX9CIThYaLK46HF/i1lXhk2sfteV8ZhO7CkaunAeytJZunHcg/H7
bmrkyBl7dQ+lRy+y6Y5q5Rs6bfzaAOAeDLOxOyp08lIKflUZpy0ZgI2mmfwwmmXhoikSPj43ur1l
97OTp5HmMA1t2BU0mYoJHS60vHQ1MZ1J7nRHo8NPuqi7gRHVH8buHCvzj0SpX+W5OjRJq+2KufHN
ckh2kyKzU1/NrzRP39AOeEav/K7RR8uBnpiP5uuHRUm9Wo++qfFcu2kOEtAqLt+jKrvUhTWcKiXJ
XEbSQ70oL5LZKwGF1KaP2TK8eJD8xC5CNYsv6Km7a5Z2rw7RkXXZi530j0DTod9QAb1N2yPgaTOF
+INN7tSmOiLRf8gNArLXqHvR7WjXdFkwL2Cdkqtd3Vup11rV0yzTH8xIDhImu1HwXK/T96pKjykr
XfTbuRopjuaU+jV4WbSk/psVlU+XzB80ybdn+bsKVvaJD9Q0Xyw6gPB2lEFmLX2TKuomSvrNKsbQ
qmsJtC/l40LN3tGl4akd9NdJT58SBRwNs/1clMVvZoNWoLZypwK8oWOlH7eVpxYAXw+DG0vocGr7
nLc7PSgk8qUlDZg63M/FEvaVFUChCliCmrxMaX4C9e2TUTDXkKJvgKW6Q1Z4oBl/s2gV0mJXJaVT
PC57M+textYMpuaRxODosV7LxcnKyo97CRpgY/ugRckx1TuPaTNzonJ6Hi1U1EZD3unpcJIbcm8o
reUPUrLTy067kwv1qVfy6Xudat9bu37rKzq7HUGUkUAdDUxIPyPV+sUrtV5rTi9oFrAdk/bfSVOc
28g6FgCQk1bz5kw+TWl1Vi10K8jNvoGDBclOEButFwNtPkTRERRcaFGPX2dJu8Rj99SM5CjV7d7q
Bo/ZcxBPycXurLdONk+49MJChvqytuza/izP9NjK8j5W9B2Q7/uha33+z+lQ3rO2/9GjzB8342m2
zUvT4eFmAaQx0yChC3RmfmhS5Tcm2eUJaNMs6IdE2TFNswe5ig/WDMi8ZHaOoTB136U18ZkMUp8o
8edC8pWhe5fn8Zya2VGt6CnVuleGD87M+AGt23eLBPjTmPtKvoS2PvjFBNeYgLsjlzLcg50WMmzd
uYLiGqYugtBbhXuwZZELBT+HTUDutwoaYma3YtU5qtSHicp+Gem7Ik6DPhlcZYpctkAXWp1CtOod
ZLN7yLXxubHsvdqPe7kYPHOJvoO98dBXsY9ktZO0k1fO1J11lBlqIFYh1ocs5n2fLWHMqK/grasx
7BO9udPjMWghTsOI5uoR9fJl8W1QI1mN7UK/EYgrKfVHK9uVVuPZZD6msvzQxcMTo+pOzUGDFyVn
TYnAE5x6Y9266sB8S4q8ylI8S50PtKS+Okyekts+ApSgp3SnkugAtQTmpP0YpFHpNjGDVOISyI1+
0cdo3432TumNJxuMTR3kN7ui9hYyeSa1/Z4VPpmXUFHhhg3toJn46iw5Zh3wENF0tqzlDtxST3U/
XXRoBYx25xpLdlRsCLZIUmjP9kumNqBRIiBdo+SwqNqOzfU+WjpvpvGOLlKQUek8qBm8yHCh5vB9
oLVXVdKZsvYiG/Nzk2aeBaxnjIqEC5D1qa5UQfC6FSATQ8cTAA8AKDWtYlfNlJMF+bgmZMpOi+oL
aKldU69/3Q6RRVZWAWuRs7ydczymU2s52y1clmE9tHXs3Tajbzxmrgezel7kcUvr2ipa9OxaPzJV
fovyVMSyuR3tX80Y/4irJ0XNEJ6MWt6Ei41ea8lZ9ljAzNUMNJzP+9YtXSp6pG2F4Nfj4tN7ZZIt
cNR2YSMomksnan5PwFItyuTa0iR4Dm61fpBrU+tXZ896JAxoixdaf+K5vo8s/YlX2vInUR5etF6r
jAEbk0nSFoyrMlDhiHunLgQd41sWOH4JWvSaiZf6ekcUWdYlKSqi0JQ7MRv5gI4+3t50W/hiDgFD
t4xm6TJZ9z/UZmSNLEdZklpuflb91M9ByoWY9W6ZHc73ynEL8hCI0DNbh+ojq2iApwR4t9XszTnQ
sZoKgI7UKtzd98c4hWa8VBeCTbE1icgOgNLcJMQEfcnn7SdJXbxMnQJQRtU9LBaYBFRhEwlfiHUe
AkkBAzU2VTbtj1N3tcXtrs5bQynycEZNpnxGFezOfB52uoOLOIT2iajIuzEmC3lflZg8F4HM7+cx
jYopq+PcV2EjE9dAZ5peCVLLG4cW2VCgYnn/HIe6f7bQjVbfl31ShVVU7tgyG+EURa40A36R9uZ/
TCkJDOmVtXW6MiHzXOFVVIWl/S7LVWDro8NqoXvYWKZPZlbXhYVtbqg5Aa2GqvQOkL+P8cxKJ5dM
3PugXafV8FiaZXNfS+ZdircPWArCeo7fLSN/v33uDD6Bqy2DbyHAcoHRhWDvfJ5gtW/7xSAL0IPt
lOG9kX8b43gJABn3ohwyOW0RaLN8TKT5oGS27th0fEgL9qwlhR/V1BsXCcEQ0AQJ1AeGRj4lMUU6
b0liV9frLBjioYGmLagMTOXFnMwngHWh0TJlgTLKvpWzC4KHiyzZQWMU4WSlQJmq6jlHtt+NkOIY
u9GNZyVzpNRyFa7dXaU5eDDtPHfULpacYZhzN43zR0OawlQpJgd0A/f5nDAnqxb5tzxZ52mWkkCL
+geJx1xSlUu7SWp6r65RFLbkxeqcWcoELm176/6Z2dUlYGsl5kTB4SDkd84md1QTPHxPClgnbq/h
1nXzaQ1XPixrCJ4UZl6F2r15MCdHO0p+402+9jL9oIEIA7h56K92zKoip5p0sWrKqtACFVFCCrdX
RdLcW5DGTyNaHXs1MVIKUoEKF2g9OLo/HXsn3sOLXcRwOcF41ozfZI7aheJxFlbyTkESAGg27/YC
CXbCmvObS9WSIcZO0OYpVK0sbBokjbTcYYbIlGgw6ufjXGqA3Kh40ITm8FKi2NhlTXB7MJsWcINp
JtEMghvts4WibZW8TQE3jpW7iKAGH3WC6dq0AKiIwYW0LGUdTZd6NI8VlZMwl2xUIaTiPkllwb2y
BRdB4euPkdVEmVRtG9bh3l+Yg0BQ2feepLkkKO+jvelBRittPeRfwCQmbOjbcv+8uwRAPtT5UHX+
PIO4goZGaRHq2MboqsUQ3ZVI6O3gsZR9XefeWFYAc0id5vdZJXl9qT7X3fQ+VtJp6AHBv72eH0Cs
9Q2AjngDvXcyqjBrdDcZltju5TIJi4E9cNF4g1qcUNfyjB7oyqT1804KR6U9T1PRhUaZ9hctSb+h
plw4SoSy9YD2GMy0P5mqNxaLa7UtBFu84tTUyJSYptuigSaVkIVULWRDEU3gcY+mU6No9xMdBPqj
G3l9CxRlKMPowA1oa6xRIunzzDq00KcZ9LCi3UzYN5Y/6mjC7+zx6fbsfYQEX2bvj7U17KjQmjav
Ry0BnG46sdDa/1xc6SD2ulsvJktRVQ3xlo0CybrIbrXd2PZFnYbIi/ooYnk1+DLdCdJGHDxge7Ho
vbQVkn+yuHL0ZUriOo0QTWZ7aTe79MzfMQNkcqOd6Sy+dfyv+k4/mVwdDRX98tWStBl4m/daqrkU
KL4qORMqhbfXjX/7l2WDf+F0Gniyr1m/Rj2p5azGbCb675ja7c4qL8BWpW5Pd0kfTmMRC86ZyOJq
aNao1EZn9Ggbnu9JNV/yYcSzd96DN/0gV10L+gsqGOSWI1X+DHIdznYmYrEyBS+PHTWPLdPCmDD3
9jxuHrYrE6tQNlIqeWE6FqyyzszsvCbKQrVkHpslV+4TgbWNxxpHEMrEQI0VEAnuWa/eNyxT7Kou
SR7q8l95/pokIA1pRUY2w6lrK3xar6yUeUXtoi3zUNotoDxH2XPXeCNYhqhXuiKwPl/29UYEqaKi
ounPVFDU/WwsWvKJsmkGcfFBCxhQbSzgGtT/TdB2ZWYd5DALTnpgSxHKaRZKJUhPEgHWaHva/oxk
HeUktWotZY6R6CGkU9BykLvDYfS6fQyueOvx9r7bjBCvB7S+v3VQo5AU7GAzWv4WKMZCg04HUQ00
B4Lm7baxrwyceBdeG1vtO0iVl4pmpVJAf1evtQp7wM2E2hkFVGi9Xep35QgyOEf/We27Z9Bw3hlo
s30WquRuHTZERRZRoJCro5j8ea805cDksrRzPO6Jw/Wtl90YovoP9fDBr8+goPZ5+V/7JRj+RqcM
D5T+ZXc117a52C0tqzykoKBCs9yFU3DwRuLaN+/rHScJSgr00PGtWxykB+377Q/YPCNX9lfTjyIu
G9MOznqCwEoZDLt0L4XqTnRGNu/y63GuDj4pWS9Jk5aHVWWDHE+Sj7KVJT7k155mNK7SEuRYTWdC
+ChZIgfqyAL3tsUW9GmiV49xFBZmMtqY6Oo353ngAvF1wBe5As04WII9+5X3vheXOBDSWvDN88UR
GUjjaGBFgKQm33xXXo+0bYxMC9QRUPMExi1DvagrqsSN2whcp3K/V+E5kgSlhqIqXVNCfti2drcX
euvCQj8tek81cJ5jKj5/A51tymwg/UIgTx0dguBzqQiu4e1FtjS8XIDDQMC72kxJx3QamRNyZOV4
jhbjoBL6iyYjuCCb4a4F+RRAFJzwRbrrbQQEt0f4VcGVu5Ir86s9ppgxwqoC5nsI6YCTDIzxypN9
/0+SmLqAuhybF9NL73gLn32YzmyvikV2thZbQzYNl45mKF/YZuK8rBarNPLQ/odL78N5gjr3tLz2
oUivYuvWvja2GjJVEjMleYly6LwE5XjqikvTZIJn6Ra+FqyAaMXmWUK0Ea+cI9Gzoi5Us0DKYPLy
HUSDZEfdt36NvmXrPX6qfFH2c/MNqeGVynv2kfxct0TF7cRkSlL6AYDnx5WpgflQ+7bfASTeh7LX
3kkoaQvc4fZQr+yuJnSOLYnmekaBEYzCxGV36HbP7iMPCCFEKcAGFZMrWsTN9weepuBp4R4CELTV
2VSMXovLvAjJU7tPXP5O/gks/CtvNxMrcm6P8crc6vFRV7FsAgMPdwSZUwMtjNmTfVYeu0ABPDs7
JH+rIq6prVvmeoD851cOkFVSswxFig00KzujjYijycXsLJOGwijEzK3eVQaA7wsRU9jm+fgzVH3V
wK1MeZr1M+iLGD0u6OoAYnBJNJHf45f02r9fDW99PgD0obksRxCc++Cz7C6Zx2MWEJd/V4U6LttH
42pMq5AhViFG2NCoQDCI3gkv/osTZ2Zu6o4el5KIn8h3NNKdFhGX0FaIxBGYuMaQBPhCEtqSmkqD
HNMw7VEiKKzGUezWAbbQMSbFy+tC4HY21w60E4AeG2ATWM8qo7HUWEhWhrMue4VlAwmyPDCbiXgE
t1KI2pWd1Xw2Cc1NgyY0VC/taTwMzO337VMSNF7xo0QaZna46EniC8kZtmI/eDaiozUFJA3rAoye
gY2QyPA1XPbtn9iLM0GoO0vQd7l196NXQUGgLatAjaz8Sy3TrkxM1ABosqe8FEdFhe2P8OHLEbgy
sfIpXTVNSQfEY7go+X4yp9NCpNZlFGA0tRmpZ8v1Ph6z2enl+ncn2c8l2CIdayqezVZ9A9bH1fL8
wFj0NhvR4oIq08/txpFVch6B58gSlgEBJt+3VAvm2vxxO3TY9MCA7Zsq3vQm7rjVDRfVgHJ2HfY2
Z61QEBtWoY6mB2jiSWEbFn+LiMK39va1vdWeS4e0ARRGysPcyg4TXXamWfs69Nb/n+NaRWSxmXZS
xxm5CG6u/eJZfys7Hu5qhFOAAPkrjHX5b1xvBANoDQjHo076hcZAjgqznBp4p7y0mNP1OE6jiqay
rv9bTZvdNGRnbQI4tZqYU2TzO0umS0wUv58WAePq1rm2bMU2VQOBGNKVny8dlNuHuB4UMyCaX6og
/gamL0JpTaneBbPMV2s95mtLq6DBpNSadFVGsBKkP6DJd0hD8heDN+ZZDWG0sBVgXlvje+vqMo3H
ZZHRMAFKbWjukF207505yB55qlKoCLHtov54jtXFnZAe/P0qQW+Eqf2Fd6Lp6mbyq1JrbyoZItw5
VNPyh17m57gtW+f2vG4t4JXbWqseGvnUDSA0BtlGPu2MCo5ryiRIz6csBT5nerttbfte/ePCvqDk
WyVu5vkj9Bv97oxmwNJy4skx8fheXChw3JcveuQB6s3+i7fZ9UBX3qAwWYQqZk5DTQpMrUM+XxW8
jTYd3LWJ1WGAeqRU6BO/a+J0n5mIaqGRs7hD0j2qSnWujO4XpEl8u51HsA0oKBCXPVIhvTL7iSlT
wedsuT8dzNi4kdBC8kVMelqMkhkzIlCmVhDBOssR0izDXrCgW9fetRW+v64OStcnBIz7cEXJPv+x
nDj3keXFp/nnP4FScffftNICYfNnXOuLtql7QwcRVzgfoB341O8md/7g5gQu2xXdIV8lLPHevba2
unN1uyF1FmEWe88Mx4N+0F00LT+rbulBYsQ3T9NvJDQOqjcHbC/vIl8wv3zPrN3etf2VcwBJLYS5
mWVCu/NDTQWnBcomqMZ7xmv3JOYQ3EyDXhlcZ1pTI8rlUoc3mi+91yJkQrcR9Li5aDX4ckNDhFnZ
PDXXBldhQa5Hda8OCEFbbwI9SXpcLIgYEr//jTDNs3CfCiK1TSf0JzCw1pipTKvzaLQM8HXurYPi
ZB4LuzDz2mNxHAOw1mMxd/IjdC1uryVfqvVSXptdbaVWLnp7Zoh/ODGHsjP3Rqh6wNgJHN3mhF7b
WW2ZcgZUJZriIqwnAxoeufEYyfaPolsah5XGN2bq35pxoQ6VUVyvNH2PXhKAz8mjnQyi62XrPfPn
W+y1MBm6DpRI7xCDRaZ07PLptesBEqakcVorh3+0NMGB+TLJiC3xwkcvvQUiQhB4rPxRSSpEOxDL
U4DxNRjeFNHbUly0jjjQQu+V0mHD6+11/frWX9lcLSxec7k6KNAqS/bMR2u9P4BbxjXvIcMclK6x
L+9EVNnbWlZXw1yt8WBXIA3OIHmU7bVASz3eQ1fvkFkGZaDio9WDP6hUp7ofj81RPbADtE4Fzb4f
JJKf9vOnYSND9nmqVVxegDtBQQ1d/rshd2sQMh+xrz0jrEFq6cVPvRs/z558Sn+q70kuJIq6vdba
lwcFklcc6QupQrtwlSK6V+X5GVpMv3Sli508Wh7J1NyTPja92yv+JWj6GLmNuBfV3q+A0qlQl0xv
R6yv1l1yJRoCO0GqWashY4ZA+Laxrx55ZW0V+fZT2WToDtCD6I7zo9VA/4KPmoF9i7yi+0/AKyYa
Gw8rri50nWVg3ekxNpQSntSheoNKDwNUzX5cNNSZBWP7Ej6sxrYKH9CIl0uzgrYy89LvwZCgnLIA
qAcITtJfhU9LwDCEryfRCFcuQqqMPJUs6NE1/lA5UcifotDBfhignIuMYOF8lKGCVPCC2TRrgAEL
qCC4qPVuRYK37aIME9sSyQWaxEnZoR6fbeubYE6/vF34nF4ZWkW6SqpNiHYhSyYjQEL3GWAWBFr3
1VMMZiuBrS/hycoW//n1bmlSoA+5LC9AAIfZp/6yI4/aXbVH3ws0/EQsFF/DsZW91VlQ9RyMGgom
sQ8Y2DZ5EKYRR3k33pc366HqPZ4RhMIghPwWSL/ucuNuFiEhvgJLVh+xOiIDsUoFonNgn/e1b+0e
DEZZALqtV04Q37qpZ/z9b7z5N0/K1aquToqUJokySHzkwM8kwM8Mb5LPhVIREbr6kR1tgSMQzvXq
nLS6RUc7+pDVmzzdNQ/QbUTRdNrJLylKpvoHP63hDhOGPB7ze1FjgOjArK5VKSpbjTQQEiQGvYsm
OQR04tukZ2htncrg9kYWze7qPi0kpleLyc8MKHMIlCE09nzbwnaU8GcB12gWaFlZg9rCRDyCA5Ah
OQS8RHUHhh7Fk38ahwh9fEL9ZcEcfsAQrs5nbhZUJyNXfCStWzAI0LJvSf4zkYSoE8EMftxiV5aQ
XS67VMPwei9vXFTYw/69fDdal3Cn6qs7NgQi9PfXUPfzSfz4+ZXRCmA5PZlkKyD3M9gm0G8G5lUA
/+DuZjhYT5hOFvi7j0W+MtjEUHhbLO7E8VTh9Bb0Lg0HvMfwfyBXTN8Em4b76i8xFpottI9035eq
oKXXfRKBCPhDtZWhCxd4DZ/D5iYf5MLi/fK1hM9n9Mrg6vJo67qZ4kqB7i5ofjhGI8Vzs3PJO3c2
1V5GUCm/E/wXwoeiYEA02NVlkmaLNg6L8Y+OJxg8XJR1u4Cn6/VdeSfSg+Xu6+vU8nwNmAvQ4b86
8qRlctYZmNo+YZ6lMDeVjxnw+dNgetq0Fyzk5kFEjfV/ra1PvwLpX4ZOFD625hX0n0C9FEHkxSGP
43o3Df4t0ibBGNfHXzfmzCxQ9sFNNXkDrCq75tKFy9EEOTH6xu/lY8wcMW3/pjO4Gu1qFw2LrM1D
CrtTOzid/ncEeTTBhIpMrDYL0+K66xJsFi52mu7Qxo57GLhxSPmqQXbUcq/+W3QjiWzyn1+d/rnL
GbidsIgzYEI2ekorEbxDtGCr0CLmrN/UhgVZo27Z7Nrl1dAueY4OX0uQut8OY64WiW/Zq9GoRgIt
ygRHXf8Lz1ZOmePibrVdGOO6jjw3Ubj/OQfsh4P5cxD4DFxZJR0YnbTo4yBwjFACIFoasjvu1dI9
ap08+aKf9TvRc5XP3Pq4I5Nno6aqqF95Qxc6N03f4rhPNSBgI1SXaiiddsJ7cOtRikZAEI0rIPL/
wipoZTpKnRbuQWmpTUeWU7AqyOZzrsp/QRfxTh21wIhtGcIPcecgczq4lW3f9Y1UeEZnvWcmaCi0
CoKh+hhCUxgMrjYYChZBvLM5Gyg5oPALrhrAPz6vwgAFJwCmLD2AMtuJKIbf0W/RmISCQ7p1XQJ2
9y8zq0Pa9J1smT3RgRWq9/QRjTA7ggyFBqZPNESOjuhtJ5r8Vcg4jlmWaRIWWYfkpbbLwzHgF7PI
D2w+ya8XeXV3gHu/60EqiXFZw6uSyAfZHk7WOLokst6mDDCBHOok3+tXYnaXMivfb8/r5ur92WNr
xAW4VWb8UkQhWs3JJJ6BKHJ6W/TO2XwAXI1SX2VmjVmfLTvFbP4Pade1HDeubb+IVSTB+Eo2yY5S
K1r2C8thzJwzv/4uyHUtNpqnoTOn/DD2qEqbADY2dlyL3Ct72Wk88y784Z+Th+kE6ORdgxEt9bX+
TsGTA3c+yznPIVizt8sPYLRUAVd6H/45Tu13MG0oo4hiJTXQTOz6sfcCF4N1XOzMa5BSmKilWEZr
G92X82yEiUKwqQO4wwC/okI2TVgEgKxQYrdO4ie/GvpNNYnHKkqcETiWIPBCGWeyy2Q4N6j9YGoX
SaigPhYAkLGTsKgsig+gK7A5oV85pUFOTTU/E03udoClOAcmgKluK8pq0LFcCvNiyclo+q0Ma1Rv
3pQ92czbM5TTpWT3NYYuuPmANTcH5gRoDZKM9Bg7Jdwp+lioEy5G71L4twRFYQfgrgmK/FKKQDXZ
pIoVYGj0ntfNxpPMvGZlJXR+HhBEi1ps6eXbTESLhI1l8EgE/8OeGhhjQdcMmiMY9aiyDJ0ShYAU
89OfVUpWipzckXjDJjwUSD1www6q6FePl/YhkjlGULT6qpRjcePbuJGRZEEYsNM9ABk5n+CjW0sg
oQfp7wIZJ0SudDPuOljtwTY86Zjf96ixDZvujK4Zh6OgvJUxx5ZKeqyaGVZGqW90N/s2Ai6wOMbg
azXPXPVcfY8WK2OcjwYQ8CQsTKTNJ9S30wF0FmP+cxw7w0GR4rFNcTWG+aeQCzslVXsXeBXf0Tz+
RErR5iyc9ynMU9VVA1oge2xyXViAwbOmUwDev2Yjgpp5K1t82sT/8Gh9HCvzaAF2TwJAO7Y6PyZ3
fwYc9JPoqqBI/t+ViG0syHGyUtvAiCqe+Cq+0A7wdyX69QklWn/2/66M7SroCwBsxSH2kjIciA6G
G060EJ0jsYsewQ3x+tfKFb4CN+pe5VjYNYd96eEwbyQ63itpFGDwOnGnyi/RvDNzc4OWHVciAUdn
Vk3cwptirIAhJlU8wfq6oDI4Ev23MBoHaJBVpLzQYNUCLCQxFsAUgdguYNreDe4IQLpBVe7p+9bG
7DmXtO56OIW+tgtZjAVIAB1WZZGPEsApPleI5va9K/8ObQmVbvT4nILn+Y5CeHaULx0mL9n827ux
+AjGMEzxNBFCTV77RgGiUJ6lI+hBsyMIzoUNb2pqNfZCLIepG0wZoDuR3eDcEOPij4ntfs+RVZ7j
s2xXDzMqeKh+RDaZnczl9cCs3pOFVGar5UY2qwwN0qgaqu/DWsTDirkVaPrxV6/VQgyzmb4ijRna
bRSXBjbqVsdLXAyRdduA8tbC2M8wF/vJr/AKi3vVTe8jjyb9+FVOeqdurYUxmrOJAd86gGI0KYAe
MbOaEk47wnVbJ70AH9vFdly0cdAOoxEAhTyy9HsAQKIrPnMCR/lai1b1Td9WyDFqyMQ9B3DaAneM
LSWyUgc80NOWRwZAt+3GetkpuEzTG62Ck+uSHHmiRN+0lbybZ0C/ZbUrNeoB4Gm72ye5/jAtNoBx
80PgC4gjdahoaQNJVVcTMJeGGYCddghckdcozzlSFgEgiEc17IC36A5gUIsTVFASXnh9jffNnClj
qhuQjZrCgCsgP/hgu30Nf429FRwiJKdbJzgbnRdryGtmsGX/zslZbCdjW4wk9YnfQ58ahyK1D968
bWFWZrCRaYeEi0DE207GqKRjJOdjj9Nr8vQAwFQ0vZUOR0PW3iPw+YGDEVg68LgZixJ0LVBYVQD1
I8K2JqexgCa360ERhgvPCzrXrNdSFmNYaiRbiOKDkIASv2CsqjkVL9KWTqcUIKUI96Swhy03U7K2
i0upjJ0xzG4IgGlIpYJE0CoeKo9OoP4UgbmVj0jR8i76ahhjqkCqErGtOmgwYAkWiTghEEeglYKF
vN1IrngC8hu6loFjC4HjC0YcuMWT69kxXIqlROaej7455K1Gd1a1ZnSAI9+IXJhVABxzGznVA80B
wgF2i+d6X9zre9QWT9lT8MTz2a5n6OiHAKxL0whIm6/6pydN87t+hsrSoYDUpX7G5EKZDryRzDXv
cCGIzfqHUzELeZOqWGZ+GMryOBNAw+oG0OHqfR7yUN554pgjjfA+zWOCI9WmzCr1DJ7hNyV57ppd
3/OuyVrgtlwac5gJECQBPwJZApiNaUhab2uHTplTbiReXm+132kpjUZTC2VNmzjLgVJIDcCA64Eu
GMxv4YHaJU54r216B81Xd0D48OhsKTDKttyhNd56GYvealFQywD2cQcp2NSgK7SjCqiofUHu6kne
NApSG2nyNMvS4xAIsuXLeDMH8njbEq42XS03gjHuIHiOq9mH6tJ4uXrMHjsP9+khcoxNVljCA5pR
HQC+viB5hbeFhzbHPQfG2I+hKGVajl3QAXdl97JqlylGFbPEzXLg3OWa0yjNvlfl5zDNT4ZZuZS2
o5bjLSAi7tpEOM+yT2wTE0Z6JZ6LzrRMP9o18uA27cjxrFYt+cc1f3+kF0qT6VKW+A2omlAO2DaF
2FmtQHZ1K7zePpQ1n2l5JsyLYZI0SqoEdq3v90mVWab+q69+DFJiqwkBHDQPtGK1SLsUyDwWM0XG
CAkEBqkFuNNN4wUv8QYhJ0ImkzpORzlChi92uoN+5nHZrcYuC+nvKrrY1sE0c2ApQwfS4+zKDric
YgvgOX8y+0A6FGLLuBM43Yar7+PHWb7nqhdChWTOdKD2qK6JJbYYGQK03e1TXH8QFyIYi2bEIJur
E6iL/40+wXTqL3Lad6tWnNuTcOa9Q2TdphiAjHwn/mCjQGlSs4702fs5+iewqYOS0PfMyBqAOXGW
MJFLOQQUBL/C3r+ndeL2ZGJGa9O5plM6HSbqw225R1bj37jkIHD5+2XMPVckpW6VBl8GADN0K2ff
jPcJGM0tExAac13WqxEY+iCbBsaIAGWDuXnGv5PSoUByA+8kbVmjsXdrEfTUi1seBsWKSdBFkWJl
iiCBNU3GissFCCLVCWdchv6+yoGS04xValWZMDu31WlFYSEJmISY0ceUvsZoU5xmBiBLCrwXmQB8
eG1ThzpPY1e2Dfh84AfB1pkqyNcvX0WwV6VSDCIFNy/ugT9qSQ1afvOnSkdP2laofoLXaFN2+eb2
yujZMyHihVRmZQZyF1JRQqrc/OonkAZMgOpuGguQz7cFXXO7QBOW62NefTRlDEWPcQ8XqNqZU4fO
vMmR10NDyk/VA539LnomXnTWPlHiWz0+YDgYoPZGzyaLwgWc7KASB1yAdo4ts/gF4jPO6XEkXCFv
YbRDbLoSl18GhceEg+NJWFX2jzXojHqkSjF1MsEasvhLqhKLpF/C5Hz7jK7h197P6O9G6Yw2+Gou
xmIMbdCf6FRnB0AX7Styrl+ER9UJN/PB+DofohcBVSfKs9qe0JT5Fj6Qc3wku/BbI1q8mZ3r+Q7m
kxi1oaik8yDikzobON80HWwbu/mHiXFxCrBTnnxnOvBSemuuEZT1YyPoeS9fqDJLkrnGblMXNdhG
2+a7Hlnib1p002cLZA8bpG1yZ9rmSKXKLgD07wueV77iilx8BFWJxUdIeghwkghWJ4/8QzHXqe37
OvJEQrlPVWGH6Ou+7TBtbWbiUZ2C71WjPKghOZU6jRZyI7dNPXfKNHCMXD+Fej5zjAdP65mHpZt1
PQ27TgUSvLTTEabEecLZBJ7aM4+JmolAjZxgNeIq24ojyjptekLzNUfMSrB1sdX0KBZbnZlRmgOD
EU/JfMaIwd7AvMn0hsFXSX66fcfWEmQXohh/T8mCEvOvEAUyRxuEVrCB0ekPWtR0IJy3n3NCbOGm
hCMPmB3YpaYljqKMW2A2ct7G/2DY/94VtmAzVHox+zEWNIFH0MsRgetOhnRHjpY43Y5fZbdw08qi
83TcvAe1etfP14dsxmAlSE43yVCBSeZE86zjtnQmmKZ3t4qjItcoX5eWiB2Pbn3Zl8HrBlXEXHho
N0jkTu7ooPnF5Y4RU6t2a12M/an1rB7NFFavcbT9vEmwof4zWB3Q56eB0pRHLL7We7tUSpb7DNH/
1IK8SMUYxYCHGb2FrQV0R6c5EhSKOtHiucvrWkMZFCVD0SWTMNcgrOdkAocIdhOBxwBoVfTC1j9M
Jz3QeQPw2tmo8m2MR3LmEcSvH+SHaLbjBvSNcAaSCZtb2sq+Am0tuoxpK5P8iXI/WVVRANRiUgQO
MWHRHSchiHM5wFEG38dje5yPcQ+8NPE0HtXCUn+Gv2TA0wl27dSvg4umbppSro4R4i6reu7uW2d2
uvtPdD+vmrzFdzEH0AzoJQGIG1Wx6PsMbC9Akjj+V/WuQROrcoyRfaAZbW72h5rSK9X+kMum0dI0
i9qpw37Eu+z78Fp/BXQoaIsQJ8wPpgMe0srG2A4K2WAMVjedLb1J94btOyXgllvPd7iauGojFx/E
eFZUPdUK8N6Y+KMIRuVTCRMm2OlB93LA52k/eIlEnkDGaMlFZDTaOGDnkWVAfj0Jw39lk8E0qKnI
s6vAocIhLN4zwOgWoAXXTfgvwj2aEurIIm7ujgcFLUPQMN+qaPv35jNF4PUXbiGcWZ8xGmYRB/R+
gROwChB8A8YYcBoWfQlMhZuLXvURFvIYFzFUKiNKQ+ynUD8YXbGb6q02z/99zgLMkB87yljkqNLj
2PA10xVb09NM8b6s0Jt02zdYUwywAFIwOIDeXbWbYu4U2f1OktwJmEFyYI9p+z9KYPycvgvUfOhE
yZVHfR8Em6DgFQDXDmO5BsasCNqcg6C7kNyodoP2ZRqR5Plye5vWYlbA/6iAngSsEphuLpVbAZpS
kumhDGvZP5mpcMQ/XRmcYkJscCKi1YdxKYtxcfNCb0nXRbJbBxsQqOza0qLs2+g3krzZ8T8BO7xm
H5cSGY+3j5VCJF0suwqIrYFc5Ubqcy/VmxlYn107OnH5eHs717TOxMAt9hIU4yb79o+EDI0g9rIb
zPd6H1uBxgHBXt1EDEsQANPhuK6mJYU2z9S0lCWXyHbj1Lt3mxBuTBsd/9jZPR+7eXVNC4mMCTIr
RcoaQdHQtfBCqbMq4+vtTVtTcwwMawDKBUCUyvZG+nnYDzJwP9wx/5o2eM0l0RWi19tCVhSdUpog
I4T2cyAtMXepQso70yIoegWMJzftwbgZFg/ZULnJMPHQ+tdSweguhTxkMAELyaL/SmkqdvowSi4A
T2hsothBjKGoAg2fgb9tNoJH6TH5VPMrDtJSLtsyAcK2VumkFMRxO7GyaS9bLd9TB3C8E3ZTyEMv
W3GtL8QxT2NTTAA2TVPJpSSW6CxvJavxMhRLgbP/7mrxOz5XV6gYgBEFLy/YY5grLUWTX1QmRHb7
fDfczQfpjg5lDJ9x66hmM+6VodEXBBqDGSTWOFZpMctKVmjvNaX2Odm3WwrF2IDHqjxxe+dXN3Mh
jTGPaRCrIADDysIjbU+IJpr03pAT5UAP8Q/+XvIkMnuJ0YpSmVcl+gA/+4REeslubSjzZBZz3IaN
giUOc+QEQAQAubw7TWaymbSQWCUoAa2wA/XIpCje7fu/YmRwlgYcAaBfAO2SUdW2zQTQL8AfSLS3
TL2boKqS/89tGWsN8iC2wIALJufwlrIMF4oGas58jJF3VVTQB1YHQRIekpTyPHRTZEXlfGybPjii
VfonCcMTynCvgTzu5Dp5gl3fC5K8DXvkPHvYvxBcuZtcNbdCr20L1Uf92DC9tJRCC/33pyEqdnWp
gTPVD2WOa7Pybl6sgzH5Q1Ehf61NYBaNFVsnTyFFxYOXU46TV4sN6Fw5jZUrb4yB4ADaj5IAGu3o
zxc+dmAqVWF0MqpYw0HrFKspK86SeBIYR2fMCqUsU5x/nx2zyAAD7PQ/SmDuLxmRIdIE2PzZBLEo
+pnq2r6tX2vRwMU2MRc2lJBZiAo8/pOnebRrCuOKgGL/g6bHSwit3ZjlmTCXFS+pIsnjILkFpTwG
ksgMLKJZ6jmLWnuYMfKhSLiaIANj223QUos5Ej+TXVCVWNEgQst/xyC/1XWOoLX0NwQQHVNuongN
/CWMgWAEQw4s32+DQzZZYFf7MbcyTzy3qTXJGLEDh5NwjMFtzZO9pn5oY5JUFL5AuPfu1i0UvC2A
6NMReKKGHhVWYMrHtEj3dVD91AQZbMKD7hB9OJM438UlyEvreeo2KPF4mTCUVm0SzgetHa4Jwjpc
OYkO/jHmUDLTpuh6imuMtJSKzi31l4zBzdv6ujYoZQJ43cQQMYDHNY1RIaNMAbw7jTjbB9qdom7j
+8YbPLxru3IboavzYdqArhRZsUO867YiFxB75cG5+ADG60OHcYlUPUE4CwzKRo6jTaIYv4pMuNdr
AROds+LU/jSCgHhONrcXv2JDl6LZMlbXDpPZZQgF8um3WE9gxgFwtFwfu0ayjSSx/Yxn4ujtZ15X
SKStWxR4EsC1l0Z0GBXVnwwRwUdOWRabX/VUOBPYR4IOgF5JsL29QHXl5uLigpAH1R2wHrHu0VyC
UbFqTBkk0cUPPSnJ20BaR+9ACp3EIILt63g7dIC0EuQQtWRZ6WurH+fB7bVC8/KpcjXNfPSLxNLn
cdwpnQ4WWX94VBNM8CdgFwI7tZeB0rcP2j2CoecezPFADRRLK666ne43/0jdfOwNYAdOeSZYJBbL
Q6/2gzXkY2l17bwTFMAFjxmQdcWq2+YEnLFj1//TJPIvPL5vsTCCBdvQTppWg2eiLlEnFsU7vZE3
Yw1G63rUjqpi9Bu82hAdBM+1NJZnMCR1VtLV32/v6FpwZxLcFKDkA5tXY50UsWhz8I5ruqs8ZN+j
bQVfurWSnfwmfSp/uJa9xVi2RGSCjj/QMzHvSTeDvUTSKoJZlHYnvtAwEt239/BfTtz55rWrqBAJ
LADwwmSUwi+1s/WlSJjrmrynBvNN9w9Ugrg/9ENh9+BhiWf76L8Nz6BIOau/bu/rtaJiK+nTAnuH
qJldZlb5Va6XBqoqYBQOH5P2fgS0JgWQvi1nxd5RQUinEADwU6aqyzWitcJUOwWCahRRqu9IFuq5
pQAfBnM3SISSu7B3dTQcgwsX7OnnChz33Bnc65fm8hsYkxdqzSxJviq7cn0XmS9lzEnjrG/m3zWy
dk3UuzQqkflwmyJxI/K7L4Bz49/189vtzVxp5rpYCFulbwHkG0iJAEGhHX2X3PbXLNjFPzPtEC+3
FM0otlpPem3tEYjgNq/ct9KqDsMGbGz6RiLtqzOXIw7SUIikGZfRAw4p0Pifoz26R+weB1hbLW5k
vB8OPBDG62tyKZVRoaSKZrUdRR0RfL8DRdGB9h2XHq+v+vr9vxTDaEldyY0/g6nDJeCCNh9CpbBk
w+WcILl6kCAEtgzZKtA6XSGt6gFJBiR0sJZj8p0i3yTKXWuNNkZ4NkXlpCcu7s2K8lNKWV0HBh0Y
HAj9ooWbJfcGKSpKOorJ89RKz7THgPZOq/vx1dxjJtrjjqCuHNiFSPpJC5H5FGYNIKh85GaH18oM
JSdDyQAkmiS0SD2P4FhJ0eUZpXsVsa+tRCaaD0FJafaDbotNqtxHtE+2L4A4nieSBHa+BlQTJamt
ouNFwSulQqTDFxvE+AhV6sehpmCDQOb0DSPYmJp5HwyMXQoQQqFM23Rf7Vqbv1NrZwO0HoJUIlha
0DN4uVG1HsakKUXAgXfFfoz1bTrubiscR8J7S87iKICXiiF03B8XFIIPupGcuWwkK8YPwf3fNbwX
KBcS1CErqlTzUQsSBqcrBk9UMA+QDl6tq5zk2upiTBlZZEkGLh47Te3Pchh2MhYTBYj6h/JHIpsc
U84TQX++WE00jFpU56bpyiJmmITWQXr++faRrARdwPxXRA1/QMkHZppLGYhl5DaqDNMtoqq0BsCV
WTFq2JtJBQplb0rWgEPSEbYB9g+D8OgW14a9ECMzG1q+3xyy3Hwk4+RwPmvFNF18FmNmhdyUQpku
nTZWZnf9mSK3UdS44Nf8jU+3sNINdrkNjPJLvYS3BrSrmMQlb5gKONY7ycq+IY2/id0E8EPBFiyM
rmBTDsb6OyL6hwYUBYfKLT0b/Mfc5N+a2fo4F3DrXJ6LH5RyJSChhGblEdxbBnDGkzN/5HFNxZZi
GK8vbuYe1KcQQ/z7oRRA/pRwItm1K7mUIF8upAQIaKqEEpr5knwvN82rkQrnYkJwZ3aPt7XmOsBa
HiIaEC5F5fIMrmfa7KDVcM7bzFLITzFERzQmOtuft2Wt5HqoMEVU4FDiv2x0ZXYg7y4yhK6UCI/C
auMl8yjUGHEiV+VYgtV3AZlRBS+nCnvDPpydkBpan8KwKV71HejI844i56JxZecfaZ+15ChvlIdE
GmxelmClWEJX+iGbMUOtJkxGMGq0b77fBFuKXVn/iI7x3TtqpFtt/9Vw9aVM5h3MSGqqkGkCj0O0
m9wZj8rrcDe8NC/9Qd5FR/9JdlMHSFlO7hSYcNvU/+QeL8NGjcxlwI6PUEW4KvCOpKs2ZbnIR7lE
/7c7jcomRXv7VGQuhVrzh295GVlCEP6LCEUCsBG6ualNhXJdqnAfggmubQPflR/0TeUYXnGXbIfR
mq3sJJ8lr3Uke/4OqsO7Fl0j3ZaHorvmVV98AHNdNb2vp0D1/0zXaXb8K35LaTPsmc5nIEviDs9I
R+UeD1Bj1Uwg/wbka80AzyJjgIH7OiaGThVc9F96vXNQDziBB/dFyxJecm3V6H3IYttyegnFdMGA
rD4DWkcyWILfcVoo1i/NQgZzkHUFfnO/NWnrz+AAsOtA8QgjVKcwzOrSs/vENMLqo7mQyZxd3ErJ
VCaJDyMR/jLdCg3nLWBl1d8UASHgIiCsDJ7gfizkMfY26vUhDWM4q7Tzxt/nLqCCWlgipESmY7yf
8b9Rjt7eNrzvfujVrVxIZcxRLWR+ImSxj53Nz+3R2CuvIzigzsNrcKDNg70t/+xcWnRMt+iukq3Q
8QMr3hvb5tjsVKS7uDvBUyjGWtUEBGWNgFdUTdEsHQqA7/0Xs1OXm00v0MIZrJXWJEgr/uk00ij6
3EugIHUGGoDMrjBJGNi9V77EHrFA0TbySADW37vFtjOOojo00kQrBOjto8Rw0b630PH6neIx8Td0
3RoA9g5gKyrMAbOhftVCj8fUd/vmrS17K2//SdFJoQdPt5WJ/p5rXfqQw2zqFBA9ULsIN3Ju7aZO
HkvA3kVtv7ktZv35xqzy/6+H2bw6A7J1i4QmQB8pOmloT3s6dJBvoj3F7pYJ5cVAw0G35U0+rqVp
cEk/RDOe9NyF09BMED2+objmW+05pICzdEgbUEyPFNsG3Vcv0xPJnU+QOqxfjQ/xjF2XUgU5UwHi
86PvKQBHiTdWiZ5XOvlag8BQ+69nJ+k1+SuP7bCQhKrFPBY0RxYyt8cMTIEEs2n0nIead6Is3kSV
a41ej7BC7SbtLeN36apfEt1O9gmF1XVUzWoju6xsCQjCxmP739MKvnO1fayTsfWlXyaAvMe+UlIO
kmPsXgOVCxzdcRsAcoMbj6zdf9TlaVAm4pVGt+Wl/Yn9apLkDLXz8Kh5utucTNBMq+Da/BSuzUr4
cyGNuZhVgM5BRcbyBlveB1vAl9yHpdWgIc0AVHr+Gj1jCN4JkKW9/wTEAH2cGbMA6SqcPwyo0S6h
y7WqgyIFQoG1psdyN5wwSrCn+czxFLg8H3N9oR+imNesUqexEVqIymbxd4s25T0oYvedhPC60Ytv
WSA++/J8JwUxdwqPqsj1KtEgRGnQjKuM/yAYUtX3qYHe1R446Y1FIah7YO7nNILZcUzginOCPf2Q
xihs1Ql+Koyl9p6u1Wzkag9AikU0LXiZG9xzedfWN/ZDHnOGY0WyUhhqDRG95olA3Pd36SEGCB0F
Y+xtcH1Yeoqxpm47PEhfby92VTYCBgV5NA3IyfTni7c6KQt4AzJ2tncBmey1W0z9AfKD5zOvxLsI
Sv6KYVP9ZlYqQTyjbRIV7YdyjuDzmBiCEtQfgoxh/zDKHm+va82rvZDIeLUJ2hvbBIx2OEThTXvI
7kbkwI1N6egPhlU8q6+feEFWfIELmYzilEQER6GGzaQoO9IGjUnADIgc2quHRpRjAN82f5F5IKIr
nsGFVEZ9cC06xAkt7qUM4Mcq31T+S8hTUt4BMpd/TI04KYdBc9X+i6lFm0JKN2Jc2lqqohDOww9a
N+ELfWFNeJN1ik9megUT4C+EG7CxYKqntvL9J6IR3g4yJnzMJWWMjMp3RW+orfgM8BubEsAMP7M3
eMnvuPMyT0FXQvaLY2McrWEmmdb0E3b0abIBMXCkeRnK/zA8Ug4IWhsi4jZzhbP+i3M3eHrKOFp5
Nin9nOMwR3dy6q+VXZ36L+lh3suAKqPRVxRa8QNvmm+lRgwgmMWhsramNRt9MnA9aI2YHCitHE0H
iWAR4IVeqydKs6AARoYHwCYnWqDPZIlcaW6gA/R5CA/DFH9TlIBD4LFSZseSFnKYG49JNyHJqfmM
d5NDjTfNQJh3FBM5efvEeNDqc7+Qx9z1rCBBhswkgHTglWtI9goA9KGwbADz2d3WkpVp28u1MVe+
hLA4oLdikr4SIUeMTlSnbgjwZRVglhVbBAoO/r4tRdOJzOxrPVSHriRPUVGYAFDDSINFzAiFqrw1
nEwFsDCmAQoF82tZriIelDrOJ68aqcXuMFajNYciAYMSIBSmuz4aHHGIwR/1kpa/9fD19u5cKzO6
eGW4CSbS7UA5MBibIQihLxgNZhxleCR78UTvrNRvip2x5Re8ru0hlWbKMvr0dbAbsU1f2QCmlrmP
TLi0+Y4co/10prQ0xNaQ0uS2mF1pGaShkwu1IkJnD9iWLn/IhiySBONdmgpp8122Cz4ni2rRhWvH
yGJu0GhOmRa2kCU9yTMSUILV2MrkBc70i66wlE8yt5drdTuBT0EAdQb8iKt+I0Wc0LPV68L7ApHw
et9Oyi30me280kq6woUwRlOAUqT1ZMY9KpUEU+Fb1f8RKT/9qtiows/bWrm6mQtRzJviG6YvxJqR
eVUwb0kI7Bip+3pbxOpqDGycji4fTFowFgiw26OeyW3gzVFuSeKRGE+N6PbR8zxwI1f6u650A22q
qJIiwwyRl84pwtZsLiQ99+anEYih8GzeKwltDea9bBNy2e6u04Q4KgpbAjARNDJilulSoFALbTlo
Y+Gp9b4HV+b4VNmZPZA72qxPbN/AVDGvW3/tzChpAhp6aP/bO3bl0gMPwaVYzQQTRTH0LzxI2tPt
E7t67d8X9SGA0b9GzLWsbJvcC7TSlqLYkfLC7so3ZVLs25KuS7QQpRJKhgvEFElhK82CFGZzZbbg
60E0MRp76rfBWQTc6hbevp166Zs+7PiUqmtKqaJbkWiocYO/g/EsxsJvQ6HtIg+ojBs1Bf0wWsKM
NHk29eRL5BOuf7q2pzribYwZGcBgZxeajwVIREqNBqSSq+qPGfpQ863uAW+uQ3szInD0PdjxxG0S
WdOWpWD684W2ILfaaUmpay4ykVuxNn5qc8prPrtynnCKuglMFiwPSsnuZj21Rt7lkok6aHXUguGn
NNR3dfjPbWVZ38K/UtjShq4l1RCoIbYweZKD5xY063kF1Wha97agtS0z4AYSMKJg0oddzqgCtX5S
1dALh+G5MoPGSnSBk8tbfVEWQtjVNJEWN0MFd8DcynsME23RA7DPdvRF+YQbuGYYl9KY4NYoWrWK
85a6A7SiK2HCBgM+4j1VvE+N21wnEaETAI9CAdnQRUNh4SQaXZZ7EvoG5gXynWKPT9PoKF6wxfAL
nbwEF4OB6SmkDuRP9PusqQqIbRVgOaN8fTUDl41dlgkkzbyBfFUT0zGaxjO6Q11+v60p1+48VmkC
kYvO9qG1lH1wKlWepqYoY48mv2nXrHaWHpWN/zRtis2w9U2OwVyzW0t5TCCWpBngJKjzU+cg5pTv
I/0uGA9i8G0Cq9vttfFEMSZSTeS4F4Uq88bR1UqAY0jfc7mzUhxgTniTGKvXAWN1wN5WwPt1hSbb
l7lsRjryPWEvvs6Kvm3lxFNBbhql6lvRRj/MpHNkM3HFuWidPBjeqkwprdtLfr90rP+w/Apme9Um
meahzGNPf+qPZFt/odSV8hGVce+2pNXNXSyX2dxAz9DHrRo4x1C19fAbiRyS/SrEytbn/W1Rq4HH
YlEsTkZFpKDRw3/nnK/ZGbwAgIsjJvog2XnaqgtMcy6xLsw8pMBXSX8mqAIpFgG1IrAPc+50C92o
6xP7EEgtweJ5k2cxmEcZtYpBzjsrHmbblOIDgGx+TeO8S7Ph55zKp4ZUnKmx62YCevMXK6UnvBA8
DCnBdB3sm7DVvHmjvKRv6U7G3GuCTHM62QmAGfLyM4O2NMC5tWRGSXNJn/IixR631Ua3ZPtPKNlV
QOlNMcfC6zJdew2XC2VUFdVfRZBHulBzdmP/PHT/dc8C3UrExppEcPGvnMAMQ2sprCgatVDajSrV
Ssrt7Tuwet0WEhgnKBDiqAkjxXezaDujtBzqgHQvci8EMmjNi/RXNkxHTgGuA0jN9Kv5prJUuhIj
L5GHCpdldKdE+X17NWuvzoUENgSOWmCKhSX1HZR9cgDYq0XDexqP5nu+97Di3l2Io5d+oepdOFRy
oeB82gjZqvDo+67WNhvOolbU+kIKc0ZoDGrLsAwDjyb7QgMEF/rLsPGBmUyz4N4cO/+jQLrsxbJS
goHgccQuainQmbqHcVsXe90GHN3GAKghF92bt42MqVKbGCYqq6GEvuNXIYBvc0vQA84+8rSPsUsd
OgXLtCW5VwgYTQASTj5zHAOu+jEGyJD6MBl86IN2WjiTdFocQyU6OvV4ryVvTYwJCgl6B40i9N2u
eVWGp9Z/va0K9IMZi7pUPbZ5W5KnOC+KEidTJBvwx2/q8qz3oiWmx4QyWLYNx9FYXRAtTiKbpGOI
i1mQKQ6kTgLq/PulZnVl/DgDD+/2olbV7UOGyXTZwvmQR9Dixp40380mmuyizOrJ020ha36bDkdf
1NDQp8rXyQjf7yakGgW4+Rg2kk+0+0I7UltUNCd+T+/qogAYY5oYdhJVkzFFQh7rfq73KLy0rjS8
dmVpZc3AUfDV09ExoCkCiR4DcczptGKeA0ewwUKi2vIBhx3yBplWJSBiQA4H2SOdHUjD+GAgFZOc
e6P2a5IHK2vbf7OGhQTmiVAmbQ5rocq9NohlS83BRIgkJkfIyrOqywshzGkEGLz0yYRE0TRjwjZv
nXEUNhrGliSl8kwweXGUjf6+q3u6kEe3dWGxc2QrRRMoHC7GV2h+zwf3n4eKtw4gU6Cv0yZhnulZ
UziKCkDpGIh6RZ4XmFNYzsQIMD+rWMr0XMWihfFpjj1YyyOC9OFDDPM2dPM0d0qsgvtkl0Q2UKbd
xDNPdYfWVLTFglYGeUSz4Yx58NbGPBVjpE7CEJPAI6MrdU+qtI90jojrqjqSewTgzoDspRhmbN4r
aYPeD1U99EbX9wwwRe1DFxAFT+CytWIn3M8vE9djXVsXgKQVgGBQZClWZjYAHGsIMb7Syz4Adh0t
OJvcgcu1AEAHzgbBPKkBoCc2SxQWk2HCB0u8xgkeh7vSje/rH6iLWr0N5kFr/jZtux8tF6tlzXRo
ALDGoAoFQWDzKlBGPYgFkngkRcXXz5yQr41r7+FSBmM8ZLEq/XqaEoTBvqf/lG0wf21NR0Mzfn4A
kqEdb0EusOF7mqv3YCmZsSitBijwUMSEJ22ImO7UH9kfnkobAyJ2cp/+98OINPm82E7GpABoRO+B
1516wJ0jtWzaBWogLXzO26aLrJhKqAgiHFwBNF6x9ThUBYsp7oFkBSqgu6yNnyZfJttZDItNVWau
1HbP1Szm1pDUti9lQGIARkBhjm/TCNaZwP+NJvIvtdS+6l0fb1J1sJsBdFNG3Z+lNHho5H6Lwtye
mL6nzbhcegQIh9A2g+RBntBCKwjbSi0PeVccjT6WXCPLTBtA0Rn6avS7VtI5TeLXpBj0YiwWzGxs
3WRC8n+kXdeO3Li2/SIBorJeFSt0dQ5uvwi2x1bOWV9/F2tCq1m6xRkfYObJQO8itRN3WEs2ANsx
hskdWuLZbgro+O6MrfJw/pmb824aOqSMZXzCSKytl/0BiWuLbGsCAlzgdHhaWZIsPuaz+Fb1XWIV
A6ktPUi7/fWPQ50rE1Y+/VTqT1ZhRS8HU62GBGAc0RdBXTxtmqxkCt1o5DxDN+zKIBguwE4aXNNF
e6rqU4XEfZX7EoYm+1yz1AqxH6wJ4YLdy/hnE+Qcvdsq/nwSSX/S6mwB2pZBUgv6n13n4S7Ertmk
Oab/b7rOW0q+Ph+TOA3lPEop9Akoe/4YQ5G1zq/lzm5yTAYronv9s9G/xn42WjHAfUrIBNk0rdYF
IyVDgd6l/kXNBz9J3kPjlbJdBXNqz2ltqST3rsvcclCY2VaAWkAlX4yKSp1B8mxsEzSswl0/WXXl
lRrQ1SuXzvqV+WmorfntN2ow4OvGKU04istNxtpQYfEyyszTLP9CK/JlBF0352RbVrCWwWiKkmrF
0AJICO/v8bW6ie4Ve16s1BVc1QXN3WCPgLGtuMSEWxnCp7OxSjNq1SAVhMoNDuXX+KG4SwwLKC3H
GmTW2H5CGFK4bI8bYRQdHgmdOBGgWZgy+mwXYaYUejwPid9Wy22sdw5cqXP9RjfSkE8imCiKaUI9
1Ns297OwaJxuMVwDOIDuBLSQ64K2DGF9FiZoCkWVaFmepEgeMU6MkUyaDfPRHS7H7eHSUaoD/iOm
V8wL/gVJniQyhnriiwd8qW+Uxq59ATj4C9pWgJguqAkAapjssxceuu+mclKUaQUgJXhrMi56VAdJ
7xMB6CCh7k2l7KYyVrak4mcS8ElnNu8Ts+AA0TAQYNhZsLnpl7xsxdyXa8dwtZN+R0EYsBWyW47N
LtwDq384VK+UKpCfAm1qzUo4ozVyUEhjP86ooAuZnQXkJ4BE/THvOYNo22KAU4AtbxqLGKszS7w3
zDxIfGWojgkBqdsw2G0fc9qcm99N+UcM2+XMu7lTEg3GbeS/6vprOb+rUWOJBneFiF4LGwzklSDG
nvNcjkdlUjWvwAgtZvjp5lA8YV+BlvNAvsWdTdx0ICuBzHfSpW4cDS3QPO2lddMKnLygPQOIzVg9
TC5CXgjKNd666rlVc3FK5P34DzAv2Cf87LW0HAsnYRynPikNgO8pJahksN3TqeMbyY3cwtNnF+ii
I3SLlczNvtPrByMMd4oy7BQz8dMJqAsmcAROJBaXQ1FIKZCF5PCWBOELqRE6yyKzmzNtWBBhNzRP
rDmpzVvRNBM76VPBkhrxVJqFAyITWwtzZ6xFN9FAa5VXX4a6ABZ61mADsMiM20oJkLQTnZNFbd78
6hKYQNUNwhAFGVLpITKsbugtXeE41Ms9PHg6oG7i1Yo9CQpZ8fmey0no1MkEfFX3w3joD1HkaK75
ZPgKpm0NBx7g0OyGw/KYn0KsrUaPwmvn0lXECgDn0knf87Dut6xVAV+RiRkZzFmwO2MdcLBDJcIQ
hzK9qOmp1x+BY3E9iGzd6loEteRVoth0cz6USqJ7fSg8CgMstpsffkMEwgaUBVB0KEB+FqEMaabI
U5/6TfZtHt5K87e8AJ79/0igh1wdIowTUxCStPCDUzFYqkd2JLQoKVe0Iy+/N2V5bv0rRMOYA6Yd
PssbO2MuImP5c+7xv44FbtXd19LYnYg6l+cwaky8Uw7F/Qz6drolAGrOG8Gni4pYCPvv3wslL4CA
mAAuvKh9AbMyD021jP2uHy1Vf266l+sCttR6LYDRuXSuhTIIjcAz6uRmaFKUhpJ4p5XRf19SpMa8
Ogpj0OCPrYvEwFHqM3caWBK+V1gizk86qhkAxdvFd5LVpOB05aXuWxFwLZnxVkladgYgVDK/1Zz2
V5tEllijrBzV/cL5XLzbZJSxxoNFlVMDBalfReI1/TfC62xuviZXh2HDeRwbwZKIbepHN4av3iw7
cp7zHXw+bMlWErYWxQR0YzQmNS/09PwsaP3YHz26b8ir7265vbUYJozL+lDotTamfpbMkTVHpSer
vE7M1rN4LYPxe7VEzFpXq9SvjMoHsKA1jypQAzHCNuVf5yrz/ierOj9hV05Qk6Z+QnsBuh64I6ms
IdkFMo+BYFvZAGqOgR001tkaa992s1TrU4wWOoiDyX2ijFjr+Xb9JJcbBWez/ZDC+HPw9ADVFiRe
fuekt/0taluglxlusGIHxAG6GC7bsgoCsc5OHjo/ddqj+RvJhgq4ir/PSe9hdZnmMNVtOXXQeOyG
S4stFLybvOSaZw7JeEFZWFIN/EcZwOWmb2ALK+xlqJoT5vv1fV6ZL3KSHQVNTVEMy0erWLADG84Y
N86QZZIstXpBc8XePJpkeE2EAgN9VenPkfAqKuKzkEzHSK1uxSZ7iSX8bdLXvOGtzVrf+pIY7yqr
xBiCHJ5Hf6pR0fvV31IgldReHuJTjBg1gqIkfxp85Ua8+RdReNvFfnwjxsVGVTAVeoRKPK3JyLvk
h3oMH6pdsB9s0cvfY0wcvgjPPM7VTeUETCB2OgzwHl2MiaptnteFjDYDrVXrHohBveBm+F48pTuK
1dC4+d74QjEEipOg2uUxfOLFlk1/vPoJrD8GC0g5CMWCl78sHiqiPqk6MvE2xIY4eZbiEbQ7Vf8j
DZWXOuu/TJHJ6TFvtX8xg/7PHZx/4Mo82rZY2rZGiUZ5oJvTta/epjd03x8Pgx2Pzm+z+LaWxjhr
dQ4mEw3n7DxtCXorbN2VtrIvbwJAYcy7klPD3ooNa3GM39YLNR2wFpr58QB4sPK541F2bCnuWgDj
3tJwoFiXNSK2cS+Bz7LaFYphqdzpSt5BGCcmlJ3SBOmU+pOUJVZQaG+Y6eINgfOEMG7MBNya0C5Q
hbEhD9JCbmVz4BQteCIYPyM0bWk0M9IP6L0VIV3L0v/xk7OuJJxDc4SSeXqGHYRM+wZ2bc4rSKJq
wz7i0QoVMVQHMpALWLoAMNDCBIpFv8HCSLoDOKWdFJZ6XNBiGw7Tr9ExD7SyFNjx64hVx9DJ71rO
OTc9x/pHMAfVBiOOpww+M9l3wNtCfkAfE7VkETRl0ZX4jUCuUy4kUF2CO0NjlGPJMrNSCVKgwSue
8fEmyapfi/vxK+YE4Cf1r6Gv+sHdAhq+MrIATgvOei4O01bL1lj/CkZ/ijYP01KHHTTO/CuY7UIB
tTMK+D/N3MJQwZcgA5ysZR6ax9QL3OtXsGXra9nMhctBOYajUKZ+CNireKdLaPNnviaUnKveshEd
2QoA1lG+vEBT0xdBVAcMMqOZ9RTpX6T4+fo5tvLy9d+n8lcePx6IqqcpTZiRoqQ/usX0hFnx+ry3
8j5x5XSy1EHnXB7vUIwDq43WyCUq1NB0VzRAeFUPHBi6zXC+PhijogZoVwdBxsWNNgqIdxOQbOhO
fnGT3lbPKP8i44RLuA1+hBiYsHNPhye1r9/tto58fDtGP9EwCBqSjkiq+/x1rLVdJI43dZAcq0l/
ui6K9xkZdSSN3AiijhsdvPo2d4fddBB85cgrk9IPc+nrPk7EvEnTVmskQYUYIThoeWy3Mu13v10/
y+a1gSZHxPCwBIYV5qmYCkNFphFfzgAqsvZeTp4Ill9Z2F0Xs9n/QNX1HzlM+lGnMgHHXyh4yql3
yxZ7p4uFHeXKAoNc8Sbdq9CL0km94kUe3OjEKwJuuy8VROkg4dLUi/4Ltl26IIuRZmc3i6OdcQ4A
23nbemiXWcQvbktvfgu5rbJLaHE8UFCu+1suW3caYzlYwlinT3G6U1memvv0UHxPS6s7ag49dQ0Y
AJrYS36K4Z5HHq/pphatfgDzgQXFCBuBvmjzxtOX1lqAvUamlmN9m8ns+pzM9+2bMSuyVqM2AYJP
0GaXJ5THUR7qHvndNN6ZaJaw8qOaphRRBcwBvzHSGzJpd5gO81Q54JR1eUqjM/7aBK/AZNYV3bAM
UP0yHoCyBp5S6Q/i09kyEXux4y694xk+dVUXho8XKgGFFbrlbMMO0D+TkdEwNPWqky8vWFm1pEyz
gMd6IDpvFGCziQySD2yQajKmKtlyxFKaASkAD49CwehqoDuL7tKX0Kd7pNIu8w28wXgw5tsnRBKH
fjtmUdkuoU6iZsL0LuJFR4D1LTdOVEz3YqgUVjyLr3MEQpfrDmgzCtKlk78kMvrZFaSTogzhIYu+
D4096Rw/uvn3Ma1HIALDemxPEMyCzdQ3SI8KlPWKyppbjXOC7e/0IYJ9sC7YFVQK7Noi7aRwFO1p
+T7sumPlokRgZW5+JyRc7nkayi5UUadDVyrl+mGbJ8O8gEBDF5DqDoWbZC8kkOywepB6ryOzL3HZ
V7b9CDIv9DhEzJWzs15LTPpwlLG/1qLYPMVO4aH7BmiC8D1TgdjIqwJshvKVOMbCp2lQpkVEKk/d
M4DuUSn9V+1/6pEu7nElh0nCclWKRXlAGOicYj+DQcOp/Wann+jS6vj0L2DZ6IT6NYFMRlZFvahM
BixMyEAWJMmWIn1JsaxBwAzWZZqbB4d8AGlIqPvXDW1rLR0jnR9fkNr+yjn3phH2xQC8+AHQMwPe
JK/hjkBPlWfgCqK/KxxKL3/i8S9sP8pWYtmkzFy6iQgREH6s0QXi51eKC677klN85fnnzZxpJYpJ
zCJVmco6EjMfoylGJNnldIrAUBLwlJNsLQKv7/JcPFzdpaCEXROMuEutJQB5GaRXdQiNQwnAzX1B
AtHSSWM40iJQlEoxtsd2AcAPuDjjBFPQafw8VGGxk8fwu9ZLX4U89JuyBxOHkGJAsqrRARPMzBq0
VLVAWot+dKzuRUMAx2ZWO7JeJ25ZjlaXl7M3ZPJdJcbHoRLRyFbBUGQSsJab48NU15UFeO2nOcsn
z4jmmw40O2IkHifBDUVLVm+j1tOg/pZcTpGrqrWMuR7j1VDzxqrMIr6fAxHcjFMsO2MX3GaloVvg
n0CyolbfymqYbECFg+oiQTvdnqLqRgrz10lONL+J0aYck++1OfyIEEsdrO8MVhoARKfQFDeUCoCg
6uZ7W0SZ3ZbqCcAXGJPMwaCREALXGRe2WRTRy5LWutXHiXwU0NW2QrF6L9oGHeOqssWsrPx8GCun
NyRnrtXay/o0ummJbivZcgN2BDeaJLeRw8xaJOEpnMhPKVzsPK9qL0kBRRbGByMp34lRulo63+YR
kJKb5CXUsWikzcOvOR0rN4iEyVJG5RfRAwVsUMpOVUI3ziYvF2WwTEzpqZQSzpTJZi71ocws/Mxg
GoIWSbHg1ROmAYzoYc6Tx1iteSxXHKM5PyFXqhwEaqm0Khy7mGNCV8Cgtyi5qRHeyb3Cy9s2g/Hq
TEx+mLVmoWkx4FtHPEMVZDQBakFfTZcyqmLtASPmjzxoP941MoGki3vNXBTkF3jm3MUaFh4auT02
Zv/1unvlyWECST/IwpQVSNbErgNxVm3l0bda5sGI8i6QiR553pghMRRk84r0FVZ9vxjt8/WDbCfX
q4/ExAk1TPUxVKbMD15orSB70gRLfyyOypN8oONhFW3Lv/dv4XeOYN4VMpECgyJFmBiIFBj5w/5n
+KDck1vhEd7TAWXPA4JxZS1/XBe6LVNDhg00B+w8MOlnIqrRNBVzjPENL4gAYJKCHZDHlfz/hN4P
KYzeC82Mt2/2FxY05e1T3xJHv62dBWcLjsgPdcwYZvb1s21b9odURvXnQclkFSUmP116WxyzW6OQ
HHXM7jVlcq+LojpxmdV8iGK0fyhKoYkLGfs9821AADFp3i35vaY/6KjNXxfFOxVjAoopLLnQIjPM
AoDrYF5TbqxcA/X5zPFWmx1AoMwQE1s3igl8s88JU0e0WAwr5NhqiMEbRap+BR3WRsB5WobFnSQn
v2ISWyROb5K6Ppp95ZRTfyJZMTm6WLtLh7qJlnmlDtrqHFukMwF5kcnT4E2X8PErWQBlFN5Lki8q
CkVD5WCQ24nUt9+48ZUEplKBrYdlCdKIFnYBV9F9LaQdwJqdVucCCm1a40oSY40ZyK/FscdZWncp
LeNALBWp1Hfadh09wa97kNqgecDP57bUdyWXsU86qm3kmLyH3NmdU2t5K46ZJTwMfijY/xkFllae
VsIYs8z6SokqpD1+TsTU1ob0sUi7+3aJH5NEAcHj5Fz/fJsjVmuBjHHmQ9dPkQJsrcGTvaS3SpBp
nTeQBD9zjdAq0Z7b/48yGSstF7MVAA2F9xuoXSrFvFXURLSTPPQApvhWCpMLxqf3vmyeJbnCckqF
vVRlF3UlrwK++d5a3TYTzSK5BiHjKAHJ/S68XYy9uOwaQPyep1q/NJmVvJovrdNp1pLjtQ5O6P9O
NsB8byasdbEqGA3wqvy2Ex9KFUOWc/DCuW5qghf+d3VKxlUtQRUtnXFW4MAHoTXYlzAFpvvZDjO7
PExMnkJp9M5XKeMsNIo5JCFynYfsPJ0fOaFfud15Vp5fC9j2ClhOURVYDuDiP4vD+GMhjEOMZ113
UKInswQiRBTzrGRbUT6kMJ8pMtvFGLQkQ02x2leobqCW6Hc+HzJhO8EC0PTf52E+FlHnArRHOA+F
TTNe6bavYpn4P3imaN4A7vSVxxJE5JzIuV2o+hDMvlo7s+60Ti21M2Vo9EPTLArU2u3oh+te2z+G
EOB0s39dNzfj9UooEz2wfxgGYgj1X5rKUrun2TxEU+DEwW81CVeCmODRKvk4ND3cXB5jerzcDVPJ
Sai2FVHHmqoCuNsLtNMpXERp0tHu1KrZqvGenfBKLSbe1tLWjRmAs6eIURqm8ZloZCiZMs4ghsFG
XZzaddXuJDx50fvBVE7a8KZdqPWwrmMtjQlHWhSUeUVbhJQDfXHIc/Nj8iRbdv7C/KGFN2D+8LfQ
JfqXLyXLGEQDBCl6XIxmGLmhREl9njWanG5fOMZoWcTxMHUk3IaH8QWjA6BmaO/B3JZGlvoOrE1u
6N/6pob48SMYrTGzcZzLSlXPT1K8dhxFwAQOxXKb7OSREv/0O8IjZ9k8OZ4bZ/okSuX92aNVjRSp
ZYCitBwulp4f5ZxXVt881koC482wkdonLSgb/RJYdAX5bvb1LilnjtPc1J2VFMaT5b2QJABuQ79H
Dq0R6Zlm/Hg5gJ/8ugvZ9Jj0efbXfbEBR+3KpURpi1aDjUN33zxld/0p8mKwK9M55whcQeQnf+de
4pxPYzQ0VGoDQ0Y59dQAQt1X6EgCfbX82RTWglqUG9vqqXcwRAU1MW6jr7lnHjC0dczvuoeQi0jM
+aYao6qpFOgZhstVr2hdSUN9armdlx/Xr3pzYmB91YzzyYJeLzUFR0722i+8h+9B734yZCvYKfvW
EzGvnOBoOkZ5WtGqj8G3zOfGqa1QvP4NjEsqlS6YhTJDxhTv8+FmqEcrM3eNqFi5GNq1fEPiH6XJ
KeBsZjVrqfT6V1mNHDfR2Oga5fyho4/tT1qojm4B8YYnx3jkEf1s7j2t5TEpMjaUqqU1qfE4xEu/
kTt5P9rVHg0kuB8DrCmLbTjaDcXeRaSxUz/emyBMrk/RXbGbPdrkpNBzAKDztdsOFOOCF3vc8cTN
byFhyskkdB35YiE57VU8y1BECMrgJpFBQiS/LmDhFie0SubFHjS8yOAgBd7ze/t7fEhmAYyMIKgy
AbsaXn/oXZAZglNTflz8xaaNoPKNt425aV0rcYyt52JgVsmI0lpa527TDW9Yl/Yw2/R83cA2G2nG
Sg5jxVrYKnUhIB8KUmCv2MRT3Gk3hZYAxDPX8FI+E9BmtFlJZExaj0JZGSJkD6Mt2qalYBfOogEu
30c7wMsczD3PgrclgjRaxQ4R3bT5bEpNWFdVXoPDuQkruxQwF9e416+RJ4GJb6YBDoBsxtcqTd2V
5x9VPPyOBJkoMqGbpJrGuINpaPNUFAMkeyOYr1Pg5fa8zvFmorcSwXgAUlS9NhJ4ALVdCqsZBZ8I
2V4ACmIs1Zxq1mYfDjvp/5yH+SaSgIIVnk1I8A/KQXGXXXGUD0j43X8BnU91+CKzQ0UVHx/s2KLM
aNzSRTVGc891HAEKB/gs026/DBjMqO/45HP/z9E+xFFlWXluFWsoFdiSaXpQ3o5+AO5dukUxnPiP
t029W52M0Qqjn4ZlUbTMl+cUC/wiSD8NAAheV276R65dH6MXAgjPp5S6orn40Y1fSf04j5w4v+1d
Vwdh1KGMc6lHv5mWvJSDdOi/KS5wfkIrsyZXA0AhFxNhW9k/PhJjsQG2aww9hU6U5f3Y9dYQP6od
pJW83ZPzvMW162Oy0jRI0J0lhebNhwnz9O2pOVKmtYYLW7Sdl35cIotCq84zyYwQZ6JIyQNqxFil
zW1xH5467Ie0exBzOfq7wC1Ybt+lIYsyWhYaQFc+K3xKpG5pqMIPmOiW1eSoRuGtMIf7NiBv13Vx
U+EVyncGunEZ0CSfRenhpAtyhZpBSEQ7nker0u6vS6Cf4+JzrSQwilGPA9iKhQw8PAG6usPd0lZ+
lx8WuX6S+/dZvJ3y79clbtrXSiKjIEsCaLIuhiusl29mAroouXMBfcux4s2uDzAlgAGLhQcCRMHP
V9cBir1SsaNw1g7Biuz6Z/oCqDXxbvZkN3oA+k/9FtzyGOo2v9hKLPPF2nEeQRKABknff41rwHEK
AudkW/dHQUaAjAiiA0BNfT5Yg73aWSppKMl/SsKvUPmpT7xwtRVC1jIYrcB2UiMsM8pxoaTaQznc
SLN0M9VabpkFOTaZ4hpjfDIANYq9+Vu1r4glFzGPfOPS0GBjgP/H/LcsG+TsRVeRJW7r3mjF2PDU
snbiafkuxOW8yw2k5goQY/+rWkLYWRpKTBr6kcy1Npiuy6NB95Qkei4EoNGaauJnJYB/fkMQ5gkR
nBWs6rDP2rgMxl4cFdOrMtluWqDg5LIdqv8drhE4Ixpm+4BWD0hFNgtADiikfd2aXjE8DfNxjniQ
BhtB7LMEagqrz4PZLX3qhwYgvp7mV+ov3St9aa/6pfoLuxb/guf20ldBoI5yEQW72kDYiQRhWAjg
dcc88XNJdZXxYEy9rYqPU9J7plTvYqnjmBs1p88O8rNQ9sVQFKOQKBRXvX6uFsmSNQAZqDdKUuyB
VsnRjY33yWdpTO4WyxVgoHtAY0sn5WC2KBBPJSBAyr3k9CpYS3gVuC0TU4AZC9gpzJteDGgWciem
rTaBmEUqrTxZbupU2LdhexIk3n7QpU/B0T5EsYOaWV0isQpxkXQ/SEjtBOSkmKZdztS2oQeg7ut2
dumJP8tjDDrPs3lJSYrZEwEDVV1Y7dNm/s9jQphDlk1AQiI2U9ibzyagtqWg1bEGFA2tdWKjsZbl
OSOCe/0kWx+JDiKDSpYijrMFy1kuweGdAnEtnAG6qjXFuxCNx6QlX7Km2V+XtamBGjFwHhVDwSIb
N5tRVyNNhFX3h8ULwUuluzn2L6lF84tqG00RWVxLY4KZ3qkSpupAQNziAY5d2wZ0EODyiG3R8APr
djnZ2FrjXOfGi+WzUCa6KWko1maR5j5m5ByAav3AXJRdzBTCMEgss+7x5EwKT9SSOyGYnawqeZdM
9YJ1KutjMzlQoIiFoBNwU/wJt/43u9ng87PVLTNYiWILOQUKBE2cKrEvJUYB3qXCm42Wh4axqaES
jdMqoFhkFkS5jMwJyGcKgLQyEtizFhFb6whxBb1QbAAghhynvHkoEMMBOA+PagDYfLa7ss61ZshV
A5HgZ7c8qSZvb2pbR1YSGB0BOPgQtwLwtCkuxQwyHQJuGWKPeEFzZW15RmT3/5yG0YZaB2Ng1UUl
qr7xDpW2d+ldvqUVSPQKD1n5G4nOhzSQEX2+OzJg4qpOcHfV/CszHVN7asTf8fXosCLvBhj1Jbld
1fQREPAQxihX4H9FsdmK0NjRgL+SQbYJjqXPB2o7sQcopW6AQsBwZuwoJm+J4VZyaZkTx3Dpl7iw
WwW0bACNlUxkb59F5W3bRoFuAAhj7v8QzXKyiGzaatS99035PIVdaPXgUwdMpPHA8cuXaT+c1ko0
k4co1ZhNPR47gEXv3TF36LJ6RR6x/SlY8qFww/whH7Di+t/hTD7LZW63HrEnNbcI26pk9YuMfTte
83/TmIGxBIYXSvrFQh7ViDZRKyNQZ4IEQtamRTera7lWRn/o5bf7Rwy7cyaFUyFVbWpi/l725toj
VoLBCXBG0WqVcYwOY8d5W28q5sfBdEZb4tlIDVlAIVaV/qiE53q6FaqXOjgtvH7jZiqurSQxymHm
8FRRirORO91aHH04k3HNd3SNDy3IyP29GLqSyKiFnvTBOGCr4Tci2HaSgC1JYEbpCtIgahqrh4YQ
Ll2QxzWQNTGyQZzuCcvtuZ1hj2F6PSO0vwhAVbxub5tKuZJJI95KJpCOm6RocrCFK4o19ffZyKuU
bWrHSgITw/TZMOp6gB82lccEpZ1k7hwzeEqzyMI6gn39OBfeAx1+9I/wrAXAOIWe/3wczI6OWhIq
qhen+3qYT5Vxj9EJjne8rMgxUpigKeRg5VHpUnX6q4otbFNodgImmc6qW7dMLOB8uwnK0I1vOg0P
svQiBYFs4N3rhokX0iV27wTowgzg0XTSJRwsYLeYFmjUUlxrsm8M6e36fV6WOT+LY9OqmYxiMxfn
yYUBxNntS7fL99kue+D53ws1oYIkkLdi/goAD2wJEDCsrdbFE602ljfq9CMSHqbmZxeOloks6/qp
LpSekcV8P7BuaKk54lCFKD+mZndQZy4h2pYmws8DaR5jHxiMZIw5N0KglgfY16PTBFLqQN27XWwP
bnwfP8vA8J+/R6WtPl8/2UXgxskUgCVgxpwSCLKNVC1Sh0mmPZG/N9pknzYyeTtQlwvdn+WwaqEs
WS4bCxq2FPJYCVz5S3xU33oNTWWQDnmyTV6aWyHdhYCz+Z3nFCOejTjC0gqA1sE6ySHedZo/p6iJ
K+/yabKL23GfOkprm8k9z1lu3i4YGWFfSMAuak16EHcGVIaKDXfpIQaCpeLxkdV4Yqj6rnyyWNVB
WyCo4nI7TJF2O8o6zs94LkvH9BZXx2FUtG3UNAlidGdGuwABW2SnLqDbEVIxF4ClAWIvpxzs9P51
FeWKZUJO0pdtlAEhCGFudoe74r7w6Ox1GsOBapbkFYdRtPojr2K96crWx2Vig1EZ4oSHOJYia5i7
VFZOBNrmrkMLpwPe/xBSOI79Ej8rc88585bDAa+GgdiEecyLdxwgXMJCG4XM16XuYKjfOi6k+yXC
Ez4mYh5ocQBdcvk6MBKjn6GgFAy8GzBBpB4pymVunq+09KLaqk68qtqWj8PuuIb6rgKYPnbteex1
YkwdkHzDfvwaJKVolWK5i4PljaMyFy9HHE4H1wT4hgGCL7OoskpblIk6AVca4wyIuBR6ZjpWx6C3
zsg3XGzDLQvU8cgH5g4+GPzpZwuU03zs5gTgy3/igqPL4UU7vgVu3Z8BvNyzDFAqM8lliHrFgHFZ
vHXM0B4X0Q4b2Vbbl+u3tykFj1QAX6CqJrPvDpKQqRIy4NMOSv3epqoLYqMficyr3l0m5/hIYPr5
Ww778FiwZD+BBtTwhhpQAqUlnp4xcGKDXrHc/xvOhEusYUYgEwWaodLCsJNyv8ciqdO7dIebUmdG
yMYqYiu9pezTPUx6J9jCK1CSsFeGLaj62OZW+l3xwDN7/B2TWF8C80JR41ZvZSCQeAX2RLveeEkV
4LrHJW9KeMujGLJhiIA11kD8yDgzMxK71DRi3VuUAI3M8evUShzMsG29+RDBZElh2wxSNmA+SVZb
K6heoiJ2GmnglGnoD/30XKUfEZk6pa8U5Qve07lS47TIcJAoTt60COw4UbHvKhlFYANTeO3+ujHw
xDHBR0t6RYkmonlZptpFr9gJ4B9lvyKVVWBh5bqwyyIzczjmKwUklNoxV8AEPB4DXz5DOya/utmd
XNWOuUhZm0qxukvmi1XijDpiqQJ+X7ppSOyQdOKdaPv+VPT18CC8pJ0fFTnVY4wTncvmdJA7+zJ5
i2Nicg4LBliU+3OQO+Xy/m6f7UMw/fdVUqRWfR+YMwxLGlWMMoMCO9A5w5k8EdQgViJKrQ1nrTQ0
T8fzyizzN40EvIohTwajf2IYLMsgIJINHt17pSQh4VfBjsF62+6rr/1xfuTo4KYZo4Lx9xdjdHAW
G/Q/ImBfy3eg0PCwKPVEq/8AP4peJa+kaFzRA69uwjsmo4ntAMpDPRdhZuH4ohn9PVDIdtcPRv/E
peOgPJAKwjTeWZ+/ljBHGQYDR90z09JrjOmmGtuDZI5PTYsH+QhkjUayrou8RGQ42/OHTMa7o68X
legbYW4XFZr2AQ87N6MvO7rohc2aDDmzZKV3sWH1b7z89VxGu3ZgJlvIxyzUwgXq2abE1dHL1ELx
RS+KUywQf47NezWrwfc6YvMuaE5ZBEJBEj0IGprHnfw4dEljx4vsohNlozx4Iktihxp4WwcwH9T9
Xo9ACalJxcOgTYdEi5xR6CIL5ZZbCVOjnaI5ndkf1Er7JSmyLxjKviLzYPVTslPq2u0Mw+/V3knr
wM41cGoRTJ5EcvpcgKyxIsAWUvqvc9/0dg+BYO8CtizRe2sOu8eMZqx9fErM8AtJk28y+LdUoXYI
arBpTU6JqLtxU982lWxNgnyIa9AjVJV0mFuMTzflw2jG3iJrr6THfJQoJb8TCTHJoCGvxgviXA9a
OYYOqzIaBlxBBQWyDIsQPN0L4XvRx9+v69dW2mms5DBWU+djHsspTLW4oVhTxn5E2smnAuWJof++
Ok5izGopxFCkDB1q2vhUAZSSerwiwabj+TgNuwgG8qCehJVIcRv7O7MYrdr8UXQjpzVNHeY1q2Di
QgEBwoiGgddG+RctqIGL0Mo3c9XsIpW3cLp5Itrb/8vlMAEiHZdKFTuYv1rv4/F9lG6k5um6Cmw6
TlVSFdpux3OH+TYy6mBKKiK+ytr3SPyu1RxaSc7fZ6cTkiSXCjp34in5q549lfmX/+n3n/uNK91S
0XwoY8q3YYx4T9fBjVhrnIzxsmdJvfDHHZ2zrpWMoI2jeClGDI8MTrX/k8SdDGdmNv4C2ebDei2N
cbtZJJc96bEoR0Fnda9wZNFSHwe73mNv89Scwjuup99SaexCYDgBL3qUeT/b55BJQZti6w+Tubd9
UjmjGALa+NBh5TYSuYXKbY34kMY4HVnts6FdoHEdnlDLjeKSo/kI9L5fgaWioyLcy+/XVWQ7K16d
j9FxHYRhddDQB2m6LNjrCJ+kavlCsPjUx/JNPqJsL0zHPo8PdaB9UcHMk2UlZyORyrhwGx+/wWC6
w0k91kOXIZ0EctQvoqUuGcd9ibwvItJz0rdeE4F1LCHO9bNvps8rsUzSEgdVo2GZAOa3SI5mIMCW
Te1EzeyPmegCmP75urxLyOSzrVB/hUFQyuz6WZe0/6Pty5rjRLZufxERzAmvTDWXZkv2C2FbbiCB
BJIhgV9/F/LpoxLiK7p94r50PzhCuzLZuee9FgDeO/CDMJCeYu0HY+vCsbzKaw71V+ne3N3ejq58
nCoboWvvDA9lIvvrWk78f3zw9x8xC3rrMspCo+2npIHtxHnafDSPE/gZcFpXQd2W9fld2Oz10A6r
wGRyO40A3H//EKu763e66AUA2v/3lc4eTJrLsoRZUWzRZGJDAXZFxgaFr3FFzNo5Zq8klotMEyIF
NLwtOxj/P7BQXfGdyyWb96PMYT1ytaNZFOckKFEn3KTFZkS9NwCudOJgYE3BfNBWfV7b7F9+A/+9
P2P2BgYZI7+jYptBSCiW7Gm7lRRDcWrDOHcR8vDMXLvKxS9mmqplY7VfMeczr12aSxGg/IEIhZI3
4sPyhuXFz5RLK0ZlMRa5kDNLDzq9UwaSgmsvJONrX2edg3b/o9lXoyNjSm8tG5ls1CcbdiFu5pkG
hTZdUXEkAors1fQH6Jt8BPhAtw7IIDs6ionMjh2ravzrL2BZby4kT7p74YF7KqnUUBl5I3DobgsY
Dq9zGIhppwzIG7ZjtZKbr13tzI7RqM0rM8HVSrXsp7F+N4JuLculw1jUK9H+/3E6dOENFTeHYc6P
p0tpQSWFF1OWF92Dy/OU+OHXZDPN0wMZBkQ0m+vXufjS0a77j7z5KywKimFbq7WCvgWiV/fY8JUB
jWUvcBGKz54cK1O4W9JOSwLCV7H7OaiHcNdsUZYk99pm9HMvLT3pWHjydiLbAAH3IXlYa58tPsOL
XzF7HpkciTBHiz4YauWOFf1RK1EszqM/CUEvxMyeBZXkzhYJMoJwrI9RwTZ2ubpfOf2NT0/vQsbs
AXCRmpJU4ChVh+m/8JBIllObkifG0W+6H1XyteS/CgVd3uTVNgUoi9fm3ped6sVPmL2IqNMyC0yX
mJZNFL+J69axI8PhtXyvS2nhqhnzMzUpHCkaDp3QTtxuKqdjol4xQ4vaC2wHDZN9gGydA0loGXBh
bBUvU9BfOn/k4u7661h+jhcCZndtjVXHEwSNAA/vPdkvTVAxm4Zr+CCoDIDvsw6msxzzX4ic3W0R
p7bUD9Lv/k/qV0+6hoWazjeD9IZ4zdfstLbMuvw5L0TOYqTMplU0Rhj6z6vmSUVkYZLBpUPt05Bj
B5r7sq46dYpB3hAQR2l/k9qrxd3JDHzS6ovfMAudpI73lBRIrKY4TTsm++E230XuPyEpW/2qsyiK
JHaYEfLmQpSXqYxWNDe6Z2bA4sgiBzyYnklX3POypoIFF3jGmNqcQ4FkVLa53rckmAjkScUfzMFc
sT3LPSmYcgUD84qJ7uFH3xG1cCgRwE5gaWUXlTeXHlsHQLEgwKxcyZ063NEGcLFus+3Qb48DBoDj
9Jb53G23wwEg8H/yei5+0Oz1FKBmqEba5Jv0C36Em/vjwbi3HiaekOLhT/X4Qt7s6XRNU+QI79Dy
eIOCV5xxO2XLBGSygFdZc52LFVl0ntFcB1jONMn/8b47blLeSRlIo7z8O4p/w/eJTwpL/LITPUnf
0GfJHPHKsdzlCke/v365S5Es1scMlGmINv3no3Al7pOSdhbdjACsw/h57BVE791GA6sbMqmeVaV/
XeJSGGSD+waLW9j3+0RkoOSMmlybIsww/YuM5SnKugCoUntFLbfXRanTl5pbgwtZ834uH7I+ZMWY
b+JdeFf1nuJx9HWNBOwNE5drty82pmc6mmveWC9m4lS3FOw7FKvea6gJSw/38pfMPrI9DonMDF0J
SmI6RpGBeXcNxnJZBFqQMpqRGOyffcqct3VWkiHf1IR5vAcmxhpN7PJ1vkuYGTyRiDRUdTQ6qZL9
NLl5jhkQAOMhuP7Zlg8ylY4wA/mZPiCt61KnVKIbc1D8quB7HskrmemyZmhYg1Ax2PaZMyDMY8Dg
x2ii9nX+FDeseAQQX7mzzUR1DW04mMZ429r0nKvxlyiMz2qa9l5vG9+Mqv6hjoXpSSl5GkijehNk
kB1Sv6u6gDby93IU25bld60y5K4eaoe0Tte2PpfcnH3x8+cmsdaauMun4I2mnlYgccH/8/QnTY+E
9U6Wn8fwnsV3uvp0/dssqsCF4OnfL9ImozDGmuYD+ghcfSKa8ITCt6a28nDXpMwiCdpUrdqSCFAu
Zeba5jcxYtCBrQhZTCkuL3H2YExAWXIpgZSJYBII2LAJsXcT3rHbdkO9iWMSnPY7DdAP7JyhicFO
a+nE9GA+2Scs4siA68Ou5LwBiB27LmEUWb1iN6eGifsJBrbQ831qVLcx+MiwQiavhBBT6ndN5jyF
sRKG/jvKhnmr/7D1dC9CQHNHTeJY6DbmICKxQQEGINPH65qz7OcuDjuLK+osBru9gr6xhsBoU/h0
p+/hy0E+tql0X/pVe5NHz2+K52gdnmc61edTW+j4T7NXn7YnddJHNMQ8BiLw923NtzlPn8T79W3N
xeDQ1v4rcN6lACkRDZG8kGCquU94aWiw+sTtXRV0Odjl+ZOM/1LezMGo9tCkWMHGptyNiSCp2o/b
idSNcGdC6/wHYCIrN/qWDVxYgmgclQxBPErgWAYE/v5UErXdlm8LwDmwTbX2XBfTi8sTzvQH6OQN
jSXs9GZH4U/EecUmelI2CMuQ0sQrr2QxSrn4fDMDO9hS0hYjrtOKcnT/NDct/KgHdqdduSvvYtHd
oVkGshwLEcC8vl0MhkHrClMA3NNeosiRn4Byp+UYJR33gyd3rroN8z8L/EzAQFrAFESFfaYvQA+V
29JAGFYagwOEAKmOdzm6/pLRuWOxhli8eMYLaTOjY2htXAsTLj2i7VNjVC+F1q8B9C+GshcyZvoR
93LaEoIWd2yamtsSpjhmxZ5T2jDfANmF2oeWd/3bLR6LAAxfxkTsZ3xCZRRlU5vQEqM2HKurwKbw
cl3Coie08ZHMCVPsE7qSmamMYqAUyQF22VxhoEZSYWjdZbW9VgUhi57hQtbM6w4p8lnAwaAPnUWB
0Y4342BzN67Gp0YTOxNUw47eKne2AQh4qTw3KjtrIbAzbOwAh3XmJKJ+BRtDIBtoYWNzERvjRjDa
plPmEppkmCp2MLHqhFbXeKGl7nIxBpraEEdNS9UjMsi9VAukBwYtsmd5yHwt6k8qA74kHR6zmt1U
deNHBT/liUocW+p+5lJruWhtYlKyt+8Hnp9rxmNHMSNf0njpZ7bydZD63Mdoxje9bDYqSYJBU3Nn
0OyfLatBKV2JHVf5Tm3MnZKjYpgWxygn20EIryWTQTM8QxoTp1Xz0QFtxpeo1Z7Cgj2Gku21ofnT
1NixEXnogd/oJ7XAtzFgEFsmmIEoo03YsbXgb9E2XXynWdwyJHUysApDo5HwwLyNYjKScHCxgbPw
VrlH4wOQi/CjmUte/7UyaqiSoXUNjf8Mp9MzRRtEPYUOtrUZ9R6ERqx4UjDFcl3OZ0R5cIpfCpqZ
i0RgYa3pKNoC3+R99V0BHRvG9LzuWd+FuxT7ZKObvprBeBpgsFYXyhaiMvBgySaoVKZB9HkiVYk6
zKoU9zvt1/Qtc42WBjQ66wwkanF6IPxP7vVC4PSDLlxpChIJBuRfEkhppAGehd4xAri2ooq21y92
wZp8ONmsLTCMNaCbkQ4FbfWlSW+y4WaMY+e6jCU/fSlkDvak1lISyjmuL+x9ttP9+MHy5JueOxO4
1B9NVX4QN3NknTaMnIzozKoVGmMhonjp1/UTrdyaPtNG1gulMCMVzQ0wr2Nrzy2M3unW61zLcsAw
aSLtVQx5Zn/zMGWDWY7TGAOYEGRfbOQvWu1hzdzr95ijsO77P0Fqm94a8ET+ljqzJpXMSV1iBzwo
O3WTtRzu8/n6/S14yQ8SZuoNSrQuVCN0M/TGvptQiMKe//uZIIjA/DWqlpgDmVMADlVS5ADwQQVf
DD9yrfeynq/WIdVlw/AuZTroxTulDZUSpUSvWWqkwCSwgQOXtgZYn3SBqWFD+Sq6DLD1va+D58PJ
SnkjD8UDi9nDWNmbdky6fZ1If6Vq5qmi24m2KxDpyTuuYJuUgCGrYdGNzugPyZJv2pxPDtHwgRt5
1tjEPmB097IVBiPy40ATo9OGiAzTWDt31YCNQ+2V5bnbxu3XWjKeysbAeIJWELdt7QPTm4M1ptTt
aHRiQus8IdRN2yUPWgxQRT1S3SoERGTbtb6dV51bajYP9AShtcRvy173FF0aHCXMb3ISRg62fNEb
poODCkvjNWWT7oBu9Kwo3RkzyI9N1IH6w+DtQdP4Rk8oZgC4AW/aPw2m3bh9YiYvtKwkRxKgAImy
YEg46F0q7UsyWkc1BfNCb4WosMRGYJXYzFb4EIxp/DhEkofl48JpbfKdK8oGq4ROWaIPZ3DqKWGx
I2351IUy+FjzrNsWuS4cplWlIzrxGocj30BZXlNd32pEvu1TuJDKArhCarhyrZ1LUsj3RmiACAs/
AmxgrxUPUSGUkY13DdJVHjY/1UakQQbOK8c2RyzqlYXkdFRubknT5U5UNV+sZAA4uGZHXltFa4CY
i5YCIadh2yqyhrdU+0IRC5A1gHQFW0u6XTpY03QS0IRpzZ88Kh3Mr9NiFHAQpl9xISVJ0gxQ02jP
ifAZQPxOHD9cNwzLx3gXMDN4dp7WNAMmRSD0wavTzDX6m07L/etSllphwBd6FzOzcPgQFbOnZrhK
txmAqb+QIPHTU/Sri5xkPNsbw113SwtBmiZjuxlTIBNg07ywHqpKrA42RmyMzoYlwA6wXHpqckiK
l+vHW4jagW4Iukk0hMD5PcdfhdJJtqhwidNGJ3gKt9P+grpdG4VdvkVrWhvFDDEWnefp1WCRXqIY
1cCCuORX5wmUQUKFoT4q3LFeQC4UrI3ZLOoHVlVxOJzrE4YHAVWSTt4wmzihLon7cx3XvSPD4F6/
w4WPBXBIrBcAAgXgBfMWzMgAA9g2qGUYOijM+xDsbhy4zZJR3Bq8CFcipAV/CF4EGRztEDUB2X18
VywZ9TJqoI9QjW96nr/qxdp6+IKnmnJSbOYhfgVB7ezppmEYW3YJA0GBWqcSwDQBrslATCnF+xY2
aRBf/uAGLwTOnjICZtOqSgxEYmXCzXn1gJt+kbl1Lgf15/8mavac69LS0QFp2IY3GRYBSelFSO29
SKn2gxI3K7nIgmp8iCxmNylVYKCsQ4TMVI492t4mhnCNTnfiZGXCZWkm+IOk2RUKy5aTsccMze/W
9Xj4jWOknNark4sPC90+mG8ZK73zujOKsICUxUMHYUXxkki1H1a24Voj0vTr32pB1SekB4KOPHZQ
sc7/UdXBOQYdQJc5ACj0xkh6oIGAWvK6jOWLuxAyiy/7EVwj8jRMPUEYGej5j+ep529u/wQAaoqW
L2TN3q5ii5TKFVI1/U749JWhrJs9m8i409L5o224S2nzEV85iipJlQHOBI5wx8C8LZeKFdO3qAoY
KEAHGD6evNWxL5z8QIYqVkGfHfTyc6RVDje/xmuTb0tYC4DsfBcyqcmFkA6LkQDNAOiNrbr6XvMm
9N9EOyP6C48ErJYTXlfhxfshdMljl2xWFGTtjNO/X4inLMzaxMIZhdtNaExuknplid+QusNP0TkN
oOv6ItDWlicXtf/i2LMXbWYGLDttSJDnD7GO1nPTr3y9Ret0IWH2vso6yoXZwmbE5Y0dAZNDDuKJ
mKXkKw957Qpnb2y0y65TwynL5kfWHYjtp+n9H30mC80we2rKzmdcydAyLcJAY1Bihfzn6Ikzu8Eg
L+Zp3CFxAEbjdpWD4W/3utzpjmatISjnu1j1o3ZgFy7PR4YmXI69/Ez8SorItdvRbxs36sS/7yt8
EDaLorCcCXQkDdEassa7omkMEA/nIPWNvMxe20teDtku0oSZdqQyDw2ZIl8N63tQ1Ovfp13NxG2t
HVB+7LvBa9zsW7u9fp2/951nF/oh+JjrijHGditKmJS60FGDVe+MSjkQGn6JqfYq99HG5OWdHfON
WRv72s5yr7Xzc96bPzF1YyPxYrWTdZLuZQr3bWXwo0T8hcLurk+NDENVMTRBiX/JBPOsHPik7ZSI
9To5WlZeOrRA+6SPax/I+sjPyjhykybdJjChvWjOfGzlIJW6jRxX4DUuc4dh1t5jMkca1YTxLqPm
IROAnjBHTD21U7YZnlTZOmNIHn/Prvy2bHY8M72GA0WuAd102FSAtGNb2g9B0aBgY0c/aFc9l1m0
T4f0hgp7b6mD5gyV2PdCnMw8e4mF/NIa/QajyA74nfbSICO/rg2v1qxNMe2VSGK4T+LuVtM6DdqJ
HLlqvSHR7vO0/EI7wI0Y5bhDdnoH3go/UdRvSmRuaawTJ63oluqgD+vRmbBtZYtW81el5WdSo8ut
14+SjUgXoKjPtdm6PE89iuKCAZZXRy6L3FVT/uu6XtgLs94f1GLmOhHNW1WcAOYYBNQvRmZgT6Pp
f8mRxV/bQu2cQjPLB2F3zNNpVB95jr5sPWo/aiv+Skn63DDlCZlvADA/P5K0Q9Pqt7RWsWJfxVsa
kQ1t+Vd7VG5qVmfnprNORqif+1Hb2DQ55UxNnW7AmJ5UftEG7vaV8BO7fEDH4JSZ4VbFQ/IEUMqd
XKfGmSdccgfZ3Nkgmsy18TE1B7JVsFuD62RPehxGXmGljSe0MAYeb11C6VrfSmPDVan8iObaMa9Q
JCDRzuztX4Ai2Lc6UFpQjvje0/wu5IXmGIMcOgNJ7hIJBJ5m+Uj6/ofainvepzehTG9zWZxEZXgN
bW+6Qn8JjTRA3vlAwqxwWVezXTYCx1Pq09wHw7e+l0WOgFi3M4yeqL4BbnCnUNAfifu/0iIat3mu
ULcm4ehf/7xLDe/LzztveFdCHtVcR8phISpHzxtT57/ioCJ4vEDEyfzOxHjgdZm/CcA+mRqELVi4
MGUg/M+Kv5mWxD1VuRUUgmKRl5ag6kQFSGfZyer5Kc1GtweGFajHURzOkGaB8sDRmu6eVN3B1BOU
qEjhyoz4Q2kGRdKjCia1YACt0sJhgKl2jao/RFSLnaFEbTksRrSJsvwUCv2p0ppjLCX7xlJRShp/
crC3WCglZVEPtjK5+kU5vn1kP8Qm4D36DkmlhQIcMYvAgElJqO6WmQlTh06Vyofvw5AmLi/pw9CB
R53ZBSbUEmPbSWHiFClDC6o1t+OgGdsRvwLFQyTi1gmhIYoLGKNyqxzIR7V41oGqliXtBo02OeAm
bGPblQ8VIdsIJO1AiTy0Unei0JNWiLuS6CWyGe3AC/O56MdzKhTmlTJGsoVMYldtrC9xYt2odemR
KrppbWtrFnTDEtTzQ/XEmXZsO6wRScSvhLlVYXkLi7qDpZx0kruklZyojW8NOd4ZZmR6mIMMLKoe
R1mRXKVsuTtIFQVvcFg7DQp5XmGLxu9wxLGIy11TRI1fy+GPAZVJM6RfSjvpPKMaQ78W5V4um0Dn
mXAaRT2nSXhCHn/XdXLqpKJAK1CGD+jzcYMt/m1r64+9ihF30ahOEjabNIzuGpHc5JUOt8PGI/iS
D1qKyqEJolV4zSpVntGYjHepASwFG2oQN+U2gpGOtbwNTCtzQhvEhorVpc6QNpmb12ASpWq2KdXq
nKj0O6nZYzb2m9oCtBja02gkynvS1PedVrlhOQyOloingekPQlWfFIN94024t3IQ+qXWvtPJa2JZ
LtrDj2SUfhp5fWR64jYq4uVscFKzgPOYlvBSscVKtO30puFItP4VJZqIHZTcwd3aYXl9NLrWQ7T4
qGU2ahyZ5pDC+iuvKmtDzbLcR8r4y4CdhZYNYNaiys+x0DO3GaRnJvTKkfBB3UG3I3+o1MHpJACZ
NjmMb7ltsZffhQl3qqg9tGlq+aZUHcMkdHo5084g6zlhN/GuTK2jZrMiUKTkVSuqEyh9AqCEPepd
f8KG+nOlM8vpYvlMFcz484Y8dZZ6NmNERrDGThg2+U6Uva+E3bmzGsOtbBrwtjqbVIbK89Jr+jGQ
onirkiIYS8XHSKTqd1yvd4QCNp3DltdqfTOk466N+8c8jGJHKrS7zDRHJCfouRUg/k11wEuQiuwz
UvzIw2ybA2FM6kpnmrhLGLkFH++PrCYniYGrU+7pRtPhjONxeDHt9lFK6KvZZJu+SA9p2L6wIbzt
RbcdhvqOSNV9GMEC5xiHN4UbhWrmgB7nKbd7TyTJNu7EA2H1c1OzLRmB6522941lHyWWv2o2hq1j
BTUV2Q/1CjMpApdL9xpTEKqaPzLC7muO7u8Ycgc+wFEyDWsUYedVjQRPOOYO1WOPJwkC7Ew8d4VI
3T7tz9kgYdGQAR5RbTYGo5oDSE1sH4pjyrVfao22jShvaru90zgLKKPbhg5PShHu6haxBol3sCaI
vES80dGTdyVb3pZ8wA9kpYexN+ZWcQjshry60xqMuLQaII4yti0To/T1RvKFHT7ZFkYGJLs8GWP5
EmKTT+vQqDdGASdicL/NYNaEPaIl1m9zZdyEWfptLDTwhod3Q6angdQz6nBJ3jKR1I5eN66Wg0uJ
y44W1aCHq8zGSTKyx+LqSQqtV85yAP+l1EmbYRtbRomgXN8SUHYL2XAK1fakPuw9MPLcAMVyJwrg
BMamb3Y2yDUs5RewymCTGfPlGomJBfsOE/WdAK7CyVmxYV0qHeze+g6Mnr3cjmeqpi34MHqgALf6
U5rlX1MGqF5DwuvRzEe5AnwWmCJfWpK+lIkAnWfoqkZ2NJl1KurutskJ2kWl/WDr9YanQGUsjAci
85PR2E9Gpt+lZngvdy2wMMo7GlayP0ycXJZGN3ox3pfUuo/NsUKfpH5QB37sQ1BNS5rY8iS6V/XB
JxTMtoVRbTOpPVZSGTSATbYs/RyH7Htj8ge8jucR+3kV494QaXu9HGUnbhERF+jMF3yLvq+jDin3
ssYafJ6m+OhpPvWHZOIC/tlHZvDvC3Qo2xqYFgayBYD3Z0lO0iqJYtSYSKU62jI/i9DwsCjpFINY
iTamtOVzrPEuaJbWWEk0qF2KHmNLC+YqYJVoK/lLmhXEqVI5SOAvHB2c79djnKXayYfzzcLmWB8K
dOuwSj9xJwFT42TditvmYD/ZLth4jsANc61zfrBO1fP4cF32Qv3iUvQc/mK042mKZmoz9fYpKupH
qmcrX29NxCyAGzH2UGcM+HFganJqq9lUeG3XT7FUH8QxLMx6I0sDLOtMQ0gP0jN7kvF7d/vvwqq4
WS+sLg0/fJA1U5J6bKvWIJgzZeYWFc9AtfzQS11bwSjfeCqxo75yuMULNFG8QxdwQiCb1bY03ehz
E3x1G3Vj7pXjNMI8begUu9FXoRpoP65UghafwYXAWVGryFBSBqEhJmnxpDvjW8GC2uqdwYicvpZB
tvrz+gkXKk/4S+oEXYMqDZAGP5ZnclGKKAM9VGDGJWz9zoQ3aYS9kr6sSJkvsEqNOXSh0YWBFvn6
mLt0bF2yqomfPxa6kCAIxZ4sqItQSv54FnlgjSyZLdCEfg7u4IMZ9Gki/ZO+WPDVUwXUH8jK5/p8
sI8ip590UfvkUUqKWsdSXsHRX6WIt7BsCBd8/SMtWKmPYqafcSFGz4DpnGdAdBLulPrVbn8g2NQq
ToDhcOsd3OqunYClAijkyhN4G1X9aJg/yp5pZFu3MuuswQ7k3vC7oS3dLOKHRBehC2uOPA6V5z2V
7E2GONZN2pphXLC1XY4RPyNLtqOBnCDj+nedo0GhWsrBpJVnWSnAQEdAH7Zh7a1c11RTvPaTZyZJ
gByxKk08omHDdj3gHYEOtftN3fIPRrXXdGBmlNKyNBpTgtqhWgHG3swjkaN706K77DWb6YtEnhSs
HHHS5WtHnL3bpJVSpa7QAG/MsPAIpBdx5RmK8sDzKMhyw0+N8psU6899o7sWBwhYGx9Fw1Z+yCTn
yu+Y91CUwZDFSDtA0ezDDbLpbRuQfbNZq0W8xRnX5Mw8WZ1hic8qTMQhaQMoVJ5jWU9WUXVNxq8j
7W+ilKVOHsu34Ki6A2kZQjkM/bpaX1ZBTGnt5VEIEI6W/SIkHl2h6mv71itqYE1KefFGqUJYUqUh
gA5z6qYWSDdArFPGKwHL9No+3wMMNead0ImdE2+Uik5VK7LQCW5SzZer7CaTrJuooYmDXvfzdS1b
/rjvwmZHkuRQYJkYI3PI3V5BI3WsR2tfGHDsUrMdY/GXTfsj8CXWQorlq3yXOzPkaOq3ep7q2P0P
tEADJxKWHyQ3GzAPYWGdkGOzxGEbtrorumw33uXOrHlTURCad29cN4AYvY32HQjH/3Gzc1LZa59y
ZtRDjok1zEvZAQ/YrsyDHODa7JDvqhw7LKtnW5M2M+PoExukYTjbJI1N0sA7BoydfyZt2Ty93+TM
ApNazRMozdQ07jzVVdQ3Hg75ZnTfeDiSVXrpNZWZGeHeKtSsqDQrkCspBjed8HqsNNNGebr+JBbC
3ckdvp9sZnjNJCElgvWJFmxagf873MUcQfDvYb4+iJrXfOs+4U0+pGEg0HNBxwBzzMecf9XF6JL+
ceVcK1/s7dwX5gsA3difZkCGmbxYdytj6t3rXPsudEB3A5DmH2unWwjmPx5vZl2A8s7GSgNzipn5
5r6967ccYJMuQBs8awSp/P8scGZWuNFLnVS/MbpZG8yKAb1gao1zp9usU9avGOq37uHFfZpoUhHR
g8xntE+YC/CAdOjIneqryYoHXmgNfLzHmR1B4akYWAhiIvM0vbVkeHtr2uk/b20d8W7lrb3h918c
jYOiDxiUDIgB+YNRH5h6Fxf3/5s6ajN/z8u+Bz89vpV+kt3/GhDt1PnciVH6CtaWRVcOpc20McSq
qmC5BHgNLNKgOdZQE29us3KsFa2Yj/kNnFKdRxg5qcetFli/spcJjzzijrZFO8JV6xfZA9T7+vHW
tESb+bYobMdUxl7T/y+LrM3UMlF6OcHUab6RSA10K20D4GQn1KIV9Z9+9xUvqk03fqGMeRXHSZU0
sMfdU2kRJy7WxoHXvtnMlyWFVfKIR8Wmkl+K8i6n8i7RybamawMtn3P/Dw9Zm/kwzbDyph4UEmgD
Ghlhon6RFIvuiwa91dZC4XQE1SwW1P5aUcqVsEebuTQMwRt9WsBZT4Rg2DXNAjCLqKh/DZ61VbfF
2v75dGGzT4bIVVUtDO4C133ONyAyGx3hFKEIQ1tg7Acg9dpOCAD0Vva1LvWvH2/hYV9Km6NUpEli
2DRW7cDUD7L00GV/hebKs17QwQ8iZsZKyKKPphnpQGl7p42+oG98/QxLrxcjtCpoe0AXhBWJmesa
zEZXmzqfmAxspNajheZfh3G/0jR9zSrvsrJVHVW0mK2psd9ajPzQZ+bNWGHrgRbD//pzZsakAit6
lFB8wd+0nZVbuH/70mkucBUfcvEbXhx/ZksaiWC2RIE3qP1O2hsTlrz7s6h90wGLlgLKD3cVi2zh
1ePGbTCXYHVnYpz6aFegt9QmegJ7yTq0cyjK97WTqL1jRlWw8nUX9edd1jzQw/we6kaWBMBIbS9V
8VGuZZdgXIWpcAztkxTKji02ahMkXe8IoCm04A1LVjLLBdodJJQXv2KmxWanm4IBpyxIB7/4C8g0
3Jvm+QBcRrH/GFa7kgdy0G/S1eB9KRT8IHrmfJsBw/xNFtmgRE62fbWfJhjlBwHIgqbz2Ca0ves3
vqxP//24b8/twmm0Y55JWorgTKqaFztWj2GN9m0m2Sv4mWtyZu8E1A5SqXLTDlJhgkzI2JZxvVO6
VRrdheD9w/3N3kcVSiIzMT+O+wv3YFiMsQwGvEXTkcFhYg2viaev1iQXEsoPMqcHdHGHmqT1oqyh
LvERjNKHv4lhldP6XPDaNc48cB5yG3MocFAJu03zs1IFpFsLONeOM3O+YJQ2Q2CALuR16+ZsTdbM
ttBSUGCsQ9a/H6leiCkuv9K8yaQIq2UNM+ONgYViYOWgPUowAGUjEPM6rTM9blH92ChrkAQL05Ef
rMlbWflCPUysrNVajHyyC4a/eq/FIA7YTRqnd7N7tXUbN/Wq5+uveik3/3DYmRkZSsFwt1DJ37n5
v4KnW/EPb/A3F+czhAzwehsuUD0Rhzjy6DIv8THt7ACWj2GedjzF/qrqvDWcPsVO70ZanVmUrsBy
pKwiEEB6dLDTVAo6gEO7Vc9f0CB40pSoCYAxu0tsc29xE6iv1kZhBdZ2G09OSjRTueXbpPwVqtWx
jZvCoUr52FP6jL/lx5g/DnmG2LbeD9W4F3b0oPRAKuOFcsfVJnNSqzoTriWuVEl3BnJNXcRBbkqg
qw0PJjOCQaAUWWkd3ahGeqdJILHlLVBSVSv0mWHf1sys/ZXvvhDAotg7Lfto2Lqw9bl9AOYZkeNs
Ckcu4aMnYML1qswC0g40+0LazFLYnBhDbCIyGIj7ux/DyQbwhK5ybr0SUyF+/XWqKyhQgNVIaDFU
uBA+Mx0Fa6sqx3hFMNyZGyidiWR/2hP7j9K1N1iTcK9f73R7n1TuXeS8eZdwsGHmNW6XGxR5iOyP
2CdU7P/H2nU1yW0z21/EKoIRfGWcsEGWtEovLH+WzJwzf/09GFkaCksPVutb5fKLqrYHYKNzn+PR
+a0xi2Ay9t/wRhoXhdTqoHYdO+Dv20ahLM5ezPkUYkLuojfaibFzf19teQn7/K652ByLC+DDEFMG
bQWTnwDoTH6orY9d6hd6cPtTCU/EmQdpKOZlqYtXeTHBq9O5oEPvq0aZJ4U1JRGkAdWrCIx31AYT
JVgBGgEvkuj+uGgjMasolcMUT3w2PMCoIEfG0Gh1Dyvl375DQbChcMeaMjWbdHUC1BN90no/TDFs
KfJUu694Y8W50zRdFGIZbSmDSAYiQDn51PjtyY9f3S9nEqOIqLFepKHftugRN3/r/ef/dk2cFYyW
eo1pZiQAT/4DiwP2ML2TlEhgev4l7/0ZqD9b5swwtJjkqBG/LtEUfBeetRZIJKjspK3kd31/GPQ1
QA9RkBLsP9Hrt+crm/guyti2sASs2oK90SZIAqNxR4948qFpBBZBdCLOxKllIysl9pv9ZIokNr3q
D9hqEn0mkRTOumlVkiDQxJmYAwZN7IFVBKYLNjAAPwEiI/KDIoHs3zfR1xgZmGommLvIUVycw4+1
MBsWxOh8+bKo1E7rgMTznUNGvwPmkdM14JBpT+KKuigB5quYeS8nU6zA61XpCQgRtn6XosRRYvj0
RA/i9XnRu+JBeDRpldK+Zb2X+8VZ3d/vGYiqC3xxM6XlOHQrq3yD1DfLj/IXFqolaLGOJuIXgsZg
NBzFFKr74drmvXERU9ZUedZqleVToIN3Njlon4uT8rfskYPlKY+LnytgT449y1UHUWAqUCIerEfO
9biIppglejTQ7/4fc2R+V0NNyqzJejQL43H2M0s/rrL+2MqxwA+LzBcP1xMNoN5UcjjiV8RnzGw8
izyvn07jzEoGRKzG7JHP/dIE0u8ZprAMgrdAZFZE70Lj7EpEMQ+HUVQUi1/ZS9u/T9TCGVYBKKv4
8UmdRFWPhjLGqwIjwBSA4ayHn1MAwjGa/ZjtKo3z2pjuM7SyVBGGGnlv02n+KynAGlVrkdeEpasr
szuSureBIoMuVKcOzlzVxxH0e7ejh/2L3hybe5XNNGTVoMCAMzVivViA7B7YpreKpE1cQdr1F1dx
/JhSJhszRkrwXTtaO7PyqOqvCYc2Ari0pdTUaehAlg4IRvlPRY0fRyxFFqv8que3kcP5cyAB9N3M
ks/JYX1RIOyd6oMZgHjEF5HZ7c1cIdH9qSyUe37dRDEYmsBkT6aj28Yp/LC2Xue12LgDxDcYSh1g
RGD7LDy/4CXums6NcP4lygs+GWgoXzFnIVJGyoX8M9o3dcF6v0pQH1V3PSf3nY+cGn6hxUzxLNAV
kTJy0X8HMwBWHihjpTzOYFgpciHqqej2uPCf6hZZVfVng+Z3Mlvh7XE2pQeriFHUUJMk/4Yik5Od
GdVvnH8zACTYnsTRC/uDz9zCRjU425FaUrw2VSX5mNn+tmITVdG7v+JIugN+5kfJ6jO7Nw3BN9vN
Cq8yL+u3m4Az77KoSVKoo5welaG0wZhjK2brCsyi4LtZnBmZe5OGWMTkh+n/Qynp5/O2OFOyKDlW
XcMVzG+PWM23PhkOdp6CBDS5LrU1Xz7kTvZRcD6B/+HZLxK1Sqimw6OzKBBeyJvmoLcH1uhx2qAf
DwJ5ovvkrIhFtAn7vohzf1SEpzdmwOqCYhcjegcWZ0V6mBG0k5DUg1JrcaYPMe4zdAEKVGMUuEdN
RDSysp81bJSSMyRK27byGMEZsLZZTC9tM/OJhdIaVu6DNRXEswLDxaNuLX3bjtOKucvEjD72Uvhg
VNhoFHyy3aBvcyjOnJjAbgK+HwJM7T6cbZAGnBkSlgGm4SdstiIZEl4jM4Y37InF2ZNqNFcM0bJr
BPQ1iIUByofmWZ1jhlsK0O90LTeqvU5yxRst+2blWrnmdaZql7I0q9Af1tpRm8EhQF+owG58+1JF
YjhFMUsNAD6JVgSKBAjDNQMDg9Z/y8ZZFQjaN80/z6NzfkcyTRTqEpjJiurOJGf3xvQuqSpXJZiI
L2t0tL/cPtm/vLqrRE5dprjESmytYEjYCwPWhmySzMbqjKc6CGFB8uLq6f8EMvetylUmpzBlFmbm
Uv7sM/3ODOj+k/spymCwDxu/A1hvFfPeahFoHTAHlK/SLIBM+RcjcpXAuRxJXiyAe6MIziJxxunE
InFyYkbyBf0LwdUZnNMJAQbZ0nH6MTny/xCYXE/Gxa8DzY1SWqGM34eQO/OfIeRL+qi8On0EYKgB
aDgF6IScxLruVzrPKL+/rly5b7iu4jjvlpElLroEA/IJ8MEl9Hjzz7PqlYpsy5VoelYki7NUBZ5Y
12lJ6FclOSR0tLGHAHTSzpvrD9ry9vYL24GoZj2268k4gxVh5K2qWDd+QVa8uuR9/ZdyAtJBa/+P
2LGrubJlV4k9ua2NbYBXpx/XH8AZshlT3jop8SVBIY394vvIKxxQSFdHehBL27eaV2GcDSsYNFMu
gRKrJeZj2ad/z2GLuetMHmyFJG8K2nsamV9nOa9SOSumd9IyljqOyM3o//M8xDP6/1Lr+CmRH0bI
YyMqGmyBBSudzg2a0QMZ303TeodqwGw3hnxXSeMXkrQuKQnMXaoIUAD3ren1B3C2LoqNXAMec+gX
0sOqAEo+NwQOkF3a81jiKoGzb1K/VtKsoJyTHqNDF4AU3JMC5fCadY7tA+HHD7K5a4B3XF7080eM
BP18YYTE7NatU3GGhtaaCWMDVXltWWyHJu8XA8B34SrDMKhkwKYpUxYdyhJIQfoQ2isgMhxEoGGg
EPK3kUwzkDOwbzl3JsAJFEB2RABsOtSr9T9gjarADawkJ85o+mBSBP1l+HVdl8o2yuQtSL7OltYD
10f6MxzU6lyvhgH4mEIKdKJ5JQIYHZMPtw3bfiB2VQ/Orqlda5jVAAVcExlgBakdt2/I19sy9kvt
V+OpcLYrsZpiaTOEJ6ms+WU6uWZ1P+pHeTkkltct2K6nn2pg5hLjANg+e1Tvqqi0s3m412ZRRVVg
2i6g35v4BYAkQwZeWdSr4C5KjKMNn9P886gPwMMGQFMt2p/+l3DmesOcVavDtJqXHAJ/zIJUzo+u
/gtmQdhzvvEw+IahWiu9VOYXG1piCO66UvISeEyB8vCdQ53EctcUiNRS5Vs2H60Czq8rBRoqusBn
ixB1hEVLq0kv66yak7sSVARjW1bQB/EXVWCRRT6B34hoKI3XtrmIk9GJQjfvo+7JPiM5EtF7ssd1
62NxVsxYKiyIh3gXyfxnrR4UYMAlBYiOlm+3H6DAy/CtQ3Bfx4YcsmKzItlrHkPKJPpKz+HefrGP
fMMQyORqIsf/pCBsVXF9QLnyBRNHgriP7xRSAvakIW5TIPR8UtoJSASTLUv3IDDD9rfAeQqMBd8j
NAeyFpSl/pG+/lmn0Tkh6UkqGrA1EdONZ/q3hbave/trCRWesxg9zdDRwkhwoLQdalFhNjpVWpwz
M3N6a/4Cx+HFqnmK5qqxzcm804vpE7Czm+Pt3yG4aL5XOCzRGM2zFvr5EAZr3tpVjbkQuIqyyP25
lwVzCCJxfChUquoQTuChrbPoXu7yyZlq+kiN5mPURA8ks/68fTzRQ+cbh32BGSgrVKR/cqPfyvz2
s8yfToBvHMaDZi6qCicwNtvo3QpeUj+6GPkbdoVvGnbAfYtxNvi4MZE8rag8CcxVjqX27wZT+jAO
62GWNABf9avp0XT+VAAu0ZmL5amSqlMcabJjpENlJ2AsdA2pL/yyC4FcFKXArZAid8pj085X4DjV
g2arofZhJKnXGeXZlCsAHK1o0Glgz61VInobIi3hsj6tGutuJSiNYZzcBQQTcBAHVG5VVz1gAyOM
nxZfdgs/XQJRVU7g7DQuUgLkWyLTHOpv6c2paqNArauHrhsFJxRlmvzsaCTncq/MMNYSEGWwduqu
R3S5tCA69ASbUDHwXiz6AG4uPwVqlSvuZgi8hcYlf7QrKrky4NVJJXvyAoRQTVRTVQRhCo/yIlWJ
qjcVbAtb7l2PbL2i+4zZI+NpBr1gDcwKILAlh85dAFpr9OcIiJjAwhI5LcGz5CdJYzUnysyipe/l
kd8xAYI8TOfMW1fNaUtXlAWj1m/KU5G+0YEmKOsfu+IxA5hO0c+C04kksm+wiXRjue6mJkNGhgfp
hCD0MBa0iaw/ehkohl3mSODIm3yBURUkZjr7941QfbLaTrdwo8Np8j5tGdnfgTtG8FYET1JnmrwR
NrSgvFd6PElK36QzIGcA7ilZiic4kyC04edKZ8tMSK/CUWiA8nsP+FmQdlO4/XhS2sMIeEY7NarS
nuPWtMu4He5qyQoF3lEUFOic+RnHH8Ot+iPxGYqQfPy+K174iSuqrQmlMTO8uVkLJwOQdMl8Iw3m
YxMAtv1EHEBdvIRbVKQ0nMWx4JR6SlfgCphO77aAZLYTbPtbDu5cAe3bqztVPx2yzsVY9UiTWJsR
2XUe8ZHA+D3GHp3BVdEYA6KgiIlNEEjyVXOla8LQMvAWy1p5SBLl3dKQk9rOb8mMqbpuOZnhLBi4
FTwOnuTECJNG1grwp8bzxxEw2zRtT6pKBUHi/lrNNbfn6+f1tMrjkrIHvxzZ8oHiWBi5tmMf4IvW
43+axfj59QzOysiJXgIn/FJI/91VL4E3NDgbkyWFVfQrvhxZI3sF3E+ROAL7InCGPKVPZq3UCGeU
6Ni0h+aFx9EGDnrA8NxKR7Q8IQp7Dc6QrArNdb3DlDxjKu46ez3T9/QdAVqX8T8s5/7Hs3GGJJES
GC6KjkBLvk1tYtc9MOP6c2x9NWLFzfQPWkUdIOpKIEObRENd7Cg34mCDsyskn+alj0Em1lUPRv5m
rlUbwyH2kAvwgUQ6whkTBSXcZGjwARd5dqbsWyjmtBDoCL80LuvJtI7GJVL5/Y0igbUyuVjFWIdR
LhMWOaiMXnWd/1Z76GOZneMJNG9V7FaxJmC0FkQrJhetFGpUponeYMsB0e8HQGkf1nFysykHUG+5
Aru2qu28jIMyT0WYeaL6JL/MbkiSlJjsvH3jXmwYmH0dIOR6jDCk0dzaa44hOF98YdVc4PlMzrqs
i6yXfc00B9tTBTAdHZDtAndjTUFED8RK4WbzpQ5z402YzG1sPLs2G2WV1q2EWS/t61hkn8kI2Pap
yz2AYIdeT3PZKSN5ClTsaSDqOWqZ5g7JNNhhhmVz+K3RrxvysaZV7CvGgEGdBSClowpqv7X1e8CO
g5/nU1cOlt1O0dtk0ZenSCEfrXUywK8n2QMObecZHc5gP/hfNVGv0xBDWcn8oe2MGdjRIowkgSs0
eZOnqsYwzmjzYClxWIN1/SwkvfyXtv9Pl8SPzc7goV/C8D8ATIlyKJOzbmZMaJGD1+nCcW9YDgNI
miZ78KNTH4I010A3sgKLCnIncBQEtZPmnnhgRGD7LizTG30C76a5xGOVBAt6odVyn2RCjyUQwc/K
muBvXMsZFb/Okx4NZ7qPgKznVH91LhAQCvAIWa7Sipyy4GXy7DRL03dtaYHreyjANRnlNLqT2xk4
egD9l/LSDsv8Q9Mpx9wqcuDYAwhY7akndXChSS5ibRLdAGccwwZkdmXFwscUfRES2TT/47ajvuRK
N+wCP1sLbrqu1Sjsb17H5xYgNsgR0d+2cr/VJutMwHVi6/P4CPprkIoAc94ERSidTiAzBhR+EmH/
baQO6QeHle60fPDKJsT8uO6CORpb1g2+1VyZQM+2lCcgWHfeOk8+ibCp1QJaOlaVJ/DvUUcdkmNm
1V/iflQ/GoOBqtUKPF3rMGXdyZryu1Rq8PuUu4x21slc9cWPknL6Fg3p31GFDkSRy1h8zoHTEOn0
bljHJTDT+dAZau6MkfogW6O3YGv0cPsCicDIUM6UN8qar2WGnnkPtTzMbgOAYwCfBJmjflEsvEUd
S+fv4pOoYSHSDc6gN3Mdgn0VkQFg4Bx5/qNdRIiruxKwyyxrim5glIQLB8BLW4ajwlQjT3NGbNnY
dSiJEondAEA1wDOOpWkDSDy/OqZoigjWt2FAU+OAIQ6gyha5l1/wjRl0qZp7dwgTg4UNLubOV8HX
Y2d4pv5X6XwlKEOBXe1nzCdvCrRD88Lxil1V2QjjLhTs9N269PBHjbmcaKx2Npg9vLXUXzVRASQg
EwDOmqZdBuo3xllrctAnVsiTwI70gAv1yMf+nDjKX6AMtdunRQiysHuyjUDOJy15MVRDioj7x5gM
mzpAaTZ0qKtien1oPfG8pEgopzltP8ZDHqMMtNB3o6WfVALy31d6hOvZ+GGRGg3ssWRL/TpY7bAq
iaUD9QBiO0cGM7Q3PL6gSiE4GY9ZUSodaEUVFoj/FNkFPpPZe2boManiEHE3+t+ck3M2/Zr0cc1S
trS/n5ZP1HwotD+KKHdzsGNIn24/vF3bshHG3PBGQ3sJUIEyG3UdkAQmIUDuY829LWLXsGxEsJ+w
EWGsZZEZLHyoytgeWwMxbOf1MlCq6amUNHCk3uc1EVRf9itoG6ns026kTtI4A3AUn272F6+JADYy
HqRvGixYgYaaK8wkRBfJxbgkBwpDCV/g6zbbw4kdKXRjYNCdkZG65B5zKCA3+3D7ZvdrCZtDctk9
uKgiPaEoav8zlMYGoyPisrbWC3ZSd220rlKg31uWSSn/zhMjwkQM9jpeMwK3/wGv0vgFC1OdCQiw
FMR+tH8b5+MbWgweeHXf5013ZzX02I6FCXZwAh6QdPUXNXwzgIPk9g3vftXNj+A8BYKuWVPYVlrb
v88HnyDWui1gD8kdDAY/L5VfuugrNTUshtS0BKN5gXNXnDC6ZL+Ws3Sn1oueALsa5F6ToRwlrDQL
Piq/gBGSvhzBpvZ9PGbbL3jtcMzmrJwlWAA21KVsyZi1e9bjdTiGrV+ImhP7j2MjjbMAsCkGTSvk
9j9WPZbL/vlLpph3C10bUdzjbwo6otgLeG8yn+NKOWAn1jZMFeAon2+ry65D2gjiHnxVGWmVqxZw
yuT5IR4W8JytoBDrgWZ4W9B+OL2RxEUSSo2+TsrgmoynzqsxbwqVrAKTPGWgj8XYlr9G716gjvsP
zkSgK5ugmOH3Bcq+yypi4jkwDBEQG9jNdC85YATIsTumOiAgO5iLwAfuf72rTO6o+BnpKEus9KXE
AFIGMZRRuIte2Hn/4fatik7HWdC66LpCkUqQuoNfi8j3tBRBhu46W1Cv/HN/fKMjqjCUUqFRDjCJ
8UjO7QGcnZ58FjXj/+VxXeVwhlHCpliaFDAbv496/S+e4CqLC4jATgZOpfViNr7XXn9rgm/fIF6l
cRGRnAA1TCMdReBAfPPQYEjU1ZA+ltiozWrvtkL8yzO7SuNMYrvKakt6Fn8tR5DE2gqWfTBiVzkj
OEWPs9MckXCJC5/7duQqlrONSFXCJuk0dFUmFKWm0gYcvF+v7wWnY1/mWVa30UbOLlbZ3JjDiDYm
I1NSQFNSvpMQPMcP6QFbhgLbKHhcBmcb47IeBrOF6q/tH+H8June/cfTcHYCuHitki4AHf0xSRq7
BgDz2WKM2FmKvhBnKgD+keirDMXQMjYvqNpWEYH67TWdE0M2LOSnpgZ7+2uUXBZ1kww9PlCcaV7S
nwyFiBwJey/PdGAjgtMBKZYjTFQv1AcPJsoKhtMB30Z5ZK3ewn0B+wr7e7fkcWqQLFPRKWiYMjS2
9lP2oDjTw3KPONzCMx5ckzr1W9CkuUQ0uLqr7JuDcuph6oMZkYktxFjSeymUNEdSVvB2WyV4wuVD
R8entJ1dmaBWSwdXxxpoGtM/XqOkm1/B6c2K/V1CCRzocOrvaPGx9GM/umOjCrL+oQ/M4215u2oK
IlhgNytEsfjwEWVa0tMe4jTjobO+gS1Sz1dBjMy+2PMvepXB2UhZQ9lwzUzTpwXOgUE6Jfozbx+q
zEmq1b19nn1nY5i6AVIHRj7HObY1q9GbbS90DmCDxAC36RV336mCIldUWlf2lfUqjXNtfdo2a2PC
DsezBOSneAKm3vIlUprTSLKgBJ93U5FjhWhhNhtXTVYbu5p3Oc0fq8kiIOQsHTlt3ib6orjGknll
Md9VFgYprNQbUulNu0rhsUeQ71ahMthWJOId2v/+1wNw3hL84TVqd7CJlXRnmoUdYaiqC01H8FV2
nfLmq3AqkKFRhze9Wdt+eSzPnulzbbueiDOJ6ItVBG8Uo3E1vW91sMhiUKs27xQ05rLusU8+3T7b
rtvaHI2zj/MYdnOh4WiVAThlDKPhu96WsN8b24jgTCKYjqpiMkF/ZcY2oxeg3wimNTtXNWGEU+8F
Qw77tvB6iZwtLOKyUKUMvpgt4WpegU300FUe84cZmZ54ykGkHpzR6ysUrtsZd/j7GESCF8sPAlih
AT5KRtgwAjVtzXrMTHk6WFrXThWYPfajbygiPwWQ02YO1S4PfcnSwK5L/yeR2V+JaquVctQj7T3o
MBZbkjVBTLAf21/VhR8FoEtMZC2EujxHINKEi2sC9ed7/1KP1ayEOZCMYjIFJPLd023tFwngTIdK
JWxeJEhkU/VOKT60ROSeRM+Lb+mPc0XBcQ7GiVcvw+1ORG6+EGczynSZStCh40yS0ni5QnK7XADs
XSQPzUjARx+h1W48SkWMpkOmvY31WQOVtvVBkmvAqrXp38rQToDsrdg+ygxHkiixneWgJpeiTMSX
sT+jtvm5nP0xDbU1jAXWQCe2HILbxzzPhwXLePipCTaJiq/5Fwvo04IHJPLlfIe+NupG78N/zMLv
LmPtRyk/TR7fiKepOZN8MNEr6If5UyeDpBMoiOCd1GWAzGm09NGp/fifdJvvzFcz5tZUs0aTfGw7
e4jDv6VVhCUveD9893FeKpBsq/h4eTw9SVl37tUxuH2M/eXOq4LwVHmkq0YFhH5lkFf2grD4GN9Z
d/Mn0Ft/qc7Jg+mX76yHzicnEK4b74sAxIbB5Fp/jLrd3LERdTFd0z7Y1eY3cZEN2CqHdGGjQWwi
Sa0fNbCxSU5mHFgdKovcxQ4d+Yv69ALR7E/fsPx8K7sblZ5KA5qh3CL2i8nS9pceNoflgh5FSrAY
2wD6B3wBQeHFj92ftZ8+prI9otzHMrU6qE/zhwqQJ7ljCEGeBfEC5Qxa1YOhc2Je9UetNnPWoDi2
9qvXJjeH5czRKvW5MimI8Ij8UJkfZMNLVJEPFcTFlAuA9KWQiVpEBSr6E+IDF5F7goIi2ukMiqST
HiPn9dOlm7NxkVCmrnoIFoYfdbnviPfsGsXQHYL4hG/QdEOk5cUKtzf67bH0GdNnc1QO3eG2cRDY
Hx4BC1s/pYUNZjYD9C5eUjvS/1uAwHdg2ikPtQj/w55GaI994uuRIojABUEjnyWPSh2WpEAvC/ve
prNoyTeta9+asgwiy1LU+hSonsUFPCUdtIyyAmaxdhl4Fnq/A191XKm6yL/u2ilT01TdQiNO5uGf
qrTqBkyBI3ZL3y3MSt4Be96rxncMt3E5isuWu/e4Eci9qlgLSaVL2M0CV/qHpCmdzlzOk1SeaF+/
u612+1HdRhb3kppwIpOhsMzWG90+ezL9JmgPk99lTxHsoXjpY/e7/RRIZBb0bTrW4ALUtXpowaIX
Lq6adQ5qFMGsCpeubn815LK/yikmwzQnFbb+O9QvWixO9kTgTxk78QtaOrvJ2eZczPZvztVTVZ2m
Ebb995MzwUcDg/mvssAlYepdf/Gc5REYzdhjYXvQduS8xJHsB7abo3FPre8BJGFpUejLJ1S3bXkA
o0nmaGDXuSDRoAt/IuVrBrU3Mpkaba5TA3hC3zBc37R4P2DePdfvSPOpzp/CZrLDvntU8z8FT0H0
BTnvHGag06gZPc0P7/zy6st+8rk5Huecx4JgyGBGK7VL58/DnJ5IJx2zjh5otzyCDMKp0zHIM/kB
GCTgdW1TgTfYj/tMk5rEIpiG47dBpiqkYL+5hCJs/1N7yj8h7XaBLA4QS7DgTb7mT6wnE3q3r3nf
uF0Fc7dMLV0Z5xhp91zHvm7cR5Zs98bkGdXi3Ja0nxhtzshdctFgi1iJLh8Us1PaHSI+cP+y8HIB
908gcuH78iglpkVVSnSe4E8t5BwYmWAk/dE5+a0O3q6Bs3RZJybVqSpzLyRMisySGOLH+mhOZ4pJ
g9ylR2C1zw61L/TGQhhlkUju20XLXCYJQxb7vsgKpED7B/9deRIPfe+/ks0RuQ+YROZgYKD2NS+S
3RafjKDjLpsW4xc3+W+X01EeFJWNUYxPkXbuxz8b/RUhnqoAnNWQdQv/cVY7KpZFoYxQRjJ6D6Ps
a6kJNH7vEFsJnKFe9F7H3Gsn+WoWP+qDeqxSxQsjIoiI9mLVrRhO84a5lqa4xV1hTMqZ5tFJW4H1
33U5WxGcppWknBSzhof7Dy5HdCxO20oNixVTbGK0GiBFYNCuUiFKD/sTvJZtj8VFdgkI+FKyQgXi
yGMJN1Ew/cHSJctJ12NUOX+x0b3c6xXhEpBINBfoKdaqLnVkSf5QrY7c9YtDQjl2EqN9rMHStySD
7t+2v3uZ0/WwBh/pZTFmnZu0qZBtRwdy6BFVEk85CIc0nmfVFuYwVAXwVApRKZ+hGWNfTFI6A58u
GTE/k+XAWOpOqmG6GTpN0VAcrTI7EQu76bViOQYxCbgzwve3T7sTlAH5EEt4FpEBLqzxzJmAeAvH
bFEj7I+E4My9fFZGjbW4xogsWHILASj68y/6i0DCRdKJaVQqptmjwFp0u6s1uzTeL9WHur0bO0Gi
//xpMFRHBApsBRe8oNyLX42iNanVV0FpPYVxb2MIVGBTnpsuS9V0oshU11TtGTmu0bSqVI9RHBTx
cTHXo0LeZkUlsMA7K3i/SOHbGlkjKZICDkDUK4g/1WfNmw+JU9DAup8RFsjJBeiiOhTCJPJ5cPmr
ZPbvm3hWtWqrSsPpu+T5SOzwuD40x/V+OliiU4pkcamIZE3WWA5QDAZL3r4pffb0hqNxfkELjBni
Xy3ar+finForLyklKirxWoDhcad8NHsb8AhOvfwzy0YPCYqIkiHwEAJ94Vca+7GW+lmCvsjhZNcW
ttDyP63WEjjUPb3XdCozymZCyLMYK5W0ET67CtCXGpQG0OeiXQaRBM7RybFlJZkpRUG2Pqno/cui
3WjmUp5/oOsROK+moi1ezxIETKGKVog2+s2Y+npSrthQXhPbqIbHes5EQBJ7xml7c5yna4dGyrGK
yazh5I1fGeE79APkMygu6yC+YYwX6eJIR3K8bYcvwzy3Dsw5ulSnkyItVRPAkDjZ29ghBwRD2Mf+
rAfmg/I+8qjbudL97JXedEgdmOvWmR+VyK56gVHb9QmbW+BNtFIuhjy2Cnv1o0tcsEdkjE/JxXj+
X5mbB+G324e//MEbh79E1BszE8cyyiopDs+uG0js9+2FJaMOOoHz2dVbg+gEuaMG6knu3Rttm5Zh
ifcHQjRbKZ7SRCBg94FvBLAfsDnJ1NVtksYwLAoAb83qFOneqgaC62K/8tl1bYSwH7ERAk5LU1Yz
CGG4/P378Ssj8KJfe88ABJn7mmIyrOVGHvfawesjJ3MC/yNJozdPlVtogx0b0jmPPzXFo0H/quO/
BGcUXSRnAEIjVuM8LJpg9CePuLmrpGcLOri44bm/l95X5/gkvRcI3YvJmGLoiqZSE+zt3MXKZWSt
FqwO20upMNLn0ePyFWt9QFOcVvFeikge5/Jqc8WI31I2F/RGdkhNsjNndsxTH0QuZtRvn2//Tq/H
47Tf7CS9mSlC26ZMbEk7REXk0FSEdrj/xlBLwP0p2K3jLJlMV6sdTWhnrSl2XH5tRQzs+8f4KYA3
T2Vbh9EwwjylAxAOSwA26XehvjqvuayrFE4X8jWOGy2FLsTmdJKV6UnW9HdSpgkMhuC2LtWZzVsG
VW9r1kkcB6SZ3TU+TKYk+Oo7BR5L1WUFg/lEl61nq0GdhvEHXcfzZYt5KEqOh+ovtvjUd3YfpAFQ
B27f3K7/0EGOpajIb1SwCPz6jPK6xIzRCnwivF3lpKM4x4DZlsgbUMZWM2BFiPZJ9lRCNwjRLVPG
GCwf6RezmldW2SVBLq3YZqZONiJzQW9fcLK9uHErh7OEeQGEG9peTrZ49WcpgYmonP681LZmN0dr
9b43Hybhyv1edLyVzN0p4EPTUu0Qmcw+msCH6NQuKJkRR7uTjnHvCs65L43KSJ6wZoLi4K9fsK/0
3JoBkAiVwUxK7c+H0GdjqkWNjydKhfc/3lWY8quw0CDDGFc4WqT9oVYfVe2k9yLehD2XqRtXGZzp
S0MaZthZY29gahzFawLqNjjeJaKbg/g0aCIvLbpD9vI3LzudyiVZc5nlM5PHcqf5vDw2R3qeDqLo
8XnNAi/cJBoW0BU8O349vJqUOpk1fC7JvM/K1jFDQBdpI3jOP8I/x9FjSwRma/+No2hs6rpmKSqP
ZReXEWDvV2RrzKik8Rs0S13y0LkrGA0eMzdyLUHqtG/GqA6ocB1L8Ca/79sW6hpl5J/YvChOtV8A
lazFqEmQL+50EGGuCgVyetmqspwoLXtytDmbURZM1ei2UuPL5nKfRqNrWIXTz8Vpiugdfrar1XMl
sji7WrQ5Nae4bBhCMxbcM8tIrlrUnsRa9C/f9HrDnMZ2qKb0sK8RYq7Fw4h8c/mmP2tBkbAWtPvy
KSiyMEVtWDK/tBoPcp+kBsUNL+ERz1Ht/RRk9gJjxr4THy7rVyl8pa0xaq1c+7SBqgI1M8JgutMC
PZMtG6dZgIkZ77bAPZe+lccZzzrHJiDJrShY8vOqJE5mRQIJuwmTjr0QqmqmbGr8Jh7JRpr388Wl
R4chGA/WfXxg1L2NqCqzazgRHoDYU0NOyC+h5CZoEqlqRhdENOz8fc8F2e7TC3PBXYXfCORcLDpG
SblQlJy+Kzy6NQdmNl+k8Lv6t5HFOdV8nkwUMWCiGdAhFD53UQUy7mYHjhVpPhsCEpU/RSL5CsOU
qzVo41A5IctfWmGCAq8MqlkV2eddpd8cjYvCO6m1LG3A02J13flr54zn5evsKP4lkxHFX/u28iqO
h9aX5KmMV+zYoGreH9fm1KCYJr9jTcumAbkZEJBvv7Gd3Ty4PAt9V11D64vwbam+qMGajjr9pUbB
9DJ1zRBClXd6YPjLYf4ca7Yuiov2XoMBDBaLqJaCPU7uaWfTFA/AcQe+ceZDP6IzMMmw1t/b7fKI
CY32BduAe9ZkK5LzQvJqtqqqtUlQW8V5NuibUko+3L7MPZ1Edw/E4sBdAcQQpyu6CiDCJIJOlsCR
y4pz35l2Px9vC9k/x08hvIYAoyqTsCuDcGj5Zk2o7uaimEQkgfs47WAW65hig6uX5fOYkS/SoAvi
SGVXBmwua4WibcMnGrk5ymCJhsUYyuG9rBtuv1QYAgBFiDa7dB6O0ooNtjx9zPLszbgqXqQo90pF
PqVU/ajJ8/saM2xR3jyMeuioXX3uVusIYPAzHRff7PKztcaCLshOP9pSDR21YCSBSJAubn8TiOYR
hp8X7Zci/vJoBS8p4u/lR1Ah7JuhuIZ8kzOockHmHgPJUbBGq12hc7UerWYBOdKn28rE/g7v0jEJ
ZYG5C+0dg/d/XV4XUteis1OYxoPajHczaCNtddTehUtb2xbKHIJAbPeNYDePUBOfHhf5azQ/zFMz
hbStAiX6I4v/zorUMePXFGgAIfVTCOf7xp5UPQLMCivoX6ewBSztYI/l29t3d4FkfnZ5VEPLyjQ0
VeVN59ipaltpsNVWknxQEvWvVa0Ow/+Rdl3LkePY8osYQQ/yFXRVpZKXutX9wmhL7z2//iY0u9ss
iFvYmfs0E9EROgXwOByTOZUHtY9fkawEI7iJci0+RKqV0EoeflWa/FPp55sBwGH5pCVP+WAsIJfQ
HT0eT6GWOJEkeVG5nEO7eTamxM8T82EcgHfWGp45TKcqH6jcFi95lXltCNy0sFwBhraoBwL6DccK
25ICMqF2SN48anFxq8jJQxtOXxS5csokv8kb1bOy7DyYhmvnVeJUPXg6I/vnGK9PaVgfotYaHKJL
r/qAbTzkmp4c1qI33V5UNS2wxaFzC+3m/b9exqSKVRTs2OQwizojhrDf6Vb0Qxj9AwxvWO5GHOf7
NbPqlAWk40GL5GRpv/WAEUxG0dAhSzk+6sOfQ3FPDHUuGrXAhHkwVNMh6Qsvq1fyYISAuSMkarxm
6I85SZZ/ZFF/xDJXu3FLMybK8zWDK63y5tzP47Fo29AJMSLoXlf4XZ+9uUXOdCNbz1JVRomN2MQB
16oBgobrEnYGPy4/FGe4agdAUGDxRYFyP/tx4TA2sdBNHC125LfFZUUhUcolOhXnaoG21TZ6mMfB
mum3eix/Co1UxEQqPBeXrdYKioeZCdVYbSAn6YDRnL+Xn4F2DrxzUM675S9T0IITHYvLRdK4JAsp
0bvsul+Yw6DF/PP6t9oNHX+0gW+mj7pRVFlcN0FoJaemyFx5Sg/AWHWVrPwK5IXcuS5vZ2bxQjf4
VcEmDUsZQHOss9cex5Kmrm44QM8L8s8JqrAsWSU/W3dZ3b8PumBrRFZlNG80DUUTzrDtaKjTvoOK
tEQ5dmF1mPLm9frp9j4XsiFkRO+YMPy8clO0TbGCEioAomNURjoFzKNoRU0kg/eCdTvJ/QL7taTl
JlnrIG9FDAJ70Z0gJsimYSkKahGXvmhoy7KwCiAoq/FzUb+EqV/MT//kpv4jgtc7rbWjuGFPh0Ej
zhyRX3o/i1gtdl9Fm3PwukamSUdHI4tRcwyD8ef44P+p4cgA70eFgIjqcuxu+PCxlcl9nhFE2v1i
w6DYdAq6xWApKe5YTaJxR0922yA7tncM1MF2RZWW3TrIVjan4XGH/XzwpcRBVGqf26guj0ve33ST
dZBIe8pDxW3MDoPfmnZqDWGPclcxFTQ6UJ+zLJjBpdY0qbmq6tSwwlL50j50QT+fdWQDf/Gjg44w
ATqIcGGc3eeH+95I5WJNKBVlPjKp6dHwOweMZaE7fGGTz22gho7ozbuX0pONOC7ORIpS9HqyVEE7
Njdl91JomFwJq5tliel1C9k1wo0kLtjEtmH1cMpxYHfDaSDhi9Tmh7Ig3nUxu2XO7Yk4Y0exRZOU
DBfYefGL4iKm9dSsqQKgysq3Ipp+/Qcz1vDEf47GtyzNXqu0KYLIyXnnzQO4CBq9DDquciOkWe7/
74j8QAXp5myw+/cjYlzTbZz5M7kDODN2LcpH2y0+X5cnMIT36tAmldOaZdWUbK2CuSuBAh1TaxCk
BXtRe3uBnKEbZED5f4Jji6LbpE+otj4obXSjdqvbGrXo+vZ13maNRPRNketfGrZsxjH6HgicrLkR
SwFoB1Faep8Aem/g3MhfdWxTHUXFwd17xKA1KuKGrGFpi5M7VvFipXhedArxe+TfdiFszu66jz8y
eFWsrMpcwwnVgHa23kYjecJ75oA+7r09SB7yhbOSyCDuKR5aa/kyE8PNknD1/4G+bH4DV6mJ4yQ3
IzZ02pJ7vBbpuIjAW3a/4EYCF5TsubCWakBDWFnIt1afM1da7IccjIVuu+bB9ePsRkBNhX/SbAvJ
EBcHlGpcpq5Dhiej2Y0ocAAiny+mEd7Vjo0Yduatlcm9sSxs2FQeMzrYr2X7ev0cu5e2EcC5epAp
DtiDXNCOMaZjQrQg6rWDPVlfalkWXJnoLJyvn/pe6vCWxtYeqPP69QZrRYIK+G402RyGsyVziNW2
TNA4U+yOhpblkIY4q1E9Xb+z3ScSzOPfH58Hx17SLMwsFScZfeZqczc8mq7kAdXd0X3A2d7aLwKJ
zPt8SACgaRoSe+C38c35OLWVfFVRJVLa4W6oc8yHr167zM5Qy4/h9CxbHbUsjTZddiIIbF1Wgvs9
Plz/GbvKYmBRGpshmPSwOKWXw6Ye7BnVImu+HbuzqgF/f6Z2Jho13Q/XBvrbuqorMuE7zaO+GHMY
wfWzTkbXOmwwGK6Y2ZiUACFnOGiileBdg96IZNq7sTSMucltb0wYlCruQE7naNhmjRfypEKyOh7V
SnPbQfsHF2oZKGbiq2Kany/LraORTbEJhQVb7AQsZv3ZTqJf45qDdhrspte/3p51ACcYeauGHuKH
AY9VjaTSZhHb6BqsIBMnVFVqlX+fQdsGVNcfMZwbXpZyjIGLz+adgRyhKKgFtrSO/j4IPzYXFDxC
0Z9k2sjFE2PGGrox421VgyEqS2i/CCs87E9wRgcwYURmUJkj2ecfuhUZ8nm1sK4xYv6mOa0HjIqz
Iar2hDnEzr3+dXboS7C0jaeaoWNGFZrPGVdBIrRpWqsOdGu8zY3Zm8c+CMfeSQfDG4vkuCp2UDTG
qR5CJ1anm3mpj+WQnHUJUCpk+Y3chtbJ4OuG9qmrVCpXpUckNFNHUzSisGMsqCKD+sCGzmpYuLg0
Fn21STSXqLVGy1d9/RYr5zA6NuDhaLUgxCZsLJzC2gke2MTUwISARVA4Qu52xsyK2j6NdMDfNp+s
U4weXPXKiD+eCXp/5aP0IEyod7ImS7HQcEQbhZU7uENmxG4kfe11v/HUkwLi0TClOeDDVYDtSg+m
IKjsHBA99b/mXAj50GWqlThJgElg+OFoaLQqCwdQ8MIx752cGgnL+/KRCr/KO1ZzbMI50kcD6E7z
cVTXU0Ek2ZlHPOzGZbaBr5bVtCTGm5rUnm1Pr1MVf9eTaHKyIUXKGGH6Jq69KlN+zmOlCmxgr27G
tmqwi4W9xo82sKoFOnDWbAB8e/A0X3lZHkcXnONOnPrhkTWXFzddDligEknecY4XkrlEa64r0hTl
avjlmbzh9fTYOOEXPNdOJg3p+g0g1RlVBQ+cvTziQiiXfJVdXLaVAaEsicQ6c+isujOgigxKW91n
FHRIYtP072dJFr48NqRMbIBZ/ORYqFZl1mQLJCbnJD0107NlClK9nURhK4JPkPQ8rBRNxncs6t9l
rlA7BzHRFFI9ElWidr/bn8PwNLIqeEDjdpaBCgRwBjNLakedUyCzagb2FqvhNjVq1QUXyO28jCPt
s+mgYdpo1paI9haIfVJtcVDOFJxf3cnXLi6AC4JhvypKusoGEOod/VR46b36mp2aysl+wWnFnyZX
dWtnORS+LIP7i4ZPpVeDmUq4x/khhiFjBK46Fg7xyVkL69JTg2J3DbF1Z77jT6c/GP0OGyEF9Oir
sOLx4VswWTYKqqaG+YwP6WGx6jmQoXMLDhPtvcD6zYZIbQ+M2L8rABuq/2QImBPJmS263Jm6VIAO
StPXvh7v7RT0yHLpX4/N7GVykQhwUjg7lVfMT+hlG/pweRaQO4l8VIburUuxXFjPw/26alhUTeXj
dbEfS52cXO7FFNmmtaITxz6edcKzzGs91oNpMcEtkPQh1nGSuJeTKhdykS34dPnZPGnuerCBq4AM
nzK6NCHHwQfrgDQV/XSGEaqqH9L7KB6HTikKyw9vFX8EGkDhzE+shvreX7oVOfeP1sjkocRvqQpb
CeXT7Mo0gEtj4XSsFEcSGs1undD8IT4C9+lGAWkNJrnPa4D9ncp+VUDJY7vzQ/v3KdPZ78DkDooU
bDDZ5LQ1NkmpRY2G8JYeZP3RItOnNsrfrn/LD4kEE4LleeQt8Gsfsta0k+ANUh0h3sDyXOUOhelc
l/Cx5cCJ4Lzb2hMjXtaYsZWvg2M9gr+QIU7NN8mtebYU0J9hCoSKoac+hBVOLufMzFkv+6plR4tv
izU5StIns/iphKKeiugK2b9v3oKlmaBCpSrw3kbqj/VCS2B+X7/DfRFYltDA3AIPzRtclhtdvuIo
fTxi11yagl6d/vZS6Pt9/UcI338CI/AoF0D/8Enf0Gl5bO1apArM9fGuEZtT/z4H330yY7ABNICy
8lt0n1TUqGbQhGJ1nZIgeTDQLraP6SOjKBNFm4/bk9zhOCWMlSlNm5UwPMD2XL5Un2YXnXc0YDzr
S/ssefDRJ/kcsR/hp6/Io2h+BzylX6Jx2feX5rUr4LQyXRJVmnt2y0A08a1AcVNwpRaUEaaOVLud
T/0n+1QcdR+csa4FHmjhOsWuNhnox2JA2EAE5l5H6axENtZnDV+PS6etYtrFkeBL74sAw49iAdcZ
Y4OXNiFpTd+GLWxejwEdv9gVBbbdy3Wj+DhSyr4pxhFRYdIJCk3co76vs2xJ2sgETHH8UH5JTuXn
HOsaw0v1jI65e13avgZtpHEaZOlprNVYkPPbH/k5uwMqKJ0P6rH83Mq0vWHcTcm5/z061bHxkaNh
v+Fn71uP1Xfhtj+T9EGFNr+Eu1yiJTVYLEMArhzqI7Kmm/AwuCz/x+qtYwm+pLKXzmxvmX3qjXuL
mwhV5QhJk0oc63Z0y5f6IX1r71NfclpPRWQExOSCPm7q2a4IoPzjo4f7xpyuZqYZxSVgnvzwVT8B
SfQ+9jNHCZQTa4ylXuSLupm7mru5XC7qShpY+LLZNnwzfOgUg/Z5LnDmH+uV3Jm4BDFLUkPLJYhg
CQbj1TB6dGh7UOQMZ82rUd4TSNxLtbefkMsMVdC1oVYC1SWA0MEDi8iHcPlx3T4+vsa5U3Exymj0
zBywDIBT1Wcp9zVg2jsRltJnJ00c/c14HD02LejLNyLv/hH/4lL2O0DqRkcHac7B4AZUNYOaQV84
NrQSkOW2g9WUs1rRCblpBhBUkXEILpYvK7baWqkpRkb8tvySy7ajLa9dKnBzIhmc35k6jG5ZkwQq
vO4WY954Orz1zeBd/3oi7/aeFG9vsJqGoVFCw5cal2VnVTDS/HcMGJ/EKxoanY1H4zR/Sw9tYLuG
27uKHzo14rUkeqMz73XFu70PWG9+SVmEqzx00KMO78I0cQtgmdQeiVHMMZzCL3+JPLtQe9gX2EgE
Dtki6Qv8KUMzMFBG6Y4ZxvNiX3e1k/27KZwS6IAvkpBA4r9IBjAMYqSCEinnCQq9KJVEe7eZycue
UpC0YxN2DZKjRbFgQvOTfk6Eu7AfWevezeWPWM4fVE1UaKYOsaNfHiOczZuf+2f0qx3mhJKfxslA
PpZ7ak8jX2Qz70NlHz/wH+mco5DyrojSAWG78cpzcddWlPHKKAcdTzvkhPgZ3uBHDe1pfNcdwWnp
vVcD2MYgMFdMf8Ra1nIAlrEv1L19W/vPT+MRuWtSWBmACZkfGd3kMAHc/LY+mI1rvw6uBd9V3pp3
o5C8dzegE0V9L2Qij+ECeoZR6lRVgWHbuvM70RLQe4IcSbHmgWjpeN3Ud3PwjTAungPhLDOyEsLs
cnRGzI/n4yHHireOCWLNWA7Xpe2//jbiOOOystkoVRWumTzXGEeKMSEaPhBn8GV/QVkLBi18we8n
DRuZXAxvVR0kIDKAPfOz/aZG72uKmRP2UCWWJvW/8spRRARCu8/NjVDOlpMEU25NAaOafyRP4wOo
xoEWhMpAARBui7L0iGD/LqWzRJPvgkveVyCkQQQ9UAzuc5nwWjbdGrEYAe6Wv7y3etRue29y4xsx
ju+ulYBv6t/S+IgkZW09FTZ4kTvNG/KbGA/TSXu9fqb96/wjhLOJbsizXEmgN6YJhlkr84fVulFN
7FS1xuN1UfsPic2BOJOIDUXSJ7QpUVkPg+kuBXDd4CcPoNCg4rHsfe+7kcZbxLw0jVYgG4uP6VHx
TWe9QYz7roFVQUeypIDhKvcyt9UpgHQcwVF309uNcM40lmYYpbiCprCFRhPBPfYXCa52cGuq0uI+
fZ2/XBcp0hbOLua6z8gS4bj4cDRZR6Dv34Qi1hPRsbiIZg/KUBcKjlXKQJJQdIrmk+DqRCK4sLXI
BaysRtjS9dqZVINahYhwnP3KD5Hxz8fh95AzPc9Wjel89oncY1vspJwNvCxRFseTpzjWaC1ZN/I7
ltv1b7RbOwb+x79NmodpX0Mri5YQ96cH+QPcyLH8jY1ajOSKJs7/i2/+I4lzHhEo1tpifpc0ux01
OszNJc4CRrkYnTr7YZ2osIIs+HR8RReIPXKpyJDJgOPYBI4UUeW7BSMHKOUpKenwWfSMVHddMvBU
WN+MbQJyGhnnTa5bOb7lciqP4PjCIMoXOaf9CzkwUreRtt7kV8cMQfe3FQOzqw3QbRIEpd1Yv/kR
nM7W1dqoSocfMeeY7ESbtOiOS2h5Sw+cpFEgbL9w/kca/wprO/QKmxJht3exq4jOwNv6Fv8cjxaw
ytwcxOugfEOZLX+KEydB6FcBzMDSOFFCv/u5N7+Di4ZaodmVoTMzKtwon2lXdQJfsPuEZ5A5gM/D
NInB08XE8AFy2aEn0Xnkh+YTn/VAyG11xHOTxicRAMreiTbi+LzUJvqImt2C3DdJsVQs09AWTVyK
jsTnEG0XFWFR91hUvWe7AayxrBSUgLjlnXT9lwhLa/9MSJgAQKgzGM7LV1fVRrI2zanp18mrXn0z
dEFU/8jOh1eOxogAMQbCeiicBRZSigkBuzaBe64/Ynv/zfY1POXA6z5S6Vd2xlyc7WAQ5Sy7KuI8
Olen7ka+IcfpRuiB9gxx+1s4Q6y0eMrzEb05PJwXX0I1Anw05jE5jsDpZHOAo9c8GGhoCYu9u659
I5rnFNb0QmtaSQNF+UnzWY+19mRfc/4HnHBmV3z42kri7a6XqzCd0Dh7w0P6PARFcB5R0gKh9uF6
uNpVnT9f1uRiCDgra7kheKY1KgYXsd/QKd+vS9h9mW/PwmnngkBs1REsjrGo6SAhHYDj9DXGxl68
OkDRu4m96bOOfhkVCBZoisnOvilGROGyLo3emn74dfit+dohdMsDiFMMD52B37Jf4knYfyFH0ZbO
u3e+9vW4tFQZFrCtmzO2zU5Ng2BFbqR71WHY8pnTvE3uijGxdyLl6Ll7FvNn7Cbh2xvnMtNCkcdh
LmXTT4/FHWsPNi4JQiSlMmrpojxYdMvs3ze33JZqmQK1MPRrfabl8GtawRGQBVnVuutcCKLFvrri
ZWbLKKuAb+VSWJEClDTPCqQCSevE1k3VilqQHzf4333dHxHc5UnTrEtjCuctn6wTyN7RW+29+NDd
/w8UvbtmjklKIAYAEhqrTZfHieUCbTyymr5qdicjZGN1kdQc1BCcHUb6u5eq16lECwvglirp/BW7
2ddtZPc+iQ50JRvAHgo/lmaNVWHFrEEvGdl9lVVYKbSD6yL2L9QGsRuAmzG7zaeMshFpmE0tiJ8D
rsT+zpDMF4Y1/B0sHQL12I28Oqb40H23MW1ncybf9GaSTYNKkExMXnc3v3S35EkL4gOm+Blv+f9b
IPcFE1LPq9xA4DwXBzPF0OfyFCsdnfVPoyU7YXar9U+zclOqL3mEfnYiyBR3e0rsajFgQYDXw2/J
r5gzi2NlhUWg4jp8Y6zSkre+FCfQjB4N9D3j0/y1z6gYqXS3TbEVzcUOzOa0KlkWlqROGBqMnf6s
4YWVoTYUUsPJ7wyHTbGI7vwjLggsdCuXCyirWSv1uKABDV7w0yKP4D+2pj7+UWAmjSZJ4y6z/hyr
65dlWBMwIxluF6n3ZVR+KapK9vTCzmmkRV7eVM+qPX4ianoaJ8xOaF2RPJZzJh0SW1ojzKpEeCKO
wjGOvcfp9gCclqalBEwHDXVDhilrfUoeh9vmlgGsjajPtg6me531Fi/j76Luzp656xZG0rBthRli
HnyGlJWUZQW+mEp6bKiiTkqb9JvA3tln56PfRggPPkPmyIytDiYhY0eHLecnt51vYOGPsZyL0nlm
X7wwA6PCCAUYT/4AFTKpppTURIa37iqsDgT1NDitLpoXZRrFSzExIa5ZGN7UP/TgTVAKLMMC8G1W
zNYZanKDkqROsxc4FXe4EVbPZYFATkPmpm3I3OMO6/k5Lg1XC08apqDb8KEGezUor2kjAZ17yUQ5
0959bk/K+TNlsUGZhht4t+nwU/yT5Z49zY4LYgO+YJlRW/gR1T2D2ErlYi5QbKQpMXC/9qF3Zzz7
HPBc3mD1sD9Wj+N3VlxYfA012OWsH6w3k6pHRj4JqAe/+Bz5sSBk7ZkJOOcIhiltiyGd4utsUpqp
6PuuTpXQjw1k+JHsmFYiiFTvVsCr1FYGd+QkspZsWeED8qMVGKBjccj31F0wvtnddcEI/GXMHHrr
a+zp9//Cf7hVKaOgrMGjAyTZk+itv+vPsYAJuCVdN1WLH+mNajIWEav85UfzN9rOGNhj3cv684CJ
xOlc/bQXmh/074kramTtvREwu6riZcnmBD/s46hSq7VDUqfYpZ8Hp3yR7hVXfVUOJvhNh8KpRvSd
DThG0Zl3klfANdgGgKhRWSIal7yy+Z2x1+c0qKbmXrHBwmEox3U0gzGSj4Dx9a77RvZRuY9uMlAA
A6Ha/AiklqRhO2JNAOKM6rZK45E2enk/AMG2U0X7rXs1JMBrE1PGvWKsn+fvQrLY66mNzMCa47dF
MgGg04fFSZnG2htkQtEO98BujaaVcVotU/ISMhNqKHLhjJEyn+K2u7fq+AT8ou9JZQYdYJ/V0JTu
6lzy9SG916bazcfcvX5HO8Z38bM5w0DQkhqlaqHhtfocV/U3sDsJkMVEIrivnoWmrNe2FAel9cOq
XtREUKffS0MvzsDVS7BukhndCrVi0EXjAz4xWuA97T2AjT+pN2Le952YeyGQK4pkpAlts00Am+oQ
ymD9y2c2BmOg7Vnci4D9d7X4j2Lx041FlMmq1EBYOzdUI8eSnBTAT82GaKNtzzoNsGEpBB6JbSFd
+uG1ltsm0eKMFVtpt4y0ayfPah8rXfG68PG63u2V082tNKY1G69vZfa41NLK7nD12Q4Ma5+PTgLf
47aUwQoZommiPUXciuQCjT5OSFuyMA1kjEXH8jd5ikQBfU8ztiI4c5pUebQK0vx1qvahLql5JJis
mwPpQRePD+1kSheXyJmWnORJLS9dGqiPg8c4nQqnvhlPDIw89QCZKni/7n80DLQDad0GOC+/xY/B
yGouijzHRxtdBCz1NXXxAMEnk0d8M/Ug5vFkH4V34sYfkfxSf9qVllzlOcYKivuxvFmk3FtD4yjQ
xj0j20rhKoCY0gcfPdN9lnKmX5K72dU9rCHf5XT+DTfi9K+SK0p8REdjyrQxgbJfpMqMSygLeJyG
jqb5kSgiqxZ9M75c3VWp1cxVmv8L5hbVwPiUvf7IwWtWn2Dh6S/hRMGuWm6+GWfbrQFStTAsmBUA
VvovCFP5Sw41CcFvcyOecd25SVAF6iamkWw8td5zrc1NLvGkNos0AEm0N6ha1a5R2E5uiZZX98Uw
+iTVRMLGF5CSMF5YQgc05/CUFA85Hvrl4F5XxR0nRWwbexPIy8BMwn+uocrU2mr7JFhUzZOSg1nq
3nUJe4V1iLDRwMBqK3YnOGVvTfSA0PFKgEYTNSc7mqdTS+bWWePlPjYL5OHVSzckn+KpMmilxJMg
G99TyYsfwCl+MWTzWpVGghcrUk+4EW9FHUOnHf4XlHT/U+loJ7pdyOSiW0IA/SqvURokn/Lj4iWH
7CSnrvxzudeewhKxO/lZn6RjCZSX8u9X/S9Ec+ag1sC2SAA4GdRl7UnrvSbZAqXZq0thDwaPZWz/
QHt4zTTIGDblEKdAEmiPdU3lX6kFgDk66Kj/mXT2emdRPRgGQIAW8MuISGT3PunFD+AC31jkzQxG
YvAOfC2+rZh9LHDBGV5VQ4wqCzBKMOF9XY13XPaFRC726fYaQVlhjARLAGnqtcarFJt4qdf+dUF7
LzVUOFXUjbHyR2y+bIsXTdyVTF3RA3trvq3nHJwYOS3d1CfOBMIRxbHGoAMJvWhhba+3wWBXwHHO
Ri0/sPC1Y0nK3JySIDIX+wcJpSYA4iMifBrLB0Nrad+ruSOZk2tkQ5CsyjEpgsruDwRE7LJWvklI
Vs92o7lZq3zJxhTaQMwTYG4FRZsd17j9oXyWOgwh0FRVE4TvbRkM6NhFM1ZxRESnLLHmkoELKZzn
qvRuCOuZsVsEEaYRskALGDaY6Np3fPCFGM4/zYZaVa0C1ZLn21jDCggRsSvuKu+f78rn2soyp8my
gtZiwiZn01R3NVAk5noJ5LgR+IZ3aqdrl8a5nzkEaZdk6IhaAL7xo3lGdypWo1ulxwSrGeUFlfKo
xL5nczf1xWd9qN0sVzV44/Ak2fGPEZjWTrg2I7a1x1NCgI+vG6WDnpczDGgGJ92JRLblAliErSa/
dnrpafXk5G1OaGPiMbG2k79a2LdsMEOS2lTt1ENeNvelrj/FkemFslK5sZ7SOp2ebWnxwm7+fd2I
d2peF5+U6e82QwDBKioxQE0yfkSafZt0GIOaGqr3D0kMSt7p13Vx+/4QPTNW50C+wA9It8Ru+76R
oEJB8akEPCZrFJDX6EgeGXaOdScCDNyb28GuJaP2UsHbif9cnlAO1wTb6BZIgB/jowoHbNIVE0Pj
ofOt+9ULfcZ2EYK7/IRW8B3D5sydXvQU39XrzY/gLCcD0mRhA8Y9wIT9PeCxZzy0GIaFg+dB7kzA
UDyHWLaVgBYqCAd787oX5+cCfLEqZZEDCNMv33rXPLExEO0uPJwHV/Vz7Nv8FEFa72QUFmBTCOsF
YZ6GL+/bmPLU+wbDl4WM2nRnPGaS7WRFdBsBEFK0XMAujjfijTC+zF9VFmAfOwhLjyb4YeYDm3w0
TiplTA7CqY89a9lK43RJVbEeYmaQ1v/ov0wncODcoaOvASYXS8wBJrCxMz0g7IFoTThIsBdJtrI5
FcoXjGKkYP70ew0tdNLSGagKqdXS6xa65+O3Yjh1ARxTDKIbtkuoYmGE1G40fbouYUc/bICumgyX
XjE/YNQOwBdO0hXlR6u4Wae3AhExqSWqJDOVR9GQ505kvBDGOfm6aZMGaUr6Hhm7ANWifwbUpskX
Yjg3qo5NAsakAeuRSiClLd6SpXf91vbGKS5EMBez8dSgHV4xHpWgpqE2byFR7s1Q+SnF7X2mGE+h
nTN+v/hACtsN5xA4Lb16SyohXSrTcM7eLn4Fl12O0Wh0I1nTID8vHsYAaeyi+ICuSOaL2oR7seJC
Fle/rHNFXqoYyTt7mGCs9Hl2CToB7UF7nFzwkqGZLKh37Nj3hUSmTZs7RkUxl9EVhbYotdsUBKW+
Q5RUdFAPTR0hERFNB+0lsluJOmvBbSQWdrQumL1gD5QwwKNvpKBRYO4ELz90vAbXBFbiJwk37bA1
aiMVDtMKzJGPj/FopVHdZGmw6KtMTbzytGT8ZUuqMzTTsbVLQdl7ryx9cWTOkVmSpIf9aKaBcT99
6tDcYdTWJvh9MRr0v4CgCO+Yc2l9WWi1Ei54p7yZp442Tv95fZomNoE1+AyRlUGTaClVn+LXHnsz
t6IoteO6L07MOaG4W00pGuDxRgk1QWR/6ay7Y2cIQv2O674QwzmhAsUZK8rhIcY6QZpJwl+F0YoC
LrusKw5A59yQWVt1RnIDjZEjw7VVaHIaD1irOkoBGy+vBKVV0Zk4f6OAxKRr0HQOJvkrWb9bksgC
RerPOZlIS1Sj1FQIkNpj32fn1NaCMTbd0VRuVGMKrrtx0Xk4DzOCPXWQWrQYx+reLt8i8vv639+r
eGyVgMdeUmxDMWYT9RxWsWU9GKwbfDcOydckSM7lYfQWt3WWz9XqriIGb5Fl863bptdDGRCRcNgJ
TZ46rOwWv5gPY4nKO5SM6OMJbtPgXEnfyAs2tKY0yAyZNstbkb8KrpP9hSvqztc4lnwp12LsWf7Q
3CFrZ+A48fcZu6txiwAkGiTZG1O7+HzsxJt4AKIU2Z4kdLWWU30k2CACUDWtXjCO44he83svgwtZ
nL/Iakk1wxE9zslZsLYeO/UzNq0d854h8aQYKUEFxb9+n6IPxnmPqV+SWJmh/maqvq5TfrfEzd+v
uFycivMYWR9HST6NadBgWGSZelpKWoAynMDZ7g0LXMjhHEcfmiXwkiekfI/mqXTXm+wmOoU/E4fN
hICxOmhvyRfR1JnQxDj/oZRA5Ftt6EfjjdgtVdzkMTyvpxaTbnjxBKJWjCgH44fNU6PTjKaSoP+3
pkHTn+1D5iWR00kU9TVLpUNM48eJkp/X9UTglfl5wsYqshXDnHCTVtC3q0vsz/N8nOzPFhGizQp0
kh8+t8AU060rZJl99NmctXu1TQ7z1P2ulYoqpHLlJQZKG2iNWmk9NpgPGrX1MBfa7aJJb9fPzfT/
irsxuVRFyfEnU4KWvTEaVBpvZCxzJ91bZIs4BUSHZv++8TPrUCiZNMNKlvDzYGMiO5q860dhmvjh
KGBmBj4oA8jmB26TMe6lNquy/7y8tEDBTpTQi+1e2UYOdxIJdOCxTGSUDNFUi7+ABXrtHBJR7IS8
Akk3ctRDBJy2xwILU6K1IeYhr52R86ASqS0JC0kpUE8Xd2iOmjY7mei9vB8TNifknGZn9mvSaIhB
y2l28VAGn4x5ZOwP4kWM3QfQRhTnPFMpUdY+1yBqyKhe/ajL0rMxzGgXd6lVUWOQBW50X6Atg2DN
wMoQXywiZlkDTxsCsyZ+WxOJokF3F2WRt6ozlhVq7ZdSxCL82n0vijW+f0nlq0ZtGK+TPteoBryx
+YAuYORAIGV4H1S2ntSIyk/XrWE/2G5EcqUjw7C6QZlRAWRqylq/ZXX8a/sEQ4QWxsKlY244U/W3
qXBZZWIjl0uR0G/QtZVU+KK1EwaaGz2qX6RfhUo1j/WbhZXOXZNA3Q/A3aqJVUlOg0y1XMOyR/6p
B6NK2W5mikkIvBDSu6l4hzRipMJ/m0OKnXIjlQvGJXB8a5Jg/UMpNEerQpfI/+QhspHABd6o7/S8
6RfktoPl9Fj4QNgQ2ML1q8NY5qVPlsBgv5AIT6u5qChJ7tcxp0PtXVfE3cj6n3MQHtV6juSlBXtH
GhRpdK4V/WuvzedRz9+UUX4GBrXgTPuP7408Tv+KfJLbZFCToFtoGCgP8mM9Qi0ap7qtQaLqAdQ6
AHCaVz5lIR0DMdyk6Fa5kBraepWPJcoNfYEwl2FyuHqokRpev9Z9+96ckwtDZA61uRzgyP7N99LW
6OsA6oYdLqmpeVC/55knwo3ef+9t5LLjbwI5mIUHOzdQJFN+FKgJY93JzWRUyxial07lzhs6V9Xw
XvnfSuKi2+ViUxZJs1mVyCOUOXbWYaJJU2Js1XKvX69IDOdVRiWZzMlGaaMPQTGqvsrG77ESlDbY
F/oQzDc3yfkQybIKLPPgOaSCJW58kVJRY0QkgHMhhYQE07RRaiDY2Faa56gSDcnsp+t/zsBPhQHS
QCfTiDk7/ZZtPZR+6OrJHWBhPODGOtJE28lJPv8fade1HLeuLb+IVYwg+co4SVmyLb2wZNlmzplf
fxvyOR4aoge+Pi/bu8rlWgNwobGwQvflb8NBlPfwZeWBylQZtZ4AUYTptlQfF/XFDO/U5QvYDziH
bNsLNEMHNqIUz/YSQ9eulMMA4ZaaByexJrtaza+ydORNM23MPeA2OdthnLrTlr6I+iTxzVp0BVAT
Tfuw2UvLaTbeBtVvzNIqFa7ewGYgu7LK+HhQUlL0BskMGiHgFAM7dBfEBpgnPgQPo1O4467VLfJ0
+fPxNpVx+5H2ZQoDvLIN3Lxb7KkAl0Lz47KR7erFanGM7zeNohvTBHjsDwSDBuip30s+HTSi4zjc
Oh1nK9muC7E3R0UDweN/wdgqIuSXbTrc1J7ATUsZqWnnDVreL6+Ts5ksH2pHyH/QOB6fdPFrG7wS
+fWyiW0U+eWcOnOharWmTYVKKwZR5cwKCDK1O44FngnmygzDXk3B048UCtwiEztHaJbaSg31HkMb
P6IKbCJpcRcRw1a19FpVwytR7Yilqsu+jLTbdgAH6jwhwy1+GtB3ZOtmem0YRWKNZnOK6uFz1E7o
qlMFG91Fd20dYjBSOVRyHqEFQvDSARRH6IDu1OINjRY3elufNEG7CSb1FILCq88BaXnuhqJ0SAbh
ORjjp0kdr0Xk5y7vxObnNEwkZfEfCUv+/XLNpDQlk9HS53ixX6A1qOTdc6nHzv9mhn6PFYLqWkgK
hT4jzT4CQwuJ/CFojlnWjf/jeuh6V4bGeG7Cpa4BoBPZBWprjVPu1FPAMbN92lf7xgDoMOrCZAzY
NzqTCS5cBcWs6fDOUpBCkJJ33jdvoJU5BjlVMJ1FEuJ/X5x3Y4vnFGmsWnwouhPmcDlrk3k+weCl
oTf50uXYw8ZJrxX0umWllT3m9/BH13SN/eJr1xBFtRUXbQjQwoxe6Iw/n6pyOwEJLgz0xBK8ilnW
3zA1GtyBeC5kp/gVk/zv5dhlt2Bc6S2PwB9LqY/1fxgWwKvubJX5tMTI2mDu0dDW1yj7CtNTrAqc
DC4PvZnjMAamoEUKqrBEfJnryY5QP6jy2Barf2h2WF/0OnMeEmmYlqlE9BqDxENWb8OZN9q11VT8
mwlmv/ooNAeTvn9+kvjT1jxaKatsbrlc3oxfzxcDcwp6iE2K4NbHGMch+qYieoht7U70kL88htwu
081TcL7PdeYUzEljqgHRkbcJMrxXzUObP4pL5F4Gxj+8qs5rYsKGGITQkyhhTWbqdaFT7HUvdmPV
ar5CUXe2SI+DVkFcxOOlFf/wbv1lmWXoiUdprJQQMaBwXDxaHCmvsr3sF/t4V/tAGsy+OnhFQh3V
y9DMxqObogv7+BgBi44MLiACTZzfkdoca6GZBPQNS0Nz6Mm1Oe/66NQ06CtMMNCPGaBo5LG5b1/7
Z5vMueslyJZkspH4Sq1ZofilmhcOeP7hNJxNMAeumkmux42ICzUsCqsMoiNqa/dCVt+IrX6X6/qu
r2VHy4xdsiRvl51J3uxdwVTnf/eUOYpprWA+X0CAPbwtNyo0nZDjTI/SCfpCjm5rvghyxe5T+Gz6
dP6dzw77B586/wDmhMbKIEiNiHu+c9QD9akmhekOEzRomB7c/HZAj3/qtK1Ndi3oJrmkBdt3xmoL
mGOLhixTqQd08A5QbKbJuRRx3Uv5HQrKTvFK9TfKAfIKfHlanm8xBxlUCWaKFlvsvTdAX9SmxWHj
GfKMdvxMyZwRJO4vf+7ttPl5rWxrTdXJQgJI/PkIyL7lbrCn93L+rfN5aKFuw+GvL8s20bRhNQhE
wOjIz1KqcSgP+U7yZDeBdCGmmJzqNOyhKYWpsMbN/Ty3ENaCzLq4LtFwWoGjAgEC6NY7fzwGmBhD
rhZj7p2d3na2HXs80QL6mS+gi0qvklUcOBdd0UQJ0GXORi9D+1h8G5nVfhgXqyiAqVLKAXLO52cD
6VYd2ibRcfR6s/o+dyjICGbwePmDb40aU5EXXTVMMD9gNOH3VWEAoJDNAj422l1pGS+NV36tQFm3
QBkCIwn30GK+z3DW8KDWnSR3grca6M31u83NXf0MZnPNpZyguYSfQfmuVfCT9U/NzXTU0eMk2c0B
ZRtIQAS2ecuNNTa9cGWZuTRUrZGipUauH7n3UwP+z9fMMxzVGtx23xzavRj9BaZsB9/nXWduDVUL
5ErowMqmRCY6glQBoaeQv4xCX3pLtQRuoOLFfflTb+e5Vitl7hF5EYWlqlBNwSDWpyK4oTWcHAOX
ZXLqXvvH7orf/MvbXOb2KMVSzwoROQWxAu1vJ9hjUVmxInmXl7Z58a9WxtwRrVBDQTMo6Dfs9sVN
t5MO4Czjj8jSn/sBAsBzAHIJWf6oQENGOUVrLLJ2yDb1tvqj/aGX7z3pZL9o1tzbAxrUPxEv9ZaE
AwZbg0M4qL9ss+mZuIuySlwQ1eWzJUPqL3kOwQr+GIG9NnAGu6jt4UdW+qXH76LeLv2tbDMgMdcj
GcSaFlm87LHbZ970tdvle9kp7mrvL27cbbc5r5VBg7LrRXT8IXNN+7HC3UKn+sKD6hSfwBcKvuzm
StjzukQ20fb8Hmb5JFq5r4WyxWBW2SZWQPaV/OWyk/IMMGGEDE6YcjAxOkMiu5dBct/yujK2t+1X
5kVh4gXMXUIvOqc1b7SFD+njVKKHTOM8NP8AI7+ssCFCHqMFYhzhDI1jZrbipQdyK91TznyIMu0m
n0/VxVkXGyjMk1KWsobLQQpeE8xXlsFVMos8eKRO9fFwn9fFOJ0+jFKQpcCqBM+VBi06D+GVmVKG
Wged2jdh7V/2h+3QepUVYFBrFpSW9Dn6ujpvbCzFCr+ONu1OqhFhlyj/UsvjY3uaDpNL+bj45C2b
G7v6BYxLDoZahVr/7jC5o+OZRhlxNU7v8qbfr4wwXikYZoj5LLx6o/YuKFK3C3kNctups7MJtoKD
WUth7BNC3wi6NWE8CA/5FJHi8Gm65rOncRbE1m4gO5sXOs2c6ZB50QRrGBvnsmts3jOr9TCu2Kjt
3GcDIj+90E7xku5LbbAxRbAHLnK8kOMC79C/imprs5ibIkAnu9QadlZ2dmjulai0Ly+I+4Xonq7M
dGg4RTOORNtxJM/0hh2o59BV+7N5nZcH4H0guuaVMVEFm2HV46ocISJEkts0+SekXX0gJq5BTxtY
EGSUPbNJ+ipqSLCY03UXE05cs421KzsMRBj9ME5mRJ8ATfycy3Dt1siuQR3wVVEjFfqw417Tf2hT
dN1UEKcVhhslhRiVZBiVlaQjV1J6EyNXv4cBjDRoUsWYEWhFkjM4piVeUcmvUHKgY7H/J42Fdd70
XURg9SFVmIJ6IbymFHcTeifr5pAI3y67Jt3CD7B/XtJ7/mFloymJ0RYd6jYKwL6boF9cPZXjVzUI
/NZIOB+U45nvV8LKGFhDMzQfYEFN8oRCCR6OnHzNZiS8Wg2DHPoo9WmpIULVb7q9tGuOGhoIswPv
7c7bNObR1BmzhBkDpAl6KXTKMXUWxPYtpA3kOLUw8cODj+19A08SdD0UBPqMvVQCCYjSGPR5qL1N
0BWvkQOK7eAR3RqYo0INjPci3S5ZmGeT9CetPhVIJbRJN3FtGS90ZqN70D+ryPXs0ITjk70oWZBE
Q3ck9IloAFy9mc9lYSkETfvzjtvhvo3S5x/DIFrZl3MmZrioW3cpoVSUug163B/1eyRGHqmqF+gZ
cyvlap9vu9PZLoNzyD3VpCiVGDERVVRJX+p7HTsQec2x+NEcFf8dwicLBPbONHGuJt5HZ8CvBbmA
0dC59mT5XA+iH2jq7vLZ51lg4CzpMS43tLgo1DF1K013CU9n6A8X33kHmegHfAuEyDFiV4x3hPei
q+yQXHhM94o93vBDk+1X4tlr2Qx8KpFIrrIQ57+zIfK5n/atDbLzY+V2yGdoEJaWUdwQHF4hhTrC
RxT9tcwPNDCTkEQhnVGQSihQotjbhgEm+r81fedc/mbyNvacTTEQZyp6rja0ZEOWq9GlSvehK12r
t8Fz/9TtY+smdGM/2BkPz++dEsX37I4M1uTzryfeL2FQSdcyIUSNHZUwjWqtFHY0xlZtvJjGYM3i
w+V1b5cBVp+WAaQOQ/lpKgJzKV+FtjPAm0/xR9wl/xSwnzeYARtlbI0iMwYM+Sepo4qQPjC//49r
YXClqceonyPgmaC1lpE2lmyCX8b8CkFfq+53KRQAwk9SyRt92k7lr/aQgRStmA0xok0a4+FldPuX
BSRniy+8TIfBpXzLif2t4hW/OSBjMCATJ90ckRQYGsWY/lVaN+GSylBHu3T6GJBRk1oxsxm3fvdW
7MG3Z0+fTTQywhv/Uo18Ow785SKsRk/Tg8S9DvHgGu2fAkrDUb6lKYBoJ+4UXg8gD0RZYZ5+MhJU
JqIU15Bh2M1tAhKIFB1e6pdYsfjUopzb1mQQJlyMIhApRw/NpcSD4dXicKu3C6d3kueN7LTHUsZD
Q0qVJgCyfXlNINEWuqlf7DqIU1A9DkjZ+jx6Ot7iGBiJpaBvIwUsQJqQWVV3rZff82LPOd88/2Ag
RBMqbRoCYHR2qvamV151VoaR7JDOW3EZJjh3j8mAST31JRhocedp4yg789KqNonFvSzWb32Estnl
tW2HRKAsNEANR0AF+3tcWHb5QvoUT6BRgxanYZw0/FmKMRiyaqdsDPS47xMeYG4v8WyU8ci468J0
XNDdoZHgoRKnXdulR9JQw+3N5fVtlwDRG/PfBTK32jRD+1GBHidizcmJj/UTXMU3vO4q83m0W394
355tMc5ozmgf6wiiowY9T5ITHmN3+Ky71ScQTu0eCp838rBFbIMX5dkg45hFN/XLUOX0Ek0WaM8J
pkXLICZy6OjitAWosTuCL1zpP0CH9RTgBP5r1u38Gxh/ldsFvOczHjMLedKX1gITv2Wix/7yd9w+
52crzFWXLHquBAQRWZKcUkwiFT8GgwNgPK9kbjYQ0TelNgIjjaK0VYzPRyBBxXPaGozRubya7Uv0
vBrmhuu7IZQJJZmI+oMg6xbU+zj79YfQ+ZcJdgh8GMs0Lge8zfHWye3x0Lu05VYP6FzcCHqjEK5R
70unwVord+allHhngR0EL80xRP8WmkcTKIRKkRVCiRYdn7NV7t/VGDz1iktWvx04nNfM4Mpcx5MZ
lgsGTXDWCRg0CJVBpCR0spW99DseMwEHPD9Ohi+BIoe4F0YV95t4Jy2fKnN01U6zpUV1dKG1+jTi
+M4fwofzKhmUmSbSDBrUZX0qFS+7MbgEJV+HVAN9N3NjTI6ragzECJBwEPMS+EmurvpPYH69Mh5D
UJVa2oHqmhMXh+Ty4eDtKgMocTSHGag1U78a6j3Ig3ZxMeJ6j78QPb6ThNjS0mqy8jzkjHdxjwyD
Mbkgl1pYY2OhdYchS8qbIFxDzLD6mqJwnw+Yl6t8iGmOdv718pI56MbKmoVmNup9ggHWoWwf1So/
FL20G8WRdxlu2dGpgpqqm5IGVkzmtg+EUgKB308u33gXu9MxvhNLtB7NiNByJ3rB3Nw/kYKbK7Ns
QSNQR0MRQwT06stsz65+jArrDeOALdSX+X2Jmx2Da3NMTBPordZqBdLMg2mpMyZWrWrf+1Kx76y8
t2UvVKzihc6Z8TL1nO19P7mrJFux1JHZRnhBg1nYStRXUldWbnqXfWXz/K+Xx0Q0ZpZLYd0BWSGn
64CKxRnF0JeD+6ZdLC38Jkv3whC683Jqkr3Oy2JtRvlr6wz6GKbRKSq03BHjNCc6ZdbtI8h7gnCy
cSc3zGza4s2n+9y6nNdmGRiSaiklGPnBjRmWP4jY7ZagccpQvE+66e7yBm/hz9oUgz+hgAbFtgAM
0PYLCardNOkscrOgmwXTtR0GbhRzUfROAbKCOxWyvcqxhXRqaeUhBOOFa8zRUYoRlJRewAzdxDbN
jZDE5vWBbaLe+mcwYU9fzSoq6++XZrgjAPTi9JOSUXVGb7ozHhYX/a3feUobvF1moEgCAVQbmzik
NP9DWdn+jhuAY4ath+gQsFFrw/xpRjmiE++EXpodbxcViilszmK1i2wpRBBrqD9VeEeVYf91lOXG
EurhLhPkfVWolqJBb6+p7HKE2BFovj718uiaWpl40xx73WQQa07MU7QoN4beOVGmHXMZzYCDamvd
ZOs9gomg/hGY6edECJ4yZUBTh9oeqwBMuzXYHDHZffkQ8FDm/emxwrKYCKTINcQ2P0WlafPccje4
yY6SY2ZfONa2ooz19jGYJjR6U4ZmTTNo4EI3DGvSJXcaZ6vqQSgs4FS0t4qa2GIHweQJ1J3TdToM
tiwt7uVfQr390ndk4K2SkygaJhpcxRBKLd/y+GowHkh1Xc6pLQ7S/rK5zX7g9cIZXBvVhRAiAE4T
xS5O5RGzrfknxTM+EdRD/QEKZuoX/a7LoDrhSTZV1uV1CnGQ9V1ydfWhJXFJI7nGsyfM2mMwtrcj
qgfZIjpVEPFecTxbDOTlKbDVGPCKm+bPGD7HGO9r0YRWOfNKu7xjz4CaqNV6W0JOzY+G2kJWI5pe
FkgnicJBqF/n5kSm75c/JM+BGTgLmyYT2wk4A+E/KwIpchLNnLiYs3ksY0W1zHmsGABqDSP6Xfca
iY4YHeueR1jOs8OET1oo5EpIs10DdkmrBU+TF8j2VYIzSiZnTdS9Lxw3Rf49IB3nZsyEAte6nI52
m3yLApxxXedY2XyMrk4ZO0ohFZDKaEScMuGYfoJiN3TTUHGtvi4+fRxmi8W/3je7DNc2GSRJiImB
9RwXHKVpMg7obDyESBxG15Qosz/yjjHHARUGSMQEQfYcI6UAXg5Lmm6yhtMpxzNA3WaFE13fmWYY
IqFgCq9C+Dxx+RO2/Y6AuV4nmqKwvNDKokIZUZ9AkCz2uwnPaitXysexzm9jkzcI8oevczbGAIQ2
KnWbqxme7rpNI5CmR9RFi/BJuhOd5YpfzNy+Wc4WGYQQ4mGRZ0re2nVDa6XyfAveea9vpE94k0HB
vcmtrk158/J/eAz9MsuWUKcl6qe4wUJplGmIO0osGmEGoZpByCL40Yy0QeabhXcZD7l2GRSZA32W
zAn1vWQvPXROs88Pofs2vtEe+Mn9G4n4TR4MXTwvlQETM5ZbM4rQydY3lvSGN9/d+N3MrcWXwLZt
Ly7l+CwdzPLjFuWFs9un42ybCWDyDEw475P7IhpI8RVNXorgHQo/QuXZAoMnwlDLDeTG0XMWYjy/
0/HUGiCX3XchyrMZ6SwxLW/HbPS7UNsldezFFWjO0+JBGkHVlpTdTuliUCZEz3lVe9Gs7TshflPy
4rVv6scmEkDTo5U2ki37uoBicxLfBJWyqxbIHfZKYaEn7L4xl1eit5wgaPuyPq+Mga6lQDsd6OIB
XX7gV+imk3zZU3e8Lp/tkBacRArRFVPS3yd4VgjWxy3GQxQ8zxvQ5lH+peErLeSYfgYeJF5ufnNR
K2MMXEIJT4Kk8rv/U0EV2sQvucmBx863eYGuzDARVd9LvUIaUAEUqWgPBnEU0PPxKXzo0fngfCsz
DFxKQTG1cQPngx4Okn9PyhuV1QJnPa5RA0VLyY57x3A6d3GrO1JYoGZufHPPm/LmfkIGRGtzqKO6
pZkk3/zSQ51ShZad4HfgquTPlHP2lk2hm4ER9HMPSY1iGd+KWHMmtbwaq56Tb+CZYZBS0JoknKUJ
8ZYxW+DKlzX8MRFODLR5u56/IMuTSkQxbtUFzt+VAaKQ1nxSSuFES9F2VYecJW3edStjDBpmkN8m
aMXGSZPRnqMbblBiSgDTJWJtWD3SuCWX0I23PgYexVyEbJ6KcSDS9bam41gnxG6mVxkyzJevNt73
on+/ghGSyeE8xyi6CdFwKszwZMzJdVbInL6V7RBltYkMgkg5fnqExly/CZ3JC3dR9i6prco2JEPc
qsJoPxcieWtj4CSM+7AXRkIhMnwV7fY6PrZ++11wKYVVeYv+hM7nNVvxnIXBlgai4aGYo6ME7fRO
KIW2qT4P6XXV3TZoLePqy2xHJqt9ZTCkmxatSqhzahbxVZqQVu3aJ4llFLaOxjLF1tAH+cLbW7p1
FyCUpVHNwSg0FgH6/8QaSejihwgScEUjjqA9ZyGvhsJzHsKAiip3WiHHiNaFGSewkJxlqhFk4sPG
85d2KUprCPXTZNanRFEf4rl/zpv4k9CoHNjhOBTLrFqUfd0uHcAtSHZyJVsBUuJKz9MM4rgQy5ka
jGkhdgtt+0+kx6ZtrsKoup7CEu1XxbTL6tQLhYjH1bcdb54diTCQ04pCN7b0MjKD5TlKjatCLG77
CaNdoXAfZJgNJBmGbuLuS9Jl1/HU2qUsHnNdfOyS2gWPr1+NgZ0a6U2kRQ+XQYp3U7JEWUHXk041
UUVTUOxFGju9Eh8mUB9FuwSKLzx6++0X9movGLAyeo0kkYQuu9E2byRPdaOb1G4dHWrrtDAZetzC
JM+zGKhKiimek/49QZle6w+Bj+3EmBPVHXMKgybO7b+YHeRcM4QBq7wbFCStcY2iAfZL/tpBvCi3
m53xSNvFkMI7dNf/1sGlrzaXQawC4mdillPpID3aoxSCHovpIRN+cFyG+usFhGJnMkd0muQ6ZX7t
HNHOvtX3gf9TdH32hHTXYQi95+EUZztZsqx8qshYTTpinyg6lioKWHJiTap62we8lOD26hD7U9Up
RN9MTNLUi6pFKTJ0McpmevS5Gb5e3j+eAQYOFGluBKFBzhG99lZeJDjtvA72bZ8/r4H+/Sr0KJK5
IzXNwRAlvW4TAQnUwCnjnBN68FbCHGZxESfNrHFDxkNumWBQLkfv8l69z7p89LXzSpjTK0UtRFUC
PI9KMntTL6PLhuR+P5JnOS7vsgC4FZrP2Zge8h5VY630oMq+qzLlYSyNgzZkh64vjySBMLI8XKvd
uOP8QOoOH36gIhqQvoXus8n2PWhLluVd2afo+VPeKOGL+qxcFfM7QTBlzZ14baGbR2FlkNl0vZHB
kIfJEL/RkitFjw9iKztGgHdWWPiXF7dJkwDl91+LY3Zf7aRUnQJEA1RyBlQoHp6orvxEm2agNX0N
rvNipwG6E1c+9TfVlfF13PESlts31OpHMFAa5UquZSDooOPneI4XTnTT7KgWC771Z15pnre7DIRK
yQDd3SzE5yyVu0CLHajTxZYhNK/DZA6coGd7adLZu5mlDWMXVNDUhjCAj45+K3UTx3Q7+E6G8hlX
epr+9g+uurLGrC0hZTO3LVBhxkbKyGtkN93xca6twAn3zXH0ol11Fzs9hATveFHtZn8lAPW/sMoW
WKO66Zd2yUA3ejeBZCM+KPcEk0SGFx24c0M0aL2wULbISiqFzCl9w6Ld8Rv5/pPftjyBG2x44g3S
0U90yZaMv19BbSjrERj54DDgOCxsaP7ezEZY7OckFq201r9PVXRVlSqvB4kDve8nd2U26shihnT2
d7R1iBRGNjopBRvTUW+0g1rYV1x5nT88Fc5fkLm3yGCaYO/FxSjswmtIHFDJYYy/eU3u9Kfums/X
z1sjc4uZYhTVQobKSJ+R77mQPiQV4fRy8k4gW9Vs8yiWIExLc4qgbIRiS4F0N+0DFP+CfJC3IAZO
27lUtaSHsULOntH/etILrjD09tWPKNAAbQaobZgHXaCBFsRoEGB3XrGXHPSlCDvjOQZnFFWNjF7m
wFbRrupevik2x3R06WyWPQYtSIFMWp9+5yJBbnb0RgdEwtwswDaInQ0x4dkoduhqjBHOz+UC8gAT
I78EgvbNLPXoiiHX0QhWIkiD70xltjmL3MaVs23mBFTSPELkHldvOWPIZMoaq+yDt0JNTyXGJpAr
gzRss2vMBg06SvttigYORT/v4zInYtKyQRtlREOt8pxMn6T+fpoeLy+St79MeJG1WpWHPYBFTrtd
NNxKOfi2lsnKaiSWvgxh+j0b95dN/uFuOO8rcy6IJnRxUOJcgI3phBgKyWKqFAhGmRvuPbQZr60c
lblyS1Po9MDE4wVNf4FfeMI9cbS71kMNxO3Q6yf9C0P0+mQwt26lBKkRiXDYZJ/fV17uL369D478
NDTny7HTSZrejWobqj/LI1QqD/qSPp/AbDNCOm8gO5UUCMNc1jPW03VX6jLsNL206548KAJPj5Zn
icGUvOyjsemB/1ritU1mBwWmThD+8UiGtmH5l/uxA0lhUQZCQ3u/ZFF15u7FILwBeM65NRngKAb9
P83RavWpqPYlkog5+afH2HkVLDYgTU+GEKWXJRPxUiJ+UZEd56DSg/gh2JGh0aMSggKqyvhyMsYp
Gr2RySqS5ms/hyfVAOlq0ha7MkXiHp1mSiJ/JpFqqxkUfFsMrjXdYy4KsQMdw2u5DyNL0xVXL2Ye
//IH7wetmKhJoHuXCe4+lqcub1WzQe1C90CGGVl1ND+jZeSTYibfymk6yFJ3GMzBhr6zw9mTD5cC
Y5i5kMhikKBsFASyklPtf1JDSINT7o3dP2R4GGOMIy3LIM5KVca+MS2nLKstU8xtonSce2Z7MzWE
6zKEtz/0f4edCNJWJSmAWfGOtraOAGP0tPuX9+7DwXtfzS8zbL+3EbadGk+T4ZGhAY/CvsfMyf9m
gYmG1KUuElmG2O4Yq/u28w2J90b+GBYzi2BQCh2J0FwyRcMLf2R7yIW/SYiKB1vRafgD9iIedR9v
0xh/g0BpZAhLpHvj+NT1D6ZpcPbswyFnFsT4WN51IvrwQ92TEVvpo/agoJWT4JVIdLuWVU5Q9QEa
GWsMbKUFyCbmRDW8JnkZm1elQyNGzJu4+zgAx1hhopoO12IbGNi0ZRSuMDdySNQquaqm2s2F0m2C
1qnl3IlD8dipjdvI8qlq+10+pUdzjHaTXr2aZnKbl8u+CYhdAOwWI39N8sZPFV6bw8c3Cf2xOmXa
k0TFMNiRKE1JNALVWxwLzOVhHKtFUQRFc8UHH2QEQkieR23vzsog48KphAl+vW9jX7npQS1A6+W1
/a7/vofU1QBKLnTs28aXBoOB405SrH7Hy7tsugGGTQwDIA6FK8YNQnMxogVccV6eRo/6ZN6affYo
xfXDZTz48FqnW2vIRFZFWVNMdhIrnesuG/LJ9HRD1D2SCeiYFcYp8KKxDjHjJh+GWlLvNVXnKZ5u
nqqVZeZUpdOsilEAy6bWPqiDedPVyJeFgS/Xo9XmvCSzvAkTBhE1jH2assLmQJY8E+MiqiiZ+Ag2
WTQG3+ufhevQzV3jUHjJA3l+UzFkZ3wZ7usIVXBruBKgH3qj7y9v+fYPMVVTM5FKJAYTMwhjlMWF
kAqeGFaHEKK8vcojDtt0HpMgNWHKoq6+k9qskiEgoq6yps/RgSrELhkg5zclNkFe4vJKPjZhU+9Z
2WFQRBoNQRSnsfBLUNShq0U7ogXVPCYJtHMo8RryBifULSM38asn/A/4HNzLP2FrpZL+7rkSRmjY
zYwFoleTDLQk5IuYfTWWzwj4LpvYRANZNHUNOns6KsvMB2vlvNPGMi7eO/rTY3ktUR3s44B6mXZd
PEDCObQ0n3jyUXgUd2VnJS8L79FEL7HfAk3stCyBIwbBhyZCQoDJqpWtkk9Sh6DqRFOVOiI3zCor
V70TWKKMChMPAz+8NahBWRQJSNQNA41fvxscO7PLhHwwvXEqrCASrqeye1K12BJ7XqS6GTHI6PNT
QOxENHjU77aUvgXVaoaIEbJfHlEeda/2K7Af9OmT8lfDmduL+2WQjbOUROgD1cBuVp1pzfNj2qte
YUyWWvEeCPSm+PDdFFHRRSgmojWXouDqJKKbXtWEQDdQ3h1dAZQciRPsQ9/0CzfiCpptIYu8MsY+
5QUzl9UMwTCykh7uDluvuNXjTUdUIJMFCi56NTF+IZq9orSybnrzXedghA0L6nbqA80WIJvm8tzw
YyqE+uHKHl3zagMzI586HQff6w/FXjstR3KiXNDS1T+0olJTqkjg7zLuXTZTGGULaGgSxfSq+fsY
vIhcvNz8PlB3lDBFqmELGT+PI3OJOjysvRLkbFaR9DdZkfBGVT8IcL2v4pcRtvluKIRMyrMUSnJz
5RrptTzd6HgayaLTzYUjx06BsTiBcABq6zaXVQqRVGmLvA/LrT6T1Cj5sgSJ7rVQ/7X0PnptleJH
HKj3XbFgiF3POK/7bdBYWWScPRv62jB6nGHpodhP3yQrcqC/jfFmDPxRugZuC+VWqLReIvP1irxD
0iIAySNlI6Z8U1GFzFzojkjSoU1awHvfoRP6NRL/dtp7l2+hj40i79/11w6z9SJhruR6qYjpNeAM
Q1/sXp7QkY6XlSVQKQBDvH1v0/7MMbsJYOdtZsOmZBr0SdWKAr0N79qrVvgCnERFrnCbKx4pDceL
2Nm5cS7zdsHh8Qa0cna9OyeZtTSyK9eCE6K4enltW7GDjNSNjMYGBPts7FuqahQ2M07KKH0R6szS
pKsl4IlFby5pZYTBr0DVy1jQJNOT3swRwidDYffQK0A6nnMCqft9uGk03dCgaCThtcS87AtMbvdZ
POlelVW7WfATgoFAVbLC6mYcczA6eKqhc3ZwE9BWNqnzrE59osemOvVj5retOABfQIhBssW5/Jk+
llKo56+sMFcOVKLnJYuk2F86zUmXLx2aK9rAdPL5Ne0re47vp+R7IwWcnM9mkEAgeILcnop8BXPe
S6EwJaoq60nkrQ33yWjai/AJDR6cTdx0w7MdNk0ddJoRmYoJ4bI4CzBKYHzOI3W0QBPGgZDNcF1e
WWJcpCIiJksmI0IWq9kTO3/Jd91jhRxNeghQZw/3ui9djY/TS/og73jdqrxlMr7SjiWJAuh4egTM
KcMSWCGAjGj/bxVB6iygacDLSjEwqkDP48olu67W4rhHYmMWxtNsFqcpVH1VHB8uO+Wm56/MMLdP
mVXV1NTIrkLw7yZdhMSpdBzvy0b+8MHOi2FcMDCnHLLo2LNBLO7jOPaKsX0CMX1tQYemt+Q+ehHQ
kWIl5mQHZLwHC4cVRflR0kcbT5bGCsfKEvX0eUyl+8EQXnJB8Zqp1zg/dPuoGHifwLvQ9sO8TlKy
KCSuIpzQ8FrqcBFiRFVNNDvJa/fylmyiHDlbor9k9XnFjERlreGpoEOpt+xGJwBvzITRY7eJwSmu
xjcYKILIdBbx4o2ttDb+6a81Mo4lKYpZJhOSUNGJBqLxYbnO9yHUhv5C+ICehQ9Ybhi6IauaRsA7
8vsqa6VZskajr9qfCS9pFwn2/yPhtfn9VvaYS0ovwBZdaET3MjW1Ai2wpa5GaiK2U42XedxM5snQ
zcCTDtCqskozIZLDvTRjbQPq0xY51IfIAy/nDP4L2inJfUBs4s7KHoM7eRsKuiAJpif7oyuKN8pJ
2gVgNOk9421RIBBSHEYurcHmhiIOxsUvKjJC4t8/oFAOxExL9f9Iu64luXFs+UWMIAmA5pWufFV7
Sf3C6JZatKABPb/+JnuNSmxGcXdvzETMwyiEAggcmycTkT7f9spewNzVYWVlq5Lxi7cSAobmlFwC
mzm7lWVXVWHJm2yDYUXXHyj1QMq8UVnnGQKaa6F8X/vCQ428t7Kgu6+N6un2g1xO0K5+wcwS1pxC
CFBUiKI+gTeVpWzpbupVF6tQh8WYn6BQqWoEs9oox/x9rBmc9JA0OUr99mCrEAgqN8aPDFz/tgGO
oWEr1jqhS5fnesGZucnVos+UCDFAI2cOYdUubU3bjFdHVpY+4/U6s8/Ygmu1lCpE2VOZYJqwCy/1
HixjXuCtUREveS7IuBmEqkhBtXmxRZZCX5PjAp4rBEY0x4PPwmEtWVpZZF5gCfPU5yboQ7w0fYPM
pmXoazJGX6GYcPToCKAghl2gSDU7sjGWYgVRJ/IhEOts5U55BVlhjKxIgANbig6ZLLdWrEntox7L
nUMLImytCiNPhJGtjV1iDWa1Ic24MyriqHr8MAQQL/e7UyknsW2myb2iY85Xyp3bL2bxTl398NmD
abgZjiYoxT0FI2RVM7jt8AaFN/v2KstvBeU08MijoiHPqxmC0EDl3DQ8c0v3CfoXuT3cfcpoWZPP
WrOzi1+cyLJC8Y9G57UNZkQyBTRW99ou/dmq7E4Oyfb2lhYPjhDKAEKH8/tSYxjCRFR5C6/YNXYU
Pg7kQyRrxcjp2sxdL7laZPZ1itIAZWnkhxsp6ZyRP9JaBrDJQp++Tuj/chOIhvIqDBdR5j2evGv6
ppz0jQLB9mASeWnzwpOBoF4JzxZ9LiwmnolpIJuZB8W94ZdQK0FRcCqidecJT6Qd+U7gJqyX7BZP
UFcQuoChH5i7mZE2MCKWl3iwXkT2Y3efZIVT1oPdIfMFymF3+04sXrurxWYGOlWHFDMdse9BSc1m
ze+wWhsdWHRw5GqJmaGpcBdHvUHg16UaaAnp1kRVIhAQfOkvheZUsWyluhdigJyaa/NZi1ceIqaG
Akk+ps4DQSUNZTVhuPJS8CyJp8SsLWXc3D7C5e/1Z43piK9Caj+qFJNnnQHt8GdKuEuDl0zZaYw7
FbpHt9da28/sbjBWJH2Q4m40mY8hrztff0/St9trLFu+q0Ob3QmmpNXYFTBF2XFqSpEtfw6edTAC
qR40It/JWifzK7Xb5IquFpzdkFiK5JLrOZqoLeotJsWUblO4xAdlQ0+OIcZmMFR2mAKzKM1tOeHv
mNJ5U6VPLXjEh8VedP1KHXj5Yfz5qjM7FhKZtmqEQ4j08U0q4w9V5SsXZ7Ekeb3vWZTb0jatK3Q5
vQnCrjgmtRNXcqfAuqzdiRuA7aQVnPfKtuaqY0qQxwmhg+HRpDvxVH/PwsS7fX8Ws+6rbdEpWLt6
EGpp5L2i4eg4KmgutBqc4hIhsUatdRvl3k9wjjm5UyAJz6G3Z8HixCd9BYe98lDm6K1RNoQZtnj4
aFp7MtJpKUq30bAGB5puwRdv9+fmzrVFQzXteVIiGevNPQRunYGgRKmC9QO8Dr2XSSsefO1p0pmt
iaI20/QB6bt2mtqYIzK+zzbmaPsWGFXW8WGrK84szjDKouUQ4/YgW7yR3zBKikRafWTQKTYO685v
2dVenejM+JQJl0ld48MNG7rn6olDstb4bFnl1Wmd3nHtnsxMj0Rimvt6xDdmJzl9mVuij62iStc+
3FJFghgAouBhmApISf9+E0MhKNRn0MdERULbgL9iguCYbuf9hxCcxX0BT2mYqMyjADLblxlS1igt
CTcM9LG0ji2ZPoRd/j8FyQYqEejqa4Y+TyibKtX5qKCn03rMy1SbgLQW1BgthPbGwG4/sk30ftu6
LIcTV0vOLkijV2iDBzjJtoSStXwCAMUGPNLcGNv/DR4ByhZodmq6jH9mhaQRDCconmMxXf8AS26Z
vGEe5/aGFr/U1RKzJy1HElWaEXlGq/zMk9aW8kNIVff2Ios2GVV4Bm8iI4SdbySuFS4bdQEXK0yn
i74XQWENQCb042AHkF5W2bcSIOJhwChX6Mmq2zLZqocXM0QRlDyZ/CWRE6vIQYyYrrjBJXwI+uB4
87ppEpS2Zm5Ql+QhC1ugxcoxs6C188t/mwbK0hjza5JbuMVk3WIQagNNpDq58dy74BFy/3sojAFw
KvJhhp4FYv3pQ125LabHENYbU74pZf2cIXWtDB1yBDFZwwB8/eJYiKHnTpFOIPmeLRTTvgppiGoh
V3aZaW7KKPRQaL/9xb96JiyioyGhTubmC+gGU+omawwBdlzNHVh7lIrIk9Oj3iBvjnQ7Blrj9oJf
I4u/FpxbuC7wCyFTgWCGGJZmBpY/PN5eYfHcdECIAVPC+c1tmih1GiRlI3lmamwj+VXpkm9ptFYh
/8quoE4bAZ8XBWyHfoEKGSCuiCVN5oAraXsBvtNTdAYMF+Ld/rF/oJfoaFwmftxhq/y4vcEF5/f3
0jPbBtRdz9BK4xv2aNxP7LSAhghXs0As4GYbsTYPseDcsR5QKDJsgqJ+sQoBRAe03G91T76fRnGV
g2STB4opSsWlh3WAyOKdvFpuZuqiFIWzHA0Crxsyq1RQGNC2/fi7JL1TxLXtrzazFu/k1YKzlyZD
9kwKDZxnKzX3tNKYVXbFf0tPOF0Xg5ioQyhMkefR7qiK3IgJHpqphjYUyV+Cvlq5+Mv3wtAB4wG2
xvwC8KpMaIvyMU42faf8HPMydM2OH4ueQWW5wn9BjcVE/q0qQORUMv8OEpofmq6sGOrP5ODvaHfa
6r9/xrwqybKoUERVovTZ6t0uTEB4JNrqWU4hdGqoxe+20XeMUTeFlIyd1oBYVH116EuIFPj9gLCx
And2U9Y7XSrekq43bKRAkhvWxeBQsMPbbSBN1cQPAgHVouwvtRbi1lNbCrJt02LAKsAc4iCDATIN
0XjIhr2SFJ6vNB7zuxwyr3lqJZL5EpT+JcwjpOLobq280a/4oL8PYZbdxF1IVJKA36RVe8VlLH/N
CsxNoKt6qJLgrPWYEWbkFPVl6Qbx2jTdQs44uQyNolJo6Ph3FpFkhtSHqYQRh6qwe28a1I16qIdy
u79vHGKHAypSawjOyezMvzsiB8xoAbKGWujMQTdKr8QoOGge6fNj1MlbEZR21HqAgq14rSks/bKS
hoEbdJ4pUFCTBbnywWGUGNkYcw6CGnZMBnk7lMBdxZHXKfoWUBBn5WNOp3VrvfnOuByKQmo4+gaK
x47Vc/8NuoIQw4S9fc5Da+0kFz8f+7PBOStm0LWyD6IJDhQ13ur4NJUSdZvv4gdzr4LjKoAI5u09
LnlNhukqitjGwKnObCATNBlD30A1R1Ytkms2LQtXVleKRktXBIVRlCs1DSnHvLZc5OPI/ApMGgAc
WgrGhIFy7Y27PFZWwoxFn3W90uyKiJSxmLTK5J47lBZi+GX1roTsEPXEht2tEWV//vL5Fbleb3ZF
eMikgecRAimn+q18jzGKZqee4ciP/qN/QUkM+svGVpzWrsqitUVWhZmN6dOxeVhchDLR5IZyLOxv
NHvcaj+oI7nBJvrMeUqneJGJZexKB37BNkHOxjfk3HnJXeqaO3oa9sZD/UM6Cic81Z6xGe+ko/6j
XaMPmfb/5Xz+/Mw5O3QKFd0AXtFAf/gftD0KxlHXydq+sqfBz14dxycR/pVpyBGoGC0nINHfnIyN
fMo3Vjw8hNwdJyZlhEdxu0vU7e3Hs2SPrhed0vqrRUkPlxYgefOGPAcbPrMGDMygWk0x916vrLX0
UBF14m8jjOnavFbdRppQtREBtD7cMZDA90XrymHp3d7RQt8PbYWrZWZBGAftI9j2VMOLSQzBorTo
vdKIKhsw/eSu0xNuyYLpdq8VrtpRYnUg/BM+bZ5yNYzQw00AMif0ReQk245Jv4ukBLxjIB3Kw9YD
TSawxULN4Mqzb5Foftz+9UsB3fWPnxmzfABdtwTAmTcU1T1yWleu1xKnpU9+vcQsBvcbXmilQMHL
EL9HcjILjKJmjiH7UK+SVj7GktXEgC2BPJtqgglzFksoPI6pAkfv1Wbw0TVA/Jht/ijJZuo1oVhr
+S4+IVCm6AA7yGSquP99mweJy2joovjbe8CvEW8q5gWbyt9HAByAuvgU7qVj3q/49EWfNyFEMSWl
I4Kd521GqA7GOCqaJ4VHkMIRyGm6+YY9sMKm5n5qqQ67dR70xed0terMT6itKVo0oYFbqRMUND4U
8ZH4xkoAsTAVhdd0tcrMO/gZlQNzQDgWJc17CO/uSGbOHEgbvAF4/x3VI0/xh6d4yPZZKG+lLv/V
q6adUPGRJvGOpvQOsPLA0nu/tRrf5G4BvEvkRy+GCUkbdD0dnxM7R0R5+yURc8lwX1++mW2rahl8
4KRDGUIHII6D0deNaMxdvcx9L47A59NI5yKXnERJcDFTubTyEPnwoJSx3bGodoq6tIVeyy6+sNP0
w740I+PESyh4Dzk8VTA+qmnrao32HdLju8jg37TaZ/bQBjsgf3ZtXXqsbF8MKm3anv+I9PAAOMzj
KITNUxTr1TR5Cuv8yIfmkIjgmx9pe9pkBxqxA41RStVRCLSlIjuXvrHTaOcOcvPcgR7HrbrQ1swU
RSPQVlsV5reiTsG5j9wqwuBnUVSuGkl3Wld9x7Dwa6ul+06XDqRlp3bQAQrXsmNUVS9dGDArSNvM
UuTuLquk1yDD9AkLPD/Pt7pMXeQlEDlUzGedxY99GwJX2Ipj25aHcOjOphZzqBgnL+PUAhllTMYB
Yj+C30f0sg2Yw55kgYty0/dCq/aZOdhxpmLa24x3Zth8y1r8YeF/T/zAG9Nxq0aV09LUiUifgi5U
fchzWVjtAOE53dw1WXAMY5jwuDaPbWEc0sywKpNmFiQprCbgH7VSnZsMyjBtq2xzIzmIPne0iDya
flvaBMyyjtwJTyskK0owrWRk6jbNQ2ZXQXsJm9DpQ+rpYWs6RReBsJswS7Q5iIK6Ktzr8WiXwK4c
yqo+t2o+vvQ+j7dRSUovy816g24C2SrYY94HXp62MW5UtB1p1Tpa3deWOgJzKSmZfjaMKrRIxj+U
1rhkdY0CYCv/GLP6MnYGc8chV2wfq/BKObAmxNuJ0k1c54FDlQTUbByHQy9NCUWTBmyMFCKtMueR
46sstHlMn/QpiyxZclcZuCmDAe3YoRxxURItdhpwpN6Di+4twJ/a5QR1ii7sGhf8XeNvwYcID5aK
57JRfwB4NPEzFzhEw2Gq9KwZtWMG/r5oo2OFGrVAf9sv+49eBqlZC8H7iMWOUha7SBS1hZd+0ZXS
M8zkOJqjg4kxJ0qS7yFUX3yl/FGb+WhFjUkcU4nfU9aUDpHGszDKx0BOL1B2fzf6oDiFPQ1f9ATg
p6SqPbXqLr7PDDfui8wOUmmnSKVdKMlLnNZuUY/fzFTa+EnuRbjdY1qfcWXfm0Z9x0RIZKEY40oq
f5weiKqmz1pKv7Oyu5MDtH0AR2hSDkjSUKQY2qDgrEnAf4kMAwIa6a8gT92AFFuzB2GPPLqtHm3V
IL0Ecjg4pGBWkzolpgwbCMpEYK7Mh33AmVeX0puucMn2SX8MO7KruOnKSP2rpnf6iEq2EuIk5D5/
yiV1a4jiUNZMt6BO9JTw7BSn0avo+xfOml+NoFsGrZ6sjGMb3IiNReJkNw71Y06zn4MU1bZUse9q
EgLYl+Nn8J89ePyaYdwVsbzjRfsSBuYGLBTOKMmvA+yzayoa6F2C1FUqFDuqQDgsJN/Qi/tGa/8t
TsxdqI8ypNp9yAZl9aM0QKRaKl9FYWBaKMsuYyafMVF0qGJogPStDUmxbQLRG1VHhwsr1VycQJXj
DLDLHjRHd75pbEQXBSfWNMk2AHlO2yS1lRXid9mXuo3B9sFCh1pCHV9pXN3PE8dXQFpUivw8FJO9
VaDIAYatX3BL6BXqo4Hrxg9VCgdVN+XT0PBDUPdANoKvxJPzLD6aQmk3AGRCGbT3PxAZA4A2PJla
kTtlJIMUzKRnjO3TS11nF3OSnSK8egWD0I+UCpjlHLXKKpOfEjn0CjUnmyKQDRfDIT9jM7tPggpW
yJdNi8l1bpE2xwek8r5OxLPud7/AzlLbY6l6elr8HiTSw/xw7pq+tgv60LejorsMg+9KweiOkmhB
8SAhMTLG+9u+cTHKvArLZjWWMRp68FsCNh4YmEQKMZLbvN5eYTk4+RP4zSIxKvNaSsfJzyavnWRY
AAOht7HW0VjbxyxahiIFNSFCrHkog37TWjB7dCYU+m5vZaG1NIVA/44q51jdiIWN7vsThKexdWcC
YEKdb6K1Ju/9u/mQ2JCxs2NmRXdsIuR1gm+3f8BqWDvrrVLQd41agEhPvi9204yof2e66i5QUMkB
ebjXbQGdKlZRK8vf8N/7nlPIQnTJqExJ1zymYKBt2jP9wbbGrnKipxzIdgA4MNC8stelgtXVYeuz
oK3vOThpZMSb/6JcrLWTZI+tk+yIXezl7biWcq1tc/4YhE+CkRjYZtb9lHzjiUn9c6KSh5WdTb98
Xke4iqQ/yyFXqfYYp02WJC3qqh5onG39MB7a7VQa6zcpAr3d7eUWd6XKGAhXmaIo88Y1rfoxAdQA
048Bt1j7WyI/ouz7/2+NWSapBSRPO45kNWOQdeWjV+vpTq/W6FUWuwMYnfz3XqaM9urkKoBfC5jQ
DDVF+fdE+xm5xbdxP7rD438wWzHlTV++09Vqs7zKAA1C27dTDUTjyPKFG4/ZgZHqVebNJTJoaMlS
eZdw36lo7VYlE/Cb/G4opF3KAI3zoUZIirMRQIDVD99vH/lite76LGb52EiAzjazItvojx2YTpBH
Sx9tbFOQZMtOgqL5Xj6kNqSDUadYg/Cu3Kl5eyStKj/u9QpTIJhkqrI94mabjP9LPVfHmDVax5iA
xmzT3187KnPAn+H3PI2rh6yIHtC/2wB2u7l9kovZ4dUyMw8VIP8yixYPxFR6INMgE4q8vRsNVHfO
Q/CrGzNbRNvbay4f4J+tTf//6iITSY7NEmrrXjTumHKuEyBeW2bfXmSxgHx9gLNn2fSjNLDpM5WD
m0FTZt9sglcD1O22LJwYnJbr7O2LGyOgwJBRKtDAhfH3xmTTVwxeMs3z430HSSNJRIjy13zDVC36
8jL/rDK/f5UUciEYfAPyR7oHjQimm6sSyJh0K4M4+vYxrmzpE6Zz9a2gIWqOosScIMZmz70Oyuax
3jC6NnO5bNyuNjVzeIXhj5A4kTWvdtIn4vRb004RSkx8quu9ksV63NVis7eVl5mp9oHON0hW9n0p
2RLSc0gm6G24ctXXVpo9r8FkY9YV2Ba6fU7a3iW5YVd57Sb8+fZ3Wo6OrvY0e1SZOom2J+iX/HMA
3RZsM83bUy95miZkpuEtENndXnWxiEowvKUpVKNMn1341CcyxC8QG6Wo3jRlfOj6kltGylFAMEfZ
qlJpDYqpLjomogOMpqgyRuNmGy0xZj8oI/ol8p55+b46lfuJT9h8jlor2rGz9NBsQg+CtpskBumV
74pN5AQoEI1Wsy+37arA6bKlAbBiaplSwD9n18noACkCnFnzuKE990J+KGh4gcbzlpAgOnOlPwiK
0lvaaidT0LusoNQOq+GHGqzxRYJob8k4XP2W2YUD1UMni2YA0NEsXyj6t2pVKq8mUBiw6JlN/BYw
fIGWfCYipFtBtxWk/dXG6u9U8S+kMUfXLDCwKen34did0ajIMJbQv6RDU7lhg+w0AWRb5oHt+0bk
qmbrVZ0JxfohHe0mjFBxYqVsx/h4loahHfhpqD2IqLNazN+5KagvahTmbJlFl14vyUaP2DEu6C8/
HzcM6d9Wi/rQhUJoiXKjAMO4nn4PhUzsIQlJYIFCzUfGO9ojCHAwSxxjxL1IrRpiJzh9ZNKjhalQ
4ugEFZHUGF9VMqBQpABek6fNcyX33GtKesQ8hOYkaolSeNy9SpgIsUotePTHhluYoTe3PpQqUNDJ
bIhalU6QyNuIqIdwBM0s8Bs2lTDTmkc/RiLeoasF6aR2yGyUV16Nvv7VC3BWUTXbEzPZ1Sj+VVV+
TuPR6aXa1YN+sHKRag6n6l3FB5sxH6Bpkzy0YfKUs+oSZgRczwaWTU9jET4xuXpMWIJZUJJiQFGK
rEHDkQq/DKygR+7MFMADMIbHra4xIyuX9FeMrL1j7BGMGxHg9h2KM1biq1u9ZA8UWDfadxsAR/E3
4WdFDZJ1DZm24NET5s83lVzsWGSMOypCbEsojlFHqWMOJdAWBa7CbTvyybrwxaddXdvZo5Z6GhXy
1ICrQZCVBJbxuw+dMbJAvLdNbIJO5yl6mghL4gfVUUcU1uAW1jQWF2Ohqx8xixhYVOklxuX5xj+J
HdnWh8Yz9/VmLSf5qk2BFqd+tc4skB8jySRCgk/VL9lTdjec2cFMnsb3ZFPCaqkOyuaBYqGErG6T
R333/93mLLIHDrNoxxTbDHcTo1tyIptqJzbNiutbjtExfwbYGfrC8nzUjdIaMz8KvikkUGsoIqr8
LnHxVc+osdu+5CivU09IVf8TOPtijPRn7Tm7D7xuEjbT2mng/otcFYWCf6CH1wSNl3ut4PSBjgdg
W+AW+Tvui4a0K/MYtKcdM1OHJAziOQomxKHGZaUDhApStGBZjBKcpul7YrRupYOyFDZkl7S5G3Gt
geq4X2/SVN3XfNT3UjWgKJbbYZrepVXxEzlH6g2wM4+3H97ildcgl2eCDOUrL1wMO8uhrwBKw+x3
awgLmDbFR8muqF3mHzEoZ3N5/O+DBgJcJ9joiDEx5szcJagrpZYjxUAhCdPsmNngYLHx47eUPvBw
baZv8nczw0KIhqFBQEkNZs7pXpo6Q6ReoWgUD8Sp+Ns4rrVbp497a4VZ5NplZpkWEebCqH8XkENi
XMJ6pYyofA6YfFlEB+JdVzHhhtHuv28YGIrrsU1QndHy7BHygKnVM+3SZ/FBDgvfDVL9BwPiu62r
1sp1ttdicCz7DaB2jLz6Lf+dcox+K1JhdyD65qz6VTRZsVfzyEn0fNf7vcDUfX+uCNpxQSZxS1Xg
kgZlr6fVezGqoUNQNLZiH70FzXiSDfnQakVmJTHZ1U2r2gLsgtuuUn4atH5BI/jijxU90GCwRWiC
CSI6lOZzGZivAA87IR8Cu+pAGcqLC1i+7IIYr4pfnAlctp1LlctK7b4NAJgyh11F260UlZtkGFq7
B828VeeFO/bRz4pyZje+8ZoMiTN0mS1lIgeLI7/4UXJUilJYpt6gJiqEA7aIDXjwS3i9GPk6Yglf
oEkW6R8RKdwyziQLXSbPNNpNSooPUtDU5YlMvCRh8hHwxCNPeWa1HUqrmikESg7xEU1CJ4/182Aq
XmrQ3ArUOADvvQkG35ZBFY0R7skN+lQ0LN4Qj7ljgdgCSlhoVkAIEOEy+ltybOkEe6tSFL0rnAjm
wroW0PfkKNeJbUIcB2K89EnJPaF9k4pzppJTD1YThaX7aPC9KoWmADciCKPG5BHDXxA5HCSLtnS0
YE/4RqLRY6siGKhYyi0hqnuojWyIksPZhi9GkDrob3thrcQr+eNScEyABUAHGoO1BrBMf9/coMXT
AAj+X4yMCkgYMcokXyaw/3/EyLiEQ/hrxZl7TfIarVG5hJIFFKm1N/kFvLRbsiG/6VH1hF3Y5Uo1
aiEL+mvBmUMtRNlXwFOGmwL4B0s1Ug8loZeIgIuGyb8iLV8x2mvrzbIuCuovWvoCFocUR5VX900B
L5FAXVyS0Akj/L8eJjSu9zcv2ZZlEyQZx/RbLL+I7qXn6opHWMr+AVOBZUNWZyCBmn0y6Knp9Th+
sqdNvA7ga8MbtwSUd7mXntakk5d8wvVqs++FjvEI5o8JYgw7isZi2v+47VWXXML1ArMPNJARPWZR
A1uUPHJglUsop+jB/3IL/pzZ/KtA6jMHIZaie7mmnvJgtIs8K9w4z2q7G3lv99mwxgS3kFxef6Y5
Bj6qRUgp5tnBJcGtppY3BoGofLStkdndPsGVTzSf61S1IYcCQI1PJLp7iYT3XQLu7NtrLIyY4V5f
nSD52zTVlOQBD4GM0bvWlfTSyUPfYj7kngZ/PPd99VoPQ2VB2O/OZO9Avq9dk2mBv7z6VK/5I4sw
j1KbgII20C/iTd/UFNIvIFOOO0xBNtBrjTr1mUvcEYgWoa8KFmT6M9D705BrUAxQqBWU6ARl3EOd
NbL8vNorSvuipMkO6mt7JWP7IEPSq7AfiU+3Xd6cqqDTrSE0XF7Ez+ZYn8JBgB8qdvsO8iWh8Z3z
fIem1LGScm6HwtjpdDhJEjrPhJ0BIrENQQFY6w/wdk4tQW48z/YgZNlWMuK2dKicjDG3QthatkCr
VD5/uP3FPlWVbh3YDEiXch4YydAggvltXuJd/DTZisA1oPl6Du7ZIQS3ZZ5b8XlSYlIP0aWcZCWd
ZovMfu32THHdrd8yi/vaHMj/mhTJp5olUS3u9ttpdk28DU/r/ExfM+TZXZld1sAIk1xqwThefOcv
ioeOvGIZm08tLVdzMNHaY4hO/aW8TiU/1Djey7V87svrn/2C6c1elYJ79J7MvINUk3CKY/QC1oCX
yoKpdnVbIIAHHspLoZK+Jj83WeNb5zwLfXkTqYDSQYohSoAjCYh8jkpzsIIBtQ9QfUpWBwsEB1Ku
DGx+rajO9juLXDC3YmSAhkExap89iTuAXwQa3Bj6tv2fATh8mWQB+PZtDRD+Gcvf2vDMGUK4LAbf
O9bF7MAe2JT3wqusScMw2qbeP2aJoZZtD059pqj4Y4TGNh11VWTjaxw12//MTSJdTQSY55NPPm/i
QDXzMdhL6LHpm3ZTSf9B/+RryeBzSWIaKLNQ9mW8IBbGmCGPgVCWXz/HsY5OFNurUfwOwPFdDnSY
P/TPJeCEvcKOkMk6Ig7yemEk21yvcotFzc6IlR9qRV9uW54vIdfsh83OIjPjMss6aEkW9GNQv0PO
OmOPJgobEsLp20t9jZhna82ih1CtpUaCeuSm9orI+ocCcG3xHLZlUsyMnHCzsuLyE/v3sX9CP65e
dtehTs0raHeFO0GsQViyHf6CKJkLldSt+TAGFrnPKojCa4fsxFYIWb8OYv6933mKTnwWhLoPPvoo
tehJKUB3hzlvKzmkSISs4Ueww6cVb4rbb9b5mL5OJc9Wn5lx5oOEQFHw2mp/74NaYYdBs129p7tm
0wOXoN2xU/EG6+4NqpWjHwVySXuNBuwrtmb2I2bGXTJjOiK0griYV++iM5CdAMCCta1+9zvLdMf9
ZNKBb60f0BJz1G/lt9s34EvAOlt/ZtpJk0pxMikmdvkZhXkkk2a3AkRe/cwzO15Q0osCAN0Nik73
QBJtskp7r3htg6//4kvsgGnccSpCA0Gt7kWa2qGih9ZYlpe0U0E7jCjFjxpXS3JMjPsoDt8+g8/J
ki92949erDbDFyGabkQ34AcKUDjLD/X3CeHUonBZuWDOhoKsflCO/B5oCJvd0++1a77iTQiLINZA
5j04EIJZ5QtbfJpXP2oW8bSxbwreQEmX6G3jBE1TWX4KCG3R+k4zyE5VJ6Y18nEl/l4zQp+R2JVJ
gNI8yf3iU8FX22P45qARC7u1qx13MHn47L/dPv3P0/1y+uofGzTzeqbW1VXv4wmMAzlodDxptYr6
SLHrVbYFRmGbN8p2qBoXCPJLTeRTHYDQMKwcPxWvoV4HFqLRzIqD4gxApp2NDUjGMaxulRXZy2Zy
0Xv9BEJNKLa0bl1mj1yEm6TEUZYJg1wROTcgfR+LCiIVTXtqNPFgiMhtETNTEMKPKDT5Y3lsMtll
nXIMRQuGD4keZCVzY9EFdqzLlWX21ZMU9tsm0UqrGTGLj+qakZNTKtSntmxAUJoeulC+i3T+MQ76
tlHqXQxi2JXodPIRt05z5q+COCqLscH0KgSCQeSp7WoXTdr9GlnxV0qnT8OBZgYmDzHPNK98kzJP
Y2TRk9Bz+pQhCAW/Edvm0JBzAQd0s8Rqz5PNXOthLPvjP+vOYrM40GOjMYCuNzCxZWUKAn8DOipp
jE5YfU/T6uH29fySj872ObudUYoUrOuxntIGsZVV8YcprZJ3LFvhP5uafbQ+bf6pIc3Ap1S65qNs
j85TZUtuehmejd1w0S4jFML33MlsG+38XWMPq/Hn17R42usfkzOvzwdJ1LNcwdPvbNmOtngpdmIn
u3hbPK/FuospxdVSM7/TqKpEDbBCb0blW2I+pulJahubrrJgLsfyfxbSZl5eRSFOHoMAg3AuGuFg
ecg/kmfMREEWJrCz18xmjvnr9pVZfIJXS858ul7ESj3GI9yJb7ipDMXQwKgsVUbakivZpSmkbSvo
pjST99sLLwfuVyvPTjUaOtKNcZdscrf6Hd7pHtnGDr2TL4PX7Ogx3q99xmUzcLXizLeLShsUA2tu
5HuyE0AlQRH54DvMhaHbTYObmRt5a4nhso+6WnVmBJKC1br0f6Rd147bSrb9IgKMRfKVUVJLnfML
Ybdt5pz59XdVe2DxVNOqO2deBhj4oLequFPtsFYHRtHanWEpBFzWTuQMNlY5nOpnduA2bjcNlO5X
G5pGAFjMBGMg28zmrDcxpTdsLYo/W/rGjzLC+EmL3mLuLdMdf6ps0/espDK6O5YmgJ0aZOddHF7n
GXZ8jZGD4f+1APtp8+eTMcpqGOGglSWqC3RBXnJqO3/qdpo72dEOXRMeIMm2aZylMQpaVYlRj4qS
YHpcqe0hNi2pAql1NbxoS/VzmQCZpZKdCrzZy5axnUyd5TJqisZP0y4YfPGJJtqKVNi5kV1VwUcv
6z8CETWt0rss8C9+5yyRUVGhiIncYjjUa93uKB2hou/GHri6gB6QvlXA8c6eeI8J7rdkYtWIFlgS
5yiSYepxfq7eigfhGn0zd4nt8QYDUZxU4y/x4nxGJmxhIcZEUw6P9uLY4PU07Co3vW2s6v9TIKC6
/iWvWdkC8zaWkxzLQwRfkKICEBT/itb+PeXW+KhJ81zMtulhmxXFCBO06Iy4tohijJEaYBKODMAY
drYeP1zWkG2X8kcCy2qhd8EwCT0+1iTcyFjGrAZs8pH9ZSFfJ04+zfsshXVc4zAUmoqSgmZVxwWN
TCu5bX8lg03AS0X22XMi7lrsMsSPqCrxB14412gyHkxXF7NSRyX1tZtiL7upW9rpSd73oHoPLONK
2Mv3nAPTA33Vk/OBGX9W9zHYjEu8JmqMf6D5D+CUyo1vARTOJzzinY7+++qp1HalpAzY6vbT52hf
7FVXeQldzQVDZOlMrmzx0Rp5Ehk/NreCqk0hsIiWIMUQ2G03cR7rmw4anREFik9Xfpjri8ZFrsiM
9gudsWxPtOhIALvBDag8OczVqSNaD1EIwCPsRQEnpQIQLabuotfYRZPhLT9KNtYOvQhPsqcSw2nc
Gud29Wd1UOYmCdLcGbvP9P1SfgtOM+We84cbCtci/sieF9s8VM/qK508m3flTr4zHy9r6qb9r34A
EyAUDMJ02OyM/aiS8NAsH6v4pCzRj8tStmMCZm0wMauC6pJtsIoYSGxI3aa+6FN7CPbVjlIiaqgd
88ertxPQlTQmIgzS2M5mg4pecVQeejfclQdqgViDbRwRZZLixHsPblrESiLrqGOgUw4hCMYrkn3M
RXsklcqxie0OzFkG23CdhUIZI+QQcKK/ic0ywyoPppeiTNp62oGy3DZudI/hVrx4wW8583ikNpVl
9QsYNw4QYS03ekTaznhK0Vc2sKsRDLJ1WVk2jXIlhfHWRZN3S1QjZ0n2OWapgTbjl48ql+iI88lY
TF2FmOpoyngzLLFoz71p9TUvq92sEqxOQn/CyjMLo9zoMR146jALoniFB35irNHVJ2zluwZefqZq
Zb4A/OXLN8j7ToxX0es2kccKmpK0zU4DDXY3lFY1VpwPRX3DlyC3Oh7jOwAohEJEAUDNMahdcTF+
yVl5KoXlqcyl/xrcg2YQK1lMUlkMJJrDSaNFAclbgNC2K0BeS5wCM4NoOLYP/MSSpyCMF4kjvdUE
A9qOialQfRnbhnN/vM/EOI0B477TVIs4k/ZaV9+BBY6edc9JjzlC2B6/MWSF3mfQBSN+CfOPRnyr
kahe1jeOIrDE3zlG7jJRh8UaaXRbZdrrNOm6HZYR+lNa+l8j5/xTFTTGP0x5E0uV3KKwARi84FUI
Zwdr8L5U/UzrjnN72x1B3QBHkCwBmo5d4CxENezSCcUoEOeph+bHfIrs7CE1XHLbuOMxQ9n3qq0A
Gxs7vDGh7S93Fs2YV6flchrTvK5ungX1JimvkujX5Q+37aDOIhirCsM0XUwJDkpeZr8qgbeifFT1
bS15mJF1L8vafouurpKxJ0Gbi0St8cZv3Rlvp9g1fuS+7sb24MoONsce+yuF4wj/knecD8iYmNqP
1WT0n25DtAHchcxfsGNb9xU3vuHNYW87jD/C2MW4sqvLSpBhBl1fvqp15y3JxGtW0h/81eeeZTAh
uNfTIhoFpDajjIEAUQzsgRRO27pGAKT0DkmcBtgFHfuyIuBziBS+zTIwVszsrTDDndABWwb/vVhN
rjTlrzGWXi5/ZY7Sfn6QVcgTw3LpFgHGWQ/4wES1YnXBkA+Xnoy+AC7dA/NCEJoU+BkRmmWjTfzk
LXOyCMyydP5lRM/6OgKlCcfJbRcZz/r7mXWujkbyqJVjBcaSlsFJnGVXW+Qf4G9/U1CMM0Z4BgC7
LHN0CiL1GIzTaeywGKYtWD/qMTtcgtRXfbx82xz7/TS51U/KOnkUIoK+aaf9HM2XenQydZdjs0MQ
ON9V5olivJHSloB4AHUTOjoU0avGkLJV3wGf88kEoW52vwc4j1ViY+ZX/YPCZrc7YITMWLyI/PBG
cy6fe7v0uvoW9NeuDq4pfSOltCYpHlBiAiJhZ0V4LYG+DeNW5p43e8SzbMZ1FWmR5lo2p2Bsk4As
42kdb7v+L9n92bAZT2UKbRoNpMQODipLoPp0YyxwVNYQe/FT8qK7xlH3wdTo1i/ow4c3i2YbpcPj
r9/+FQCexaICIP2/bH3reWxi8w3hDktzKGmD4MwBcxvw2wGSIO/1u9EZPzHUxAMAYCIL0KK82uym
nq1+Af0Uqy87YM5SEYAR75NScufJdIFn5st0ijWMMCGuFE+XVYknjzq0lTwtMSLRaLPU17vHLLnR
g0MWPLZT7WS9yEkmNrVodTTGhMp2roOwgrXqk3HCTqI/NlykWZr8fPGLKxmMYdRmUISK9Nl4VTwQ
ST0JbvtG6R9yDyugPCTxTW+/ksbYRZwlmAjEEqQ/GTe1iFn/MHUAGc25t+0ovhLD2AZoe5SeKNBK
o7I7bMb9ZsEllnbosTjG6yZtD8CdxbHguU0igteFzjyoAHoB2IXd3pOD7gV3s6vv4gNxzFP3XF0L
JzCAxfsRbOKpV78UPq+yzdEXlhpOjCKg2In4HTpBmtl8r1IeqCrVuAvaYjCptNz1RlqCmsefdcPC
rowXDiEQn0arHHmv+u1MenWrTMROSBQPk4QSSVn1PbZGi8LFs+EJMAYAEjDtKIz2qdDfmIV6IwTd
bWm0bkPg6rToPQYtbokNZ6fHtPRxLlL/sg/YTk1ByS2DhA9TBOxguZxIQjInuOnJC3wttTHlkh+6
3egttZ0+ik7iAsqu/877wFy5zP0DRVkjs4mUWHtAluRlN2jkgRfmewcckdlpbPFFGq3/ep2Cvp9W
h2U+xJxn2G4vcVghC+yaTE6d8RiRt3OllQzGiwvzADBHNNLQqRxdkLa89m63r33BbTBZvh/cxQU3
iP+vwvRKKuPL+6yIp1aJEx/wHrdYYdxFC3m+rCrbFnPWFMaHT+M0iaMIi1kEhKQgI9cJkDCwl2D1
Ru9dlvWXaHwWxjhzaVFAWNbCZNLZAgqlZFrJj/C+vg7wf+3xZ7dbDuGPXHOzHHu7ObptdASMT827
2cxYXSvj5fUlASGLqkW+Lhz6VgSESeVLmXbS0ulHRF6HEPjQmRp4gqI6Whr8r7fAeH9dkyJFGnEL
6HrvMslarMApAMhtXhOn+q6//562j29AGJd+TyYr41Z3v8KvfpqMCcJydCNQwGZ+grmYZdktSH5H
O76OMIwngYs9uQl7R9zrqLua+EmxPWHQINklbug1jrDvD5NmDzyPvR0T/vySL29MY9DyxpBoUeB7
oQNxlFu0pGf5GhPOEpgX5hiSCKj48EnNq6FZETYHQReHhpkt3aVkJ90J38L9BOKlyEVUGjonETgP
Ld4RGacoKXEnxxHqHhGRLSlEmC+/XTasbSM+H5HxgKoetaoZmcgxSbor5MwdKswYN316ylvRvSyL
dxrGE6rRhGXmZkr9oI9ttf+QhYVjINtJ2Pk0rNfT+k5LR7gk+D7HaGW31h8LjDFfPsenZl3SC3qp
q0Q5KgtxqRO4dNWfjhSArnHNA+CGudPIvPMwXs+Y22iYSgjKppeCPJWg26oHzml4MhiXVhXVnGMB
FmOt5GPRFjvXfjZFzMlbFapHl66McRvd3PRVEsmf04m3yb68yvbLcb4u8L+0ryE/zLflHTUtFdQ7
sgf/hcG6yFesBvUp7aAA9PY6B5RhzFuk+0tG/Udn2In7uiVd1nT0/QxKSLw2DxRAcfSa68YPPR4R
1XY/zgQcPOAWJFljOaAnBWNLUYsuJ9rF5bfl03sP3+On9qOQfNMvvczHFtxlfd20u5VM5gtnRBGC
bMHdmyk6f8PHgHD9v0lgvm4A9N60lnGHUzm/Dn2wiwfx/rIIbdNTnU/BPkWCPA9mUqNJlSSYPE+S
o9BJfpJNtgiuFKsfjEeZYNqYaNntVIof0lI8L3LxWAuRV/TNoQINVzj1rqy2QAOrcltOlxS4+obT
G8lLB7i1ISj3xMBMYNzPR2SihyoBvB4g7wFaTOy+yFvbMLEFqAQ+gJav5AA01VF8JY7CaAlzEllx
pEGry+mqA04vAeDPOPVvwO4DDoUqvJcxJmPr5aoJo1Olk70xpYciwb4cis2+PId7vFYjq+6CX8Ki
Hgrd+Dee3iTAKRINSkXPOq1RyKuFFsjKEVZVyn4369d5vY9yhfOG2N4NXIli3Ja8iIKuYpMCQyby
r8HL9pJsFU5/oiMuqoslQSfzMEmLCqWEjdy36hqf57pwcy/2uCNYm45n9VsY5V+GWAyrGnMN+gMg
kFBqF+5peW725mNiRQeVw021/Y5ZyWNMYYpSozFig+ZH0mt0BOIJDN0mb8Zx9vIWLKxAwHL+a1YD
mpSdhbL7ErOWz2U9D8iO6yulehGVH3r3liePl01w+ymzMkEmHxKKSkfnEaFCs4I75QarGd+mY4uP
SocusZWkg1AHw1/uZbFUW76EjpVU+Z/RVu4SQCfNuNG87e2uBbptcNs0QC03XrWc19fnOWiDSYga
3aAEpehcNB+YhIluBexVhujM6HcmKDpcFFX5r4ptHf0TFAw2MQpjsS2yhuoMsHnswmmAHoHeDKXt
be7SB15Zh/shmTwpzzQzaRT4UjMIbhez2weZhHXi1I/05GRo/btMpGvMaGPrrdq1veKEleS1QKTQ
BvEokvgkpnh4Xf7MPMth0eSGEYD3ZMastApolNkuMMCYo/CLTsYEGOzIGZ3QbmzgjDqXBW8mQGfj
URnHaKKdDrAf1CBj89qsXmfBT8ySc7jNl8RKBuMRzVxaulRDgMz2mpeingKSCpc//c0Twzi7sAi1
RKX7qkpnnLDF1lsTCOICXcT7fJZbSzTmfd1KjtwvPN9ArfCrlf4JLyzEFOamStDEoRuXQpZfwGbS
U7ELdjSnGV942y7UIi5IY1v5DYmWpSlxn33+U5AmQPDoHK+zPY92/mRsJ7+Mi6WYcoyD/e7ytKdO
tJLv0EhQugq2vM+PIAtyjKsU+2aJrY2WAfQsuXJ5lTGOerI9/iFLqiqowIYVTLIzjr0zl4NV8Wjg
eBfKuL0CdO5jX8IDGP03eXoDSwrHArb7VKv7pL9g9WgqB7D41SYyX4pXLtuSJe0SXOQHbUDnNy0H
KIV3a/TfV9IkMew7XUoTX5q9MZqe9FYAekTHG2viiCFMRMxiQe/FCXoYfqv28yG/Tt4kqwZft2qV
xv4T//iFpxDb8fCPpbELNFOZTWGf0QyjbN7jbnDHWLJNM72VW3nf5bJz2T0qHMsmjGr0waLP80hS
EM3t8wgAhi16q12Y2woBjJrYxcdmlAF0KDdWjX3SUvpRK8pTOfqTDGhAIbdrfbajBewaUWUFlKLy
Gm2FVz241jH9LMrRxziitBuAKqTTdxLYLoR6xK7gQxV+SwD/ePk42wu+Zz0kjB4Obdj1Y44ws3xM
WFSBQeU9pgQstLreKKQ7XpmeDGCmp+AldtrvwIsR/8cckaUjzqRYBMAuys5R2z0o4GCtsvQ2R2hV
psA1wGQSGyjY5sNLU0b3U4y2+ai9TUV6bWbxkzyWnCvhRA3CBEAp0wOjTKFQs3QnmR+jCPLWxKp7
02nDd1H7EXe8C+CpMBMOF0XQTE39nPXtnxXFVj7CnYLVHaN3P4AniuX2+AfIzGuLFze2Wy+rr89E
yHQBEXWqYfqWojgIN0ppLU6FoXSQ9QxW8pw/Bpb5DEDqGy6rIc9VMA+DfBKVWS7gKmiS114TW9qF
7wOwlZSD7GSH7id/Hp5zzTqzRh0EQBYrFoxpFEPhgjilxMJkNBmONNwWvO2J7TrK+WZZcoZlLGMt
qOEmyhwszjmeed0u1ux4L/jqVfjAnWeirvVCCsDyMizwduXYg71gPsg2GF7QUfnQANmZHHgPEE5s
ZPHfU70z0wVrrn6vPeZl4URk8C47pb9cnqlRCCLgI34Gz1W46gpRz6P0M9kId6OfPURO9SL59OpM
weINxf4lFp/FMT4wCtV0EgPkiRJmwps9FiLdFrF4Ocge3SnnjYRzj8dEY02rpb7U5MCjTBNgEPXU
N91VMEKhuPMOaH+c29xWjfPxGIemKAGwQXuYWrKfn5Vd5A0WpSNo7vkd8r+8Ws6yGFc217kUDBSw
Q/XDHaAUZWLVvuG02DdRnkmMOmZpWPzK8HYfxjzLZR1ZVejVHMCFdmhaWur7gIdja4N+IXxXQ7AM
gpztCJAehLPkfbrO7gsMw6eA4L581X+JpuefwXg1MajLWtMwVQhc4k62+vtwQD8KCfmVbo/OteQG
V+UxvJ2+VfcA+j/xTHO7FH++BrZ6KwYixgCVCSWJtq5tATjQ1qKPP00lPg3DtG8qBVxt4fIYFEoH
nrOKEzq3Peyf43+2LVd2qwwgDx8CAf1Asg9E2VG6O1MC65qS3BEy82CQeNJopraSpsYAWxhzfHO6
9tBbndN+q7z4MFFcZoBNSTYQPH7GHtddbIeu8ymZDDA0+2XpVLgL4zT/Mg4Laj6hq7v1ESyWMWb3
G3ve8TTrE1fuq38/C2V8lCxNtRmVOSrlCRY6JuUeYL2iFyzdYxQWT4E4gFne9DIwXMZt75NcLy2p
LXeg7nsP5eIKEPGjgyHPvVIPld0KvVcN5EjZyZeyu1X7GZGwB910Iv0QQmUGmZ8MO5UzrOVpwVM8
ElsXDUeXxkPTAv1Ib5NfcSsCW2LIXiY5lFxC8XLbuLtKQTgCvpWTNmiuKkjEvmximx4Gwxho7poY
ypA0xtJDUzC1KA+zz4V5DPs7pa2O9vJdKbFgLX8Qr8LT8JhzGyPbYe/8ARinLedVKuv0jS2C5EZ0
qVzF+HSlI1aHUEWPJi6hCz3LpY/OeO4Cq95mkCLUimR2QCUYiYpDsrdQlRyMLlt9UXNiBf2DlwQy
7rsfukaXI1TCZECdh0ljjVJoY6rB0oqfl7/jJy3zJVHMd9Snbs6LFKIGL75Pr/pTcgLPxY3p1LsZ
KWEOZIAA70bNN6+rXXgynBQc9676EViylUFtwSz37xqMK/fJuG9tEpegNFBc6OTOTvGca+KTEHPS
fY4isXzVSp4q2iJiakFPj4L4nd9+2lyqBVAZEC9FkDJ9wTevlzSTQFBJAQBHFxNLyYd0pIzh5klq
rHAPjHOQzMQ38g46lN5wy6lbWrsSz1ajpBrQjUBAwHuutOBYYoKdnPfKizys2e3D2xQZ3J32C+hw
fv39slJtZnJr0UwBok5HdSg67POCjtQxsVrbHGj60WGsqKRcCWip8Oqlm/BRa5lMGGqLrl8E7Et8
johJqI/395KFrs7eONLuLZbusNDlaXhH80of3OMykUjTpUJs8YLDcQM/UqziIT11MBkBA8ET+BX4
K8X0L7JWuz4sE4YWMxHjJMUIBl3VEAacNnKKK+Eke4gFhyTlPlG3PNJaION2pSDGHixwk/2hvYvH
F6QT1jgQq205+xNbQX0th3G145gAkTSF6afgohma6ArLr7ahFJxC3Gbuv5bDetheTYtywCebbd1q
r7Vdt8uQjIPO4fTv/NlaGONjyaiTWqbjLEXfX5O8vAK89wEUd5y6H+8bMW4z0dRc0GU0bOJuedCE
1IkbwwIU6xFcYQ8cC6d/64ICsr29slfjWotiAAaYYYumV+s3ZmCVyTxiSRkciIiQ06A6kxj5cytZ
ggwYreDQiTFIWwxrIe/VTLHhKVOqup8A28WJoNsfWFIULIUBuOAL5QLIFowGDE6wyV90UB5ksz/R
w6GOILGAZbDj3MemQa7EMXob9DPQJsOFugDRzm4lvCaH77pL2ToW1Bu5IxubdrKSx+gv6PRK7JCi
Mg7gdiuMf3QlkoPx7vKpNhVqJYTR2wYQQY1EgGBbxwHKqG2/l8PpBXSlIHvhNYt5B2KVl4DrZxTh
vrMOtMjgxRiq61hJnf/pRCyaRj4MFdCB+9gvxRuMS1hLjMJxdJ2CoPiyoE37WKXHTEgIlLnQJhkL
KXQmsvDoqHK0A18xR8z2rZ2zcCYOdJW69BjjwKiwLAF9ubLTYh+lPy+f5S+2dJZCf8XqhSfHopDp
CsI5BcyfHsYJcRXEH3vFBe0ufzqCdyjGlpKhJ2C6RgxIegC55q8BMsAAGNaXT7WV/60fMIwFxVIK
bogI5W4jCb6paXzMJ4PjFb4cBFj1AMb/Q8rBHAScn91iVODdNUc05J4LbL5VM4/H8Ms5qBBDMURg
N0hEkhnDETMgBYqANsTkzHWApTqivl++KOlL4QoSCKAhVGB7q6gFMtlcY1SRUg2Yom4P6iG9ig/z
bb4Hfs+Bj2b5tXJCZZkEHDkGYCjIZ6V8pWqVno+maQ66N2vTTZ+ps9tL6Wj3RL0S9FB0xDl+N/C6
jgxssyhil7ucw259s/UPYHxeTYIgVQY58pPYQglrdtNdClBjckQNp0PVBjCJlR+dtEeO3C++FgfX
wfoE6hYDWELsZyxlRV0yDMgDioCio5V+9YJG9W2KGZb0EehoN+ULxU7jSKVJ8T/COJUKuCRdpRQ/
hO35LOAUT8YFVDutK3l463nzhE09ivxRgBZPLTgG8XWOhZHHWESNjUvs0IG09LMuOe3r0g5/1g4t
Cda9JUo2WYCjwn0bbF7u6piMrc+liH33Uf4P05SIielQ9H8PTasyxsIp1EOt+3x2zE3bWV8wo05Y
ShTmqQbPVH8o9srxt+2gieRHLu+U24c8E6kwIUc2qzLtIuyWpqK5G6cgBUXMfFSC7kWuCh4fJ/3d
XxXnLIwJPAZIZeoY6GV+ne4Qt1+68tAZIqjnQKqrLa7Q8wo/W24OsDR/aGKo3a4cg6guJdAvkXCa
zV3TBdYClnGOMWyZ/prugTkTaDLUNARZoydjazW/Hr+pbumndgj4q9Ep7jFFdvqvBwKoPWiSqqFG
APwCFr1gVInUjxIqhlpFKLnWeGUQM7I7XeG8q76WxD8lqYYpQqBpsO0ivUhIrQdw4hFK4k7fH+X3
bC+6lQd8vV0dAi8eOwOTE+NBiTdkdeDr5+b1audfwFyvIKsEWIyN6XWCbikA2GvbR6nNnMtfkSeF
0ZM6a9oATwywnlQfQvEqmLcTebgsYlMVCQqfhowVXKCe/FMV47FMo6RTIr9dtPe8L4/AfOV8rq/l
Vfq5VjIYv0EUI9UmpcfOYool7TQ7YKfbn6zUlhWALgYWiD+6E2ifODaweTSEeB0wUJqksyv0eSyO
U0n0wm9T42NarDEl3/7F5WHLUEfuRYjBBngFQwRa0MIVl8KtsUR2ZP66LMCg1//FNa0kMFfXNmE+
xqoOEMfCMJ3RAHVpkHee2S71bpm63TSqIBXMscLXjkBmmGoA6DaJaldBAC7crlxsoUoA9wVeVGsS
G3GHZRfg2aSL8m0I5tEtwY4KhFYB2+xhpWDBOpQtOY7JnTTGujv02fgDM98/x2gZLDMXX2ddPEYY
HVRm8U4dpPi667TWmrA3kzXNLiPGlSIk90UqtpQsDRDUJf6lbOw8xx9Iit7rgZ1oEXlMMcvd2Foz
/ALazuOsBFCG/DB10d4k811qyFdhA90IDEdUAXBQiPtALY6znjxgVTpFdG322pQf2nA+4XUcApon
R8zNKy9TQNGjJQ+AxHDNLLs3puwwZGNrAW7l0BS6ZFcgYc2X4mFsxyehSJ7FWHhPFOkZW/doZQjP
UYmx97auTmi1BwA7jx8vf9TNOIo8F3RFOva7kPAyNpcNeq9KcB40jmpHwI0fKTlkf8PvC2/ZAM2K
tE/uH531yYq4mFGLR4EHE7kRzDm15Cr9cfk8PBlMHqRKghK2Mhi6tCF4q6UEj+qE15fbygfW52Dc
lCgEUQjiLCQ9gGkeHgFiHiNyWrE9N8B2U9zKT07N5McPvETkaz0UzmstmflYvdbjc3X4WIDnx+6B
Y/yUPhFwFR0tGrpCw3NbX0eHGYnMIwiIK7laaFngERULws1bBwIUD7TuTquBf6ZxWz2hU8vYieMe
diuFXh2WXfibIiEolQj8dVQzx2uKDEiO9H1EdnxpXxvs/zzop52s0qCO5EM6Dxj21EAxDKCPoXfN
vfIJBE4Re+gSgXZHURGx1mEHqUcs1at09Nh5lQeOdn3WDFY/JBaaxhTBA+XndAGwKq0OpMdpA7Bs
UBdeNpav9Qfm0ExmO5eVGfbSAPpUjEe19y2GamhHCtDDNr+U93VPhJFGbXd1MjBaV9imAV9nDApn
MdNjO+2BNFmqJaV1fFn66bqcxNpCzHgaeskTWnFXz+neEGMwFmYg0pr16F7CarM397pmL0I1OmpT
voKMCz340tiJIuiYOin+jolh10wCzNSXCa/CTS+FDYNrvWQSIYST2chimD++C91dr+3ppRyxyUas
wBruK5+Xy36G7ksSGacGhgaQhJFc+ORopti7UnYayp3pdi4QOnuKceHIohXYQr9XOuffKImqyrJG
0B1WWYgAdNh7UF2Ae2686xw6PRR52Uvlyl4BT/fvrH4ljXqFlZJMQPvX2gXpNAUkoLLCGHhjk2tc
zSCe1mROs3LT2lbiGAsYR7QrFhkeNSVXcvqzwvaYeauTlneJW9mzsZLD6H5fi4GeNyZSW3SyakDE
YdrSR0sNEGClCtPGUAUq+eh38yiGeIIZbW0zLW9L8HP4YgWy1xhUpxUQX1vicrSEJ4fR0TjtgnrI
sANfE8Pqy0MputgssYT0XV3umrG32vAopa/xfFKMh1x7FubTtPCwhLYdmqoTghwYKvllXR3bDvKS
xYDLORb73xU1ms3QmCE43OBIByq/2OVZGhuhJEFS+wTkAl5IUO0Ile5xyKOrUSGVVVQDZmrF6Vpb
yFGNxJtM6Sae+6ZKw8rXVwk5E5yxiWiKIzHBtV3vf+8SCcCwtiMvtpPy1vSXEz88bSaMK6HsCJau
lUsUzrAY0Sd+lWO+D1D8R+VQ55684/bat5ytjm1dA2uMBiZimBJpIqtzFHYG8jkwc4B93jJAg4wI
PNkauaLjhGL4xtHkrbxjLZLxQLPZtUkd4YDm7nfeUdrLNWryqC3xWbC2zGYtjPE/IUZ28c5BvrqE
972CzVITWEVTz3E/W1IMLJyBIVQmIFBgbrHDDGqOXXnTm8yDtlyhqUh4pH2bjnQlgrm1aAbf8igN
QAQRgc6FuaoBs1dT/DoBx+XyB+IdhrmyoSOTARpmw0vjHbqyDojoQAPEubHtVHt1HsZhT/3Ugpqb
GF7nUSYqxenREnQXn1JcoKzE72VvlnDXH4meexX5hGwB2a9kgjQEGSgq1YBBi8HClmBWF2Xc2qaD
d5kfqZyTUifBOpG1WMZxK2QMjBzu1FOzWy3v3La66oeXforwMtatLvNVnWdhPF1hHlDSKAuk03FS
mmjLPwHVlVvhk3LduJ9sa840WgvgKvfc5GJTsCKqhmSIGC0jjMNUKnGQpyql3kSN7MDHOCVWWkbU
JfzBzr7FPyiRmBh5U/kvNpM/s98/stnpfKGPxzlM8JzBHjmaPTWGdufbc3DinnXLjRnns7ID+kI2
KamQ47Wt+mAyTB0wcZ8wMuM3hxQrySMvGHKulp3PJ4meiU0GooOsBqmXmO2keESRRXaM4cdl+/86
kMTcJOMAEtHoCl2RwR4cROAEiwusltfSVThE2M2rlp95WL7kSoGKCzaSlDZ61NvxVpiyNyNEHgI0
ksSu4/FpMLLDPIw3CQaLLv/C7bs411QY/W6EfkiiBnmBOi3EzrvixljC205EkiC0KqeiuWm/qySE
8e1hF2lTRr9zBKDNVh8sI7vt5u9KVVljtKu019zkkXNsO8eVTMbZC2Zntniamp+AtkDvwpBU+JNC
kFIi2upJ4jkM3hmZLz7KsiEOefv5OO+cwA+es1f6FlFdakZ4m897FWleAEZavMj/VRJirI7LxIIc
GM9ihvwEWaVoY5dRRkEgcMQb7BhYEYrI3BoA/YNffPJKIBMKAr3Re7Rn0ZNR8ZycyK7Qm4fLOspL
lT8rP6twQwxBr6Ia9eJ63hE/3g2ySycYdekwOwDC4M4R8s7EGEVaJZogNeCyB6WgpddXbcmhCeAJ
YIpjE4ZGijBAxG7a10K6j7uKY9abqe9aD5jwIU96jC151Ih+u/D4QPNC2nPk54WbLuSsAWyWjTAV
dkRPcr8cSkDE5Md5rNxSA8SrrD9e1oSvq8/Un65kMR7EQJ4jB0FtepXWZPvRrD3TbI6mpAHvsag9
UIxZ5VxeDWpwW1XVjamKH1Up3jcihuEqw5fq6UoRs8GS286rFQ1v2GJ4LMK88BM93CWY4Xcu/+Lt
VGn1ixn/k6eVoAZRAF26I764YB8s8QDXhSVGdJxFZznxMfG3P74mAXmDqIqKcjmTnsWpkogJ7OU/
7x5iL7viKt/j3dP5/Y5zws0kdyWNUWZ97LQ5AjalJyWg1pyAZ+MWdOgwfVHTn2XyIpquCOYGOXxu
jQJANd6giRbeEhyVp2K+OKLVz2A0HpB/oRmlMFpJ/FWM13p5koGv1WdPLUhjCPEvn3rTzZ+lsZg/
WjgXYq0ju+6gb1amlDuhFoD8UXa70iieh2qo/EwH7SSQ4OKXy7J535fFHO0CYRBbtCaByQm8e/FE
YU6kwQGJ6O7/UeaiEevCxbL4o0UcZklqhrlvvBuN1d8lDxjY8MlNj84UgPTMWy4yDtXPSxKZGFoL
mhIGwDtBzF4abI+pCGIRsPtq7CK4gKO3pcjWDunk8cPZdqxZfVjqulexZh6jLq9MBNAEeBgisJd2
2dU5Fx1G+/K35BgPy42KVn1f1mUHPy2k+7A55p2vVO3+spDNcLM6E/XgqzOFXRyHYGlHI1kVXcFs
J681h4HnB6jvvfTVGK9jqEYxByX0RDyomWVeBfvBXuzqetyrO57T4Ri7wfgcJKuhHpcxeN2n9maQ
xwe1lz6KCRyWE3GIPmH/KZV5B+RdI+NhIiykNC1qIH72ChY7rPMBI40OQU7gn3oVPZrP/bun0fnT
scOq8iSMgZTSerppkQjM471PuzrVsjf9zg8d9f6yqvB8i8lE2Ajyli6DG/2Pbwnd/P/vWzhelOV8
M2OEDJK28Nl5/yCb0iGoQY7Zm08agEuiVPJ1WXo3jNi9fEjOh2SZy7Il0cG8A02tpPImnnQ3UYMf
/8fale1GjiPBLxIgUferpJKqynfb7T5ehHYfOqn7/voNuo+S2Zqix7PAYncALyaLVDKZzIyMOG9C
FEds9htWZ66eTVWOcxxsNv4ylgHdMcV4xn6PgvYrEn/B6bO5PLzCNH09g5sNLUgr+N2CNAOIOQrl
xjcTvpVPcuGkinM06RtgpOo27p2MxODF6Jf7JSy+z4Bnnt9I0bfioso4qrNFI5Y/2bKDiQPHzr6e
tyB0eS6Y6D16DkaBJ9uM2HG0L35dp3Zg7cVzyYKAb3NBhOiANVsVMtg8AqzV8mh4FUeiyczzFyiR
WTdg5XxxT4u2zoAciozWJRPBFaqN6S6Jyw+jNNSelmPqRbCLLJH9O/yD681mEjz280N8ZVMJCUmj
Ahfny1o0e3O8AR7O3gH6yRh3uhZl0CMjUm2QOr/LJIiqRN0XKqmiGczt6sHKDneqGn1u5oVo0q/G
/rKnbrg3HMt5XWv/H6LGaV3c0SJNiYbiwDQUFG/wbOdnbhcpnuzP0HQQXi/bUeNkjztdcT9lUqHh
dP2Epi4XyjWr8yl4lQizOpEt7pg1mqEVxsBOcqAdAd/Z/7YlfpIKvxt3ygx5zFKDSKie/oRIGBMk
GxlxHbhMl91ragbbD72Tq/DP4CpNcqrJWB4AL4M371qU70A4AI3Iexb1nwEYb/t+hgYyfF218Nrj
1jmZStpNLX3LM38bX2Og/g6wKkFjhvOVtGnlaiwQuSa/OfTaBSulGZct4DyV4SnB7IFGIQhL4XVD
NkPmyjDnOGaT53nfVKCyyrGzxMVY2V7f18GwX65VpJnzzXKUfdVNPmZev1duQpdCwjXcidiIRL+D
2+xKt2uliFoaTGH8WCUq+Ad1A21jEWftdhQ4LZh3JW0ytTZTEUrZXZ48D1v8rL6zUCqkQNk8lytr
7O+rwN3U1ADBS/oTVvfv4OnClXHVkGXJNAmccXg2AyDCsFkTKOvQqgIXnxeNvuiZIPJZwr0kFYLS
PmYAcdvmru4Yx/BxviugbUossABB5oCF8opcieWMN3Ok1abyF1RLc0WN8ECxQWCJmlTRg5TAvlWy
Grjd0fLPX74Cz3w+QatPmBfSApLDQvKn9m5E7SUcfRukgOeNbM7lQN/6dwB4Bk2trEy2DJ6AspZ8
RfKa8r1WzU4GjZXhIQEuJAu7qyUZvNyYBU9kdrz/SixWZrm4o6bUzMOKxfKxcGfpYkksd4CuWq0F
rT47c3cvWOdmJmMC+axqED9DnvHyQPSLbJRRCWTGW9B82/fGyhp35Q9GbZdxAszSrwKhAQaTf1kg
3HTOlUluR217GcxY6SkGrD9oU+WrLUE3v9h36eN/3EoudOekB7kYO39sBHLV2QsvKozEK6I5uE1X
WS2Mi9C23XXVSBSUh+f6U6GBYLSsEycdy96t1djLG7lwh8gSOMzmE+VklX+jL4pBad7h5pdo6Hbx
tJss0T5uxuiVCS5GR8ncgewWeSEr5+sYIfpZzmdQIWFOwWLiX+dtZYuL0elgF42esOri1eQDXXqz
7NPWNaHHWOzwnBDDCUT7x37QKq40hdXVOltcBBS9qfXuOPrn/fD5xjy3Ji4cd+MyK3JcYCz+EeKn
fnGv7kHhAngiDbRPALM9Eh9UJndQJynAsi4u44i+HxdSFIhO5uGAGPbv2zHbue/q+7HTv9rOLrYi
Usc4c6jgXCn+n/Iwe8/GO1HHkf3bzu0sF0tMyzCNpNDgmcs3Gn3MVeRoEQpUU3D+E4qchIskw4SU
Hs0adJlyUjqNPEyOVVPvvJFnjNa51XABRB0n3R7mOPSR1I0WuG+iyFH3pTvIjnIh7Zjk00Q9uXTK
B+pJnvxu+C4+D+e3FMQxLz8gGRSrymx0B8P8w0BvJnVXdBGG3YSv2/MXncZjrYaIlsqSPZ907Wj3
oEaMfc0Do9EI4gZP3EpgvvDPu4tpt5cLm7pJryslR91tVi0ny+enOpSIAypvAwAJ5WaM4/jj+S96
3m00mYsthb30y5ghZ6cxPmZ+XWrF7rwFwXnTZC62jNPSZrqNXXwbWmYz1/tzvLW/RlMis61zVEf8
UbrVMfW/qD41DMFBEC6KCyLATET2XCAH6iKPjW8sHVhBJRewkAzkwfOrsAuilXGhxIgLiBrJ+FaN
6rZgYvHma6D/PmVuOno9gORgmypvALX6JviAIrfkQgsomjBtrnU0KCLrJk6h9VJYSIgWyyvDaQzU
dP6iReFjMsz3nRpeZYtxD8wdAkF32WTZjWJHD3NsfKKDKYAJbFcmV9+aC0daZhlLZz4Xddnk8Ko8
I772BcGARwgvdvSrfvEWPLIgxD0vfHVH6RlmKuIZn5rM+wqt4K54tOXPWScYgBB41PNzdGWmk1uz
L9mXDXWQ8rVfYu1jaQtljrcXgwleWzNkYupcjDHMOUwsM7MZGnLGdMrzZDkjIszcwYRUwgI8ZGkG
Yv2JfzilJ8tc6LFlremqEoWC8PtpxmpwMWOlAoH5ihretpOcDLINX21oUxQ0bjrUClh3dMRrz7fB
arZ7FkAIQI73xmT0ZJCLQ/o4D2VYokqQq+8YFx3qEztpl6nvWEFkPogbKdsuczLIBaFcNTKlr7HC
wgydrP9cG6MLZUtByNnOB09WuJADUauwU2s8Gd6QD25C/9mA+S/35IIIMSMtLVLknuw5+7Puqh5f
VeEVWOIJobJlnqxBwseq286xloes/JQYDya9lpLvcvylL79ZRLCT258Luoc6Q7qgnvPSIUGrigE0
HZWPJNyN+TfaHCQiSCH+IQqfbLBDsXL6GdpIpCtxvllkfPn4EkFTtwtkTPjz13q4WNJWMiWzDFts
+Mb6DmGng/QdUkQH6veLMOiz+PB3QnayxsUPTZZkRWtgbZIwH4jDBOVsgaezH3zOBBcxyLgMdtsB
fxlfstrtCpCIQTmgE9/61jotigsZjTLLuTTkb6mJb2cOJ1NcsMAUOM0GVuWzkBy4rRy/QxPgCdSg
mPQ20qNStE//cTu5wDHUYUXDtJF+BY4chMb/BpotchAudoSY97YSimhotV+7/lpefpxfj+D48gSc
S6t0Zd+w+2RMPoCseldGOojvB02QCGxyKVinc6VycaJZ6lCFToHtjybk7hn7i9UBDFy6+q6EDgfu
Szij+Db5hxv6j4c8S1isYodp5aUBiMN/cH+BTz7rHa4sdkmbKUuEltCMoSeMIT2Qz5O/QN2MKZsh
f2c640WFKWhRJUAUu1QumiSTXox5iI/5lg6wKCqrXGAZM5NERY7c5/8VlRGSdVMFWwUazy9vgMQk
OoE2tum3P5iCUAu2oEOjO5Mb78OnkDq6EL+7efBWFrlzbowttOpSIGOsIa8uw0F9pLp0O+vWezpJ
wEBAn4RE7Y0+jh+HvLhOmuVWSw0vG4qLKS8fz5/S7S+7+jVcGDA7s1TCLDGhmVsdik/k/U9htdEL
qdsEQiJFdqH+dWeczPF5RKlHiWJLHeDRRVSjjZrtZs18B461y47MTFDmUNlaFLRp6ql69T0cC82L
F0kwb/s3LTIDGax+BhczZF2tCludLF8FXcmxbTRvljQoj6uu1GWpm9D8vlDp98iOPth1dD1LJhQ7
LAxCESO/qakZdInt6fX4lE8SlmI9FlL3lBj5YxrqhzIyL4Y88pQ0n/0U/O++Uavvukz6jP+37M7W
PVgFgvPfkd185/aVS2RsaxpbWx1Df25MpzdKP+w6H2ILfiiLHkWb/msTEIrhP5rOQ6zSfgDihMym
jwxtRIUnfaotyT2/nM3LA3Pehq7KsMJLHGm5WqfpDJ44ubMNp2iRBGrZvBslUzTHt72akyVu46oh
XuQlBmVZqqNMTL9Pi4C2VbQULu3DHQu+piU0fAnQ1sLunaVKdkaV++d3bPsgr7aMC9F61ydROIDr
7U2trc2ryLbBFoieoYJP9DJs9n1d90MDHDrG9UdHLotjv1TlbmwpuLSKqndm1d5LinkV15C7Acqh
32GrL1NIlLdFOTnLZPTu0lufVVm/K7pBcMC3L+fT7+Ozjy5aJLVoUEpLs8Fpp11kBRF0G1UzaLUL
qtRO2X008i8hCr3461JkjuBzbCbHqx/ARZjZnMbYqBFX5yNLSYYYlB2DowbhVx3vd8kj784bZLfG
XwFgZY/z40yt0qqDxKs/59UdqEldWQdHrTzfTknzhWptoOHFe97k5ibbMjHAbAhxV8Pm7k5K7NYA
YvAZF/OzSJGAS1ED5eruWdJKPOvOdo1f5doid3daqkTMoUbVjPEyjMGyJ/QL42VojvM+U778x/Vx
Tk4yyO3WOfq37Y7mRx06J6EH8TCg+4CMUTIH5EQ7gcnzCzT5BkHalpOktUgO3pD6bIW+02aafI+g
rPNoUdhwMfk8kMtxlw8uEx6NfdNt2qfXDe5v3VNrm5ybhnESTaEyhyioxY46lUejTj9qURk51Sga
gNyKUWtbXOSlHUjWiq4MfZ0ODhJnZ5x8pW6dtvg0W5/OfzjRXnLRV5LMVDVbJcRTvgxmcp9plcA1
mLP9s+v/xVtVKUXZxECh+WQBsfFw1U23WfmlK1Uv7AfXtFu3LDuBzc1MfL2F7HOuXhxFplTJ1AMy
/gZ3FH0uLppIak/sSbViDBkUt2CIjvZMrkz5wNiAFtcg+C/VHQtHjHrehL+sl8mFFUg2GmQOoYSl
99MVWars89Qlu7QbL8LYelfjZe5EAzmkVpQceivfn/edrQxhbZ0LM2MRhunYpBD9NOw7tULbLOuS
L9QqqSCrEjgp3wfotNGiKMkDuRR1EuKYvDfwrBMYEdwKJt8AUOXSAHt5js0EpE9yYhfXPcQhHOD4
dlDXY5ql5/dP5KXPqdHKS9Gii9Iy76C1PjvVQfWG1u0/tZBMcxg3RyFKGbeuWls2ZEx3Ew3E/+x7
rszJbT5okY2r3ahzt0pDYNdVN4+/N+C8T2dPGxbRArej5skidwwVeQ4rU41MX7czx+zJtR2mV9EY
HrNOfb9E4+PUDzcYv8YM4hy/q/Xmmhbyca4gh6FrV1adLo6mScIvzYL13yHp9LO4E2smhCxphOhg
0VumMTxCfgQTLPN4v0CC6xUTXKKd587pMk5mH1ZIOFDqGV3jOH/+OYGtejUEwTM2gd16UoAaiLje
I/oG3ClNyiZR6+dnj6K4Ztg7VNEdeaZeL6JR3oQqrByMJ2lQKrtXQV6ePEdCKKscEkf1DTf7HN+Y
78gnlvDQyukCC+PFDob07kT1nu1Q/OfD8qwNkOkoSDsgC5HLgEiKUxQ+yZUjiWRHt0UEQpukdzaY
zRklKTtQXKrckbZvpgnHNy9Qdmgxydqqt2FCjmTC26IdjN4p8EBb1GWXZQ2K2fMun5YHnSgHaDeN
zizbjhpZVgAkoRtWE0rPears5kUFMjQzc2dq6qA0ql0nhyIE46ZXrH47l89IiUQLa25Df0kvx4Y6
0vB1Xlqn7G/Px7jNO2JlR30Zc5qpsUurRt2kUIxdUrVfJSX7MRS1UIp+MwHF4x4Pb1u1bR6DoMej
kiwdXt45oY9g1b5J+nRwIntxTQxuSXVpuktrPJaW/oG10Vspfji/0s2HLCsv/P4FfLCjvW7L1ASf
jv2k27eSZcLp0GPVqVdOB3PKwIGvXtik3UUm5kVzXZT0bIa11Q/gwpquS6pOFYS1wT6yGwwj/KkP
brTlqjw0RwifCQxunraVPS6qNVJF5SlW8gAdFacH5qODdtysgMT8K1ET7/z2bobQlTEujAGzDEpa
FW+ahO7D4TO192hyOF0KYaHKfEzr8b/Z43OOPB2HwTQHJPwTOgGNQ4cfOb3MjbvFyMFDMgfnl7d5
Tk7L45MPoqYN1JMKDLD10rFUIBrXKR9iKRZ8sn9wUjAcI06Dh4zn25YhYxI2cgoycQsTqXWeeADA
3/SavVtM+5io5aEi0aHXZ91ZSIhrmbmz9fX8YjeDD8qYkG8AZszi399qNNQqYiZaLB3JHBVsxWlS
HTTautpyed7U5r6uTHE+GhpSbyYFuLtyOrhF+2B2mpfpogf35kmwwS5FdFM2QRL2Msqls15VbQ8M
fX9c0NgY3/1scMDqiwaH+HLffgGsLHNBRzWKCfoM4GSqZuXbJNuVB6WKAuzPY+zISfutjarLzDQ/
VnKiQlPcFpySzWkGe2WfizlZlsXVAPCXX1ngC1XTQnMyPbuupHJPDR0sFzW4vxobwkNGcWGkRelO
nRE7UR7eD4OUOXSmtxNNQQFdSyJp281vv/pt3LfvqJHMSwNSxXi5DauLaXzMQHB63r82XXllgwtL
NSi1Mc2BwdOppt/CtoKcqTHfVUri22ZkCpx5+/SerPEJlkbLPFPLBTOGoAZppOi+1NvLWJdBmm1p
HwDmpcCHyL5Whn1gLRVUQWTUl7qw8M+vWuDvfJ4lJWFtkRF8nHWj+jKtZy8KlacmrqFnNehPeVkJ
/Ixshv/Vyrl8xcqHKJ9l6J/0aYlEK5UhLgcqemixUYguNEitYnu66MshurbtwnK0lszogVVX6jSH
jt5TtIvJ9yZi07pGUu+7qIUk1mRed1mcOH2iXcmZ+oSKgdPQ7qrHkwXzKzH4fGZvSKoHqaWH81v4
D9/SAq2prlgAunInp6YseZRBlMhKFP+abHMzNwBHxG9r3FkY2ySrI5PRMqJJyIaOftbL6AAWFH+C
7IcoFd8+fCeD3MEoMSNNLJ0RMVvS+yi1PF1u8H5f9oJtFNjhB9O6VB8yEsUlJKWhReCqT9H79AYT
jqrDhPMMX95b06VwcJSlrX+9IE/byWN81ITgoToj1XobwHaTwxh43d+f75mEaPV0j0GYHKbs88WX
RqC52vv8I+ugv7hgntm7RDne8zjauZVyCbw25QvAFsi7JHCXX9JrxtgcektgHAqyQx7tzz7mhJwc
SH6ylz+kFwD5eaJKiSbYbvb31fIj2SrMuEaPCF68X9r2ItQiQUjb5MVbbzF3h4cDTWylgDr1CKJf
IMEd/WtzoKBIQxGNqWa2h+WYA+K3I5jGEDmUaIHcNR72xpyprF6pJJqT0u9AUJ8/J6JjwkWbTu4b
qMzhM5YgMk5rkAx3s1tBf/W/meHCTKjRajZwFQYAMIN2/VvboYulxILbQBQ7+S7eYi9WVDYgEZ+P
it9e11fqu/br7Cs7eS99s0W37haGcOUZfE+uXpI57wsA+hjClB5/6jVqiCwilAH7ytxZg74DUXXN
tlRF4Qk2qTyAxCJBlyiNdJdI33vrW9P7UiXwhQ1nW5vhs4iBGnZRmQARGNRTiyXo60gQlUUWuMrI
0gxJYjGKGNolLrW/hZ3AwFbp9MUauHwA3f0lTEsQZDBgz3pCWHw2twrDL2xxIVCBdkpuNrDV7gbp
uZ1G3c4p29/tNHHBcOO0wqJNiGGrsvlXMUNT555CGAwwgjod3LJX93IyZiC9yUT95o2yCeSrIBgk
g9tYUU3umlakTsIADLCQKz7q1/OybfoFOAHw9oRcHtTdXsZxSpN6Cm3gfpn2R7KXFqDdJHcBaBsK
qI2DYTAAFEXHd3uJJ6NcbLXjWG3VHnMj7K4+YWWLV+gEbq/PtqBcx2BZz560uqe0mKZtGMJUCoLc
elG8WUQ3uPXgMiHLZYLTRAHJL0+klyRTNVc5oKS/sXQYI5983Vf2xniXBUzPkw4Xb8rnXtjlIrvU
03qJOjQKVTlyJvNKyWMnFFHYbQV2U9cVQ1M0MG3r/AZao9HldftruuQ3ZRCbiH8NadDWlW8aKkTQ
LQvKVbbJrYnUhV7ONdizFKrPnj0an6oiuQPyY4dcI1A6c9fV6uBoEPlsBxCoV6rt9Gl4Fw+Jl6fV
jy4j5q4O7esuL6Ug0kPRrMGWP61/IHc6I6UcC3Dk0wDvEXOCCkD68V/f1+sd4DkDw6Sx88JaGBbs
jrZQJAYxoiTiyN661gxA4cHeDKU8lT/1DTHnyNRUGhhyvRvB0Wd30S5qnsZeAKnVNl45WM7JEn/U
DUKtdADqKq2MD0OHadqsMXeQG0KNW8mh7LYAztLOh7juvM5E1bK0qnuzH+/bUoVKaeOjeJJ5oY7x
gDm1nayI/E6zvKLS76sK3LwaqFq6Zhf3IbyizD8NS72zcjPQ7f6uo9kljaZbZJH7cbBcEB5BLTjN
3s82OVbN6Je0Ub04H92WVN8S0zyYVPlsF8XT+U+6eTUC2qJrMiIQRN656yqCInqvNEDbDj26ihpI
vqTWGVz5Vc+8zctxbY258CrkxUXVTHOPFnR4FSUuXgeBgvjgKsfsGybyPLwLdufXt+lNGiMSBeqV
rfGlQU2amkGzxiKYUgLEY565SGZSD/MdiRunWe2eN7cdJFb2uExjTit9TCclggIqm/aBSNv8UAY2
hqioHSguAZomdwewiNY78eT7RqGFXZd/Fst9S5C5SLJZ66FfjSamYG9K0/TK+X4ybCd9UyxY2eK+
pC0rsd4YiPAQtV2MnZZ/kdt7wWZuHtCVDS4BqOtSLloT2NNRo25v9veNLh0gfbLXxuratMzLEniQ
Qo0hj4W+gtSiTj10IonlrexqvalclNCr1DQXuS4CupjXRmvucmO8pZFI8Y8FZz6bX5vhnlyNFE8Y
S+ujgPT1HmTrd23WPA36ovgdGNYgO3kYilT1k46kzvltFh0R7l7LlqQp9WUK/W5M3luD7ZdZsc8m
6xBBY/C8qc0bavVBuRsKAa9KyGJg3ESpNGfSTLDvDaXAbQTr4dks2rSFsBH6aIGiVru4CfIyBUXO
XZqbgtVs5h+rb8ZTTYZEstNqxCzLfNfv/hBNJC7TragmV0gGJPARnm0S3YgklxcNyJa9FYAX7L0d
O8WBuE0PQBtm/B0QszfPsyCN6Yqn3wVfj4dEZ+mQGUuL8BIPxyED9XSWCHZUZIELKsm02APVuyio
l4NaNY5mvAHMuQ6RPMtkgSm4MB+QwsgDFGT1eKeBQyMEqGJqL18H5xB9NC5+TFIaGZMEn09BYJjj
i7XZI+QvvZhEXmI/FOkeGu6CI719z54OGt8zQ7u+I4kiR6Azd9uddbS+5ACtoDCl+cRn3V1R7qls
L1PTgJTGU1TjidySeKBaHtu272lXGCzx5sfE/oAU0QPoMQfLrAGiyA5XvR0wzIyo8Lh98/2xrrOi
zCqvyJoYgs0Grt3JzJyhlp1oaRy5vonmoxT/eEsQO9niUopkqaXeSHHzUbVy7eqozpPgGGxfOScL
XBKh5FaaDnKVBJ3+g5rSfTtdZLb24fwy/iF6nayoL/esBeJ9zgkBmJMjadPAsiKqyW7nmeDdA/m9
bNgKz0k163U81RGGXkDqUh1+crr09SspvzfjiKHAEQ0YJBZ3z1hx3MxaikjV5Z9LaNwmoB8R7J7A
BH/LZFOB97tqF8HgZ9e2M1+VgXndftVbULKNXu1Ln+rYP29z0y0MXSYQ6EKxR+cu6tjWaF/UBraw
uSyGCzW8jE1BhWd7VScT3MZBzTVBY5pEQZnMjhrfhdbD+TVsGjAVW5ZRtgT0hnM6jcrINjCNFXTN
nU0V1+5EFFqb1//KAvsFq1DQt2OYRgvUn4s8P0bkc5F3bt3qTidsM26fIIsQGU6tIORxOVsxLoiz
84CoA5y+uV/2Mv2CvgdQgUw/UYzUZ+f+rxxxZY9zgKXFubIXRPU5KA7TYdkb3nR8pi7AqIWoybB5
h0BC2yKaisX9BcVOjF5RFlkN/QbC6n60p8DrMNHSPxOYYoDC1rdbm2R/X327dFHGsemsCJQl1qHo
r6tc2RXzl0GEmd+i0zLXhrgvZygVKUdQxAQ/IRja++Ire65JztS5EPXDDMsf4osYPXGh6Mzm5lqa
amCWBfoWf4kndhgbnmtJg2zHJSaHcoYDV/dZoH82MJwXAP4npslkR4v3npVJHqMUh2Y9ySEoh5kA
rSXtKr+EaAh7fbu6S2WwQQnJAEQmuauyBg/FMkpKGjSQeWArRKvHBWT5WgoohLEUAXxw80Cul8hd
nEaVpuXSJlGQH7oDXY6pR13zPRMr0tj6mmF3Pppt3mprg1w4a6JpKan5JpUa4eK4wBb2oK/sLdDX
/p5O/qnR/Dp+apGDPs+jr46iukjlZBlYmXHFaA+Sec/QSfoVowJ+PhIiCIDQInf40XcIa2OBRcYc
oe1SX60/mC5Evt0Ojxk6Pgrdcyuerr8eFwXCBvN5XQaL/REoa+Wm8GlQe8QftDuQermihp1whVz8
rth8uVIUkNaKys7VWvOmGwA+mKuASQhYXQeBG3o/j+ElqVtv6YeHyTQeIitu3tLlWK+cu+erYdGS
hMKX3jDxIggCPOYiHipi0OgZjfD/I9AwV6vj8RZtjK2rmUU2JMpYp35rmb+i3bfVL1rb4kIO3qt0
zAjjyX2WGvxNbPkanSrmHmcCOM8FXEpVNA0ZTQKpKFUHbMMyiKeURlacsAKjX4g7xW110rqCILeV
d66XyAWeyJwgMTEAqF83FAyaVtO4oW4BMNMyVW7o+LgRpLp2qQKNv7q+pQSavEmv3JfRcJfoenY7
jYXkmDQ6nP9hW7nk+nex370KUcZkky4t8BCbi8e0P0ydKE0QhVyeMHhJ8z7MBlh407SxIBwRLhzN
aj6bYWFJPgQOZryc7Ytf2iU/hRxEpXHRZ+WikbKEUEmhURSE2dHSI4yVvJOb5j/ekDz4IiskJbLZ
rfXvI83m+UCRXzYVA7Paf52PJM6AW0X/C4RmHtHLwNCvS+hU5uMBijBuo4lkWLbgToxMQ0OGrJrg
lOc8MMzqtDPrBbA1o50/NItsX+hkCuxJ+tbLGbIs3QQhK4m/4B+Og67bTpnWVyAu+GhVZe3oqaWB
F2zAzxuDzColt4Jewy6TbcuNrPSKlnO8w7G3HagDfT9/eLZ9G0rPpq1A7QJ9sJenp5SUoQsNPQ3m
EPct3QETdwj3SjDkDqa7hGiVzcO6MsdtldykkdqaqMrWUXWRqfN1Xht7wZI2Y/HKBpdByOM8K8WA
mYpVjQGyYq87PsIN5I7rmDeQxiOYM3xLcBBtH3dYAYnE5LCJ2A+p2WMdS4eodwS7x37vX9fLave4
nGAu04ySEABoCRqVizfdV19/ogaVveXlkN4Eb+arZs42a4dMdPyXK2pc9a5WVaPsTRzcDurP8afC
S2swiHdOfF+/l/A/KFxaioNnUWBLP2ah8DlzvTML17hXyqSp6ZQamF3ASdDkjy29aUYh9/xmcF+t
kcsTinihdhijQsmIxGPr+Wliv2fDvt3gFcGS7s5/zq2n9HpPuZfJIuuyAWK50E/07H01Wde20gEQ
qT8idN6cNyXaPy6SoO+9lIrclMFU3em66qjFN62NRVmI4ATwuADZ7NSIZAOExIxHNXmfZD8yrfDG
uXDHBGpt1m0THpv4wxi3kKsPlLYLxiJ/PL/SfzjzCPc6aj7QteZcJQWadKpoy/DDMSQD9tMeE1M/
MuIobunFu040hLu96JM9zmvytqsr2WoKkEZLj72S7vVS+y5Y0/bnO9ngPEXugYIoWSdXNw4MaYWj
D65cJ9oNTlYfJrc+vI4tdwMoCXLtk13ObXBBzpUJoVNfTfv7GaTfXm1PoWPLSeVOtXkpy8vDPPa3
dVFFriT3b3Ook322L6v0UWlImaQT4h2kwgcnaaDIQNNhn9rVLiH1tYaUlnSFdCh1CACS/p3RpK68
GKnfTPZNrcyCbHa7lrDaD+72At4W8xkq6m3//iWxNQj0Yu+5uwtDpcD4a6gkKkZ3MHLNk0nj1OS7
AoqYqPG1+iIDxI+EgjVuXzGnLeduMZNK0ULGCgXT5qYev8TmzTREu0o+0uVJ4NWbyeBqN7nbLAct
uALHYhW+nxj44uPgLR7Ua4tnudHpjlUWJnorrmJuHlpLAxgTAsEWkTnTJti29GHGoTVLsi9b/RAK
M8/N6H4ywdfy2qLTKgPz+YHVoqk3XofNQ17SGyj2CWL7lrqHiUmC34t59trVKWkMm+hGqkbgOQCm
zWuRRueOdfilbw/STc8gX0TdRMEOPofhldF6kLSoy2TJN7C8jnxpiKAPvLl/NsDTz0tD9v7y7Dfh
oi32DJAZCCK/GHnaYg6tua2sur7OgEgXsuGxfx+fYoD8Apk2UJiyzHdHQ0LVQgYrxfPcSfpR2eum
00ogSsJDxUkzp39KQk9wAray4ZVNvicKqRBjzNQWUKTyU1RX3jTf2rkKQYDLtCldmgwOlfbKcFkW
QhSUYLk6d03O2TyBGmoGn1ns9pCPpDvoFU178z24KtwUowTC/vOWx6wXy12U2qwQeaFgwYlSVcdT
Nr5SR7y9zm/p1k25NsJ5DZF6OY7KFDdGl36qi9kHux92Me4F5TnRYtjfV+5P80Yv8xLRuR2fSHLR
oBd3fiHbBnRdM9AFgfYaF/7RzsoGKuHtZ2W2q0FXsRzc8xY24wZkywG6Q4TAmALnAsooZxLJQxrE
EfGldtr3fe5BOBusYLKhUIcsWephtm5n03A+VKmFVLjUrNRBF18/9EkS35vzJKplbS6cEAzdArcD
Ti/uV9UK7p92RH8zjgYwKoDbRBEsfNuCoRgMIG8ZvJLVJFmRRjQ7CiLy0GCoXyoMwcfb9EL8239b
4PKEeVQ7C6QEaJIl6J8nwVT7lvwW2XcT7fM/VjgXCbWMZHpO4yCvkRVOaAFIlsOyQsMrl1s8qV/B
fLJ1Z69tcukBbYfECi0jDWQ2opdLyVUJaGG6hG5uRb6qxgVGHEQfTLSd3G2d9FKjdDIKuAYpdx0t
rlV92MsjEaQ+Ar/gx4KicJxrmWEzJTI58ngfFiKtBRbi/rpjVIN1alWdTWm8jBoh1Wp57tDT1IK5
hsYgKFU8Mw/YsMR0HR9jkaDN5sad7PErKhqQ10KBLAqavHJC9ZuOiUoQWgniyOZVsrLCndgxjKG5
aSH/gColK0vkX5mMR+tBIiBiEgHC6cGt1MBeGWTbvAq+sypLttpCQUeFL6TT9UwUx1K/l/rkn1+a
yBB3mxiz1FjSiBNW5ns7eehAOaAW6QGkC7vzhjZdb7Ui9vfViqwGpLpSGMdBO+cOrSpHQtv3v5lg
vrIyUVSGlCUN4qqdXlZUcapOWJ4SuLfKhT2yDODvRQ0goOmx3wFxc536kms0x/LwGhkF0aZx8a/s
R1I27DTJkQ/SOwfZlOCm2CwmrD2NC3edRo2ukHGA3jLTDVAKvsGZ+KBy8cHWerWrwHDpl2quYH4B
hO9pCxYPGke7JO1HZzDCpgZOPU8Do8OTuEubx9AChlxvKssjQ1k5Y9WPuykkR0wzjY4y5J8MaGUZ
egJ5KTP9INfNIwDwhz60Bken1W2CvE+1xisrLi23RvNqZ8aNW8nRxTxY+BM1Fqepe0aB8IMaJv5c
y5pjyJJXp1nvTlWkOuHUv5dLCHXXjfKjKqrULTr7G3hAR7dr5MPcWNX/OPuy3shxZelfREASJUp6
1VKl2r3b3S+C7XaL1EJqoxb++ht1LnBPj4/R/r7zMMBgplFqiWQyMzIyAhqLq95pRj5I497xGtML
TfO7sbp8YzHEJN7pO+VaN7RXh9K7YQ1GdqOmd58mm8KnWM0fkOHdtPa48zBgE9ezvPSabDHOs8nl
SuLVBkDA0WML+Cijag2qSDTFEc6pMH73742vbyFpcK9ZCHPMqb94DnFjY0M0rZrRqmvKuohnW62R
gJemF4oPflVCmCA0oasqCjtqokKK38XS39i5buIuCDe5JpnAqNFOU0y+VUyW+wUzBEybQ2tNT569
7H2mUT/4IFK0YJDkst7XZbEvm59D3qc2yHhRl1swU5fV/ewFNJkxH5h4vnKjXKCzHvQRtPhntErg
tbYSWISNrj3svGoO8RZlCuXjna6aD3dh8MaV7vsMk2pd0EdAIxe/bW9GM9+WuZiOQ+nvVmKsCO4q
ST4OD703nbQTDFFdzwfIGZSRldc/8tC/nwp6Cpxwyxc7U1P44dDxKLHKPXPTmQ73ZoFEg13prT3l
sd9Wj9qVkVU3HQSKnGyY7Qxqnv0WrL6LEDQpxwHZgUcOnaw+TDntdYkIVLYbmFD4EKhSu8ICdC3Y
jjTTjyGoNh4GeMKCP4VC/nBRDNnU6uKA2I90npOKsCenXH4wypfI7emQkrGE4lrVJQO2ct1DjQSC
+FtXs4eJQuevceWzXYUHrmmVtn3+UhHSJiHXWV7UZboYp4msICh2jTvSWNcDaNrrUqaNkE2ad8t3
JcoXYQtKOS7aXyG+IqZe/hmIl5AoomDHuYX4dgP+NLuv1vr178H++hufAsk/nvEpbjkur10qfCSg
7FHwITKkTFpmR4vzO+S3f3/Wv+qEvz3sU9Ri6G97HGM1W/G7Oo8792zduvB5KzfeHeqwTQEpXs8H
436CLbZK5ky8/f0v8EWW8+fLfh5/lkoS4tjseksXm2oc3uFud1rC70zYvlg3/4+74HMLxKMVdAY5
bje3vdPisZXfUsK/e8KnRAp0VTDRFxfMy8TeOK82/ACLn+zGj/kd2TvRahJ29/dP9y+diU9r94+X
ul7pf2QF3eKZbvZz3KGYg/YRHXREn4s9uzFbazMfm2Q9/EtB+RIeRQJCzEFs2DeE1i8HskKXUhRd
AbUwJ/rPv8MQFKSz5g7JTwqxpeN8ak5hmEDNyv85pTR1n5sET02dvWpT+5uc/7o3/+P9/3j2p5Rl
9jodBh4yPCecQJToYlY4Sds8WZWJkC17Q53As+bvH/3rwvta2Aeuh1HV/7DPGNzcHxeczgEwOlQ/
eCwWIJ5N/L+IJ7hb/924L8yZ/u+Z1733x0Kj/VPrERng1vReRkl7IrOTeK6dffNu1z366YMGoD6D
NhkEkAn8XOKs1tjQaYWuzwRfV7Mr9gU6huAvlof1wGTyzdO+SND/fNrnAqfJe6cL24XjxMzp9Kuu
Nlf+ElRUkilbHHRGyJZN8XpovhlM/Wpq+x8P/nRU+yk3DeweOSq5fAsTheFfsp9hGF99lPp9uMuv
ku5k991+/aoF8Y8HfzqwAZVa+Z65qprYm2UHYhG86a8S2XMWfreW19/6y1p+3qd1M4LHwTHkcF3L
q6tXUb1dydPuFF+tldfvFBe/OIyB50BFILBQHlufgZmuZ2XTVJJve+1lvkvOUodlFEBedinYZvEm
yDUQuHHnznf76Ktd++eTP4UB0xfcgiII3/LdlWixZHnm7UtMgs7Rf0Pa/sdbfrr/BfBexmyAQ//b
RPr/tVf6MhX446N+SgWCUDpOPSDYhM1jS9iWz/2mr7e2psko1m88Jq4/9nnH/JnbfDoWtg4Fctqi
3cq1j/p1jvLqXlrW2SzIjGsE12+VY74AH/68/Nmn8+D0XNvFZElcHvl26ON6M2U4hmNKtgRSkqnO
9HdDhV8FnT9f8hMqYLEVEva2j/tq6TEmee91qcHc+DR+09j57jmfQvYodWDqFjrkorpf1gH1zN2i
rsrK3yHB1x/626p9uoBJx8GQcqp2O891pCsrgXjl5u+R+pscjX06YMKwtQgbCMyB9BUF4t1SVjSJ
7zKJrwLWHyvzWcYuKK1uwDmGcru1H3ERVAeYCKX/zwDENy/lf9p7yqfSmwU2QqtgNrKEu8E9Odb0
TYry9er4sKAJkS3gTsXq/XFzr85UTKuH9Nonzo1iza/KWr7ptX3ziM/XKA8kbXNLtlt3+FnQM53/
C1Afp/T/3uGzNVqDEpsXA0QFnPHJBR9kamX032ywfz/h01qYZlqEcnBYPMjzSm9nuU1iqqe/P+Qr
evg/3uPz0W+uNj0Vsqhps6YAEDoMothnnawJ0ow2LpJvE43gX7voP0/nv9/sUxgwgkm/maHs3FN2
0CS/C65Kr3CGeh24/waA46MsYFfadD9rD+b2I7VPrVhfHV+pqKnXWxP4l4CWmOdwCI8UI9uVgNmI
sSFMI5f1gzcR1PlNJ7ZcNSzVgRBxFZQ10BFyyygKuomf1mE49Uux6b0c+p9M3lWcvbWK3Tu63kAN
sQEGlG9xsc3xuqLQJPO4Kz19wyy9cdy63dVmjoS3gnrEURq2jP8o9PRTD+Nj6BAITDD24U3l+1Lr
NnFDT9yHObtbCZ2386oaCNu2TbTUQxNzJ9yQoC8vMBx9pzB0TlrB+hTA+hqNGpBXMJr7OmAimmHK
61jskM88drp+jJkm9DiNAT/yxQOxQPBbyG6Mv9dizGRos9iS9rNZ4a8LwW4jmzd4IHzYZZgtvfpR
tkEUukNs+/j/UJRpHZ3UQffTdsTWz5t7mw9p7YrLohnKhmYzNLiRhk7EQegdlAodSKNKGbntxh7u
3KVKVWlfnKU6KtFume0+gqCFRal5bHECTYoKehSqEcnAurvK5g8LIX3sdh7umT5xSutXcdUk6t3x
sCwQEPRlRhtxbLsmtsogyq3hJuggmK6pF1XBsoFnKoumqUjyQBxMLR6gFffUdG4a8DKlRLebKh+S
EdB2NHn2mdbsTXX5S9PLRNQkW4N1wb/IbW5huCQPtsqDLlFeZg0RryEUYqNWiQ9/nA4+uLzTZAB6
QQ+Kt3d5bv9yPSAuQuZPVW+iieun1kC8NixfVqc/9z456FXfToV7rPj65rpm3/fLkKwNHsnzuxnV
UgyoKs71PG9KX50HUl8ctu7UoA8+H2Mz27spb0CRGe4E+KVR6TjboF6OuhpvFqmLSFErCQU/2Zoc
fTNvB0MOluefXcm2ZKmScvGTcRyOXlnfFtR7W0UeYhTbf64ajH57C88xANLuPTZuJqdIORsvQooL
R47hQvwh18ES5X37bIn6RZlgioMm39WlUjGvwiHS/fqYN6JKHOpmzTJijCwcLhhLGCMJFcQBdy6U
Q3cUmmBN6+exB858DJGElHQSv7V0Ilp4k9WllfgAEwmXJ6eyj9LA3CJcsr6bbnuFt1hlHfmeBlsB
5d2m6FQ6eGwzU/sgZyi6KHkgNhDP0R6ScFVYi2r1krD0GTZSdXJ8OLF3hh4t6vI9JGnVxWv5m7Er
GJ+oAMqiLUsgZLYbIM4S14sAYgfsNKfdhfbkQiu+YQb6SqHnAou24WmH/T6Fh9pDD972+zvUvEff
onuvyLd9P6TUyMOspR1D5RzGEJhDp/AjwyD1Ga5eH0WT4zCUznGaTQzDLnCsufsxeWParNUce2J8
JA17qkTzCkn4N7asGUaipkjZ7a6z613PRzBipL9dAnjS0D7mk/kV9HBLqAYbbGriR8bAqSMn8rds
zZ3TwcWAD/kb0/Me7ZGdoMFuWNWO93AOmYT/o4QptAugUZNGJ2xF7AcqvxGq4Idw6RA/rH4Lq9sf
bl2cdGm/haRIEbvP9TjtTd1jZlub7TxOW2XN2M1dXBVFbFR9Dim9h3oylIrqndNgIrZXSaWwmKtb
tVGj8yLKnTJFjgYfkyoPE2CnvzxXvbSIpo3tV7E2UInmRCdB5xfYdOICCOPWkTON5OgnLPdiocK0
top3n1aZCUhUjLyOpqDczi3kySt9wJR2RIWKHZafOTRdfN7uc1slaD/8EIYgHvGsq1mXVHzeewGM
jFQHxp2Dz2VRkQ3aLHFZlfuKIqYOeL25FQekZBvlTC+ObZnEIxIwrXBO81Q9og2fggL37nfAtZHU
pMwA5irDhDTelDA4ikAe+czDLsvXle+62bkTjXonpoRCwzpZsdOAP1KMgYpYPyfMgiv0WIL7JHS3
r0UlYy5qpM1svbvawUXz5FQHMvYqanthR/Xq6Y3lIhHFSoyR3a64hoiHn60sMM684UW17u/CJ1Y0
a79P0IJ+HInaQhWsryOYMKZh7m79sE9GajWHRelTSCoWB3JE/GbyR1usB8w53wZc/HTt8cTC/mXt
7L2vfdw+/WKnxUqDdKrMTllevZFuB7PJNm+OkIT7Idvpnvb13YDeeuVYp9riz6ODn7fbAmq4flIN
czrazenqixEO5D1cyqPvhj9qRhJhhiOGfGJ37lAv296xYA5WS+L4OkFUU3oHscrIePmur+HgMbMy
WamX5M6qTp7kNLKq/CztNR1mUC3ldLIttq2bIgn9ZrModhCOldS1SK2ryYWaCdouDZipElrOpRFe
qh1z9gcS3K6Dd/1+InX1tFezm+RLM0auhEaOPcnMtvI9RtB3RLHjsNRL1PjLdqQD9PmBkqfDMNRx
yfrbulGPZg0gT2EruqPGo4kTNGkwBJe8GAUmn433HELtDPSAkyHVRgrvsR56nDb+MOHkDaHeQoIx
kzI/4aYFQc5ZXvuwg/d1vVRbbV0DAewkEwfaiZWczz0t+ijsh9+By3fUn+1N09YfUA7LJkFeNLKs
auj3pTVnnnDfFhdSJQRtLolVWZw2qTFHEZReCVnJsdi2wbBegtoa9nmAPIiWLLNcS0Z96d7OMyd7
gTgTOxPt4p76t2Of81TitXiwXtl8iYKwK+TH9nKaHlQTxg4dko4utzWMhbV0DjngyiWwNxOFoBVj
6ewKKIHiF4MldiwpEy8v24iF3a+gllca6eCik728O7mdLiNPNK93bgF3wFDtciHS3qXZUr8GNeT8
c4fjb83eR6u5sQlCyAJNDWl9uMyJi0b/NGBy5Xo5F7BAAUGIIqHhydJbL0sJBfserkdibZ+J7Wa5
sNEqy9XJN+xOICmp7ObI57GIaTvakUZG5aHrtZaqhNG6+cBlnFl+9YQuZyItZ2P13SPGo2PhAexz
EBF8Byo+Fsw/hZJV7NVL1i6QYetJDqiBrHGhsUL4uXiCGn0C/5YE+n9ZKdzjwgELFuUDplnv/bqG
fWr4DG3109jYiDb+g1q6D7l2xQ7VdlrXGMQOzS+dwzdC0uJjGK+0oQoJ7zX8991dCOR4yvs9D8WZ
SPvEreUJRlDIE8oDrRxcafKQtxV6aN0yJ9xqATRTVz+Vo/e2FO6sIm9c/Z2s9G5cQRkyfFeszV03
dOgP5gnudjC95+7DcdG4c8VOWAoOyxP6uvUaxKM7F5hhanY98juyVsiPuoMeVcb7MoHt4qbBwg9r
iGSvwQ6rGliw1yFatmzau73p4yGsbrx+1ZFahzZtQW2LRstckLXQTPeDjtg4mNRU9dYSeokYoxHx
JkTLHNQ65ke1UffQX8+QzqcNtZ+CaiSpUwY9bHoc777P89jxOdKyIjhwbF+unBtXUXzpCjyBOXhA
8r4pWnrvckvA5GdN7BX9S04nQBFB7KAVqxpz73AVSUFAO++yeSA0dToTK4cewEE9B7bK6ETvpFTw
+8QINtTyUKHf1+68mZ3yBzS0sPIwF55M6lH0odYqRj8HPmAcmR7WUzlVYuHScql5MKH3TrnrRIsM
BXSAGntXNMakYD59MGJ0FKyghNg2v6ndfBt07pTRcgIdO3jSZPzwC7QNcjindH6FjzcNN3KcT4tr
ROQszrmfzUlO7X40edY2btzS/pFUw43nh1kOfQ/c2DxjYsB/ZJCttu0kcLjBRbE+rAGi0oQ0sS8G
ijzGW6O5CDNF1U+JbM8N3emwln5KvBxaCbP3gLm1X4Iw4BLKZIKKo8f4ilyrEnDoLjdMqKgjftyp
aY0Qad6prLaWEalRU2qtuOPgtc1zvWNdcWTSuzPtmFIxXPv1R7c1sE6eS42jl//wWeFHbsB2mAB5
ytWMjToC+a8MyJ4s2FoceW3gwy6MuTeedt4cMuCuDKNxAbWxGMzGIjJPKHVeQzJnvoR0P+nmqKfl
YeTFOcino6DmA+oqkIUOu59o1NMIrfVbEZTdnvtI0eaJHxBI9/mg0tDp7kcOGNKfyxLjtwv69/zY
t82+H8vnsNHPkLbeUBungrMK5BHr5sqRqLjiMbSIXxqL6sTv5EUqb5PDDzpg07F3rWePkIexmFPa
mwNvpRWJEfLbROqf2Ccfs/TO7qSAyy/jG8QUj4EPJgduuslGBHbDCoB247x0WM9QLM+5Ck8oa9PR
Ky8O1FAqK3hntHMhNCnrdGT+ay3NT4IlOq/wg5ZrE5Yx0vddDie2aPDrH2s1hunSWGc3LG9aGM00
DTxWjcS0cW0ASIhCRkyRZxMGp94OslXmO9Whimvttox63r/pYTm7i5OgiXoeJHJFuymjsJ5B3GIU
f8TLH7jvvNRdv+OWd+sqV6Zt2Xhv4FCUaKSjJjVIDyZ/+DWXKMCrKs8G9GJRlAYJzRnitKtif4Qc
0zR3Ub04j9rSKGI4j5uSInDD02XHdXnRlg+TZdadm1DJaHWwpsbCX6w191OjGCQS6yOZV2zXMEgF
L9fI6f1f+FzxInvsX2c+en63F8z3oEc6v7WdTlEFHPJh2ZPWjuDBxSPYXNBN1bsvjV0cenCGgjb8
XcmwSALe9ig0io21lG8r8UxE+2sWsfAI+MeOAOtDxstw7kuCKrlAzW/9Rievi4ZZzHGZ//Jt7zSX
1maw7AcwGXQcOHR+N3O+REjLn0aImSKln0oUhIUTtyF21jyeOyZ+Tvk6JlY7tfFkYJXHyprsmG7v
rRFg3Nhg2mXw9JT6WiLHKOUaY+MeWbsK3OoyzmESHlEMPS2mzAqLvcpebKsQeuqFSWDJclyW4lh1
wUkK55y3OjO1D/8UulPtsKtcvQUGtDGLfoZoUmS7yLBCg2Xjr4tjC5j4lF7crlA8xRwtnebbDh8L
EvepCtSOlDMSfh0rQuLS+EU0dMxKHUITz2FJ4YBdIpf2CD/Z8+jKX1XdP0FMPFma/t61uqRjDbC6
6p0UGgHfeTKjedAt7voQMi82HH3H4tmZq3uQkkDVKH+4DQo5MXv3fmUnSJjThbPdQDHJwdkGLJOb
qahAuZ2QEa6Xgpom4iG2ol9Ye0TWnevmh47new9ju57C+sOLmfPl3CgPXzJg+3GCbd8C12LFIRrc
7hvkHYMznDwxY3bDgvE68nMhq19lD/+zTmVtQF41A2mft7DEsKKluCbXdhHDTuI4T+3tWujYmrF5
TbjF5NJJN002Yh6ubNukNfP9hMrc9YftXKJhmK8XZx2tqGlopM2YTE6Q2SHfrJ08z/hFfN0lKyv7
oHLy07NINoTWtguWFweaxm3YHOqCw5iu3NahfcY/aTmFSG6ABaz9EVyaeKpqqBuHqY/yOaoK8pYv
4h4j9JiEWTawdzx7Y/V8/YGAAsujCGSisU7D3O8ld/pY2dVmsYObKV+QOHeb1kKsWFsbNCJC4xBe
bVsx6gI5Bn+V9vxW6eABLpx7tBHPOabEohKQSeKHrIqLDqghcn4eTbS0QB0zv925P+q+zeaueBcB
/rRwG0AIdMxhmduQxAad/RysbR73Q/3bVxh5cfoNiNCoxHuR1e3SRH5N4sVuXvoiN5HksMILwXw5
cEZS2HChIzXRRE3Dc6P98tAKuwJEUpz5Op7sUmMEfYGWkgPxuAS31wnM42R2qou9mHMz9aAtIVpd
BYS1n1IQQhIqYCgD5P4jHyGjHaxgpjX1zVrX29Uf9RbVskE5w6dUDMLf006jwF3T3uir0i2YRpyp
GLPkW0ioxsWMvBlzLpaAw83s8Y2DoOMI89yKJh7K26GwdkNPflreMESwnNuJMjiXXXixKAHJCwMq
xbKHmNwvVusb2Xc/JiYfleclNZLaIrhWXD2LuzXcMQVdSD6A7gSE8QlDryg2xsxx7DIF8zBRocIc
QHNH2ho6gTnZ0oZcOECtnoRPha13K+cfshCAwmBorJk5zDjuywrm1QwaosHsCquRI+qyeeKiuvEX
L1X9dAej1zislnidxE42LGlr9gD79XQZUArBwzvEWTVHM9TbYnFSUspfbRE8dtfaBHB+1Lbeoaxh
CGPozQI4cFTj0fX9m9HpMgBmmWMwxCL7E13zA8w/MOvaPKiQP40ORWVOoOlrp6yUcW9Vt5NpNmTM
L141PvGq2VQevGXU+oDxEbalvlQosTsZ20N+GQnOgUtT5RR3LdCMiOZ9ZrEgWdVaA9DzgWLOmcmX
vUKM88PgUITyBsy0xPKazG69LQQR1kgRa7tCfzqEAoHL8idbT7gUDL31BMBQ4sjbwO/8vSfXnyiL
XgFOwpMFEqyQOQdIOEM0cVXWc145d9RYh1FhulyAThmvoTmoCuP0gTEHtwYi4lTioaD+g1/0yLyw
DorpUzk5MiLK2vlecVvp/jIUbhl7TXWxpHh0e/ETez3tcT9Nfn0usUr13D9ZvOsj0zEf9P7mleUL
eIlSvQxTy+MA01FlKw9d0McUigFM8M3Y1qe8tvZop6eycnRkQpYVBWqtrrqrZm8frNdCjzQgvqn1
w/XsmxXnmoQGwGfAY48jU0AYHkHDxDCSHZz5oPYcilugoAIXWsIYY2GgdtJ6045TBn8NZNDspQ6r
dGz77TKDN63a5SO0zXZC5bWzO5X0xfwih3FfUvLeLeaCIrXGLQc1IdsXyWp3PGprjVoeQ1+swwAD
Rkvz7qxC664b+Y0G4tDa2F8sj+o+T8mSx1rraOVlAopul5Twv5bcGhHii80yrNALsraiH/az0Ins
ilh6cJ4pMCmvltQnt3Ve3GrlnOqBnDsBzx1cVdye9xNVj4sPK5cCIHVYZWx0j2AnxqWeXkuQFuOl
msF29IEZI7ZpDj6saZLGql6Datp7Lv7adrCXtQQWVj2RBZZiQBzo0uAWDUDZnYZ4lW4SdtZB9dWm
D6+zI85Vzslpb6DHC96jLKEUo/DH0EB3xJQOsNerZacjqHeeXde6zMa91XQ55Q4uz6F4GXz7eeUd
xoOmy+TzMp5YCGt62pw9v7p3axe2dYxEMzEZyoUNOjgvdpiD+9hOZ1J1r0wHF3voXmdcFo01xMa5
ztrN3hOf0Nmp1x+cF3HTDUuEL3AjKvYxrxRfumjOZoapCm03ru091Z26UcZ/m5vhpuFthkv0Yc6r
X3BbhVW3niJWDQDX+nCriz7hFHWocFwoDubvRSXBXEU64gVAXQ1t98VaZX3L7rBF8H9EfupL4Igz
XzdVWaH8ctR9V1QHSGUCe7Wj0nffa8jLx2MHbAUjOwHUEcrb2ZI67Tz3OQiHX6Z1dlJYSJeBOjsC
PO0+ZAkS1jk2i70JKnaRNTlfr4rYX5GYIwLuBoYpkdarvGhtXDR9yLibm/V2JO1tSPgBMuaQJugL
erAr+WD5w6XjzbGEWaDJarfFZpjfgLL/yAdyu4qCxHZgjs1qb3NWPhdW9+44AhA8xr0U5r/yZgcw
dl9pZuHELwdAThlGvqCR2MeYuIjWEbENxHBb3IPeuxdlm7WY/4nWsjkUhW9QrHROqsb5BhzbS9uV
lykv7z3uo8KzVazGHtIqYd4iIwGPj7TChaaefWTrmgFZQoVm5zck18hiJO5etzoGgX5tmz6IwFa7
42vAgSUEvx0EhngIwLkYhRN7FAX3ErQ7RvIbt2t/G2s+04VdnN6NGVsOjlGghrlVxmHeYXi5K+R8
au1qt9h5xjwN9B2NGTeR64Wgb0QnoiLLdM/EWjKu0IucJNK3WoQHW49JWbcol2VDIrQbwxsqx3cA
2UfXfb96Jc6/2LTFvTMN97zJ91MeJCApo382q73PQbB2WfBhoa2SOrau4tX31lQ3IxBxe56OrpqR
ksrZumt6MsWdtOtfsL0f7/taOzHsANGVnXSVEF3iHJdLkLkwzIk9BI016maX3kgDCq5hMG2sl9cV
td4N6ZH6BnmBlm0HRqnnZH44+5HP1GYOcpUJ4u2cge7gTpMtoisirW0ADkPxDBRqx+ewi01PDwJM
f1juOo267To4LSxKtueAGXXLF8AYCoS/7DpkfVMFze8SDWKIeSZlPriJu7TDC4ahcKZR0PNHjTdI
PYOSKfG1CVD55c8Q3lky9OFY4k91nhBfvnfV8GghB2ydSWfcnTZDbyCJOA/H3Fe7EGrNiYIkczYu
ON7FBJkt52p+3qaTDTx61NrZctMT8BtrA+1mzCXpUd+glYIZCYaoAVnmFX1lHPOugFcfX5eoNXB3
HjlD69QBPFaF6LtUvz2O5t3fOQRfk0b+3c7/RLbpw7UtxgJMmN5z26ig4gdF7IxlOP1XlJt/P+gT
5aYqLenODA8ymIXIUYGG/gtpH//+NvaVV/E3dsInNpszir6wYLm4XevfhUSZNsSM38/dT6jVm/Jk
kOPq8d73z634/fdHf0ls+4NT8onYhikEqic+iG0f9Dyq+uUSWPJRQAAtcnP7w3On77Qrv+aa/fuL
fmLiqLLH8fBBk5mgtVp4EM3mSd+m78DYN+PWaff/jVrmn3yTz5xzVzsCgUa1W8w2/Rw1gTlFKMcY
VccWzc3i1IuFIZ2GHhmdAQYDwYlNLg6DY30z73zdLH9Z5s8CPMC5Zdj42Ez1zB9DYt8s3pB27pwI
Z/5ujuxLEiGkW+C45AfU+Uw7FUtZwPYdJBt+bYeTc5kD9s03vi2Tvttw/fD3ffTlgfzjcZ/4NZBV
Ab+AlsBLSPjLLppbl5hHwBJ3f3/Ml9v1j8d8Ovc8GFoxt1psBwbxaRuaZ+wyWf9D2nUt140rwS9i
FZjJV+YTJFmSJdl+YUkOzDnz629D611REO/BhkeXqzSHwGAwmOnpfhBlwTckzqncBdJubDFHf5FD
tONAauZ31Q89uk4B6RJe1Az/Lm762Z2028vftotKxrv3ry1josCkdFHXt79R34Ube8oQdKDpNILp
BM0PjrVduNrGGnPyzUhEzXEqgbupgBAQKiTZmTl4ppI+jTTQLUV+mNo0tmfTjG3oOP8wU9mddAi7
dJqPCvy/AWpufg8TF8xqkIRFRAzM8tSapOu0Oq/AMijDj8sfztlWNhqsVWqOEuBg0FEhBNec9DKO
JlhIE1Oxh3ZAKWp9qYb2sYr0+8uWdzdYI6BCFhW6ySqzwZgaHFdctHRGA/3NQ2PPwXpNke5TwIW4
723v1hazvWC904UBMiSAiHwhq3GjaiUaksvzLEI5BjQGfjMDywIpFDupO0cx8icV8sxjj2pxmeUc
pD/vxzB7G/dDKU9aA/5XCDWjhSh8Xevu5fLq7kWgzQdrDLnaSLokXqYl8Wuxx/vJn7rG06WGk3jw
9pBlVujInIyT+XtYYj50Nh0daA7Gib+He+zdoDb7y19YWLYuYigLrarEj5boqNbkpctH/UkbKw1Z
+HIm+vAgkPE0VaOD2qMAPl25lQO0RIFv1iuoAShOK0xOLg6zu866PxQZLgFlcS+vPHdNGEBnLUap
Bmmd+HWA5J+tyd7p3S4J9bQNjjcG5k9vDbBBqKhao6xs5/2vUoXGTjWgyIYKWQlNe86ls3eVbm0y
lw4gdkkIkEzlh3gfLxMqeEjyRbDDqujToP8URCtPSpznzMzdU4eTaEoLvIysz4b4s6iukuwLZ9ek
nWxk+1lMNMq7MJqXHEtJp9bE5og6qqM/GGDFLHMw9fU8EvHdbxJlWaUikJLEDqZAECk2pgwIWbk7
kvouj2ZrTr5f/qjdQLOxwaxbOEBOZJwRYTENbetA6VQhDyO96w0bE8yyRbVWTK2BdsPQDXa/Pin5
C8CnuED9ukG/q+IEHN4XMXG8HDUUfVV4gqFD3H1WMLrLcwS6KGxaCgIUjDDKqkogEvv+TA1RKYn9
ijCDKXDMYKHUVqGcBhIUKGbGHs1AKi8JP5tOxQkc+0v5Zpg5zEpnooomZBjVTIDiyQtgmxt3ATBP
HWccrszNVt7c8L4Tvpmk/7+JH2qeLKXe5JU/oKY66t960ziaycK573gfxrgh5ubzRZtgBcUdwNJS
tOh1tx3k60FRHZyCQyv8/DeO//ZdjFdW7VRIZargVaU05wTA61rkTCXtwva3bsJ4Yq80s6K3Wo0o
TwX/Ojuvnf7UYZStv0YfAPihp8vfxNsrJmuQAOKVxwQvRWMoDl023WJQ0W11XuJw2f01wiQOdS+b
cWrCC3WiuCQOYrJ4sfkFJP3/6ij/uUcaS6o5ZEs7Vh3OWa7PrkpLZ13IcbzdJZOIJJmyZBgmm50Y
s9ETyG3U/pAEajerlgZtKLVWOV/CM0Ovls0pkmpFDasVuOl0aADr+GKmEQD5wn+0wsQlFc8TFBpJ
4peSdqo14D7rwDB5Oqz72ctmzZgohPJxLULLuvLxBjoaxknHbQ4IAW74+yZU0LRYrV4QDvpS2NHM
ua94C0n/f7OQdaxBWaOFS4SaJ4co9XWxA+lUDmUSzwoTjgbot4ZAO4BQf/lkROgvSo9Z+PXyYd09
RZtVZAJQnitCXNFTRIAD12+EETPE6qNYE+eynd0EcGOHiUJz08UgYsOKdWKgD4e6T5Hj/lxQ0E+/
KEUclKJ32SBv8ZgopKVSWI4RfF0ihW2oZ6kFY4z587KR/a+SNY1O7OpgtXjvB0Wv662pRJVfduVp
jr4R8CIsBYGYABoesyVFD0POcYrdxELSRQIlO6hKs6JOS7N0mTyh2pAVT0Xy0FZ3lz9pj3sVvHBv
BpidMtYYY06xiBy2h3JpR7QAEpy+1Am/IjWzQRbyxVgrdzGL534afY5x6m4fcpqNcWZBp0KVxqTD
E7d1UCkqv0tHxSYyshuMnTxR6ewiepGszPkbo8l7Y9Bv362z94nSxmkFRfc/h/fXoAbPvCXaylk4
xFz+ul1rmoJYD64AHWPf7z1HLYoc9J+w9jbKTmsKxglCrpzLZddjNDAtSCbl5GPJRM1qjeoWE4J4
Gsx+okhfKkxycPaNxvQP+7axwQTjVO27iiwSpmjtFdmo6DR2cQX0P14llEaj43zS7uHemGNWr5xj
gEMxg+ObnV+qzya6LzPnaPNMMMFXTtBaKga8HuXmkCyo9eo/peLL5WXbtaGrEghXRSiZsbSruQ5k
f4huoB+b6PChz9p4BUZApLThMbxyLLFkqxnYwtF2wYLNBBxQkY7WkTTqL6RYOWF3P918+yaVmYIP
C7S6DBXpJpXxwsCOneGFOlqNQzzJye55KiF7fCIGII1/rqHK5DQEYyFEXH/bQ3prJbfdVeiM4NyJ
T60NavKXy5u2e5w2Bpn0ZlizedVb+voZIIsOQI9U2Zct8DaLOUxDBpBi3+OuxIs7Dm/7SnaBOOBt
FF2YD0d28x30V2xymEEAf2kM7AvUAUWPtnCh79Y5NRT0PHTFHQyJXv6q3XUzVFAgGLKomyqzbkW0
gniYmLW/hjdhKtmhyJNv3k8JNyaYhVszPR2JXtMeFeVf+R3CJweCh0GzOJe/Z7f7B54XWQN7D04w
e/mXYxPX2QK9S8WPAj0AZ7E9mcfZBhrAB1CGR06+5xUbc+yceqaIgqitI65GBTOVw7cZA2dj/cz5
qI/3EqTRDVk1dTASgYSWOb46kjSSRXPlN91dhzqd2k12Awy5Iv/I+qcyui3nzwUejXLHo9L86B/v
LTMHOe3nOJ2kJPYjEtSCcCctvFvq4wqaQI4ZugwcIIYaWM5fPQTsBKMYSJ0w8qbIJz0JAUf5+i9W
ELzCGtHgGarCdguiHtOkBoCev7sFlKTmz5ud2y3Y262tLSZXAygQSOg8pZ2J2aEV3DmgVe2/1ZnY
Xb3NdzGpWYW5DADscsr6s7jqaGeuNQK9Aq7T69V9pRtJfUClOatJv+B9lMKevVll2wNlJ5UhZqka
XyiM60jSDu1AvtME1Y6HKrOlFQDFHMhhGwN5TphArpKEt9KgHbsZ8/Kkr7y1IXVQzsmVpgIFigbY
ygsEnF1gX+/xQgqgTcEjhjnJ37REdMcx5+JzaYn2bGkq2vCiAQTWB53ifkjKUqq6+i/vmk/LDaCF
f6OPQTMcdum3ppgMiA5PiEoPnapKPi6AlmXZOSNRkGQZb5N5H8U8QtMRcONGQ6f/Tzf+sznDT4b3
vHj7UcyJyVOl6tUQiaoJDqBqDiZ01SOBk57uhbKtEeao4Fm4YmghbDCRMD5iwvJJnD5fPhevz7wL
m8PqO8dxJEhpCN44Q6tORjeuVtOk504+VU1t6woGH2IMCyq5CbxrehiU4aDmYJ9RyvVTZFxDUiMA
legJlUFHGRdnaX+uTX8qMjNIKeIW1fdq/K5LsW2Gk21qCGE44YOaBi2YPEF2oIhnZV1sdQaeFoPT
BYkB+zOcKZKuIPfQis/6EN4WSvZpMEavLAow7T/IzRkP1rLFnLQKCKeGmQ5MlHR+BGG+KkXs6o0j
JiUtXcREknlTLr1FmTMXIQUlrA5dncHK09kD+tCSgKysMQndxutp0TtXTatrTYeA0PSjLxUM5dIx
9dGVVskN19zt4sLGbIylSa0rmBrm+aHAPonHNFmtqbhTMCs+JW6cAqGoAaW7AnWazU6uRdcyCdqu
g9DKAOCpiShTYCGTUbEubyfnqJn0gGxysapMU2MscffJ4KEl3YrhNgLS2Gcd44eXLe08702y8U2T
uWbVFrN5lQJTwPoDv04MFxM93zS1P/VLBpLMuL8mmXpQKvO0NAOHa0f8+L5/b51JAsV6EMVGxOU4
eu2hkm6At7cph8zsLrLTfZ2h3hpCuMgzHcPkRRn6ty8dGXpqN4ucVTMBwlRo/KG1pKPsyUHslCcd
dFnZZ9HNvPgfV2refysNRRt70HcY+wrwMJ+AgiEye8y/cnJ4TpwxmQitJCo0l0R8UT744IsFh6PB
cZcdftP3H8GEZuByMRE8AgKQlN9nzCF0ILon7rBKdlVhNtLJV5wHTD0GdfAktt+mKQIEzluUoxZ9
XdSHAYOSXK2tD58tE0MSJRFwBwVyYGwJDJwXRgKaBHB25ij9kkkFPrroG4dzUj6kHq9mVBVJt0RE
1Pje71+mj2MsiwI6hpgZxfSPq/m61zwogOumSH3iJyB978qj5lGKToPjrR/uKcY4s7VhIlVESKLU
B4+0tcbnfikBKB153/gh8LyagWgIXl4KIazK4ogJjsxYDfQ2KovqD+knoKTd8t68Hm3wYvQutI1t
FNF5dj/c+IxdZm3rnixTrOv08Tmeqa4xOEJsHEsLA8ecY/jxVcjYYpay0+dMAWTY9KJr0as9ym9Y
XlMB5YgvSv8hvsGWqkJyE+9bQgjrmmE0jUKYyfCZI+hcnenuD5FCxe2gdpCo9uRhdL1GgOPKU9O4
/S66Ucuo7+FMIDv8wKsKLFSiN2qdQgiJaqShH/wzsxWLeKWb3XBpa/fcU4WGAxpWpimaMhMWRKXV
pykFE7sxOiNVRbTbm+Q4nkxbhnDV+Lg+9j5Xn3r3EzFDRCDbgDkYncaFTUBN40Y0dfoCzg8gXLFX
xO/vxWF1sZc+7wvp3/qwnBtbjIM2IgH3VGianlQmgaKugfqP9Snohm0sMG45EQ2cCLGS+EnhdJhI
kYbaikFLxIlivEVjdgqLCaCp0qPxAo7IKLXlk3FYj5Mz/WgxFe7w8ou9oAmudsQNWSLovDKZDMFd
VycZkJ6J+G2MrytJsqrJtAz1MCVPY/rC+bq9OKIamkZ7LwpGyZhMWzLUTGgjmOshn9Zc507qKD/k
1iIOcogfHGMfEgi6Y2/GXlOrjf/ptVzGGQoffvFIPb6xGxCs272FSXq3zSyBG06k/dX86/NeQ9vG
4tJpeUQRcujdr153PTzMT9GDdFBvoYwXoFJnrTYIhq7GgDLTQiLZb6+iG5DdrJ/Sc/E0VLywvXdd
bFeAOtvm9+SN3tYlrUxmj+gTunKwnuaXDMq881G0VTs/6l8BCeHeFryFp/+/MVuXaCjXCHB+/V29
N7/HkH8EqsvLJ2jn9nbicQ3uhrfNTjORphhAbln3MCgPFrjotGP9A8p80PPonHi1I8xbHHI38ULO
pU+99UPQ2Zhlgk4PpsJGodPr5JgF2VE5FAfZjY/cQPpB2pJxZCb0GNC+qjQNdmLUS8A6oIP9Y6zw
nDLPivEyNfeddkfKA+f48BaViURmlgmzQZ0ZqgW5DUYU4xjbFL1m2uJtlVjJp/lZ+ufqucy3Mg/+
sDeBWS0w0130LyA0mKfBFlPecMRukN1sHBuGQpBOkhRBFiQDB6DyAt3FtKAj27kbObF/eSF3r6Y3
Y6/w081pCLtlhTAZvkjGoznC8DqYfy9b+Fjafr9obKU0B0sZUWts1XIsrjHef8xPixdaKjiFI0fl
RRXeBzFRJUNMAbkdVm85tqhhNn59L9wZ5xGTJZU3vOTfuCkhzyITULRwAbJrwfeB3tIjLjYMuiDe
epTt+/RvxHGO50v052x2bOxHWaygaAoGWNGvzc/JWgSayVtG+qMvRA8WqKlOazlg9BOECn7YWrKz
BqbbutVhOrfomJc+l8yb4/USE0YkddSyPkcYaZ0B2puYNrhCkmuLeBIRbsv3Y+GC8UkmfKh61Bgr
eQ2O/aEE0zW9/eLgb+SZvIVkQgYafJIk0DA82X9oinZXwjU0xq3qUHntT543cqI+20fqNTCczDrM
jdAOaptDAY7NZQki8MxmaCpF5p3Jl6viuCTbTSqGWCpBw5n4legP0GB7br82V4KLyWeQKrXOnFtY
Wjt2uVcrJ4Vg2ZDnTgEzZwnDky0d68+SqyKJMNCv1f3mkAaYQLeWQHM5AY1nlQkxayih7KTAah0e
lSN9BFaphWFy5av2I/R6d3ULpzXc9IEHvvgoHv/ebdmBLhNIMXDB4FQSH0o/QmnNwEdEp/5GPoMG
98F0McOSgZnv9ScIXLk4TqT78MAPCa2UwHys/xiUH9PAoR3nLSz1s01o60djWUojTX0xcuryNqtL
pwpBMFBqwX/cQibamBpmmSoNwneKL4vWYksNmv05hEO0Q/0rOWeH8rq941fxeHch+9TtBVCkVBGg
E+prhSS2F5Ax2AnwBbM/ajY3OeNEH5mJPs2ayEoN7uTfURXv3NMYRP4KHRFMlAUCZ7jxI4CCcVAm
d6nHzESrgF4btxgJR/HVzR5AqeoJt4I/HSSLBP8cs/HeJDvLFYIIo0hVLKlxdYUISxv1QW6VzyoC
TuRwDz8n3WXfpEkbpoMk4vCXEKTWwS43gIZfh9bg+EmcHkPxkwyBr7zlTRyInBirMEEH8/wm2HRh
V7qVD8ZV+hnn3IE2y10byLemj44avwzEOe8Kk9mAeLvJ2h67Kd7Qeh4G8I/ZlXKj+2ARweoi7+Zk
o5zbS2FyG0i9TlpEkwDFR/Lmj0Hrdoe/cSlzkg0WMFdkQhiqw6ubtucsQNvoJ7kRrujwsf5V5iT0
NJe4kEopTKyJtQTsWR2M6SCiiZTqFC61NXbJKeliV4j/MUSfOQ9sajPVNXjvkNGvN+VBegSrBiIM
GmEg48Ou8S+FjyAtxiATY3IIMGWCghhDMxzFRhT9iVIsKr6gazkOgcS5JD5OxDH2mBhjJrWgx3Qi
DqReINm2wGZ9RI3SwhtX9hJXwCU4gxjKQhsTTD0d2Ae4b/rXbPTCnrIQuDxf2qwssKfa1eAaR8UF
N292Beap4+TjJ9CIDn46wBVpDJIPkjM4ol05iaN/En9cvst23QtoFwI1YQNT/Mx+5+kSrgnBfveg
Ni3Ji5REVqG9iOtzs3y/bGo/vG9sMVvdrmAjjmnm07mi1xyVZxmFo9YF0c5Z80IQOHKrVrshaGOR
2ewWPb4MPLl4XNVXpVL4K5iJOR+1GwzeTBg04m+yDoXMs1zSShwFDCh2ibJf6KguFM9dPsRwN4xv
jDElTbUDz2VuwHGQSNnRAuJ0cAQ2pvcfv4m5LVTQxw1aSM/kEeylVmcjckMdebXJufV57YLdtG3z
Tcw1McVlHqcdPLCai5uuglpGWaExLpXjSdJNDhziY9eXHv+NNeaOqPUyjOUC2xV+Wx5rTy2t1ANJ
vEc8EVg5sL1/Ig6IDT2Tl9vsloc3hpnsVGzGBXTD9GnlTS5xc2d9IQfiVY70wsvbdu/BjSnmylBG
WV7TCl6v5llsD2TJLHlK7+dMLUDKNYLHf4CmaSWBgrPKrMu+wzlxBhNPwjE3Md+Iz2wBIx4gUt+l
nCl/3hlgokgChZQ/ClyqmeEivFerX4rGadTxvoKJG0DSjZiHwzlrgHoQNadQc/vyOu3fe2+bxKJm
6nbOpBZEBX62gIkWHJeu6HR+7PSWIYK3yxZUb/T1w3+0ygSQujVAUz6/euHiagBEg/Jfw2yB4Fce
KOviI++RLdHj++Gu23wnE0sGXfydlNGgTzsV86E/qzeyV3rNT8EG6dJiybZ2QkPSCa3eXgJQ1/3X
xWZiTCcsCc4E9nOyqTSqehoBgYCeCDAfBxV5TXJvFMF/XGom0ohj9Dtxy88GXtn1Terod+a3+hmU
pNbwsn7l2OPc5CYTYHKoX3TGVAH5CO282B5jKznqd9UVbb2CvMvOvpe2DvJcbk+EcyBZ6EfaxBOY
LorUN1cw10+ZEwkPUAbiZKaca4JtZ0vNpOUmqsG+OZ+E6cdSmUE+mHbY5pzb76MW6/srwmQCjDgY
akpoCINeUfwpOTXf+vN6Np7R5rqWINLgrS5kKyqnfyw7K72m94XgAJR1eT95q8qEoBiUtGInIohP
NCPTzykYA0LoJVy2wsnJDHbUCE1EtUup6JTiv6bD47n2xtMK+mNXtHsbjHFTIHOi0OXoirbv+5Qp
RI0G7HywWVff5uYJFyPnvH+ECr3bQoMwQQeg1QE89NhCiocHK9XyUPmSPd2lYIoCneeNjCOYORC1
zL5CQ+PGPPAwM5zwDiHN998oJYuCKVpEHJB+Gb4CVLIlR9AHsWZUa0R00rQI3OKc3bx8RgzChJxI
y5RQ61ABA7K4t4VJ6G01AxGsLk1WZIK69LLz8PaRiTi9kkKaCJhOX51naGwV9rDwpAR5JphUJpEB
lBZo4IbAjg1VMXsxOMd9v6j21wUF7qT3O5U2ZQ/VEPiKdit64OVFF7BHE7tATQ26Mf7lJdtFAL3l
nwZhgos0ofdIcB3h+UlQ4epsEwRF6B1XnnDglQ64TsjEkKKv5lKms8HQX3IhYTBcGZ+0e9oMTF3Q
c1zx0ovLMctgUQldZzZFlWC3FAE1ivDzZNwo0+xwlnC3hva2YSwSoYlmqB7TGlp6mM+0zAOVDBR6
pEDlxCne5zBRpOnVeJxpl1hCtWwQbCN6BqCK8zkcD3/dw837sVCXcjRGGijUzyVIuo2EFwx560V/
wcaCEEs9RArwGXS+U1tt2nKIX+Kb+r5/qgPQZBzBsmylmSNT0T6rtHnBkHOjGq/Vyc0viDVNgGoe
vpHKNWqtFbdwfslGTSkYgAt7Hq5iD4J3raseO9FqfkA/vvdLm9slvJwiGSITTaBFn6Ya3dDJLiFa
Zw2lg3qTD6k9l4yW/isP2ls+fvL/RBg6gCMpIO/+UC8sUzlNTZlGmFd2FIzGiLervSBxqG3tjnM8
6M3CJtygoFBE0DJjoNdgbleSrMrQqcAz/lFQg2TOFQ6kVT++FvAOPIoNGrAumWMOSRgqCiiV0QvB
9ONJXr3BILdJaXhy6s1x6ydTzyN12A1rGgH3jilCF1J7feNv3Ekeq6RNKdIqBfhOeIm9DMDpxckO
GOYHkhIE8Jwl3fObrUEmaKvSmhdGKdJ0QoYqzEF0co/WRaUb4/NsNwclyG6GoPV5AWjvPt/aZeI3
CJ8XxZhg1xAX4sn5fFVF+Q1ZjNBaZy7yf9dPN+ZYNIcgQA4hozwF1HPGz2pgHGhjm5y7Gz46T9x3
nL92kQV2zIMYq2BjRCXmSgMp9VE7ik51pELB5IZ4cTB8X39lPxqvveJdwrtYNk1RCUaNFVP/AKde
oNNI6hY+a973lZX+6KwO5bsR7EQEEqW2eG7PqOW5iVs/Nbibl4NsYDRg8ahsAMC6/MhEN/LDIdr8
ICYwrSjCmoQeIpqv0ittwgLwS227ZnQEBwNCpgCrM6lOIcfLYP5hBvzknnGYPMHPj9z1pWee/Rxd
0sFEiXBHlxj/vzmgs6Z1UNucU5yX/qC/QAdT95YEmuCmC+HQu+6g+5hM/dUd0iPRrekp86aAh/7c
rfRtfwRzaLNW6BYRCjL4EUPh9IfsKH0FmuGBlligt+g2Bwhl1N7fiPd7nr21zBzbWlQauSgm+hIX
Y4e4GfpeyS2ED9A3xVDJKTvQuWbzwPfs3fRSR4ETQ7O6TnR2sjkDNjGE+BB0Rw79AdcqvnW2TR9K
Tf+uW6sbQF2rukpMkQX5QLW+JjGhupWvnZsOKpq2AAzqio+sj+lteM29wPfutq1J5pwUkAgANfRr
jaM9NEfpOQcQklrM70B3AmluTnK2lwFu7TGOrI9KlKQgwgWpiogqnQBtvMfK/My5XnaPi2lCcVXT
aYbAvKNGbS6NBfSAKLevUKADBCyza1el0GGwBtjcatheyqlv7DGruHRgV8/LkuLzRycJmszqbyJX
c+JrzUuP64PwibeOexfo1iKzjlGzjCD9hqto3Z1u6lCe6Kww/tooZ3Xk0d3xbDHnXqWCkVkEHzEx
mSsJqp2lL1N4O0JETak4Ram9lUQaaWBKXRExZs3sXNkbbaL2yLVEYXSKVoXg8YHjHHsuaMgE0+AK
njUQb38fS6EsV4SliM+ZPekXlD5LB1MjXnUeH+NgcgBTRYNSKngZD88qs4gQNVYa6IengP8mAaTB
ItdAE7KEZJGleajwOdp16/HAGHvX0/ZTmbg5ZCUmMs0FXtL+EHAJY6Cy9OQkdiX5J8jkIYbKw3vu
+crGIov+WKqyKg15xGjToFp1NpyhOmziGaQN993ywtnJvXfY1hibmHfjHC9dmiFejo54To7aYfE0
r+fmN7teqRoiptJAzKSwL4ASuvBdGscQtwbjviLI0HQSOI/K3YXbmKAhbXPD14oupRDvBZQ5C4bo
l2jcrOAeGeqbNUoczrrRdWGzCQNTdhpmOJAjqcwJaIS2ijQhhx4iWEbb+9jJbHqnKR4J4geOrd09
MkwiG5QzF9Qg779LabJYSiQgmfNDeOx82vUcHNzW3D3aLbxCch5sO7hBDZWFWnZRbIhm0iNMCahc
QMu1IZkrd1BjiuSg7qVHY8VTOAdBeZt3oPyZr5c+DeQuy0EYS35d/u7d4/72Y1gIJhUOAC+ugh5s
4Sv99x4PG5nn/rune2ODcX8xWnPoosAGZCR+NY8JBjgfKtt008f5brZBp/UVfRggHOjgHS8j3U0G
N6stM/5KEjJC35smDqZVH2QHd8EEIqD0GjkLmpQmpilEW4LgigVBTm7asufBpi6qRJI1BXNxjFct
iRbPaoWsTC2hF5xC3ZwMQYUie1h0tlrd6dVPA2rRcpRDjSx2//nebo0zt30lQH0ChNZYd+1RgkJm
FB46NGkuG5H3dndrhT2kUTxXnYHYHaX1KVEg3pbMZWR3kN+KMA1oVTE0iZpBcaPOtElSu5Gcf5oq
6R7cMUGrFI6WmoexE31U9l3ZwCydPAQk14IqbE4Cekx2WaVXDeTDFD1/HgoM4Vfpi4g/1ijSVTZ3
920/+1GkwFQ9nCMV8q1Gq99BWeiL2WrXXSxda0bI6RPTtWNDE+hpTBlDjgZotmm+ugmD0LebIeQC
n56gHAUtPUHx1U5EM/fu8vLunc+tHRrxN3YUVFW7tcLqmqkCrOB9G30GQ8BlG/RvXPoWxkkzGR2C
WdFSv02eW/I1zh4v//3dss32IxhHXFIpSbIedwaEcvDWvi5cEC+eqi+DM517W+LW2nmLxriknspy
2U643DP5GOmNs+DdKXacVduN49uvYjKlFqQOZt1UoUeJnjQ6CQrCFw9zeGgxLU9Vb8m1NX/6j0vJ
ZEpZ1verpCb06ZVcS+gjNJheKl9ZCdNA4g887Aew334uYpr4vf/l8QIkySDRitt4pkUaEFji1VV8
4hcP9h7P9D6EbLlqglyc2TXoApmVauLJBaJA6NAVlqiKLpQpoZlxm3TXYsG5lyT6Bz/4/cYgs4G5
Yox5DtVb3EvFtQ7dKw+KjyVelRoGV6af+gkczG4MUjLgBKaAXLd2hBuid0pX6S3phXdV8b6f2doS
EvK5pBI8OWfjXA2DuyRoOstF85Ck00OJHxJmEOy87FC7Z/+vNcAGv9/fNmyBAYTCM0RRKgsqLFbF
HbmjN+z/X2Zwhr43IY1tr0kFTv9kQzPjEOOktKfcwqiFl9zz3pu7pcw3LwKj4XtrojGHndhhU/+o
TUA91aWdX0zNYPqIV6bdDTSb1WNugXIhzVgbuGFDEZiB2imVr03WcDLu/fC5sUL3cHMHaODOTg3I
TiMNpq0TnVgxJpxQ+riW6fwnJF15Fnlbxt4Iap1NMvT6/FgEVta0yBUtekci+BOXAwl4m8ZzQuZ+
GMCvJQ0TPF9arzL1SRM50F+uUzChRSnCIc7HFUcrsUL05ON7+pJYcwuTBX9j1O61nXTJ5ZnIkrVr
D8ZunCr64COPpTc/CTb5BOqvxB4AdpKscgbtjbX++G+nmQkhnRQ2DZRggemNALMfSvDYcMhzXscE
L3wa2+ltSFdEcjaGnipaLUbgFEhLAl4UWXFm64XVB4Awn4mDNrOtuTmmHezlKYYomBXay4lXN9jN
7jenne0I1wJoMIoOhBOTPTsSmurVT/lJNqzY03FAQkt2lQLZfemvunt5qXfTXsPQUOgG9aLCFoDq
PA7HKUdUS+r+NokwuFzLnZuXxKHrb/bluWnjztJQreWczv+zBW+mmeMSCRmaqjKQBIQOIYW+DORx
dgXn0g6JrXqg3/o5WkDuA1oAiOkJEouu/JDd8E7tflzCY1mEtCC6OexUWaPKYl6qCS1rTO4C3oPI
zQDr613Th+55wMO57V7XG3NMGAyrYRJUglS4VHu70txeus80FfK8o5NBtPby9u6HjI01JgRWIE0q
Fg1J8fwl/pwEIsYDB2/+Rev3/24gEbgGsHcrRCXyB8aKSgonleQqnQUuDyuwDZWtfKJknvPtjN4B
gIMnLeW3xXfiPGh3qD284MDlx3ykKJspWTU8jmk92GjswQdSHg3q0IIkzr+jNHhnj/HcotdGUkIo
3e/RgBvPGCuzkgfTVmscVs2rfciKexUH+L2HQ31nlAn+fVIkU0ifUK1TXBtoOtJpE2/ys29ksoTH
AnqjX/I7YqEl3wXmWfgspBYPCLEXqN79COZGkFq5LjoNgUrxC3xrjEQo90IkJtFVdARnnWdACjy0
GvTDDC79Ct1GJma/M85cC6kZjiDZhfHeM/wR3Eqp1wdz8L12V1vwZ79+EHnvlJ13w9YkO+gCNT/I
QBq08HFDx+kBCXgdlS4+/Y2prJ304Z0tJsHUxkgVMxkPBzqIMV2rXgc3jg4oeNiNp534FBl7weGd
RSbJbEdziVQtpeORogfpNz+9ifziABaum5w74k4PxYXdYzt7oT5lhlRJKSTq0SfvHpVicEP9l2A4
nJDHM8QE2CibwTgoQNVP+bb4GkoqVndXuBWa0hpiXwKBrM8l0GPFE8fuzsMHqwkKJxksTsoH3AqA
VmlSQwrZj8/Zo9Ja5pf4qwC2brxsC0CYE8mSb9HweGwB2uHykOw7z5txZiuFQoKk6IzVndP2eibF
qY6G58sfyDMhv8/fw2aJlhS65Z6YjbdLLkGKPlkfL9vY6/++W0Rm81oRothVqqLOedZAaSIH4YE+
1GdwYP0LsN87U8ytIXW5YKQayitNlligbLH15o5U/6LR8M4Kc1ekapJXI1S9fYiC3SDLky1BC+2p
lq6JZrjJIksWZwnpW/fjQXtzBeaiiBItB7sDLNJ3lmh1V21QYAQvu+Gmrfsn7c0ScxugmNlK6hKl
/oL3Afj80Fdzvx+677pqiTY9Y+FP84f89fL37d8Cb0aZW2AtICaF+U402ervyXzV6Ies5Uzo8LyQ
nW2R1qnRE1qeypHFlB5YmW5qK7RofZ9HjvZ/gvBf38PylYZjoWd9Blt/zMR31voS+aYvOfEx93mg
Es4ZZhlLIVI0VlWDGGVi9ihv7teIEwX3oJJbf2cryt0UDkVNWizd2cQQ0GhlbgG6aATAprIEPFeb
w3KAo3hCIPwA6uxAhw94CIG9AdV3v4IJI3KfR1mtYVHp0I54I34avRlIAfKLDugaX1HofujO2XmN
gNmkbFuA3d3T+ljiNcF/cle2IWd0PQkrrQ49IRKCJIaukrw+yxGnj78HRnv3wUyYEeR1KNUBH0wx
svQjtQmAHQWhU7ZVwGfKY+wabvtFa7gYk70H1DvbTMBZAdNWdDFGiIslTIOtblsK51VXDKsO8ydJ
0V1NFT9P0Joe1Sa1RKXwmni4qlbICP23xWYCUpL0bWf2COljgZZjFno1qZ024Y0p7Dya330wE4IG
cS6IUOMUEWO8N8XVCfO7taoBhZ8dVCL9XowOgs4ZwNwb/N5YNdkaZ5nUYdQ02OIxcuYvwk1UOsO3
1cPUHcZbTRfA59XOzmLpjouFPcBbi1fa3SNgQWsZhQITsClZYkVW5LkY1rRGCoDe+ey1Ra+cKzON
jyuQdHeqkgEMtw6R4ZRV0Rw1JbNjAa18a8CT8HO9GP05VLvY0uAnNvj2IaPXjjcN2OisaIyIp9aj
ykng919Nb7+YTeBJlvyPtetokhtnlr+IETSgu9J293SP1RjpwpCl956//iVaKw2F4Tbm077LhmIP
Uw0QVShUZWUK89iiJgcip9lqD9pJPkhe4QBM96Tv9MD+yc7a3ragtT4EVg5a+13BzTW2P97qdzDJ
fYO5ArPv0WjrHN0aQIr9QQO9GcH9nE9WadMZt1GGbA1IRlVbmt7zOKcp4Ju8YPUTmBQxU/Mpiiug
tIgv/yBIiDVgfyFgY1d3/Ai8fa0BD0ZZHnXpDcZZJsbSmQFqlfrD4NC3TPU8vhj0YPpQ0eQE2e0Q
tLLGOH6ZDV2odjMNf6ppxbvMo8hB8tA75S2GpLhIn80kZGWPiQAKqaW8kQGFqTJPGz/q42PHO7q8
HTwfqVW9vDImoUTvhN5hdNQ1do3KaimTArZQ+MDbws1c7nVFLJqZFFKjBXoPCrxacCC6XH7sJYgm
Bpr2uSet4P1FoAYeDBIiEgH4jHlLNEEfSJkGpHaP2fUitqtYs8Za4lS/Nr/SygqTBUD4Nk3UGdeB
3up3QdvuQF58CsTFvbwYer+9cayVGfozVh9KLaW6wggM3ixZYgsJBlS7nT4IFgqLmEqJOHfcFhWO
Ka7MMVf9lGQztMRFvNq9wSEHigXJT+Hpa3CjuMhjPHrRX14gbx+ZCz6VBgglS/BlBXyoao5EVcP4
4dLyVrYZoVYrY7y4DqI+7KIadm56N90hVXFxof1D3MLtDtG/dumzMT6sq5C4l1vUdjpHuIEUg3DV
OWYET6MQfvPz+NJ8bhYX0cPh4+U38/DXlWpMv7LUgrivEgxGhA3IqBbKjLq//M223zArE8yNo5ud
aJQFfUnvh/34ncZDlTIXWcWnmleb5Hw4VqU9EsNoCXIsR31Aa6rAKNKL6ArPOeTKKLw53dcvEt7w
5CvlUGxv8xvTib9w1ktDxoXPqTEhJRPxamtox1TFgEt+3fvDlXoC6astg3fGdP4ugukAv+lon7wR
QApxvQ1DpaFxIn+MtJtca62ScL7htt+92qDbvgosbZl3U0pLvtFAvHSGPyzAGJU8PdHtxwN5tcNs
nRo3dTqr2LrWJQdo/1CWg6Sw+o86Xg50Iqm9ma/mI7j5HW73ZfPoABSJaQ4AJkSD8UItkjqhoQWf
cDJitxWNQzeSK70pQSPWQjpLNz9U43jVtcVt1yQfi7CRnUpqP14+PZs7/for2Ae/MuRpC5wZ8ocA
/R8jvJJMm3Q8kNl2mrIyw/ikrAaSSCiBLuBlkxfuosymGE2C0e6fZPb8pvR2GrGyyRwiTdG7OoyR
AQenxSPushusym2P9M3Lh+af04Q3XqgqJm52SHa9UewCM2QuqQncYngRf9yAWyy1QsyKC5Z8W2Fi
JcH0kdo5kKMBXZJ8TKz3UD9vpjKr38BcIwOQGn2C2p5fdIMnFvOhF3rbEK8zIPQuH5t/+aCvy2VO
7wA50qoqkVN3L21ta0/9KT+J35bGoqSfV43ffuFJJv7L9/xtkr065LisROh1U2fFqBV4YtXAVl36
xm/8ILfwBOOscdtDdejXUSFbgwV/xmYkk6pEdMhMEG4CYKR8AWGso4AX9wfuE5/3yty8lyH78Mse
k9/EaS0FaYbu8wJCl0r+VpamHQJzqtSRJUuoCYNIgrPEzetYE8EfphmwyxatFrVeCpTQkXhYJfjo
Qdx4CF3cZmDBQgD89I7hwa0zKsmgLIPwChCh50bbKrTnmRwtQ9DSprO63II1ttSg73ke5j0k8qHt
7XywIBGF4hiXpXLrplzbZvwjVAvJ7BP4x3io9uqRckpQsFj8jXIbZzav5rhZElzbY5ykp89/cHDT
REu0TQhnPYk/mtvYDZwksHUQdQBnYSV3onNGTu+q8D1qIjS0soFp9SPY15QOjrNe6ITE79Wptzt5
eFnExDUK+bNSiLYaFLtgCK+E2bjXsuFuUUzeGdsqy69/ABP7m5YMvZFhF0Zbt9pryrqs+OaB7P6m
r7E2RP15dbSGJuprQ8QIQCJ0CAfHEa3hPHAuu8yWx0hQQKawCZAVGPRCXRkR0W6C+he2Uxifs66x
yDRyNmwrDEiyCeQLBpN0lX0iSpnetlqP5CcskUUWud1qhybySxNSG5Jy1dcTx+BmMJcgfmEqEEVR
AZr4c03A1spLPSMVgTxiF5dWoNRuWHwPa9WWxcYawMdZfjdHyJIPsiVMj/3/LoOqYA5x9QuYTxf1
Qk6UEp9OvkMDkU7SBnDNKHfwDnHBXele/ojcFTOJ39SDlKgYseJfVWMhQSlqspvPCZodmR92vD3e
dEM6RIC5EYNgAv7PPdaEqm7TCV7wT7fDjjDhAxKryUeg+3B5eZsx9tUWm9QlGQHEpkKRRk8zx6yg
hLcclfmmqB4v29lKHtH0NTSkrwjp7HxPiJ+QNCriaTpgun4IoG81FCCFFLm7txm5V5aYyB2ZYS+X
Es5HAw0TAUjf+K7ZfaVAl9qL7ng0fFvQcNrN/r0w5mPJFYiO1LLDENExL9yodfA29mgTvcEUXeNk
99lO3PEaJpuR5dUom98UgmwE7TTDByYtchtJO6KXz6Ng2D4av1emMa6umkUB5klMmGXEzbTH1LwX
w085j5pnC+K23sA37+IRKMZWb2nJFaRtO8Tj0g99CgMA+6Vr2o2bg76tQlsRfncWwin86Xv+X88N
+zbuMJ/fLyWWS4WLRl+6ChzxVrc1i84MiVdpa1/2CN720m+8uh0gNVcQvR4wKTHtCsArixc9PcQC
L7PY0jEwJZWO1ZmqhP8whakqn8NlqAM8kKNqp/bpocqK52kUT0KITeyV2K6r1lGM1k8WXrDePKcr
24wvhsCmtmWCqb7QvNX6kzrwhCy33W9lgXG/cixTIVQFOjdIAdMJBmcRLQOn2C2QhUgOccCVnLq8
KPVNjwlTwlGrIcAM5ScBCO1G4WCYN2OlJhIMG8mqjMjy58lYzLJalkxM/SB+FqDSpcnfRtCHXz5+
m28kZA2/rdDzuTp/hCwYzaiQO6QNpuXAFyTZ6Uk7Jk/Ey73xC8idOAY3kxXIfKOtIUOsWmEOYgww
IJEDAuzPXgYb82gv3nQEOzAoEyD4C0UG847SIb+DfpqmBG/y2pVl5hhCQC9u4xSWOydebIIJUyQN
H6bD4MYQfdlx7wSePeZQ1kWcT1mQUYGZ+rPuLbsRSqMG5GzqB34XafM4vi6OHW+eookUUQmiHDLL
tqwhD0o455FngbkIhiExtF7N0YiIBHs0HvXqC+dobN7ZqzXQDV2dRbEwGoKaPWKhbFhx3Kun2gxC
L0iUG7MUSyuTYhsT+A5US1RbE5VTn7U/xCxC0p4ZPND1ZmCGpiEyapOg4se4X79A+VczQMqYY4RN
Tr+pGdQqp3s8fzg3wHZqubLEuGA0VEGZa0B3E5+244ZnWbCCb8ppcDESRacVGmF/eac3e72A/4qm
RkUbRZ1+idVOl1Mt6Tkll0av109R6eoe5icJikvxY3y+66gIi/ADaK/Rof9EDa6y9G+Xf8UmRHb9
K+iJW/0KuUp6WY/R2tIfRre+bkHHZwBM3gDVQ25bJ/hauPMOhAew/R8tMx83UopuqU2sn04ojZo1
xRZt8wbHGrN8Hvq89vg8+XTvubjgzUO+2nrma9eZSaqJyjOcSelBRwRINLlV7or7DCzimc0rG2+6
7coeE28zUyuyOMNSBTQbmkizOp4q+GZRHFq1On3l4k3GkhCMQ1QmBZwT8qPFftqDy+FjAW0NYlEO
HMzQ3QR26xp4JHGzmq0Qu7bMRIw2C4Ta6HCCULF1WkuuLcgTOmjeuB1VRuRxSGzWZ9b2GL8RGxUV
A3piiS95I2jSIXVR3NR+DurdysWI+T4EydS17Mw75eN4UDD+w5Xr27yy1z+CcZt0qpWgl8ExFx2L
/XhNUbPjbb6HBPKOf6/QS4q9NNfGGE8xpqEp1QXfFlTDZ5YExRd8/gDvZqt2bYdxCxGPRTPW4BYv
T21mNR+UHcj1v32n6hDK5+GRX3/nnlrGMfKqaAYxgmPM4CMzTtLtfGg/o7AIPITpGiGQ+phWdsTj
Oxa7FQPWi2UzEdEQI/TwKVnn4BTf2js6bBcfz9TNmF/8u9bR2iCbiuQd7gIDhWnK8dKD9hdK9KfW
oUp3IIMMKydwORF2K81bWWQrCrpWtkVA3zWjXRs2KMCdpHY1yVNdykm6pFbjF359lZ3+uma8ts7k
KuAKkJQxxLelHU4Njf8SThIDOfTxWfBBEwRWG25g53gKCxjtgSqXo2j6Wa+hk2mxG9aWjOlhyA08
h3dQLtdxuVC1IVK5gfR5SDibzttzJjpl3UykdAbcITH2QnPKwayQqFYbnIr8aol5OMqti2W9x0wY
UsMwlSYRsXAEcclQL96cp44si1CnLbtvWZUe2gW8XWZ4Q9KstXNzPoR9cxOYblzzcqhN0Nj6xzBh
SteSYenorYpnTBP6YWsJlvEU3wGq1thfe1QFQfE7WHEOiETmilf8PgXv8zMBrJmgk60mYNqiTJWg
gfNVn/L68V4V9M9ciMfsO95MBIKBCoJdlyEnlQ8nSXsJU+IS/TvHg7fqj+stZYKUZqYKiQucJvOB
DvSUtn5NdUHGfe7x+libvdC1LSY+jeWYYhIDZ4lC/UJsX7eT9+FevZ6/x4+9l36gFAsocfnjVTNa
6i1XsuPytkJE/c9UtAGJn9jMiMip7hCAQp3hW7WnciiJY3yoQ7cGWcBiYUwscHhfdDP/f128wo7L
R5kearGIYNUfwD6/l3YBaI96jL+gfY/+DjdpunxSFXZgfhJNAEyTENMpD82xvU7wDh9Qcks8kI/e
iICfqH72mQ70jlya5c1CjSzJIoRckSgqbDNEQ7l3rJIQLdlD/ASBYxAwVKXzNcXslujk4B7lcT5s
JxYri4xfJhWmVocMqw1OzRGyT1eUHoA4YDcbbKpeHbnBPfcuoOHmjZeujDK5hZn2bQAyC+Sljyao
nZ5EVz22j4Ejf9MwZjlgrcbVKHLlGbjby/islC5KayoCbgBU11+GI4Wn0EdVuJfRkXahK8VVuNpO
R1drZXy3ayW1SiZEpAmsKNB/vYqcr8mT4Dd+duLpWm666astNqvIKjMlRYHUV0969IFnu12elPIx
ax//JvitDDEJBLrQuVaouE/C6+nY+8F+sPO94FNcT8uBhNGzcOGssHnD2C26EnUG8tBYQidNnzwz
6mwQq3qGJj5VZnN3eW2cs8l28AulSDoQkUHwRrypxPtpfJSSr5dNbL+TVtvH5AZtO1TlIAVQMkeC
SzV6+0cFoDrITHwR7PJlfAHVMGUMeMw0CJXI9/o+OqgcQPsmrG8Va9h5ErBwjWGd4rDEhp3fKztc
yZ+aH7S4WPE53jZT+tWKmTAzYua4BmqC3mCzvTjxjPQvcJQT7TiJqEm7vDuT5+tsJkDEBWubkGF3
Dhj/YQ5zLM0VpflV7VjCbQl8Ao8Ek/thmQCjK0YftCECW+PIo9NrVuGEmJ4pX4ar1E5lqz4mz9Kh
uqfzX+UV2J9Ae2E6jXf5fPGOMBNytC6M1W5CulDNo52AZbcyLVn/cNkIZ4MJmxPEJTGDpKKplm1C
xEh+TCD7SstjhQYwFqSSnd7mmLwc34Cv+TMNCZZATIOGZvBHwUQWEmFeJUdlQYNE4HDQfdyREI/g
lYg2m0OvnkLYjKDVIzUPAkQ7mrv2pw6c1DMgJoDY7TkLvPzlCKuVUo3lpCkjLqjOkQ/hrvAgAfm9
+NIjIDTX5Cp2UtGqePgIzhVFRCYcCVPahE2HQUhKGrI4kjWB3CEGsSSkOByesDb9Y/8ez0Hv8Oc3
jDF7P00Tyv5aC/4BwWtnHkCGZ4GJNUkBybJxQQSPpBb6YW7fdZyDuP2e+h3OCKuUYtZDF/Umzj45
hU9nFnxIHZJ9+FkDmXgSgRJssjsAoQbU+KCq5QvfLh8UZfP1sfoBTKAZ6lCaBjr2QKPbsC+vqepy
5BU32kdgzV6UQ3xb7MLTcBXb4YdyH8Ajewh4K3v9YfloPggfzD25v/ybuMeICTtx3Urz0uNWI3ez
S1OrCaKWBPIxhpfe8JimeNZY3p2wjPsmAfodhIMumJshkz7fGDflfnZKjy/exok858t0VYuvM6OU
SIzIU3WSBUomRTh1wJ7KRsM5WtvPndcve173ylISzMAyURUUEWBtUGC32Ehjv/hnEmwkWFxOTt7S
6NW9MkiCaAlnETFHBV6ujD+UIKmfZYwDQm2Lc0I4nnm+UlamhKyXBZPWRJSH8J52ousT1F0rkND/
THiq7zxg0r94KgRHgKnRtDc08CoRM7OekHiolubPT61VPZAn1ITBM6Kf+thqrosvYL6ys13i1pId
8waIt6ivAAB7/QF0T1ZrVgckr5IUY9IRYnQCvFRy1KvEASochETisTgkB/4jdvseeTXKBFmIm0H6
REZ8qpT7LP0oSt+y+i+Y8v5YGBNmQfUYYXoVDjiI13nRWzNQvZfPy7+kU6/LYN6JUqTNXSXg44mo
QctudlMegFtowZdJlU7i/YgRtuwO+OH5A7hyXONT9ci7knk7yQRaqcZojxCCoUfLf0TJ6EBuyS2U
v+q4rU8JEzsVAkZQQcFKW3dB7njmsaR1DkV26GJ1W8BQMHjcPf4E4r9E0t+7zOKkFrGei0lFAIhV
zzgou4FSlpXg5LBoATw68HBZ260F0ITJBlGJQljoXtOTaDSoLo/5YDwuXrzTn4u9gkhH+bLIBz13
x336MPjvqPRv3puvpt+8kOegKcYZhzY4UT1fyQrd5so8tSDxU3gPrM2js7LFZKuSlJYDaIZp6Fko
xL6grRMbDEcfyNfzW9nT3MsOs/2mW5lkGn5av8h6lsCk9HWi2bEbFVbsZ0/tbeWDgJVjjbdA5uao
9EnpoAhAXwA0CWltPGI1oMFmpMfTY4EC2cydf94+raslMvF0EDDsFlOHrBtE9OobapA3gj0rVqMj
Goi7ZuBs6ualJZsyhKRQl3ujSSH2U010gb5z0ueg+VR0j5e3kff3mTg6TNU/jYI+EJ0+nJ1ourts
YTunWC2BiaNGOtTyXNIlAE6U3OpX01UBzPjgmgeIIzo85AJvRUzMHIEQnIcI5G1LhYaCMtlD8nR5
RTQcvnlEoEQKWn8Jwl7sQxCJ5jTWVEeMNuxq/6d8gLjjZQ/bh21lh/GnWEiEXtexcf9vveSVMcad
Ahmk4bGOmS4IkFLIl9t741He8Sojm167MsM4UCAUc6fSfE8DCCAU9kN0FxD/8vd5u3GI7Qq+jayJ
0HjU2A80hCn+7ygFHt249Co+zLcUIwqXfUcT/m3YY6wxnyksilpru8r0KMJCOS5X0jW1Jp3ecYO8
qUcytpivlPUkN8EPYHpt/DxgcnkSUiuVHwSztwPiheKLXmG0GWCOLHXD4L5QcI91k5t3d01y1Q+8
zOGNrzE/h/2afS0oQq3nvlIOlgyJV4OnIvO2/MGYoAdqlcFCjMIcg8oQzrs7XoeH5RrjnO/Y2zcv
EcYQEwljKVuMXgZ7cDsv1myqltphU8XW6sgz53y+cQLGFBsRmyDTCkhEgas8jk4kc4HAOTSYnkZV
MrYLjGYQT4AEAr8fQM/HH6GLscwER0JqEqQkNWEX1Nmzm7uy4U47/REk23Yy238h3cRYZHLLUumi
vJ1hkWSV4FSK+lxNRmF1c9Pxmt5v0qs/TbGP8n7K0mA2S9MzIWNH3X65psibATMZ3KrcmzuAscWk
V6q6xEoTyLmvC+HgLXpZeUKviSCLilM3TVpAPYfWBtN2v+vrYXASGUIIVdeARE/ViNV35XWqtQ+D
MLpZbhqWuSie2KaS1cVoSl0+bxwvPYfLlQtlUTaDoBbw/dm4LtXCwj+dyxY4B/qcAqwszGIrFSkY
cMCp5021CBq62JrTj5eN8AIt+4BXh3Gp1aoxEdY1f7zG973P90BGH/hlCV7YYaVSNcWcwUVFXVT+
EfUPmfoJWjD20hwKUO5oijXJraVPHzgr5J0qJgZ1BtoGRaYUeIjN7rhYkWwByCYDA4rZ0dhKFVsH
o1pMmRwO4QsVu+T8AJ4LMZFJ1My6aqba9GYI4ODqDF3BlsA5DlrS1OPhkHinhglGS5vPUtrCWKgn
tjYJbih86DVe+kn/yoWQdyaDWp3Ndpmh4G7g9P8ipQY98+OZrci8D47TDBQtsCD22FmjbtU8eg6O
750rRCvrQ5aIlRAiJjWpYdUmFCJ03gJpfnFhgey8n5KVei+nMEHzj5+QQxr4aLbzDm5kzg1yrpqs
FmQQaTJyVS2QJzZ7yHT7kTN+7L3qmk69YtTuy387kWe09MoeYlWoJOgt/0VQ55zH8xjUytRUdYB6
pFrutz2YY01PyZcTlCkvL4iTZrBj6MFSLQ0pkMFpE3EkBPwiQTH3SxlweYY5ueKZXHC1nGbM5kjF
QwUUhZq/OOQxe8n2KO5AB9NwstlO96JTVHbKRQy9ffH9eTmepT5Wlru5DbSlQM4WHQeUkyT5z37r
f04yzkKza4MEDF1NiZtBmLw6SSxS3sz5y+UPx3tVsEphmIEf5CLElxPACh5f/crzMVH7jgSDc0xY
JbB00fXaMMHkAX2WR00uB7eEioHVZvrnwEhln7M2Ttw/d3xWGyiY6IoFdRt4s4/Zm+Oy+/WGeUfq
xIkgCvNeIh3JC9WAUg+dIMdQRYGeZh2CdJt4c4fjmNlyytGHelsH//NEsuT4AiSw5Tg3c1wCIhAA
4PKrPL1yAI5E8gsyn/pb3tlq7wBwy3vx8s6NQq+I1d5ObVlE49IJyPabPRo4GSVilc9S2cZO3pGC
d4nzNpjGuZXBelw0c4l14Z+QmTmT9esBXBze8SjlXEAKk7WEWjU0UhCGZ5ARWC1S19hr4Ec8V3B7
0CPwTisnTWLH1MRKqYe4DFH8fyk/ywcgm3a5HfoANt212FyMTDrxbemMu6G3eEkLLwtVmKxFCCV9
HLtzFlqAduLXK+M9pQVO8nAWe1t9SNAG5Gkc1KU/6Y9S/32aOCeF8/fZubS6qWrZoDdEqJZWZIK+
J1Lsy5GFE8cIDTyrJZiL3ABXWEOWq412Yk0Ua1ZjyDsJNznJeeeCc+MRJrII4jhPekKzVxCmA0rw
Qf40eYujgCbzfOP9w07Ev394Pk6oS66WKYZyHraKRm+8/7eKkwoFQxFtDJMd+x6TtkggW7hRceL2
Z7dzoldTzJZGREg6oiMniusfipg6o/RM9JhzSP4lYXi1wmxfLZkDDgqSyvmucwC0I+eEobMSw56d
DJQR3Pf7dsx6tcgE5dyI2rw1QAiZFtdCpnvhaNqK/iwarS0G0iloVdAfeo3oq8lsGdWHy17xFlN9
vo9ezTMhmgxAOZdTFJ6bF9Jxri00FysM2sbgkRFQuBghXGdgytd0ZihK1VamcsdAtr3/9TcwYVuR
BS02avyGCCAYPTWgFh6MvE+7HapfjVCXXTmGJtXDSCKaCkIIvfU7YOCI9xdlZWY/maA8SVKVB0kj
eEGt+fF8J429leWEc055O0YXu1qMOsZtO8tF4HW65FTVV73gDbZy3E1noO4hCaG8MOHqzoOXenzA
ESTD0+WzxzPBRORhKXKpnGFC018MiKsMkxvNL5dtvJ0e/fN76EzYAI9yMAYx3qTkRF8AynSbeLkd
tM4C+SNALmMM+QTfp8F5RyzmfCV2flZezDzNetwC5k5EhklfxPehpR1/1gL5+c9blAezWPqDVsci
joQScmmo2ow2pd0KkfB0XnxfeaGLqZYjAFD7+FgfwX2I0g23S8RbLhNK2hHcCoqM5Y528H2m6W37
AQNdGOYaUENy1PjE5zbjnSEmdIi9mLWkKkwvkb7LkAo2TkPDa2DTmP+2rPE7cuhM5BDmVsjzIAs8
0QfGTQWKtvTlfefqqBOB4l4A1wjn0HLuBJ0JIhUoKtNcwk72BypfJmDOHQX5Bps4Ug4CXhrL20Qm
mszdYhSlils8VfAKN48g2LeTgaMBcX76XthGg4kocjgqCbjdA0/Oil3Tzy6RdJRplcgCp/9HIg2+
ok+RJcaYAIOCqj3P6YuEKZsoGq1F7J1ckm8pwVsgDzddtPgLEa4zSRutRsg/LhJoyGPhHi9SD8xE
15XaXUHxd5cUKAJf/jqcY87OMadSXrW6jp6eBErPcgIXBmeneEmIwcQsiI+W4ZDi82uIWYIFlHjm
QWbx+G6U+Ha6+vuEG0zWA1HVOYtiGBTFQzqFbiD3vtgchviTGLuXd+9fXi2vtpgYhWZpGuVS+jPh
mCAGMu0GzDHNR74gDdcWE5HUSCMkGcTgL0p2vFPBBKJ4lsO27ug3M2YbpHdT8O3yxnGc1GCiENiV
Zl0bUfSZpcOoPtTiZEnpl8s26I+85KJM3CGhNqZFSZBWjFfxfFrIlTk9ag1nlIVnhQk3SONHaR5y
dDSCQ5x/XYKXtj1NUJb7T4thMU75YkhBJ4sFpFnqPSmn0RkM03RILpa7pJU5hR1Oesmqzozi0veq
FkBgbHEFvd0nED6K1V3fxVYPFFkofZ3L3Lm8Qs6ZY2eCCk1Mu5kWG0tzAIQBxHZRzNnEf3lP/nZX
dg5onH5VvXMMrHi6B31JK/ezK9r+0bVnPpUA55ybdNGrHGaoxQS+hPjQSuhTRIGdCU9TwCV951zq
7NhPa2r5qAZQ3mgzp3OavfQhxcRfakvEW1zj6q873q87yUQIFFF1I6QNGNGv9hqkRXClm4h8cQu2
TvBf8Ec4OWGdnf0JglgDixLOh7kzfNTbH6uvtAqB5ujud90dhU7+1BHHw00mjqh5FQ1GBjSGnptW
Oho3nWa6vZG7IMPlhCxejDeZaDJFKWllBYH3L3rt28Xpfz4hBGPYFEYbO30hcwFQuuaT9qzubiCd
r3Ov87kt0IufD9aY99EUxkHR5+dbOVWsZTKsNJV8s5QsaWm8NBzctMTgcd/YS04ya+qSnaG2vipE
uyUKXHURXdATOeqo7C7HnctBAb9M/tNHU31QBRPUOOc9V48YcbB+NfreUSHh7TqTnSRRm8mTLiNx
pPIMJlDjgr3QVrCx+xsY8PoNhbUx8UcpUtlMcHWc17bsXyFb72muXAx2MMYkKCjyZMVIM71qfp67
0jVRYlUXHhzlYqyDFSby5IpaRHmPPiKdkmklNEvpFHdZ3FA2ZsAF4xvuaDM9Af+aScAkk62QdgGg
hGaUf1OGvHgPwhgTbnrSZ6PUm7pXRZ+6kLhT3vK2kLceJsrMdWhMOi10dthEitGe0H1zF+jKlU44
elzf59hjEUQJ+nsxZmMhfa5hYmGZYvVgzIZtKukdOKmOdY2ZrlFpNLsHSKftlQEAvEC0laJ0L/v6
ZihXVFUzTZUQiR3FEyrM9+RVWPhZMz4RMbEJZLJU81maAw5z3HZUWZliPE/U6oCUOUpnrdvs8ebF
JJeTTi+t81P7sJS4tIabkWVlkXG/SQ+zFqP/wER4xT4Qzi/74ko5yKrbcWnYOaf0fJGtEpswT0QZ
DHQo9Oq3pKlBF8f1us31AA18LsdT4eg/43IVpkGR04SQet3/1hHiXE7nN+xqNZNsRkac4WMpxWkp
FmdOZ0stwHGsYf5VqjlabZw4yQKuqoF0SkhqwQvLzp/IdA+9SndZIs7Lm2eGOQ9lXUOcXRTRY1CI
lQS9LQuBRTTOU4FnhQnH86yDyY90gZcPj9N8lNQXk6dtRyPehfB7roquvk6gtDHJFuSaepxelUV4
zMrqSiOCU6fElivdMUPNvxwoeKtigrBidoGumkrgqfHjqN/WyXHOOJ9nMxatjjcThEGcvuQCDcJt
fjDDwtXb3lLrF2Hk5TccP2KxUppgSqFpIC6QFJXU1HDqoPGW+VMXR6g2gVWSXNWzDJqXkxZ+uryN
nCjBYqgiIazCUESyAzY+K1a/NyZ3/JBzt7DAKTPrO3NJESUoTOsVYvFOUDrPGpO9iVpcKUWDQCEO
UCuQbfFE8zdA+cq9sXtH0Z337ZhbpBq1sBFpFfov3gO8tTHxggxAFKfjP+1PmgeX9k98w3jDz4N5
J4MJGxANiRZDQAw0iwSDaeaxHguOg21fwa8exuKl8mhJM6M5b95PBF/k/G5XcDu6HHdmsVKykqSY
IEfJRJSg6h3UdjXvm+CHovIm+znRkMVLCXWqFoqMgtMkFfu56sEV26PVNNiRou01GYDpaeDUuHg7
ycKmxq5sKdEafUb87zt5uWIMRVHqFKt4P0tmEs8inKwDfMkejsMNHekDVLd1Za+BVO1fgk9+pxos
diqo+jLsawSR86OsPlCnbmtH9CiF/X9rklPF1D/Xl9dErpsZor+0kjHtqZDddHi3kB0nhLA4qUHL
JjBTw62H+veDs/+5tndgFGnR4MJdrTBBJNcH0oY6Wlh0fHDCg1OH+JDs8AklOQGERUe1OeiKEmIK
GIB41trlJYlVzuXFPYfMs2+p47rKdcSPn/w2+vAP3pIyk7yL34YTQ1gMVF9MXTEAT+epYuks6i6U
NXsMHwY+5T8n1rMQqNnQpbgK0VuF4KwJQoIYSB4g4dU7w4KkkS/y5so5+RQLieqmucwkAQPzY9Ao
jtmLrqR1nhhmi3M54+CFKhYZ1VZDUSUJUo5sn8c2xfintg4ea+DRyXHetdypOE49gkVHAQJZd40C
mF49AxAc72QZDeqU1nTQB4KW2Ts0sDjnhIVFKZWe9fpEq8pRCuT7sTF0axoKyygiznZeRtRAWJS6
4SoWxzqGV8ceECJh1zkJkkVf92r0Ni1izd5gDwACeL232JpHA+WI4MwLl7yjw0SUThYUtTURv+Tm
ay2DaqF+yAseUvcy2ADrZPKRqsmjXI7wFTW1shoTDUoRqlvFYZAOXTdZo+jjGZCFYHbS/A6qrYm0
q5svgv7cGZMFNTmbqMdUT6265bxELpeE8cuYKAR5LHMCDYNA76Zq/zPhRPx+X8K5/b0x5KlAY0VE
nYSxVoqVLlYqHLXJF8ytxVrvQPf3SwGFjKu+izKQuOoh5HKCo5qojmmOd3LxtRZjE+8HgIAHUKov
OvDOXaU5coIwBvB/ZSWyeFtP5uMi1RbH3zfdb1X1YD5cIygV9OBwdQf4Dlfk8HODFh+/CDXV86nk
WNy84lYWmS0S57AHlQpS18C8NZS7pQLvWaR6MnmOim9NjYG151HlVXc2r7uVUeZBOoblojUS4EW1
SCwZVCsqT1+X/uw3N/fKAvsejRNzBMgg9KXQnbpol8+3aKU7c1PYQ3B/eQ+3V/N6ytjVNAUBRkpF
kDYzS1kgTq94ly1s3wOrg8wsJzfUSagWpKx/U7PdjFG/jelsK6WNi2CJRMAei8GEoC2mhLUcmtWk
4JJBbB++Xzuns22UXgMRlobRXS/PAsuUvuTTzSTfxrXiDeF1N4NveiReAa2Py9t5+YPpbI+kIW1q
5GEf+ir43dP2NpJC57KFtwQitFWx2kMmK5Z6UcuUEnj+/kBRxtODorhUBTVVAe2nGoTVfIMt9Sod
wwzcF8BmQrSyTjdgdc8VTZqrg5ACUA1Gz/M0QRbfYKD0TD/Rj09cVNRmWr4yyFxrwyhmea9pP8/n
/1bd3J66XNliYmSWKSDXUEvKddfsy0Owp4NlhJL5/V00fj2eTGxcukkciQ7Hlm4o2GfpViNK0fyO
5uxbxkLm2DChhIzx0hUy+K8FTCfL7uhKDmb0kYA1blPblOs2euScVN6nY0JLBlr5ZUnoWTGtwO/9
1JfuW4xGgGSdO/TFcTy2ddJE1dzrgWF6eQgupHq0avX75eXwLDCvbaINZZalbeEbcnMyR21fLjxm
O54J6nwr54rAzaOVYxf6HQp08wk4+/947tgCflukkyx1LSygLIdBJNtIn3K/dubpSrFzJ0S4fLm8
bdRn3l6Xv086W8RXgqmcC63+P9aurDlum9n+IlaRBAmCr1xnRpIteXdeWHZsc993/vp7IDsWDTMD
xd/NQ/KgqvQAbDQa3afPqcKYQtA8g5CJOfiQfSRJ61+3JNs9IVKk9sRKqJjhTClFEarDcNKoJhMT
58fk2nKEENFGajb2E26wtWkmjw79Rz3PvDbOvKbMzijI3DWqFBooCbpiYZ/WUUmzBG81fkcTzPzw
eiNXhHjO1M/vAkC/RorHC2jnhfkYJVO+FBDaCVcfPOd/laDtLx39Xf8Xn12mDdixuVCDRd3yY+dm
/voeMtTz+/z99e8pSU0scXSaGXif6uP6Z6nJ8fvhKfiL5X91pWrHVFj7zqPCN/k7ZFv+VDtOIX+e
CbHcbysJ9IVqnHMSfVJY4UKAwyX5EA7tF3M6/W+7KBb+a61dhqLDVdP7fempPpdKB0Bk9DgNt1F7
UtI/ibeKI9NWkrVLPyKjLEDXP0C87URvF7c/d5cGsGnNlKRcx+Wn3YfjcWHnr/qIOX6TwF/7CwMv
w4ZhvOjEzwfn3ngGN8PxS+rp6wlxBhQFBkkJMpI8e72CNBYH0lf8LHtNweTYXeR3m8xdhJiD0S7o
PqvI+MhGL6Xq21PrK3WYVfed7DkgM8X/vttLy9pIMWUmiqBmUnmFrd+2VfKiV+o42NTcPOWzHsu+
n8xfhMwE2V1bUmhr/tELhOccV+K32BXI1ayZVDagTmNOPlunvxqSvLdaLWx08Lbmyis9X140mgxQ
IXNSsTOga+qiLUOJKVGQ/YGR+5J4JAZVLs/Uy4BmruwYci+8slCxOZDmJqVVAyBsRDFiZS6uqvaO
PYf/W3QROwLqYmzQKF3wGrFeF2czAGbd3+gbfvzWs/woyO4EsSeQxAn0OBpoLdM7nsCAuf2t4Sh3
Ssi53KTSH5IMVuwJgNZirGKekPWX75Q+3+8EepKP8UiyF7EhUJVDX9UdokpTBTGqoT1JPcm3Ol7N
P6geVVQNVbapMIoMU/a7CtkjuwoDU4dsvORf7tMna0LUmtfUGI36sU3KwlK/Azd0UABmU/Z3zwD9
HweRJ2tC4IpMtbP1lKIBzDm0GiX9a6LrvVKRGvpD+qXq1trtCwBuq/gzJHD9OKX3Y919lmzxcbb7
9DOEWDZtZWUlFBAM/jyGGQyZBVYCJTgg/HySvecCgjlm925l2/1Ip/H7eX+yLD62oryZqAW4n9WD
XsvoPnbl2roFptQNop5Rn761o9TdYuNVZLBvYzyfipXPaBm37UT8pEvvM6O4m2gTzGPhUmKGY7R4
xqI4YC2GOsmKV9tE3S4zeicxVdO5vnPHF8/Pny9OHhJmzO1cK2hTjZZT6BhV61dHKetTbWNkcxwl
cUtmTnjM9b2WmqOB1mlqNW7fl05fBXV8u4ypuyjvri/tX2L/09q47+4uVaPLh2ZdUXrd2sfORzL/
586H1KZQJarScVE1Ez25fxTiB3rHPJz2/MyfDeppGz9eX+bxhfO0SiENKwo0qKmKLziuH1vjVa0G
ivL3dRPHMfLJhJB5qSxpdFSUsaj2obW/lZFkCTKvEELWagPPZhQj3qrtu45O51XJ3Wl6pVWGV0S2
JBzL9ov/mJ1XFIzMiaWVkJWaRpfYD7kSFOQ/K7Q/vuWedkyIR3k6GYWugnik1y5QUHTitnK66HUc
S1GIkshnCfEnVTOrruymhnYzC4lXvEwf6FkpnQ6CEUYAYhXPOiuzq7y57hKSTybOF7bLUrYAlGAa
Jn5TqLGrWJljgfBOLaHQWuSSKHVM5PKz+K+KY4AYVY9KW+EASPCpeCoFJhgYCBUC1RtqaLpTubbX
jCAu/TNs8M6yEERGWmfKluBmUQCGyE/xBTpggRVyPdpU/oY7fuP89BtxNrA086IcKrzhsjOnq2nt
258kOShPZr4NjO6foD13CxTix9zPGOnoE5AwZItjxCeMsWA4XOIu/5I/Pi1MCCFFa5YbMfg9w9WN
ecn8JxtOd3kGGw7/1VeuZSaEFJ7104WjF00Lvef1pBAZ+aHMghBH9NhejKRtARlImQeZOstJ+sqW
PNIkp5sJcaTKq7LLWwDCtxrC6NR0sjkFVyTQkJMMmSBbjxBIgFctNbaCnYUDxKwC6q5Vd7oeNPiv
vfJRxCHBvs6rAgQcVZijIR1XF9tWnFL7VuuLk1f3a5NLdk8SpMQxwTGh07qCoyVsyzjQqsjV8fjc
2L1hzRgXlMFx+AZdW50QKUC+hPloBpf7h4ZmaD3T+V7u7ZughPiCjqiMCl5nPYNxVZZ6iMODeZHW
tB2nKqzociH98LXMkGwCbfdhMJA89mXxTsl6oEHN+TaJ15vUzvxRM99PtvK/3efiVCFEUtCN0zF8
HuuQKO/j25hd9PasNAEpmAxFKfFbcbZwahRUTTUAG6O/Zr981by2Ykfpgf+Yvml+HTTuCGIoGV5I
9q2F8MLo0uWKjSedWd2V+m1P3+NB7lRb+Ai3gGr5+OX60ZEFUBH4gNLX2I8r3lgdVOkZW3onGuLY
SdqB+FE+n7J1Ocdz8nUb29ztF0SLHMLifWpK8PSy7RYiUm3GY6/mmFqOLTXsLDWot+KtZK2SB7M4
ZVgYdFbmKIkCPJHOMe0UL7e0t4tZR960qKvXRXHrWpl9t8XqLVGK+9QgspbN9TRRE1vmVtn2ZDMB
aMjT08zL8FixIqW55jHh32OGJrbL462hq9nDCohXV+C1bVCvgtNMw7zdc6hXr388TWyTNyzOygpz
RaE19qGalK/jJHp//eNJTIgNQVON1WaukBjqVe5ES7htjSSqH1c4DB0DUjbEEX4j4i+GzC4HG70g
XnjmbRnthXbhgHp5dejwnO9MCTFdM3VSJs0MU1PuY6jYy+2vAJ1Qojs6F/JJTwprZesjR06xM8r/
vnuhkCKLCmP4pSOyBmA/oaeTXHP98I7cGePfc2cMzZfJLnnXqdmobxT23Vpiij7WyUkd1m9k6mWH
+9BBdgaFTNA0S11L0PB/lDcgt5kH2nW01T76z2urycwJkRoljNGuV2ARE6MFiUP9xUIn1rnu88fP
k92ahFywb7NBGWYDBbDCVaEY3ASog5200hkus9c5utOE4xs5KuSxyvtb+NjZFYIxGbof1QbDzgNo
+Thr3J6WbDkZrL4ohukxVXcma/MAnPKWvnuYBpRcUvZGwVRSUvUPPVuCtW9fDKDzWW166eY8dwwV
4pUauTS6dd5WzMxr6UdWrhCSqSPIAlVTDC7xtHQmVfvWWE1500PLS3YIDjPf3dL4ydz55TRDu91Q
4SZghgMM62/IEobqGVJr0wV1sg2a4dhVXAKhjFlJ4jBiAKuZUvbtpldhas3ghg6LSdY5O+70Pq3t
McDt1mbXDVHN4Z8BgjsSFJljn8nr5mydksB22WsNr1o+UmCCNS2IoMF4kiKKJFHmMeHY/QiUacuh
IEBuTD9ATFATHBxS3S/YW86iaSf314/J4ZW6W7YQ12w9UixrGJWgUUHM1X5d9S92LRu4Onxj7IwI
8SwyozlhMybjaNZAdx5FWbI1N50237K4eqVuzW0BKqnrC5P4qsgaP1SRNqQNntC4+fyovV1m+7xt
DtUKyamQ7aAQzGIMFuLNhOuIsdcdu8vWV132v26gEMsyTqapc0495FeTmjoKBXv5cp7a0c2aBCUJ
ybtJtiYhhlXlOJJcR0JZ0o9V/poltxmRDTsfJpQ7pxCCSd1WbccUDVRtFDMm3yG4E8X8zJ/3yp6s
iYgGK1Iy1lfIT/6ZRqpdTthA0BaXD6pJ7m8R08DamkQQDEL5ZvVtkLJn02kpbhSWeNEYXHfzw8ho
A3itmaqNFEco3uukJ7bacSgzrZ28vB9nGW3s4SsHWrBgNzWIphkiTXqrjcQGp2qCNuP4LofCpuXH
Z/Y3eiDg15PJeR55nqEZpm0RjFaZYk86VlZ8RII2bWnfbBCiR9tIJkPw+P8Qb2gshxiabkABUUzw
FaW2LNLYKM9q+W0OveI4fVsqgMe3kV/kmWtv9cusB61am15GVEVSjV6SZbgk0QA9V/VcpF+aXn8R
UQyHYDxapW/nqUQdfnyjdvqJlMaNoVQ3dmKc+Rx4m3/qOsn5PEy3DcM0dU3TLA1M/7/exFk2pWkJ
6VPcxHxkiiv1ri/bM7upQpmW/FHwNmwL2k2WblhEZLgtiLFGTEnrkFbvGtN+02nvawKDm/K2NxNn
LjtJ5D5yaRO0IzalNtT/RBewgcA2Kr2BLhVVHSP6kpEP18/MoUebKtbCKDjbDbH5u5TrWFRmVodr
CR3QMbppR1ywm+IhBTjVJnGXqbjLVc0jXfNA68qvZEikIzc3CYMUGxglLPzz6/cr9Ah6WWSCeN0y
3C5pmrqzUb+N614SHo6XaoKcmBKVwt+FKLuBaa7pTY0FxQy5mYFkNxbe8PYUPfRbeYoSrQqgdveq
1saHoYi+khrCjx3TvOs7fuRDpslsFfRGxMJX/XW5MaVQwZonK6Bagib0OnnQrQCNSNRYzkowt1a0
hTOy9HTd7PHqqWkhpVY1wxKjIwgz0mLTWBIuH6KQKxHndxxmsrwbQjmQ+XAeyLRsUzcQipkmFvtG
COUum1lgBvURUKo5AaYUrPUWfgaFPeTHmw/QmeZOo7cZzuvsrviT+vf+FwiJVprE20SsCWw65tds
gWjNcpHs6OHh3K1R+JJzm/W2DjU8IOjwIAFSuwb901dwGULqsfBBx6LFF9k01/FnxGGhoNEBVEMM
QWU5a9PcjwyNChLYN9EZ47BO7+kBQ3mhcG1pB15qUagxZHphE4tl1Y8H8X9DmR7u6W55Qg4+MaXR
EgVdC1t5o6J4F8kg9scGIJREMYxn2GJE1aKIDYTg+GUNsLnG9FWJ9M/XHUNiQsR0jZY9VgUdWKA1
jVPXULZSX123YB5l9IghjOAs419itXWrtG1IFmoF88r6S5/UzEtU447hKd0mNIGy3nBiTDGcGdG8
U8e7xrLfdXXxpR2Ag8TkhF92GY5Egsmh4iEbyvu+RPemYmC/S9XGNaulcyeTMsc0u9nLRgbqtsm+
NAzyqfFymWfoDltV45To7DtkroNcn93c0GP0EHrbg1zT55jW32aSv1yT/K6crbuunrx5Hf821eUB
qzLcTGt9knBSuI1czD7CdGRpzoG9Na/6eriblk9Nr02ukg/vlXL5W48hPnd9Hw97EuAh0allQ7eZ
irdfFnfgn1QWEK3T9c3MZsvvVXNxOm382JAOgncsv+3y+GVWKHOAp8AXo6s+JP1QO6TPFsllf3zS
dr9GeD411QTIY2d8l3LJTxs0QEjIGzI5pLVkQMDHmWEx9duvXbh37XXWZ2MF7e46mR9wad4lU+Ob
jf4ir/o7s1ANN9o2L+6ST3VheNBqy5w0rU4FqO6KJPar0TwZxL5NE9C0m8NDM2QeNN3QyURbvx78
Np/DkrWNo2bsUrIh9VDBmx0lqty0zCOvNlnlrs2kOLbB5aM5YyWbMKjEVPjvrJuutaweBdc42Wzq
5JmMCOLoDIHylalgorGBIhfyxiW3Nd2cLTwXYvN+LOgHXZ/eZR2mMlUQ6F13tKOQsLel/3rpb9OS
G0wnSTia0aeymVanMdev120cjvLsjQixs2wMa7EjLGhcz98FZdDI5tQP1Ku3e0xzgshSVo063ESV
mNhDjVCLCjlVnE+x3iG5DMw8CYaxceum9+vJwtRrLAECHJrSELUthuoeoGS/7iHkWak9EpUFFCz6
ZhK7rHg9afaJjLN3fSf5/0k8GZRoKiWWahDrMWrsSk98XngbM0QFldTvzLEZnSatXsLBJeWSw/Cz
N8TdZmdooyRR7QoHnrM9YKTC7WegsTD6ztFYzeUZaKzDWba9SWEXF5L3q4rvCHZnfXMmM/+ipNM9
yqjvWtwPTpr0UHXQCsWhSYQaH40ke3v4FXd7y/++W3KtN0ajtwBa5/Smmo0XbF0CyOL6zWD717/i
4ZkjuONtajH0YYTzbVDc82VGkbd0g1uYDppwklN9GLDpzoRwrJuyVMwFRMKB2Tx05+gdSOqC1G3s
13rQYJRfdtgOn7p7e8IJxxk0k7VeWRBvxqe4RFhU1MXHUUn8ERDF1FwTp8wSd9uGz7lRXbaplMEw
/sVnn7ZV8NmmqFmRGxjcsl9Pt+0LDWz0zfvCyc/5F7wkXsoS3qPn0n7Jgr/WIJarTWuzgshcXoEh
80xp+mXtmKMow8eWbkEUrbKWPd/G38//0xIFH9W6zDJaTPj/IC4B5Tpn3Cd3z6ZcPw44lk1MlHkQ
4YQoWqFz3o8W9F6mYoVCCOjenUphYc/7eNcPxb+47E9TJh+Q3p2/ZdKtSK9BWMlDTjW5TZAE1Ymv
zMQlKx8M5j/99718siecwqJqVlYzwwLdkjN+W93yheEahlO7Z1AEeXwYZ2jdvgYlTMllKGQRVrKz
pnBCbSTKLBqw3Jbm0cMKv3WKdaow8mSfZrPd/iJWmQYkXlI/jpseGXBTOXaeZB5e7/juZA70un2Y
YvoncdDQcLtQ3WRMnN1DpZyQuM+sINUezF7zhnnzl9r0t0l6y/At/u0T7EzxI7b75CWkts1pwx39
/zPBtktBxOIGG9Z50nWkIEVinpt+OUEA51vUW58XUnp2Wks+71FxeW9OOKhRQosMdKfIPnRqnzCA
5W51Dhx9hsqCuiQ3db69un5+Di+Vp6RRJN4f7TwbbNSgg6i/TUBswtCBuG7hOMDuTAifqyoxyjJr
2MPGQ68TsofpZXDQfoBmNJ/rlAVY2YqE2BPZTbKOKkA7Kq7/hH0Y/2TSd/eRRFQdRJf1tEhxSaqX
2nhj0tFpt3calWSHh/fE066JmC67WNlgobwY1Ot6AphT8Ttjrp2xBfi3aGe/7a0Ar52v/9vHEtFd
RaPpVtvzDM5yOVMtdAY5U+3PzugzOA15yPrtOJsanqwmatB4tv56nLOSWt3a4jj3fhSyr5jVPitf
C0cJC3/cpO5x7I6mqWm8wq6j8/GruQ2TMWVeMRrY3YWPNULB3GeeTs+Vo7kZnhSykZXjK8pksGnY
JmpcwsNUJwA0Z7HFfvSnuKA2ha3OeZZM5BEjCKWazSyDoiortnRW+GdUz0n9qME5nbOXxtkKia/c
yw7a4VVETUNHwqjjwwnJGyHZQtIe75c6Gbw01r1R90wZsP/4c1m6bptodqGrI3yulA06qXps3neJ
qx9yMRRyMcRVh+fgOg8z+ieLYrnLboqq0GpsoHHHtRP6MDY9RHr6pQPdIL/UrfPQ4szLlZGOLZsW
wdMTrTCxCjZMRlwv0ePFhjiJPPRv/QL3vEzAlLh86jZ2SQpaeKmHHt6o1pNhIUTbZqYMY4ne/X+n
Vj5+sFk2zjshTGViiapsWUKWIf1eFOL6vuyWXAC5kDJwHtcPmE5Vgt6mrYszlKldNBkx6iyM7lCH
MSEMobjNybyjjhokp+i9fOD98O7ZWeR/32Umtpq3A2e3CFWlvjFWem9pUyCJ0IdOsrPBj+XOhqVY
wIQy7B8Pl60V6H8N3oYo1rqPym8LpByXCcx2syzvOjzvKDBrGrYS1DxCGOvymmxzA30Iy1zR50md
CvRnsZTf7PA6QAGLEY1paKAJYQXzXHOCBxLXSK7Oy3k7UQ/1We95YmRHm4m2A0Vs1hlaSUJ06e3K
qucpwd2jKuGMcVRkYJjlodGLJqo2SXZ3GMt21n6DOg1TV8Scwfw7e+8To+7zroKjD4Z0HNAB1VTx
3YSdXMye1vVkp6G25S/roXmZEtOb9UyW4B19MUsnaLrjs9lUfO2txO4BzZ6rsPW3QPc53Q7z1Jd2
SE9/1rLeGfvtvaeQsidtZAWKtVYO0RVfLSi43fTyVbQqldMSpCzpkn6SHDu+WWKWsrcrZClLqZXF
1AJnu6w6yvzpeFpV/cRm5VyqUzBtdlCptV9qkack0xfs06vZAIx5iGVSn8de9LTd4hOwmnRjLtCk
/OFFe93p5+TTh0dEt3RLRVEZ4F/h2AOeN9sFvxtmoJGo8cIyJgd8Y8T+en2HZXaEO0ibprE3gDMO
Rj0Nqqz1QD/tzGkUxoMEF/cvO/i0JOHUZ5o6QBMuQubijz7K/8RrHzUP6xJjy5ink/NgHR7Fp00U
IUrV3NZ1nWGqzdRdb8HMNF2cPlRc9JDLcPO1u2fk1UeJINb4z4cT82q7Wod8KzOIsU/N+94Eaawx
LmEdo3Kod2+rXPtLmZOzsqyXfpApUB1dhHvbPGTsLylNHVvDJixIm9xZ57OBzuF1d5F9RJF+hSYZ
cLM0xT3xYM037LKdC4+dUWteXEhrPUezSOKhunC7a003LuhTlmEHfBOmz9S/p7l+m7RNwLpS5qPH
QfXp63GP2u1gry6xlizwmOycnibFzcPtBWeXgSwQoFmzrHt2VHmwCG/B24ZJiVjoMJJ5M6EPUYZk
Ml8wMoVjot2VaxdubfEiXVfJ1zv0j505vtW71c1Voa7lmqKEY0/uWsfhhmtX4iCHOwggmIGrzwbJ
nHD90aUqjCUB9fSvsMBnsuUcpdDWzprgHCA0W8wxwjtlX5TiQxLyLPPQDwnSdcZspLbiwbboBEQf
tFBCQAswu9J4JS6Zbc7RdJSS1hxeeztbfJN3HwpPV3so67oM9aXG4O9khF2lf1B6S3P7SDtZkBuk
W+1jfOghtpTKjxeWnqdkeBulzR/Veq3djxG+aEwbVuv2UgHyowWGH1+2cA0WX4fAnDxmH7ooEFya
waiFfwmXBMk2a94UuM+yEs/oVpfOwXUPPTxzTxbEQpK6EcieNRh0srsPq/ohUl7XRuvFpekl+uvr
pg5rEBY6jQzgJXRmxapApaXQHooU9kfkQ8cLezImnO7Etpc4nvGdkqG6YVp5tsvt7TKqiWPm+at2
K99LVnd41e1Wx3/Q3ktjjOum4P1ArsC8tAnT6gWr3mPkNMWsGu0cqy7urFpamzg88zuzQsoy9ZA8
iu0fm/ofOTuP6oH7Dyi4YxSzaGIMj9nyW/xJRd1K9zWnSpyhciDLGZa1oxdB1zs15LroX7M0mh4G
HVMjqHbDiYCz+HWLLTtd03bBtG1y25zn2m9yEANs3hxyUrCyPc9QljTTUyedDzkkgrV2loXImina
UHVb/F0e4bvQo35RHJCyag6e9X67Bnzo53lDvoeXyM64cA3HpYpHU4dPnN3SC4hieEeUiyUg1PF5
GBn9wWGeuDMnnBzURfSB5lDjNmviDtFHZUXjWiZmdJw67awIxyUpW6VRkw1x9O/ZR+3A325yd7nk
bzhpj7wQc7wogCY5xBiUvoLr2gPkl8HwDMonvD2BQmjom9R6kISAY//8aUSs2ikNxTS4/jjE96N2
9jjfGT2Wrw0PhNyzt9JnUHUd3hPmk2HhYRiNU7tqGOTD4dP9TnubgixesrZjJ3wyIVzCC2nVGmhf
nsn8PwmEWLsFCSe90+zUylpwYvz3YqDEM37jHYtqU+0neAZG4wCkchb0+lP28fr2HX4g4KEIA06E
/ja+Wq6ZseW2gczMAof07dJbznUDh66HOxVgc5NgRlaIEb2Z14pdoxDeq28GGjsT5gvatnFbQzaq
enix2roJsULcBapYrloasLIY5pyGZfqhnlU3Xj6b09vMJm7cahKvO7YFKBn69wzIbiFIbNo2pjGL
WaDk7MMARCSxwTEfmfOXPOt8Za1kw9lH3wl1TRsJuwZAu5hwjVmbJYTMePFMF1V9xxZZoeroO+0M
iPmW1pdgKMkwfLCt93qtu5H+ddD/sqtX/90d9maEgGCDwSZeNaUMs3jpIddJP/dLeh6NrQE0PH9z
3dhhkZsRtCuwaQbw4cJpNbrS1PsGuP8O2kgs7O5bN/EmJ9RCK5xfolnhXTf4mCmKhbC9Qf4Zd7mW
hSd3PvTAoReFmyLX9xYPJGwewP5+DxQ+5qDAfgTuDd6gWULrK3STitW1HvVspY2Lo8QPYAuTQF2W
qhCZFn6M3vdrgbZiEM2b04KfoW++9ZblMaVw1Oommma3yTTHiqpQsg2H3rqzLOR+Vq73VauZvApH
Q9v8ovp86mC8DF58qjBjzYc7zQfe5Yt9kK1F/ugZyks5I+DRMcUkDb6IbVkA0QveptJco3WK6Gb3
U9A3YK7J4hd1Ud0Ukf6iGlrJug+XjWET9PvQziQiPjLt1grkLoB59E0TTPr2RjVSyfSgxIRIkbcZ
2TLkJAevSv5W04hD5In70YUK0OU/q7CETev0aF7IUlVhB+/l9OAgiA/7AHq3AarYp+uucohyg4AS
rlSGiSckQb86aT5ZJKXZj9IAiHtvtBe8/6vdyUsDRxfq3pRwOKu57vShmADVX4KiemNEF4VKPs9h
9ri3IVx3mmrWbLUwccAxubRwqNuGk+2BbecDDYpLiulqX7KDfId+izm7HRTSYmVRNFzbOGwon/Y+
u7BP3yUgHse1t7s0kEW5o9fWfo1CXCmKdGi3CVF1TlLFiRPQn0CSZNaAGhjbl1s3+FnfBddXeej3
FjP47JgKkVshTQbG3GJ1gzRCzXS3BEarUL3rFg5jxZMFsf+0lnNbsRavi7KF5Lry1ohfFbG31F+m
TlK+PPbDn2t5PBL7S4LNsR43kETIolBPLKdnlyKSTU4fHizU9iigFejhAXf268GC+ua0bDE4eiz7
M2iuTixCIqQWoT0XTjxSzLyPKKc0/jxBd6KWbOZhSQVdZdTfgLlH60s41ooaKV2SIE8uzsO53CAS
WLrWWw3IQ0P1FK+bZKfgKGrtDQqHO8E45tpZeAbwkvDCVQlLV33N79mCeiBAXmUrPDp2e4PC/qbz
RiZSYIXGHeoNbrqeigC6cLezFznJ+gx9+qMMbW9QOOczYAEDblZQ/5gfYwwJ19+yPndMuUosD/Bi
QNkbEs43Sin2bE14tBkFRLTqS+xjdjDG1Bk6wFLFMv5drhkTUgVmGHURzwS0aLZ6ymsMjWNO6b+f
7P16hNjRbfkWRSOKleOou5rWg4HrZZZ/q4Z7hb6+buow/v+0hWFenpPtznamNVGDciIACFDYHe45
D/1w4UTYndNc5Ann9XMGe8JlHWFsK7UbqgTl6kIWwqvUjJe8bstz7fXDe3nwP14hVW2MX9ton/02
gb0MzC4qNQKlscO1h4q/OXSk94j1TBjCUbjEAN9Pg/zk77Y0nsCY0zRQANWo4tLkZkgXB+O81z/c
oRvujAjxarTKZMl7nGZz64DJfqfHkqAv3TchQLWWomD+Gp7xnbRcs15ymnQTOHM8Bcp7OXBJtiQh
QLHRYCnJeGUJ01ZT2boaupz/264JIanUZsbM3ITDdUjqx/w0VPP/um9CNIqVuekiE6fXuNu1MvFw
+tnKtM7XV3V8de6cQYhJedomul7DGdSQhk2JFngdVjflGY1T4yR9ph0lHnv/FsITxhLr2EbVEc2x
LUDR+JX+14L/4g0J/zB0l1PnVs0z5JIkhkW0SLoMIMBewU4TzdopY5VDa8MhShaa5uuN6JIbWuKO
phCp4iEGJNyGMk8evzGrr6UhG+Q4zACevpoI/egVFs/Ig/5MQuL4OIN8hBA+EAc84q9RqegwHTtn
IMv7p6X5j+DI89qaj7Q9v92TjIGPBIPAoD0RTjPUIVHC1bA6zlkL1+TPssmBexh4LQHtqbvgtQc0
JLx+Fg6D786scMI1I6MR5AKq0EiLEyC8ob2Vt1anBtfNHB+5nR3hlFcWLtWtxfL4duY322l7wXmN
60CR8hofOiIQwIDLYjNRF/n1yymthsYs1yRoEOpn0L4nai7x9cPCk/1kQ6ymdWxNzMQE0VvnRWHU
Itnmvag6tN2Fp8C3wxY2d7J3Gf8WgosgA+AZN9B6Fupdvy5sy1Q2Din4eRsGojWSOrUyBtT8ZKyf
//vX+sWSECCz2oAUgIK5PlAY/SOz+sgTWTwDgHvwvWDskV1Rp6BZFK5mkm5RNvFOcDxNN3WlvS1o
IYsdhzbAEoIhd+zgb0QLq2626jCacfg4TcvzeUzT9qjXUS+r7znr2TMwSAd5tqliPQBXGvBvsT7X
oV6kQKIF30s1gkRtnWlUPldj+cDMOlSzewIamL4qXbLod6vGZB3a4zU/mRc+YttuGPfuMhC4YprQ
Lr4yJuHMkBkQDlptFqVBeisNq/Zu3iJ3xvCXxBEPTaDrSjnHifXbSH9dR8yCggfCIdqNPgk0J1/u
uCD98sDzKgaxoj+ZggZi9MmmEBJjbVa3okBIVNvcYaBEKqira51vTNbp+vIOD/TOknCgM7JEadZD
DmYgXy37QYf+a6nfV+Wr62YeUYq/BY6dHcETWBcNMzVT6CFhwBONT88KyGl6X0RI6zXXdPX35X3z
DuJdoTTVOri0f9lMwUdmWvY9zbk6EVTt1hetuzicnoy/luSR/+gShTWUj4DkQklcBL3bFUYEK/Z4
iZKAEVyiCXzlxyUaOXnsqU4ctLK68NHtZsIaiKSoQeA5wir1ekALqa+S8Du2GUMuWCPHWsknvI4S
E9iiJqYH8ETDzOGvt0C+aZA7L8BVqYaTt/qVN+Yh5JjCGi9C9I8qVwZ9l1oU3GccADMDzTZHP3DU
gzhB+4zIeeg1uzUK+wmU07Rq5SPe4g+85jBOA9PPNb4BaBFL1Fmh93SO8OJFwwpHA6QoXvWZhEpY
ohopi2i8QPDbWdwZ4xFv99rdurxRO5Lh80Gj3gKNsLHepdHfw6A7GWmcRglZmgTl9OV6DODf6JpZ
Ib1sWI8ED4NYYQfRjuVW7dSHVdtCbTxF7cu4l7y2D7JKzKnjotUxWmAgZ/91kWk0qk0U401X0Bwc
Ns3bUpvezlp0vr4o/dBPnuyINV30NEugBCH0YL1EjfXcn9ZL/WIMwYb7kLt16/B0jLObFv7wVgmB
WQllOdnhBbX7BcKrR6v0OZp7IFU7/ZtRfdqksqA8+/ntw+0M8C3Y+UsbqxOyCEDvFdXrfZPcao8w
HMvdovfPy1tkSxLzsWXZVjIzcNwb+i3oRoNJ+Xr9ux2lz3v/ePz7blEmjeZ0bFCBbAvPCONTb0Fh
pXT16nZy1UD34vE5I1EybxHOQGs0GjUjbCUZUEvTvDHLHMUvbqxQ8036/s+qd7+sU0gljMqihZ1k
qEzi1cPHvb43v/gTUvmjCbpfrAk3A+jVoeeSA3mo9uYnzNK9qFMFevUTymrtPMVeTUD/ONdvkHX4
GbYCkww0LDPbJ1tSgT69uiV07BwtbmXoBukHF64QBQj8ru+w9TwNeLmcn3jH6uA5icCxD4OqhgHA
isxb2ApLXTad6Qno21wNSoyF168hO6Om5NdezpzpreKVnyVOfexeTzaFNWo5UcyiwRq5pC5J8Lxg
5/pvCBfiHpmfMcsrW6MQZOMZzCspJ3b+Tg/Uu4UFvaBI9QqHQwKh93dh1hvJIiVGRSmmMkr0JZ/w
puFG0xM6P7GvuP9H2nUtx41r2y9iFXN4Zexu5WDL0gtL1oxJAsyZ/Pq70HNttSBOw8fzNlWe0m6A
O2GHtbBrTo9kI+sVOYx/gqgLxf51szz4S9ksmI4ZcbN/kF6JDsj523nQF8nURoIDsmSn8/rx1t5r
V2z9ACtyjBUpHQVxbKvKjwOiYqEjWLJRlo9OnoxFP5Y5wKqrtfQbLWrNHQXweJxU3iS9yfaLrUWZ
kgeZnbt5/l+lc15KpoOuJSZQ+ZmXMi7fc/Tf2ajazpVPzsqZ5lpg+snsfhEO/PSJChrZwmRr0yQB
OAp4QNTUPmE/YcUSC1vL/E/J8H/l1Gb29ilSnwhjmnUS1IDApoMCEPX41AKngYPuCRaXVScANuFe
GTGOEIE40hfY42Z6cCKU05xkdNpsYRxevT/6upd6RwrAE9ApVTRRuJlJspsz2UPnE2KBWuaWBlYF
VJUVgD9IUZMuQNa7akrFlZQHu3g8f8JNezwRx9mjRZekwGA2du7KK8u6lsbRPS9g2/hsdLGPU4yf
EAoqHYgyU2GXUS7ZP2bjr2ySXaUm7iDNERTVj/s7yah3sWl5qWZc5XElqKOwb/RJcTD5B7Rj1H0/
gRaUs1FbVaWnUUWxW1x9LYsLXRG1crbt7kQKZ+Wl1Wnl6MzpMSQyZOV4v2BNdb0C+P7u/JUecUv5
Eyl4oJq6DBi5T2vuXar1Vj8qKYCoqxsazzexs9xbRv5Xq6yh0mUBmNEvYz0LpVkLmpIGaHtHUiV/
nyctnFvzDqOXd4CDCYq1DQvL2s8JqJSnxRtXJciaxrWJdNERyS9n6hvD4teVdtmDckLJGjfWisOC
ZnOPHpLtOP5iDwFNzMavxzSQLMMrDfkZML1PEvbIAVh8mDGnUShWUDmGiwmKHUC0fZ3Gl73S+0s1
Bl0a+6TvepfWgIGV9IsUSNi9RK/INDzGRvZaqiOGPSrpAqxzImDDLboP4/Quue+26IbUSQUQGQD0
9sVJiisnidlPR/JvxrdSr/l1nlzmmva9l1OPLORiJOq+U4qnXsE+iGGDz6gU1VO33M7pj+KcOFBM
UYMYpvQEplu7cv/B6fYVQYDacgFAb7QBQIkcwOJHjMkQ08VWUEMCeZgXT09ZLFrwYHfI6ytA5VDA
AeQgwDa448jTjFp+oSNd7MNZvqtm2bWVxW1rAbz5lqWfyuFSRGuU8s5uHCyGz6pntZYr1zANweN7
67pUxQCoEArdcNLc+01plConE4onNq0CGQl9o//JMU4ksF9wEumyeSayHKMqK5dfY9s3lSdFxFG/
eVMnIri4prdjIpUVVq0XE0WRBfhm6mWti/CDN0tbp3fFGVfZg/1oUJHO/kR9BvBtvBuA0qoF5OD4
pcicRR+H0zR1lmZ7slEvsGZwMAO/rPv7vO/d2hgCts/75+d0zC7TcQGbIqhLG9BPxF/1KzbFwdAo
g8pDR9FdbMDQyj6KoWJCcPbzPxnSiXCWI51oRjssRjtLoAVsV7l1nW4yA8zt3jYt0H7TPFfdeVYE
6r6tKSiGgh5L1tFA+iiynnMHi4q4UVO/WNeHWPkbr9rzd7r90d5FcDlInJCcpsAIjgBg4S7KbeM8
/zcBnMnWOslSmsJks6z2qzawNRFwguiWOJOlXVKa3QiTNZ3Ew8aOi7EEt51EcUF0U5zZGvUiL2OB
rjl7Pele5xb9SwVsluVmDno8pW4kH0H1/OVtZjaq8v55OCPus66xE/XPnofbCv4ui7NfvcsSQnp8
qQ7D7kugr0Fz0WOOWkeNgVBP96U4UECz4ItLjZtFlNNzcpZNkp9zbvIBk8CutPoVlg2Q5bARgRgd
FXmnlAIkts3zqqqMOi7eUJ+WbtQ6TZ1qZAChXQtGz+JKzuTdQOllhwHdZjDD899yU3/exfEFXcOo
DUmmXRUNSulLve7JRGBqm4ZwIoFzF85i5BVYTJJIq9OvtB3DfnnpjUQwJ76ZUJxI4TxGN6ZZ3K9Y
SFhAn6szOOy2r59AnxNUUvZnUexEGuc+1qIHxIZmIYrlfu+bB/KtwfRI79Yt9lJbYNcK+bzY7//k
508kcu5k7VVDT5oBbb0kkEElOdzNu7Y6ZB7rQs0DUML+m15wfsVaKSbHM8gDTsoTycZ7AJisf/IQ
xCrRT10/ZuInwWudy6GpzRg+krpDYISgNSW+7Xc+3heJ20Z/MHtjnMrjfEmtJ1hZKRQs2ZPsgJ1D
Dz45GhvVO39320nOybk4v6Gr45ShJZNEWYom+uwXgWoH8876YroaHgy/AyMn0g8uD4gtoo9ygc62
Zu5/4gxKQUkO2oFRjYpuUuA2eISZoidzqssFTqg+auPXxhSp37YAQ8dUkWWj58p9KuDFGIs0Oqjt
1isJJKzzuymeWW5JEs2tY/CiJaZ0MY9AKsUmvp/T8d7I2q8IF9+TLh68dFxfZgyguuD/2WtZFsE/
FBdpEl9YMF7XUL9lqKb08wUGAefGbecW7OhvZWy9Fs7ytKDFK0vq5Draou7lZdmvihLolaSGuplJ
u76R70GG86p33XWikdhdavMvW83qULHUyxbNTZFKbd+HzSahDcXBLNLHpGtYc4f2ZouayeUUjHtl
51huLbtv2t3gL5fyrpZ2Ii8nEslF+QrsVhKJbTROtdFNq9bttOC8oWw77fdDcR8Zq/ZV2U0YEtJy
AApk32b5NVNal+A1eF7QZsmJoW/+vD7OIlU8/+JUc37Skr53Q1jF9T9/LN4YEwNsnDNet01xMWL0
CYVQIGCP1iPGgqLKt2MQUvxR6fXkiPzwaVMSte1tLYkshjSK/QkgjaLZxjwAUHz+0AP8ulF++nQg
lpyig5VGNvJaM94lw7fz32w7b3gXwDzeSXBIM3O0G1XFefo7Y30m7WU/C0SI1IIH7RnWVLWBcJZE
epTtmvXA0jvnCxt06kfsuMDznD+TwKQM9u8nZ1IoaOrXHAPCWdO5SXbdZyKoo+2c9V3TDc5RZGNF
wKADq2UMRwlBllx5FLg9lyxnxdI4oN/9WrRE+S8R7/1jcb7CBm/GsK6wLxkwikX5wAa8LW8J1/mL
6jKMM6G6i9SD8x1AjYxX8Fckx0KCKt9oPghfPM1Ac7m3ACzh7Ou3OhKa9nacfT8o50iwjrJQLOaz
OVQlBEuuOYBYlXoGOtq1FmZCX8KO8Tnve5fHuRJHzeS4IZDXwAk36lVqzy/DtIZZa0RYXxf5SZa4
nhFncts2I1E6ZyyO81zJjsyY56o8NsN5vYToU1+lB0UXrSMIbpSn5JoVok6YK04wylXuJwysYUYU
2za/x6cpiDgm51QcY5Jsq4WwEaXbVbuq8oiSypUSEQ4504NzF8m9EFojzm1jXUFw3KEWpElfpAQj
Kwv96uggDii6/UyJ4Am0KVJTNfBYoHaLQbWPzoWq6uJMCaq2CmlCM6fXdY1m6tKGRq8cJqd3h1r6
67w/29ROTOsDaBo8ITrfJ47TZcQzNgXmZ1K42vg0aCGV+2CIwfpthedlbR/vXRb36eo+rpqELAg4
61VpJa7T3pf6l6J8wbRTKirpbkeGk5NxlzlL9uCA2QrMnsa93b5MyovVVbs1yw/WonuJlQfpbHh6
YbtoMoVx2XvnT7sZKU7kc5GCSo6SdpIBvsG4Uzx9UMOBdo7A3Dd96IkQLlas0lyti5xk0dzjydpc
VlPj2ToVSNmchoVa/tISLjjE2WpQdUFI+rmPU7/9s4+j7Gwfs6K/vY8jOh8XI+iwlBkqVYDg0M0D
apauWaghAWPif/tWXEyw0r7vho69MSo5Ig7Zp6v5eF6ESPm5MDDma1mmBBvis/LDMSpfjb/WWuU2
9GJckwAz5wL12/ST75+MX7eom2ocaY1PlrSLqyy3FsUaOnXJJOqSCvScpxFT0mxWtYzUmJT29XII
uli4OiLQAodzHJaVKg1GaKDlljO5ar2kHgipsV+fzCQwKufWmJsf9ToEVUw6f5aaG90o947ZPbeZ
UrhF3VwvVSniNNsuop5cMedhnC7PjUTHFac4+cG5YEP2R9Zqlq3/CfcRyvXs/YOWGxrfnALFtkyT
1cDOJ7gB/XL4UV/IN2kbxrcK/SZLL3p+STptd15p/8WJ/hLKP0lUw8kUucYbQXmYvHZfBGmYf28D
JyqDP63Wvh+Rf5FkYya1Vb1m0SiNyHiJGQ6ZgzSexuSq1Iv9uuDhT+u89dHN2bVpdkH6/KpMrRqM
hVjuKVT7x/kL2Na89/NzmieZpdIYppVGull9wcjBN21GKz23yOt5OdtG9C6HU6XG1OPRIQgWlVMA
70wOZeEuIPsTn/KZk8vl41FrzI7UdVkUZ+ljvuZ3S95QfyHSjmbWzpqyNykpD13X3KeGE4yxHWlm
/S2u6J/FrPezcjGrNVLbGEcpjbqx2eVDcWsBsVmRlOfzVyr6dFzM6moCkG3dyCIAb2iK7lHplYJr
87yQze+mq6aJrW8LjOtcfKqS0q4KVcZbrQ8Xp/JzSQ/OS9j2MiciuNgEoK7OBlolgzPUj+wOv78o
IToN52LSpZ27gS1Uynp8v2T0eiSLoPW47VHej8PXHRcHT+h+Rf4+h0uA162yA5KOT41AD9m2pikL
4qBQINe9KMHcvlQDqipkn+wMjHqGTtD5qwFKhyN0dy36YJuGdnJCzmesepnTojfgqA+wIbAX/VyD
/U0k4S0iU/BM/1JCHtm6rWbaYA/VCau5vh+cDAuWjpz4XduCv75LBn9OBzNq7f4l68cKFAzSX0Zp
fwOA+q2Sw5Ubzi24IANpVL8CS11zk6n4PrZLYCr9g5poe6rpb72MHYFOoS7wHdAIN9IbfYY1SXVj
ekCKtbwpHX+gDLw3e+k66Z0Y3VLpvkhNb1Gmp86xXmYqmx5Fl9aZq2e8o57SWP8hK8WzZOappw3Z
Ia36y5jofy9te8hSIHL1cwng84wEvVwd6gL7hwXALXWjOhgq3WXq+DysiuGB6Dr1FqKmnqJJ16U2
3OaT7uBP4gHcqv5oOk+zYl+ssCFFXV/BzXulkW511STbyUbW+B2Jd0quvFnj4ri1XgS1bu7Uyd4Z
bY8CwWp4q9y8mVL92qoYee8tuEqp8rpiXMOiLR8Ko77pqJHdLuXwRTGqm4pmk2tN84vUV38hcblE
KWx+lhqgDSSG+r2pmtid9OUuU62bqjGea5qrQGN2rtbRatxBrSYXuHdPmjW8Ypgp0tJu19Phdl7n
2stQSG8deUHFGr/FbA5gKAa8iqPtpfyA5ZtK7d3MaoOR2I+5vVxZLe32yDy9tO3e1FENK0IfHGN4
NW3y4LSQ281vVl2uPri8cn80UCcul1jzNYeOoUPk/XmHtpmYYmtIkR2ms3xiCmaNbloXDB/UU+IR
9bkE33CHNb7KWQVDgtumfyKKM32qySQuCOYu2Qg9I8ZZbv8hUvqdmvHmS/pEGGf2Y0Ztp2eQKgkc
aCMfrOHLqkqubkVpE56/QuHBuHRBr+Q+TssFI+WreV8ABcrFhLQ32gWIJaz9qIwHmi0X9mLspn56
7WLnUa2tq/M/YjNYnJyXyyeGYrZoI6Otn1s3Kh62WVP45yVsHhOhmQ2Zgt8FwfpjPURqnXKqsTeO
SugSFLsqGl1tdRnIhRYsO10YKrZShlN5XMoAX0mdGfTLUb1c2y/mQb4ioeMl+0JJXKY483WGur9m
iiIG00M+NTuVy2URbUbV0ZlwTrZ68c+c6Xrd7H9nznSzzgumZU1n+FcWZrw/3qkyaaUpWTGNjBsl
7B8ZWZvuy2+TrwRtlPhCMDum9tzZgDJoA3oe7GmOyheYrKJUOm2e/yEzY9GQemvEtlnH6Dem1zeM
8IM0zgitosptpwUm2s9CxdoGrL3f36RYljLN/YidhN9CDtnQHbCRYuBSt4CsiNWEj/dql72UptKM
dFN6Sqp7uVXcXP8TOs8PUjgNncxcXwYjk8L1huwxghus5sHxMKDmT/vy0EbOs3ldC8zwmJLxn/D0
aJx6qlWdlJa00OMCS2e67eMQVfedS8IY+0GTb6OMEXaX6ytQ0/xhZwjkbwQMoEADstMEuwVozjjx
ytBMq22kebSQpxmY8CBacu1xcpd5EuSKzGV9OqgG6AGAOCmqeUzFT5o7WqHbs0J1Gulr55VyCRFU
cBiRCE5B56nui9nWaJRpz1rTuurauee95qYiAm8dBILg2bN1TkUshehVksxG2Jeyl9uDpwyJT8jb
eSkb5/iQc7J/P7kqp0PpUTF7QAPOIL6bMUw1fjsvYbsPdpLWchaVmybF/DYrryB685sogysodWxc
24cDcddG+0SSSIc2jZF9qUAR012WwlE/5ls5/fogg9NkkwzKXFjoeJlXrKl8xMf7B+/q//HxREMe
24XbkzvkHo9yM6pVwUA8GDnaP1j4rHCr+V0ELf+ncDv1AFISlau29cNUZA3oK4Ay5T5eBb631kjw
CGqy5tGq1ouuiAV9J/Ya/Xyb7yK4L1YvxlwADhx4ijW2GszAMKZgKA5JD1hheH2Dul38eF4nRafi
PqBkkC7JKJ770/Kst/s+/fv8399EY8D2969r475Xq1tjmlsp9lGz1dq1VintVzLPO2oRlPpG+9kx
MeuyKnbYysluVNbHZFacfWU0yX6SEnoD4JIkrK1Y8GzfigFQ3fcfxpUGlh5RoNfwbJcAXwxAAxcN
RcynIrRaOwXweqS/rjHFGYNKLfwinvvadgYG1lJ1wHdiV4JL5YemI6QjLVKkwxGB92X93gOLw2Ao
ewfVTw9G76t6JPgcG8kL9vF/vVV4XKR61pu00FRAPd3h4czG27KILO7grwGIPR9Em/FbCa+J7t8v
383pl71SeehIk0dYNAZbI5By0UuV90tohumdyDkc74wzoA/SOGUrkUmltLVoZL986ytXybGfqnvt
DQirdnRyy92Irji40bGsFtKw6DzQZgkirvA3cHplaZVpYXiVHrdi+tvOi29t37jISxe1dE/5gawU
YjPwqKaBHQxPjUCxNyza1JAKYw6eIcMev8hJHDMUTM/2uQQItji7pBTVj570T+fVaDOBOZHBwsKJ
jJkWa2pUCjBHujma4uzvBYSm7igvwEA3M4FX3Fp+Ah+XicCPJN+xPnXj8SSURwVJjOGyIAMw8zGk
6Z4NxpgPk18Cty+Q/FF7EA50MO38pE8nkrncpl+dNQafE43USEFAmcM40nYpZisYx6i574M5QNNV
CJe6FeRMtqoKamHY6qfVuToFUqUsdbCaBzPK7mGmLwkFoDoDRsDq2p3hKQfU/Q6iCdstaHvmG2wH
oHcKIOg4c12UbM7RVceB52SfVsZ9XoxvSVre5Uq6n9UxqFsN66UGtFvJv0yj9HXKe8z2L0vi57Lj
Y+p/QjMBYy/KfNMZsRY1MzyL1Xuyln830+Fh1vF/mMq4Q1AQJDxbWnn64znrX7ssrahk55FJ8ZYu
x10nd25da1GhOgIr3xKFGVCG0seQhj69ASWnj7GMhoxj+uIUmo+1fy8BeTyJRehX7EdzKgjSSSTw
eOJiK41/hWFXNO+cvrPDoqCAHO4OlTW5E8WyfenssgSXuwp3KTaCBHBfsboJHgqQHfHLYwXKLgOt
jlg4S1CBIhKp1RC2rwkqnd5voM2yCZ5PZzyRx1zaiTtJOyfFdDK4Eoc4/ltq54s2IbthHHajrkZy
QTI3n/PdpCaA7VYFSrPVjfhwWC6vUzqKic+lyBAR2722o1dgkvOkqDwwNoPzbnMjv/sgisvv1qRL
rEXOISpq9+xSs70eqn8ENvpBDmfFep030sA2iRi4P6ldNBKtwQVRLAYKI9u3XmojdAq/Q2gEbdz6
fP6UWwWZD+I5O+wqWyuTuMII/f8/Cjw2aqoBBDd2AWEpXjjbeOlYqoxtdMYA8hnogzoY/VZX6I9V
PlYyRg++tXkkONSWTYA0TkXD2kD6z49lYq3WBtA6SD+IMdlB3teWn5P8IauS3G2N1vSIIQFYFbvw
VmM+KE56MZsyfegWWzQ4vOF7UDaA4wHcP2bReY9AHEUmLeNQ1ouHYW2iLrXCpaHeNK8CL7dpG6ei
OIVl+9vGbGPCuwsYgkoXjU/o2oEjIr0zRFF+ywmcyuKUlqyjZHagXgp7G5dZVF5Mwrm6mpvQbnaT
ue+KxTVrgfVvWeSpUE5VaeLElgSsa8C1AIAIFsnmfsTJ/qaC2qD+YjD9gBjjcsLS0lt7aifE89Is
3EzLIysjpQtG7lbgYtgt8a4UpSUFdHEKNqU17lVRYQMgGRRAwOnmNd6xrmNGU3LRGN+TVt+fN4mN
RBNa+C6KWcyJ1za1pYtjsysitJHuK2cIx7YSjA9uitCxdAZWVsUEnt9HEVguV2ywIAE6qdfccvgr
FgFPb9kSXMZPATzTSl6TdiAl2hva0hwWufa1sQiUPAvA8RKev67PTyFNxjK2xnwIfjVw5j4epk2n
pJQHK8ODr70E/zG2s6TAebUwfU9eDMHH+aQHnDDOcmczNwoqV1lUNUPjD7VKwVzd7Gmieo5Vv6ym
JWhNffpUnEDOfGmvryj5oyEJ4Ew3SQa3pAIPIZLA2Sr6+AUwF6Qs0qjsEmyEj6JSpvATcfpGZrOl
4B7BuE64Zq4eVBFL9WdwaXg1IqXwfSE4Er/pqA8Us2w2WDv1qEfukbyot+v1Go0BsJ7d5aKJPdHr
8JMn+viZ+IJwbxeZqThOFi1d71Zgy1RIGTa94A36OQXgxHC+IU+SsmgcfKu6cqtrzc+oqxVucrmg
5uCpu8y3C1cVOIvPpSZOKPcqpWqK0LHq4Iaral9ODaAkwdAU60IDQJ+rJXgNUEl7aAbDB842idb0
JbZ6315H5O2y7+RSdN7kRZ+X/fuJh0wseza6ZgaMVK6OWFXqMHxgCWR8XvXnTs25lYWmAMpMMoIS
LFvCxHQ8AGsbt/GKq+yqR2+x2q+rV4HVEj9EuHvwKWofpZuoYDGiCIX30JJO8jLuQU1a1RdL+dXW
7jr9qnd2wKm+l8d7AuASIAKJ1OtTMvZRKu+2u7asNLOF3ZBL66bf52HsW570MqOG9RuvcaY3H2Iq
J42LqXnXFsWEidAo3+e30z1WmFDIcSK6xysBr3/nr/Nas22iv67U4mzHsot8tpgTWhPr1pDvaqNE
Z1iw0v0vxvIuhTMWcAZlY19gmMxws9cpkNzhjgZG4c7Y1PTSHQY+fQczRf9zRsndJWcSpNZSYjhy
FqHFDqAqVAPDeqcdzHDZiUKg8IicZbR9hdA/4oh6VO9XX1IDhi8pfbVRR2Fw+oniLujYCgxy2+jf
L5aLvJhbaguzM/H5RlDCTLe5LvBzIv3gIm01JI2k6zD4RXk2e8Sl5FtBv53XwX/xKu+n4IJtbFVt
q+QFQRVT9ug9kA3C4koNKGBxHW9Ac8I1wzoyiPsngJmcjnBR2B4KzP3aCovC2uDhPfcAxmHimw8O
QBQx7vMfvxgPZ1hpRTKjBQ0fFqNJmvd+IwL3+lzs/3gkvl7kUMRd3WA2/cac9PrIyuCqhhmM/isq
4QHQxkTr+UwNzngtm3MjbUXq2AZqbETpIRnfMI7hYWzcz6fW08bcP68vmzoJ1EJVV4DP/gk7SY3L
uSlHOORyLj0reZba70sicFmbhnUig1PJNi21NCeQUZkVkllgX4h4S7c/04kITvPKBTTDJUF2BKd4
jeYieP0SIPa7uZuNruKVAcOHc//T1R1nIU+SBNLpsWEskDkAoR9AG/66FK6RViLPu6kPmE5DSwD8
snj0fkxG5tRZR4xSxqGN6TQAAKjBumdaOLogLo/I9XpYfNXNQlGK8LkhwnT/RDDn8mU1o5pdInzC
nPHqKe6kxMVs3py4zcu4L0PauNkx5qxOwIKOlV1Lz8JG1GaicvIruGAgl4XV0JqlDKCOUxglKQI4
TO+QCvz/9iMC09Ma6sK2/AmLyGoLZU56pKEduAqaBPTb485MoUNSlAeO7osa05+rNLhgzcJLHKTB
jN+Zy0+qbi3q2R4QEA49IP3waDmWMfLDb2x0My3hvcqpLM6rrHjgTt0C+iA595VvAPc5BvDsck7R
muiBIiGaldmyeg0Yk+B+sMD3zC+JFHFhy/WKbN2RimutXXeqMQvm/j43mI4X+EsGvxOSYcQQ8N1I
j8leAw+U8936Tm5oNCLQyf70YAL072FyRd9ty2eenIzfDamJbSjzMJFolrXDmpi3RZHuLLAKnvcv
m07tVA73yRrsDWa5rLBQ3l6CszrDoBM4/4BveV1+XS6TN/GsxGbqdSqTczZFPBSL7eCryXel6hb3
GijyMHeYuVjK34/BGqDq/bcmqHl8bptx35HzNLRYpDYfFhKlIGVO7mnnMhenPGVXy435gBnLHIDI
+Z30LCp5C5SUX3DPE0vO6x4W2ADttZpGV1VLkf/elGHLGkYFQPugHw9/EidAlNCA602GjB/Fte4B
IhjFiTZIovXHtGeIxJVAcT7Vxthtngjk4m2nkbJtUxyqr4y9Obw44+Bl6VvvEP+8hopOxkXd2Dxi
EEBQFyeemvxtD4Ygxm7ro42k0WEk9RY/vLNUi121QCzEUyDZ9ZfLYfSNUNlp9+aDdugwl1oLgX02
U2h8rV8yuYfAapdkmCQcC7iFARzzLgnA1BEmgQMQAjZ/kPjSQQUOgTDWMYv+5KRPJHMvBLsHQJLC
PAsr23f3FJh/1JPoPyDkTyI65O3P935OTk8KMFMWOcqoUaW8mNptK4lq2psR9fQmOQWZpmk0W50p
SOC8sQlfRijuXIGn7Kv4ua8KzsOP80/q0KSgOGTSliD16KF6zTCjjeQF6G5YiMxdA0BQgfmtcUD5
qaGc1V1kvVehKCmyeRa5z3xIfhPV0amj0RkHlw/Y2He7L5L3toR2SISjM+wKz0nigsQK2gDLkXDo
5TBfMvKMIayvxTyIorvl44JSO1ldj/DQC+5QuVLy7+d9yWbl8URXHPYLTtxkt5qZURewdMNtL/Fw
BcZVz3IvsND/Xg13K68+FcgllokqxYbMvhFzLaPtrlkAHJXA9pXaGwMDYPHtHb1pFHfaaZrIr7H7
OvfZOB+TSdOInUd8tjGUcxSsk0PvKnd9MCGVJxgu+s8aybkWmfUVbIoPiN0kMHHtrPseRmB+07w2
6gQBSORBHc6zpLaD1C+DMLZFADSH5roIxl0dGGCqt93YzYPlSfYLUE2Lss7N3Ozdgzqcx2kssIMm
CYKtTtZgbtvdOi4XY5M9n9fW7RD703WCle6jsg5SSauJWZ0+aZeoVHnGnHkqJZ4m1wJVOe7M/buq
2DyJcKq1ldyUyNznt9G3I/uA7bpDm7rF363tZgcJIcJ03OUSi/ydN1+hJrEDNG0iRI9hH+3c7+A8
zaTZKGBZGXYkpf6vQR6DsURhjirXFLBHLngILtROF9zzdg7863siqfl40TWGS2Q9X0mEwRmaeRYK
CCCbAdKDa+ceHd3iNsfbXlSBPK9FkPBRar+MqjFIYGfPy5sWD110QQCLIPiw26+Xk7NxDoik1Zpo
TUwwyDqHGQjKF3jvZ/k5rt0OuwxNuHw3rKBGhVdEPy86H+d9qljSV4XC9ZXNYzk8mfM1Kf9nMIZj
FvpuIpzDaZq8qqsFpwOJYpAqe0wbBueNUGgZnJuhWDnQtQUho/czFOT8co9XUnOhgyMv9UDqiaAf
jF58Y905k98DWcxdAxKUX0R52/ng+GlKgDhFUegdfsfQvOqy4lmm6BFxPlbZfL+xA1W0ZFNCo0Qf
Amt8JDKgAoE8aALxfHk8f62CSAzwn4/aT5uC2gviPZKXGRaGQDzi6oYMhTTiYk//QnR/Iks45pEn
sV+RFjtPdbg4lnFLgyeB1XkH0nnfiZTXOVpXwA+ngbgqIvhwx5s4kWsNmTpgKxk6WgBgDPzOUy3K
BAWmdnRwJyKGobDbroaIHhhfBKu4mcsGyKCNrelaC9JQijAov+giG9+uLr27l+PT6kQyAPFlZyWI
UeTSPAzRkewe3zG/78VEkYLYcPzAJ7KSQlLKYsUpDXfxWMZbvEj36m28Gw8ywL5abGPFx5m1Rbgp
KQjF/PN6ytO01QuIZiDwyuMETY0KlIDUt/x68e1dfQ2+sCj5ft5IRL7nmAKdnBhTuGQe2dOGBSbc
6m12rx+SayVUgyzod3nuqrdTqAQDBp2VOyeaI/lSjFMi/BlcviPpNDe0+vg+xuCDGjQRmhN57+qT
R3WUZ/sgdlHHecA7B737oH0zsLWGbmvtiZoxgqTPVrmcKDHVrgXIPwGanXMzNJ5z072mmCA8Busb
+626VMP8Wg97cb4pcI/HSvbJx1AdWtZW6rBH0BSgxAJikCDG4FHqWt+loMV/M0aAIJE82Tyo9+dV
QWDhR5rDE+FdDtQ5s4S7TLVLKX7U5CszF7lkkQwuDRoKcKINI9La+U0JJbc5KLvKYyukxmF4BCji
TjzzevxeZ/K943P75FzGNGXmPMJ/sKbD0Lnmwa69em96wxftKfadYArz12QN7W9k136xiCsqCwq8
s8ou5eQH5JrVyO2KV0QOBO5Mv9WaP2jIvr8AbZVLg/J11Y1OhcauDajM05tlQhPDUAR5nujbcYmQ
MiLXqtnLi7T7bP2SE9M1pN1/00EuE5olZ01JDUSmNHuloBkDuq413J2X8S8BxVKBi4DpdYWfpJ3q
LKbahOtqkuQSwBhzFnuOWfkdDati8uf6Le9uUyhJJjf+edn/4ufeZTNdOdGFsslSQOjgErMfc0iB
BxqyFxAu0zNdRk6QhQNBmQBw7d/qH6vnHAwG2+mL9uON7UD3/js4nUz6XqOU1UHAdeSDtudqWTAn
o5U3dqag1urcaLn9ZivJgRRNoLZOlMbGodfphdYUUbkmb5Y0XxhVfKFbcEZJF0pG5o9DedsY5VUM
eAQXxEkRUeQgAx5KKqtXJiF/qel0N0ndXrOrvbH0e5OAUa7GaNSqRbYDkNKuCQugNpvG6hl1eQFY
o0O7kOucLIehWvdmmtxQwAyOmn1ROOu9VSENQWP7RV3pBdqmAOSwB1B8xKHhLAfNUr/HqnFd2Fl4
/jMe81Tep+gysnKM0zL+Mc4Wmjhrp7ZFi+04N3eRRdJVuoPCCGvgW77jVBBnEJNUppKKDYRoXKgV
1o6C2y6L2z85DuveYUkbvXOVi765opZx3kKKVgG8pM99c1kCx74uqxtQ9rqZDCyK7hudRNe4eTpF
x3KJAzAD+f9I+5LluHVt2S9iBMGeU3bFaqSqkmTJ9oQhNyLYA+zBr39J7/uOyjSPuK/vxAM7wqtA
AAuryZW5/IxtW/CkV2tE6Lvkfq51EuQ6ddh9730QmSAh3kIfrt59jVjgT7eNWahlce6hpGZUaoqN
M88TkqspxBCVY+4sYEnoX3X1rPc7tnDLRmw0dmP/qgT2XvbQ7htHPfYhqAWCxuN7xel//gtI53oM
8W51cTQzAa2inCPFuuO+dpgZgLHY5GlmFYAvCcodwZw/xuRAFr8RS/6XhOvd9OKwQtgWMMAECy5P
9ckMqp2NWdIWM6wxnFiyiV5dOz2gFviPH1+cWlALQNuimkPXQmGOzLXUMbdhCwo88vKq31gxFuEg
dN9GqWvQ0zOYG+1YQAPt0gKyYHzWUXLcjD43FrWcNex0SmRttOYM5B/lz0bgVgLzNAEyhrHyRyoO
9NPG/d9a4/zvN69SToQt4nnjGr8+QUdj1x+/G0711IK+ZGsGaeuUGIsYkNmmypQ5x4qfp6AHECkF
BERz6KwDMY8DbZaMV1dna5gkIxi3Bm3K76ubql7nclfO+A/r0OzaY2X6TSAHqi/tmwo568bXXA2U
3u0t+zfc7jObTHj+5i2sHmLhmUWg4+aTXXPCNCDYmfqH7Rxq9eTcmF2UOxRpgPhKPgCe1DXHLGqe
QVnxV8WwGxuLgwLi2I7ICQO3MSu+dwL6wjFJPm98v439shcHpFIaIMR5lwD65E7BP+haYMUrhz7I
XnrYgkHM2//HBb9Z0/xdbw6/2koyHCaoUMEiAm52zN1VQW83AAu0+6GQ3NJQPQhob7x964fE1A0V
ZNBQ21y4aTVq6lipWnBHKgfIUrbqNd1SLF4/EO8mFu64MScbpcsMsOE42U/55CrVlmzplonF1SqL
aOLQecO300uOHhd1ZLV+2zgP837/uUH/WcfSA/eGUbDWgJFfnFV+7EdP8h41CWDK51s0/fjY3vp5
eDe3uEfZlBlKR6N5JGtumrehvjMCOdw6dvPr/9GqFlfJ7Hu5ZQlHJ5KkbdiZ2j2TUkcZh59mOgrn
4zVtnLalz9VyYzTzHKct76hw5UpxW3UaXWLJ4ceGVkugtwHWIuhRM70Hcz1QfrU3+PEzdH2eMNO6
U7+Wz11ggPZgpsSaNgLYteVhUl0G4zqofDGJ+fsVjgY9140Jk03JtFflU0ROxv+amw1tgFsTi+1q
43pATsHwalVHC3Ntqb2JMlg7EbcmFn4vpSWTmhkhCLpAZWft0i92oIfAHe/tT3bu8ZMRKMfuZQvu
v1rwurW7cICY9bc4JsDn+4UermRhdEPyv8/yk4pTnaDdhYQUsY7L7jYL5lsbN//7je+VMP1IkhJt
MY25+LBj4vCHZjd3O8rXTDrwzlXAU1HutkgyVoOQ2zUvjmmcFWk+FCh2oew5g0IhSvmiopWsfI5d
8JAE4D/+m4sBzi195loBOcZiqcCyY2QkxRUkxJlQ/YqPLBi/qfcZ8Bz5G3nTUFa1L1vg118th6Wb
QZr6H7OLhRJEyQmLQQBNzo0fhyoa5vlxOmhBEdie9BcI6Vtji0dNFqk88RzGqon7CYji8i2vub4e
E4JPGri4Zlu/n5haz8ypILgk/0iNN4geJT8KbcwEl7utyt2vmucfX+/G2uJqTGWmZpGYkflv8esY
+8WzdK731NXD6g71YK8Dx599TU50mrGF0pX4criVsyrzO/3Hj0BvXjE0MP6BG+P3JetCrQ1UR+b7
yZ5mPMn4pLkMWEozmAePwL93Ah/HbgCP+2N01gJIg3nVUZZRMKd+7iLT2zjKs6/74ActA1wjUaGr
WuPyaLv+VHrlY+SND/T1FfYO7RaD3PqOvy9/iUEiiVkkk4CPSHRy7iKV3kHywvI6Hdqx+ThXc4u7
WAdCqphZ3I0qIBK6BwXaCB8ve81X6aBYnbXRZ03xxSPTygXieiSZO4oasVU86NO5VjYGy9Q5m1x+
Wh2UjipGGXQL0wy/7zXhksF6GxWR+flsHkbqdPfV1Q74TsIUgOSh43YY4RSjo3LKr/IRQ5SKx5/Q
W/R5UN/Z+9xn7hYry+rKb37UfB5uvLTCVJuZA9oSk6gdJBbdhAxGv378eVfv2u3SFzfbsqiMbcbS
W4/2Tpbt6RfznITzDUeB6Dt9ECfjVD5XUMGxQnFCsX4z+157gW9/wuK6C0H1fxrxTfFGMuF16TPp
tFCtgo/XuvpB4cMMY5aIwR+/f1DbyIWdy5oeCB1YXcm2dl1K7nS+ERatok70dzvLdjuoZ9q4lJDX
z9Cw4kqO8/CU9dg/zwWZyK9C5eHjha2+q7cWF+c3sgVXmsKc8WCjRzx0zS7sW4LiNsV25Xfy/1oz
HWEZHjc4x1nCwV5KIiZGA2tzW9pkZzvzp8RymnQEjOnLxsJWLybkPbFh8AB/EO50fU7VLlXm1r6F
vCA5KBcT+lbZeasCNJ+xPzwAaDU0faZl05bzBqPQVXDWoV0FwuvRaUHlBb6GLfqgtSKhrusG5NmJ
AaKlRTCSm3UXTyiEYpT9Sy2DOYvI3ph/6auHXuYbfnPt+bq1tYhASgO6KSVSnd00ck8qBXMqYl3J
VJjOpPYo3AntniPX3tiw1bt8s8RFLCK41hpmhQ2bzz4oAfgVrOJ3yiV9yU7EJX6/izBWYTmt5n1s
eXUDbwwv027dSivTQqYwgcO9kPbVtDVZt2rBUDSwZGG6BzHB7+5DStq2SizsHsRNnTgvnDrfYqhd
fXX1GxsLn1+ZAnGcgLbFP6S46XmKHfUqgpkYkHwZNzzVL47kP079jbmF89cg2F3XPR7X0bJOvB5K
9P/H+lLbFn9GJwmQQMFOicR7VzRZWGs0dsukfzHmmfqo65lvV3HmWU36LbOHFEPE8HU1+TbI5Wee
KrshQxrPZ/wWb50pr2NHqboveke+aiWmazobDbBJ2Wl2980Q5p01RN/rxhIbJ2P1iQOdGni0EMcR
kDf/vnGZ0FtazhiPOXitgKdG0y9x5AM9KYd5HEByozCrnA7ia2BzfmVXcVKcfzEdM2/e8mvf/I5f
UcjNg077mmtdi6+d7ts9v8Y+NMOd6Az5hrDbJCRce+xujS1Oa9lpVNiNAXh+JZzcShy7K3w721LU
WrsUt2YWB1YBQ28aQWhql6tF76D3W4F7ptnYQTLv0EdfbnFOYxLHRtEnWIwv3P6U3JsBipQE+ucO
9VoHkoduAi3eXXrXY6RjE5C8tXHzR7jZuI4IWWJzJKae6YVdmjtF2mvOTNdReRRBmel/7MtWyzm3
X3XxUEimZgFuraOWfY52mq+/0HMeYHKYOdNBUQDyxul80L4OWznG1m4uHg2Sg3SOzD16jXJX1Uun
gmLQxtpWH0FDBycObqQMedDfP6Y19qMlceiHwT/4WUiO7GQdinDG66s7YkJwG5UAz04daSP8W4/L
LLSNTQNqzn/QKwqLkUhXkdJIoXmeyw9q69jgXSn2aagdEcZ7ufvxYldRMPqNycUH1ROzgeri/EF3
2YP9HYWe7nVC8kYDZT98Jvd97cgBDtFBO5I7RASbift8M5Y35/YHLN5jw0yb0Z67dTM2EpPGGiBV
o9OhGQl0mQkyok2g9+rQ1a3JxUtcFjanUwyQQ9GcWnh09tTzM29OuXxqspfJVJ1Jk50ExKyTBCGU
unUFVFZsmm18/PXH9ObjL05anGiksjhiujmDV70IPedsb+8UyLmDSHzD2pqLulm1OUeyNz5CHdq8
oskvYzOlWB8O0OXZzpVW3boMsAC46GSoHyz202ozYwKwKt2xSDiccEdXD2n1+vGxXQVaGDdWFls4
U1kNSTHjVILuea59yPtqT+62Z9bWwsVbQ8stysDwWJY4ngXQdjEuAIUQXly3+6LY6A+uXsUbU8uB
e5ObaZ/9M1Uy857QeRDgCyHuk/gaQ8sBDJe6X75y1LOi1wHp79a44+pxRKyFPQNDm4JK2u8nJLEz
I6oxRrmLMMn23J9maLTtylIggQpsJgX+eBPXF3xjb+F7wHdkiAFMwDtQFQ6+gtFRMOaeu/sZ7QHa
0v1wavGCNWcwyx6SYNPPr3me2+UuTipjMYAv2E7cvnYvg1wmAAxvjxtPUODO4Go3A73V1+tmwYtT
y3KjZ8SERUsCo3Z0EiPdeEJWj+uNhcVxTVET5NIIcg2BQkxvsWtaTQczs8K6rncfb996DPBuazmd
rql2CXbLao5aweb5BZRdkydQJt/NRKX5vf2TVS6L3Xy35clWXcyN4UXkWBAqabkKJus6AhNGLg6G
2TjVMG6cz/Wg7sbOInRMq6KOxgEec3D17z1Elj3Zn6hDQj647VFzJtcIONgSX9l9jYBnK+NfbcDc
HNBlTbvoaZVSAx84NpEX9L3DoG8GOPbB8hrPcuyDhoRAd9ANoQgP/gX/7fp5NU3QKUJ2z/5V1bl5
MvjUSmwcAcuN7rrcwfzltZXm2g3Mj37U78av8Aobz9T65r7bXISyWQUO7yxFmqzUkTfrp6mAO5J4
Y2/nm7aMOgwQN/z/lc2/4mZlEdG03pDAPdDXn/XecAbpu5WrDgf5pZnXQau8fHxZtr7kwtU1BuSf
9QRbiYark6FVbb793wwsnJmeJGljWLNrse9r8tqNzx///8r8H3z0xRa+a5KqUSN1MrOHQMz9mHsz
MaAZDO7oRW/mMQJYGyNzDXjdBpBTFMHgRU674yg8lzt7o5+09VsWXg6S4D2VwDu969kXNUeoWA87
LrWeGFq/oZL38dJXw/JfeAxb1UAZs+QxibMhymU06eAH5Hn6w01GIPZm3H/v55NT+vYe9aqPja46
8hkD8j82F75HKo2Jmy3KVKQp3TZhzqAgm9Tbea0bN27L1PxO3twFJpS+BgEPsn7g0HXwwEIT1xkL
UK7l4ceLWn8ybla1uNyamPJOaxG21br1kMXsSRDdFyU6j7bxicfW5IDe22UMauEtqC5LhKkgLDaM
5Kx25KCb6r5F7f3jH7V6NVHrVGZieRvFs9+Xj8pj3ikGfpM5RG/jLG5bgqL9Yxvroc67kWVrrM+q
HhkztrOB2ER/tlD4ZhjkkXzuEeFzFZemdrozAxHieNYeOtnZ6qmv+lVokaFWDWQtWoa/L9Nixqiq
E/xqmwgvbx4mkFUJaYs0av3NfDezDAooZmWLyQChWJ33iZN2iV/Zljul+SkWxU9SqBe5Sx8q0w5T
jBZbmen2eudJLfvSVMVnU4n2yL/um26AhFj0OKAhtvt4K/7Lbf7Ph1jS25hRarYz2HenXNtTeck9
9PgdlLke+ekfcPFWuLK++TffZHGXIXeOVk6HC1aesnuqOCQo/A6wqAeMb+86TwnsB6h6eoonhwkB
74a95Uw29n4ZSBjQAFbKeYqKRZnDVd2Rikcd2l4ff9lVr3yzzMXllqu2yogSoyZUKaGRak6tYfbe
fB5N4vS1+fKxtVXI9sxZbYGN2gI32vxzbtxWRaD8yk19Dt+hNosW1kwYpgUzP/7WDq66iBtTi7fP
7FAsslSYivPh3p7Gk1TQ68Zy1hpJt8tZ3E+FjSWrawu1H00u3UgmYR0bHhlZECfFMTbz8xBhJgO0
09RJRfnzY/PrJ+Q/H/PXEb75mK3dJiMz8MTpwFMy/a7LPvXZ9/+bjUXYLut1rZACuYk8sos8le6k
NI9FWW2BUdfz2Pft+lVuv1mM0WbSMMRYjLYbnoGmOaI7EOigtPk3ZZWtL7d4PcU0EXOaZ/MM+2JD
fEv/Dkmsjz/cr8z/j9jrZkGLm1XaVIlYgbqgbXQ7SNOeLEzdKFV0P5YQdB7iSyXlnpiyfWqZIcuU
r30EGRrbzMGLlGNsJ3JZ0QXNoB1SG4ILGGW0nVxvj0aTejFluykxAzNpjxh8eqlKzQPp1ycDCU9l
zadBmZx6UnAk+hcpHS4JVY4YVroCMQi+LhvTWFElh4LVLpiwN0KT1Yt382wujowmFzSnOhIQNMtd
24rxKGxMY2xZWPjmihoSMFlzEjuZnoSUXGxyPK3e7JtFLE5IUmRMz0cxu381YFByNO/4fgbPbU6W
bC1mcU7y2ChJTYAdVc/RNQmzAwTa+hRkXPOoBfua7+QXc+ttWa2mzr3i/4mf7PmC3Nw2mxApVhPc
NmXXe/zeeAOBY0gexkPnNXt+KTz5+Dd4sluTc0R7YzLPK5FmOfgrUkNyaflDkR8/vnGreIVbC4vH
RRvLUpgCQeFclWY/ZuIhcgWYCwwB/c/t4Ydfrdk/briuz0qYugkasIW9PC9JmTTovM2MMsmx7SG1
7USDp+FbQrAdbKz9G5ClegEGHdyCY+pDMXrrmVt1ZTc/YvHMiTQpEnku6Awgsa8mCAih+G//DTQD
VKz/WerioUPs1Qo9zcAmYWgOzy9lrUBCIXX0rtjwHutV4ndTS4S4zdIMNWRQuphA5+nfoIqEYUrt
tF30nrfng+1bTucAmlVFqTI/n4PpKSJ3uBS2EALHe+52yGo2TufslD4yt3BaUUJbncxXrjsYu38a
xDPy/R/Koa3EYf05vfmKC/+F8Rk9lUw4YaZi0qnbUU+7ELD7Ce9fzQFtLW7hxNKW1NY4IFWikFfa
W6B2kPzpPno08YBv97znM/3Rp1x4r0FA5xfTxYgVSjBYUNWRaygA4CgK5RmDnoFON9LN/5J/vIda
C4spM2MokyKYzJ7RbZsfcIwuJIhQGPR+E7iY2kX8t3EVVl+Gmwhi4TFZbHOl1pH0sDJKnQZEvI5F
+QZa47+k9+9LW3ixmNfCNNR69mK9V4vj3Jix3bY8mjvtlAWRL39tr9uTXKt+62ZxC79ll6QDQQeK
eZP0SSefeuMoN3TjA6576BsjC7clTy0DgMBEge2rXTozjK1+aia0K3Ov2EnPxsX2OxS9GkAUG/S/
ZTBUbfnnVS/z/hOW8IxRiyBwOMA/C7QnlQGsXBWahvlrP4RtEoUfO5mNj7oU7OFGbrSdgpxRYDgt
wmM03Q/Kt49t/MrR/rh9NytaOLKGKrHSCexceppbXqqnh91d7M/5eKI449uMKuqc7qBs4QhWV6eB
xcSETJ6mLoFuU6koSWzBMIeH1lPoETEwIQ/7j9e3ZWVx6wahkFSGZtwOmnFukvxgueZ28tZHXHWY
AARCwkdFTXuZ3TdQEWJZjajPDsv9cJ8cpgfDIS74oMK/7IfeGFt4Z01OoxEtCaSp8k+t+aEMBzUZ
XCp2f/Pl3tc0f9mbCC9FFqJOJo66VgxB1k732ZQGbZtv4KrnS/vH+btZzWKDLGiITSXChF81BBUT
0a1Pw3/RyVlNAW7sLBxjWcqW3tlQDsijKQR1QDDp01WtG7e1AVgj1I3q+Btp2LVSTedvvuQ7tmyR
QtV5NQxljAY2KqhOGj/XzaXXtsp+6wf93cjiHveAcJi1gU5Z1T5UNdj55Bd92DgSq0/YDUhuEYZI
jVRqg464QO5qj1UAwvdblfAtE4vDzXg1tnGPvELKp0uZxOc8kz59vB2rPvxmFYuDrfLetgoDD3GV
xQFk41XEUGg4IUcMpb+rOt8YWxzviTFroBMiN0wz9R6oo7QDqDh9+z4NkDdRlx1/dWtOA3bsM2YE
Pm/22Nd90/vBWBx8UqVSGg907hHPzEW5R736yMFygGUH1V/d5ndjizggJ1KVSOMQYUITVPphHc4Q
on+BtptP2h9e4yYgXnzWQRIRLXo8jSlK6C5oGwn4d+37KDSFy5/mMbGtWZ/Vg3ljcfEZFW7yqRkQ
pWbpZ6s55HwrKSOKumVj8fWqRhuiMSnobsqaeKepMpDQOX+TUigr6uWwyyFKHhRVjsw07w+ThSaN
RHl8zXPL+lnGLfrCKlRmezy3gVLoplclDPLdpuKqor9IkObtWQqdFItnu4zF+a43tPEOrafOy+1C
8hUlNQKjRVFJIeybMSGQKyt0Sof4u12htaj3z7pFr5ERk8BUa/B06jH0LutrG0lIuMDrgeYqSN01
UfQw0O1ls85D1R6EPwy0x/BiJegdVNRyr1aTN5EbncNkpXJzKU69jBSxAxgaRomYeiFT1bhKCfgd
JMLFvhMI+cquYEcjtbhbGVLtdvkgQHQUAbfa1xeFYz4yzTSgAbTsRZioAWpS/Iq7fmZgXuqLMqht
vfatJEHYRqnlQfD8FINcwWGNSnapbX+eKt12qz5pdixNTIfFFURmmfKY5BgIqdJQjixH9FNQV8ZX
yYgkJ+Zd6qti2HU5v691Buln/Bm0UrlPoyl2MbUUOYNcH8oc4ifKeGAJMAN6NwFpX5ypmXjJyMMi
MtxWaoIuS0IrMg9DZ3RuYcZu0jetwwxzdCr8CkarY5WpRyGZnatGlQncQf8mZLSv2oReSt3GiifZ
pRF5MKeUuFaaYaQ417qgiIUPpr6LMgI0aYjya8+SeCfGEsdD1+lBLhpoBlV+Fc28QVAPbqp91psl
VJCUJ+zct3yIPRUiew4kHjxVpHelWoVDxYJBolfb7I9tp3qi5F6lEt8gzC/LCtBQKh/k0QrHagxB
fPKD8eI0MfM8AmucSfSopOjmlsLpjTIYbTVIzToLlGTytViFjre8TwAPdwaSBHFW3ZmQKxSCnUcK
YGZVX/tc3ckmGDgyzSMFCY0Rk7mliY9eHpS8CaiQX9KSv5SxCCCY+qWCmAJINJ9zAja9KbkzUePR
EcebVA0HIMxcTU1Kp7bTc9rlXlaK75UxhqVhYXgFfA0V034wlYRi6l8jbAWGgmfUAljgurg855Ic
CNIdellFnVb7Iexxr8jdsRp1v9PTvRjUGlck+6ykhWelxitrECBGOncaOQ2oVgaKOoEnvbVcuYEq
G+npw9AMrzrVKKQnR+ZIido5NaMhBA6vfcIUx67LCyDcp6ksvikIaTTNhLxA/HnQgQNOip1qQy+G
tuBRi9JXhZDerfvoSzLaTmwNXt626IFRnyYQvu+FNyYqHIjVaj5wKDacgXaXiiLd1+noi0h4jMRv
naz4Zqz7fW2fJyq/yZH4Lo3lJ8AB3FjGJbFxKmi+syhJvEni54hJPikFccqqCpjWd06DA/CzAFXF
cZR1yIpFuGdlHjuG9NZbwBLG8QGH86tJRBjz2Gss7Vlu9Ac2tYHN2Z3CbZcQGVUCeH99HFCjsNh5
AE7HiUXu88pwGl3fy7YM2V1MAQ0/DEww5yLzqj72KttGb8W8oySKnaylgS2pmZOQsnSmQsFwUuOn
2p1hAPAyoFURnxmmJhW9zFy1FPGuEe0rLmygxe0Th7h5X7eJI0rjhdA6RKXLNSL1MjAMRdTVxar0
O5MrFyUmhdON0nCtSBQSXO2Gto0DYriHVkGzuSrdWIP8cda5JIJvsVnAuuSiKY0PsZ59m9YXkbS7
QrZObIT6IyjQ5Na8QrfDifLyGMdgn2SJJ5njW2zygMuGVzeRn3T4O5aEEbg6VMAWXFl0fo8CftOi
8S3l6hDKsn0csAygETOnh7jxobCU01ytA/uTvGNcxgHRXXDA5seuFJpTMJG7VWHgZBcYbyxI7oI2
9r4hDXx4ggCjYonbDNEuL8pur1iyeVfgiSi73Ha4qV5M3dzbrX2OUv51iMhRVvlDqrY/cTd2Xdy7
kHQJSo6rkGfU1xKiOJxZdzicvhXz02RZpWvnSuQriDCyhp4Gy/ZoPboM+t/WMADrZh8i2t0Bw/mU
4IgFSiklXqtpz5gXzk6ZVT+hyYIvEHVuSmNUPgFBcmMh3UOb128182FAKlUQqCY35UWa2oPE0/ta
4akz2HX7XbPq1p8mszllptT4RsRNp26KI9jPALub7DSoFcVHXfAw9LbHYuVCGnmXpn33NYqr+DuL
ZSH5MqVR6Ump4clG6+MVPKk19jKTZyFjv+mNjnl0kB7K2HTjZma/xsyJzUgAJmc34/QoEw1U1dKX
FqJUDoNMuYvy5x2BgymY7pm14lpD/7VN9B9dl06uCVHEcy2lb8kYfSJxSp2GwsvE9Nyo4wPLmr2u
jcdxJjJg8Wvdxolfc/Uti4wwL01Q8pJY29O2Hb7Zg2E6FderkPYE5JB6d2emtoyBGSiKU6CBVDq9
mlS5aqMKjRXlq21FlQ99Iu4bSffWCw5nmXF1nw9pHUo29TNj9DSk1E4eDackisOy57GvWIZvE5yF
JNnrmSTcqNQr+JHsrUptDdel+YzwBrO2TEu9rsTqmIm6nWS/tor8Cd1+TOpwvKm0QVE7JQ/ROKIX
XvIrGQvwGdnQrzez/JSjOaO2bZhGReRxCURjFcochBeyn0dFCBXjI8tMX0/u1ZzU7qAVP1gqLoWd
ny2eeLHcP9U1f7Z5/9LNs3pDrf00Je3ZzJOLroM0z+Y7u1KufBof2tw+ySK+MwYNHOMAZtCmvms1
mbuJqJ/GIf+ZRvyzMfV+2kyfad1TRBr0peVg49SsACp0roo3jsoqdVsOzWu7CVGmxTvaKbto6H2J
SoEaDeeCwzfk8UFp8z0zu0eSi8+jjqGeWJMfqqp+HiFCrvfTNebGJUOooJYQbLKyAoFZ8dqV1ROJ
qtEZzaLwusk46ojzoGLT+q1a+hM2ByHMqWn7Rz5kKLiZBHop6mdJVo5D0jDQwsbf6za7YPTzrKS5
L6GGFapSLRxSZ9w15Ppbo07HQi78RC4PmkoPSXkSbXXUE4yJCQJdUsuEq88hSiK3AED32gFkgqOj
ZPVD21nSIZqi0yDnVqgJUuLxZVhbXvVHqYhRfx8hatolZ13P9oNhP+ZqfiGp9NZiMN2wohHDBBqG
kGR5V0nT5LS02LG4hhZDLu6rQQiHDmUakoZeG6neyxESdSLpoUjba5cZPVyu3vvchDKZEeuujMDa
IdQ88jY5jpQd+DS9try8lBrdq30UB1EUf4Y0TwQ/nEsnLYt/jgkvX6YOB8oakRUa6PgmXZp/6qup
D9qJS3iKgDHlSRp2cqVibck1VonXU9mXmXbh86x3Y2OUKuUgTiWTcBJrcDG7VbkT1QKZFI8t6R87
20Kk1vhtBCxIiW6nNqDELj9omu4nJEKI1lZXNa2+q8p3hDKRUw8Ujr/8osrlXrLtu6FpFCdueMgK
S3XqKHoUVX60qa04g6jvgB94pJIBpwFlOJL5aRvhATUe0HE5QArQj1PmU6AmHFMDTLcxw8Y0HgoN
iFnDGnD8DY+l2otoTL/o+2OpIw7Q9clRov5zEdteAjGhKJUCSrurzXAiouI1asaz2Ykv2POTHOtv
Q68/ENa5Oc1+KFoE4uHJ8Bsj5y4f5aBI5buY6GeVV5i/qg1f77QDUitQVY2tz+rMa/V6j59L910r
/Rxa48VqredhzO/wyJ9NiXidkXztFYk5iiSCCexkkyzFXg0gUSeiJyWH0gXoiCB1e55Ye6qo7pVF
G04mfWkUKYwHy03SOrBb8aOmxYtlKOfRkD6V0NuDunJ8kjNzh7fvWZ1oCPGDYFDEgbHmUBvF6zQa
tqsUHPnbGNBqvPZCHKLUOmQCed9UGRmytPyHbCHVigcf9XbM7JD0qSXNNSnV62BPwCrj0Ukn6c1I
lVOiGxeusoD3s85eA60aO/kxWLidsvVYtNU+yjDNVQzJN0XVfZvlATFlL+5ssFfok08U5PK5/mRO
tUeJeJR5/2Dz9ARf/RNuJQZ9+3Bsevlnyvt7c6hPSdf/SNDMdwe7uzcwaqvhZZ+k6CXVyFPM23Op
2MGgkqM+iaAsY18tzWud63gChr3VisQbxuZTD/ZjQBLVoOLAeOdF5rSJWvkgPb1LkbRCQTh6E2qK
BJYi2oLAca6j54H8ztXq8qQjunCtLHdBpHeMogyaroAvouVTBFMT3SmlucO3B+iNZG7EWk8nw2mY
tL3Z9y36UCDu4BEyJm0svjZRgtfF/pIoaUiTzh8060VwXXg2LUMJpPmTSi8FV+6anJZI2iSXmaWH
XxJobf6ijRP2LE8csJkJa9xbUXyiJkTyeHxKpWGfp5KLHAYU8cU9Q/TGCvPFSGiolARTboyduNp+
myWp26lyK1yHsYpA0lr8EEVxLXj+mEtIksxiZ8TsGLXqJ1uZvtWTuIhqeDIY8AeW8mnEu6ekkKos
cTanOCQW/6JJ5K0fcK1t0HMMRWgMnwx9X0Xs3i4LNFP1J/AeHVUd9BKqHSh6FMSRfrRjA8+QDsJt
0X4XiXmpmuQyNtK5KTE5WyjWC5/ojvL03FsaD9UMTCTgMnXwfP6QCx7EpXKQE4gl9dSyPKkznnuW
CWfIjb1WZp0zccOXYoDb+ywsgARAztqg0oMYz0sSOE3c2e92yx57/f+RdmW7ceNK9IsEaCG1vGpp
dbfd3p04eRGyat93ff09dCZjNa3bzMwAg3kxkGpSxWKx6tQ5+bHRWntO8k+GXvll2wZOb4GCpTCP
kxp7ailNTpdY38hc7+Ki9y1NdsYAeUEbx9dyXL+A7cGLEO0CEtwn3eDNZYg4osjf5iFAgGFVg94p
jAJNsxSzVMQsnsBPpDijod5ayegbNbHgk/rOsia/mjJ5h2n6nxXRHEJzF7Swng7y3WiOrqUx9BQJ
spIdkkUrGCHhPmNsQpb7H22hQXmh6Go7zHE9JXhMD0t1K4E3cY+ixPdARcVuzAyg+LSdCf3ysg1U
Z2j7B4sdnpz8mBfynY7hk6rNtRNa8rcYUsN2myanYGj2MpG+x2kwOj1EZZzOUPFOR/IfZNMuGycH
E0C108c5bhIrfuzT4iW2inttko8jlM8NTJzvS7qg3lOAIRHPJoiexvlpHDB7oBqPchvg+WQFX8A6
/B2voNgpqAKim2K+iyqovPdGWN4uRn09jmAsVtXryYhOUl5/nspqOuJVe1fqkDns0qdgrC1MNZit
Hc2z8n0xcYIGZb4hSuajHPW50AxcfWFzk7eBO2bkeRmVXanIxySg34hReGWcYFxwyKhdyIBO4NH1
GaB80BgbqTNoxk+plE8GSb+E+hB4kkaPAaG3MmIRiSGPYJS42uA5iV2mQeWmkl47VYkDCLicA2fG
/4iu4y5IfTqUxG+a4EQA9vEGUriZJLlkKO50WS6ug6oN92q1ZCBYlkqnCeerVDE/5lN7FcXh4wDE
19gSPJEDAK/rWnPhjdQDUuJU94pbz3mY2tREBcyYoy9DV1d2HfXfNUW+KSDNDcxGhnXXi3wbhOoL
NZoStbFQtyH6hAkuOXpAhclBBd28MhMMkebNE42MUwciSruEKNTzpC0nZcZjKgLnQ9GNrqkhiUoK
NfCBstfg7j0gjqEB1EtTu5DlzrHrbW/HHY5stBjPfaa9FDW5X/ToxxgCkqAlj43W69gqPUhCtxtl
F4Q9naAF/H9AQX8jV3hNebM22grVDXgipBjYHABCQ7NvoeIx3Mh2cTIEYw7b7dG3si8/sikvjWHO
HbqUTPGNeNq+/pGewuceHIfLF3KdeNDbcPujiOlws5uzMsu1jFQ8HWeSoNUd1+hRjD9MEBs1ALVc
7oRsowVWZrimEZXzKjBwe0KHRf9JToOrQrUVQVOyO+h4mN9QFEoxMi/Es2w2/VZ2uUaSJslapjKu
9RwzTS6Qjz34AR10DK4kr/LkT0vjpAfUEaE7hcjypfFFg4/bEBBq6pahQBdX5Zn/pZaqFkQsMQYB
qqqD7CHTaUE1B5Xq3Bs82QUX4x80IVkB/33b4s0q17bIOzlpExXrRvtMhZKzO3xX9d24eAyTGPoN
ris7/6YgfdXcpPQ7vxdACrY3/u0HcF2MStIyLZxYB+8I/ia/wwQyqAv3orm5bfd9M8M1Mka5qlKK
N76vmLqz6C+h0gL0LljLdrfkzQhb66pBbWZlDD1lgDr7HBOBre7gXe9ePiCC7eLhHoBA5Rml6EYa
EzSXGtMJ1djWok89wSvuqc4/F+PTZYv/BzD396p40MeQW2asQmAV/fDputgxUnIMZ/hMSfKyJdHa
uLOf5nFopQoMqUWx05qptFXN2tdzfIib4Q4aoU48Zkeq4132Tw2DVh7T6aoFuVVVM7lDMLZGHWaJ
XIDihAFkoagOtqbo+M+peM7NcK6eYVROB+Sq8HUIbUvDXa8FgoVsAJLOTXBu3k+WMqtjnr+eJt0n
YMe8Re6Z7HKn8iavwWN2D82FyFPxDWeX7EehDihbxXlEOf8J3CEIh3Y05jEp/EpNoCdujkc5nVDN
0e4HvNFtdGJU0R3Mvs8Fk+8GqeRWUeZ4KH3U4I/VIf/QHFBoBU2ElzvE1W+TB8VyoiMVQNveH/ez
lfJkg11dmqayVLk/VmFoyyiTJCr06i/75kaCcW6FOxV9PVmNajb565TYUthytI92BgTM9V0puV1q
z/tccBDfB8tzk9xlCKH40QLpTuG3+XKqURkOx/LzsLSi7yaywzZ4FS/L2qzqhomEEF/bxbOD2lns
5T/wHt1pDn1Gsheqf0LyLvpw7Het7M4kS4cEwwmAJMqOeYycNrWnqxhsCqM7PEzPoVsLboaNse3z
LeVCDKLO3KgNviIzKX9Ivo3TYSwdCPQCB4n37z10LFOQveKHPKN4JdjpjUHdc/Nc6Fm0Fsi2Go/x
5RvamF4lP+TOt+EAmUe/301e6UoHEwMBuYtC3SnckX3hZ8CcQrD4TsTpL/roXIhqOmmOhllpfKsw
bYLf0OluktPd5WMjssJFodwwpbG04Fp0Ca/AAjapiACmaN7scuAhvCQqAcWTWSyI6KkxKHY2GOmV
mg1O2WfJlVLLImKejRxx/Rnf0YrKkRQHFgt0Te/ox9yrURXfszFBUGUf4+8lVLpFn2sjIz+3ycUf
pUaxTDZnBANMqUYvQOuYtuGleHCMLkjVQ5DxRM/SnTAjZw+Kd0GdEHCfEYVYyutVtzqkFfo0CpXH
EuyQxsvyhNIrOLMGr2rtQciVtektBChJQzPBpsiP+9K4TqOkmUu/XvSTMS77patvLZkI4uqmu7yZ
4e8p0HwUatUvuKfqk0K/JOVNMT4UiUDhawObjy+2MsM91RSDzomOZhU0JTA3ktvmeIB0mVMesn3c
X0muiJ1h40l6bpBzETPE+JlcILo0bnojf9AKu71R9oGLpxSwT+mB8c1OwI4Ih1NEG8pdVFHYFmpa
9uiLK0dzCVyQHe5KOfStvvh2OZ5sH73VpnJ3FSnisS0rkx0DZdffzDdsdGTcFbotXzNwvjbaoqO3
QeZ8vq/cPZXTCjXUdClegXLpVVnbFjDez4nbfWzvDdleQAIofwc1PwYEplNyLE7S03iVPlJnOGWf
5XgnytA3L87VJrDvsTqTkdEtCWA0DbqqsyvFLWaPmt3ljRYcRYu7qfom7lRNiSA9RFOnmCeniWZw
nDxctiJaCHcJDUQdxsGQch8QNduK8/uQLJ8um9hO3FabxV1BALppQFxNBU6Fsms+xZ8ZyBHc44AC
6l/7vchb2D/3Pl7+jmFoF55/m7gPgBPWJpZMMep29pBmHI2ih/TlnaM8s3WGOnSgmj1ImZLeTqSP
Tfbh8r5tv2EsVYVCA0H/yeAOdRsSyE9MMooNLzOTbX9CN9kvgZgBTrTyysOw2F/0b8OxPHSYl4QO
hvDqYV//3VaufgF31pW6n4ZZxSuK+Mg/7Zf6a+0tUKvWq+twciwPiAuPEnuEhBuoYQ6X178xOwkq
Bl2mOhj/dP0d+T9wLKSP2rbE7GRxUB1r2QGKtofGUvKgLjvG0y4WBVY2bltoODNyZGLIAJtzm55I
S4BLkFavXOLxVe2AOR4Krstp3FuiXJj9W9z2wpZuaTpI+XGLcvfTkOlBDhxg5QPi4zbLjumOAVXk
AeoJrmkkv6Un2NLt1b1Z5C4oUmtBrw1YHUMcT4fWCQ7zLT2aV6Pw7fTu85k4E4qsQ+rPhHwDgMfn
51Dv835RMN+LTN+wwTQfPrCJp24/37Wu4gz33Wdx+fJVl3S9pbxRLtZY6LXUip6B8d0FUzLE6vIb
+hg+NKCIojsmY2U40ol6+bV1BNLwhjrTD/E82bs78vVXAIyJwQXMNeAEny/dqONwAUAPoN7d7Jcf
ukN6ZNVT/VE7Yi4Q9z91L3/Yd1TAvEXOlQAInTTwB7DNlp1yH9y/jsruIVOJdJG4UPI+Ll9j37gH
DPSku6pim7eK15xMx/pUucEJsCHPcqfaFpU133Ge8L+Mc7l6INloFPhl2m12SG86tOjRqcNoWOoh
T3Hy2KYe2lzmnjEQSOK0nXd5iJUqKlENcMYbyAZlzg01TR1UAPlSH30xt6QOaF08IAQcQF72RXdr
Zp+j8Aj0WSGSJdg4AOeWOV80es0gejmmoGHMckd1ohD0YLkDcCAUMBwN3Sq7glCWI7qZ+MyBW/Fr
HXOVnIy0AstdVeJOJ2p8lBLAcLVQOWi9SN/8tRR/ftpU2QSBPMbbMeCuadwKh0aVcinC3kaHwJds
46q663/qR4ALvGj3rfGiL/QIamZIP0NrJMQretzTT92zcJCCnyAy6dnv4Mkho4XqaTAANZ+FCYCJ
seSMCTKmMg4jMF6PxzYgDwAK3NUWfhjpvlw+fO/eGcw8EPSKDlkCBa8m7rjrZhlqZgTKPXIfP2B8
aS9/mhzTDp3+FoUDwVHny4q8Me6km6XS68sIr2rTR1IP+wz8WknkFn1vA7couIP5JIc3xh3eWE7z
EPVgALE6KWCc+gHdJUCsPl7ewc014bolCmQdgJzl8vtUHUCubQypr6jXofyUaYdR2dPma1logt17
fzaYYuqbJS5xB7pdLRUlzP0yUJNTHNWyC6Rodt2ORSa6bPnr3aS41JkYActgZEB1zm+ButLrXEWJ
DTE5egKW0mGqjdlHlo4W92Jlz3evz1d7loleAACWmmFwLwaro21hSLDHXmbjT2OnXFme9Uy90DcP
wOOjSoFg90Mk3chvKSQkMBGNCIsYAKIfflq0r8cBYj8Az0z9S6+EEPlyrU5ARMICyTrQ8Da4z4ZZ
VRUIMR2TN8jpW589OCUf/En/IiODMIZCLQ00bhpA1uefLC30wAKVH+DkkD0HBMjJU9C8t+jyLJ9B
euq3olFb9sO5hVEdIpvI7inkfPlvFuORByxKHEFT4jbRgCox7EmrbB1Q9MtH7F2QwhZCmkAnBjRy
qAqvPF9aOZSROc1l7WeH4YAxndoGtez14AGIv0ueMcshsMffu6/2iAymY1SnQAHFxSnVjMcumZXQ
N6LnyjRsZa7tuu4OPdTJoxsF1df2ZgpAfPZw2fCGO6LzJVOohQEbJvOxpMf8bTAmVe0v+VPSJICz
3nQzub1s5N3N97q6lRXOITOaImzIsNK5jPVQgSTBLoWe1Ax1KcB18QVBgMrYCsLHFpM5rNZt45X0
cRSThPMx+vWnmODk1E0NzySeU7oBVKxudBr6Obr009d6FDXTRAa4OIYyqxJPOg6fVA0OiW66/tvl
3dw6BAbEaOCehgVyd/ZJVwlLKus9BUC49gv6I8dEXQwe2SHYR3MpcMqtlawNcV8tiVMIOCZL7fcL
hs1LCcB0NRGN+4qMcGE4kSCM3E1G6Ef6sqsSelWJe2Hs3uXDxnoh3CeZsinXyhiHq3FnT/UYTR/m
YO4l4BIsVzRuvhk61ta40GFNyVBQGkavbWFtuTYPhgXeJLLTMbaE/ojSC8L9u6uM+fTKIk+UqLZ1
TYcJ62O19qLfs5KHed26izdrrvQhsy2/hmSb5dLYveyLgq/HEyAWitZG4QDLVI9sVYbGRysoSwu8
nbJvu/L2Hs/T1mhR/C7AKDqjWYowslPNvRylh8trEX04nvxgSaKyoOZcv74K2WtY+choflijrXmm
AmuinWN/X62rspIyGbIl9BfS2hbmjwCnE5zfrerMmV9wkaKYsoZGKr4Oe95OB4zmoH7xZ9UZ5tQX
jhjlYoUpI68bQrRCjC7+aBapC/SrnRO8kK3CU+ry2wxZpFgXoNq2nYMSiBRRSHO91lJXm6hiutes
MWkAPWr9Rm5TD5xlEqTnLR/jAKLA/u6F+uuYmWDRZeXFd9y9td6OSa4g3WGVWf2L/BnQXyBTnRz9
2NYtgkfNm/eDiBRt64Y2oMj42yp3ANjQsZIqaeRPFIIaCI5SBTgG4GwC7992yDc7LD9f7aUZN5A3
Cs0QVRggcz/E+xgVhzrH22zxzCsI0zuJ9SCwyef8/I5yh2CcDXCN5BazGe5DzE4hMhszxNwGD5hX
X94v4ES/bJPF+veO+rZM7kykEQG7D6ajfJO8QKXpjqYngkGHtHPN+iGaFUGOvGkOE/KGDFpR5R1V
LhmioEKTMPIVoMiVzI4U6GoG44sl949yP7nyLNJd27oNQP1mmBDNUPCk4muy3dxpVmxBpJ1BS4fv
wZcZvNroY0OIwQs7ME1PnpUdYrdwRACQrYBzZpr7nk2WDMCuIbliD4JfBVPt9Ktgqgji58bGnpni
vqMpR1oxLEizavlWwrRTmGHERz9qrTtAbq2KZsGHfFczhK+eGeQinL5UcWSFGRgul+lojmoKDHuW
q25ltekVBiw6u7Oyr1OD676pTTurwlMZ699jc06dFOT7PgYnr5esPmYGBnTbPvfxkNfsIjOdqR46
EDej0Lt0aMbFJXFynUqY/VVTG6rkezkeQWoQkGOn5KBPklqcF3z7Q5YR4mLm7/HyGdn+jipSZJTc
FIqq+3ks6KAQiilebC6LdOuLA/zrgn3diqp40v1t6139rVbmJi3hM8kBmgSqBxlSB5PEmMPBdISt
OSwMmI0zJYJAwFdRXr8nLg1wHeHt+u7uiDH6ME4K1phPGgY99r3yYmBiYUQAj5SdYEO3vBViehpj
tkRBhXJZrpS0fd2reE6+ZmgA1pnueFef9E+YPXV6F1N7IH7HUGzgCO+PzY+5ts1+2yqwT6irLhnw
LH5lUpzKFuOEk3WgEQbiF9DtkxazXU0PFopZ3aEfcBOCI8m9vP6NOwyvFagT4c2F17vOHVZ5iHuV
JFnkF7g29dlWo2slE3Uyt/K3MyvcCe20Ss5KFbcJBhoO8+kVJoV3ZfHQOKDXEMSfjdTjzBj3RaE0
1cVWC0wNaR8KulcpulKYai2f/9vOcR9PB1O0piaAs4T67CbJTtPApz9/umyEHWfuTkTDEK9JIhvE
0vg0KjaMbh4MACCMVsEwPHFIbjhRci/pkH/EaFt3Qs79L0wqeIHrsqrqyA7PnRLTkwl0+ur69ebX
9sNe8wFG8kVd0Y2kBkVmlaLGB5Z2mXc8cMG0lZHh9UCL4KqvlwRjgcqPf76UtQ3O7SKjHoK5CpDJ
F+pubkAZZMiTXUhkR9RsJzfRYxTIoPnrM0FZZXtxDHys48uZfE+dhIMqZzry0aGS7Vn5KeeKIEZu
nVtdebOgnn+lcGqJjBGs0A9o60n5gc52j9mry/u3eW7XVrjMs42NWAJFw6/nq9W6rW+6ZY8aLFNh
To5RJThTW8F4bY/LUgptCiwa40yp4ExJFIgqKmhXj6PPBCNmMp4kKninbIE64IdvG8k2ehWD41oP
ZJTXIhTA8HRAYVtrHsFmCUBAW6GRlzl18M9BY2cWOa+cQc6ZLwRR36x+GuU9MWdn1MBs099d/noi
F+HioJmRogFlTOhP2S2kXPXlKqbHyya2wtN687gYmFXzpBhdXyOuT9esnL0c/yRWiFbChSRi1eZY
tBoSEfy3TJ6a5naHQevLixEcWj7d6arFnOWoxFVYgPGhIjaRBc62dTOttus1H1j5WtdGmY6uF65B
epUMizsmA2RIRmcx/4XoIMYE39z69WSvTEH/YkHKA7dmTw1M+uxaCfw3LsNhN6jh7gNZcHQFrsDf
VEDO1yTLEGtn2n7AaGHfHhXZx81vaz10IuorGgnqTyKLXLDQ0piQpppqH9MJRxLJ92VwKwef9GLw
4vRT297Ukgj1LfqAXLAIF6WSoSeKhM3aT9ON3IF/ypxtg1JBeH+HvGA58Pr7cUHCCId+SRs8huWj
BZFAtcf7GzQy7JH4O/XWU1G1cuPRf2aUixgW+AmHQOrY1a/tiJceAzd4ajzJz3fGHaZMBNfLFhxS
x90vQ1VDM5R3XapiVNTFsKLIp5r2cw4TVGC19EcDDQRwTIHuDa26fT9QT68n8C+gdCXNSuwYJtFs
UHHbloSJaQxfDy4x8M3BH1WAP8xLM3pIjamwwWJxT8E93uUW6LaACenkoLG1GMzr+Ui9TI9Eaueb
/vG2ID6ETOXYVZ2K0B5CqQ38ShkYn2vZAdXN4+VYtfl0WG0dH0qGYCrSOf+rcP7rHahf0+OfwLs2
4+JqUVyqEc8W0ZoYi8Kd5fXpro4mgSMwv+Kz3PVimF+uglWVjkYllYgdidrutLLBpLnplJnqU7W9
n6A1JDhdos/ERY6xrnpJHVlwLK5aKNG3ys+RkR9r/uWvtHlvrXaOCxdQ46FBo2HnNPM21fqnNP28
DKI+4XaStrLChYpphLxxAywAasnQFUe71yt9ZDBg2jqMt9ERUJH/tiouSpQ5FF0sBae2ST7H06EZ
KreaXi7bEH0hLrGwiqwz+wI7p/Qp2BL3TXuq0ZLXYutw2ZDIubnUYgBJVBIr4F2jJHXb+jYGmeJ/
ssBj6Kp8yiqQy4R+OT7nBBCK5OtlA6JY8K5DnfeqtAz4IKyEUR+X/V+1xOYogVPLvWxNsGG87E4T
tUAoTXjKU8yq5IYf9U+XDYj8WeWigbFoyzwGaPZQoElRjwMqnk2KIHX5E5pXFr0uxJ5XIOYq9qjV
oHZogWM9sIbTw7Crr6fH8Pu7CPo7gtMj8Gy+rU/aOpEJxRNHwaRNtGAEFjSBmhJ77fhdsJGCsKry
gQE9LB2j97+aTKwrkh0k29opGDLoZOdXIiFD9vqqFWTSwk/IhYig1suw7HF8k0O4j0EY6ESufDB8
1TUbPxZqfb9Dy75mS28h8DXRWH3EaFRBWpKi2xR8HlwGrIlc0MntwhNBS7n7GEW2hT5Q6adOfq05
GSp6jQp6G+H4iiDgq1w0CZZYkucCF8syPGrmZxMQgFEQGbczw7e18gPjA0iJU6pjb8PueRj9LsPk
ODAoM3hU8GAFc69sPoCUJ8yu8Nd6uCpVEafDdgjQLQr5egIsKnet5VUYVyYq7n6SfhqC/KDkgSC1
f3XN96fyzQTnuqkS45HcK6g4K3Z1Xd0VLnOh5iM5dFfgSZUc6UPr5gfJR2PvkSF+Zz85hT8TJzuK
gL/b3/Ttp3C+LIMnNlkoum9pftPmD2lxH0T/plxE3kxwt92stUk16MCNWP1jb2AAuFMFl5BoEZxj
5klpYS4Xjlkm9Gj0HzWlOsqFQNv8Nb298NV4tEM9pFZFC+ArgpRAWsW0Tgk4Wvsylew0oac4TR0z
1vZhK9toDv9zGTE8mYAY1KHfqquA83JZJJiVcvD8ozWy1DsJUmJK8kMQUTc9/80Ev0BpUpVmCl9v
WibvGHr0ZgohYzG684FpWBTfKldgciuIs5Y2zhoKwRa/qmZWpBwkkiA4f+0ZLsquQqHK2A3VPtnh
edjsmaioCiLWg7BpyG5a/nuubPPLJVHa9TPtmO3ANwb0KUtnvmM8AwDMpG7oCrlwNsB2GFX5e7U8
aqWp9WmEBkuFgpK2y/fLnmguG+IOrmbwRoj2duvuX1tjf19dG0bRUiubigqQeutxXCJHmguvbcAu
AOLrQgewf1hOWZFc6yZGIUf9sUc38PL3ZU55aYu5ZAekGEmXaiDxfAOEsgqaCEq/eSOvl8o8e7XU
QCf9BLanyk+CE3Y2h7645LUuzR5nl3HZi1RsttKctT0WkFb2ErCh1mETVj5tT5NMDkn1YUljd7ZE
Gt9bkW1tiLspcjBr04B5jImqsXmqJi+R/0XBdm2CuwGqkY5zD6Evfx4aKNGn9tKFdmcOjo7p/v/m
DtxNQJulHC3w72JUrMEwPzgigA8Wc/RsPhnWS+JipdLOCZHbGhRhZ/ijAPNTomRwK2auTOncUAG4
ZuRBzrXKz/sOecqLFkr+5U0TOTcvzBYneZfPRdT4s9N7zVPuAefvtdeBXUEmVlS12kzADHRLgYlH
pv6uJ9dXVJvaER7HVNEZm9WY3g378W5y2kMHVinM7CfTv8moDc3C7QbhQE3n1clprUugKR9/Bcbl
MF2lmAZBIAZLgAvqyVFgb/P4EkZbBTQ8pIU4/wjCKMmT0MR8HQWrOTQwjMGWdNNR5J3g223eMW+W
+DtmlIy2JKghvN4xEpstiFzlpvM05687RnSrCZbGXzEl6brZMqcKRZmvSfJRzTowOyW22beCs7wJ
9wEN0e9N5AGSMlHLYqD4ZmxIcfjO3l+qQzz2/rKsv95fyez8wcW9eY3qGJ0w0V/FGAoXsVpQLGtZ
joHMNUoEpMX/cvgTbc43W1zIykFcqA6RWv0qGluvHzD62rsa+I7dCmQSoiRhM6CsDHK+mWaNFBkj
FteawKLXLxaq8AKn3Nw/AMMAjCdIUy3uVu4x3NNmKWIWS7ryffs6PFsf2HipCC21HbxWtribuZyH
Oap07B9rQGYgDUUbrXW7HBQgOSY1hCIwW/4PuVYMmqDbjXEzbp5B16MpSDICe0sCsucvWge+kdK0
FVDzCLaR5U98crM2xf6+SgIWTZPUkOCosWyuPk7gsP0raDHQojBobTnG2hz31bq0Kc0hlCu/TvoH
WenvFbN8urykrWzDUkwEYgIcn/l65FcrqoMgm40ILLCT+aWcDnP2hbQfL5vYXsWbCe48zWpEg3KG
P2Cc3pW7UwvC0MsWtnLO9SK4AzRBQ2bGJBQ+S6Q7Q/2zL5+z5CRlT0oLzeneToUQ1m2f+3tNfA00
BL/lgJEesN/3ILaIGQYPD3c4Xa+J3qAb9wnG4mRTlw0c3HewzqbIKz2prNIHK+zggoEQLX0TxCW5
CsRa48SuaI5xC0GAg6SwGX9Ntd6p+g5dCMr4JWUjNKNXglfWATvbaXpgIXAExf5XEe2c0CLnIjJY
4rMkwwdMLbzMwNLc1t2nZFGvdM3Sbdoup1YOjlKW3ehWejsX41VAoAIBpJnAk94NRaPwdrZ23pXi
kWbLGLBA+WvOrDuQHwkmiGoXlHtOA3a6zsF8tpM9C/d9I0ivbfOJpZkralNTHHc2O/KrBbbc1H90
ybH7kgtkMMVIi3RZN9/NdfaLVLSyAlNJdV/0XqI89c1zSyJILInmzTaO/5kpdpRWEaZJyrzKBpgC
QMqx2hgTFaLBno3TeGaCyw6iBg/OtkNyp+TFTTtkL3OCzAQKZ2ov0sEVrYbz1AiaTjqwnEgOlo9W
/9yUD5dDmWgpnP+FSTLWWr7gmTn8GGsM9pIHvW9swxJ5usAD+KqrNSqmtEA3x09l6jTaZ0ImO4w/
pcn1pIiwXVuvs/UH4gk6aauWPaLNr/SDefZ09ZvdQph+CL6Qxt3RcRZ2CF8BHs8NkP7FjnEZKAmy
0xKyQ6gsgY+88EU5+MY1erZA7qamOTJU3cQCgxhSK/lhrkcIxnz9T77xKoW3Okmxssj1NOPSkUzF
yVSIBJSpk+R+BFb0y5a2+g9Yj4lZW0CydUzdnh/accQTpgc0G5KSFTj4y8ehSE7LWN2APt1VW+m7
UhLbGiVbMnE3DNqXqI12wZTtUwguZEa8zyFlTEh8Hwaxl075vjKhkieFP0qNfh2X9BoxXRfE7u1v
8PabmWOstqeOUckcQgOpjP6hqa4a606F4sjljfk/nvxmhP2IlZE+p5kZReBp+TV28MuTWSIt9qlt
R34zxQXOpempOcrI2Y0o35kE4z+K6EUn2jIucNKmBlY8wGrG6nufIjvTf1QQzru8Zywkvr9r3tbB
hczQhDCeESHSyNLHvPCCwjFx1wDEnEG9wBA12kXWuAA69DKN4pRlZgxs3sae3HyPZe02Aaq/iZ5K
YYXr8mcCU/25R+gVmfUwxv3W5pYTgHpwsrzLGyg4jZjuOTeB/nFeB+yFA9bmlw7UfHMPVYzcnD6a
cY6Xfj0AsaU8AXP8UIYL9IV6fwRRvp5LkE6bbDqZLmi7mSbVzgihGD011ktf109L1h8WLbiTUvmz
bqn/HK65iiEAX5//aiUapC5lSd2kfI+yhwFzT60uKOsIzqMuc4Eqy6WALsFZzvRr7hA0eAJblz0L
QPLz9UAtC+9zE1fzhMJpGbuyfGvpALGpn9Oq2pvm7vJXF5njIo00JRCi6ZGJlmpvoyRsx/ldWpj+
HH6ITNOZDYG9rXf72ffi4o0+WllOwej3mn7i3d6D6hwVuYZRdzrjnohKw6IFcsGnNTVI98xIpeg8
2sOc2kgO7XLalb0nuWMoTEKYv/3/OKTzrB/pOISarCFLJH53MLrHBKPL08OAwlxcH+IdpIQuf8Bt
39TwrCZoLBOLr+IaVdJkKosMvzi9ft8VzfEPOL2Yn/OLg4IjwPkyntGYfzl3znZO5WGs4S2NC8Kf
31XHvzpbrGglyng23WVlkacKbWoykCBFisCwlRCYS73ITVEDcdVd54fWTvQ82rqr1va4IAjhkWya
pww0GdFNLP0M548lJF0Fn2zLR9ZGuJiVy1IS1xkWxdoI6/H9fBeCMUxgbevBt7bGBa8yJHqiT/ho
b02LXw8+cfDafGKvbXHRCxJeeljUWNm0AzsoqvresI8pQCTtAWwLTLfBFI2Hir4YF8HUWg3mNkVC
RsfusVIxXzvQ2Zfl5PE/7iMXuSRlmEhkYW2/8WLQFGZN1uYYHUthk5X9axeOGs//aSmDNsTha5z8
NZuNcQcviF+bySCwm8FWPYILQdi93nqxrb8gi6er1BOqKmmmU9jV8FSzgpcxv6bKhwr6elEsgKts
hq61LS6cRE2mzzN7arxN1863f5bmboEsgJU2NIOCrwwju9w9AJkIQ4IAK2t4fpjw1g2UyB4BTWmf
FBm6d8luTBXHCgVOs7mbCqrFChoKBuFha00i9xjgQ3YSJMc2OXXFp2G8MzBk15vCqLKVIoJx8W9b
nH8qvQzm5gKZPIXweryXFgivS07QvmLfA9vcR0ciwr5veunKJrerudkHvV4gW4mhoKVpUIhUbwlU
UopUWBVnGe67A7EyxTnmZEhjp7LXfTK+tMNzAPr/6DYuPgZj5SUQ/i0+NY1otmX7+lkZ5TwUClNQ
iMQ0BhB5DFKZjGAghTjgrsNY6w6MtjtBjBHsJ18vSVoNtK8JToR8zGOQJBbVnt13rTv2vnaEEKSd
Ysw9cCATd9nyFnTMWHnPu+IJFD0Nc0iQt6Tzh7RTP0R6ZF1RQ7lvjflYQvlUNtEWm4tdaaTXal5A
tXKGTjEUaXN6NUbEG7L2alQ0r1iMnx10O4M4Ow695vQB8UmmubGan5ZZO7Qjebr84wWezxdj+mUA
IU6PKwCib5CWc4pIhCfayiLXu8PdoVResmlR0TyTIXytBbo95dAKKD8oS24vUJPv8kow9CSyyN2k
ydBA1k1KK9+qMKNe1Y4q1/ZU3yWRZlcNKsOFCJ+4WZVeL5K7STFZqtF8hLOzTJLi6eepR00FH0iI
0q3DeOs66qbIoqHCJO/pCD+8/B1Fa+YiWGZEyNZL/IAMcmV1UjpylDuZcW1B3UPBLEAgOG7s9F4I
KRoXvfTJKtJCQ3RO+sqWW8OJoxdNO5mRb5FDbvUQLfz431bIdmB1u3Z6AVXHDLmY1L0A6wvlInDD
t37f4XpdoOw+iXDnm4Ib64/KRbC+z8AIZ8FzMdvzMCWgXElJSe2xG3+WVvZ5CvIG3mvtoa3cO5WV
OUvctY5S69TRAR0L8hpqppN8RRaANBZD3huYcb68Kdt5wFuU5fk7l0XVl27BrrDMajmEx9fMCvLW
V/OV1LqXrW3mi4yx0LAwt2/wRUdT0ktpmNk9Ur0swYtmebQh9mUb29nGygh3esspn6ouRBw3F4+E
twHklMzBVq0fCvQ8NUiMl9f98nDZqGhh3PFV5CltkxELmw3NUY1nQq+TTsT5+n+CxNv2cWcU4rmK
QhrEWvYgiy23+AZu5cm1AnDdBK7f2UhNLZ8Ehz96Dm6+ZVb7yp3YNg+NMJRg/XdhNDxO93+IMBDZ
4s6qUkxpBR9ithhZNrQ7/9gW+9nvA9HbpnKH1EyGuiMzZjLb/7H3XU2S48bWf0Wx79QFCTrcuNID
XZl21d68MLpneuhBBzr8+u9wtLtdw6ltSqPXL0IRio2eqiy4RCIzzzn2cCA0OY8K0nhaOgGSWX9J
VMBBP98rKxvUXuYTJ4kIeUyQLjWjR9JtYyhoyvh8DPONWp+p3daggTL1K/79Lw76H+P8CeBfGrwN
mxRT+kt9qicXUFMRe4P2BeSki1nNQj1S1DmL/kel8z/gcj8ZuM0s01DrVWfH8qNjR7F4mLj1Z/AN
4GnkL4JvDsW4lSN/qqlulkkE+6oFRgiwP/5odtAzg5ktltFwbAOCjToqNq42OBk0nFjjxIYz805q
a0jAkwHXkdmFe9P0Vuu5gNlSE3chM8+qlj19vkNPTuiRicWE5mXepDWHN0O0yclbMd2zEjwroDr+
3M7Jo3dkZ+HPuohxzhIsXBzCj7VaUFhQL0WsldaTo7Pnz62dPgFH5hYOrMlE3tQhToAyQATcKMyz
WLBdWptOyWz0xNM4KDIofiQd2yMFgB4jhQYrv2HeFD95m6PfsHBsZTqFSm0iY2gkEbx0pKJBsdVe
oqiTDoQH34be/mq3xkOcV9JtquJJ1snXEVnbS0tJ/c9/zNpOWpxRIofULuvZI6jp3iL8qq3pSkZ9
ZSctowvVHsyoNHAXR4P+iEpi5NKu9AkY6FySodPk8wHN+/KTyV2KOqgQYZ/yCPu2rhOXyH3YVX6c
v31uZGXWdO3HY6+QMBdNhWe3qehPA0tv+FCs7JJ54j8bx8KzFGZoGnzEJslJHoTmtG3FuO8F9ywW
eiTVDnGUehIx6383sqVnSYmptx18dl5TNzNdWsqVSwi3zcrQFq6FFmih0gbgF3jDtTueaBfhUPpW
Et6OFLiUaKTbzip2eWO6et5tdL0Dld5cWATakcXXahdteKjO3GY+NUo3VsJbZnOUaAoXkxNEJX+0
EnvXmtSLCsTaNNYPdZ4MyDchMyLTK7UtUU+zGghb99bM0tJuktFwIwsdvHhXkpI5BRTcW30KQiUD
uR1KCGqyh4iz147DBQjLz9LUdou0eq5LCm1JeV1r9llvQHg8Sz2e576q9TcdHzd2wm+zSHjMwqVg
y3M9HAMA4F9arvgxF+9DKi/jMDurre4btRUvzCDNx6RnpL1LiyIQeXKmVbAl5GYwJtdMUm8UxXsh
mA8wuKsrHFJkw64T0Jpo4vMhqc4lLa6rQoN4Pbp2teE8ykE8YkR67vSDNjo1yfY2kVDHomaOBGqc
qAHVE7BBh0hZ5RzNE7G6y1l/M0SRT6TYqNPg4817sKBSBEX0KnEU2u2BXgQ73lih10I5o0T6CRMb
K9VGvyqElyhdAL6r3aSSuYgmncEw97KD8IJIsbS9EzV8MxDiVKW8MOPSTRXD5ZDr1tThZhT0m8By
Qyt3MxJArsCDrzq1pTxDx+hFU7SAmvFjzGsgbFPVZ6H9pkT6bTllENGIla+9Xrc+IqzcFbZVeXEI
PRc6PfdZfj011lZLhtTlVmY6sZI9yHzQwAZnPBkxcnZ5pSdBFesu0xTD0dvJjcFYD0SiuCXSmvyp
UxuHRKlb2VUIpcjEQ/jjgivZk10jnNDmD4Mmd2qf7HDDfNXy8rJUGHDaiGG55rNSXOTEdFCk2kVF
+KyT+EsKgixuW9LRRe+CvdU1QulOoeYDlwbdwDoAqngnzPCha43UUcLhCqCY7QiKUj8dB20fDpbf
IgUXGqUP0Rcv4b1XYb+FnQ60bF9AZzX8hq6S59qCBHwXPts8SiBirhZBalotuFzCr5jK55FEHWaE
1zsV4aedle9URe9dZIjQVQYM29JaI4hoiAJeItxSSuoRmZ2ZpdB21ESOQumT6bqrjQ0j444UeMx2
dBfmuN3tBBrd1ZDsUJzzY80IDI671TY3WVt1rj7mz3WRngtj2kXNEGiMg60v7m7FRM7tUV6QAvpx
aj7etNnkl9R+ZWaxya0aMFH8IVMt3KU5c7I41LxSmhQ7NMnjIMkz6Uy88sekuUjC4s4U0WWWitZp
FA0JgFBxbKZ1gRjCW25KV4ap7hld9ECHXvW7vhgcGdVbPWT+OMonMy1MRx318w6yG9dCT3nlZG2v
PfZksrzB0B96FkI/s0x9C+ucJkMgJ+MC+NpdFSrbdJL+EMV+n6iOlYXbqa3RLdO6IMP/avQUMvOE
67d2ZG1LlTbITZSJS+PmoOFXg4oyUb1BGf1WNnxbCqHuBlL78COKy9vSVVl4ocRwYqm4sCbrJmb6
V9Oo3Lqbpi9RT8FRIns/BxsgqaIznWve0I/npa5CPGtyeW1f5gN10kzvTUidldMGXKpwGhY8jw3W
IpCUIIqNdco2sdD3E0eOKq8PSiUuh6xqLycNpzQ3lee4AR+KZhdK6UScEcVpbOVbVucgPS65DKIQ
apER3uFqeYPEJISAxvxBGjQNdIUBkhIHOen3Vsu3bYZ4s+e96uld47d9bLkcP0t0HKzXPTKyBvdF
Z1iuQAOCW+WaJ1l7kWj9zm7Ht6ygXkm1oAZwczC7bK+NDcLzLNmGwI4c2o4grcKlrzQq6ABSr7e+
3wHeZCiXECj1FROSUKrlRhwapAx1cisz/IZR7HwGlqVeeKNkt2HTeggDxJbV6r4144PO9A0Z2ZeR
0GcRgj4tg1afQ4iaOqEo3upoSpyqK15kMwiHdEXplLTbJSW081CeYHkYmKQMxmKNdGgtKlpE2XKK
87Ga64KMXM7MXU3eYFHX+N3XnkP6IrrOxZDn6fy+FF86XyZODFwAwDeOIp3GH3CLSif1+X34+nnQ
svKG0BcBdVwhvuTQ3dnYUZs75lB9Y3QwgC7tnqJcbnhc0/8yylyEzWmV6mFKMFBp3be9vY8ovQqb
x8+HtbJoS4xRbEIcENqxiMWm8NHQUkfQ8Tnp1zq31t5ES2hRTmmtJBY2B70y99bWPghn1vcwt+td
5ytvgSW2qGl5rHKJa40IcKRaj9KsHN4+GM1aP/1KjLmkXidVWNAETEkQGgZ4ye2J1z/aHtzNRrjg
ToQAzO1a68Jpk5AKpKBPRIfYnA45yi0PIoZL4MiNEe06Si4te6Uisfb9i0dHI/JxNAWWqWnKq8KQ
N3W4hko9vTwfQ1g8OgQjIRMpmmcytbhFnL2rk8SvkvzC6qPa+5Xd/WFrHu7RdEVaOZlsLgjn6Sg3
E9E5Yiv9gU5Q7/jc0l+4pQ9TiwcH0PydWs44DrI3Agqta4T1zmg5ld/NcKUggS4dwqWVh87p4/th
deFz1aivCejSkL/kX3PlWnaQIKvvPx/amo2Fw62qwYqzCZ4PVFR4XxzA5uwOxUoq6C8chK0x4Ieo
Ts2FtwNDp9SBzJvR3pP/e31AR5v1v1UfOL0H/zRmLTotI0VJiVXPxsrG1fFKSXIRxFnijPbDr0ze
h6XFgdX0Att7TqXr4lzvQTipPbeV3Hxu5C9eux9WFse2NtSBxOQ7U7MaGNvmEF2zs+K+8NuL9Er3
pGvt60D6syzh3IInLthzeFO+ff4rTt+QHz9icbAbbETwosAdFlOBKrpwzTmI12O3L29zjfifW1tb
wsXRVojV14oFaFEHlQF4+Ug2TtH0rpKtQNz/4mR/jGs+H0dOJDY4z0OaNOitCq8hC+6qZ5AoHd0R
6ijgkVpHUc+r9XNa5sPg4lAXOSCWBsNq/tBeKF3iZYjj1tsLTzv9D3uLA9502aBPFKW5fkRTV2eh
PDitTOJpH/JhYhE9KRC8KuhQNJuOd246cWeihcOmfsULr5lZOJFeEi1s1KTeZOJ1MB8VpXYGc4UK
cv6pn6zOUgkw0qK8LrIG2zzsn2iR71pmbpkeobBbZ25EAONL1b5ZGdnJNQKwkqIbY1YSW6yRagyq
mY4IasJM2ecp2jLrbqXL+uSJOjKxWKOmaDNZNLiYwwwPRLwhCnRPIQfA73/h5B7ZWSwSn+q6zmcq
TSO1gnRQNCcf9B2KDYeCZ6uZwFOr9WFsmRim3AT7wezpiXJbJbtEvfl8MKeUACz1yMDCwRe2YfRK
CwNzQwVKM96Q4Q0XgO93M9NTFJkrhx1EjLzP7Z52+Ud2Zydy5JVk18vYtPi/nERDQM1mBOyR9sBX
1h4JuB/digvNK65AueBGV2w/7arRmc7WItKTR+7odyy8fl5pY54xbEwa5i4zod5UxAGv1/giT3ed
HtlZ+Huz5F1elJjnuSa9bEueCXfW2pLXBjb//WiCGZ+6sSIDFMvaa5Oj1GbcUXvtWJ82YqgWhEVR
xCQLI7YJeZUpRnhA7U3VIisCQs+CSv/zzXL6ZH9YWVwo0yA6KI8gSszsW2ZGDi9s37RvlFVY+8kQ
AEqpiN+ggGYvCyM2Q/+XqMDW1RXAGFtcOQvFuNNzJC2VCTSiNrbg50M7OYFHFhfHIIpyRRp51GD2
ruuCPRnTdabLu8+NnJy/IyOLPd4nknCrAO2iJAdaczdJz1txnUfTymDW7Cz2eExiphY6YprBOCNN
4XQNEgztJkRq7vMBzV/00x12NKDFtuvVMeR499eblHZBl1yW05qGwdq6LLYcVBsSmnPEFMy+B90G
6gxnCWi9/7thLC7Fom1zvegKHNHsBQ1QDprgg88tnHbvRzO1uBT1tM5FP6O4zXsUVXwaOobtxJ4F
liPIa/c+RzrcI29r07e2ExZ3pAIMld3OqXmlg7jFZO1L5SXOviGG2nw+wJWdsMz/WGzKxpbBAcXa
ja3fDP1arfQ7J+kne22Z+RlDpD3HCRdVH5h75anYgrHaYgG08YL2HnSbaDWkrn6G68rNDmWglzvU
a9dZt9YGunAUpOhNKzIigD6M9FLJ4jue1ituds3Ewk2MohSQyVWQsOsGJzHftOw/J0O0IJCFrjZI
d5hQOf7xSkLVNK9jkoLWfTjwEWnvbo2b7HQr4YeJ7z1FR7eeYIWm1hlvNqjQaPsZtxJ7feRk7/y2
2Qo/eY7ulI2GDuVoVcb9tMv4c3TfMwRHpu0mUhWbI3hPu+yMdBfQ0t3J1V7J04v0YWWxD9pYVVg2
vxsr6qL1CmoJgG/ZBlDddu6GThw5HVgzk9b9lXP2YXaxN4C75KUZg4aVluPZGEVRkAt1/DVv9WFl
HvzRFE6ttK2ygEPUXxCOtgELutopXeb2BhQhlcKL3MqNUQRa8SKn732bYXPaJmQ9F44YoyuFMXe8
YJibDLINMYV8A70Y828FIKW/MpUfxhYumenNEMIlwjeSy5bEbhutSQyc3okfFhbnLJ8gLS9mzEou
gxB95pDCc8zw6fNhnM54GX9aWT4k+YSCTjTAxxsoHjbFrpvubDk6tDovxEYgjiGvmXpDwQj6ueGV
0S1ZjvgYqjqnsNuMt2OPs4wyRvNruJ+j0S3OWV53FahwsSX+6OKciRr+vS7O05flx0Quzhaq7hm6
LXBHl43tSbM+Nw3ptnbsK7a2dsLm7/r5NvuwtThhGb66MpM5VxL8qVo7c7KhM0HZ/PIzBD3MtgWx
ULQBLgaXapHaTcmcqgRZiNMMbeIWg0KcTq/XSmsn5/HI1GJsyIOioqlg2+sgfVOYD2yISHblGis/
PbkBEcFo1CC4ypYbMBtVrW7npDUNm3fgAfD4Ce8zGVe+CI3aMRl90CLC3K6kvjKgba4i+pbG0bmh
N7tK44kjK4D+5aTk7jCmZ1YVQ1ulAKO/LAa3TOlr2XT7yoheR5rfsb3e7SKucFczbB86FNtWBWOA
LoOu59tERVvGuMsiyn7lmB2NcnEASNewlFWYTaheeEmxpR1zrXZNP+7kXMLnEoiCIzZYEtwn0cA7
tJTAieCokQHETuq0kdNKe93JS9OGEB7DkjF7iQmeaDUxEPCCeac+MyGu1o/J7hec0oeFJQZYY9Cf
Tic4JTY9IjWUpDd07ZI6nUJgJiBQ4KIyzSVQj0spTMkQYMypmtapghJqvxDVtjaqHwoHbBL+yqDm
5M/SW+hYGejg4n9kyYmW50VkmlYNRntivg1TL/1K4ewS5K+hW4TGI9Mt4L0yaChqnJzZbXiV9uFT
F45o/Wn13cjsnW0qV3KULgpzjqjjbQNEFh0ynEzzrLAylC/yxmt6dQPu/A1L2tSF3sFBj9PLJAp3
Vsgp+s8g+1nUlerkpgnZlVAGTcV2IOvc12x0LPSaORGYG5yMA/ENKWQKvAgd+Ka2eTCMVVDwqnba
PLYc3Yh3VdXHe1PTDUfF/vY+n7LvfGefTdnidpeyHu0hj/DguoDQrG+66na8nR66TbEht1HphLd6
kPta6ta36Uu+WTtPJ9GAx0u2uPuhXIy+jXFE3xiwuKrHPTC/9OCxZpsySG6NlZzryT15ZG5J/6bY
YdJSDq2/1tf3xOdBpgUzIT96cA7mY/o+Pn8+v6f8xbG9RboSuuR1kuoK+P47etmaY+JkfRO6Ik3c
zw2tTaS28H9aKyb0M4UFTpsEAF51emwwN3fqXb+JuLOWhzzloo4Htrgn+1zUtE+xb8iYblpV29Jk
pYZx6no8trC4HrMWfY9KbxUbPPO2ciSP5qAEoZ2AhvCXcL7HtuZlPArkxwKUeuWIbaFwJ6pd9LVN
FznaC9I3W3XQ9J89Z1521W4/X7PTc2hp2qz5p1F7YbVLzJ4YE/TQR5Pc1TXZGSoeC99t/M+X8X/B
uXT411Fu//l/+O8vZTU1SRSLxX/+8yL50pRt+U383/yxP//Zjx/651WFR6Vo3t/FxWu1/Jc/fBDf
/7t971W8/vAfPhcJYuXuvZlu3tsuF9+N4JfO//Lf/ePf3r9/y91Uvf/jty9lx8X8bVFS8t9+/9Pu
6z9+M7Hl/uf463//2+VrgY95ZZHw5Mvr8hPvr634x2+Kqf4dwo3qfIfrhq4SFbtveP/jT3jx2xpI
NQlIa4Fu/+1vvGxE/I/fVOPvuPotXMmWRVCFwIfasvv9LxqxwMSsEVw/czb2tz9+2g9r9LFmf+Nd
cSgTLlp873xYj7wyPg7r2BcandPUP4Vs5tTbkz4NtZc8RDcGdFKSDUHnJfgLs4B5bGUffr8Xl+Zm
HlHIuxrQ312qgXdDUVRKOtXecD3slRCyDAC7zzwTIXfU60TDTYj70zHwmuXuag5kcWt/H+yx9cVB
T9QuVItewjpUo2YW6/qCnxFo7ERXa17r1MQyQiGwbNM5elvil0CRHEoUfGsv3k2u9GJXbs1D4tbn
s6KPeXO0435f1uNlXDj/eWAM1Mo2ckd0PuALH2mbDRTWZYhVjBpnanXHGu5L+/pzIwsn8pORxeyR
JmpTPsGIYd2zVnENtsa/A4f083ZkoBVFkIE8qIFmqB/dIwjaFW2ysUJ9lO+RJ9vV6L7rq2zbstRV
4zcaVy5pUH0b38fmSU2/WEnuNemBF+dKb3hVX7iK9bVFn2ytcK8aNEcjh4pMTg5ItD2GaIGnD60q
vgAqE6LyY6Kf9jzqt9PwqsTPXYUOS8RUnpmKwVFq0ThDlj2jxc1JqsZt5bmoIM9Vy3PFeE7DGN1n
1W0T8ces5VDRopuuVLc6SiFgsWXhdJ12cmdm+nbUbg0TDfRWDRrFe8MAx3H7YuzM8LIcr1XtTZql
F+uqZzRX0Ot2uP2gmC91Hn0jVet0WrNTqH6jG9E+a6JzoPVdRYo9g8yuOtVoGL5JNdUtErBEYJKS
rnfYqFyEJVrb0UQNfEmlbK3CcA0VujIWAOgZc808843Ij1roMA3XGr3m9D43VBc0G9uav40p8yPw
V40d3mhq41ZmfB4yzU1wQu0Uv1C8t+pL0h0scM7pqeb17Z2Wv9X8tgLmvKKZV0O5MNRyL6nSzOuI
/oVwaHiIyLWi8JEBF9GZNXq6AaEaJuAp1JRgUJqjGhecFF5V3bLhkqTbvHpqo4s0vUOxV3fyUb3L
FftcAcJ86LrAYqM3gbStMEssFAdZgeEx/IBJzT3sASesB0/Bq1IZHnpROEpq+hbu3Z6plylyn1N0
HXW20zbSgezk3k7UTaLoXptjy03pNjIQg6ePuY3x0rkxvnHamQ7eumLJHd6h3XTgSDOG/eChxddu
v0mBCVaAt0dbvIwsLyyZBxKKrdLpGz7eZ8Nd0viTmaIdvNya6lVm5GdZVfpxTNxBjH7TM6eMR68O
v/bjgfOrytwY8RmxSscIn6OpmZfOi220xqIdtk9Vp0zvleTZBl/llFYXVKkCaEBuQPLkRax0lOwa
aJY0Y45CoFsffhvEkx1rQShrqH5kHpmai9AaXVEXbwxiw1WzbfB/Zpe4gNAbXXhWC+NKbQYXsMkt
NG62AtwrkAbJsYsUbu+m9r6OSh/0KZfW1D/YGbZbUYLgkUBJBPTDaE83+BMv+6AEpXebPWYjOrkx
80TLfEvdE4HsinVeZTdhLPc0OnQanjIVQ5v8S2TqjmbHgUhuZuKvrKUBUndOr93n+U0rLEerXsDn
4NQ0wjdnQZuX1wRijeHwIqfaqTS2NareIRZ3mxmZYDSeJaRjpTW24+BEU+dSC8CRFE+08pZC1C16
kSVxmC4AmQcswN6YHDk09Eto4rzCsVThQroOCRQ1Qy+eDr1m3SNZCQ3vCWnY1m2Yvi2abkuV6LqG
c5D2fgBPTdwM77aWbAmboCRTvzR5vrFzH6LP6KV67MVBSyYnaXaN0u4AHPQj6HqGzIKeQlAMzAHk
3cnR3l9XkJ+xAA1FC6/G8cqsrmV+1TTz78r9us4uiwSll7Jw4zDxZD24OeVB1WiHiKp7lhse6t4H
HcmzuHmIELKnCvq5N7EpPKiquzmLAMDAeEXiULTwxP3eMJ7S4b2hB2WIfTTbk/ZBja8EBGezLgC1
l4tXvZNYuac38FLZo61FLhFPBCDWnuAR+pK215Kjdz36Zqc2kCBAurDHrHgZpxtjvGd8cEhy3vYv
MUW/t3gEm5Afl0BVic4xsWQSPIVjgTROwlzS5x6tH/QW73sauSU5yGprzdCb6pH1QE1BHN7sgf9R
iE9sqHTDpzApQVdbYkdgsxRvploHYx27DbCKijK6KfLXg7LTC2yu+FXKa2m1rgCuEDoXAC6pHvgc
gBCRnuzVnQHok0ZSmFPdUD42k3mFq3CbyH3L7sGvggXs3SEZbtpB24T8dUCHPlQWd9SO9lGLgcon
Ff3/CQEdDOgW7bxzhiG8BMPuBWlA2Ke220oZPPRRaWh3g8v1VKtyaWi5CjRhk1Hda82FAOZCG9CI
rN7SngLUYbsdA/TbvuMGJIPi0jP5e0yFE3U3KnlLeqQVWw0JP+1s3rsMHb8pb91WT+Ga7ya88/l0
W8MDNuLCFPAhkMhpIyCOaw38m1dGDRSrMQY1vR16jtRccmChdtVgDnWssa68jPDaWls4ER4TNHxj
TQJgE6DvuI7USbpi0AIleyzYmUYz5LDam3C6m+Qj0cdLkL3e90W40zM8Us2aBEbxPkV3GaldHZso
zOJbWaDNsE20y7g0PbUF+grKgebQe+rQbwt0iiTaY9M/V+ILrvF0urDlPQOszNEbjjmxHoCYyRxh
qlut6PaZlux7VINEzPd1CVm1gbhUxlcyMuBdRb/Bo8yJO/3MynDEBe4mW7HviCy8Nst3eQqsWQOs
CfMyyh/NxvoyVFjiUuF7AyI5ibGrzW6DgiiEVQdrUzC5jyngHZn1zPXS79POnZrnegT4p6mcLkWE
lk9B1Q0R3EZz1uu3qWUDQAy1gOHcMMoN4U+qNrpGeVck0iG4UZtmqwj7esjt8zIrAd6ZkO2s7dZh
EAjtVPII8eurepDPbY4rMSWVm6FjLeLDVa0bW17MXD9a4vRRqQDL+FXn9YPRmOjhgKvpMF5R6Acg
tJDueh9pA8BhL6FjPaI1uGmjQ2SyDbBu4EcW/V2X1pc9UtVW9jgOj2mdvvJCaxx0bd7hVG1ZQwKQ
RxdOIoRPytIZkxgO4sk0wqsGZJFh45vdpZElpldPKZK+JnFKTtwuB0lOau2aXLwVJbCBUaUBf5Ne
AuUyxFPr9UXtW1OQFWxPohC/brBBWDXtMlFcFExcimJsHc0A+gZcTBeJtN57VVxFdDzPJ3lbgBPN
AuiqpeRN1u29kDZ4anahCpwvQZACfrYqtR/UrD4v1eirIYFgiEZPIIATJL3SRrxK+i9Z2DpqVPiI
wg921z2zTqeOJquVtOnPwbYNSWeAt9ASqJlsWXib8hbLStPGU9Bna4AyyOhX3mLLhBzi+R9NLBJy
/WSMdVVnIO/c5Afjan6jIL/o57ehx9zpSfrZF+uCBBrogkJ3ldhwUVn8bh2sDoYBNkqiItj/MdLn
eBCnsdU0HgCdLgXp2egBMHyW7GMvP5P70QdRtBdd2WvZq/kp9OML1LaP7c7JoKMEjKL3Us0woXgD
ztKgyF9txy1ugrl/+jpBS93nj6Zln8lP41y8aBgklahlw94sS9Pv0F16oR36feeZQRaYl6a/3hHx
neX7pzFCUw4FWxWPweXbMwMrAbSE+3mMg5+dxRt+X771T9Wu29i7/KpwOSC3TnmJrkZwn1c+jnUb
4M3vikvbG4LKKQ/CVTz9xhiccmXbLauj/5qQjx+3ZElrMuByexM/judutdP98QzKOU8zK1vsr1UG
Tp0iw4IqBjIbJjrxFpNfN6GFIG5oPBI+ZsNz26wkXU+88rGbmAptFOwplS0bN+xxshWuw4CynZtE
q9s46J1kF29rtGeuprDnE/nTun5YW/Zw6G0slZ7Cgw4uQd6kiZ36pdwkF70LFsTvyeWHuQ9geLNA
4Dz8K7/3Q3rvOMdwInfzw1iXbRxdCjglmScT7XFAMCYOgMfBd2FSuTE21sssfQHSuE0SrKUv/2Ka
kd5A3QQruWw/jMqaKjIFq04f2Hu5S8Gq1wXZAU9NbNO1I3siCTEP9MPanKQ4chFyLIa+qWFtcKfY
Lb9BZpz4iV+61WP8zbhGKOvG+/hSuRZ+fQfKcFDnrv2Gkxv36CcsEjqRnHRQN+An2JH0dPvKKNdI
8U6eQxtJRwi4aND3WFJpMYDoVETQOBt7sSv2I3L4szzysPs3lBhPbVxGiEnRqqobZFmgsydSaiHB
E4zsmWO69jUNjHPjMfKZrzvZzn5KUgeLubEO+Yr//f7VyzOD3BhBcRBqoqhz/riYia0Zg871xkPE
9M3edC2orsZtsh1e0ztcewF44jZhIPzioJ83D/GZmQcaEH7py1rN8OSEMyQD0TtB4fSXuS08zxRW
tHN8jB4esRsumsf0gV/i0bT9hewjaFLnubZnUVhjaatm9QjcZwxNLc9y8BSv95FfYH3RK5TjkP7u
Z/9/7v83hvjgr3P/m+7163tedtX7cfZ//sxH9h/RjY6bATce1mL2bB/Zf5vg3kCgCOZTMPbjU39k
/82/G6qOTxmGYaIOYOJTH+l/m2oEx1UHT5WKbO9/lP7/OSNuQ88a6Vb8RhXNL4toqM5VsKhTUIzY
mRNuQHni09IT++TA/fSleDyamxNZ6lMRJyAVkHmgqDmgmW1hLUlJkiMUbD1tI86nvbm3XQHp8g7S
5YnbedJvzrLz8lz64KTarLnU77fjwhMAYmMgH4+1wIgXBeAeb0ujE6DUnaMicVC32SbbtXfNZrX2
a89O5WdTYBKzTGhFgd3rR6ejCIZWNpO1HtczlyNDZaHAjWTnY9IkvqUnm1LNAqXTNnkS7nsj2RSG
2JR4aAB04dF4J/H6HupdjD5+qxrf47i6tYhGgboPKYR+0qfaDF1Khrs813Zt2G/rppQQZupvk56e
F0bi5/Rd7wdXUDyIyrO8iL1KP4+Q2Kmnb6BADerqcai/MftqShvHJpZvZ2dtrDlGUaBvBk+28qZt
H+Kydjt5l/YPAopsmnqegwcm6QVaebhropmoaGtHsjt9KN1IFn7DIWWpXmnddoDMGqvPKEgwCHIV
ndq7Y42W4P69Dq8i49IGfU4K/Db4HdL4qYgqL4JnarNX3VI9yGMirW1vSTynOiVaHM7Z8NJFnS8Q
qpbIETTpXaN0fqu95yAVy4ntmcl9ZCN/Ed6TpPbrqUTqjlzp0RdWxo6Qd+jQJOroVCk678MNBPqc
UAMsw74FIUXVPFbh5AGEHSiW5qblS59eT8it4g0bpeeMTWeVOfgJcoH/j7Tz2m2cibb0ExFgDrcM
irbknG4IR+ac+fTzsTHAcesXWmcwl22gVQzFql1rr4Cjhz2NNFmSfVmqG1kINvhODxpjdNGKLGe7
llRXCtpXWRG2fXGdBard+bfd+BL0hy57TTHACVLN6aetHpnroK+vwoAzdncl4n5eZz8Rfh7toUjf
8IxzBDaustsEWEUE0lcyF0e12jVBtpIGcFtyOgSpsFvRwIzMAOD59gt1FVu9XWTkfZTYhQaDZw5f
I9nOZf8qSGsLR/Bsp11kBf63A2Xycf3PjD/5tFXyFZNq4ONaVDyZN29kSkQnfSeVfKvxR/UQrC6d
5U6lUstRwgA2E0l2xChK1pfV7VehFoWpbI0aq5cBnOY1d9K+fO6IkgQstKXdBCk29kKvWJVOZ3c2
dnoOCRJb7evCsnamWGMRN3Run4+QfNyTy5ijxC+XRTR4b7fSZl5pq8LLt81h4VjjS7Kabmj7Ofo+
2RILt8ZOCJL1xfLi3BsActZo46horU/Jd+TET0bWiSyu8eDMzLAsGHGq8e2YUn1ugEq7JcU5Qg7N
UQ+ISFQkd2oNN4++rNi45DL4h6B2ugb+vp6TKjpFHGBkFtcT1/46jhuvVWV77IIPY97nIHZiAnxV
P4ZV7XSTurPkB9pDGJDmd9HiVDRAWcrHfqvOyv61UdJHjU7OheLwVAHMBLKWsF/UZ7IkkjB8UhyO
1ai0rNXdny0hfs1dGsLP6Tsxrnay6vbl9aUpe+YQxYjsCrgTyAsf42REYTTkwqyKzgXdP7QPauU0
h4hYjHI/H2YA2ffkZjjGbw0uGpe0QaeCjeVuqRd0DlHcL0SQk9NwloxxE0+MPTj5Fj8bYmvnvb5V
3GqNl9RWtcWXxdDAP5jXwz5z8+vLB/Jlj/17UnAJJmGV9G4Vyzz1vsuHbg4CZe44CASbhvSYxZj6
8oHjzBGOcSzuWBUhT/yn/u31XMlCjVutXX293GrnZYfuUDmE8Ti9E9yYWwuWQ/aQe/m1vA8uZsGf
qTb+voITdG1JHDJmiytQ19JKdRqQl2Qr7P4X93pKNVuWweVhLjWmqlEUnhQ2hRg2upgXFPsQOeuI
MsHqXcP/idPH1s89k26Wzj7SlMFKiz5Fw3fUot1kvrqL2isJY6FwcMpR9Fp2YEBkT+2+zY6yQOb8
qeX1k6T/zOEnXbVtHD7WYerO47CV5uQIC/xZGfM7iXaxWHgdVUDcxZQLyq6eVSIuJncmENkYdEdP
OrZgbSsZb2lIKJVG42ISm303SZu0YodI5HWhTJiUF25CF79SZtuP23Xsp0/xrH/ReX6dkhVahH3f
wxwZYludizu/UY96uoDuKTelX7WztKrSnirH2E3Nt0q3BAMPW4NK2deJbeYC5RM9fsNwJOBzOW92
MukYtQDmn6h2S5c4FGQnE6ujnEj7Pnn3I53NXnX1mi4byEdghHhDza5UGatC3mtKYU/zS+abXtEe
df0QRfHR0lJX6g9UBPsueQqqryneV+VXjDWhT7HLdj+kT1lPvyZT8YMa0CGoOPZiWSpf6fV3gnxe
4QPJM7sMD7LwldFaV74MkU528z6ka1HPnWx8CMVtB0I3BrUHoMbjuikq9AxFZ6tYr5f0aoPcdBqo
06mFOWir7YNOXbGZeplgucbYUK9Rt4gtruLfM8OT/U6rzUdeIoTXPm6KmExtBAMJbiJsdLjIsvZT
t8WhGa0VyaB22H4WSn0XdDnhp03rheN07MHl6yxeZ4EpuYqgsIhbxzQ0h+0cC/W+1Upa9NbSAegQ
Wg73RgFXu43ewlLZxk1uJ8kdTcCHER/cdHkGN6V5IxbS+xDs5yB1otH3AiVxtAR3sqx8Fbv2oIb9
Z5P7Gy1S1j0/kVfptu15IPOTwcNVJfa7CQupqdnSy9sVqeT+uwL479ZrkU4ig6OILDeGclL8tGI3
CdOQdW5E+xJfuM0smXaRXvIIP4Nl/D3OyQJetEMTTA3jqGtWT4fyDz/JOwm8ApX4At9AX9HWlWLP
jvaj2oOrUWo0EkJ1J/uQLwTAnL9pzqdQUjCDFk9uOimk2prwnXfz8hhZT6G5j/sLjgznFlGc5WUN
3Ia2DSz1k8pqHANB1BmjMA+mLzpa+mommLaJqY1v12okx14zHwXjwkH1vwUdZDiVU6oEZc+AGP/3
sEElaYaQGq1blLzP6Gq+RNY9gwX9NcKfG/9VuYplIgZBLbWuRmDzwkSLbvPNwkRj013/e3KevRlN
4iGqxPmCKfx9Mygv4kIOys5tFd0Jytuw/fr3AGf2dNYMoA0NDQHb+klJo8l1XapS1LoCnPexvY+Y
lyWpd2HBpFA46OhuJj/+e8w/wMRJISHh1W0ZMlUNmNrJK0rlJha1pebuV8Kn7iAseGzwZhAep9US
eY2V4Hq6fLBfPrDTUYEPJOa7qmsod/5+lkgwokBYNvWehCxMAAdyn3F33C2hGrEXuYUbEWpWHC/1
Mc49Yto4FkxS3uB/GjqqPKiCJvsttTpC2rA4kGu97nT5qjImvEb1dVv6K6sOL7zZc1NHA51SiRQ3
OdicvNl65vOGMNW6nJodknTsOf7/HGG5gl/fQYuEIglxMXSn/i6I9mn+8e95QgF05pX9voeTV1aL
sTULJV9ab2xDzXIhgK4EIV/lk7oKLWgycyZ4dahtBehvfSGvpDB3tQBg2lS//C67av1wV6fj45D8
5CqMQEuON9LAFj7h7al1nhTVq7qAsdg85tlPPN7qdX0vh/h8ztM27h4kKiEjVN0g/1KIvqtrEKFR
d0q8SNmdbE1TnFLB25K1zNK1K0P9rrHpTXPk4T4JDV20Ju38ypLu9FqxQ4uexNh/46W5r9KfCurG
C9wfD2UMVJ7GHsznYMLrsuLEjeuVEAbX2TA7ZvkzROAO1VfkD7eTJmKLWboRFpU52Q/Z4EMiutOa
1pnkwFVzfd3LuaeD1wRY5dpp0N+0leXGuXSNz6cjacJKm+e11bWd0xSal4j1izKOa+SU+3o2ryfT
vGmUFl+2yAGHRjQaHWIfzZeirosZX3I/9j/CobFhA7uDUm+LO1PBXnnIqF1p7qdV/hgNqVvWupPJ
/L9F11WmGKsa11YwrvM2dDot81Qt5wFVTinUm7iud4UlMX4KtUz3ap41Cfa4bphIL0049gluVf1h
pFUWUM+Z+TG1bkVtdMLYAqERcURGBqOCV8EqC+rEi6LUqbB4j2WvwLrVCuibtodAE9di9KK106pK
AleDEKSH5vNYCldWl9zPvsC/p2P+CUdOeRmrHgpcCRcJHo5sOdVEo9kS3L6NuBNOuPl814+Ni69t
Oeq2OElYWT/IRf+dp911HYWbIZVuoja56Vt9RXGzlYR2rxqN2xX6ZsaLa8TyDjdW8cootLUitfdd
9aGaOBXG+obe8w1GuI5ppmuDgipImWvpR6lCYtPvM5xkG879uf/Y15LTCaBxvelCFIcRKLppV+/r
+j1QkCjoT4OV3XVtukpwwG4yCRYfZ6mYANn+Ppz8LY6oDVIj2RNCc9c0CMkm5pSoXkXJtB3h38Jm
7ERhx4Q0HFFgJzes3az+mMMDTMlVa+i2pgjwbsGBfZNimUkF0pbFTO2gXY11C8tQuZP8ko+2uY1T
vIWo9Mas33ZDA6+s37YpJs/NSx5/Fy0kuPQoZcYqJzInnu5zIfW0noIVr9TFoFtXqH1FwZXkxy6+
G6o7XYbDSlWBUR3Ex+Y+g7A0ViB3Wm1XWsB+hrBFNK6pcG24V1eK0a4auFSCXNoEeXtNo9nh9FnO
8KTmRzl9D3VqVB2fVP1JzDSvjQEZy1WZtk7LUJb63Ncvg3gXqpbnT6Jki7VwEybFqywBrKLYGgTh
Q2m/K74CJaoOw/SuSuGhV3JvSNQbFqJtWwVOVb4tPmzo6926zd5UArPLKtogCNhaneIN8Vtvlm5b
w7DAE3mOOSxMxykVt+Hc/pTWG6m4rhUCP8dENUX4n2jzauxuckNzwrL6KecBZPnHaGZXlAQ7m1Nb
KTiVZJA22wi2HeRpfbjLJQgztBB8ycsqbNVL6bZKzK0o3RkSaDsOWrNheiZmuBVWzPYSpacIxzxr
jlnQOvL0URbiXTZGrpnhB95yNCmbVW6FD6MYHTMlnt0Rr2cp0mxL43g3Sq9iKW6NKQM2r5jJtzK+
TN0sr7o0vBatlyK01pGub0VOZFY6AXrlu7nAxzjZDPgRV+m8LfoYJ+h504KGS7lLANjcvhvitiif
2zq8GcqOSKm7nCOQH/auMKysxLdz+UNsxpVuvWAzblcdC/Z0N2iCE0INUsTrhR3bNoeGzyJtsdgX
YFI+9pV2nxQfk3Wntk9aULi+8aGBTodTtOkEzRWmDnrxUTIiJxZDKM0wRWDy9f3ozmC7+Zy/WEXm
clpdSWZnR9H1nF7PCVferoda2uWWvo51EdAaorMZx3YgkxyYsyt8kbe3wcJ2V/d8f4F/06mcA/Sb
OXsIfX1XRI+GwAE8++gI2Rbgf1o0aMMk9tLuJmmYY+Wul4/ovV+boLjOy88gwia5Zt0fZWfQE3sU
O0/sxl1W3FYLpThKD0bd7voyvyJD1xEbxA+54NQYz8lNsasVE6b2DRHJm1iojs0o23082r4qb5qO
js8sO8FAH6qOLUermn0phndKl9tCEO+gKHtO5ONUPVcbKYo/5UwcHG2Ynhptq3Zfo4JBIKENdofZ
A48CoIAeBpS+2g/WmSAd0jl4aFTBAUd2grp/KkveTgITEzijqkwbibSbsbqIQ+MSoWyL1o8qQqMr
fD7o7ltIFRh+n5m2bVR5V+K23D2q2g++hEehoSzzn2TYMtNV2rwXZeZE4uhlZe4JPsxZHY69otkJ
H6epy7YcBHi06w9jYG3SqHZ6Caf4MXQw+99KnXwVhG9DlHqBeG+2GKb0nFhLX9ykTXgty8QHSrM3
J4T39QJ7gbHLDOmKn4C9SuZXChuihHy+ID5WZzeT9ap1n4HvwyGAxT5GK2ks7KYf7jqzXqcj5J+U
bkAZXiVNca+1NCCo9swo9riS67kut7PP5lhbT4M2cL4eXTysoCEru4AUc0knnlLDEM2PKWsKqoyt
LGlOOqVXNab/swTvmzVBkXo7hWxc3HQsJJUVr+SodKT4WGfPepd7YfQlQPaOw++MjkzUCas61I96
Hd0Oeu3FYeRNsno16rR7AvSsmuXUE8h2CLNYZ1uOHlWAEX3sNonccizEkp73rFfzyiB5Lg+abQhA
pGJbpY93fqrZbcnRWJzWQUtMwJMsJw6UmwO2jB5ogxZ/iVxhymIl5dTU5bSfO+Hg4xJesdK2Uvhg
JcOV2gofHPTvpFJ22qBzkKHsowLNiDVucFX/yOpPKd0aMcS2YNjGrNi6fJDD2dbznWkBN4b4t1kN
Lpr+MTcwd02MAMBDsL7nxTrd1681kA+DGtAs0fQ2r0KQTFBI20OeFzdacJDp91nNi04CxSBAi+cT
z0y2ZUO17CCoDLIkzH0gjqsSh/yy4CEI5jZvOruN5vVcvamt4k3BVdIzS8R2V0mF8+/K+wwqaUlo
1zgRypKuSPIJWIFuuqMNDNQb0qGSXBCphWaSPUoHTdsrP4sM6lLj9dx55deQpyfRPFOjpOyIb0qS
L81/HqTW/v+7qaUx//u8MihK1/aBxWniRd916+h28TkyjwQPufX1ZcaXeu7gZ5g0CxBDgS+dNih0
H8wsltPW9fl2l5o90956SXemQD72CmTNND/wZ4oiFOhJuEko5f2ud4iwWHWqsA4lJCnjIUUNYuZ4
Z5ATj1b+NiqJKySnb0qGbaFTukgYeXUTqwCkXYN6t0mPnRRts8lYi6Gw08zYMQEVbXrXexS5r6qQ
bUqLWHSjfoITj5pVdwdjdLslLzodaBWXWw0Ru5coEZidegHTOEcIs2j4EWau4UiHivLv95COoZgO
RrPwW+CDu5I9P/OBuouWGwn7BaTrzFQ2f492aujCB11Ikcpo8TbaAH8/K3cElERO70meuMm0i22i
/752BjQlhcmMclQ5bWyO+TQZojqzvAL05at+o6yhp667C1zMcz06JKSyBnlRJxdaOflGs0pQzCqX
G8hRg2es6i16zPame5LcyAsex32PXhHjpGxb3vVw6e9C7xJT6RyiIgIhAqlAuNNPV4lYgh6vakHn
guXs+/lLybZNWREiM61b8/vfX++55eH3WKctmS5WgmgZS0sXtc6zHlwQ/Z/DGkTaW1DdSCL5o+f9
vTpEmRUUTZgDiUqYCZe503eRp8Jq//d9nEUPf68KJ6gJNeKQ9RqoSddyROegp/fHRNzX8lHz9Om+
xC1Eq0N3ihT33yP/d16ypv9ajk7AFAxrcrNoGjqIO3OnbNp9t7J28uYS3HWuLyuZiJwXohAJOH+W
xV+wUGzWulJI4tKpFCGW2KGT7PAbsCmjJCfcZKv8en79960tcPUptPdryFO/vLzGIGIsGLKksqXd
nEVoKcWDoFxaTM5Nkt8DnZAW1HlM9Lxnk4qe2ivRCyHRLinR01HakW/kLb6ul7gB5yb+7yFPdq0w
1tNAGhlSrgivKU0vGC/5Gl4a4gQqzIc+U+WAKTm3piML6X2RVY//fkMXHpx+4u2OUD4D+hxhzvsH
v3ysqfbl8IIR39lP69ejOl15W1HjqD8wiCW3Tt68qeb9Iu/SpkUidwjllyzBAA2EO4QB9e/7O7PN
QCGnUpJwaWD1+GOv9HvWj0XR+XOLR8jnvGpvqrXpNq5/1HYLY+R/IU1YHtjplP893kkHx69SWY8b
iovgsHB2+g30oHW+uxxmcGa7/vvOTvYZXAxkMQXIcdMr6oJNv1lCQqw1LAuYMJeIfucWKXiVJtwg
qJVwJP+uDfwpS8CveIw9G5oCy2/JI7ncdz8zHfHDZX+GnqlDQDp5enEg6M2slZigwLGpi++pExeV
1YXcjnOTgrRjHBMWHYdmiSePro4NoxeWWU8HG0+XzUJh6F6J/GGtkPf5RZqkqZ6ZFsjv4dmx1nNn
p1W0oBaT3Ijwt6DeHJoaQSY9fEKYcA6KHUH/ViKOxwMKZrHZNebtqH34hfDdG8ijOTxGQgzkM9Jp
Uu/bLsYxmvqyhZGVq51toDtVp8jRZnAf800pHovyIHZvonlvcniTUzJDyn1tWG4vzHc1YI1UKOgq
7xO0sygA7Nk/VjR81dsWAp+YZJ6f7tKmh4M4OF2lu7NPzGj4kKTPemRx4E2BtixbHqTbdBSf2mS6
DpLsRgwkuBKyXcsayYiUG2BzqMOzlTHHK9gK2OZlxnsmGghHRf/OqiFvgeCF9W09AaNxlNEH6yYl
ISrSpp2h4+QrvzW9BjpBK2oa37LA2il14Aza24jkswq1fS0gcDFpkOGmPcYJ7gIC0jLO8GmMbq3z
/C4iJQtYKccBTZk5lKpkT06602jRUecHhFLdm6rv9MKPb7yEgrTV6TaP1oMfKmuTgOq5TtcjeCFA
YJOmN00MpirHNPGF7ssg1Mz0oX/SUNviMI7TPGaRMsiEMNpR/t1MnwVveNKa11lP9kFofBvpuJ4b
lPUd2EshBE5r+WsZJLnUP9U5depCVZ0Q/NNQk/2odfu0xLfqgTuXpwW95Ulo8BjMNxOFZxZ9pTEx
YLm5WkTMQd7ataJzovW7XTsPV4PhP5iq4GX11dz9ZPONKiduDBAfcej2O8XtVeVJD7GdHl9hnNhG
ZlzHSOwlKdvX4negaet4sNZ61XkFDsg2IalguCaqxtrfSigoFbSzYxi7RfsycSYqkAAAvBXyNmgQ
AFdJ9aIVwqcxVju5fZukwDPFbDWK0rYVdmaprXBJAfeet2alrXTArUEfacTspyZda3iXMMm3Uq5h
RRGuK/9OnDV4FJuy1L1GvatxUbDiZ5OyzC8bV1CuwyL1dEtz27Y+dorOLLtXrNdO+XMjlc9M8eWd
hH5Z11HYIw8v6nXV5W6gG0xc5SBUpivUJBCG0lVNPpkZQvPt063YjuuhMaD1yQfRmm+qTnpS+kdc
ym/JwPv2k9wOldRNpWk1oN8Mgp+axoRShA7mD9uxBN/JkOenpvrcVXdFcZTC+hjjXqZZvWOMODBI
nZ0CrdXDVxLiWxb3KFVJzGjhvI7dKp2PvhV64nTokvm+TsnV7NUHOXhu9eXgWaMIxdlL751SRTRb
G4B7xNplYrEP1OfQOCbhBA8msMMMIlMiuMJY5xh0Ko4f3fRCRL2b2HpUu8DMD42iPEyjAlKVEjZA
MFMm7wY5W9XmbWTwNYzfZf2iifdiVexLk9ASprCelCtVFInvqfahCuInvVaN6BC74El9vIoNJL1L
EKh+J+jdihY9vjTEecdreaIflMGZzKEC95/W+JQQABmHb23pgYBPdXmF0tYpRhOqNz19ffSUvHDh
yygA0GSuA1/DJwzfZvNWlb5G/ZjxdguAMyISrhpaHWnwrgh8+TVCDZOlFB1+bNSen38002znSbWS
iPWLgWoKUsoK0e0UHqf20UvqtvURtvQjCOVHySLZBQ91fFvmz0o+2XrTebL006v9VinvJ3hSqQbY
Bn/KEisHc4tNHD8PxR0tFjtLOnp1b8r01ffchPUcNW9Bi5A7+YmgYdFLnCcvbe7mssLH4wZ3aTtR
9nMV231kbAHoCqV0Ry1DmEtIZUpADFfjB0Q7SrBzRETSXeW2oboqYX/FuXHQWSNzPViVleIKhbar
I1Z1FsySyDstmBwBFVtQWUDqwS2sRqbN51T/SO2CP4ebQmbeKo9+n95Mk7Zv1OXHkkdZC924h/tc
1CuR+1ho4Ur2Nc/cCBi52j6zBrtGlRONmTsWQUFz0u7qzFoLPgZcJatHgBqCLn8VxOwhvjuOV0Mm
3MiTsovr+75XDvShj0EdrkTl3gro8qVEKL6GBgKqod4MWv0xRMStis+Rv5n5wSH6bPp6p7CuTCmW
IROETwS9+PN5HCZXcj7gUqipoP7vHQ5IrYI7wn7shV1pJKwivHAV3VJFpRZ21yxnO2HsvgJMYYag
MHGSH+1iFuDPDRs1T48JvhkOW+29HMtrRcNVumNrosUYqI3Xqe+m+YjKukWUnUCVUxUsP4y3uOqc
oEqurHbeTZG6atqa7Wdwg+BVKBuP2L9Z7a79nM6H2IGdD8DNqvmglLdCdq33Bnmw8jrR8ZdmEyPX
fSsswOwVgmq12A9+Z8fWnWxucjorSY2M2hg8UoJXcf8QA0mzYXpB2Nva/BIMhosI39FY0yK2dSNm
OcTMpgn3vD7XLI9Bb1yn8OllnAMNwhWnDxm6SZBDt1Y0oNXG9kWWfDNlIRmvE8PcBLRhg+41LpRV
OHc25igIXtDxJT3H9L3S0Y+0Gh7Zk4XvRNfvrfFLnc3NUCTr5fGoRe/ERCuoJWYXfrrKyNydm2nD
ZuoUmewFAOedvwqjrZpHrwJhv9VzQTd+xE4gu6nq3diltlhsmhRz2VjYhsNkF3gUjepdqB3E5qET
cUqXJtsInw0uxEoDty2JTMW7QNQW+cA8fwxjCHnhs8YeS5+fij/w/rMPa68D/5VRQWAfBrz8EAiv
hfTdzPclmywPD+X9SirpXlWC3VlIMKoQkuhP37CaF2vDupvMZtUn3yLNhllhx85uKHjsgF6cpRSe
SptmxthBK4JHE5hwxmOFJFOSf32CfA/B/Lb0WI1Zdif1yZzvqnFnKjgUVDSjp+vWp6lb1m5kqQcy
59dB6i/ovZtIut0QMDsRfyuazTrxcS+qrkpo6Qg/7KL4jrphaxq3EwOkob4VcMqLUx2Pyh/gDxt6
M0sAxkRF4tLFcpuiXJf0ahoL4KVF82Bt8JAp0keD/Gfyf9fw5ugO189KwFKcYTtj0hZP76XoScAe
pKdVRJIBLbjSh/gRbeS63AiJtfGxyYmNfGsoz6pGr2oJJvXfWgB7OaivyMh1KhO3oOGWnSTqD2r5
iu0jvlOFM2P9IvjxrQHeNNYQkGvV08brMqcKEt96+T4KXrSoRxmTkbsL7Cr2XhtxKcylKZYpxT5x
ebB961oOKq/oBk8xOPoOyQZtqGMMyFC6a0EUqCwaquF662vJav7zTTerIlQ93dgH0x1zR6Vx2sJ2
qZP3hhXb4sWGCGvK6dlipYykaN8UUEWV8hqzSOqVatUyXeX+O4Y5GiXIJvrATfH0Sc3YrhZSV76e
rYTOY31T42qpWPjhZPl+il+LhHBa9TPyRTyaonfRgt6t3GX0Yip60AjCcJTKHC3OvNL8uXB6Pnds
0UQJNbaEDANXvb+PfUYdY+GsY2ezgLQ5IndK6FsdOLi4YBd5aqX/RzXwe6QTHNEozbyTCxh1DaTy
3I12wVO5Fb3GSY+hK37x9y1LD53LYHUpFvDM2VY2wEo1QzVklIUnZ9suFyFr5zATl7Nttuvhzzfb
ywDcGVT2r2FOAEbfT32xR5OGoQzfBZMYmghbmUJB7nfyJThzuegTHOIvsv5y079wj6KtZo7Z7LcN
KLS50/+vVZ6xhpPxfbmpIp05uf8e788B+Nd4cQs8AAMJ46N1doj2lTPaW8PxhOvBbVEMXbYL/nNk
/scdnurXW9iegmkwY6DauLML3dPTDsxSd76iqN9ph94x0SVLzxEZTwPWEHSedxGmhNBUrorcbrb6
vn287Ih4RkGFAhxGI9YIGragp3AXOLU4lAqPfuGhBpvSlXfWTbuCjrYZEEa3+9qjieQm69KTiZ5a
kJTLs+0cxvHXVZzgkyzistipXIV/PXnSVexmjniEJWZT1W8u3/U58ijjmdhx0mDRFPHkA56RBKil
yOsIr+YVzlxP5WoZE58mXK/Q9rm1k77hgnkp+PfszPs98MlMlzIto2haBh7udWkbz1sRU6lJeU2T
BwsjIqJ1dqJwzKYrLAi2CnoNHHsUZXVhqVygqdPp+OsyTtnHZSEJsq9wGRMqHMgc84f/Ff7kB9kl
e+FKvMKA7zp9vGQPf27d/P3Y/2Cvv767vitjtgKGJVrvXVuNq8Gjc3kfIcOVyECkB4QBCTTay/4R
Z28YLjd6aYwlgdL+XmHiIhDLcVE+xVd4tV3BC7tHxCo4NEnd8am21X200ollurCynVlGaQJBTza0
RZh3yiPXuiKU4xH6ugmTJxVGN+XglKoQGZIAYmR6Ybhz69qv4U5fa0ezHY0t9UY8PbUErFDqB1p0
oQV0BuhH6ihjV7tYm2KU8fejrPI869UuBOiHaaNaVATK+7+n59nbMLA8UthpNXxz/x6hGUgxG1VG
ENNdF0ZkpM/wNWbn/30U6DaLX6oGr/YPb/j3ZIySXu4tWOuycJNyPBmNFwtM7N+DnGmwIkL7Ncoy
MX+N4vtFEg8ywHcmgpKEgSMPj1G5g1Lo6NOxlN5DTT3EmnDXwjHLEn8nF/XOJ8/FiGV4uYmTZf6t
nsIBiazN5KfXVfHy70v8ow47XQyQ42OKpIsI1rWTb0NOcQHTYB+7k/TKY9qAxnhJUXgBWsj+wBpU
qIqTjDdzNOIbZnhhr7u6IngleueiZ6mgPvD1bD0FqXfh0v6kXv/r2k7qkEFs+1rM4tYNx5U5XEVD
RIk7eIicy1HeTjhyarmxUFqb/MYQjm1bOj1Od2X5ngqfQeh7tXqfGDRyhLu65/iUQwwtcxBijr6T
uC6lz7HnSwwsxPIGbErcLROI3rqTmJkTj9/moGzN5qnPRE9GVmXmzbo3Wo70+Y1sQZmIsO4wb5P4
DW4rqjt66AXgUngc6hGbQNU1tNLBcRMc5L4MjwnkNScYwyuNGmoAhZGBHtPoQTPeppzQrPCprSXA
ucdJqPZmGO6NHlxBKu1KKN0aL1dFwZZt/q7Gyp3mpymHSNY8DcPThBgqRu2rC5WjkcFaFQ3wU8Ib
hfQtg15ahmjTRIDrXh6Q39lyUmwL1HhTijdoN67Ac4G8abkrwSFqaor/ZjtxHvz3+5TPfdlkTBhE
CGgiYpGTqdb1VWLVco9+icebRSSC1LPX9/lebfyt3ljPY5Xvs/ltyj7l/trQr1uROtp8MYz03e+h
Zo+ccUSxW03JxzhHnDrqtWpOduyLtj5Jzz4wwL8v+U/P7b8z8H8u+WQG9i2Mly5MmIHbfKvY1Uft
AldI7sJk8jf+F10mIBV7/AiuqZEthwi0XbvunrN9d7Woryx3MSkqb32v2PSravPvyztzHGAJ/p+r
O1kqo2KeIsNgEcvGwjOLRdBZAPpuYsDJBeEvaYCQdHkhNOTSqKeLWif1qO7/D3XXsSW3riS/iO/Q
my1t2fZOveFRS2p6b8Gvn0DrzagKxVO4ZjUL6S5at5NwiURmZARqvelcesb0Y0HipgZ8raEMDsCt
JtoPNWs4K7F2hZ8OlXne6ZoVTYmFGnYsYpN3j5qGIFE8cMUA1u63EztfDdwnHrtGJoEIOsVWAPko
yFv0ubnXF41ngYk+wQCpaN0CC0J7P7exM8OTXLewvmtR2tVF2twOwMb5tRNJo9jKNMD7rV3b3Md3
9NUBqb5b6Mjj9QHgp+g2v8DV6Oi25FQudu1DvBNdeWN9AxfHG5osbnKvfBb3PDIvOryLE/Xn2wym
jC9aeh8SVLpBw7uzOuSmAe+ogAuV4BMNkDW2wfXJWL/gTgwygAuzT0Qi9DA4545xq/nxG20C14Cf
9MNt59d7+EUHxNSqHb830F/ieL2vHcMMGDUF5YteXwfcivF6hpUngpXAPtDX36ON4nbPkZc8J44S
gPPZRpvGPt7lR14ZfK3oDvUgJAokFa15FwJTQ5v0UBDC5dl5FCOXgWVARnHAb7bqRvumbDnTTIdx
McwTc4yn1BYlWrqy+Y3ZId+1DchdbWT5trqv7v/CI24luFbBuYcoEe0sgLAxDiFUZPSXZ9LXHv98
z39SiWbzDr3M4AJ3403k4Cllp8+8DMzaY/XMLnN8LaEdrbFFWtE81ltQZiKz7QoP+V7Zld6Iurer
8WZWXpnZ05Eyp3mpKTixg0WaHzF8pLljOzqC6MOv/Cy21YfrK/mVKWNX8sQeC7RJoSls5gT20oPw
OIO2UvOpRMN8HwVWhDyy1x0pMgVNxg4IikoPD0Y/9Kb70Nmkv3hX3IrfP51uNkPRARQjDdRboo0H
tdQMMvO0KWcaX66PmreurM/UiiwyZxQqkAqBPqZDWTFMCDbMjhCYe0gzcVaVLtqVSWYxpUMn9MhL
R6Cq3Wr+b5TKX4F4rrVQf4k2404DRwS4R/AdJ/eZMKOBVoF8CqCkJhDLWTD4KOo46LngxCIrwd2Z
IeZc5KSyxqTEBY3uFnfCFh1GC4VoTvJ15fI8s8KcBQOJ5rElyQg6q5dUBasROij+wUbAqxAUYcD9
g36NMdGnUTR0ifi7y77wkI8XHgxPtesXa1fcQoZAuuNYXDvgJxZZ7OFQqoURVgTp1uPgJZsmENAN
AvokivGZUIv4lyPUmBsxj6VuSIAFx400utkDJLiO1FU3W6ilIt/GTXutuerT8dHxn+zBEB2WaRLC
XuMRp3hodtkudREzeqJPED8Xd2jYdqsND/a4eqRP7TKBaimqegvOuRHB++RRcZuesuzs6DkD96zL
xYnz1pE5a0phzZNQwZ4oFAeIS3uxEoKJbZuRXwVqJ2aTOe3yLo6xQwbUqYDX+dpIf4uG8f+buBLq
zienhYo3nakrbb6D/OOUXPHr3/+XXdGQ/qPLACSLCuWRBuUVFuS/7IqG+h8VkHIw1yHliHU24Y7+
y64oi/8RAa/XLdD1QqQP+oZ/2BXN/6AnGP8foMc0F2KYf4tdkdkPYJCgDMxo3pDQg69fZNebRNTH
qUxFj+za1Kbk2lVAJtvKbNGvXPGVi5tmDhoMajKYlXRF19CtD0K284NWtVmbERDDeyNS+CZVefar
oxIjQjGBF3Go4wdDjAlI3zPP/bOUS9Q22FXVL7ZRUcV/z21LQO0lkCGSPVp/IzMqh0ArUgY0MgcZ
XhlK4RIQQzh50HjS9EX5nZT0W3iBL3NF0A9ByGtIigi0pImuhvMPsVrTEOqykb1afhGTH4PIgWSy
Sb3fBlCBw9MbBF4XAf2SIShZ+l72RNBYUlKp2FXvmrd+Q+5qrzqItFCyB2HOgxoMDqBE/skBuPsd
I5wRMV9uKwxQVxVwzgD0jFLW+QAbHdiEYsRM129wNVjjRbT7jQaxy+QHnw6ZLVr8Hq6hgvVCt1Az
YTW7FpB2pmk2yF7nGQAmz+54S2nDKWOn9Vt4+i/U6Jhq7pdRtD2BZ8MAh5duMmMcVB3MT4Uke/Nb
egccwSuVk0crSh/wkOtM3MJaspj3aI/enm6eYanTFQc0jfFEhTc+OWvGGY/FXLkLMJEV2nXRIL9B
P7E9BGjHpQzW/N6JFR8AgjlNp50uJkrqzMypZtPHaA+jy4XYHTqXIUDQ4Te0voIWSHTb9zLQXGiS
epwRrs3jiV32XU+UCQBcvMrwEMjALN+BzD+G20E7LWSdHBnMKBDc4sSca0cdpHZfXHJ4Cn4FACeB
hR730RgDC+ApZG8KGlIKIWdYq4f91ATzrBW1BlSlM0xYG3B9ACZvCnYUCHbnpBBK6NByVu7KY+hM
SCHUO8INq9f8KtTd/oyRzvvJGGckwMW+xQdQ2lr5ezrYDYCXj33vdM/xbb2XgmqreK1DNujhNH41
t0Td8A8k3TUnz5WvU3L6FUwolSblRBQ6DWpAOS4pqF71+Y8I+muumWEusKlPRbNCvtMbkuhVbEDf
0efoKAcKR7AEXthNL4JrxpgXS2NoVSPSMYFmPUhARwiBtUBE1kIICn+AvIl7/YisDA5VMxD1Ab+B
ytZXevxkJYFNLMxFLlUoMB3N+FNAynQ08Mf6dd3Omsf+upfA+IQGCLz8zrcMaSd5GNMGgCNU9Q0f
WKHqKDjLTXEwAsqOFN0KP5Xa5lhdOYynVllH2ipJisaZCk2pW/Ji+TggLuVaNO3ZSzcd2pq4qZgV
V3dmkXGqaAaSDWGuVY+mORea4YrtDqwhvwQPvBMIdoCHPVrfQvStcpZydawI7BAsoscEvPLMDOew
rRa96olKsSMp2H2kacuZzxWHiic7HDgEwEVIETKrKIyZrjTmiFV8zBFSSRvByfcRFCtnh554sgG4
ludQL22iWImrHpljaGbobFW00rSxIm0Jyh3jpxUprmwcSWhyJo/FX8CZQL8UsYSFUA2hMTt7TWvo
s64DdE3XrXpQv1dQfRGQarHuwUGD8Mn8ELi75fL06WAKRjM6/kJ7C4vByeZKhVWK9FY+EdoFoKWw
0xTE0RDLuL5yK5N4ZonGbyfnPFxySLJ1sJQ0ta+hnBaXlpNU79etsPldOosKpZWXKLE86h/MHlyI
KEyQBVdx0RNQU9rFe+wi/Yl86wItty0vrGbpY3/bQ2iBFxfQbxdiKmHbVV2rZdSe8gP8LU+KW93r
IM600X9iixCOCX2aXQYP1C5ym03soSTEufDXto6igUKefgE459gbfwbNFJgiFcUbdmQn7wBEdpVX
0Hj8bEAd5cWb/H76iI8qp2lzZUWRwjdxDjHP2LXMtUTCekmKeVA9Aep7rZo7guZHIFm6vqKXTgVc
/ydWmPsIRyKz6hRW1PrOUgsw0LScnblqQdJ0PG5FA4I4zDjyDP3e0TiBmnUsH9V2DLRK4nRQrhwz
FaCq/zPBDCJPhaZcwFfnhfp+7hrHHIkj6sdyero+WSyaiG5HFbK6ogxFXxW023TNTk4ZNmoRkQKo
WjVQ6GXjL9si3eiB6EgodRWBYvhk2lNCY2HkCmysTaSEu5yeAzzwWWcyhiJabFQYz0CYptWVExqc
Iuv6+PC4pEwAgNuwQBujqGrQ7xPVg+5n9DCCO/vQ/ixvR7TH4cBRraZIssmTFYhu5vMyCWsbHvQK
CB/AbA7nwmyUNNXBiEZvVjWFys/S52jHAP6z6DgxGFup/FpF2UTShSKKQC/LGOomzUjaGBOZL4N4
hyuvPxZA7dlqmQJVq8el4YGaBlyznVrkm6EZFw94d3na9FkiKC4ymUvQdEKkeksho61PBlJI2aRg
lQVaOzEzVP3CVDnmqE1XUA7W9A7dybPhJpMw7ywzV+6qIo1RDm2lqbT7sNWO2aQCoS7VxYRegCnK
QJYHSc3UWeIO/VNiHcn73KyJI1vCAIh8KzjXd/bF3qJMDGAXxLsFr7iL/lW9FLI+RTcICIWFm6Yt
ZoBSQM133cja7YF7Hpo89KbHDcIcH02RtEVYSg3eXPJLNwXJhPoE/mdH98WNuXAcz9p+OrVGvcbJ
YU3AUJZ1JNc8dFhuUhOYHVIDn8a7HWjAdx7Rg6sSR1LBjrLEi4RbB/lrtQKdNPJfUBjaJJ4E5h+b
wsDroOOGnzxrzD0PFkFNmEpYoywFI1Sp0NWzAbAGKErevXexJ+DsTgfG3PWWMegRRAY0T2q3Gggd
FZPXfc6zQH9+skJdJ0uK0MGCCWKlBJIkVtny6HwvH5Hno2D2nClkiwG0t+Y1nr6rUSoddiUU4FK3
3wxAFtMJRA8USFXagJueoDPEbA04UQrDxDxCp4yxTephLksVCtB0v5sR5NOUjQVAc/pQfDM/yJ73
QmCLD9SznRlktnwciWGdGDBIH2Hxt2xPIcYJcrDocaOYIF4CdmUBz+wxnlRSSn0pTdgTk+kNXGvP
vQbNluteg2eDudzRJ9fUygAb/YKOlvzWsj6vG1iJHmiABVEykNHouN7PdyFot9quMyrdi4f5J/pW
SgIdVE1FvxvEbK+bklYH88cWK0RYDegwHXq06FLyGxBj5FA/yj+QrWqeIPDmRa585LWOsKV1uikQ
tspwrhBDM9DGcT4+vS7KUpgbarODxOwu/0FZHkq/uUFY/Wx5P6Kn5Ck65N9nTz2om8Tt9sYhfe6P
ZMOVoliZ6y9RNHCKi2ABYK/etBGSMJ+F3+6r3arQxrVDFy06DnGpqp3kgaJ/z0uoXd4EFiU0ojJ+
eNhC9up8BuRsqGa0hWqeBkoIqOBanqAJL3lbc0L2y9Gd22Gc84CUGUioqR2hj7ZVWM3borFEG+R+
ChrvpuWFs50unRs1iK+G0gqFFDNbV0DyQ8xIpnk1Gvyhs+5UN4WX3hZHkA2ZB/XWvNXfrB3ZNo90
b/FeKAo9euf+jZqHNqKIsBjKsczOUudyMsYB492DveAwIPcr2PpufspdrOku3aLFMbHnbemCmNuv
Nyqqvcsuu9P9Gcmu5KeGnEK+ke30fuIWZKjpa5/GeI1q1JVZafBpU1oAc/sy6KqbgMNfJ9pGaH9d
XweeMWYZjCyWBnwd4hrBsnbdnKDr12yg7A0WRLBfhuUdyjoKJ5q6cCVMyEZ/fnJ5StWUZtKkq1BP
u13AZBB/XB/UZUaPMcDcXmgkGKIeNaGvy2Tcgg0j+UpEH2l/TuGTTYrk9wfvDrs4q4xVesZOhtWR
Jiw0uF8PdGuRPYXlbW3E91WEYub18V3MH/JcJ5uX7cgShagAdhk8ubHWehAa8UrQG143cTEWagI9
c9C/kTQZrvd8LD1uR73LQFYdjoMz1QehyaCT/vrvjDATZizdUEsxjKhK5gOYGeQQWwnrcnvdzEps
cT4Y5rCPUz3OEwifkbmmqn3ZzkjR7pjboH0O2gYaV7p33eLqAp3MHnOE5y5r1KbEAmUlWkuAoEcN
4t9ZYM7tOJqJTAZY0KvPZBwDZeYFSJwdwLbHiH1tJmqLSbOaJ42gb7x9Ie3j9VHwbDC3m5nk+WyV
sDGl1mvaN6/AYN4bcfhPLrc/y/H1uDs5mC2aN4tQg5l4gJTd0xRtcHpsjlNbvVFOjNCI+sSIEYPs
Zp5hBJJNx54kRxNo/aW19nkGYl6hB636InNq63SVL66KE5uMIx0bnN26xatU09TnURTuK6u7GQyI
JErIuEVdMER6Y/dqx7G7Gi2c2GW8g9IqdRHpsIu3v1+k4CiPiNcKlp3n/9IRfWU4T6Z1ac1BUBds
dAVdG5bSbSFdg/dczDmxqzsRkaZJGTIBkWHPEyASXW5gRPMy21rTOyZwIDP4sq9v+JU0FVzRHzvs
qZpDfShqUN8goi0hXuD1h7y2h/vuPQetneVUBz28lTxzMx/THe9Rt+KVKCABuoMIuSB9xZy2xhSF
VJ3wZiW5CjqZ/EeqcWtpK/HEmQ35/BSk+dSrYgUbaBd2FpTTZ1C+olbx2m8SaJX239FddF82Nrq6
uAkG3viYE2iOc95OGWyDWFx0ZGcI0swBT8Bod2gM+oxQygMJeT5zUo88s8whbKux0iVqtgKe2cDV
EoLV/fq24ZlgzptUyo0KFhkEy1V5h/LuvQIq8+smVg4A8D8ygjnUsVTkMM8XDiQslVoseGrNOmiu
OpBvV9A7SDjp7jUrEL8xII8COQOUB86tGGppSF2+6B4kTLdiKfmyEu/NOuI4fLaJAA9HCwAHCuE1
kRyUWRBOFZUiMRDCeNotaI6g30er8KBUBmwTvDXPug0aJbfkpk2+SnGMQz6zy+wFoa4pFxzs0hxX
dQMFoZ3i0kRNi3p5g0Kr+ggBHCcKjCC08810ACeHY3oQTT2kTvxuOvkhd0R+duUi94bSNpW4hmgx
Fhh6POfzXoxFu0yNqXuLZSsQ8Q7dZkJaHLIVHuHi6i52K2OM8QHgwou6coRmZYUCM9jNl4STBr/M
xkLYR9Ohi4jkgAU2XiagS7oZEjJVanoF0hKPqY4WUE9fxDl+CeMWOe/JyOsq0EGuBxazyHwUzdDE
ihRS24PSPhvMm0oTsoITAbDgcRUiR2epaOazhLKV9KLBA0BNII4zTrZaLYcseomn0ZbIt3DuHPDr
g8+Hc6ouA1xqGA3GKCPJ2PJs8cNMZmj6QkYTELfmO9q1Qawhb6EdMXq0qS575NU7uAaZyD2NWr3P
Uhik+1zLDoq77DPBFlqfYpem2gW3Hm/RL3wHBimjkgkSSZSkL3B8qGm1s9ig3ocuKHQcDF96sYYT
30jIwMi2aJcB70q5RBNRm8iBAk4AjKvGtgOoYyuXRY3yXHqQd9DImz5nt7OlN/qMgEbOhyIiB0Rp
n7M4ALsNGLXupw2vlCxdnF76FWgilyE5DhKTr9U4iYFikIhYVrnQ5yyoYW6ynb6dARSBelDAW9mL
s8uYYhwYmYVIyluYGqRjjLpGVFmcEOgiZv2ygIyPirvG0k3GFaFIVyH1IqJeYyDtMr6m+asxBwN0
Q6A15Azox89nLqT+IjhnjDIuiRBkSpsBRtsfxmOd2MV39RM5zOGmCyBn5UU9NKecfHEopr8OeImB
y9wpY56JTDqQxY9zDfONVx8Un8IMgTHe6gDEoWnhRd7EvNoB/Y1nFxFjkVlHsW5TeDtYNI/DS7Yg
W5uCgR0pLBVtSLR/gLdJLwI/GET1FWRC6DDTkB89v2GSLuozPZdVD1SkoT9B9+MO0r2JH2kAG6ZD
VTlNL/X+9aBlbVlP/R7jcCFyhZ42cISA7CkIi1cyfMtLNPW+D9pnC0D1dWOrqwgoDlU/RpnxosQs
6FUZ9oB0A5SqB5qP5vZX4yZG8RVlQFqEQdrM+Hnd5tpxRBoG2HzEZgBQMbM6SZBj7wGp9KpEfOxE
0HUpWvV53cbFY46uHCXC0JGLxbuAmcQpgmhlhCqDJ4J0ypx6H4G0PYMTUjA4z8bLe5sxxeRFUujR
JzWUdIF5awsHiTLIcCIiA+RnjyoatACvj2zNcSKYVdE6j+YFNDAw4eYkN3GIQg/OnZxkW/TMCvu0
kSfT1qwcHAFpZBV2Vw1S6WOC8gA7WL2rlsx41ZYIbeLXv2blhGD4FE8lAtR44cXVIhRbI4xpSg0i
YTm4QHVR+DZp+u0oixBHXCJO89faLQ2LX1wqhowSAutqZ+B/ZAuZ5NEfIepcur2EvBcFbPZB/J4e
eb27Kzc0sA+QLwFgDMqZX+Dgk3uKhHOh6TSpPvXw5OHSur0+7MdkVHlHcWXPwhKaWERKF4PZPPc2
GskNq1KoJWd2pxchdpctmid86ybZhj9M0DgcIGiy1zhLuDpAS5Zp9wzAF2y9TbXK3gQvj+YJJfEm
sIrGFurlkMK5vlPWzgmABghy8EJSgQ5ijr2p1HUykQjV5SNE76DyJUMA0YlBUHgvtLbU2URGyocT
vq4NDhgWOAEMDToajB/oxBjPQhOlACkKwQ5aHjOwgVbQErw+uFUzpiai8wbtJqDSOl86BR4bEJYB
c0gek3nXiTfqzPMzKwETHjlgNAfGHRbYgCkrZSNUIqwT2YVB7UNkyB8OICsFffo/2fPYg4C1AjsM
cRDqwU/2fF3Hs4EktoH1AFOAADJW9WmJeT2Ia/uddm1TTdqvBnXGSl604aQmhlf+gKI4CDtflmyb
QcLv76+NhSgTqEX0ReH9fG5GnUk+WAqyUwYIVDv1USn2Wvd83cbKnY3GGCTBsMN0lP+Y9Y/FghQ6
GJ+92SrQDwBySdCoPKdKswfWIVB0oQMVqcwDma6UhABkQP+RCaQQTi7b69UI8TKZ3WR4yqPxqD+r
OwMkZoJDoH12nH5QGMq0qXlHauUComEu3YLQakHdmJlQMBaXi7Vgs4fHGR6YtlSCtTWQvP7Ia8yR
RSzOeciHNjYq8QumQxhlH8Ul4paqrWFLDurD8ELxb2FuD7oNPvIAKVoL6m0upAINCCSAnfLZ2Gav
15eW7nXmC7CiFnVZ+ANAwvn2Eep4GEEvjBySnLyDb9YCy2ykBNeNfEFPLqwA62CgJwCZDNYJp5AU
1QWxQHrhU/4swFO602xwH/9AosU3UY7vDsRt/BE8cc7yoB2bAxUbNgQ7d6KP659y6cogwfPnS1hI
RDEXWRWBo86bFRA4k+9WD4J+XmDNM8JMaiuN/QJ2SR2E2p/DCM0pyU51zsJd4oT185HI5ytHZTTQ
egkjciD90D/1F+E18UAk7U9v0Z31Ob7Le/To+denb3W7nEwfczggL2SCZqrUvVLsHUt/inIe5vvS
bZ4Pi3HOINmotFHFsMxn4qRP4WfpDgB732RO7/UvE/5ygBl55d0JKy+Fc7t0TU8uhdKY84lABdeb
/TAAs60JYo8ARFi79qV7Go+gu+ID9i9LC19rCDgDRXvT8OTcaBEvbdOKAANJt6M7oqJfUO5Me/oV
IQMO0nGcB8mRwAbkWCDT4T4AufaZ4F5t0rKOFixniP6u1gWHXz0i5oTY4Z6+kNIH1e093S+hqXPk
lTbWD8mfsTOXCtgJeugoYuxd+CgVT7R4k8yf17frqg3k1tBdCZogBIHn8wtdWcusRIxPF79Z8l06
mG7Ly2yubtgTG/TnJxunmaU+qwhsIO/kidN9HMUAouznlldWW9+iJ5aY3SKFeOVJDSyNP+TPZJPd
o+fiYOQu6NVdsgkdOag4Tob+xgu/fWKR2R8ROArBy0LnL1ucOt6rc+pAndEoPjqj4wQy6w7txBiz
IUghj0sxfA1P8ZEXLe3qPb7VwZpp4BBGoHDK3PKXxe3qoj7ryiDZKyE3VEHNNNilD5MIlZRNEYAC
A5L3i5d68T2vSr/yxoOr+TNQhbkeFr3WxJTOan5ovpdb2UO3IdrICghoBz1yWbyTdhm+ndtjbgqh
lUTShXBt1mw61fSZGfuk+FFVT+AT98KW94TlHIivgsvJgbDQoD+lOl1Hy+72tPMQjD6ozO4tDFK/
LXHvooLyF9Se6DguFhLkpwhQaeqVDYWFCoRgSQq4IyWCwZULUl/1trbB7eiWDg/ouHo0EDchbSZC
AZQNnBSxbAstg7G5xZHHvBajk2XfRBDLFzM3FL58HWEJT6wxS4h+q0KURVgrDwWAlFUAefcf9HUE
uVznus9cu+LRCQ9vibEZyDOd+7NMaVVxkmfdSztFPgpCCiWVqOPdt2ue+dQKc82bYSiZVUmA5bUK
p40O+qDZHXn5B0NBA6NmAjAILDBz0EZV7PENKO0ZWQ4N5SgIJ+nxH5gA4pW2G6nqBegqziSDmIgl
vTbO3go92QpR9P26idVbGoHC/9lgbph6zNSY9LAB+ZXCRQYl0e0BOb/CRVVwayEwKkFJCAdSQYwI
yiIbfo1h7UyffgJz9QgEnLVlgk+Q0vfGfCv1oz5IUHTh3DerVxzkJSXkoiQI+bJZgELQ6iYGx70n
v4f3kmu8xpQq3VVvDWIjze/EO1715LI/B+PSLXR00S4gAAyZa6dRw0VOccAxu2aAelH+EypkyQ0t
GlFujySQ9uJLlTjdAnrbQEhsya4ye9xH2+mgRb5YANrijN9nlCZuQf0PMaVNvP8nrAfn38lSKCmC
aKKtBPXg3gf7QOLkoV09QFnRz5zuTXyc3iAOtUmXQNhyc7JrjvVkii7YlGpJzMYMUzTXUPHoodak
9s44R7ZVQ5elve2I5ipJbpf5U2tsqorXubF+Av6skca4v0LroGGh4gNGv3sxA+LpxU79RVnbIW+y
w42iJrah+LvEDW/+kac6sc34Q1LE1ijMsB0W8b2W6F49g0s80jecU77qEU/sMB4xbgFHE3MDfnc7
5eBfxZyan5AYAxMdjcVV2YYCcfXIy0HwzDIhMtrzWyEa6Nr2aNQHYD1rbtOUFxPQQ8Rezac7iHFh
uG20fmwwuP+l66yfRhf5WFDLhG5vw4O9QGqudCAxzVWU4I2Q8V0KVFigq4KDM6hP+hw6RMaDKh44
1+ZakHU6QiZU1vpsKcIF8whAwWKLWr7r03Q7zMYOkL99PTWHVi0599uaV0YVCHkVChDBU+r8qk7G
UK07owUYl4i/2n64M7PxkPThRi94+Oy1cOfUFHMCBXmqI6Pvkd6WK4gfdYdSTCsnz62f+WDeAkPh
cY7Dms85NcgcOws1pwKgFNq9Zwa0+hqDT01+1MA9HPkWJ/u8tnhgYwdOAS2hACswxpYMCt+EZoRF
hdTAB8hZ91CrGniPIlOH8LlE+sWuITV4J00QBHSvj/Wy7xyu/dQ8c/Qlpe07SUwNMLDIQXJDPPSd
B50zPBiQ7gjdchNPLgGRHFVJrRsbF4xnucnH9a9YW2HKM4aMpGyAb5O5B3vQ5QlosQBqc4ZuNLFB
9+pNJaQl09LJG/+6sbUzaaJggfIoZZdgEx91PU+LNSM5bjYgtx5ftDKyhbKw/64VRBLQ/QBH8BeS
ilnWVu+mZWxbWAEKx+9xCJ3FMBtvFP8moz9gRGDxxzOAbiDZhLD5+UmEwDjYnMLR8KT5JkrRGWM9
1JbJGc7KCxlWJFC9oSUBjGtsaF5qWl1qFvLw0w7J8PqpfoI86HZ+ELR9/R3iWlCXcBIfwMnt9Xnk
GmY2aJ+ijVhIagMxErQEVUffjbeNA5FQF9WgQ4bemuhH4vPSqPS3nl8a58NlrqYqz1JzaSvk/zPN
SXXRHmPyj6YU4ADUQIFMu2DhwiuuElQRC9dCs6M9GG9GBJxQAz436KnJroAC0Tdw0EKohjOlly4H
g8NWoV284Htgj5tU6WJu6dibEOPudvk22pcQgnT6bQNWGWuxOz/Z6m8yiBaReOQVRVdKK2fW2ZwH
6p9t0ZYEJ+M9JE4oBYngjdvSFzzyM+k2UXuMNy1aBLnDltfWFK2PwJKiDoA+1fODYkBA16qVxQDr
GbievAWZj9AvAOHJvb+QX710MxjmiTX6NaepCGDsoNIFa5ODFnDFVUGD3TqFN+9HZ0Q65Lnx52Py
GAfXF/fyXj43y/qdAQKKBYFZ3crdJHkkXWNLLcLm7OnfGWLOZUWkUJgWEePTqwBymcEgxJsZgq5Q
aeD4AN5UModxjOclVMgMdYz5scp+5WAwSMn9vxsOndeT5SrAzFeZEmzI0n0o7ytIA/Xx1ho4ZlbK
Uefrw0SEeVRCN8LAoY+34k7fUbp4VNoQaSR45t1k2JUmEIKzZ30aAUgA30RfdKmD46VaEFtwjgMT
NeZSSgxQ5aPYaLZQtEM7SnqXmhMpNrqWwssPFWQe06lpxkO/pNnB6HrRt7REve/MWQ/6KgSGCfCA
rU5CsisEU4cSjynfaPoIIQ61MoPMUOfEzq0pvWnUcXoYBAkqpE1nHjrdlLdCqJmHmhjhZkgscGla
ZndIi0Vx5zEEqV4zjR94s5CdsBRKYIl9+BFCXXVv9UW41ZooCczeUG6npW93fR39UoQBoEsDiqKJ
kUSemWmd29fWUwJH68yL0LrTkJe3WmdB7CUBMHTu9dRJpjze1HnfBbUxdxCfmJTlZ1HkZJdMAEgH
XR7r90o3ZaY/Ld0ERduivZuSurZcsZxw8SVSnByNTDEg1jJoAzSXdKvapvNkPQlGk78MfV4/RBIh
z7kVo0xeifKuGWJjv5QkrWxzTlT0AoSRQoJIGpMbeSybWzHSpBsTupMbgHJ0p5Vz6xvEa81fSxgq
gPVPOpjUjLHo8KIY1KMkNea9lc4WKjZims03RiWUL4UaQ2VErTPypEOUJRC6fn5W1FrXoAcgdkFr
kVB0UjK0vWss7XAwoojiUstQDcQ4L9+tcBYhYK2nxVOE8u1RakTTbbq4d81iAc2hKfUfYTF1bpq3
2laZ8/CjbGdzj3mZA0lBL0c2m53uKLWKEqFZdKXTFZP+iB63SQ7ijljbjnTSsz7FFiQ81SIWvREq
uN81Mjcf+ZjgfTbUkGuR8252aoy0sku573NnSFKIq8paqD+UoFKBbPucRk+dEhWDnRRZvJNyXXmO
IfJ8nyBp6/bd3Eh20RThIcqayEdQkddOlZcZRFLxAgVdcWQS4MMhz2N1UI61IWc5FQ4EQqPdEmF0
5oJ1GNK+B0TdSHwo6olOUkyVp9TyaIcFuK7kahZcULEIriWOsldlCOrjtJQdE/3Me6HqUTysjfFB
GMbB02pD2pq1SGxLVoVDnMxRkDZ18tEsSXuA+m3tm2GfblSjn5x0GuqDnmiIzY3YgqqlJO1ao088
pY3Fd5i0p874BnzjbQWctUMWMXRJFCXbFvXMYGkmc5vRD5GVqtoOYt76siwADyyngB83Vb+R41QL
igbyukCdCaj4CVQRGSwiAgmN7ajF1ePQQ2lUmAaoxjeRuUvTPoL2JxBxQFpPjxLAXLLTE72G5oKw
LIEcluE2A0Hwro3nEoKwPXAF4awCjFLXTplNINaBfLhit+asWX4+QFFnXkh0H2shMvZGGk+t06QE
Qq+m0gifRISqTTl0aNhPW8GWQYV3r5ACPefGkkeL3ebLcoyqOAsUkMZ8A0kYaIqM+E1JwPWUmRj8
NJlGCCHk0XDRNI1iQGzYQu9VU7dToOQTAn8AzsKNMcXVS6/0qIioHXGkxISgYIimagLwiZ82luyn
/Tjcj6ZUS3Y/E7JVrIW41lCVELGf0w2BNpJN1D0BiuRdNDMCyU/Z7huh2FRjKPn48bhfRjIXQd/E
5F5uQmEvimS0swgqqQSu9G7MrRQ3aUU1Wc3uJhoKEyXKtvfTTISeKImXbq+1A8476Iq3EQlBUTYm
mfJYtHn82UdJtB8rSKKrabU8FC1EjqsmrnxzXqybHkxDjiBr0UNGBCo9ni2QzzGEONDrvvBHYxne
2lFJb0xjMfdFa4UPQwxJWCnS5kCfkh6ayBW5M8PSdLSoVF66sB6eFTKBUgEslh+kRj7ASeo424di
md7HRqiDoa0c3jRBrhzAgUtX7rCc1hSX/kgs8q4qHfS2U3HywiqZ9wuSXp6U5Utsa7VeB6Hai86E
SNYuY6gq+apWDQhdrVh86MBxuzwsRg7F4XmWs33XZsY2JaP5TRdHItvo6pg+csmMMfiqvSdwLW+t
VUavBVEXaMTH43FMlrH3zAmUUPbcYDQ7KxXl+WBOpfYCCkSptBdB6W91aZB9gFXSn2A8Mm8LbOLI
mbJs+hgMiQSjUKQdhJxlCbKT6HZoXWBMU8mNhyYVghCsSe9ozbJ24xJCCCxKoCKbalD3AdORgWRb
14m2ImbTJtflZTfUeg/52SmyIMkgStA30yc1yAsVGo6VbkGNq4Aw0iJOQPtV3V0+tb10mypTj3ZH
EgujlxjV+CoInfVoDZociNDyBhk47roaz3goXdfOFP4Pdd/RIzmupftXBm+v++QNMO8tJIVLE6H0
VbURyorylERR5tfPx+w7dzIYQmiyZzVAL7rRqDpBijw8PPxM2kTc85SXATsW9sSq8TDjuN91HdzW
Xdal+yRxms040vgPzkb3mOUJ/J2LzHqMDRLv8h4HSlKNyQuS9ByaTgcGyazzrdJAEGLmPMORwvu9
ZvBqNzAQXHuUogExE1Q1sUM3BNf+kGZw+QBupj+4lVZH0MyIH6vMbP2ynH82FRRhLYtZAbJ6itNy
Gr4Rp2BbPSfwzGxnLxq9uT24iWNseErYvUuVR3dQ4iDzeiidtDqUp0juFeBpWlX8WqZW4viFze27
GBgWaGTPpgqQ5GgD+uR6xDnARktDRZC6t07MmzEwm6ZsfTzm41MplTpo4AWnEMCyYhNFosNb8uD2
NhRqY5wCPjUVKNC7SmH/UMyKZwF12jioDIu/aBNMXHxIC+cuTN91DudtxWLPuKTR+wHu1zbyLm/C
eEDD0If+sLlDpht9R4PZrUYyO3Q0wiLbYDgLoFK+UVVF3VX5PP6sShyE9VgxY6MD1/BswtC58mGw
rTowJ1Z5EU5GPE7b2e7rJ3vua4AqhqH7g63dvsCJVvkCuSz+LY7tpvJbaIZtZ9iC3CdFDrdwA1Aw
pykJ36vlEE+hO8bafmYVapE09nlpwPamybSHBFQq6PdBbsVqWr82m1srjgFGzZg5hSxxExKWFq9M
mCFXmec3au0qx7Fqxn1FGmG0zuA9NsRNt881w/xDcNSRIO9IfYDHfPaQVwTcnZyN33IcaoFT9dNu
ake+ydp29NWE2iFz+A/uZPQGlEIAYYmOkznLQO/MUrXda1bVwHcqSX8Y5mRvEwqbtmoGwCctsPUD
LUeNa5I6/4JCMiuDfnZgIJcOCZz58sEqnvC6lm3VoSr6TV/gOUotlezVAqUsSFw3/UorDziFEgZx
Du5cMQrJZIKvt9fAb9udtr1F+6AESHfv6E0O8HyuPLG68rZDLw6Z/BBPFcTT/lSWvdd0lCiKo3+F
Qunz5O2KxByQalE0a0Gv6PZ9jOaStrVTx6SBqTbxFqX6+zNE3L55sQpFkkGjx3LA9/XjZCiO/Zw2
J8vozZDYrfakI8vtcBYVW25PU0iS2TZ9lhdT0JnduAFU29zxVAfeYXRatqF0KLZpwThKOaAWNzCw
QfGjO91h4CYe9JHGLT/nFQziVG70G2gzsANU6cqX0qWNF2hWbtnoZHqYxMHwdsQyYDGW5ewbG1Mr
mBtaJzt8BHePulo7oXHHTkPFx2iyWQ9H+5LaO1TA2R1SDb8p40b/SWjsCpvBQf+Te3XFgoKQ7s/1
K+HatVPqSs56jMakhat0pY8+TxJw9IoAZf3fiGJCiw7tSOgByhzX1OV52XSIEk9mOE6/LB6HBv3+
+SDQ5UIIvHYAnyDdOq12ylqP4rLO4m8Ge9AyGJybP67HWIChQwPEcoXuEB4FLoIwnVmz51APNiRw
kIm0fbLJA4Fe/XvyxBBn/RBN7uaUqFZH3qYeMIgZQLLb/AZy6Nt8J1hS9FUQbGDpePhvANcWOiwQ
ErWE1AnosbCxOO8UjHauF26HudR381bb0oj9Km+UjbAmh9/KN3tr306rvm5LXbOzqNJt3WWt3swM
UclBuAQIEwi/3qW7bss39HHcNU/Vbq2XtPRFPwaVVedxGma4ODYeOpRj2P7q79keN/Hd+B0q1+Ha
RliaV/TmAJ4RRGyQgs/ntXbaNs9ibARPw/ExPMAzNHY7XI8+zfYGbeljIGlfZ0Zc996AUXWbeOcA
KPRaH4Wedg4BOYMG8wMH7tDco6D8JxrqUxYy9+nPtu7qP+zfxR/7CcPDNk0I+///fvZf/+uMZjy0
l/7v+yCS3/WF0Uz0nfbf/+34e/i3HWqj38hevyuWsunw6//9HxQy+M/vHcO/Wt4/AKBCRWHBegNL
4T8dZzRT/QeANND8g0kudp2JP/JPwxlF/QeQQvBYFU1dkETEn/uX5Yyiaf8AJwZuNKBbQMICxIvP
eM68o3b+61kA7CgwHYAXVwWeE14ssre50xl4Ss5mGqE/BtCQG5SwF5tg4SbYRE04DmGOZv4R3ks/
dbYTYosqPCiMVdwghvvheeI/fwfk9VwdDmPgap/vFZ02PCsN/I42H/JN2/d3pTozP7YKWMi1mgVv
UkXzUwdcuSnNTdt3xl59NEfbPQ2dwk+48Xkb6JoMa6zrc1bBXz8MKHuooggoHL7n+Q8bhlhXO3TB
IsdDC27C5dIbqD+Uzx3R96PthSO7SZzK57Oz8s5/flpfRLbFL/vQwCW6WrMST8WR5UGXlnAKpF8G
dV81GdaEGkWGl1fBh0HKR081TQMqs5FGtT6FRT4dre45ZtpbnSKN0JX3YTFjl8GQDx3giLH2pXcE
UtJJc2aK8zS/o1YfgCDiF3Vz46GYy6h+5+CWr7fm7sP2jP76+89scM7fiP45nbAcMkCKckDTFSvw
w3TW2YzKcE5oJIxO1E2H4sdPbstNuikDB/1pG5LJu+ag+2TT76/HXvySH0KL//8hdKxolJRFRqPG
O1aFsrWdZF9a0+P1KEtbCIzyfw1Q2kIsdtEgA+srMqzEbxvmVxnzr4eQIGWXkyiVCrkxZZx7BCVC
sqHQYq3xbslxGYI00TdvJzCU/W1OttejLk2fh7dn6GCCWYNL+/n0ZV6aT2bq1lHOHmOV33kN+ggk
Cf9nUaT1ofUJ5ziucV/X6rAh9n5M0tAc1rTrJJrS+xTitR9eTMJ1CwWy9JkKJaunMcvFOkStxYM2
qh+Uo34aIvrWQz4C2GziVy/5k3I3vqwboS6skrPw0heMvazP0yalUQKkV9+CCgwNyk/P5FkIqbIb
VFrquBzTyBvfquqBzUXQrUoCLSwK+JXglIR2JViBnrSniJXZadJbddQrEJBKngarDMnUryyKpdn6
GEX+WB6f0ZTDokgSCMcMSZiOa4lpIS+dDUT6IG48qEK9pI70NprRGi8ztCmUXWUDbO04wTSwNeiD
+NFSAj6LKH2fCRIqpVEpdYRnO1/NgX6uX2aI0gOcvZLqF6cPRY5jGWAcXqgou3leNEA71NFgPYzj
5HfQnby+1hYjWMK8DgsBAk5SbqBQX7fsQq2j0nmakl/VtPasuBgAcEjAGeCtAozBefLp5nZoiMvr
SG0giKq1Qd6PK2NYTAnmhxjSWjYz6NjZTV9HwtzVhFIEemTMn81981vQ1YdQD80fnh0UcAK8VX+Y
P1rTX4PuLi4KsLpRfoHdjTR1Pk7spgn6Fl0ddcYDYXbgWhExuT9Oa5SGtUDSlkLvuOVK32D14emJ
ed9i0zqk9dfU9VZKt4U6w0A9+a8RSRsr60nsTh4c7tUbcZkW6t3mNlvFPC/u3w9hpN2EznCDbj7F
6cSZr3bOJuuPBnB9fTyGnqIF2byWlJZOYQMAdvwD3X9oY2jn32rEozZeEQp8q017R4L2lD4I4Gdy
gLvYBu8qRbCGHhJzJaeMjxGlms2sWe15pKwjCpded0Av2rn16MvcGf6wypCXWgN/HZFQtXqXHHJh
Sy/V3OgK5qmtYc8JB2uC9G77FObraVAejJvmeTiAOQ8L6euZRNI6uogq9wbMFtcMcxxEVLwE7Kt3
xQj+POIVMLJ/C+FtsRX5d+vV7sL+CWJ360o5YpddzDP8aHAhRMYE3f38yzqVwSAxjjVb4GnIQp0/
Q35WN9bquMUwsITUdQ1aiOBKnodRDLvqpiSvI09NfYu/lspDj3m+PqESNQtXWxzMIuvjxQ6eVxcS
1zkFEMDL5inSd8pJ6BCk8JSnG+V+3LCH9T6WvEYRDjMGLyoogCFRy7tCbUYdLUGzOVW92rXipUeb
QwrZtznMhsRkuyqhLT1ASKBvPyUe+D7Ss9DS9mjZzNKBx/RkGAyPvKZ5Y03mkbt6t70+p3KyEWPE
B0NTGgQcHRzz8w+He+g0mnheOZHW2tWzy9E+t9rAHZnlZwqf/VRXfnYDK1aOKEna7a8RQqccHHoc
hLgGS+csc9rGciinJ3Nq4CI6t0Xnj4PpIeVBvOUti6fmpq9b88W1kkb1oTYAsUbdStc2qUhtHzcI
JkBHHSGE3lRVv4AYOsygSe7QKWrK0i38zmbA8WtG8+ioHV7EHJoD3uh6GaX+NA+8DC2vnNrdXAI1
EuC5bIr92anmL2WH15qwg4TKiPTixfclV+wCb+e90W/tooU4ntsVnRX0Oc2B8hgJa3fXv6VcWbwP
BcYpSHTCWtiQNiHXjNliTTVGXdPA3rmeutsuq+nK0pSPWxFF8LXQS4K2q+VIS7Ouc1PtHT0/jWj9
Jj4AfLz0bbh1HF28b4POp4OKsfKV5PSCmOjjgMqnA5kI3TipZjI0j5FYdfqIW69q/kPlN8P08/rk
6Qs7Af0z3DMctLBg3CydgTOEMzu75kPklakCRCLeI8E4Qlq4GZRcrbaQrVO+QHqYaQ9ZDDCJEpbo
xlq/3KJOcN2H0BwLuzZuetQgffGFGX0PK7kZYPVAmQbV2/Z4F1ODUk31LsRNOnlt9HrufY01+VNB
q4z6eeoWzwpaf+CR8QGrfvIoO7UxgeKh1WVrblwLswoxT1x3IFAKkSEZFl1brZNZAB1Eo/5YekSg
+UxrjRe9FMRB1kYfAQQuhDlPMEZc6W2bFn1koMsEflI/sN+tQfiLXRR1u5JVFnaAKwQ70LIQimK2
tE6mfqrbZOpYBCjJCQCI59E1Vm4gS4fQWQwx4I+9l6LCc7GT9aitjS1eqMU5DjCdBe1PbP0WWnfO
WpJa2HIg2wHFrsOJWPglnYc0Z1Mrx8SLj3rfewenI/Pz1PfpuK0aopONWTj05fpukEtdbLiziNIm
7+ukVOoGEynMtEFZ3DM0/PPtGtn6cnGAWeHATg/8Pij9yHehwkh7XppmfKw9PWwm/aizDM5Xa0R5
CSEvDhtIUMPFFka9wrtPppomyaiSuuAUlXv1nHzndx28MdCn20HuvQjmwh8ObaD+WKN2Lw1PGGdC
ABtKphf6dhNegTtnruIjc/W9h9VugSlvFitl0WIUHOM4x4V013ti+7Ag817rGanr+Ihar/XpNNwA
9HXMDOft+pqQtHf+mkV4x6Iagi4TbsHSMoRwnsabqWFR585Ps9I/DHR80Fv1AGSIb6oZkFwUPuu0
800he6zEnz7fBI8KjxjQuhRloHQxsjo00VpHx0CT9k6Dn9ow8ZUEcnkIoHjVoPaD2wIs/S4SSGXi
hueglzaP5kvuVK9Wrr7N2bydB4AntTmY63KlArvMWQ546gaakWjgYY1IFRgvdN5Qp4yPHYNkX3to
81/Xv9vl+kAAWKkangXVQwignWeP1ko1ViV5crLZ3dgf1fF2ylb0chdDCF4wno8cfCRpZTS23joV
EDdHxUS/yQNZYvKn7Pv1cVxmQbxiwbEVfGCscnyg83Hgy0xp6RhlRCFGYua/c1UL6hqkz5XXz8vc
hzig62EnoSTGE/p5nNaNIf2cz1lEuq9ZMm55U4cwKrwD/9M32GvtKF/G2V4JujA4pHZ8fjxWQZfM
le9puEIk/awVUaqlXcjn/CZR4oim7qvRTGPwqZm08WtBWIcJlKjfhPbK+QizpqAjY5l3Itofor6S
tPFb9tryw/UwYqI+lNYXYaSFxyucZ202uadMNW6Acap8ZBUNtSKIQoAIH0aISH4uF8ohZeYMBPfa
YqppfJocOAzN6ga290FurMnfSuv9Ioy03lE0eR3oiiTS4FTpK9p8M+oNpF4AwV8ZkJQdLiJJczgD
8mgXLEY1U0JObe6+6QTsv+vfaWk0opS3cT7qMGPUz5cDTWGu0kGk82TC6zErYJ0K/HE8rHUl18JI
Q0lrYPnKPI9PQxL/itujpdg7Uk4v1wcjbaT3CYN8JWolgRS6aK+atTql4AE6J9w8/droXgsbAOzK
fIlV729so4+hpESRUxitVHVGIqj0bod2PNgwYah6bT8OzdohvzQsaO2hzQ4hhEudfze2S6DBJudU
NPdZcRpgVwCcNUjn1u76/C19pY+BpEO21JsJHLACSzufNn2S3PRNs8XiW0nmC+saeAQocqAPjle4
C+0nSBeB5+AAY563vxs3u4eb+Zpk88JQzmJIQ9E6MlVK2XknmHM8ap4/bNSNtW/uhTv7PPlJ1Hb+
unWtVEKIBYj7Dq47mgs42QWHjhhxp1O9SKIZqNCh++aOrT/QLOx4pAD/qBcP1z+YXJZdBJSyeW9Z
I8RaMMwMpgzbfAN8/07fBusiFwv5HHUsnAJgT26YF3rxbU1Aamk091QXqnEwjVgPi6Hwnss0LYHr
nMttPNPxc6XF++g+BJXbDenQNySPBxKlLh4t0KfezFb9K9XbZLsyjwtb7OPwHGkeHUYoNpmpnIQK
Av2a6BTN0sgwD/y2gYoXjB3qQ+Pcpyps70E4+fy+Q5PDcVxXx1UFReh5EvbMOunUuHBPpj7denEa
gtAcKYP1eH2US3viYxhpkLVaoN1glfEpGWgX2MkICHd/28bF54Q57L++24fxiNn+cCtpkklDrd6Q
KFOqA66SewXEL662K3WT3EcUcVwAP6AEir0uVJHO4+hepae1SecT65WTosEIB1JazLYDLvTyHOdO
t18oKyIlW5OQXZhKF5pC+FbAfwBsLnUwFQ4sPGkH/WSCe2AwtIYLXCidaeWUWQqD+h1dGqRJXHqk
spepRdI0o2udihyQYhiA0Pyt0NfeY8Q0nddqhnjzFs1YHVItcgWvWFkJTHrinKp53rYpP2lptkb4
X4shfapUTWMPHBrvhIMbvh3AEeYrCCf5oQerAVUtXiHEEz6UU+VOSdJzkmZxNp+A/GK+CfKZoqBB
mzyOib5BUv7JEzTyq68Z/xGjxm5ydQs2TDAoP6Gv++kPJypsoODwgxwHOlfnK5OTuSItjDDgUhsj
Y4BQAHIeOFSfrt7eC3kPhRtuxheKYKbZ6Wk1jNP7MtTtyR+8A2MrWVh+IfxrYnFS2+iP4lFcXuyt
S0DRMyCxMTo7bTpWB6j9QhyWDd8sC8J4YHUEw9vaU/n71VRalXio/q+oUhKpwGXJK8dOIvSOlPg+
o9XYHgrgP0Da6FOi7iBOzPimIN1LmQ15fFeZjk5PTuGMw6ZsOK12pWJPbMfmfrKVoFLN7BcYucZX
ag8u5BiYPYDirqiN4XtjDButEdhFssk02jVvbg77ud1QamqJsrhqgGJMMrfaje1g5psYUiNaaHiK
w16bcYpP8wheZIjZy3+VXtun0F5qKc4KnKjf6s4s+gOk9dOTM1oNSCcJeqZKYNPMVm5SDxYesH1j
41uvtZ7nw8NPAdFq1PLYJzOdX4it1MkpG8gwbXJrSOdjWuVMu8WRnOE8GtABNA56StxmX/U0G3+q
ZABhpBE0sbA04rkM4BJA661ee/Uf2PsM8O0ayjS+7zWXxsRvmELA1UBrEVZpDJf8O6/vZzP87OmD
vYm2yvshh3+TclkKxqIbO9w8WfObS4ogbsEt6YfPbzyBQTWAeYURO4Ct5xsvq10yTlTXT416ivPc
hwC3r9crzyCXaRlDcV20mYG6Eto050FAQjE1ireEUzZDk3YGwnA6ek2xvz5hSwlNpDShj68LeX5p
LMQbdE7LbsbR5kNzbQthUTQu9a9OMGyn2gf7+Z7crKHaLws9vAqIJCokobUL776UUyyHAmdqW9Q+
nnUhy9Bv6hmeAGBJlvz39TFe1l3Y4GgOCdNt2NfIOMqBVU1aaHw6JXA78iBcp3Hz2OvGIyQ4/kau
BKEWj+G458I2Qr4RNEUNPxzkyhGbI3NAwUQDP7FXVJIXzjm8GeM4xQoXIuXSKodgNxDtFC8QY43O
kQlq+7y5PmXib5DyolDnwHMYGBawY5OOFm8cuZNDi+FEnB+F8mPW2g1NurAx36wErFy32xTV5wtU
AAiQoeDdhKfiCyl7dcoqZ44r5QR6UkPh42z/6Vt75QMtDQyThu4ethS8I6VdVfRYIT0UCk4FhFdy
yzsQfdi1CUQA6PNAphBsdR3vrtdn813SVZpOR4C9sNM8mOjJxU+fThNS/ViecGKEYFdbO8ZyhftO
P51sMDaVJg3nPN+2FkCqiZv5bk6JT3o1yjz1y+SUG2UwH5w+3aID/gVNcO4bOoAQvNC2IAjOQd0S
CByRjZEUj9OUQbK52qR5/Nx1Y1hX6QG4tgCGps7KwBZylAPrEKGZhdUOCZ3zHGVbdYtHlXIGVWxG
PQz1OFL6w1rHYGG5Oyg+NEg5OXjyleucglhs5JZRnoxqvGVZ80K77uv1L7QwEAHvhjY85HiwBqUd
xereNro+nU8NNE/Nb+pwJNpK6bgYwsUShx+Eq6JoO5+rOnXzZOLedKqAdwLwz3V+JvPP68N435fS
QsPbCTIr5kk4g0jjyG3uKgopSnQk2KG+SeGZkNy4z+rJPAjXs3bfOr7xjW1iiPDmofuYk6DZq7eA
XivV9vpvuRwvFrq4VeA6D3ymnEJmI29UbrP5VNBniz0x/pIXa0XjYgxRibvvH03u2KNk7dxhxvrz
WieskmY3jjnETui2N+CZMyt7hhdTJBVspX6b51UEW8V9033tSiPkZE0jR34FRA1reqLbjdaMiecD
+efATTy3R0/t8KjJgXIrwiQPQUfvwQ+bN9PBfMvuYdAGE8uVbfgOojn/7PjYuCZCGQyUmIt07UwF
aQuVZJFObJ80auAoQCrWX0B2FdICps9z/lNhxhQOrhdy3QmsgkVT9xab5t6zYwOM4rz2FeWTjBDM
yPkPk+prr3ZZ0Xh5FtG+gacrgSNOCUEO99NlnwgDIo6m4Wn+4ugApb9sYAeVRbH9xVHhL8Qc6KPo
a7XSZeftPIxIVB9aDi6ECiZvqLLIzZ7Mgr70RulbFfBThUk2M2EHaqb3pf6rZO49ZCi+MVf7bWYc
NxdiqkDHQu9laHZM66Emu7LzLysq/DR4loC0JbxS5KfTrqw65nCsgNkgA/jqeHABj71wq5/Qroiy
dG0qLnfeeTz9fCpIpRuxrSZZVBQBaw/qHxgXBPVOCeJ4S6eNkEzSQelYBf1engXncY3zuJ1TdTUD
6yHCKY1FKx7z1+xKFoZm4vkKiQubSeABz0N4VlLEyqikkU3TvWXDaNDiN26y5jSz8MXOwkilosMs
fWpyzGDiFLeuMe1bWNRp+uusJZuuX5MQXxuUdDDUWudBj8PIT3zMKhJWU6FMO2OYdHaa6pFnK+tj
IRxMTdG8AlEQagryOcTTSU9cqEJFVDOgOTDp+tbTAECyBi9dOVcXOge47oEIKEpiVAgyACgBmNme
J/BD+HbYaCFUrH4rjx6k5mFs6mffrMxv/sbokN3fcU24AnpSVtOd2tDyBCQBFTIj4xjvq4qF0Lfd
fPYEBVoQfzuezoTLnyo92ULiq7Rip8LA2D5m7o5UvypzzXh56Ut5OLZAS8csXvTlXGh+GnVeNxEx
7lxopBe6ejeX7G+sP/djGClfKB3ULyyHIwzfEaMOEqimcC09XJ+xhT2FBSfyoG7hLH6HVn1I0GhZ
TGPfq02UQjjppSkRBNQlvuvZrN3Orakc1a7UV4IupCTgtRDVBvkViFNpNXix3vDcBQ+B0rjJQijl
Qv+lgwbYyikv6cSKjjdWuIlGMAphgC/ly6U+t6Nm52kdtSF5dkFde9Q36U26V36qm3yTbLDmn2Y3
8CaYM7a7YW9vcVULV3tmSH9SrSEkDFRQwdCYQIPiPD1CkCFXSZ41UUm1qNTIk9UN29wlu8qrV6Bw
CzPrifGCdOlB31i2kuCMO5SkdgNh48T9Y3AzhvRXxTv78xvtLI50rkNtiVS1CfSWgsWhu7ekOg5W
tbJMFtYmUGImXu3Q1UF3QDpW4mHKUMK1yglasb9F98xPKL0hMcnDSR16CAn1KxGXpg99YVw5YcLs
XTRu01JXSVqlbYQXjO8ZTyy/UNLX6ztuoX8EtMyHINLceWajU4jhNdEQpEdji5Zjs+N0M0QjWADB
+J0Fihk6YbpGsVyqebHpUPHhmgE8lS2dn/poDXhNA49q/NkXvg7NdEhQ7MkJnMQMxBJ1O90Nz+kX
mvvJaa3gFlta3gMfY3vneyDNdatwHcSm6F9l2IcO9lz7OlUrB83C0ysgO7gxgvWAfy4ICWqfKmmc
QZJJ1aedV5p3aoXBeq2dhRmk+XhCQxXEq6qyjpnj5T5TqrfrH1gM5WKoeGbDjRUnBHLc+VAnblEe
p0ipY15qm9QFGSEYu9iALmWrQEmoTGz9V1cn35U5xbXCzfiX6z9gca5xBIJ+6kDQRD4FoWmumZWb
gZE3K36ufbEI1HHnatNY80qCXdqhHgRFQM3TAOSU7TTVsqqIRZBfTfTj84H77TQEzH6g+q7J+OP1
YS2cuzhzBSZPXNxwvJ/PK8l6EGYUhUZaUdzQRDtWENuY+nIFo3ARxsMGwZUUz0BwKLk4nIhtc72s
mXOEtJCtbQ1iOACd1w2vt5PbKKtv3Bc5x4OsL55UVFcgv7BuzodVNY3FiUvdIwzlIahcRMKIRwEl
EF6bRlD+N1zMLtYHIgJEZ9sGdJRRcUoTOcQ2HoLx7ndU+fdpfqhAeFTSG9ddU/hfmEldGDoLDhKQ
5vIHU1sn99IOcfQCgsV9DmVf0++Ml+vLYmE0hgc5Ds/EbVY4Jp7PX5J0kEwDcOVYYZ9hNoOK/XFt
3e+ztRL9YmOjPBLXG/AdBFRP7qpNo+1wVensY9k/KhrE4fr+wAgJ3TS+LTQ7LKrk2STl2nO6uKCd
5RPh7CI8ctES0iDdI13guF4rQ1e39rEDHV/9XiShdWvsGfDf+rbu9/q++/T9QIoonVCkUiCHAQ3U
Y3aI/8DcxQMxzw6NXfJrutM2ZZhu146Hy0YQQopWpYC7CTiLdD4kZh7nBg6JY/qqfXFv8n33kuGJ
KIq38SmPpjsWABZk+msYz4Ul+jGs7BFTwIE47aB9fFTyFyjm+SUDGDIpNteX6OXJi9GBnQMkCe4N
Gg6F8zXK296EDlpjHc0H2JZ+T/fethNKSF4WeEEHBSZ770IZloqZXYl9kaJFaEhh4E0TTxPo1Z+H
bofaSKsit4484z50z9SsAOPjRzx2+35KVtqLC7nsLJi0F1McEQzqkdaxBVKBFn9mqNGuTKW49si7
4eN4pCJmsmwwqZvSOlpVF5oKRPXdLkyrJCpz8FTzBrKbaKpXSqBBW67N0fHX1hbrOxj32m+QPmdd
KqxOQCs7Gic1gONtHrTEh+gwo2EdZKc4MkO+aY9HKwmy3O+fim9u6Y/3NCjuPw0Sef+8qFTRwMau
kYsNmxcculHEOsb01lHnYCJeeH3GLy9RUgjpIjooltm1LLWO7r27g/febQ1xdrpJd8LZHrA9JARh
Ol3d6LfFLg6G2/Frsft740Q1hb61i5dQacp1RYV0Ry1+hPFgOA/plPjXh3m5dPGSgTYg0PJovuNo
PN8nTcdbKIh62nGAb4JD39p0pSpbCgBQko5sgtLiApvUz/FE1FbVjhNNfVP7zerP1kcoeD8GED/g
w1Uez0BFzrJZOyrV1xiXpT6+7+Y1NLfMtUJj6jyKyKgfonQqVUmnIEp3MwXGFzgVuj4rfbit7thD
GuLmsJLALrtViAiJLGHfIeA0crlSA6VOCrPWju0XwOO/VrA6V7+C5XLKnzM/2wA2sebxLNlnoW+A
kMLRGtdAvJRc9IareoB8tlerx/i++Z7cmt+TIqyexj3UhA75YcRjEH3Q6mBC6t6vtcok/br34HjM
xSu1IUgVFy2ZmdDa0qAqfvSeho25SW64D6fE5yQQ+nVr+0p8rvNUhqIJJEBDQ2/OAjbj/HNWcdfl
qVXOx9HNwRH63hk/ay/9fNJ+rwA11Ex4lbwge3HceJjLzemYIScf0tJnlQ9g3rc5iCEfHa5z7JeW
qbh9AYoIwMcl0itX7Fq4IwxHvo1vxD1eBy/dxDI1cLuGAHbghVp0PYPIEh9i1YjUARoqWlvovUin
X+ewfs6UEh5drT8X2+6PHtiB9ZZtnWO1V099SB/jL5AJ5Fg/wpTZXMthmsiC0tdEYw1MS0hf4QfI
MBuvBXXa6mN+TF7jb9pWgy+LDiXiH9PvOIRQ+K6MkoBBEvQIMfN743B9/JeFOIp9dLnQ2YM7M2Dx
50sp0WM31SuVH4GM3yfz/NZwdJKhefrIEvvl87FwvXbBIbRQ9ssYHDtj1FTjvj82EBtvR8jiZyo9
9qb1tTC1NcTPwh4RvSCxkHBBu9gjWj/CICCdEKz34BzCoYlrJFrzCoGFT5LdsISQcBAD6CIohWI9
nc8h7KMqqykUdqzK2Uu2RpfHB0WZIGGeKPAEOGTVZFnP4C6aedTp2Zys7NTLavEd+IMfgNuhoLae
xy/RlsjdLGuOnQP8uPcNeM4AplB+0YFOGI8r0RbWKzAKIA4CD4HFCqrReTiUZ14ymBStmEPz3QyI
5tcvzqMaaSiVXvlGuDRrBw1978FPtsKx+foqWki15/Gl4jitM3WudMQXenHJvtqCdoWewhbeV7v+
jax0Fi4rgPNoUn7gbdXpnoJoUDcAbPgusT4N58Xe/zif0ucrNEXhbEQEDnyri852TbW1ORPb+DzH
nMeQKrGM1AlNYxFj2x7oNgu5328duMx9zmhRnIPgH6NpjkyCu8tF+3cYrVEbsg4szBrGUmoJr053
PLnNWK/cWi4TFwoLC6hE0CXRh5GxRlD+t+cO2gpHB8BkELt8SDWnJvHBXF8pMi8ziQGCDXQtQEfB
DpflHrk5xNA0K60TmtgsKPkEtKrWWwEc0dfW9sKgAE2E7xlU6DywraWtpUG9oNG7pj/ayMR4Sfpl
8PIUN9qxbFu+MiyxrKQlge4V0EYGXOPQWZY6nkYDxG/VqNYJAkLOw+ymsEAYCtd8cXQzPrkDyYBR
THINuupNYa8pUSxEP/t8+nkS8YpmVK1+1o8zBSmEAL7F2/t8fBoJIGI12Y18fz1tLCRJlBUeXghA
lBIw7POAik5SEjvMPJaJt5sBgaPFl9Zy/dKC5+lqxb3wIQWcEKBPvJ8CIilFg+Bjb1tJbxxnqJ5w
E8LU2V2ZGWFK16CYa5Gkw0dnZDKzrkOk7smB8L1RPjVf4f+4uT59lw8gItV/GJG0NCmtKy2tmYEM
khxzOIztu12+myC8d2Cb7lDcpE9O+OkXq/fzBQAvNFrxMixzuscYyu8DmiFHKFsGqYW0VXaQ2K9X
0uPCDocqBFCLAsqFB3ZpK0CuX6m9uTKOU/OTqI2P9n5gwAphZQoXjpKzMNKanybKleE/SLuy5rhh
HvmLVCVS96ukOW3Ld5zkReVcOqn7oPTrt+lvdzPD0Y7K2ark1RhQIAkCje4KS1j5A1iuTUgJfejC
CjbvdN/t4se1StlicJw4JoXh4JRaN+ZYv77JXK14rwaIa2PqWw1frvu25poUhSTsgSusYKitICCt
f1XGp38xAHwADiNMd8uztQO0o6D/wLQgzd9z+2tDV8qnyyv19+9LK9UPiVllKv5+HN5Dz+RbSput
PlBoP8+fBbyLmAbu5n88kZaqicNO7QvhiXnoMJ3Qxc8de7++WkuH3akNabPOvEyttIYNkob2xjHT
yespmkmJ6vT3nanZP5QwKVdq3osxIOj40cSzBCfd+QnLIshm8RFGrbLag9LrUCh85RBf/EpAtuNM
hYWLSz90wN5Dp5AGeXg3dM8s/GX3x1wbV3bq0nmAhwrwvqhqQ+pU8qTSdQio6okGGpUJct+PNbo6
YRP/w6mDYXFcwoJRD3i28/WycjZAcsaiAUbGdr1p+TonLh3aFWcW6iIarnjkYiK1MC9OtyanZYOJ
GhoIav0xwODPLUA2Xr+LjsWNcZe/Y+xoXz0Wd/Hr9ShcCgi8bDEJh+ofBu4kB5WYW12jNjSow69q
9jrYK7iJpc+EUXuQdAF8C0oO6dieHW2gRVLRIOsdz2nzLesezalYsbLkhWD8gFiwhnxJ7uTgD9ZR
m3YUFbq7HKzDBRSCrq/TQlQjzjTUAAywRkLI8zwQlHY0bUgS0qA1Ks/OG7cmBBUWUBqC5uy6qYUl
E4k5ok1HyfSCekY8Q9CvMWmg1S9z+C1WnhP2eN3EQqEdGwe9ZXRjQTB40cy3eky+K1pLg85Hob32
9D/0CEVE6KDWuw9S6tm7VW+13eiHrgpme7d+TvxV/M5CMensZ8iskZSpUG5s8TPAxXkIQVT5zF3m
ZYd4396Pv+LNaslzIaWF3+IxAhiPwOeef8Z5JH2KaWAa6LtpM2WuCRrnHQrv0Akx7zHGFn3jQfk8
3VgogO7W6HaXXuVn1sWvOynxzqQL4zGCu6LgL+CBylP3AnWwje1zPI77A0Qj7yIPkon/UOYXK41x
IJTIMV1wUettLLMGHJwGHKlFqqfeMK1SVi4v7l8bYg+duDeEjWKBKpAGJcRQ+LZCj5O+/4973Zd0
9tInNG42zmG1tLtwmZ65J31XJ8XhrSU4AIBHa/wZDauj+SjSt9RnXh56RgYpdU/dFpuscNeYvf6P
7/rXcem7hgQDuHGNxR09FJY9dDrt2/LOeGp/Wo8ERUFwHaGPA67CGxIdV4WMxREqPRLPfJfqBlFO
R8xnwbq+c75CVNBTPPAfe8O7vl+rHCy0DM7C6GNC/eQTE7tUoDiF6yJ6F9rwHSShN/POdNOn+Cbb
Jvfh01pPcNWkdIPEjtbHOYd7w5YFugdNhfvwYG2qDZSwNtFzdr/GZbv0jAJ6A6BNiIeAg0Q+63tw
2I+gkRULGu2dH2hBstdkN3ijr/r2vnyOv/d75fM32JlNKeMkhVUb2gSbOdQYUYlxnWKtBLoABdDO
bEgpExLasWwK2KC7/KD85Ldq4hl7fuN41Ub/SYqNeOBEqxrUq3alc4GU8ayp9X+vZ4gmAUZwf2e7
asMO+ZP1pX6mb/kdeSg31y+5haQAcCbcbiibL7Cb54YNqbCBIynQ6oOlzG9V5Pz6BxPAH4BCHTM2
F0AcOuptOBGYsDW2pSbYpKs1ZYWFQxXYBlHWwhiAyBDPD1VHKUZzMAYamJNxkxeWPxe/MEENeqly
o5vQyZ3WRBaW1g0wLVEfhEkM/p5bLOzaIgXH54LY8O84rBS3YtFKS2chx8EDEdV08RZB+iGd1+nE
y26eQxJUISRvlRcVlLHEeP781zk1IjkCmpF6LgaFBGiz+yTLfD3ZXrewkBWeuSEdvUmUAmFtw8LI
gVIiT1qvbaL0R14U/nVDS+uFGVhoNWD6UPRnzr8JCXUVYuowpJL01xwbNcCA7WvvMGvlJbJmSPJI
azrAPQoYMoDdDtnPMSmgDZetWFkKarTzbDwRbWAp5XZaOieh0is2CcAYuWPlDzI9cS06UP17XRee
3qwUDpYiGpOUCGZU+zAbKq0en6I+4jNa65GjvxuN8VbEgONf/0JLtwbYqv4akVYOmsmDahgj0JNg
2fzJ/fAIPiTF5Y/KdwUDeNip23KrHJRh5bmwlESfGpbv5DyCFGxF4d3oqV75hNqYUNpLDqM//gKZ
tK8/Xfd0ZTU/gMInOQCwos0Q6hNikR0pFEKN6fO9cxB/2eh34jknOPukM69VDJKCApQEZfW7LXOX
d4lXKp+eGBYVCtCIYkrVBIxSRsGnTkwyklEALiqyGaH5XE+Gz/uVAfmlDQWaSICGsX8vk4kQe7q1
EkKCtH3h1ncTHbd0+Hb9iyzaQIcAOYshmDyl9Sr70RhAYI7TNFfBxBG5DBOUGUberptZDHH033EN
oXgEGSjJjpk4pZnXLQli+ntoN+0X8rN6KPz0vrpx5rsaLwu6FbjatWfbUsRB3Qwk3BhoNS5QfhEg
zxpP0GJpGVR5gXWNjbfrri2sIBos6EUDx78AgU4TkKGCPI8EINR1Y/1VrzTPSNcO16Vc9syMlAmF
ExhQIAYMR6CSUABuyvf2Idq1PvEMoVzkHJzP55V46CLK8ewT/SqpbhG1pGx7I0X46V/MKHbtfO3Z
t3CWI1FGvQKFK9Fkl9AJGPZ1RtUEioiMb0r4AhXie92BvLYDvXfznvJ+5c5d/FQn9qQgxBhCnWtD
RYK6esCo8dYA9KUna1yUi1aA9ABgAMN8FzdUabRhMWtYtzZ/w/tqi1ku1wGh5/WwWwhsMUaFoRU8
Ni7hUJZep1UbAnGvNY8tb72R6Cu3w6IfmI8C4h6f6IJIdiS4zBuQAASNfpsUiqvlNyUGVK67sZTh
Q5caHwVwAxv7U0rnCK+6vgDCO0hvIVZxLO67vf4LY9/HaSveFImf37Gbcn/d6qJrKOSg3GeLKpYc
2kMysGI01KCwfuYoyaY13hX6549vnKtoqonU27iglUDLZLShEqGinTYcoY/tkUGDQvxa624pEARv
PNQZcLZezCrURdrO6szVoJ7uNO17VNYrcbBwdiN5RHcVRyj4kS/O7gT67UOVaCoqfvZO/eLckBv9
wS62/bY8qLfVXajvtIe1itelW+dG6XnaOlWM6w3g00Gm3xTqN9v8JOO+qJHCK9x4mIUAOYyM/w7J
pLAwV9XATKlbc4Zpxx8ThKc/G2mwAhkItGQFs7mcrlI1SjoFZbVgnlLu663leHUNZePMVtbo7y+D
WpgCpyuKk7ho5au8Jl2ncX1WA5pxd84eO/W+MNcu8kUjwOPiYYwx5QvML6EsirMSsZDrt1b9xqub
MH25vmQLyHw4gio1GtJ4sly88LJCyykEV3AkgFW/1W6yI7+xD4MH0nSv/lY/kFcWu/mr86vyr1te
du6vYSnZ17oJyDgThm0Mac3FY8q/x+Xa9XD58IN3oGGkOFiB5pK5e8JkzjuUiPCZ2qd2+J7MDRjv
jsxc6UMu7R/kdLhY0fImF+26xqRT0yK+A7sqtqHDfWNey7WXPMEMDHglxcGA7sn5FlUSEyFXmnNg
jF9rEJSh1E/eGP2XLYQyDHIQMOoLYpJzM31VTFpuG1OQTzFY3TRPnWGtUz6dHOhgx/xrRvKGQmU4
LTOQ9pG4cJuhctN52vftGnXTwoWHqSH0UEV7Bq/YD/zbyRvIyUnSN4U24M3FfYqiJIia7AwiC5aH
UQHf+J0/6qE/7te+1gKw7tywdOl1XTc4UQbDxa09uXQz763N9HXYQN72CFmvlYNvIWFFbxVvWgS5
hSkbue5gMExWctMYA8OdvPQBtCLb/AOZVvujbw5ut1srpotn8nk1+9yi9Iy2K4xlZYU+4hldGKnH
mc0UNwX4me6Nsp2f2r7LDVfvoPqIj9tx5oZq1Web64fIZVKL3huSPyRm6JrgIDsP10Q3IYaY9WOQ
tD8MII9sI75v1H1dYyIGWparcg/i70le6+guAygOfj1M4UgJFDU6VpWsBL7YiXjlxkim3LBMHOb3
+pQ/X3duyRiBuNAHpgyKJNIS18CNDaqTDcGc9r7epV8SR79rU3Ol6rJwsoB8HBSa0DqxULuUfDJz
bjSTGg+Bmox3zDZRk1AtTGiAM8YLS74K3Vl068SedPCH+twQh0VD0B8xAnxvH0fouM+uA/ZKN3zO
n5ondb+GPF32EVRHKkYIwS4ixUlIWM+m3O4DYnauxqpNk2i+Tn9RxVqjrVi4C7D1UWfGpAu8lJMQ
tWcGWhV0CJwKBIyY4QNu+vNxAbYZlJpFUKDgfB702EUQtUrEoWaYI7r1naX9ol3VFT5khpo1jPKS
P0CNaRDssCGMpknWjJYPc+40Q2AW1cFSp12prIXEQkTg9QYNLYQ65O1kKcSoInPUx7wLNJL3Plfo
7CNfdNymrNdepQsHMw5JTCBCABTYl4sTI0tHYtZt2KJNNfjdARW/2FXQWNGO6P896iufauECgjkx
gmEKSgrUls6/VVKonKNO1qKVPPgGxFUP1bMSuZBZvC/eAVHemm/Va+SvjSIsFBvP7UoZfWgbFbQA
zBYTekLCmryh/cAfyVHzOg/Fun20UphZQMacG5QuvJG3M3NyGJw7x42h6QKZg7pp3CIZtn3dukoN
Odep9ma9QU8kfUYF21UmcM7a4VHPsrtUi8A9pRyBslr7BmKNzw/t858m5TRKW5uFWlr45O1jR5t9
ZSsea94Tanu6pmwcp7zBo8vV29S3zerx+mb9PyIAA9fiGMeTQTpea9Vp0m6mbVB8pbHXDe6IXnv6
7GymZmO6AzAdW3MPuL/ulisH+0JuD8fFFAN2LvaWfOoZKRSzMGzcBq2ZvWVM27aE3XeNsXecnWUm
ftNFt8yat5HyRXcyb+pAcRfNxx4cDeHouO3026r7zfX1uNzr579JOk4GvR14SLAhejNGUQg8xn5b
Tr1rxqtv6cuT69yUtPJQJ+sawInboHFe4+mXU/247srypxWjKoKPAWJJUsw7rYJXVYZPS0AbbH3k
l9FGH/aD6lZvNUZgi6eZe7z3I9tdhRNcXmnCu7/GpaiOYhKbVcSxkA1YeKcNuc19cmM9oVe8qwe3
eMLEuJ979UpQfRSPL3bTiV3pKq1HdRr6cRIHKBiGieZrz80t22uqG2pgNXetDPNd8ya9AVNNMPkd
pvYUf43Jf/nT/nVeiiI775OxIHB+JHub/IqTtYejiI1rXkqxY5pNqLTl2AbdXPqaMrkme6rCblsO
R5O+X4+jhS2BtwmG1tB5wP0nDwGlKcaorAphlGu/h/RbUWduAuKz/58RacW0mig6ozASYmKzeeXd
0z/kJcAmnvghrVlZRiB/CLHfHLVBayPxQKvpFtHaE3Uh8M/MSPnjDMqSaqphxqihhsGcDc8zP8wN
T+0/3f2GQ8BcYiQG3YaLzlPLemuOIh0OzQ969V6h8t8pT9e/y9JNfWZEcicqIr2vCIykTfeHWIkP
em0vBsatyQyX1d/n2nGZA07SDAhqqm5B7H+kwDpf/xmLMXjiqvTWYHXe2Jk4K9sBCXJeu13xnFZr
ZcCFbYv7Rog6YLL3UnxQ72nDeAoruQEZ2tj5Cnr4tZ27FB6gzAJyGnP/0B+Q+xyO2bSYM2+DqQAl
v8HUl4SNqqu18xFjOCun4aJDSFlBPo+yPZCn5+nd1GdGZkc10ixq9C56y49m0bxd/zSLDglqAxCj
ihcaPbcRJSUvGUshDzmRvcVS9O2S/i6k+i3PrbXptjVj0pXGkwKyPWbeBlGTurlx6LLIzcpHRl6v
O7UUbyifYshTvJIwbX7ulFWScK4NKG4pymtlA+tnvqvDl/+fDWnhDKdoI70RvtCkTjxd750v3TC0
zE1KgpT0urXFlTvxSFo5vTD0IolMfj9rzlHVch9CDi/JnLyq6pqo8gfZg3Q7AWwELj0MCJqX+isz
plIrh8zGfbsxN3hm8ofiML/0u9wXSNXaizamP25RwN1qR3CqAlAZ74eNscF/JAURyNWu+770NTHO
h+EsAjbDi7HrKo3sYUxKJEKACdXdd7u3/BJkHNetLB6Vp2ak3dY6kL0giabdN353a2yFbhb9lnjO
jvrJffe6hqJcyAEAUkfOLqpLQuvmPEaVksxNz/BFq1ljfp2kiuu0drZntLBewig0j05ZNc/XnVxc
yhOjUtAWwHHhUopM0IqDuyz9HtLXlK2UqxfKhYBtCFw5uplobMpvEqJkDZrQeof+tvbVKV3TU/FP
cU2/gZ4kOFCd3rdGb61MuXRanpqVrro4GfOUOxb4Y9vUnYzQ5aCv+YflEwwmQOIBYaFKOUiqa5kG
Rrs2UMO3Nv7jkBd7WqMAET9T3n048f/XhuQGpE60LCKtcW9qmeV3k1Mi9bD9VDF/Vwre9RN02SG8
vtLhXI5+PCgcMNfal5j4TMGTPrIy5LyeQnwLQhtiXtz+1uV+VWxiBp3n/Lf+L1c2eusgCofYBwRI
pet0CC3OGqBv7+eh2hEOIBsUxst/OT/QRMMVihrTRTetscoCoFe7CWqd3vEyfE5D058a+x8SbaCV
sHoYp4C6sxQcbe30NYq7TcBr9sNKSkxygcVsRhdk5S5YPDlODEkREmljb6YNDCW8fczBguimRv9N
I90PoyAPOZ8/j6FFlopzQcVUrgVMlpS+ZbEOzwbEhkla3Z8tbdiFUW5tP7e5cLxjggtIQBQDPyj7
zg/EeAjDAqQt/A7kCImrWsrz1CnPVU/Wxvjlu/TDELYYGAHhiyVPKI4zJsZ0hYAxqqc7KKU9Izq3
aTg/p2X99R98AiuYAVUZkcOJ8/ikQ4Q2l1lV2szvanwc9WdWv5jTWklYPtP/485fG8LdExuxwsN8
ViZ+F6aDXyscbYrRmxO2ue6KHHUfZgTXuYDEQ1NcMtPNaZwVHcw4ZmK6LOGYeorZ4NEeSbbOrIcy
pd1KSCzbFIAV0ZUE68q5a3VRTrQfGn5HmLob0+o2TLM7MzT246Q88eazz5T/uCimY9ACRf1buh2r
uuVlBVnTO1aP38sxBFX3BGnvuf92fSmXvhhiHD1xjPqhLi1d/Wjujz3tC34HuNnNCLZ6oXrV9/0K
6mtp9Sz0QUVpGJn9x5F/Ehh5kydJws3xrmIYXs3u9CT3puGZ9a2fht3K1SjfvmLtQMIHPUJgV/QL
hkE0deZhLp0RURi5Snc7qT8/v2gYHURzA5N3IIyR4o+2eWgBxARvdPsuD1+sVr01FbrixtKnObUi
1vRkzXSezlY5GONdVtzYje4VNvN6CNtc90X81tM7XiwWGDeAZcQbEqyXki9E6ZQ+CnN+p7IUD6E4
+6VNbIfBj8e1pGjRH3wT6D9hfvVC6dhJO6iNlQm/yw3lLoygwgH+3g2ZtU9efvBISIKB5wOk4yDz
kTyagRRtFVryuyhtNS/s6sbHIHjq00Rfm4WQXcLzA/VQnNs4Uj+y5/NPFLZ6HaMwyoI6a5zchfiZ
9a2c1WgEo4hl/r7+pZaMYdRT4DzAsXXZJa3ypOGdmQdAe0XQRxpYZ3m0rDjIN0hX765bk3M/uCa4
E4A4xMi0IEc7d620p5HEFByn+WDMmpdhTjHdK1WhIqGY6yp97+3JaQ7aXLbYZJqW2sNK8n7hr8ja
UTuBNiYmkS/IN4oOIreGXmbgpTd37Th/bSoHyEqkaCtb4MKQmKbGPgbWVjB6ydiJGuB70w7zPFBq
wkPf4g3V/SmBeo6nmAinlX0tUpTTHSdWFreIgAmCyxbp+/nKOrkegaCfZ0GbQaEwTSdAiGPVKNy+
sLvUC9u+uJ9rK33tlBaFZ52ukQnIW178AOwQkVpDUwxT1uc/YNBBMxLONAOaHVi4DTOjMPHSjjnK
Jh8rZm0BWjGNlax+KZ5QNgLBAMiPcQdI8WSOZgvC+jQLIA3b6L6Rx13rzmmbpm8xJBhDj4Zh8hX5
kEVujFkdqxXqn6VVRy6HUEL6CIJdKVOlpFGxuvUUJE0auoCgvUyD/qg7nVea+ApWObtG0txDcGRN
7GlpuYFUwegA1O+AeJY8J2NEKDS8OareaXSfEyfv3KivTWfPGdO7Y27N7LNtA/GJT21Kd0dcJxFm
23seDGXpWqjYKXRtzGNp1yABBx0pesugutTOo8istNQpOHAxk6m71Rj7yTD6jR0drp9DS6uHoRyR
7QGIgZvj3Az69SVINuYxYDpWKQZuzB2V8tk0BtvT7FU5Ojl3wMIBugudd9VWBYZT+lgDn0kyptA4
I9PwI4N8llummrG57tOaEenrcNBHgzOJQkhtMF7A7QJuKKEzdd3IwsKdeSIFPF4uGWblyBjwCtJ6
utuY9p9x0F+Seg33fFFl+Vg0kB1ga+lQG5DBh3jmqbibGgHKGvwixEaCwqqXbeJt4vX+2G0I99l2
DZi1EIDAfwElKFR0cCVKDvKYlVg2uwvK3Ek3rUHKQzw77Hmkpbn/9FqCkwlWkL0IamUp1vMpa8DM
bXRBl5fbvo+20Ki4Rwy5JP7sJBrWEkSHokSAI1pwLpzHO/I9BccFICLKlN1rlflW1PMjJuXvACP8
AvKKG9NcKzeKhZIupFOT8rzWCNhGVbZTF9Bh2g9O86Z2oWeWYK6OmkcruUuHl+vLufTlTnyUB7ba
mOJ1M8JgDdVGCC25Zaxs9GnNr4UdcOaXdM/xVMcQsw4zcRtvmdp6UcFcjXeveIuvBMjCjhYwbCH8
IphcZWr6vpkakjYwRXDe1nP8nnTzyqItm8B9jaFBijxFShtIGYGpy+rgjcPcafpaJ2vF7cv1EgNo
4GJA1CGflTfUkEEfvHHGJqAJT27bMlT8tpswMaiwuHeZpfBPSyKArVzks9ATgyQWtBGkjTUPHHqt
ed6gx24f+7v5xnzQNRcI0q25rXbhk6a41so6XgCjZJtioU/eVYKYE8IdsCk4PoBiPgw30R0/qjA5
7U11Jdu73FxILNG/x1ANIGxUzvagiB1iYjCpA0PRXyuq3jlh9RMTkt8UFM2iqPN6jjGR6/vrMlTO
bUqBz2pTU4YhqjFjA0yuircBm1JnxTFxSZ2fGsIIhmvQEvzoc54vY1dCb66osjoAhYhy0NrY9mOU
TtBzifRblLXUr2gY0mnNtYUgNTCDqQrtNNFclb4eSFPTuKJOFZCG/7Z08AqPdJcSw8+naD+AaJdA
ma4aoVab1Pcafce5vW2T8RGo9Ud7ig9Nad1nSeKbETifteypAQwUMrHubP7kDWjpas2fdP5Cs+wB
2/BPPui7sKUbxc53gw1k15j7TI08HkJ0pZiGp7IdQjfPh1+QtL9X22yXlLPvTCY7Mm0YgtpI5q09
dTakJ/FmM9qnf/jUH3yWqHOIh9r5VwD2PAetqVkFdcKAQGEpUr2w+6x0OLYMHiuCNfM/VqRFt7op
ScvOqAI2a5ty0veoJB2bptl+3hmEiGBrw1g0DtNzZ8Kh6bjd9FWgxOpT3EI4CDXgX9dtXN49KNig
0gFQKeZsiSa5ApUw8AyZeYXLLp1cJYe2a17HtR9y+7MFD7FqeGihvKIbKBPIZELlPORZEpVVYOOV
42addpcp4VtWhF+uuyR+srwTwZgOPDzKeBg7k9LJEFKTo9HFVaDqxQ91KmJgEclaCCwaEcUHbHrw
S8g53pC2+YCGQxk0Sk99DW3lTdor2kqdcGl347BEKRyXqI1JhvMIsOjUa1GjwwqbDybr/DoM94mh
eHb47fqiLcbBiSUpDhTWo0QYw5JVOfZ2iONwYythC9QJRA+um1pySpRswPKMVwyQkedO2VZb22Bz
LgMzMgrPtIsgb+0t9Atv+mr4+Q+2TChBoZ2AJ4yM1KPzNGYm6FoCyO12+SaeCW88p8irZ8ARKaiA
IC5vrny0iytOFGpAToiKKyQbAKw/9w/TcHpvJSwLmOmkaKpqY1J7cYI82Y1RHBrUepOh5kBB18rp
2l0n/rgc/JiRFnI9H207OWIaNsSgXCkwFxs6D/ik6WvJG/t3WgJIEufTE/C44FoyRjvBBHqkPn9+
vUELgK65mEHH2SX5niiRAcmKIoh19RXTBYmH2bxjFdLAKPU1maWFQMJMoSo+rBiSk58hINyoTcBY
iwAq6cnWaJryiEFA7UsYGtSn3eoBdvFhccue2pP2CI+dcCgLONcyUAzN9mM94oLVM/5qq8VBi7vI
TShbI1haOGlgFZO74otiUk+yGlYDsoiWF0GSQgHUI8zq8QrvoqTaXP92C+9W4d9fS+KMOMkEG2KE
eEL3RaA+WvfNbfpg7JVN7fPGTd8nH2RO27X504+3lBSu4MxHdUHEC2pvUrzkYV13ScoKFHGzcpP0
ZbEpylY9pvrE95B5M494SRRuiAI88pI5H475YGYrQPGLFcaGRYFcMEiCxf9iDMFS8mo2iy4NKE0z
0x0bpFReAVTWp19gEFhDuR1KSCqGBi8gakPG6hqXcREIfuVfeYvdr/bRjwmsJXs158rL9Q+64Bfu
QYyiQC0AQynyawI1uKxr6jAPQC43ed2Uvdhm/XbdxsW9AeTPBxMR+qg6nmLyMyyNDLVxYKOg9Hem
D1bxI5wrSODNePF+spOB1jP6f2hFAy+ASpv8To7jxB4KneeY9cY0z1yQZ62zboc+H73rTl0cojBk
YqcDUglWTGirnW8E8KPyqrHTPECVf9JcNkLD0e0oBP+2faRpg1/qdj25DQhKuKtUqUm9OhuyT1dK
z3+GJuV/9YwsM7QZ1pYZs18NqoV0PnPA0BXVffF9jvSaf/ZuhpAO3rt49KGFA9ESKXciJiSzTLvJ
gkkhT4SOWYZh0LGbtgPo58GbRxvn4fpaX4Dp8VUBccQ7GwSryF9lk6yIUOKxsjTo+NbcWdvkyJR9
WW5JMB+VXXtf3hd3NPWU2/YfGiqnhsVxf3LczX0xQTkoToNYHXJwT0XRpi5aC5JWWboSUAs7ETJk
gmr/YyvK44p2GY66FUVpMBbGA2egiuX5yka8fMeLTweUKFAa6Gdc9FEmhw5xNikpKmWaiiu+6uNn
otbtN1YDB+nZfIpTl9AMaodm5+TaNoTQz9esncOvgxkR09OspGCfxMni41o47IChg0CTUDM4X2Ol
GtCXAxV40HWxj4LHl9BZhTAv7Fa8xMBFZOMqAf2NdAQViW2beaywoOGmCsJD0paGxzs7H9FMVxjb
9CYnMR6cevOrs6oB9DtIi1bOpotcBA5iBhcoZ2gyErRUzh2NxmTCgGjDgiQpUgwaq8rUb9u2MbkL
HBCKwHmUq7O/sncuXaeQ7oLLYMIW+mCS1aqImhpnfAJaTfuOax5GaSpnZ0Q7ddPuFM/yRn3T8hti
bJt3bZNuCq9d+cAXs0ZCour0J0hfOM96Xas0/IT40P5pIOBugufBF+Sp4Bi5T+JNrmzU0m0P3a7a
fZbf78M4Ygzjg6gNYxRYWnU7ZolKyiTo68inIXfT2DlcX+PLDwv/TkxIp0RbNY5iZzCR5NRNnGar
GLnHpnan4x64burya2KzoIiDxhg6zcgPzr0hXRmH4HZiAasdDMs16bAfqzqCtN1cHfpuDHcOjZTb
qtBNSFaZTFnJg+ilr/gBeCxhMVGdA5nG+Q/IkmwAHY3BAgMv2zccNolXm2P0qjKVunlbj5tpVr61
JjCHvIuOTZGVHqbpMjcFM0pTmH8s2qSeYUZPJLe5n80xnjtNlrlcLY65Y6F+iqGaEM6RWGMHWxSg
2pR3Xqwr++trqS8cufAFuAA0KChwI1JcFiivlnlNgEXI28nlZq64RE1fwgS4IaMkzXbCa/HYR0p4
NBu79gBWr8CXGh3DWdmP9XzoqeU7jfazmU3wZjEG8qTCn+P8yGnoltxotxkZvQwLBCioeh9nxisl
2bbN2PtAyRGNtZ1qVLFPjfCAG/XYObFb9U4wxMndqIxbJ1K2eVseaDocylY5RAU55jXEz7JexVg9
X4njy0QNcezguyLXRvb5wT9zcts1RJ/MeM4hvD1litvY0ELhLV4Ssz6vsS+IXXeW1IupcqwvFZyY
6OlLcawokVn1PW6iri3v44GXmAJNKx2fmZtiOh9wodF1zHmlpS57KDTv0U4GahCtfAJKoPPo7Vrw
zBhsrB6mCjJ1ys0YbVqACa7H1ZoRsYVOljGygA+iNCoftG7XFM0+M7iLAepP5guyK9K5BiGZQWUh
rNj0qLJ3I/r9WS9EdQK4IOwMZFzym9KK1FhzEh6C/kv5nld6QHiysYZ2pRJyuVjnZqQvYmdRVytd
E97H8VPBH9JxdiPy419cAWRLKFZTjGSef5CJM5SzRxSb9Z59VefprlR7zLlmT9fNyGcz5uBR6xNM
hHjm4LYRx83pd4eGBelUBjbjkA/QcXeK+zIc7JtIj3AYThF0vGpN2SWWuoUwc7V2ywovTrfUh3kM
8uJd+PGGlMKuikpw2faUPShZ8jpMjj8m7JhpdBu1YBYxDLchs5s6IF/mnx7cFZ6fmJZisVCrtLeg
ufLANcXr297tQWLYNX+ur698XAsHgS7GQBA8xOyytL7TnM2UzUr5UMTVfir0d2KwlfNBvt0+TABB
qiFUcDrIOB8j7tJJ7ZzyIRrCJz0fn0PKvhWG9Ucn8e66N0uBjwYBrnIAAFCgkoIyJRFJDNsqH/La
/h0BHouXEw6+qh79zxtCyokimC6mqWTZOqsszQGdgQLLZm2npnfDnG7Dce1B/PG0luPv1I7YHifh
38caOEXVOgTl9nDoX5nXublLvHwfP36aTBKRgBELIPWhFYGEWsppbT1EZXG0qweN5v0tqfp2a5da
tf38wiGLQWQDtIrBAOloKjBcB/hgWj20c6F7NqClblPFra+E4dfrlkSCKC+dYAvDAwFxd6nm1imj
SnrEQtw7fp/12xl5B9Koec7desyPtrom67YUfSamRUCPDgFQ9K7PP9acFRiTHXn50CrtXuUFRTrB
UDCJjX84e08NSUcDnMEP0NL0fkASsEVZutmW8aT4jjWUK4/1pc2LcwhNA3SPQEcinQ+6YqA8WZHy
wWr4ro8fZ1ZtlfC5bN+uf63LMXeE36khKTDojGY4yPicezMnm0HLbroofInnX2kIibxs8kvA+IeM
bw298cL0O+3LbRzWfzQHYo0NSNPBzKVqv7BXfND4HBWde8NofzoJwW/EPBAFoSfe1PKLl9FsFEX2
4qGK+pthDt3CrtyKrO2RpTP51Aw9jyM7TplaZnnxMM0NRN604VanbK0btGgEqFocgCjBXsi0z0Za
QSEakuJd30E9YFKimz5l+Qrc8ZJeEZ8VuY6N+QGhHOVIvhhzP3XIgNlDm/ujV4CN44sJ+R77MD+y
doMkKEDleUe+XY+mpZ34Ma6A6ZkPpj1pBdVItSZt1AM+DBDvYVXywBMz+UGb1vwvzq6sx22c2f4i
AdqXV2222922k3Q6nXkRJpsoUaI2av319zAfcMemBQvJzMtgAqRMqlgsVp06ZyO/vyuli+tNkNsA
CCDIwGQSbVQBCEcssE6o7RlHvWvdaufmeo+xbm92k8hsB4fHdVIA07EQYg+7UenaJlLMFLXMx+te
+aiixA3vFNBeoNtv1132fV17dWLiIWn4IJxlyc/HBtZWe2NB+p5scHDJAvJ2oYMOtdQkd2KNkv4I
OJ4SEABrj2WLmkDNmjlKmVdcLI8uG7f8XckNW44fgaol8k4x/CDdiviyYHlJJqh1ebSL1Mkofd0b
fpXVRIIOBxSjUs4U2VTEBOp8mgptCHpHTQ7V2G9yFwtj0j2joe1oAbsNECCAvbd7rgNCOY+DnvxG
HTqxcfS+QWy6mnxw7yZ5qAQYCIqrUC9f6smnID/6mm/sh7sSpIEgEFA9DJwYd+NbJoCPqlJPAH6A
Vl4NZlyHH7Sm78D7itYLlFkxcEHqsEoTnkRJA1n7Z8Cg9TaYJwgb7xaDgZ1rNN2qCyB+Tpwcjkor
JDVto0BnXW28+XmA9MGwy+Z2MLjPRjw/v5mdC9DLXI6ZG5sz2gRBauGd7zddQavEx1jMgtbc0pDp
e+W0KtkxhNYlJKOhfXGz1g1yZiplBCRE5YZWhfw9tBetpftcST3AYmqz53uHOU7xkmbLzKAPudAi
AqDOMyN7arQuUNSaN/7oNEvxOQcD8hCVs6I6YU14379RHfltnGLu3QM9NnWKCOJonuc7Nh9B+dvY
WedPokGF+oIzOCC14FMTT4YOxUFip/U39AF4dkzqbrEPngos08s4lz2g2U1GiuEM4YGMx5oLwfgS
NYYqTDuPja/FgsJViZov/9fxBh6b1OLpS5OY/bcB3XDlUzmzGmqGxcCtyl/wl7B3j9aufjAhiMlf
aTo0eh3QnFvNO2+H0olAV83Gr8ZUdGlUZ944+UmHhkhUGY2jP3esQ0f/8UlfDaFXYU1ya8CPB6NK
dHaxx88dedLUFwBBH5tYiVaInCDqckCEAaoF8edXye1gl43mdAO7WBkIIzpz2mtp//2xjfsp3t/h
+T8jUl7R23pulQnHnf1ufc8vxr580Q9tlL1qQXPZ1oFfW5OHK1WcR8wNyyAEuzHSqrJ4dbGtaY6N
nPQXJU23BspXYg5eHgKdgqYcYJ5SAjgqtATVasku6BT5oDX2yw5S8x2JsuaTyt7xywIdFZ/HW7m6
tCujUkV2IACPzEqDd1yqLGGpTEfaD1u12JVQdrMyye0MHdMmiVWzS4PL0WqqsEeZs0l0iAtuXGWr
yxFzWQjcmLaRWYB6nvTmXCLLAvHDSzYZIYBaG/rb4jNIVwOwV4I5EBgsGx3mWwfv9JSq01Bjxyov
yJzikOuvUMvzbcg+K7O68X1Wt+7KmnScameiC0I5u2TTWQGbwGzrkao3QTX8euwId63D/92/ouhj
4Z+7MUqlNxX0vBb3XIr2rI9E9cTO2Qe64/4UWNpuiTBdR/3iZQuZtxKUcPH/Z1haIoi67cGD6Mup
d+avFqGNT3vrS5E2W8ztK85xc6NKXy7pLe7ZY19foJjNnxOPeoe+07XD441cW871vS0tJ6sno4b0
XokvxtFCqUHfmgYUO/rYzEq0EHStaBeJWs/dm1tjKP/kKaPnzrWg3tB/aDEZqDEDgu2KzxJoNto/
2ORuZCUrzg8aRryF0ZZbYTYey3rJxgqB19KGN2QbnxvmPatjcjQUvtPKP+0qY2XwRWSFgLhhqk3G
DnDG9Yl5bXmp7Nc2b/c9ZGVU/uevYeHwuFJ+j6rKZR9m0mooUgevGXBGTdlXSqeAFLnvNn8s3C6W
g6iE6hLQRXd349yMLZvSobjYzqdmeJ6NS7OlNbVSIBHRAukzEIGABErxvABXDq4MVlymGlN/k948
aWx+S7VuDshoM5/MZAgHxbM3HGPlbFnYQHRNkY6CjUjy+qbQSeFgbObCUUOdJ+jHbY4QrHg8wpIY
rxPFwDuPT9CYbk02Fxdj+YHXSqD0JEjTJFYXFhD3Kx6NT1ztN6L9ymmGa2A0DLy+qO/LmEe7411b
Y0jhUgAC6HdcT/28WFSfKBgfeHyi115AsAVTeONh2kmmASA20VWWOPZZ8GyrURZ5eZDtOHgA+c4Y
gy0cxVrEv7En1n6dqg0gAsDmFRfzRX9Cm/m585udcqr32UELcOZCUB++/ClwWRxpaD8AxQCg/T0R
F1k6txoowiO6/wGp28hTipDwjfL0SpxC11dA+H97jCOF+sIys4Q2anmhBflAuvbclvZ3k0wHbS5O
ZqNv1fXXaroYPcWnE7cn6gbSI30ospl0OhIPWqU+M4tgSIG14S2iyBwmSHdmdTlWtfFUzJDUzTe8
9J44FruK2oiYVRO0vI5k3p0Xw21Ml17yAz9k0XRsz9ozA5VlEk4frJ31ZOD2zlzfzoOtcdC1rb42
rd96EWepu2hkLC+4UOM8rXVweUPdJZ+1p8Gynkud83DjoKwFGwC4cTFoWCvqmLcmDTcdrayASch4
xJV+Lnq/evmfrOwYpkFVv+vHfv/Y6Eoihh3+z6YU4KimIbTaU3JKlfTVy0B/xswnFfz+ZP5j8j3x
MVGbxXC8AKPIRXsVLSKXWQMF4vjUGQOa67bvjUngIKz+8aKQx0LhGW04tHHkgcCq77sS9HvJCdXm
OuhSfU9SSF1l7JueIGt5bGytzCR41oDbQm4CmTDJSZtO8fAIyNml64pXZZniplI+V2l2VNLxiVVa
VKkd2rNaRJct9N/KtYjBM5gEgsGD30hfb3IrplfcLS9Qj4N/8P2YHpoqB2VIDuITlDXsD48Xu+Ki
QgINDU4IaYuW0q2LYvY84TNXC6z1J5BxEWaLwscWVm4mAMGEABrQcCAikw6BhjTM4bgTkYoBxlJA
RRVgqQIX07CVN6+ccGhqCRZ2oFOBK5TuCa65bHGhM3KqsqQIGWZumTqSOM2Tp8TVj6U+vv/F0q4M
irN4dTFVpE4zg1Xp2XTfywzMIdlLggLVYyNrq4IQnuEC8C7KjuLPr4wY8zzQwk7Li1F/1ZvP2Qg+
b+1SWqAOKa34sa2V1AXEk2gxgAMVj3v5W3WC94dzvOIY4HQvmcbbpzJLsnMPUpuDWgIM2ruo3LWT
ZkR6QfqtQYY1X4HMOu4mgPuQXEju3/MSwiuoqF6SHKwoGNVwgOfw8mzDJdec/tqM5CilmnUD3j7F
pWJfxqYOrHrznl0Jw8iM/luJ5BqoIzBQWPXFJftl+XYBeSczEvVYcLsOAa7dJUiDEuSMm8nS+hai
PoMcFw18+SlS4db3cqA/zkOsvJtPqbrP9s2O7/NfrPBBNOs92a5P46252VWzGkpC4EYFpl8mGbSZ
C/Z7NpWXtHlj7c6uXhvj82PnXKumYa7+PxvSmwEUEh5A5q3Y0zrzq3+duAiTA7Dajh0uQXcoz8bW
Fb61LCk8LtzOHb2CSdQi+XIk5c922ChEPjZxBxugYMPLeYGQX2ojhpobrgbl0r9YC7H/xu2RGQgU
Pchs5Pa3CS7D3gWr3wWK8DvbnnYmnzby2btxEqTNiPII8xjQwfiVTKVEaTeQoUeuPgbktX1tz9WO
7uxPwxvEASKwkZ7t6LFXrJ7lK4NSeOTMYkrh4gtB5CjK5oPXZRsZ1brfXZmQ/M5gBcgYS/H+QBrH
z3msX7x/wIvzJIRciwAUs4+XtBbxr/dQcro0nWaqG0l5mTi0hPApQxA2H3ttfE3c9FffoHDy2ODa
HuKLmXg5gvwRE/y3V0w7WSbm9hPrXC6YE7Os5dSnUMn9CyOYaLTQ/xL9QWlVlZd5A2kN72wUapAP
QHgMhplsXGBrh0mMvwBxLxQcZQLLPrf0qcvg4otH/bbdJfrbsKXeuWpDpLugRsFcqzyB5uUUTAe5
Z51zI/Oz4lAmP9Fm2tittUc2WB7BfyGk9JA/SU5XzpMOiXZcxUWTn8BisyMAe9N+RwblqTftI9Hy
T1lvAkqrxIbiBeb8F/1cwTOJFzD4OPAQlhI3AKVKZ7TQRR0qdIo6Rvd1Zbw9doq1hENQTOKyFzA7
GaCaG7Mz1qiGn2yjqtFKSz7mFEMfSfNhnqHVzOrAU1Pbr1vrj8W7EaiuLUsXtFeCT3u2O3px6Jw+
VwXzUn8ekrnwXZPXXx4vU/xlUi0eMxqYGnbEOPSdZJyToAbAHau4LCXo+EZSBC1UJCxm+z0Hju+x
sZXwgRMmyMKAWcSQt3SaMRNiLJaDZ5mXJwEAlLsKYl1mUgVz5hzdzSR47bl0Y0/aSYOqs+H2C70s
LBl9lpf7pKf7JU/jBAI/ec6DkZDnyevQPN1qgItTIG8sgEGYk0dmgEql9FRLW8IBgmvphYOLOml6
f6zttwaqFEWa+O2ImYil2LgO1r4lhPk8439nU95eLQffDhI7ekGP0s9KJ1A695jROiJAmTz+kqum
kAiLwrKoQkmrc6AqtwxzRi9Zq0Vl/w93XxXN3hV8IwVZif9gfUO4RL6InqhcpxinzJkW7pmngfah
XWsfR2ZfHi9lJWiioAzGVVS6AIyTW5Op67bLMgz5xak/jOPZQ5PbIhtfZsXxr23IXAO44JIpB6XB
pePfy8TF8OO3cflCPSeYNu/olU9zY0v6NIbTJggWsDVpbQRZ0IiCQY2b2THfgkaupR83pvTb2zlf
ukpvOUzlh0n3+xOS3tAMnV2X+Lqv+umm3srvCRrpVN1YlCK/mRD0mCdYbN/JKz+wsAmGbywJCiT2
tQ9QYUD27rex2U00sn78haPAD4WegwdSNfGRr567Se8W5oQ8/6IX0Vx3fDcu09F05iJ6bGfV56/s
SPerl+LxNjQNdpX1acAxdnkAgLzccMm1fBjoT3RTMOms3teSWs+uQc7S55e6COyd14baaxErATZz
NoI6C0BmH3og+NmIHKtHAShXTM666N/8/sJXu5j1uDVHFWZpBTAQdFq+e4n1vfOUZzMflVhVSbtR
NVvdzyuL0n5C3dX10qLLL+P4bbGPbvL6+HutrQjUAkjrkBTpd9TNrDRVVnYku6BKVfpmtURjupyy
Rv3aUufZVbOtUvVaxAIrMPo3YDwD34d0jZpzvqSUWuQyxMku/94EZRWYqMKxgFZ+8S+0ZYP2p5kc
/1w+GW3Sa8PSfbr0KZoBlU4uNiDxgQk55R2DikrP+NZo+qp3XpuSDtsAvGA7NCa50DfVDZJfaFRF
XsR+DbM/f3d99VndJ1tkUOv76qGQizsUX1I40pVrKooHsrVuJhfSTT5RtSUw6yoeQAmwcQbWQjQe
oDCD29O5u9UMCiZuG3STF73s/N5wAmtkPgadfW0Zdo+d894UqsVA4QF8A0wb+iq3a7KmtuYuQZMU
DNkQCtX78rnJxvk5ccolHtLu+2Nz91uIphMozFEORKUfpdtbc2nCgG1Tq/aS2hU0l549hrl08Dc9
tnJ/ojFSjECPLilQ3Ogr3lqxUeDDxEtZXyilYWu+e1uzWyv3jLAAuV7M3Is4JT0JCw5N7VTPkzMP
oeANssT0p/GR22E2Bl24RGWohORlBoNKGvEtiNnKAwu4YDwU0Y1CcwZP39vlAR2fzonLkrO5a/71
4vRJTDdAPgIgCNjdqsutfDILpAIqJEbgIPB8yVoKLoy5WurLSFgZjEX3BJxi6tfjJkh2xRdvLEmf
zRmaCqky1tUHfTRHBIBnALlJSAMeqXF5QRnmXLxsKcXdh2fsJkitgbIWShwyxVs5sh71Bae+LAkb
MCqrlc/F0kIHGPjjEO39HE/xCdTFj110Bbh/a1bKjUaVYOi0hgeNwRiJ+WNq+jMPHf3gOCer88d4
ifR9/8UzfP1jlgeG5i/NHtlgtaVqsRJLb3+K9IUpCoV6i3bu2TjzzDdi+uSGeIhMmOsMtEAAzSf8
iHRjB9bd+Grjpc+99H3m2uji4AxpsR1kkX3JdkBBBYI8UNuiif49ZXCbGmKVmDvCgC0IxECaf+vH
ZlNVXT953nlQFNU+AiaaT0EHfCiJXJIoe0BhcttnJCGKjxG1BTPL1qx/sVtQn+8NfWhyEHN5EMa0
x9HkEVgXWjUqJwuY9LTD0zliRd+TjwpDLhCmY9sYgZJgDuTroDFtCFHazJuo7JQmjUoCJYegyTJ8
XNDwGN/GaqjNl4J35hxk6qx9GM0xzXxiAIWxkR2IZcrbgEKWaNGB/vyuzKlUw9IndQGkJf9uOR/S
eQs2tXaewMsj6JIBKQKO73af0SGrwKdGyotujoX2uWxnpj7TucnU82TYLXtbXJt/a7k5zMmGS92F
KtQeMVArhESR+qBrd2u69pIsqTDRfC4MZMadAVpjz8wwSW2MZfj4/K6YwqMdjR4HcyAAlEgXwFQO
hq6UdDm7M7Q0C6DE0W2tQQr02Mw9ggSjSGhwCuJp8MCjNni7pAr/q+9LLIl/ZweHRxhOtoNqZ4Y5
ZHmNtwrs+Pg/gvpySyhs3TRuaXCrY8IfmtSSabBY1a6hz2cnjfRAAXn7FADbzXzn9B20Q5lfn5LB
N2hUBDzf+JJ3V4FY9pVt6ZE61pi5rGmxnK3uA0vVJ2YgAmUsTO0tOvX7D3lrSYrDatcOZpLiQybL
P1b3KbU/2s5Ga2HVBPrUIAzBvyjd3W4k5rzzsveq5Zyaij+os68Ddg56o8eucl+Q/C1ViC4Z5CDw
CBa/4io75QOZPDfL3XMCFHAByd46CcqsCmzyOUnq3dxrwWKMG9/pbmlo7kLGBXkjjApWs1uj6ayA
VaACsq+c9bDshx3GuEOkBxunbSWmgKYN15CgDQVLtWTGzXvwXzMFpJ4W8d2qQnHM9avhazJ9spXN
TpD4HrchEvIjAvcJ4IaoY0vOZysA3oNJPjnlB+u9/wA2vJD7to8BSCMSKrFbT977L4eWE+oFYCsD
1Abw9NtNpDmQVMirktPkEdQhBzXLICxgAg2nQtiAxhgwrbOIQ02h841OdFeqRD089p7721icOHDS
iKFPLF9etDpl86hgbPystO7HRsHUSI/6ST7AUZ2gsyEbrNsRLdQd70CylJBAoVtq4Hf7IP0EaR9M
hXiFpjTLGXyFQSqwTgU71KwKGX33OBiAUh6D7+398crvfEtYNeBaGLQT/iX5FnNb4F9zaz57GMXS
HdwbjubjeglVnoetrm+QDMjmBMUQxo2E6haKG3fNJKtAymAPTQnF3g66aNaYcvY0mSnJg8E2u09L
m72ho9VtJZxyRP1tFzO2os0JlU+5X1FqrTOCR7g8oczfRwPoQ6ASO3Ee2H2BsZi6LrZu47WVCsZZ
HXUIy8Or79aty9RZZtpYxUlvkgxzdf1gLGFapaB4RJav+XVn1Z95mW/p+4gr8fr4ipl8Dw8JxAmk
OIas2UmVYkQ229OTUqofM6v5ARXKD4995g6MKHYTc9h4NCAHQGiX1lYURE15bhQnj2vfl9zUD+PS
ewen7/KnCk/PGGJK3rPi4hntO25V7Kia2e9oyTlfHv+S1U1GgQpdPcQsPORvN7nN9bEsJhWQS8Vw
FL9QLP5ec8d9t1J3avxsQl7vO7k7N9FfGAaKDhESqSTewreGJ9PLNAg7YAcGqr5jBMx6KljnHoa2
mY8ugWCGAif89tjomhNjnBqZB1SOXRRibo22TqaOQ6UUp2IujWeTGf1rylX3qWZl+9kDV9cGcP33
nO2tL6EEirOKKUExcyXnQBz8mJNX4juDzK/a5xB2QUgwX01H2XuK0YUtxNsDLzGeQBVM/UWgFvU+
7eMJF7SvDRinVt2FhANYpbtWOVMMR6CU2nUgwHCE6m/zc+k8jM5pB+pl1IfwPTh6zKn0rdS246RS
/qkL9UPbtHZQWrjM0e5Mgf7USvwtTh2lrtX4idp6cT4384tn9X2guUM0shaakuUvowWNFZ2f7UH7
jDpvCC6ln0XBlGhSJwx/q8kUVnaRhi3VUJHxjmY6fACp08Ug1qmg7YexBqJVa+jod0SJpzKdIq9D
kjuWbX+oXEyDaQDmgLFghKBRW7+aeY+h6NLpwLTtNpEJJhji8jfSzeoO2giYyq7UCQffKfYYm2Qx
FHJcP1PrMba6+TumFL8sShFRFRsLlZmyBw8ktfsfDUv7oKrqp5I0x9YbQmtWaWCm6luraUXEZ2jL
P3Y0cWzk7y4I4KC+aK00fTwQzvSDB7UmkAZQn5bKW6+qnwlSrA1DolZzZwi88vBqHIe7NmDWAUxo
tQuOEdgio7ZLh12qG90PVoK+xNMysNHWehpr2fDH0iwIYSK7wXMYTybUsm7PUqNqVC1NLNHKqXtx
sqI/Q+q6PjC8Vl9THIv48ZbedVtFzBRsjRbmWoClkJkTh9ZmTd/0xYljcBayoJZasSMzxVXgOGn9
pg3lRMK2Mhe6Z874lrQtRkv7mm/cwGvfFnkWWnmoyANqJqUZRlJzDx6DEXrDLT+nra03vs0H3Q0g
ZNVt5P5rEQvbCxSEGDS+02afCzq06gR1qnZUzVdU16wXMvXVJ552yWGs8Rh4vMtyDvV7k+G04MWF
JANwwLdfFRzDatpW4AI1MoIi2siUGI1FMIC5nfdDQ8aBoDJXB5Rgk6faGeZ+I1O/v3zxkX8jtRA1
BWLm1r5ROWNhd1hvg+6X52OAufrs1NNkB4/Xefc6/b3QK0NSEdQGXQWq1TBk7rJ9OUWp8yl78n5X
rAY3bDs/tQL3C1XD+bh8fWx7dY2ehkQJKAXzLlUuZ6sZ8xF7rAwsyhQWNerW43vtWgdqFgxhmPC9
V1wcOiVBJgcTYMRkbTDMtkODhPAE7B3zMoJQnbNXgrR2CzZ4bxiNbvGUE1Q2QERK2bBZGmRCqkFO
01zoIWttkaJ65ru92N5TnugqBjIJ5kr/fEevlyslE5U7QterVugJb805yts022GKpz08trJ28FGx
EW9VgZKXW4uL2eH94zj0lEP0dkZFoweQ22ho/REEe81W93vt5ONOBfwB7CfwFenV75q0aTxGEdld
N1d9QFvasMOO79QsaZAudvmnv1ge7hHkYkjKwN9xe/QSLS88rxbCcF42lxjYcvjXHuP1lt/Qjm0V
wNYuLiEWBUAmBuGQf95aI1QvKndCll0pCg9JmVySbv5I8uRLhbnjwE5xJ3O9e3u8xtVNxRsVnR0x
TSiHN3XGsIuF5/KJKaykQd3Ouhe5pVtkUTVmNA3coXO3ilF3b2MRa0BMhEQQyDkb/3G7VtZjrmkB
uc7JbTQ9LLTMeclGb/xaEEb2eLSWQGFBtYpURAswo9PtRwVjcprZ9YGrQvf6z/cA+AI8IIUiAe7S
219DdBAZNCV2fmadB3JPAinHGN+Cs7AccZOGns6NrSbB2ufGdALaJGjKIy5J4VYvTPTUmg4CgF2R
HVE8sXdGkyGZtVVwdbu9Fk0cUtU+psDoRsV67diKChPmHuFomhyS5nLqIBhMKaTQmq8ok1yMiivh
2GVbQ/R3eBXxna8syTAc1LJcVPgLaDtGuCfTIP+OpnJgn8FbF/RKqO63YsTabQ1tFkFgChQTgu7t
pwTHaKG5E2QVM4jKHScj9ydrsONGU8fQJKQGe93S50+q1ib7AsIo8V940pV56aM2jU7zsmb0BNk8
fjCHfgQsTCnjWvwaVZ+2JrxETJCTXRSTkXIBwIiSgHSOCtvOysQk9EQ1xa90HZTkW2WOVT+9MiEC
yFUVdJmtibegxD55TaGFGYS/4wn5b+w0NQugIWv5tQPyaK3Kh42awFpogrcLBC8Y34ECurVsYecc
Y67paawJoX42FAAvYhjVu5jVlOwsvVQ2Pt/qdqKEhLYsKvSo20kWdVzMDWrXJ8itR1N3Uin7ixsT
of3/LUjZQJPi9eZRWGiJQo+NN3qx7pLqY7m4m3IOK8ccJKwueHjAmAbFWKnq6gCSRrJcpSceFwet
8ulHD+TqyQ+j84fICPqzfVS/WH8I7sOJR/0GeH8cPyRzskd6KFu1lr1QKD1Z6sXjOfU93nQxMVi/
e3zYVtd3ZUryzK63zDqzcIkofcm+6NRyI7ACdUDtlpBYeWxrxRfFIB669mBwx2i/dNBAYjRMxdAg
n1KNYzIMPrOsuKQfNWWri7sSwVxMUQo2bwhE3E1vz7NBJ01J8tNka6E1qk+GU+FaLoQWdaDVsz9a
v4ZqS0plxfMBbRL89BiWu+eR1NyiVysV68vbBcT7pZU/F91kbFw8ungJSvHqxozk/nTO1ZlSaBib
O9TCUwzmTb5tQWHMz89KxP0ubJ7NmAcoWeQxKOpt9mIsO8/ElFKy8UXXvAcFRwRrdDjvIUHmrE8Y
WsXVhNG9WFP7mEw0burlz0OKwAKIZw20WyD5fhtSaqUgOieCC9lkz5Zi7AAM/fOYgq+GvxoqYUi3
5TsP5JgNAeMZnjYOqgz+rLsTuLcnr/rK0SNJNh77K/cB0iSAGEWNA/eCFFX6mrSInkgYXYXQj8nM
dBOd/qUz48SZyjb0xsX4qlQJ2qeDkTufH5/D+9cUpolQHnYwF4gzIr8BvERvB1IOOIeDqWIE0atB
tUZRJcv9pcxGGveN6WC02mwVZ6N0ubJw0dDBPCkgD7gApC8JRqWlSAju9tkFQViraV2xwyWYaf6c
duL1w7rum6XlXSfEQn89XveqcUzwYcjaBNRCTlH1Hr06r8RdCEqw/HVJ3VaHEu/Mj01mLDGApcn3
mi0oipBqgxRePif/0zPAuxkAM1SbZFq5qqqUZMhq8GEmxnBuee1W/uhi5CRIIWvwhy8uGEMm40HO
Ew8SPIWkPeb6aPSFndtn6tYYwQBihA5+scmqs7Im4b5AVKAeec/RgtlWKFAqmnU2CIk7SA03uRkZ
nhI+/mirZnDXIw/FM/sOdThyr09bzq1zZxRh1pj+VH3SGd24BuUjIfZMoIkFbzIqgTJK2ppszCDU
hnXuvcavIUplfyvr82h+xlxV8HhBa6aAbsR7GIkFXEL6PJrDlmaesSCu/DMLa7nrG8Opb5sYjamN
yLm2e8hrwYlhC+JOOXIOeItZswNjeBYH6TyHVpqeB6v7/HhNK2AtD8je/+xIaabZW8QkQ2dhShYF
BShosrjqBa4eHWoGBiloNYdpvM3XuLo+XPFAuyCe3aVndpaabdm11nn6DipA/qwHeqTtk3A5jd/7
kJ36HxAT2OAR37IpVWpB5lGBkRA2m+atmb+qKqS9tnhM5FRC+KMQu8F1B9ASEunbG691yoQkqMGf
Dcyl99ZPc/n2+IuteeG1AfHnVy8SNXMVHbyQ1rn1QLPZqs7zXLe1744gtbTb6R1gw40YePeO/b0m
jCFgKg34fZAV3ZosHLQVyiUxgawbIxPIuuTgnQSEQdmVcfG52vhMm/akS1YzKFAgqWeek3+GMNtr
ey8anowdYNhhHqXhFl35pj3JL5Si1wBpwfq8/RKnsMe+NFYANPFOgBXV1G+30IO62LLrVFDeUimW
qAkoQcFhbZ7HpzEC/VecE798ISr4K0/mwcLYuA+Oi71yAaSvtQLH8NVvykYus3r28Rz7/+8qnX0I
kfbp0GLdXVQfrGca4fh95Ps+1gLdzz8kAIdufVrx6R6tWxzRK+9V+DIwhgh7ZpbLfXPQunNedkz1
DYWQf+tqqQIjVc9hueT5T1OZva+jOTQbU153cUBANCD0AqwdWgqIfbc/Yk7QO7VNtpznuffVyQoM
owLBs7lxX8hZC1B8N2bEn1+tdcgxs+YuwGkVxg83e28rGlTpx1p7yfPMB9mR/zgwbK1Kel2UbtmM
dpsv56b6YWGSRlUv5rA1jftbQvjRB5TiWw/has8jiogFA5DqXdDPu+lbYvhm/Vup2wCZQ/GiHuG3
PM53876MSdSpfrN/vNoVSmsMTaBkiwsZPUeQ4tzubkptHWXoWTgvZBKfkl0XGHsgq/Z1hPsD80R+
FusfHxtdCe5gqsS8o4oEAK8OyXGsrDd6g4PLwp3LSAHChWzG2i0TktOgoQ+hD4IpflL53idMS8Xo
YX6poxmdeDBl1MCLbSHyV7fyelmS5wAO4C4gHLLPBlr3z2o0Y2r0nBza/fi9fRufu0t1Ho9btcrf
uBnJk642847uQe3UcRJDTuf8UL+ChlfxBXSd4jklrF/0i/5qf9LflSf+QT/ST6B+3Dgwa1uNvi0e
M4KqG1Qvtx6E1KulU1EJLiV77y31EaAp+jc28FLDQAx85o4i1sShX0BhDDa6iak4+LR5LRTzTwuh
uE2AlQRsBuoogp5BOpQqT1PHIo53QuuAAuFXLePGcbsLLpIFyfN7DpWZEZTnJwjnBCXovu3xQrQ/
fcuLdQA+AECOmBDBqM3tF7FR90+zwrPPmgloV/uTNZgVVLcwEuK3So6H0jjgGI6O2geO8a2VPMvT
QhtbTCcoTD0suafEzKX8W0MN+wi6KfIEdSb938ehQ3wC2SjSQiguCu0VYNhujVbJNIGffNbP0JFn
zyQfyLHpkyIqWpZFnWdsDWKtOLeYsQfcBENLeDhL9qitLZWZu9rZGyoSJ5CGCtOi2VJGuVsVnuNw
OrR48UwRpYnbVdlJitu6tuezDYYuSsger4kXc1GCucOo2R/uoLCF9SDBBrr1LuDrOgfOB+MA56n7
YHOUA+lw7K36WI7el8eW7vZOsqTfroovTcXm0aHnheQ85AAg+blJNlWNxF9z4xLCDCjrgZqxwG4u
P/enepw66ubz2W2dboFSNtRe/LzJOohwQnaI/6JeSuvRz/WZeLk/VqVVRt3i8iX2krIao2kezPRj
AdLYLWXiu+OOn4YCBPqBoPjHW1c67oCvulnSo+KhmT+0FNNCbR2bkFd8vM+rVoBHQN8VJV80f2/3
2bJrDPCNxXieykVQzHuuz0tziBqd2fFjU/d3HKqd0CtAgd4ShFByujAYbtZPI3PPXGcHZgFJ1xdQ
xayW5077uhRmDOWWWM2/CKBh456qbjrbakmCho19SM2NDFSEmNtPL34NOMRwmaPPJvcg87rhVelQ
90wnO6RF9zIPxzrZcQZZcgtCI5obIc3Y2O77fB/FXijOi08LuWJgs2/3u6mBtTOsQsOMmJiQKsJp
T3fpC49czPq1L9bXrY7SHa4Vw5IQaUGzGzwRomApXUwYZqmzhg3aGX/2rjXWq127sd6D0DlXY4qp
uM6ZgSVq5xhCL7vJcTY++72HwbswnmWg4AVg2u8c5CoFV3VFQdwoNSAlj0CK1fxjtkWfv2oCJVEg
3wBxQWS63VSIKdapm+A9niffeH8ZzNfee33svCLnu/UWrOLKhJQTTp6jOFTJYYIkwaRPcWYW5xY1
UCBMIXmlnVQgJB6bXFkVHvoY4XXhJih3SyapwSH8SE3MWIkiyf+Rdqa7kSNJtn4iAtyXv2RsWjJC
UqZyqT9EpqqS+77z6e/HvDPTCpIIjmq60SigBZSF083Nzc2OndNVtqu/WOL320ZWHJKkBUTSFGeY
i5iPeyiU03NRaMZLXYgnnv0XnOlOBUQmKsWDVifMwzUPRWzYgi/bo9g4SDUcktR/NQbxdPu3LBcM
GIOJCUa9cNdFxPPRoswRhRAvOfQVTQ6XhKY7cr3RH1y0gHgTQuYgAluciM3p1V97iwyGJ9LcJL2g
qq3sB9lDogphMTvxAuuF2QHtTnJDZQccS07ssTT0O2Psv/TMkiID0t0XhfCjqMevHkxpx7TNCqZX
fPmQNL51r9Br2Q2Rq94hwmvZkl5uETAu7kWaDtMYC7cwJV0A4tc/HkHDUIkknwetRPIX2UL14ZR8
ssCDnFwZWpkFHmc03M6Vh2q8pFlrT6q2Q2rtPrjRkwmasyr/nAD3sx1AMkSgLcWrXG5HOwPYZAhg
nv0t7tSFP/Gvh+iCBIzZQRKwmRmp0xLa98ZA5MnstmUYlhQP9cSNc7q817hA4MWZbNFWJwZd70kw
yJ0+ZnLM8DbEBVJ1GrU90y778iQ8981LGDia0x6F3RYr9CKJnuxOAhu4swFB9MwXyi5tNZRbOLqy
AK4v+TSxmJrVeOqQBLWiLdfbMjf7nB2kil5ijcMlLMMX1FW/1mZb2Fb1psPYrI3uRrdrAdGaUMXv
lze7KrVRyt0wFoeLf6ffG6f+NHVn5YMIw3aw/QDfWt3kTO+uqbgxu9jyOFgglAen+ere+072nL1a
L1DM3MvfmcmsX9SHYJf9un0YFvn7n2UCwIJUicRInd3PgaG1ndRUw0Wro2ObfteUH7r26jf1xj28
7qYTwcF/GZrdkq0I0CoVcZeJKX3H+LvxEO5aGECVe1Qo70/pJln6ssQ6W9vsZKhtGMeJ1g1UqtK7
6tx5Tqwfx+ykMELjqDZqUAczdISn4pK8UYv0fJvhBHWjdr4MA5Mf/Wfds7dmL5Rl07Pyixx8q5jD
88u3Ztyo427Y0GZ1jDRpzXAEHnSRBkh8TAssfKe/ojy7Ubxdhv9pLYhJk7IjJDcHt4RxP5ZSKQyX
RoBpDCx2hRKrFjNUvuEtawvSJpZrRqLpiC4GXAvBDUJYZy6qUniPRde3O5Ge7zENmBn8+AGgpc2C
JtXkxWwmFSAlGEVlvET5+EnMuns3Gj5p+nCSfelfbBOXAs9l5j0tsp3rQ05IKYKwTAgprfbDk/w3
6CtR3+s37re1XYImEbVN+tX8b3bSmKMqws6T+8uIEKot9OHfaZFuJEvrNkiXLN5uqGnPw0Y89r7K
1P8ljhCPqPX8K/JrwsbWrHrBRBQCPBTc8/y1MipSUI1GjxHxKa97KHtpt8rhxueafupVbk2U0N5Z
mX7Fu9CbRYWhJ5rExVI8jzrjQN1wSiGIN7ovtz1tfTnTpULSQa96tv1WjQ5bDof1xbBgvRIqZums
x7rI/rltZjXSTvyKU9EHYM888YiNSGrCwRsv1W/IKuXAAbG1IwiWtvJbZRDYro/BQfsh/otAR40Y
UC0wqkmk9Po7klaXQxX5yYWB0dC2RvXo9/m3sjW3EJmrvvfO0CysJx2D6dmU8Ljog4M/K4cft7/g
6ka9MzAL2YKQp51clGRuY90yIQePUdaR7aITsRFQp5+68L3/WJoXoBWT+ZluqJNLLtd/uWau7zO/
vO+K7DAkxblLw1OjbE70rH6/iSRyCuEUn2Yb1WVqloZdNlw6aG4Hl3HDfNhY1+oXfGditkVlV8SN
XLrxxRjrOx/ttUFrTkhObESh1SSN6PA/S5ntFNz2DJAoKUtxINL9AVX0S/fdtMEBO/mr+vIv3EKf
JuqheOcMzxYFlEXqGQ4dL6OADLoYXzS3v6OU//22mdV4ROQGzkLJwphXhtyuydoEydKLICHk1Wpf
m2D8nqnifV+1/+bIUmRnTdShFoQcnZuUbV20/SVS67cqMWXbkPrApha3NV215nOQmkxc2LpKFW6W
vTeD2yMnFvcXK9Yqp8xL9RdzqMqW7MGa3+l/hmNIUegfzOqJauKlBF61pZxQPslt9TiW3SH22s8f
36I/usNcsbxV9ZkZYajEIDEFhCdF3+7c72PuO7H4Vxfk9m1Dq5+NrHwSG5gq3tPf391Nja+ng0dp
+ELd224N+d5Hgvy2iTV3m0ovDKXy5OENeW0CHwyEqDSHy5D/9uOMS/a+0+p9E24E1VU7uJnBoDLk
qnMqnTTVxjBSJFruVmsLkL209S/Bv+vbLfm9NR+Y/Pm/Dc3CW2AGgmt2+XDpCzU6CuYYngZFR3Ey
79L97W+3ZWoWEUbJHGJ0eIkEYgiFd5naASIbsV///XE7AB/p40z9vQVjbCITRs3Y6y4FQ7tu7R8H
wX+tfWmjJr22HCiIoLeG04pxvZm3mWPSCeagd5fcygxQ5Fp/5yPc7rS+PBxvr2gxuzs9r6f+OZn3
H/jZzO38MFAD1JejS256D6EhPghukd0Nvmp3fZrvgqx9zkb9YHj9JYQK+7b1tYXCssQyDaozi5IJ
g4GxmAChugTQII5du0sV8FN6ubttZvpes9t9Si35oNCjT/zo10fLTL0SLoWYombUoHyhp/+M0L4f
bhtZOVcYoUyrMH84iWheGxlpLrSe5mFkSOxWyGwzLB1ZKgGp1hvX7cpnI13g7DLfAmh8nlhWRtoX
PCr5bLH5Y8iaFzhI050glBu1l9Xv9s7OzA/lbnSLujHaS9WO/wiuG9i654X7299t1QgQIGpXXAmL
xgDUAzDFNVJ7CSywR5G2K3L132zNOxOzrZEzE9nRIIdjMPypoqvC/P93Qa3+FkJ5d3sxU0ybexoy
ftCGMKNNVXP2xTxPaxrZxwmCSLfVQXRUP7T9/K0rfwCy+BduAMSAhyW5I5ILs6Or9Z0A/+oQojqK
W9dmWjjBoAw7IQv+ub2sKX4uljVR7k+9qglSee3breCC0coK8alrg0M0BDtXce+72t8ja+0UmcRS
rY1y6tLHaRdNHeYpCiqLlKjplHFEJbbH5GOrwUz56IbPt1e1YoIxGowwm0vVdt5albpKdQ3BzC5V
yDSgYh3bbth5/dY2/Zk+vv56ELwhL6EoCjken/D669EmVqxw1DPgNdoBCfbxQQmA9l5ghIqchlpm
chDCY5R8+pz7py1AykpqjnW4p0CYg69ZxCUfvGgFeQzAITA9E0ysKmwVwefiLr5vRHsLwrQMg9T0
meacwiBw4nlsyqouh6ysHS5tp+06rXVg1LGlAE3VxN84bCsPbGo45JeU9nln45/XH3Yqtlljz/vQ
fwzOgKXOzesE3nTkO902jvXLpFr+15a4/LKTSsN4Sp0oi000CPNOZlGgK0RYjC+MYMsOpDWyrTc/
jExH4z47aePPZvwVpaZvj1BOKbH+ettrl/ESCDqDCWDFKfgrczhJX4i+bnrJeAGg9qWu69cBao/b
JpYHYzJBz5G+GP3A+R6GRiyHTDmSuSnaqaMJmOXCvgu3srbVlciQIIJrYPZ6/iG7XFM8pSQT9YbX
qAZw227xOi/DMQuZFAGplE4adrO4lfaR4DU5vYra/VkzQ17r0t4YDIeosPe6v29/tdXlqBNIQxQZ
SZi3UJtM96UiccmkXJkpIFhAUqPegvmsbo3BtkBVzXDxHKgxqo1khmabXnqaLjFvxNaDINsYN947
qx+OjaedRFeY9VyfrCzs4p6JMbp/ym9l6ByjYQYBSEQn0c6Uxf3tL7eEfU/jRHR7/wg3Inw/2ye9
zrQot3iVNo56nGTJgr2/0x+zO/Mw6Rn9ixhFEk9dGzTEyuhYJQrCKCVae7GSH0w42pLh7srid95t
DfSv7dZ7Q7PEIw3LshRMnsF6Zt5bw3iQdOEhrLSN7yevbRdAGl4kVNB52E9/f/c8zd184CLTQ+aI
XIfWwUOU+9nBHWvpTlcb/SiLOQTIRvE1qapdNMB32FqDrSTFr660Gtuzxq9ylb+JgvWlFGm/1H51
yqogPg7B+FSL5Vkx672UpodSVA9y28LLzlTTXle2tAlWbg/uyP8sZHZV1iU8WfBuhISEwAm6b5F6
X7eBoxtbc6YrhiYeHcZMIc5D52fm4KNYwbHjG+GlkZ+98lR00acyeRsDayNHW7VjMYgCqwNRzpj+
/m5nmP6XE9nLxydILE6xrzCp/pcyKoe80TYSppXwA9k1aABKISYkyLMVNW059GGVjk+W+Lntfo7h
Rn1i7balbsRYHMrYwFDk2VKqse6aoVWGJ/lYP4o/K/KY9kRT+9m4F3fxfXCJj1sHdWVNlN4mxQjA
mlicXfCJ2fYtYJTwqc0leKrjnR5u0V+sHJ0/aDQebSBfIHO63iBd9eRR0br2qZKehfGz7gU7Vfzq
m6YdVlu912U4IJ21wLnySgRnN6f04zL3zc4Ly6cBnElZfobt027Trdi9RLZoU1iD1g7YIINPcz5s
ySoQawh50g/PtOv20YNke93eelPBmcFYZ+uIHE/03yZ6v9GuOUm1k0b7Le7TFX/hZ1BkBI3Kcwgq
g+svC/Fp4uvCEDEWcOj2cmXHu5dJea/eDzvU1GG0v9vKzZbvFExOn5ZnCv9RZi5adnBrx2XlXiLX
+pVFkd1q0T4Jg9+y8qt0jZ2lVMeNq2sK4dfJ/bXJWej1a5oRtfFnle6xMA4VK+zppauHUt/lr1sr
XJ4IzIGP4owT7BdxS0fL2CsDJMAtTl832jXszbdXtIxYcCNMUnXTebMW1fXQzDTYbxCI9gpEGcud
jqKcUsDqwSzC/83SLGJ1wtDnWR+5l95190YA00WdPPSdYls8nG+bWvlsXPTo3dDGnoZUZrvUprVn
5YmRPVk6ImSGWMTQGchbTBfrVphFn2hf0BGZ3V5a0xpipUowsOvVfSZD+FdtcZEsTEyM5LDNAZ5F
H2KhOo2QgV7GoxnDFMxgu1EO94DYNtgRpu9+5dLXNv6UDN/dWbD0Ie7UoseuD8OxTOP7wq3udeiH
4qDeNbLQ2G0ZPpLFbZylLbuzLNANzVIdqtS7pIl3DIPyMfS1nYbui1K/Gb1+ppJ48IItLegVqzzJ
eeegTYcc1/yOqZooisF1w9HcB8LB7KCWR5n5czoM94WP4IfenIRqUsazho3uxRJ0CWXie9OzBbcQ
W1TMrmt/nub9HaOHKGIYjm4TIA/5J2sz8Z3cfLaztL3hKtTgTGC1sxPnG6NviGWnX7x0VJW9Ofhp
6EQiQMKDSuownEwlL9qTWZp+e3f7BC7uPtYKKcTUCIeBe0FiLg1ayHQnktu+WdkJ+JtYYw5d2xIa
XNazaTvxbycVopFGMVa5vnV0L2pMX3ZNmD36R+XUnlSkwbq78rgViaXFZTOzNB3V98cky7rCk7AU
Pw4v7Rv6EYJdOf5B/BG8uge1QZCJW97JfLs5bc7cLa4djMvsIxQwE1na/GVbgDepNATlzi1jspUT
Pbu74FjfNzv/lB8DaSN8LktYOoQLf4b7AYVO0jvXa438CtmdMq6e3JoKz74sZG1faq6JCrwVGQyp
Rlb1ZYgGmC91/4/U4RB+NnvJrWwhqO2uePKHuLCFNkPrpPik5PE+r+tiix3nz0Px2sH/C2M+geiY
pp1FYG9IoKIyxuqp0o17LR32YG9Pmpn8pKVyEVz9ELTVnsh5tvr6O5TONpnuI509qCRSYy+Gms6N
2j8ngbD30FauNfEkDPWXPhNsy6ge9Xz8bUQe8u3eTuPx3QWJU+V/+ZXkSN1jjVZyE7lfvVbYWe1b
mr92QuDk2fBIIf+JmtHe8iCUM7bi5sqd8O5UA2mebY7kTnyvbvSkl+6u7hDE04MtB1jxN97nILNI
/rl55u+YMklDqcxgstcjO7/LD94+1I6WE9vFnX5KkdTcuAvWPO7K4OzGbqx26NlI9zzBFOFYdjIm
S3dieDYomU6jrUHkpI5aP7gOqnwfj1VMJFOUgoRvSd0rqK3XCTIal6IQSNKus7zyL3ccS92Ge0n5
cBmMyGiQtVI64kxTq7rePnXIzdDXEWKFnucHAwxP3ZB+FPA2MzG7aJq4y0KDM/yUF1YNJhhFIvBb
pS27w0brcpE9TmFeAiTGxDX547wLRkWp8RRkD85y+E2KLkxH7T35pUi3cAwr1wmZPh2jiTES0PV8
RXU4kZpI7tnTBOvO15Ez8JrY3RdDZm08fJfHi5reBLVkqA4U+RwyMcmRtWowuufCL74Z6Unph9eP
+tu1hdlNoig96IJIZjE4iJ02VDy0IfAcTSs3J4+Wtxa2oPqgP0VzfqHCWEZ1RMrQpUgIhq5tyZTz
HFN5IGJIoNMsp9wb90Lwuajvyr8ClMTlja+53DiwndieBJYnspj5xvmGYLVlGl76rPsq1unfSjJ+
kaTw458U34BJDLw/sP95VtdoZt/WUTddBKEjJ5AFtx2s7C8f3ji6KrAgSTgGz+1ZstEXkVmiAOKe
A4hglX3QJBJ8dqobh3TFwk2uipWgeH29zYJi50K+JHPt/6GxlHa8qWv1ZFWOQFTsdt7f6FUzK+Pv
MwbUySR3t1e7PNtYn+RTmJAUeRjOsseSVmPvKqy2LCrrVIRitnNDj7F41x9tn1D5UfAaz5x39qxZ
YGxMxY0LTXHPuXnH3ObeR/smb7bGJ1YOBFzwVCkmaSnY0WYpQ+GmYK9MoXqC+vm+DV/yyL+D/eKQ
h4XjVrWjluqHozFNK0ZqgCPQekQN8jrgDwpvRIoXSOtIxj4N4kc/dZ87L98IxStxaypxUn+G3hZ9
v5mZuglkwazM5KloAicrvg/jxv6s+APyeZPncwCUheBJrPqjPNR+9uSn6T/oICW2J4wx0SRTD6JW
bZG4rpsDtDah+JcD/K0ATBLOp+RJEb8WanKfl/nOcJt90h5u+/nahwOuCzgKumw6fNMPeZfYe4j1
hH6pJk+aTy+RQ5ZsqR6tLYUy9h8a94kRcxbwU9jbxg7e7TNkXb0jt6Kwg5av+dJKyCFEutB9vr2i
ZS0O4tL3Bqeo/G5JNF6yKtEgWPBl2zz6jmQn/0y955xx0/qrbE9kFlvlnWXneWZ09h31yI38ocPo
1HkOHpRTcOwOwjHkUURP53h7iSvH+GqFM293IbNxm7hxz3FYJ4cm/ey3YvPaUug6iGOQ7gUjbx6b
rOw3DsHKfTaVlGAXZkiC5HgWFL3S7BM969yzJKWmrVue4DSBeG9Jwz+3F7jysp3EVf/H0jwcJm4V
VrGaGRcJkp5WcW0xuURKs9MUsI/J16L4rkcpRFfphtDBygo5bpAL0ELlCTBvLAjD6MkmVZKnLM//
8d2Yacgqf7W0eCMsruwgsFQK5FMLQ2TS4NpHWzy4llpRv6Si+OKp5rcsSe4hVnwUGaq0i2DMbUFR
tug3Vw47s6Z0nKCvoVCtz05G7DGKXadR8pS1jXEYAE3+lUNk+2Nj86ZMYPYwBXpBLvD/OSDmmhzN
OBQpaAUTN7FzBP/k/XjSFTt7639Xd+R8jrZRb1kJMbxfgOqgMUgbV5xda02S5W7vmcZ5tKT2VfOM
5IcfdOUjGpn5p1hGo3pjhSsfEjJM3BOoC2MVc5RLUsVQqjS1cRYb5eCNmhNbsZ3rv8UI8IckSM+x
ACsQ1N6CkNCjHJ1I82q7LpUjP/Dw4R/DM5hOqCbDR4T2xjwaSPEgWQzgnjU7+5q9RPs8csZs1zuC
Zkd/y7a/FyEn2qLMXZ6UySri1dNE61QCvvZgye3GlvaPem7ru1G+lMGp7jYgeQt1DMoveOmE9wKh
sWwAiGlnNWrmqecUoj7dSUGa7fpfiTO+CJ+GXX+MPcf1bDWxt8ZK1i1POE0NAa4JpHy9uiY3GPbg
9J7LN77pT+8ByCFKR2fKPZm/k5wQgqlgp/1oEvv2bq59VnaR8iHtLAaFZ3lgp8F/kVaRcg47yZa6
340vOinjtLetTC5xfUJlCaINyGhAosBGM1terlVpXiNZc+5bS2YEU7Ny6S9IZBvd6U2r4mWE+oIF
1YmebElzLM8qFsn5gKJBnw7+/vrLBqrbs/ZcPFf517G4D5ufqXIs1I0bcnlAJyucCAQkVuSeY7Rx
BtVLxbMuPxvaxR9/3v6AS2CUTkVyeiZDuEiNeQ6A4crrKekZ49mj0sYY5yA2P8oozf/SUrGwB1F0
BVsuw1a7q1AjeYQtWLMcnt5FuSvFwNqitVqud6J6IgOW6YECWpz+/i7nCQNfV9JMGc9jCYIpaXZd
uFVtXm4cJvBL6jfkv/L8yhryFmZQJRzPftqMkt26jR/b/JJIY4JV8v19G9REno3vvLxLpkkEihHT
uM2yIEGzvLRivR/O4xugM3nvNjvkRwlwvqM42Q/RtKlHmltWp4f59fmYIAzg3mHgJduZo7WsMRLk
PBiGc73L75LEzi/1qTsY993f8kl7ur3E5VlkaAB0DqTxMl2uOR6oEOJyyOQ0fLLab5H/bCSwK3Tf
JfU52RzCWgYXehIyXAq8K8BUz01pXdAHfZn5T+XQ2YVX7grTtash3EgTl54ycVmAjJQYyYMhYFb2
SHxeRnE8+DDRGzvE5xxXSA+Gmh63KDSXXo8hapdcDSxsMeDjgmWozLrwn8LhYCbZt6BrXm9vzroF
bgEDprZJBvL6XCEE5ZlClPpP3ISP6hDaQbMlX7GyKbDQoU+M0hQxeY5xhNVftBqGeZ7Grj+VXvIp
FaOXNNy6r1c25crM9Pd3ESIwZMHLY76VigR4q/80UM4Uh6c6+fA41DRs/249s3QExrlKqKFYefKj
V6llRk591KItJtOVC/rayizlyxrXGBUdK5qtvFU/YZM+5r9q03bvAse8FF8KxicvYLe3muuru0XN
l9cyFwAZ/PVnDJMob2U39p8YE1Act1Q/db3wnMfquP+w56FzisQcQY9W/nzwT22EqEVgxKNUo+7i
sP1l5uqX2yZWIg9Ffwg8pulCAt201ncu0fdyPCHgvSch177S0LpvgFvZLc8up5b9HPVCQsRtkyvn
6crkzAvDRI01xgW8J1jb/srM8VWLt6bEVzrNuAYY6T+jNjRFZw4YhfAdepLoPSmX+Hv0dfgqfIte
y5P5GTLLcW+eosPW7bt0CnyBXBV+AprNi2yx1dQ6HgZxPPeF+zS2TNYq3rFvmo24uvx4jIz/N0s7
M8/TXfluvwpeAF4fK+mTm+qDXWv9vuzTLdDtSiXj+vPNTlae1p2f9Hw+9egeh333qYXblGLkuXTE
k7HxcltzQd5QCDfSKifjnfmDGCVeTnvDe3IRn28794R5IL7eIRAE2/fq4233Ww0b7+3NfCOjAtZL
dTMtTjnEjT3muyY/pO1BvItt6+g+IPGXyocq33nEko0jvRaCKfLiIiTe0AHN7sVST5IyDHscc0yd
pP9ReaGdtvH/QtB86Sk8TadhtymjoGY5e0VoQdAMENV6T4A9EPYIwh/6GG7kLaurgW2cWhAVjEU/
oCrKumyi2HuSQ7RhXSXkwes9dnn2WMobXrJmiplQFRThn+r1rFqijabYqfBWXII+2SvuuEt81y4k
bef3HyZr5/YCSTHVeCe4ynxiFDzF0Oht5j2lJqyshYfqjBTLcGR5G8CjZcwgj6ZcQSJNirlgom88
xmRi5iufxvw5ND5ZAM5VfeMBvXa66AvxiIb5E0eYfbfBH/UqCBO8PWr+dqU4hQlaKu99VNfAUoI3
t9xxI3Ve8zw6UdNs21QUmH+/SOgrV+rxPC3uimPbh2jJFdCa3z7Hy/IZUw5MBLA/1AcW3ZmqBccU
jSZWsu7Oi+UvnVHYXvoio9kbIy2jtlshfkr0rl8EVxbnBUmUhsmgVK5jVRAdSYw+S0N2KoV8J7tH
AXqQQGx3ICB+317ncgMZopqGymlBTVj3WcTIrVKzfE0TLqYbPwDZYlQ+81go3QcppJ2ZpX/fNrhS
eEXBEjiRAtpmMjxLeE3PMNAgqrHYu4ekGuzGLGzfbb4CVnN0VzhoQb+LR9EW8y214uUpn0C8JMJE
lOndMLnWu+tt0HVfaJmougTMMJ40AxmITPFsi5kMWH+2anhr1qboSMJNNYKpwmtrMVSnqShoFqQK
OQ92T/+USy6gf7e8q60w3ri6VzaSJYEl55lHQ2xeOTcyRYIGl7UZJc+7vLL1XrSZbHIq65e7yXC6
tjY+IFcNPR15ASUPA9lycz+2Lt1Y8oL1y2Tnu6CiaWDZWuBlG6dxpVVLqRgdJG5WyJgXsSyOZVc3
e92EDa5+bJ/iXQI8q/08nuKH9h4NEUcUbR2ea9v4cttdl0H02vAswHUZEqF1heFSfQv6zBa0eCfV
3e62lcnxZmef5VHpZPfIkuekc7qQiUI/uDwr4jTYDX1mfRmHIN5oPaxamRSeqHdOpBUzh2wjuaxC
LbIuZls3BzXO5TtfNj8MyweHADAFMAmNbVOdF4rqnll7PxHNSyZUrdMWqfpWDUGN4Gdfb1WM1lYE
OBFQEWquS6YPVIxAPRWDeXFb8R8ja74l4YfVfqblTBc15T5JXBRPxNKLISIsMKGmkIJZ90mTHhsp
Pn3cA4A6U+qDQoDkYLY3leyWVVpD4+spjCD3fq7siyTvf9y2subNfBGGZxl4mzAr1yHJb8LaHRrf
vNDX4kJJDtYonYBAbJSY16LDJCAsT3VLypizQ1P40ONO4+6XpkAoRkf3Nq+0cpcJL6UMyfPtNa10
Y9HwY26fBjMZL/PN14sKrLStVCVgTMFrDm0efM0i47UUpU+u2Xxqu8fG/wsY/EFHc0qRwhQSuWxv
hdIl9s1d43cba19zSZBUTGHyVmPUb/aJ1WYQs8Gbfo3wWYVNTouM/6OF2fMpjf1Y8xkuuwyBeI59
d9+DTrn9TVc3kGsEWDN4h0VHXZJHQW9TTKg1XZc03EPt9qD2EFP2x9uWVrIe0Bn/sTR57Lsr2RK8
Qs8pHVyYUngo9V+ydpc1KF1l+6hziery5yLdwqivnQIC7QTchqlj8Zge+iYxQ4BTl3D4HBmWHdTP
gfjr9rrWvfKdkdmBlsLcqjMJI8nv/gDv5Zu/q7z7CIyn/xL8SHZpDxWJ3W0V4VbSAOrzvJcI70TE
P12Fd9/TzGn81FVnXrSerlXVZa8Bp4C3IiKTwrnVi/DjgQsuNjCXEAxMpHnTeXhnsK8YM5BT4mMf
VY1du26xz11z3HhnrDgka6IYNrEzQGI8O1VpgGQOctLGxU3OivvL80sHvPFO1TauyBUYOkkps2vA
3CZs1hytUqHfJQ+Sa1zKQ/5IbQKkRfIc7+LICY6oFx0aqITuol36D/jrLUTYSui4sj1bZFtnVjbw
oS9Do1p23gnnKsrfbvvlmg3Q3DrTO7zfabZcb5c2CFnq9SGJVCkZiCtq92bGFPJtI2u7xaNTovKH
sjuN+msjqjoIiVWZxkUuf7UgBT3PAzFi7AVli+VwdTmA6OkGAGBdAGQlEl25NwrjEnvap9SMP9VD
9vP2YlaixZTEU3ubEG0kA9eL0Trf6KvK1C6Im8PXLX6rNdNJavXutpmVlVyZmcULNXIrIcgEVAVN
rqdIfxZTWsG3bfxpfc7yTDiVJzlRCmHTc/N6LYGhtDmzW9pFLzpgsrYeV0nvjJYIQVHRyX52tMxs
yJ5rOc/0u8aVatdBiBRlJyEN9NQRvaEvdkGeyv5JV+vqny6lAHCIKbh+8Ys0EZ/iPAvDT3wxqQA8
0yS+XUpaMOyy0SpSgDWWy/9TaJ509FK04Vu7aPTQ37i+VrbsDzXIVB9AOXUuaFhEYm1qLcvMG9pD
OvTivnio863R0JUtw+XI2FE/YT50DnZRlBAyEEHULpGof0oT9XNXb1UvV1dCj555T7K1BVOaObYM
1xWtdrFCtzhyo0UXXmOoGMqh+HEHpP9JV5I+KJ3CeVE7kDwlHwPJgvXrzR9+Sc2/eORMkhBMWVoT
OnQOaUHkddArubEuEoKgaAimifkW1pG54eRL+gMGtmlR067j+mXeeRZ9XBwK7TNewuqx24875ZQc
m4NxHHYiU7IAKjecbaWcfWVvTlMMjFgBH4O9ztGP7V3z6gP81o7Svn/9X1BqT79+doTfr06bFWx8
cNA1OkUWc8DWG6rYenloA9u8Vx3tYTyVD1HGpJTGcO5gpy/NxdskSF8J7lc/QL6OIVJKYph6hXXJ
ospO1cgJLf0oSI2tmu7udrxa8X5CLkTJE+UrT8nZWmU0phQ14sHKbO5OCZ5Lv7A78eMFxWmcmicE
uE16YfOmR8tjxaqrGM0SwSVSeLu6tL5/eCFXJmZxl8kYuciAt180NWXaJjFLW3dH2ta5u3GKV/I/
LJGQEeAZMZs39WQjk5MxEIxLi9KUVqIIrxVvRaBlDmW2yNbV/Mftpa24AxK1ZEp0lxmjnbPbZLnX
NmnVTEnLT6F6hkRrTw7lSMrGpMOK39PAARYCoQm8HHNgecZspVqSGJJntspuyKJPVTd8l6LhQROF
z2GEuKNPkyXXn2+vbyXITzOWVJ2oVdLEnN3LUaIoMSB2CkC13t57puY/R2IrfL5tZQXtw9sfYVXU
mCcRn/kj1iwSQa4DUqZpQEuGV2o85Q/GkSmIg7/RF1hpX2KLwt3ECAb5zbzaJIaxX8CBTXpW01hx
AjOJUIroCtV1LLim7gMrj+xESFVbjLpo33apD2pUUoSTakJF6kS+IH8bwKVLRzVK+60m1pJxAV5B
dhjiFeBK1JBmGZeoewL1vlY/x3fZS7fPprpedeqclg+DNOwnGnnuneEYUzr+3TiqENwfPpyLQ//N
f2X2gp+yqFK7fdVTcMeLVa+wi/Arwwcb98bipE4W6H5DBg/kaVGwTYOilRqtAAAYJ04YZDAc7EOl
dCLDOCbRRhK7ZkybZsmm6iLTQrOgbQVeKwdZrJzzIUgudQ6Q3I6GWj53nVnuad/ln5Veg5rotlsv
ggNnFeZs4sKEZKB4e31XZGkq6IlvymeNeyIJ3nx0fZLwsyV8vW1ncUiv7SizbmTmylHqCpp89lLF
TuJHYxNzsnzPk7HAEQnNLikf75rZXSRWVijUNSPCEydze5d+7r/pT8NTcBee0bs5Ab7N6k36t+VR
JbVgskvFUWRymbnVZlDhE2Y4m8Fk/b570b7xkGKmvd6nZ4aAn8N/tjhilpV2LPIQAe4LJA5XmT1C
xxGlMSMTjbN/Nx5KkNXdUXkYH8qTdMwewxf9EO+HB/dF2ri31u1OIniQ3a3wrJexiz6iGhvnsPD3
avLVHX4lUf0Ypvonvy1/W9YgHXw1PnVMhsfdT/jtnSbtUDqLaDmMas3wseI6nriFJl3kIIyDc8GB
9QAgOKGEr11YkJHUgcbGYEyrsEf4EuJMsUP949Hg2szsswvJUEQyFErnotBhaDQ724hQvMma/KUZ
+/hQiVvKM8uzSZ+BkjPhDd0Ged4wgiHML9pKUs+R2tqRcUjD8FCCfMyDv28fzqmkcJWxTiPOMjCf
abBJXUwihGouNGlWqecEwJ5USDBlJWff/Zx56YNYhE5pDBthZ5ErYAywDP0wnHWq9F3vGU/YwO+j
Qj4nQnmnquObhH84Zu698JA/adB2OfSSYgQI09fba112NyfTDIIyKyDzyp43xMcuDhjjEqSzVli+
7coSVPfpJ8SSfzVR9SOM80PdBydzCF66fNxSklxd9zvjyvW6mzLNwqwP5XPWCq+ylOwh4rJ2xv8j
7cp249aV7RcJ0Dy8SurRttrxdhwnL4IzSZREzRP19XcxuPfcbkpoIvsAZwMHMJDqEslisWrVWhlY
bfq2PCF5+ZrY2p7E7XKQ+M3/6dtFht8WF71H1olujBAe8z5j9rK4WpQOnh54WfsJZEUftCYfSVO9
GMCGVEV6dlPzYDvjJ2C0bChFF7kP4r1/JD9lfRkgc+Bk9kARY3eLAHfLGgw7zQwtakMWsB0SnF1y
9oLeL30AeUHoIKWP2HL+2qLgvDNlI10KWATttwP+WOtXQ8AmNIKCPFCnNqJToYc1qSnAOAhUbCRq
MPfGuMto+7vMFclirE82zhraSBhWxBAOsFa32yAziVvYqaVFSVcFBCKfjX2shypoQE53/1tvfWqA
R3lxDAB14IEES6qa66PJtMie9LM6UtBOF9q/OVKcGhTlXyTHuHtvjVR0VHQNyWaULOZz2rP4sGQN
C2MwKvqLZv8q0LkLeCbrY4rqVGj0r0clcaaRNiF7QvUCaHzhWLG+y3QQa2uRoiqIItAaUc3jEj/2
yq/7n5MHefEQXRvin/uqlt7ZkLBQ6xk7l9LvozoeDTL7JP+kFt/S/t+sHUc045oHkhosy7fGlElz
SwbPkDOxi6YXD8mQSi51/k+s/LkyIW4PguC8YHA2IvNnHW/e1o4Dc5LBmze/2pUV/verr1aYAGXn
c6pHxgLtXDZiD2IcIj3CuxBc5cH9NZL5JBTQ29wBTqzgPjE9MBIndCFlocgIFTfvERSceWUbM1cr
GguaZlpT17YWmQ191PU8Aqh13+DWAZaPub5XLefJK3ZNy97nZZJN72yda1TP8M8BIQyUvbDjoc8I
rgQl1qKldj+UnuyBb/ly/ztuBSnUdTCyjUIdaoLCqc6LymID6oWRPn64SHeUBaO7wxfPfL5vZ3N3
XNkRYnPO8tIeMZocdXYN2rW2+kyH4R+aaq80aZ/6UiY8sc52ECyu7AkvLa1tMRgBGEGEfOoZzy7w
gfbkZ0XU2tca5w04DxpUQ/F238ttq2ikggoRM4qWsCsz5kx2jSmQKBmtXWNaD1Qhjp836tlY6l8k
Q62/NnTJiOm68skDI56v/2eV5yNXJ6+CgjRuPKyhxdyXoc+fdWOKjHn4qDQz8dV4OOcuA4261wM1
kUz8YO7nwcokt9DWkcScFNAzLppNSD5uf0aMUbI4KXXkHst0ItV8Aon0c264r/e/8dahuDYjRGcC
uQO3Zbjly7I5oZj2SsBBI3Fl28Z/rm6xPRcDLpMnCr4oYf3j5Bbnckne77ux1g/Eql2lB2Liz4hO
aMX9SM0WpJWx9mQk4wHUoBAHK3FG1FRhIEuZE98xql2qYyLSar4lxZgHCRm+VkX+XV1M6DkDKKgs
9tlTh/MIrEqQz2iT3v+xm0sLyB7Gb9DMQUv2dmmdiQxKw29Ebylfk6KyAzV3iD8Yys/7hrbCBPbx
fwwJB2hQTDVlnaZFI7an1yeB6qS73ou06WUxu/C/Myacm2V06nqskVA4Yxq6eRsY3YdX5qHpPC1M
stybjoHcmlcJkMGIXRfU/1JtTHGRAKaLrNPLHtsy3eERu4RKzhAsqOwtsG2R1+sxv4o3gXDre15t
Tyqa6FHnLB9t5zwvc37Oph7l6LjwAYFMJYdm6yrBJfIfg8ImYcnQd4sxaVFdG8Gs6A9T+kLxsExT
WUOC7wIxoeHhDqMYGPvE/7vdjiRViW2WsGS2xROquEeimEHiktM0tI9kcA5d7X29v1e2TfKFA7wC
ckbCPamWSG9TNuIqnh0LZ1PtfNArvqiL95FMfeynOphCmtSUXCib3xQO/p9ZwdO0tLRGrWDWiZMf
Fpsfc7v4ESvOsTKHl/sebu4XPB5AcYnxN1wntx91mceFeWmvRRnlwo7ZvC8YLot2ypmfK8pldOxa
ElY2vbsyKRxATD8XZm+1OBSgK/YdJX5U5+w1bvVjP48SW5shzEOVBURR4KER30hxR50uAxN3RBvm
a85rUf/qS8kn3Pbn/20IJ2DpO0WZPPhTaVnr1+Py1o7eF4UaT9OQzZLjJnNIWK8ZaIgmM7lDPUgv
q26nNqCcki2RzIqwRLpWgMC0hktMwV3+YHuXYpRQ+mx/NZThwcyLJqM4g9uYU63YHUXMT1nY1f2r
M5IfldZCrInKJla3Njl/IAP1bqOjIRJ1laa+VJmJeXgoRPmJUaCD/3Nwoci+cGi4JGZsfbtrY/rt
icpVKFZCK0yLesJsP4vHX+bcvY50lmy7bTsoMUBBASm8WN537bkvPWAGoji3QG9bXJSpf4y1RJJn
bppBNQepJkqWaMLdutN6psMKlXMJDD30jYf5lA1GpNZIBO5Hok1Dxp9OLVjVUGu4NdTY7Ty2bYY9
RzEVoHztIf8zDrKdvbHtAE/gOAtsOsyY8F9xlTUrbtZMOERqRIh1trX23RsAUi211yn+a+kRgFJQ
3QXLDEKPtcKVT54DDoEUVAiYuIw0I/nNNG+PROF4/7ttenRlRligaVBLZUp7NcJ4VVBP9vd2NpBC
zprlF7Hz/b6xjUW68UlIw1md5yP0xtRoJLguWps8Dax9Ker69b6dNY6EfzzAD/CigorgmvUElF+p
2TcqXqj2k+spO8/pn0nbOvskrs69WYEZVjlONSDECrO/phNGW7FNT5ZXSNCPmy5f/RIh4jaj3lbq
XKlRHf/oi3dtyH2XyIDLm4t4ZUTY/HrjKaOmgtBi0D6NzpOJ9+Nivc8p3d3/rhJnTCGhMYcBnnhw
ph/fIRvsz+xjwNPjvpE/SaaQqV0vnjjX1LGCTUUOb/SDedZC7Qgy13zazcfkyQOzS8+JhFl99mpf
prwtNa3fnu9C8SojRgsNHTQMjNSv9Eg/EbCtmqH6Y2F+9tIHZG+jKiuZAFpjV283rCkcQxBqDoqR
wudup+2nl+FAD5DOoZ/bS7b3gmFvwfiRXtx6B7c1SZ2FH7t7H1w4lsAM/K/xxXqk+heQF8uWVGaB
b6yruOl1ldOUKr5rdmpPGFRTw+HJPfU7iG7axG8/0X/KXzIYgHQx+am5MtqxWrNmD9+03w87Tp3b
/gNRrP7LGAfklL7EfhVmn7LPlbu/v4G3nIVSEG4HFc3HVRt21M0pHjM4S2Iv8VmqYeywLyWhdKO9
zGUPIYuJeVRMcYrvmRR9Ig19qAUsJANAreoxOWrHNDR9G2N4bKeci13yj2ynbAQAAMXRy+bESwDt
ioGmNXvNArQrwgMyyCbbB5vDTtdlIWAjnl2b+VNhvVo5lGjdKid0iTTzZ4sOmNUqu8aOoWVaHu6v
1aZDkBEAmRIfiRbZyJIpS9WUpqDGMYxL3la7RMOGxJSqxM7WcmF4C715D0PKGHcR0nx7mlrVKxMW
gUAfsYwGZZiFbtiFVA+LSA3bgITSE8Cjxu3BBg4ekndgbtQAgRJnhlqqQd6nxXLxsWio/O1rIPAW
HRyHLN5rSf1G5jeX0UvVjA819Bm7cgrBqhXc/8YbBfHbnyHcgeMAdUYtx3KmHg1j4oZlaZx1I/K8
8qiycmdpl9Ky9y5QNBLL6410a1nYr0WSeHlp4QPoB8cnL84+e54O8al+ALv57zJy96jSPRkniVXu
z53PLr777bzXM3OCVeuCW8T9TY8QYLExzv/d+5xG/Tl5Nfc0hAinHWiZ7/y8b369pW98Fp9GdBit
oW7xtUnXY27FDPXUQj1Fpue0ZQZFKVTdMMK1BmoTpe48185ZNNU/PWcAHv0zcPx/78q1DeFictGc
QaELNjz7c4U0zXL9wpaAE9fR2gFFHddEQRmK01vf3hJNa4zA8dQscuP62DJ2VEciMbH1qa5NCAWZ
2U7TJe5LFlED4bkACWBPQsX8dP9jyRwRchdcRaUJ6jYWKVnZhXo9HotRW8L7RtZv4duvJeQp2mTP
bjNWLBrRJTAzY9dzRqrmdWqhMAARzfvWto6vC/QmJ8EE0ZYIIs5pv6SlgfW3IC7dPxEXqqCmE1r5
j/t2Nj/dlR3h0yV5VyzmkrEor/PQsQA0z3RJKNrYA7isQZ6uc4bsVSPa9sZsIXgJRC6y11H/TNPB
p7I2x4YR0KXwcS6gOdbDO62lTTQHnXg0tG+xh31G3pkpqbxs2gAEFcU+D7SaIrVjnrVVWWHEMFqa
r11f+Xb/ZSaShHRj3TEsjllXPIAx7CTeykvrlmh8q2M06K+Z89uMf5kYRaKxrI++4Qs07zjMAsvC
yyC3Z39eGmIyxx1RnTiP+WuvPxFFktlvbC3A0tHXA7cquFDEe7/XdKXpvQ6udBBk7XD1SnlrNk3g
mauD3BoSY2JTqO31ys6A/o0862c6z0Gvy2a1N7/T/1sQG76qyhRLSbMxckoaeIrxmBoPXiWLxFtW
wBTjor6C0Q8U9m5Xg7GuXiCuMUQe+bCHS9G8gaxJElH4vyFczSDugyQV2tOcrl5IwywwFC+QrR+i
cnjXAAMdvunJR9GDvcjv7DDV3u8Hli2XdLwDMNaJoURcL7cuUfSp9VidhyhNFj8ugdDT8d8gm5vZ
SDg47hP0GDj5oKQXEixzLpulTNsx4hvBJ7RDYdztLkRVzhZqsf6iahTdW13Gd7ZxTtGyxUAahHAQ
1sRzqjv6gMDpDVFcFNE0FOGiu77S/NAIk6zbxr2DYMCRyChYAiAoeNhBPmN2aqwbJk0ucVlDaEeh
XZBZ1QOelg+dMjuSrHXjVAH5CNwjp7XkALnbpVOAqR+Ljg2Rkw4PzeK84z0puXY2docJPUwM3nJo
0mpUO66WtKrdbogKhfnUARV504WqVOFzc3dcmRE8SR1ArIuhHaLEzM5pZj50y8ggtL3sNBujzI5N
fi3x9HJ/52+AgoEcvbLK987VG65Ucau62TBEdFFrN8hUamTfbKNzvyR6rH9v7SQ2zx7Nhuw0AAak
HWqlrKygWbzRC5csXtQDMVI395lSD0YwzkUx76w45lQAuZO5n4pCkx6krQ2NZjUiNYRbwIIgnNfE
oGZrDGSI3LrdO+pH0TzPpAqsVPYm2loTE+92jq7HnJQ4sTc65tShn9ZHQEAErgpcSQ+15C9stvx0
+dRMPyWrwTMYIe5hDAYgaBdoXl4WvV2NgS5DRtyux5MkX4LkWOzzA2Q+04CFEBCSvjz/PDIEe1DH
wrQy1EoxFyNGhjJvWOkpmREZF8xhH5ejqu118qyouyUq3prTfFAfuu92czBO2PeqExivFALH+/tu
byznza8Q9qAZu6lVWqkRUe+5ekvppTHTQJLcb0QmG9cJIgWYoF3IKt5+2WruDFK3sR7pSuv4KNI/
Dv2eVcAMgQjyUtdEklCsx43Q3bg2KBxnYo8jcRtPRy2tP6lPfKoAc8BB/yJXdtsIUAh94OYA9yif
4RdNafU8LBN8q1qQdBasftJZofm5mX+/v1AbH/HGkLBQitpOKo1haFbTMizwJQPoh33tFOPSLtV3
DC3/vm9wox7j3FgUEoGsB90p74vhK3Yf7hKM/xB8yOLLDPmYWPfNGqdCJrCyFRNvjAq3mEVStzQg
qBVpEFj2jbC46F8VYHWANw7qJrCCbGc6fv3ZDYyL8fW+xxsRh9eYUTQEJTXCgLCWi9mABp5inkft
ml2SAgmrfClmcNa6UCBsIIOrmLv7Fjd3z5VFYVEXY6BeP9n4xJayt/v4bNqHNpWRvW75BTIQHmM4
qachZI1o+U15rmFgAMSQxJ/n8py3oH4vFOWo581Fixn6B7Lbjf90IbzdXG7C7qEV0DMliGwjCxeU
mf9iThMUVe7H0tbOZhpydY0KW4ZMlt0s+jhEo16eapI8QNXj8NfrBE41jO6gw41YLebEntHYrJzz
IaqX/mk2yj21FcgDNLIW7dZHu7YjuJJDAlxlSYlskZ28/lNOv8fmr86UUQxvfbFrM8KGmMEIjt5t
MURLAWG+vPpHSTTJG3jTE2SFAL7gkkNovI35cWXYmBbIhqhPX5I2QQ9jCGaaBor55V8sDVYGSTaw
oSsGK+LNxtSrMFRW39yqDGlMAgU8Jn9tBRx3/zlCYlsPr1K3a6FkGXkxedUxceB6NHKlE4XaxuML
WC/sMj7ngqkAsXhUQsqthsx4lD4mb5h/z56dPd1lYRzap/I4n9NofEuPqIefE6ng68aSARLFFVHR
klkz+lFqpfYwAmluQy7RHEo11GYzzJT0haujSd4OW55CDA8AOr5BMBArBNs5SeYm6YCj68Npp4UF
BnkCWgX9dyvx9VNyIqgA84o/FMSSo/E8l5IfsBF6MTqFAU5OnYvBHmGD1i2G+wfQeUaJfq7t2e9Z
s7OU7O8D/I0V4UBjbCgHH4SiRjPAgQ79Zjrlbsmq/9KKcJ5j5k104Vbq9IXptZ+qYOaN3+4fAf5B
hIDuga0AdTOwXYNLQNiataE6St2qapSA9iROEjzFIpVmkat9B8zueN/Yxl4E7S6Q5jgMUEgRA27t
KhXhU5wRuLrOLnvFzRwqHtsPzuvfG8KDGLPYfwjWRDoNr7UNSqxRjQDE/Qc1CtD5z34dO7vElkTE
rQ2HRxOKjihEoMElZMHEy6astDJYSjBLm2NyxJ/i5sVrWhkRzkZ4BwceFyfBQP9aWyPRCHoZY8F9
uujdJTdlzceNKIXaI/QlwROO8Y0/beWrh6tqJnnfF9aCKYDyacCV69sVhG5146cz6JAk1RQgv9x3
5up/DRUBGxIKOFxKAGBDEUxZeGnb1naqRrnSnTvVqf2xNvCUSBpJdNgYiL61JBypxBwzjXaJGlW/
zTPbGWG+wys07Pb6j+QZvchDvJM9xdbLBpMgreL1b+iQiMQFo2rgTVixJRqX2LfcB0v2hJAZEE5w
Wbrlosz6gh2oHtpqnv10rsa/vinhBTpFOJzQElwNXo0FxiYmd0L/u3FDz36rTe3ZYabkibc+TLCC
ogDPyaDHLu7AzKlAwjQ3S+T21U6j9o+mbT83TSOpsm/MgMAO3uic6xNERaJEraGn1F36CjudDwiY
TkF2C0vavd4N6lNWua8OWEefNDrP+65NlgO4m5V9w/CUr1ia/XX7CmcOmgagsOfZgaid0HjWbIy5
ggb5lMUhEqzB13Pr9/2AuPVlEXOhq8alSlepbp3l6aDV+LKseuvbi5qUGPH565wNnIjIMPG+BOnd
mitJNbqpnEwWsSJ+mpjye6qGUIvr9/uurG8smAEdBEcuIBJa3NWrMNXNY+6Ajxz915a92q1ahPqU
HIqmAE4/cfGKNBJJ2Ng4YTcW+bV2ZZHExaJRkIxEZdPwF7L2ea4HSSFgywbnDoGOEAQTVjHQ6mic
NQnaZFM/aT7mzH7ljfPj/pfbKE6BTOMPboa3G1Zla9JimGkGYD1qdvah240hKJgsvyNQEUt2DOI3
v/qjtaOn2fatw7IroNR2kqnT8NzoNuHg/Nl4siKvh5CYCCrO4jovoEA3YsDYa99nTR39cco1ABWt
b73GmqfBphkAdqpswnjjC6PcjEIVruoNDu+mAh9kZWF7amUxhZAPnY40pbGkc79xxeA9Acw8oAEG
klCxKQVeP68hROmj4tG7zGH9lexQat71u/nDOidBHibh33fzAGNGW5A/LzAvJ6ZViUrxP6r3EQO8
pkOFm706jiRPXAcQbsOApjfUroEXElJeu8gwOZctfZRDXMqwiiNaID7oRSQ3wNbnM0AJjhIx3hG8
FXp71sy4LFvMqHUgD5n35CU5QkfvVO7T/YBNgaJtWu2Ukwzdtc58MDWKA8GHEaCLJmLCAYBtbLUj
XaSeOZgsPxig6ZFXFdeRyzP/MJwCEM7FFIQ4kiYU9LsQtooWrdkvoElCEyIB0YCt+k08SXLtjQXD
fjDBwGKBPHH1gq70JaUVtRrgrjLogn33mmmPps79iLLGG/MOMiqloEDhp0psXRYx8Gpa7hJQQGl7
Z4/q+uf6S4+VwjPvoKCuJwnFq+gBeyAfQrLN5dYg0ne7PQxAG1GwoQSofcu3mm5fdpFXekFi/jDi
8jAXZfgvPETSgzkfPKNxnAWLZpkpdeMV5DLPxa7WzZPhxX45OU9F0Z/SMQ2m8qOK22NFIIZodbrv
pJ1vVJ8lP0MXwyYc58SQ4EjDd8ZAxq3jKYpu0B4cUxBG41WLxuo01ydntlDOTOtdpdtfRmgTkVLz
U2QzIHA49+nP+7+Bm7iJ3FyjCAQNnB0bP0Rc6wSd1kpjanLxcEMN3lsPJoPB7wZZdsYTVtEOGjYo
u2O8BWFNaNnkZYLau9MmYAvsH823/lIFSmD64y5N/OVJkVanVycFXJjoRYEmibMWIVkXPq3rcbIX
sActS/vZVMrIqKb3Vqplvi6C42ZHBo2hBjxzgFYQdhLl2qADZCSBycujJmp/YmBjOkyf6QELeJrf
0AzLHpL38kkKst5YOZRjkJyBGhuISJFbVBt6y5sL1Y7Im/JPezIei33yKX5dXpZzFg2n+CE9d1+k
aqGrC5dDMjC2q+P04OoQE1t38HJky5UbdROq7Jr6tZzRDi3Np7QGw0k27a0Sg2xl/xPbOZjqbD83
vxV1BEZT3d3fuesV5tgjDqZCnRe5B99xVwmcV6Z1pePtGvX648S+zs7XhckmZNbe3trgf7+ygWnV
2WSg9ccl3Pum9aKUsvru+tmChxee/hCR+TPHKV5TNu0azwXP0p/imr4rAKSlgXpyDtC2PskEGNeN
IlzAnENKt3HdA78lfLQS07l0MbB80ODR9io4aZYHckhO6l7fWwGap1LBsI1PCIt4kiHCbFBnjrFe
u1aWulGseLu8fGRzGt7fCOvrAz7hnEPGCEn2qn6d1fPi2IriREb7rlf1iYy5r6DdZkxfrOFHY8ho
79cH79aekDWxOVlcsAi4KMnXR6Xoghxa8hmI/VUpj9J6jwPLDSAU8hfMMK+iZqFQbWJAvF6y3D32
ehMmYAcFPbckQVt/QXBf8D2BuxfvSbGcAeBDXHsZJ/elVPHLuTI/FxU1ApRvwPbFtKz72ldG/eSk
Xv7l/uKtP6YNsgQuC4UgCg1SIX5aZg29Keo1UexCacIYlOdUUc4TSDlCK+5l0K8tRzl9K0SGYHMF
LluUhRkDY21kFBAkQ58o8TW7O2l4QvlKwU565aa+DY3n+05uLSOnkjRQl0C/QCSCahGmjFoZYbad
snNm9vEu5nBxsAqUp/um1scN3xPcZgD68Oe02BglyWIkns6MC8RWw7n86XVv9w1sLhh/cnHJYdQU
hYscI/TAIMyxeXFLiAkR1EeNPP/IGkjWIjmWne1Nd5C8g0WbQzRFusimg7pLDf65i1OCP8woPtIG
w8v3PZLZEGPirCkTJg7Mi9r0IeYlw9Stj/dNbG4AcB9g+UGquprnrL1cxeB13UZJUlm+gwIzqBsH
jEr7ThNbXXDf2qZDwH/zpx3XpRUdUqltAgqqX4oi1R9TUmU/Wm2SibFvniVUbdClRoFjpURvG2Bc
qT3SRvmchKqOaWJHHb/38fh7btv3bJjfkkZGKrzlGR7FmF0GzRKCBU+or+5jjXTMVhe3iXI9a7/b
rLWeF+otkg2xtVrXVoTvNzYFFDOobkKYxXyis/ditC5Gn2JZL2jrKCF5w/f7E3nFvpo2Q6nCNIYm
6rr4aRi1l8rTdyBg/dEonmx65s/Bv03AuTABignQRFKRrfLlvPp0rZWNztK35qXfg9PyUO6zEFfX
PO7JLydyALoxf1Q/qhMvZmS/ctU3O785Nt8piLvp97/fn4DBgxUOWtc2Utjbn6L3dulME16xXeN8
ptAPZSWTUXFs7pQrG/zvV+5qYDFOsgU2WoCWfLJkxz6VjdJv7hNMrbmowHJArGCjw3B2Mkw69yN1
n2alMX2jtptzrydUEtbXU0dcV+LKFv8tV/4AadhorhLHUYGpozGuwkGjfry8Kx177tQqdErteXGc
vT5JZt75BSzsG14O4Ng+lARwsdwaLioNQtpd2WIQg+k+me3HOEte3GR5XkzrUx0rX+9vjlXZBjh8
NFU4gSPHq4pvYlo6XmovdgySPXZEky7QsyEwlW+l5+IlXPnGbBxYXezvW904isiMOfEHkNS8Hnbr
ZUpQ3l7MtokcjNAFepWaD2PimR+unvT71ikw2fQvDIKYkyvB8kkK4bO6mduoWNIGLwu13ekLaz6Z
+UL/UUvzm9VYuaSCuXEccM50zm0CdN8qw+vGno50NBE40Szbg4mi3mugA5H0/Dat8EYjxCr5zIYQ
Y9KxqDJOS4fx8DzMM8SUv79IUchDUwUzm0D5rJCYjaY0dK6GNrKzqt0lpfWcT9NP4LZl0kzrbc/Z
4DjNA+42qEIJG0IrmNXVbWVekuqXQUIDjJWaPUAk5Avq/MH9vbBpC+8xnlIh0xEfZaRoE+YUORYn
fraAqVDrF4vlPsixgbo0wvvG1kGLMxRxVV4Mbq5LiKPTshQIHfPSVk/q3B1b/VtdGYf7RtYbAaEX
VyguGyB0gUK4PU7gz3G1MfbqiCUXWgHlQGRAuS03IFaAmryJJwtEPG8t2E5tm3Fm1ZGh5oG2vNit
hgKebCRg470MZMOVGe7oVdjtY73D69aoUbluT24VQFEDwErlmxYkQaL5Xug9Wv9iga5NCpEe0kRZ
0bVOHU2LGy4gdCzNQ2p3kox0a89BixoPZsw8rEvydEzAJFpMdQSWlHRvtHYTgjo3VjAt7FLmF9ms
7gGotCQbY9MsF31yeKkcu/32e6Y5YUmW5+0F4KZQmctHdB/Og0YOI4CAQI9LvNy4NrF+V/b4bXO1
fhSEIGld42gxZnwp9AFQrKH6kZoQwp775yGzTnYXX6A+9dgvfx9zb2yLXPDgvsloNWRNZBJyJKh/
WbR4//tzduWeSHa8WGYT9zncc8r5gS72g11TSTdgfTPeeiGk3J3esiUnUxONzHQOhLc3Bo/Y0Vh3
5i6hRNvdd2nTHlcB5vUcoPz5369WbCLxiPwVgKWMpEclTXeE5YGelCG00yV38GYMuTLFN+uVqZRo
bVf1Bb+usnfNK36byfyU68n+v/NI2PMFnUkOaRfsg7k8UnQSfUZaPJuN/KOZal1ymWw7hZ4eoBa8
uydErApgj6bxFgRGZbAOjGVuqBTOcNLq3pMs1bYpG/cx7mRkF8LhMoxkqWZwUEYGnphHp6sAxc61
4jx2XirJQiWmxLNUGm6lgMA1jtQy9qk+hN6AgqyU7XZz8yE7Qk4GUgiIoNzuCEPpU4Iedxw1Vfze
LuVDmS4oJpbpoSGy0gZf9tvEGgcLnQnEJ1RsVtN0aWt085Bh983ZR2f8o9San82PGLkIx+RHlUnS
6q0bGWNtPLVG1gRU261nHS1sbTJSRArle9N+cue3+5v8T59z5c6VAWHfeU2MTmiMvB1Nw3coCjkP
ZDcey+/Gp2mvBcZbnQRlEL/IcqeN+jnqh5hqw1wi2rCIGbeODY5mFfbQ1Rh9IMcm6BpfA6uOP4X2
nh01MxwlH3LL0RuDQoBKVCvrNUxcoGCvBvni5zvyiQZtEbZ0twS1nwR14D1DhmMZJOdtPSyDGti1
r0LAynV1bBqlrf/w6thBtmeZrx3GHTjdD62MhmljxwDaxkWaEUSgyykU+pLEnJykrOtIVxV/MU5W
LlNBXwOL4Q+elqgdYQHRpRfYCiApElNLVyqQqkLbWPdnU28xmVNTjHqSNNGUErRdutEd56I3zB3N
HLRGpk4NhgkQrzk3E2jVzEOT+CAHYb+1ATP1vq1BXBi54ORiorJTmwrFqb6l+yIhOZHAvNZhiQ+F
AdYA6gheOBccmKqlZqmp0sh2ibNrqZXvs6mwdhison99i+BVCr4x0IDpvKgnmGKam41tBtXRoVxc
3+pY67tF9R7Pw9NQQH7k/nHecgydf4zh2iCHWy3+TFo6eJVFo6b7TuevxAboRTrssk4G4ZKLZwge
IoCJiog9HTE1dW24pKajGtTe8mrFw+uiuBBvNH7YvSST2fIJ2Al0uwGbB6SN//3quq/Q96JDZtOo
78558urGkP6rTve/2/rQeCoawYjraC4YeNHd2siabCBxr9MIRTjNd9vqwVDUv29AwQjX1sUrDq21
PyHxypHZcmPDLg0aZal1GOiMnWCOzw3FTD5BhL/v0eZXQ48VCFFUejFzdesRIXObo5WCEQrCTk2X
HXpresf8reQkrW9e+HRlRrifIM5KGtJqMDM5dIeAfnQhgeuTzv5iLExSDdnaeHjdo46AVzDvB936
FKvgch6VjkZVor9QppUvbWs9Qim58TOz6k81KNMlaRnPhW6vRw8QF97m5RSVjlh+Hat40JVeJZEB
uReFKZ+q+m0avy/1udRftYp+U1zZIMyGSbjGVWdQkoEGpfBJ64zVScMYicwDxjIe8kN+0nZoPx3u
b5CNNzIg7NAkgnwPUF7AeNx+zTQlnpm7JflzK6m5D5qW7qAEJBhpaAQt3q++loVSNiT+84UvemNW
SKvBC5EkGq0IEo5pV34dAJGG3OUcxEaQHhGHn6xaEhQ3gFG3nvIvfnXwMDi9LHg/ck/ncPjk9f54
NH3yqup+H4DLOrBlrYj1scBgFvr0mM7C/M2qc6jMQ6kP8YzJmhxAktwKveWTYrw6qXQV+f1x+zm5
Jc4PgE2KPE7YLSAkAGLGXMwLsPyK39aDvu8K46j2/VntMEkXIxGuCorhY+V1TomkQ7qOm3wADfIL
OJBIvsUqc2+Ooz4M7XRJW+I9NJ0RnzDfL2lzb31M6ItghyKtQY1LcJG13TSgClxFVfOWkCJAkSWs
hjTAGya8fybWQRPKxhjnAJ0vKiyoaN9ulCapU3Rbhiqya+2gjV6gqN9SKf3HphUDuFtUQsFXIVJL
QqiLVaVZVpjtICer7neszEIj8073nVlHSziDBijalmher0ptZqEO/WjSCm0O5k/2P6MSh07f+UsN
3LRjHu9b23AK0C2VTyZA5A5qPrefrlKhq2qNWhmBqB39FMylFJOHi8AgL//GEMYQgaYE04iYUNnM
bfTCi2GIzn3InLIIra4zgtLtc0mI3PIJ6FBglIBG01c1jcJlWTukSRnpZscBduOHOQ5nfV4kG3zr
MYSGIor8aJAiORB3RMKQMHhlVfFH2D4FK9/8ffShnrkvd5i5kFjbOLM3xoSV0kduKsb2m+NLrX9o
f08Kyad4r7wRzuu0YMjGifnG24F5zvP753yXhnY4hMmI+itulkDWJt0I8dwmqIeAUwbjg4iHrBMS
63iAVH9ed9h33SHdj/60553R9ptcxHhzyRCUgKfDNCevO9zudw3XyYgprDKy/Pqxiup9cqbv8UUL
+I2yyNpOUnPCok2zSxBr3TJKPuZQ8YuwCvSvfzSin+RjqmsiWD7zg3CLCRKMbiIrvnUuqSbDoVbN
rdXYiHieR3bjJ9/6B46ObGLffM9e1MflqX2yvsqGEtbh/uZxJgZh12T2MLgLBZdPGSasC4b63VWc
YGw+/20kuUkLRC9HizbNoNckcqb/Ie3KeuPGme0vEqB9eZXUi9vulu3EjuMXIbEdUfsukfr199AD
fOmmhBaci8HMPARINalisVh16hyyieJDxlB2WI32S+kc9I0d7CScEzRfl3tZGUBbSJiABPfWVB+d
KWrSjVGa8m+51coaFEldEfmZ2hTvOShhFFcvWs30/mGlgHsgoYSkxqzjXWid5YylBNrHejKgm6cz
l43TQ1T29183BOJ4oDs5ARxgC5eLbaHbE9IqzE5G17zbWnOcjKn0qBrG2+uGFpwEr3c8C/HA0ZwZ
KZ9FWExjBYbyNoGSzDcHk9y1mnp25LjXLc0vAYwi8Kcu0GeQlxChTLIGTUvbiPITNcPoGBpZsanD
vTIp4+9/MAToD6qyBrDWovK2rYABXSNYEi3kdD+S5Bfosx50Lc5XvOEzYbrMGXmVGdP8yBpBxSMC
INSmA2GiHEcn5mU3ECHDaDi9xeydmx7qR2iy+9HG8bRb7TcUS9G99xzihVCF3yBuJ262M2/Jxim8
7q15WAeAz7OWy9/GP8dZrg7AE4kzO41OaZ4mnjPWpu3aSmI+9GlH9xN2DsyFVZ78uL75CxfIpV3u
cGd2s64zJcPCnui78dnYl17qaQ82qoKqi+CwXXtXzmdroFN7/g34PpzZU/JEjhnFOtmhiV31TwLy
lW19xIj+4KEy2G2QqalutVt9MMyv/0vDwvurlBsHmlBJdDIfwl19KL3c69zWlx4Y6H/JJvSqlaR6
dWuFCAjm0XTQOiyV04rn+xhjvuF3PRie+dZmu+Jt5VOuuJBIFIi+GlRpU6ywBTm8r27gzwfd41dm
t1eYx1MCZMAdusDy44rpeXPgYnMdIStA4mOMVOemN7IHygUwSxR37Yl4NbjUFYzEAK7qmnt4lL/a
M10IiZgiRAIOQDouNvE6Q2M9TYaJRCf7lQ8Tmr8gaJlTl0J6mfxKvw/PYBRKNqPijflKiFy44i4s
C6umJEugFBFFpzLtJMtnHSUtyFjLYvjoyr6N933ZGNAIdigJnxD8VOKpmM5JNyu7zxNLMa6BbgIJ
ILIWAJOF2DF006B3Ec5weIRYJM+SeFijXma6GliNIn+1i7F0mM4tClGDmUXujBb2fArollQInfFG
TXz1nifv9X3Uu2y/mgwu3EhY4N9lCqGjM+Ui0QsYJWSXJqlbg4Og+pd4eG5ECBN6pnSGWmIv7adp
Kz+3Oz7fUO27zO1vgCfbrmXwnxMo1z6eECWisjC6Aq8tVJW9yXeQT0PaMXNbr/a622JfH3MvcyPV
H54LyKWH0Dz7Nm1yX/KNmxU3UhfdCFc9puiQ4lvCRyUdUdSehdLRfFC2xl2Niac36hl/kGj41oqx
5W/515bwLRlE49hoOtKxQy8b48AfNOze2sH4dn1Ni7EB9z1ao6jZK7aQ0NMkiylot6RjmVlP5hh/
0yBngUq67rLpy4LnuNlQbvifLSEamEqodWgLSUewVuAJFmWvSp28g93n/fqaFrcOTRUOjMVYwOe1
c3aDMsT4XAPJzSl0TpoR1N0hVdbi+eL5PrPB//zMRt8lslIlsGG4gz/cqZt2N9zWvrEL3WyvupK/
9jhfvCwxpvW/VQkxzKDQ+jJlWJQfOGkPmst+8yNz0aE8gSbeW8NjLbRF8bXO7AnOTgH7YzVKsie2
Q5mIDG5xT7w08uIj8FkG+rHZY3Fo7+X92oFfwPhwy8jfUbeU8a+wtwOd9NRK4SfExsNrKtAktImd
u73KHjoZcI6srO6BYj0SBso2B/x0/+I/eOiieAruApGXZqCN09ihLh1Bk7C1MBaXGYVL15gSFz0I
1GkoiqHRjWnRSw8awsJS4gYnT+keOvrWTWtTA8tf8MyC8AWlUtctUmvS0X4yd6o33fQPiR8/FRYm
f/PvIbJI/bfkD9K/bN+ZWSFyWXZRl52pSMe0vqVl6pHiOQeT3z98ozMjwi0U1uB9lCKszegOQ/KT
VqCPfbpugv9O8d4xUejAzAWIqyFHe/mBYie1lDKDiYEa061eaImHoYvhpiJGdVByQOpDTbJXctSl
2AUgPVib0CQA3EfYvMiUcCQ6Bq8wWOdFrfKUO8pvcPGu1OcX7WBRnBgUQFWxY4bDF/V2O0jHMN2X
zWsy/tK7j+v7t3S1QIWFq+di4m1W+DU7izKt7rB/QONhJAwp7gDEJS2iDXXGtenRpeOErUG/AZwO
mOcTNi5pcoxilaWEwgKaRmrhGslam3bZhIHpTj6QNRuQ6TlrWdg3uJLB8tvIpQfem+tbtvRVIKD7
PwuCy5WS0Rt220rHeES6OEb3XZk9yT3KF/9ixzY49gBMMGIiU5AuV4eqwGapyV7LjB8V+pYpwZzl
P9hBgxTTiEhMZ/QG8aglk9OOcIHoV9I1EBqCvpix4sriZ1Hw1cEShGFRNA9AbiB8+bAGIcmQm/RU
kMGzauJW8fv1ZYie/GkBnxyzBBaIGsQqPCq6dTRECgUI4E3Jvxdj75L6Viu+iInjZjgiBPVA1JPm
kxLIrKewaSmep/HGMjMQlY03ub6SWM4Sif/MINdDTZyzJQhpGGmKKZHMkp7izNUPple+Rofxnh7q
ASJe8j70up/Xt0/0atGgehlIldGQcNHW9GTKPxFT3UL9aU8rcXMGPYIRCKSA0x3/RetapCQxiw59
AGJALEFxyz9QJ4f2A572WYDmp303vlW1ZzUu2Q+7eMtLGcrKti4skhMr4Vdg7BY/gv/5WUI4dNQC
TVUxAJg8ue1gu3VXudYaWG1uhbNDgQOFQ/0x9S1ce1ZTqnVkNt0pGtPcTSrHcZ0Gj8mChb+++tE4
OISzHMEh0eQSLOVFhhlaWUeJQuua3uuGDLNskqp0g2tGyET96+bEyxYNE8yvmwakODGuo4vkm6nZ
pKPeaRi9il6i9rV8a5PCHTkB8I/rhuY7iNowGhfojdsYnBGbCHrRNcxU+wpTjrEheWkxpbnfZGpI
/BbgXeWLkRbDR+jjykDmIwqioiocNqOlY0SBvELd+zC1nSc3lZuUaynXrAsEM7ywDpEQfDK4oWiG
UDJCeb046Q8TGF7qnbVxjkBpYvgvXiUrncEWRWvCga5sUFAWI7e2Mw/Vdtg3m2HD80nY2l3/XPzG
O0/CuCmw/gCSB6mwOT1FqTcNreIe3bRKU9ID0zWq3qu6TqqgnXLTPFDIf1BXLcvS3hi1qjU3ce+E
2vb6z5jfANhYRBdU+vE/8Jtfnu6UJTolOjGOY1sHbChiv4iTCIRAeus5xqpE8XzVGKZAYx4UvhgR
xOzVpbkCpzIukOVgBjGwwgGJuhQfCgqpxaqCuGTplsO0m4i2piqxZBdDxmjxcaY7JFKXdnljII1J
qxzj7jeVRi+OwyN4IHySfYti1OlIdEzken99bxeNojkLx+VYFTFytvqk5QbEoI5U/ZPK8TZnNppQ
rQedMB+Me26VaTckfr5udMbzgisC4Bg+ngVaP/S/hPgWdjYdSpNBjrTWtrbU37SSs2dFvCkKw1ck
+V0tlccqy7b2VL6qSn3TaaZfIyC1evrGYvMeP3nfk68iC/CzVFwh4Hrlt8isfdXU2HbZiswjHMCt
jNLTrdEbhrVOzzxnAhQYxREAgYHwmnGtsDhXQAVRmke9DLHZOp4ya8/4eaDFMBoIXTgREhDq4twH
Te1oNHvFOOoteVGItndojjPbrmR/84uDz7zheQGnXTgqlZ04rVFaxnEwidpvTJnlyQ5Mzha5TYc8
avdDzXpMeMlGY65kt7NMCshTJGz8uuLUvDOgXKJ0YC8wNQu8Wpgx9VovNvzUGxrUI0dfQzGSKCsQ
jVnoFU0KbquAJzobJ90KMqDji2+8RcO22gZhfrsWekUf4aYgrIDDwX0RaNHLYJCbk6bG0DEPqgyy
ORlxpzWZdNFF/rMAdAaQcEBmzMIcEEFhbWdW0Eam2ziSN07J1mJP14/6ohWEbAhN4mOBnPdyHTCQ
6o002gHNoiPQtc9hGz/nRb9yU62Z4Y56lgAS0Bhko0TtQM1jN28gmlBMXsrWaOoXPQB8yWgRYmxq
ri0fDbpZNW1vBQRitew18f+j3arf1f2aBywtCRA+nm3y8SPxCKe60sQJ5JqDHCd8A5Bg8uAovbKN
JnNNlXbe9oS34ZZH7sIpLpB7Xm5fY+gNZGg1M5gqAhHSLlEz4rUFHmRuVDjRO03S/IclF9A71rSY
+mllxD/DuqcYHWoZq/wBGp75Ue5t9KelKQQ6BFG8XPnIS2fi/FcKH9kCrWmaD5YZxM0Y3dhj2W0G
wuSH6x47r9xhM3AVAlPAh1HxTrvcDNOqnKyB9HeAcXnmUV9HbEk/mp/TLVIAgKV2kQc5mtXEbul7
Y/ABlCbgDgY7AL+pz1y4SCjmKurBDLgSZKs/YJZuU0AqZmV1M2QqXx3q8p+Kgyjy8k0+M6OnzCo7
1phBqPd4STPyIbcfH62Z3oU1ZJWSBmynOfmIR/vLSmQoRCgIN5zlBELBptDt0LVEphGecAE1661c
Rty19qbS3YaoU05q78lT/v36ahc8BngXDAdwVTdwMvE9P1uslSQkwjCnFcjZfWN9D7Vs5YWxZkA4
OBgNB+vAxKyAEW3bDCCRGNdYWmbPCwRqLIIT9nBaLtx2l4sYdRpWZthaQb2xd5qfbOXC0322tbfV
UT+xx+tbxu+w85xftCY8L1gTRZnewlocOx4KyS6mWjZaN7mx8SscRteI3q8b5KdWNAjpGczsIQTx
WfrL5RmkjkerqawgVZrMlWMIumd4ykzl8wSdL9JkK+d74ZyhSvDXnrCdlgGZMNNM2lNYEDeaDm0+
uI7+1TkPfDMu64pnJ5f7/kyAzxyPyy7qiVKbAdMOhGX7BrQbyFbWDvPS3n32+DGhaoG4mrvnmRlC
WmY0DIz9ozehMeMqL3nhIxN6Dd+jO+qRR82D6gxIIZudvbn+2Za28dy0cLSaBABFBNDmpOcQEDRS
TfHAmiJvDYByVw4ZP0Sih+AaBP29zs+BeIrzgTNgNokZmOSFIw/x7YqodaHHtmJo3vzCZzu3JBzn
SsYcxEBq6ZQ34Dvvxu919Yuo49aZpB1wbz7kVnwbcwNjvMaBv5RZXJgWLjeIwgNMOuFTJjf5Y3zL
+/qYqPLzd/1fMguYAhstpJk5NFfILQe7rmo1Uo3A6FEW7CDmIxvdNzxI2Mp+LkRHVAUhWICKIAC5
ompBCTwERQHaCJpYDkyJbJO4WHmBLLghf0ryUVUUlubwGjXFdWfrzSnEhUI04A/q22xc4/ZfXAgX
tTd1AChn2AMj1zBDBV6DoLC117Rrn5yk/fbl84SF/DUhfP+6JdHQUJMGev6MR4xklG6i/vi6DbyV
cBni1Yaup/B+MfMU7HJmCp2/CgxcHXvPkuLQd+PKO2nhvCJ/+mtGyGTq0BpLIqVm0JLpVjLGb8rQ
+KwJ93EU7v5hRZCN0FBKh5KuI9xWU29ABEvCigbJvjMmI3Ozsrs3C/XL7Sd4EcbN/mdIODPdYMhN
j4mEoJwgztzWO4iPb6+vZcnJzk0IwbyWR9McrJKzNdvO60jB73so05oqK3u2lFBcrEUI3SmApuPE
QAPI4RPtqd9JGxkQedQQ98VxFYy1kHDCGrrd/HkBXmrBsbWub20pizHVy9UlY2VbgNu2ssdj27b7
HsA7ok3HSnE20KFc2dH5MN3nVwMnALhzUNsRb46wMSuZjLUV9Af9MO7wQolPgwetUEAqI+ImR7Kz
Yv/6Z1xIoJDhok+AIQSkAGK6Vkm5NqCc1ZwSDR2XavqOYcx7zazuAaB9kan0Te5ACXPd5uKJQwMO
ECKMlYJE8DIPkBKVDpVpQcJzqL287dI7qHCn/lBqye88ydfgKfyTCRcypn5B0oZLBBOf4nOxUOpm
UrKQBsl0itFRbvoPgwF8RkMv1l+vL20pwIMtDfuINjboHoVT0QIF3pilDY6qMroDpQifTk9B+pGX
5sq5WNxEPO7x2ZC0wdjlJurSGEVYAtgxU+aNaCSRBlOQCdoGcrriI4uLAsAFCS/EQACzuTTVKJnZ
yiaO+kDCb7Fuv3dDeWua+ionwJohIWyNlFRaG4KiNXuh22ifvGDaLMGXwkOWPjeuNm7Ipmy9NTXL
pTOA8iNmzvAvAA7CmadWqQ4Da7UgAfu6OtqujCR7UJHSQFzSNCu3Sdeon5d88tykcLc5+aQndYF8
FIrBjsvM6g+IWo41Hb+PSf9qD9Pzdb9cXCI+IGqQYBKcFXErTAAkrVRKJ0md/KmzvbiK7pQ2usEs
JDhHpq1StpvrJpc+JsCf4PXlAgyOONxUl9mot2WvBahd+2b9qsQmGvrZ/l+sAKoLMiteKRB8U6nz
eIzYaAQ0Hp/MRHswdOqtqwYsL+avGcEzyzDqusiqtaBXAIOJPRIfI3MtUIndDTxmwYsJhm6QSujz
jq3c5l1qtyCjVewDpfSuz+UbKYxAk09dWYo9Xak/JiteCSSLrnhmVch/nDZER9WM22Ck4K+nUvFI
ynDfjvEPrcLYhtGvRJMlewYezwovhTuz6K8mDNicJmpOAx5hg3ynMebqMdt0Q9Cu8nUvGgMaHMUU
6LdiSP0ydJE6iRJzAjGCkVfVNnNS9bsNKhAoLuSx7mc1o5B3m7ro29e9ElSWOOG4VxGhhSqBU9mZ
plHbDGxIMzZF9A0rBm+m8+e6GX6biDcb5plRBoWOg4yy6+XqoM2s2q2WWIE0GXtSxvcYUL+/bmLp
mrFxT3MBHCQlYmlg7Cc5B0jPxDWz7cBfrBSTj3EsjD7QFb9YOmJYArgZAJ3hvDOXiwFlgT6OEfI8
qSW5m5Z56ppNuwvjtljJP5a2jRMI44WOWDjzQCumQDpJoDzvbWi2tkSp3WwqtJX4t9Ty4SRcKAOA
exOMZkKM72lLQH/SgVk9kvVDrSfGKWv73M9ThTyOcmv7RdgaPmFTtZ1aAwxJ+RiC33UKdyZUt/0S
ahwrsKGFlX8yeUAREA4DqOLlHrd9gW4D1GQDAwieLAFpwmSvhJMlE0BnYPpdA1PnrGJrGaNlgVNb
x+NT/egc5WPU83rlAy64CmAZONYQF+SzukLQV7ORhkOs60FlRR9mrX7XSrTQijU62sWlACKBMWT4
PuQMhd0yenuEwpYesFJ9HKGBWthr743FlUBAxOAs2lCyEEygVUbBdZLoAWrNT52W3KtMhpxsnK98
+PnVgi+uA7X/iZaeDeNm4P6PgKjUgkgt3/NGt7wiNW5L8Ku7QFz9NCzQZjjDwdSkl6/GDwziAhLL
KQrgdeKbxlYkRBcTF2cV38kA+YbJ3RiTTfoPkR5/u4ksH6Q4ONiia3eOhKtSytWgqB9ME1TWxonJ
90nxo2HyivvNLxWYsvC1UADGAKlYA27HsZ5KM4ayeZi6Uz66avab1G+k/13ExUp+M/fBS1tC/TdU
nWlsNdjSu+mdNuaWkun79U+0ZAKXFRhG0LgFiku4RTKw0BdSrGmBw/7I8W9USP3rBpacDzT+qLCi
r8Fx+pfnKMqVqO3MqIXAH5KYT2bbt0K7UUnv12nhkvBZXRuNXFoTsijw8cIV0FERIoQG5qW0QfwN
kk7ykvpR7b989QIHgh4xuplYF8g+LtfUG4UdG82ggeJ2SrxMLT9sK1z59vPggFIASl9A9qAiMctt
K9Lm9dTWemAl5Y3tsFNXJbuQ9CtX/LIZvEw/y9WzTpdVhE2cdhEuBZm6IeCIKqTg5UFdOTULhRy+
nL92BDdQx9qAuC7SW86go4AniO7jne46u9KXfq4V/BfOKIyBWxGQZRTCZnEnHjuD0bI5OSx/brDA
Y5fndyy1MDpZch3ESnq87uX8Or9Mxvjy/loUQjk1Ub6gwKCd4ibzUB3yGLRhe9UrKGRVWAfYzEqt
gf+FM4OcMB0DZmiNipQ2RSqnVlWDD7tF0lTb7RvYxvYOWm/u0Nm/v744IGfABA9gG9o3wnkqLWaF
lgWh0dKMIM8ZVzfUAt1Tbum7jOScGzuWfb3NV2qzC8cYcYkj6CH5AAi6cMpyqY2ltkdBYErNcvKS
vs6nrSRFerTCXr5wBqBnhfUhY7FQBOB/ftaaMtuqS510gOyD/h7LuduZhqc5K5fw0gkA5SFQTp9h
dtarp0kdKpIEHQaHi3bt6T73+q28jbwBBBxfFpEEXz/wh4BtaRaChygimRppnQ22jaFSOpHbrJ9i
X8k05W5MrGQlwC/sHjIk5HvgF8XM7Ge36Gz3+kppFVYyGjRkGiS/sFIF+q0ocru92aZr5cNFazAG
NntgqGe72MvMTnu5okFNo00RInnuQQdjldvrLr8QQVAO4iQKqJlwkP2lSzil2QNFlqpBAvpShT2j
C+XWVSAnPzv96xH4whQPLWf7F8ZUYYaWQbRFu4+7nZbtyfj9H1aD4RoTT5sFuU85HdsU2vBKIIGX
pXbHJtIKb6qU6p2aXdV7JGJK7016FK4Nr80+F1pQADXjUNkACGFM8HJxEYkHVNd0JSBwjVqT90Da
bfJy5QDPgiG8DjgU1LABn5hzeeQydFMqWZKDtBh3fWl/s+RpU+rViG5htRKVZra4xgEGVdC/47gb
EXJTE9LkXUSVQEnUG7nKvJBFwB/9stS1vVuIf6BpR50cfPr8uwnxj2BKobKtHpZ6+4ZV6kbP9BU3
n30eLAaISAQI6MBCIUbI/nIlGcccuJBgAs/Y0cFTJ3anpK5vI1Uavn6LOJ/aAGAtQzojcr6SQUtG
ENwrQZJpwaj30NYs0QTDtP3R1LJnyyIvWQNSheuuv7hCZLZ4gAA3hrfcpQOy0taiZmyUoHKqCpXI
MXYHW+s8IyQrjvHJpCxcybzig+YuEPYQURV83el7paBaKAdQ96kNn6pgKXSlIctk1JAraI73IOiK
vdg26mk71KNeeXZcF+S+sEurODCrVtlGTXujfCdKq3e7VNL7b+CrTrWtZed0Ophtn9zhrZXLt/ZQ
lAzoN2Wc9nEYlc7oNhHG3zesLow19p+Zz3N9UD6R/YkTmWHuLBCmx5NZKsFA82ct0vaQSP1VVmRP
2VqBcM2UEHhlO3QidBgUSDD9KiDwpCe2m/Z7w/5z3S9mh4sviT+7MWwBESaxSGc6dVuRPlYClL30
G5CNZTd1Ea1BJWarwfkCDRYXnIM0/WyIpGpQiemg1Y4k/snBW7HQXsP8NWW6d301i3ZwfnFTfaot
C+dY0+vaImWnBEXRHyISuo4U3o0O9Q09XIm1SwcKY2coa2JNoKXif352XY0Gsk7FwjG2wb7cYxrM
fMzStVO7ADHBxp1Z4Qs+s2JTqL10Iazwvm+6bz84xIRLYyava+DV2d7BEzCrB0keSCGCPY97ypkp
laIQ51Q1Lg+jCsE3BxrRTk5/sjHuXCnv6s31TzV7D3NzqF0BJQuLMxQIi7K+CZNCDpKhj1yrsI4M
It82G5x9nTcPsR39AkFLeeiy6PG65aWFfrbw0HjFsLI4p5zEDCocmsECMOu96TrDiEa2D/F88mK1
Wgn2S8frzJZ4vFK02Z2wd1iQNvYt5o0+EKG/6ojYSNTnODE6zvHsEZ5UWd9Du5gF8hTI5H1qn01r
e33H5iAr2EBXBjU6ZO6o1wq+IVcDS0kiw0Z132eWa5jvjfymja0bYkyZ5daubR4yaU2DaOlLnZsV
zlgGVZaqSSYWTGGe/GZmDAD3mEoYh84LZAF1+bCyzlm6y9eJURKAbTG+NBMiYjrGouqRsYBT2xf3
FDVVl5MPcYXYVPHHl6p1ZTcNso+o9K/bXvKUc9PCFqdVWw8hxRaXU+yFyZNR/oMrcsEbOD1C8QzZ
1ZpGm7RWztDESLNHpS2cF0NlzY/ry5jj0gEYRmcLiAa8F+AuQtcHkz59VGTaGHRv8sE+OBwWd+xK
f0D/unHbAO+IbPflCrJgVKiqoJvCyixlYxDassvAft+b78A3uv/PtamXIbI2x0JvcpgBbrPM3HAH
ssoHeXSTH+F+wvDg9ARxmMxbW90cEyMsT7jWEmI5E5OmMUhKd3oZ7pp3fVPv4h056f0OYdpbh7Z/
9rQusjjBpuCPlSx3ZR3LY9D45TPDYv/0O+UHYBzJb/Jsu8XJeh6euqfsyfl+fZdnFyvAFbj0HDza
8VSDIt3lJmOEjNn9AOhomoPVMTGdzdi1uYshht11Qws30H99ScBhUO4QawNhachd7PTSycxvcxxs
qpFDbE83kc1cpxhuIIHpVqaxUv9YCDEXVoVEvKyAS2iGoj2lNdjbpnSjMdNVpO6xVk4OHqXX1ziv
tqD8gTiGFhxG9zAsL3zGjOpDCCQFBJRvqu989JQjVK0DV7lEr20l/Vr4dFAXAIYYxEVcmYzH87MU
gsQQtpqKggVOW2p3bdZMt5PVsG/Eipp/+Xh4VGNMGCUQNI4uTQ2AjkjhEOFiVXvj0a5tcsecTNqN
ch1j+pEWG8MKP0ZDLXZSYXbP17eV79rl4cCuotgD/0QtAdHu0rpSlTpjkk4DEyQnciWhVJbdXDex
uJdnJoQPV8lxb8uSQYOqN/ZRpG0rS/ZCp9lcN7O2EmEfVZrlmOgGhhW0uD8Ya7dStiaguXAlXO6W
4BYpVCBaCQPBnzVv3SsPUeqXO9unHvOB65NRZ/+66jr3e9ShMZWLyhWGyi+/kJ5WY8gclQbdRF8g
WHOgJF9JvJayIqRboB5HC4xLMgpXnTyGLd4iNg2orG5CkwR9TI5JVr3UOn0LC6fxLKq/9CzyTSdZ
CSPLm8qxmbjRFaiTCi7YpZotOSH8AwSJf4B8q70J5fXvxoMCTsYcKjBb+hEHa0Oqy/HkzKywr1HU
mU6XwV9Gz951N/0H4VpDWzyBP9artwv5H0cNcGZaiLDoMyBhZTLHAclLEBIyPMr5Pkrt/JCZBvs5
RmGzIoqxdOI4xBpT86AwQovm0mXAUxe2TSnTAFrwHtBve+AlfalYY8taWhRXb4bf8K8nVmKatElV
awISM7ao9VFBfKY96E4e51ttkJJsI1Mj+yqrAh4IF4VBIXEx8Cu6LMUrPx2y+zBVnlqD3oXx14PJ
pRnBJykfiupLVH6GoayPWmz3e4p5k7Vzx/8aIfoC7KnaEEsAdGrGKySxKEcmVtBAjiQr9y1t7Oof
XUI6E9JJCjX8WDPT6CY2HAJdCsiOV5sMmFjptgWFhbpPozZTN7IZl8obgI0AKF0PqQsfGFcSvi5I
qfijTNiFooX6cZ6EQ4CJ+B34M9zc6G479Zj2o3fd0kLwhpwP7wqhEc9FHS49VpqGJtUTpw/UuM6g
Cmd0/pDFyv66lYVzgSkN1EWBHdZxGIXwzXLMtJJC7wO8ZA0LI0Nl1W8jkJxUXtoXUu5fN7e0fVgL
7nUET4wjCYuK1dFKy07uMX0SZiBwAGbIzVJi78eslf1Ituj2usH59KiQ6goHPw0pY32EJ8t4KE9D
YOwnl+613FX6bexNHifHLMjBBlZvLTubrxWPJdwfKI9h5hH6H5cfsNI7krOQjoH8oLWb7L7fEX/g
dHPRvXw/HbJHugPbamB8X1kx38PLE4RpTvT6OKMLmCs0YcVJLuMdo9djMGy1bRckfivt+aQsXyqh
2PTNdYPzpPfSnuBCWl1A2YwWWKcd226iSAHEILZgg0tcpyod31B7a8XkZ3P7co0yogSe8uAXQtwR
jyHgxGhnGridizvV609WwAUh2td652wsZeNKG90t8I8KsuYMYs0/h13ljbfV16fu0Cs+/x3CjZlK
hobcwKGgln0u8hctehnWunTqfH8vbQjfc8ycKsI+YhJpB8gC8aQf09545AJ58pPyA/hB39ioL8Zz
tiGPoVtukR8YT+Tg+OhL9rdrTdeFtyP/OQAXckIEPrh06dZdX2RG2GDrp2hj7oxt5hOfAs4ISed9
pLrTBsw39zI23vGrtZi4lBhdGBfih8XMsE96GAdePf/dbfk0eP0a+gzSvj9NF5Mkz6AKWUuM+A6L
3sYnz8EOh7HHWTssHQulsic8l5GqeAr6sSAz9li1dpEvlAKAdAAYD2OAnARCHDmvzJh1U5ON+NIN
OGGf60e+ufzs2hGm3FN/XcRiHqTArCgjicZEBx5bIr3omLMW1W7cZ4oyMNfuVO2mckrsr0KKIwhL
0pWXz9KtBlvASkFCnd/zl96joD3UEAnBYgQOW/UGBhZytx67NVnaeXHdkjkMAUVTPJCtGXak7gE0
n/S6R7XPcqPbfmff6CAiYTfNKln8gntcmBKCgFoWsRMrVR8ozuuUVBszuxsUeeVNPAfbCgsSwkBE
w3S0obQTRM/qIdpbt+WTfQ9FSPJY/4z9bBf//mpY/2TrAmMwQA9zCGqfTyAgcZwukEjfuODEsN28
KjE20msbK7NUVx0s3b9uc8EbAR5BOoLqvQn8g7CTg5RVkTPmyEai5h51Tj9JsyNJnZ0BwvTrphY+
Gp4egDbyiSmUToVIkuYwU6CXGCSmfVcblbmJMWiP+SLwwV+3tBC/UcNAM1hBvogurfCSzCZQTlYZ
NjK26p2SxrvGsN56Nf8oq/EGUvIrC+N7JAQrBCmZt8kAqgNM+fKEYfagKBzJ7AKL3VvtA3PClfUs
3QDnFj6fzmeVIMWuGxo6sMCZfiZOvrw1b8qH6Ufoh1s7CN3xRv/h/CzXII9Lnwy6WWDK4OyWM7xK
ZuQgHZ0IOgYqdR36bCEay9qv619rwQgSCowDGCDIQfNKOGZMt+NxAkL9pLC+daGpxok6k99ZiMLz
/8+SkDepJY2I2o01ZmW3SX9r2KE/4m65bmTB+S6Ww//87Fs13Vjl0C0uT1bW/G6dNHIHs9L3xhT/
1or2DqMqbMX/lqoIPCVTwZWD+DurSlpNPfSSBrU7jUIt5aBukm2ku9bGSEN+QXvVbu0sL7g8KCSQ
kuCTGQAzCTuZYYqzgVqcHtRDZUEIZdLJvp/yfsU1lkIweh9oHsE7wBcrYuii0Oiog+znVOkYRZQ7
w3bxItsUVPWNyN7YcbeJRuVGUp19BMTRGDrbOs+3LO2+Xs3AD0FpGzuMKQSxPjQxJa+KuKxPSmP+
VDXpocqVXZV0K4/dpbOAaglQTUCw84rbpfPUMupsYVVBNdExBq91TNNrprFwndpYC5JLnxAbCho/
lNq4/uulqbTIZUbsGnrhrHUN8mB9GYGGlxhn5EAPnFPtmMK5hlxWqCsphvWi8XGSHxJrS+Ovkozw
xx4n0wH3JFRrRDcspta223TSUG7NlT3PJD3IJYe3IDdvV2LHwkWJJj5Y+1A9A9mGeKc0RjFlOWZC
AlrKnmw/dQrI7210i8K1D8MTMuE6ubAkpPutPDR0pJUWyE00+bJKku2EmZqtloTStlFt9tr3zP5O
J3mNBWvJ+yzwoXEJZYUX1S5dQoXctVYk+GLUMN00rD3iDO60NmG2eKgxkc7FutEDn00MFWqoY0IV
8wfDFmNJXvtAb80b6Biifh2/sVtppba79OXA9gFlRjRscJsJATnMGyOEsJAWxLLlSXbmtclrnj7m
Q7e5HvkXKh94r4CZG4gw0JXNoMWYQSOZkSpqwB7yX/9H2nf1OJIj3f6iBNKb17SSSlKWynRX90ti
2jG997/+O6wF7khUQry9uwv0LGawEyKTDJIRxyS7KWhOKD90mrMGgysEcyDvxCeV2HXJqVxtnQC0
GU2xilQ+iwU1p4vcFbIhSEABm4GMbqbgtB55o6aGictL/ls3/etoCnO/GuRR6aoe0bLitc6ynT70
dtOidG2mYCd+JGpstyVW0Di7icrTobg3AQSe5mqsCrM/yiazVHjTyWHyx7zApf3YXLLv1ovwT3ZE
ogzql/Gl//1n2PEuQ1ufF5QWE4LEuFWi0sMspK6HBSu0NgD6+1AvVlic0dQMa0goXdT9eoDH/LKP
D8bz30o7ixjvdVjmAUfqtdSqNZJCHX3jbvi2pC8KxJQer92NpIO7KzSQPw+EO9LY2oOmqRYjELXS
s9L3zmi8Cd3PpXnVh9eSB0HdXEDX0ZiZNCGeIJdNK4X54LT7Ep46lqPm2P/UpJK7XDdOupuxMRNY
p9DOmShYswUMBWbSzljtBW90JrdSndZuHeLLPOGNjVR6E5N5Exix0UiLCIgeyjkh3lS4koiO2X59
/NXoPDFHBaKA4Y0SCa5hLB9eFFsFyNBSCsmav1VxYyfJLy2Cw1Nc7Tvj++Ng29P4bzDmwiAWMBu0
RGAoh+qnGBFbtf6+UnEzGub4iXssT1kFbFiovxlWY6OVxTnEefPFXK/KQsjNysJ89VXnatGPynpX
us4267AxeOZjn5N/93GgjkCBu/jz7v5TEoISFrpEperV+8IjnuDIpV9Xbudrl2hH3sudEsi+uhue
stpraicRbZ77Gl1nj34Ec1EvulYhvYYfke7JrgRgIdkLOIa63eO1sXkAUcgrwKiAY99BUlUhErq0
ssQQd7EApnbY0rVX/9PaGBVXKPKzZsWOCh1i1M/oxe9OKbLvoZ0e5ar4CSyT4A3kx6+JDaWNYrf8
JpcsSA4JEPt2BJ9EWoKOzkoGtxnj0H9KV0LkmbMRN8evmSDE4lVETa2ZeVahIQX0pYRena7bQ184
YqZ5vVKDTIL2h5KgiJk63fi1LV/1fHnOap57w9buROkBmOPP8orOnIpRnK3doM5iKDd/csjrDDFP
y2yrFAzOwL8h2ASQ90JPOoRoPBlYNMjQuQXK/59QtPN/DOs1l7OuNi5vNzGZnACG51y0JWKaJ3g2
DzpcFWACem53+RPU0H/KitP401NVewonGW0lcDwtRPC2KA+OvVHlqgloJOnEUGj2Sfdc47o/Fgnn
1N26CqMKTNUJkFcpLfP2xj2mRUUEnYiAHdB+ivK07iKUn1W72aOB8q5z3kubn5AyuCAiqOB5yRKQ
RugIdYMlrGHvRxfNV55iPzmtxM6f/qOgn2cA3LVcfwA6jNv9igcTwKBUA3lDMkOu+jTLzFo9J1rv
m+07aJRBKyRulM1O2yUw2XrNxcIHvNxRteDxErpfQbexmZyvzsMUgZCF09+CtSbYDal4qUAb7xKd
c//nRaJL6qryM0KoTNHgMBIO6VcxOsoYXLd+Wca/fyDSEQFqjboIVVBnFo2WClQaByMyjddab55S
FcJlbQk2KGAyxjMyPmeZbg6MPtbQ/QNAhq3CTLM8gOFn4poBZ5h4/U6yL106gKLOKbJsxrmidTED
o5ohC9Qf8K6IC7c2DqZi2XmH/d50nDfhfbYEtAJlHIo4AwflrmQ7ZUZPekMMK2B9rFi35b9/S99E
YEu2Q55GkZUBvLEu0XiMiSp+KeOC7Bpz+XusM0JRjSlUUYF5Zj9PPsnS2iWyGMbFdzP7YoEf9HgL
bc4WXW5AZuHaztYFerwsu3QEEa4QvUm1bCXmOT9sVLjpGP4NwexSYYY0Qt8jBKhv9b72550soEvl
KJDeDUavRysu/23sq6+QPJ2f/7fhMft2RWIWULPFGSOITpMVjla9PI5wf+/E6KhrJ9BloJeybcaJ
6PHUUg4XgCXPFYTiILl7EuDeUHRia6Px8/44Hv3FTL5FPOxIoCFwP/qc7atM1CWdmeizgmMlbmHT
I9qrogR1JbqPw2ytC7RzUMqhqsyAXdwmvC7ul1GtTFz61N/WGNngcXEyz8a9ChopELrB4gbg9q4k
JaaiOCqlSO8cgyd6Mb1zOOIrCP4+oKj+4/FsTRtqfMhxuLGjF8eMRx2gViQsixhGWe8ORHYi7Zel
vD4OstFzxpD+jcJC+mdo85jKsopoubnJP4unO9nBfAY0Jphjp3ieTwDHeJyY9GrGLojrmExmnUfZ
yCKoSX8Sn8Z9cyDeaKsoubXn/sTzjt143t+OkLkoQqQNxEQR0ZZDv88OsDlywDL08dB2Y87pvnGj
oXJwqDSDpYu3ANs9UqKZpHmkr7hBkRcLNRJH8YcgC+RXK7OzvV7ZipceeDVFeWtCYRMqod6GcpvC
Cpx0ZAWSVTVoWMnv91rhVK3TDvaU2bhmJN9xRX2itkT5CwEn+nvc+AZKgM/WnlvdoMU25tOCnAeG
DSViw+SOyZx9JXZNIWECcqtbE3vA3cqVjF55h3jX6lmdaXjwZFae5jQRnLxqyKHQTYHDUt3YOTc/
gv7zq4QzG4WYC7m1hkoZElI5Wn8cGx4QZiPdgGmOKgfK/dAcYqm+SZxLg9ZJazj0IPVkcf2qaDWv
yrc5Erws0dbCmrorTs+rFUFEpl1xXfwhrZmtQChYzz7+fj/S+heSDFo9CorSt/PVFWUUiZmyQJZ1
8JJdE9DVMriKUwBxwuMRbMwbEielKYHViwoLk9YmAx00Ug4QN7DixIHWwWqb0Q/OiO4LiNJ1EDar
1XE2SVEzAiHuw5fbg8N8ZifE6b9asKNZfNFNIa5bvwuTnb/z0tvGvRHgKGAL0J+huUC5nU1T6Jah
XaAVUcrHaRqDWY78qdNdSeESQOi/itltKP8CEQVmIQ491pNkMbQkmmUNnKW+3/ed7CXre5vAvG1Y
bIkojqpkr0oLKooFyjuEkudZfWqzv/fhAcYSAhxUBAvQjTtS+JAUjQy5bCDU2s4el/LDVF/mEq7g
ePkbPTq+jWoT8rFkuiPxabQb1xm4RALAivYelIrY23PRx3kmp+kc5scI1RXqBFP6qW85vdfs9X3r
Uf0dvhX7xta85sKx67iMm7HNV/DF9OqcTN/aIbcb8u3xOt7YKzdQTjr0q0TWN6kGcDygnIVpfdS5
9pygp/H3IShEFdow0Da5w5wpS7pkVW2NIej1ThPnT6nUctLxxoag4oo6eq94HqI6fDuKTG4tNbam
MURf/p8sTY5j1OzjTDibfcF5s21N2HUoZu9l4JLqeb2MIRRfbat7qQdO2XlzLDjZUAaCZsUdwD8S
zXoyV4MqeVq7qIHhfdp9V1QSDO3MeRVurGuTpn6ILFNZB5bdFQMFny2lhC8DvTwjc6bYfBUG+fvU
m/s4EjXnbxcCxdUAgPj5sLozZzSqFpSTMlPDUfnVJLvW4InKbZSXQKeiegSAJ+FqxDathWWoIWIi
ScANze7q5u6k2oLzn1ZrfRF/8MrA9zuUSsHgQoTXGpjvLOcjgvgEsRYdcMpK8gRAawa99/D/8B5P
3EYLEPpbYHxAncUAHPkTwHu1S/WlG4GhkMCKpfLm9tqiKQrH0wFguTktJdOfBMlIX2LTqISXRhOt
j76N/hHqaL8mU5ztjLKV4qCZtKp6Sg1UiHZZNi2NPY+R8j6PcVK71tC0l8c/+36rAJCGLwHxVglK
b2z+gvozpCfgZXNOFpBpu1VPbEwXZ1FtfAIAIiC7h+ULXJ/G3vTzroCM/hidzU7axUt1WtZj2dX/
YxQmwcCBcwXdtIvOwmS40VjZuYFDR+Cpd9/vfQi6iCjO4eKCT826JIpVocfKnA4g2hiTPWdqYeea
AqBuNLzpWa5wRrXR4QVmEO90is7FpYwt+qLAOxaQk5lCiHTXx/Fo7LKDOjlC7WXYNdVedAttBwNf
T3z566VxHZjtqLdg3wuRmYGSrP4m4+RG6BI9jrC1Z25CMAujaeHZm1R0bHsdtfupscc3yxde2qdy
N/ndUfJaR34ClB1wboVzqm4lIswsJXeing5pOeX2QJqSsUV7r8KGdSdPdUq/+W15nUtZ3uXlv7kQ
wloTAuEQ4ABiHu6Bt+HyQhPGTDDHMLK+LiinK9BEP0Y8T5T7K6+MSjrAUxoQYZRVdxtFmxdRkWZx
DAENRd6xvBQ1kKYvn0RtN1jEIdLPx99wY2/DAAvsXDyB8D9YhiSg44O4yvIYFkVE2xHxn7jSBbtW
edDnjUx1E4hdK2I1wZNKHcMl/ykvX3vzy+OBbJR1YEWBywksOoFJR7XgdurGsmznSsAdCO6iOJgK
T7Jjt95pAVYh93lA3ze3d/bbYMydDiINEM+OgbgHL/bQBT26rjGcxnmvkI1SBND1KAegmUNPJ7aZ
I9WgwBXiMCDO5FUvtD8GKy80cyiyqXeasHR4r9WtD3UdksnDUqqK0wgbu1CUvwvVrwrS45wvtbXm
riMwizzrBIAM5nEIi9ZWg/6o7Yp38CN88ja4kytDv0Pgygxupf3rmHTUV8d7LZSWNWcT0v66H/Kf
QN7Z0/xsmYQzON7sMWmCZPm8aAvGRuA33Mq2zFWV3koR1yNh1nmepPFqDPg+sXAyogq67VEgaJLX
rZI7CKrXQYL/8QeTeZPHrPYpT1OUABAS5CVYTQTGqx7oMGcAyAXmcqfMm8FNGx0jALsffSPwZA/Z
UQs6SiSi0he8AhVvAdEpuvqYgj6npgxRHUBaIXuxXIgq2wvPueSTxsju8euJZmoc8FdqjXFFlOiU
vGhHQBfd8WB+Mzw5VD9UWwP4Zv8zSLwsEPc6cAG0XW258qkOBDcqbNMD81uzS17ncyv1ALkM6DC8
5Snh53bwfVUuopF8fgyy61CWnHzV5/NhNhfyv2EMBpC3QP6wyOEzFJY9VANB4iUZ5+66UbVGcrsK
wRwJXT2k9dwjROfRkjUqVqbf26OnOOaTuIuc5QJhq8dLeTuhXsVksluOal8LhVjkgT/qpUaVQcET
JgJD3pTs8st/igy8J8yGDMHtQJmEFwkq7IIKfLJ0HwXajrrLz9RdnmtCt3kIXk8pk+YSyyhJXCHS
6Gdn2vLC6wVUVZpT+bSzzW14NZdMrhMGHVzyFHNpaS/xcDaVX7Pwi/O97kvRmDpgh6mIqnj//Gtr
kEXmNhtC0xwPVlT/0uAusqCZYuta8lW1ctNJAdEu5uJNSHhE5+0VehWdybUw7IisuQG/CGAnGWpC
Q0BxxcKXpXGLvQYZh/JdUNzHQ97ceFcxmWTbdePUdBpGrCuDTXGvksYrOW58OLzfVQgKAuKn3jt4
DVJSDiRvQ6WPvSkznzGNB0mYfzweycaxgUI02BxYkWAJsqACNZmHOQJqEYyO5o9SkVczat+lNPKE
ASDwx7G2hoSiN/onaIpSXwcmK7ZiDhcEoQmlIg5LY30rpegDQpX/PA4jbWRfKKqivkB5lmj3M19n
yPBMFduuDsUA0IjA8iuCO5lZ27rbuZAJcqKnxI1Pwn4K+SjpjUHiUQCePyhvaJCyRirxQqzWKuMB
fZnhOA/9k1xmT8og7h8PcuO73YRhkkgklZKVtgT7uomfLGO+aFVrwyvbL5T8/XGojcV+E4qO+Ook
F7MuNvQoQWbUYsdQP8qVd8hsJJCbCMwWTpeYVGqcD2FTKCeJZPu4Kd86qDpZ4vS8iHBmhrjgflnN
Vzx8OItyK3+gvCyjOEPlZ+6u72kCjcYpFfpQvaiH/Lk5J0+ZF/vlTgqyNxAi+lPHKdNKdAEyt5ab
kMwBB8fAxoy0qA/lIN+PRwjYoxcMAJhXe8Jp9sRj64i7Ydf6jz/k5tK8GilzxC1mmQ+qjA8ZkVMs
vlhCZaNAzEmNvLExC1NY4A/Ztlj/bZM6aVX5Q5QEejsHem96ncWrCfLGxCxOvBmEqavw9eZCexM7
41Al8W4peUwL3qiYFdpnszQPCcIsmnVSltGr+mrfrI2/VJ0vWyNnErdHhTxJ23cAJDAZDOZxZYc9
1+PUTgBL+VUnX6SckyY3Y1DoLu6oMv5kYgyzYJWQKoFuRXMZzMqWs8ruat4xtpWMQYtBNY+2qdW7
2vCiiF3V5OCwqhfUoo+VPR0kX/UmSB5ZjhSsYH2e4x1xqtf6xANzbhX2UCimtBEgyO9Fr2ldWhnH
pQcFAIb2xylQdhSOPR60YHI1sGTiA9SAOal5K19eBWVv5YPUJWQU5j6UUJfWYOaS8KR7Ng444G7g
sQ0kp0xVBW4zsh6hzg1edR/qp/Un6pTHyemP4qk6zaYf/Yq/Rq/zl/Glviy79KTylJe2hkeNG9Ao
1+FvzJaz4Tg/qYlW9mGc105XfFsIp/OzgSORIXL8/yKwPeVG7kcyGnVPwb+QnUgO+h4TGQBJcuIW
b2iqZVPxdSzmfZPXpRoBToDR7GcXNbWwcCxn8sE1PfCVuDYT/3U0JvGLIhrWq4Vo/c8czwzypL4n
HsQFjvGfzl3c8VJ/J+Gw40lf3ouJo1eCHhoKo0DxofXI7HVR6iIQtXLE9fWg3C8eoDInY9c4+mRb
nvBFOA3HdJfuMt9yyQ/NxZ+vvB+xkW9ww7TQ+8TXxWWTLuqra8QaLfIggLAWmn1qG+ZbR57VpOac
5ptBFEA4INRIVXaZnUEWqItCIagLU/HZHDtHj4MC9Y+/PkcBSf03CHMYZEq/NugLdqEBiN2SpnYT
/UBbjBNlQ3oHDFoKQgctFIxf9mpuRZlIEqgD066EHpgH3ZlO1cu6l3bCWXXLPys1LrZjD90RXGe/
LD5VhCkv0AHinEYbO/7mhzCrlqi5WK0TfohkvCTza6RyOuMblBk6UoiNW+hfYbzM8lzggQUhsb7D
i7jek6c2nP5QVdguSP3CiXZGQL6NZ+UQ76DYDbkdHllmq+BwE5+pVZnqCG7h2nXYHkaoH8Z9ccng
JgQIanPUDpozw9UvUF8er6Ktk/EmKrMhGqmKJsVC1PI4H2E1ihrHtxU+LlACRC4wvpSe+JSeFju/
8DPRxj6x0O7CEQIbnvvXZWpYkToOehsKim6r62hLk+GsJW+nbHWf0BIGflKHLAcaGMyXhV5eMVrJ
0oTq1AewoHIIADIDVIz6mUADLXXXAYgVi5ql2+mk2Uv+Z1plnxSdK/ZgBVT1a1k/Fdwb+H2BVkED
nnIh0C2FlDOTJ/TRWq100aqw/VhARYQTOLG1zqnAa0m/rI75ofupt+yGr80P6Znz3el2uT1yENuC
aTVNhOhWMddwGBIQJTelCpVazc+85r2ooJA2uZIn7rTUE3nl7o0u3G1Aur+vMm9nAA6SSghIu3CK
m7pQRqSHXGRDp+xi7LVfj0dI89/9ACEUAa8suICwOuf1DFOnqEW8uG1sMc0uE/kFKcPvGTcTb+xc
CsjCsYaVTOHCzB6qJdQvOjOqwyUwGnfwyA6KJbTcm+yjXV646xcdLZ9m93iAWzMKbyL4FaBHjb+y
n3BQV5hLC3KFPpbk607izU+Razidq/qFT0L17/k71Avp33jMF5RSSYzMVKlCLazOqqPsYt9EPTTb
awcqNkdViXig6K2pvYnJbJGoWeoIWl10jJPX/pIzG/RyT7tkb/FOPbZB5E1feX2tjQs7HSi6xVBJ
pGRv5joGje6qrAuxCkXNnjzzUH7rQ+UpeweRLqj21VsKl4iwCBvei5zuOWbJUu0qgKbQX8Vxy+Sp
ohf7Pm+mCieQ8dPwqSy45rUe3ZR9UAZc+PL9kUq1suAxiQsZmLwsEDTTFikSkoHGw6LtbAAKwYUe
/CH5VG4pcAPjXnXvXw2ICSw9FQuA5jLblEDDEE7FkOYPu4MQ2/le8gW78LJDDFGhuXW0U7anBmKt
UzvKZPOokvcnDqIDpQneAJ4NEEq4TULJEOUlDO3LsO0/yjRc2ksv877iRla/icFsk7wzxNQkiAHV
FAUtIQAeztBT0Z7mJ1h4huZr/2X+Zxmdwk/8+K8BcYqCFYtTVTfxXzYTGc28Jtosl+EiGU6/lnZj
8Xp8Gw8jaJ6gSIU/MJN3khatSoS+y6sSJwfZWVCBGpEC0l2JCwJ3J26cUoBcA7EEri2sYFgTVJzN
kzxBXxI1KvlPtiMHHFEfgys5kMfzhbe/T6gK7b9QHi0o0+zqMEc1hgmCVgBaqgfxM4VG9zvDUYLV
aX5lXF3rrTxzE49ZKf0yDwUEhAu0tdAttWK4wpT+utOfO98IitqGt2Plyrv/BpStAiSHhowODAky
OvN2yOd8SitDRmVnrQunlEi+K+O45twt79MLomC3QUmR6sWxmmvGhEe6GY99OMilNblrHY9vlRLn
CecgvD/pYdInUesZMMCBhqGL6Opm0TSplZWa0oUtMXWvrLqzToaD0qqndBn+2pYIjoBw6YP2D6pI
FhoWTLAK2S1X4JNqyuNsV0me2OJqfiQEWlutxqtj3ucrRIOAEdSFoPyBSsttNBX84xV2WO0ZOsST
LRnFy9hnhd1WempzFj891G4PH4TCigBVFgZtoATfhtLaWMyB2pXDUXIpCY5WxszGndGX58tibDy2
YJ9H/wPRXBhDsEePSsp5KpU6xtGTPg+e+Z2c42flOGR2CY1DV9+rr8U+eytfsm+Nj4lOfF4lYOPl
c/sTmE0QR21UNBF+wnIYj4OX2aS0da8/Zk9dQLzkJO5V4lb73GsD4nM7vfeZ7TY6c9ZbmZTojY7o
9GKjOlDVc00ouxrgliU+twR5vxURDQ7mVKsKX5m1VsWCVevIrGKUIM1gdXVH6O0+hKKrqwXxk1kD
MP9f5O7bmEx20+NxWCoFMSnMqnoZgvFTcQLmoIA98Og59zmABgM6TcHORLeVubKhTZiaatFCt986
Z2YDAW3lWQcFRB5rzhH7yfS53SjIZlQFWNPBnYdW9+1GaXAmZsZMv9wh3+tBvc8gsuCKKvSk8IJ7
6VNH+h5/iX7CEa2q7dfFjrzHW3XrY17/AGan6nMjNgpduH1X23Jd20Tj1EI2SoS3Y2TyzlL1Cnwq
EEIOzKB9a2ywBUo/chOnOoqLP+O6f0hiO3rhVXnuEx4NrAMzDrVnKA8z6XVYcm3KCywa1ajtWKmc
Sn9JFi6wbGu5XIdh9j4xrUkTWoxPxTlPnrSd9iO5GGftVOwBjG78AnQ5Q0E6ePzlNk58DA8KWZAV
RO0cDo63a4cMcy8UHaFpT0R1aTp/YoWAvNA/ao/ee6FeHXLv3JsL5ioqc0AmcU2kdYljCHSRHRRe
C3uR/GH65GCKbubHywHlu79nNt+OlblrgwUkWIWKsTbjdIxEwc94vK9PTsTdVrwaGJNiNDUjuLYk
MS5QUSC+Z7v1qTkkXv2VgoOEg+z3XvLW7Ruk1GFX7dojag9fuYW7rVQO3RmZXgpAFGGTa2FMg9qK
GdAER9k7QaQAHmNGILvnOuB1dTa3By6oEHvBy+2O9Fy31TIU8G8LjdWyrVZ2luXXAHUQzjLdHNG/
YdjmUWF2Zd2uaQxBnXJv+MlBdfUQZbNPRTfeQcwZk8HsiVId9UkWEGy0Dl3lldlHzZMeuX90Yile
jYfZAJNVFfXUIoSKCjYF4VIk3P8HqOr+AU9PBNzTFNhI4k7KHA096JsTsbDk470VWh+0pT7vytob
fCvIPXV14/fHX2pjZ0MSQ1QN6O7hr6xzbyxALdJMWhISgTiiEDv18vY4wgZQDBc0CRkZpUK8xFjc
N1H7dJTknIRSYp1zI7HbWsL2GqrXrFgh+5HYaf9Dk2t3FMdzJa5PU21xntQbKwQutGD7YTAgHX4W
wq4u+DMmYJjrFOYJemdXvWqDY2Yv3Doe/TpMNkEYuIvj8IHoDqt/KkPpbikqSzhPCowNQO7VtNCQ
0AFYZVsSebomG6UtTCxsr0DillEDZq/AVtO3iRFhL//nBlh4TWZXge4OLnn+T09l6u3/ouZDSUAA
mQD3ruCez2TlIR/lvBU14dx5sKkQV0cr7TS2IU75vaLK/i7enW2Qv9e8B8b9kYvAiPcpqo96NwMT
BfirbZo60eCTDGlxGbNbt65ef2jRy+MVe78ndLjeo5wFQBk4T+yeSDWz7gyj0yAYIvpyszjCuHDu
gPcrBepMVPIY3w6kQHaliBKxsqw3mnNfRZIHLpJrkXm2l1iDSY0yvEWY378fFNgk9OkJMyy4W99e
HCoLHF+hT9CmqcqTGAtf9Wl1Hoe432W40oLohGcgWqMQzr0NUabyjMd62ZzhaPTUlsLPpJFO4yBL
nNNlY/LA7zBo4wcURDzZb+MMXS6JgtyoELOF1yikOpe2slX9RZ51e6wlHkxhY92hjIsGpgZeBG0D
3YZLTGGck0FRQ2HX/BF+SscBr7seNBln+DY7VrDs0e7OHJ5F58ZsApcAwAeEmzGfbDdxElPSJ+lY
Q06I7C1BdpUy8kna+Y8/2sZiR0EebGzMJUVQMtt5tdre0vOyDqu08BSdeHLUXx6H2BoJNhRWBnyn
MCZm6fVp165rQepQlj6mdnIF6U3vGs5n2giCIg7wmAAtQkmcLb1JazMMa6ZWYa3YRKxtqRT8Mp45
7xq6hG8zPHYszmboyWP7olB6uxYsPe7KWByrcJnMg9jBHQd09UTI7KWUA6v4U0u8LH+/+kwR8jv4
A2AcCDHS73d1dMmzJRSluTZnpbbK8ywYv4VcrXaiFe2GopL3jz/VBv/iNhyd5qtwQheTacKz9axa
wlstgzpYD3bbgA7frm41kvc6mt2uV3zdeM4iC8zTZ6vITyb5lefgJchQSZn78yiUbizVrhy9wQ3d
IeS7CWi/SiBQNKIt2q7B4599//Hpr8YeBcZAua9yaaQGwKBtm7PeDG+Q38/seoyOaZv8fBznPvMg
DiXBouWME4Jl5pF8bkltwfAOwIrzsCz7RKiPZqtehn60lVRTOZluA86PgFjX1CqdOlQzuUcEVa6N
VVKfrSmC03IqgJbVlpNdNfOpJcQ3zGmxm4r8Tsb6F6w9eRf5zdV3FZ+995pqY1Rx0oY5vOBheOGU
CYox8ejJ47R7PLf3iYgOFXRoMFhBl2UfQVqSDZ3UympoFhGESwYoC8Di+XGMjSsTglCDe9jlgPoo
MvtXbzu4kFhadZZeFycKCm/NY1dNUjhA4QgOstrOvTlX3XQ68SzVt9Yo0DyoLUG8ECcxc31ZkzXG
mx7U5qyQGxtW4zuxAe04V3OODsDWRF4HYtZMXjZ5ggrWFApRL9hZi9aROJWcRLi1E66DMAujNHQo
hQugUHdW/7WtCieui9I2S2LZRIm+KVA6ePzpNgNS+UXoTtDrJ12pV4lpTI0aMpcK9GjbfWWcFTwh
crBUR0NCQF6LavNbXQVjlsk0RkYKNYcJT5ZpdnppMZylq9Cl1obZezyujecRPeQtU4QmCZpGBjMw
MpvQ6jKz6FxMip82UF0ZJhGwETg4Ee1SJ+lLWcFpb+qTfb3Oe7nRD2U6cjbf5oAhxILzEzVe8I5v
Z7fRcoJmRQHe/ay7VdUS24zNYE5UDmpkMw6uoCAA0waIydw25gkOwFVEonMjCr+TTn9T1PwtEbT/
MQwznFqThbEsEGZQarwwz2p/GS0evZ83FvrPr1aknIEFVAwxxlLMLxkE5KdcOHUKz5FlczvjYgZ/
PlW910e0hjYZCkmwzhW5mPk/kvCHswBp4rm909D2GuQCIEiJI5QFNzVZDl9VKYnOk1XuoGJ9JiCB
K1mZ2PmQVo66lm9aLMKcr11Np+qht/r4B2zN43V85tmwZoIItzR8LFX6luKaMMlf14bXddtKH9dB
mDtokbTwy1lTrIh++hBmGRXMBT7tXfOk6mBwd7P7eFD3F8WbSWUlEaCvllbmmEfn0lJruwO2DMcm
7EmX9Qs8Ol2YZ35V5yr736aSNRewCIHvfUm3V1nBLAK49Ol73A3e47FxPtgnm/Vq4YMWJdTVgBXZ
yG9pCtjm9KpwVTs3PxgeWxRnDOi7zhyXTSP0QCmYUKKbGri6ro03K5W79sK70A2zDSfnjnPCbG00
6CCgUIViCuC9zH7OgLvQBrwszq31LhW/Vp504uaSuPr3M4k+i2OrgnsInbbSnbU4yGXggc7xFNaA
DU6QBn38mXjjYQ4xIdalXlwxHnFOnmIBSvHyKv3zOAb9zXe542pM7N6F4lC31oihTL2TGhARlHeR
9j6vyu5xoM3BfB7+gBvhekj/+fWaK+ZGxuPHOkMO4WKS7DmOFs5YeCGY7y+vliDhWWed1ebnALZ+
Hn3538bALIB8Kjs8UjBZQnvS9IsU/378799ouiHpXE0S88XXwRyjCS2Gc/FHv4hfal/5MYt2/tVw
aoiN7eVjfejfBdd645l8bE4duIqQlMSz6A5AUbWTDH61Zp1nvd2lvXFq55Vzq91MOlchmJtDVgDe
m3Qqdid8YleoUlvN7274+3uDhGocXpES1PlR+7tdZfkwT6Kem+Y5kivgdddadSGAbbr5kPR/XZJG
KZzK/aGKIOLeyowHCqqW1cCJGlpwgyMVnQ+HYzRJudLEGzsUXkWAAuK7AKjHxilHIKRNfTDP5Atl
oVSXDHwJtH88yg4pXqGg6kASiJN6NqARgFxdRWW2a1v1sSCLiKoGyW4IJNG2CjvNT9l7itrtOwmU
g+RVfn5BhVoZL50W8MCmGy4Ltz+B2c79Ug2NLOMnRKcokL+rh+mP9Tq7M8p3sS+9dCfzud5ZJ/JM
AcuQ04rsyKeKPr0j2iXXcm5j+ULolQquwoYNlA5mZXUDnu6i3prnMm6fh1oJ9AlXD6Jx0iR6RfcZ
meqCo9SGDgR1qbpdwkRDVyCi3xs/o28OWVQOmVdLEJoNSTaX4OFp8CMYZKKIh2lc9VO9CHmOlxuc
sw75bBm5387SWLw2Rizr+Psl0cOugDdEOehacRTAdDYds0c12TXyOB52ZIDAtt0u0Fpx8Yvg1rFY
EAe1oT8n6F5njlKf25moL/0xyQwxCsp8hF24ICTq4sDWtfVLtRFKp+yTcfQlOZ1UL61Nc/B1M4fl
SDEacedAe6Qll7xSOwkHp5R7vdiVvWQXoxIrbmTA3si3BlMgf7R0LZ/aRS+LXSflFYQQDEIKp1XG
tNpNWtEpxxQtosbvakmYfpq50VpO3Zej8FyZWl74aq1oxamGfxnYRWqnz/46EVU6WlopaTsyJkPu
ABE/yZ5Qy3rvKHPdfWsqOYYQO6wFFwfYSlnfwTB0sfy60LJvSTyJ3qJMzY85bSLJ6c1BnX15Jsbo
ylND0qA2syXbSVM+io4A5inkqDVBlp97gIwCXU9K41UXSPS7XtSB7HT87RXeoMv0KstElE5F2xeW
PxYziPZZLbY+7OjH6MksUh3yPX3c964aSYJ8Kqwyk21LL6tq18QqvJIEoYzHS1mNMao7iwaG8kpE
6/9I+7LlSHVg2y8iglHAK1CjbTy13cMLYfcAiBkxf/1d8o57ukpFlI77PO0d0R2dJSlJpTJXrpXX
wYJ3nFV4Q5lX+qs+t1Tz80I1ep920HX1OxaZy9Nklku1MWsUwYLFovawG+cYcoplbtiQY4DUN2YB
zBQV+o2Ld4y9VY08X45okyl10NagDQNHvtsm3pib2byt53xhIHllNn9O2WkeQlzYSLzMAifkQUGi
9D66tB58PL3y3uuyRRn9unWnAb9Kb3CmS1ObG22O8Q9HwNSR/YxRXvdIAeldgmaMaXWsEqgI35RD
mWZgPI51K7CS1sF8TG+3iJEuA8UsBE+cwYOYgDlvLLto29CKqkzzk7ai027AKNETqLA7/Yuatil6
ifY0qGhE5Fox5Z5SWU12aEDpMG5KeDjqhQn4sI4lWnbKDkc19LtlKc3ilmh98l44te4+sIEZ1VsS
tymkukunbTZQnWjK7UyGqd0XHV5ePgYSCt0bVHAjb7VsYuisJxQgJdK23Q8Mk/VgSmzaAiOopQFK
17zQ1XZTOXm8+KRKaLuhI0Qpd5oWlemmmtCx2RVgKM993YnzcUs1xIaHpWK58RA5dhoY+Zz7ZjmP
y8PQG3n/yKJErQ7UdNo/uFWQxyYLdnPLUqrbQZKSVEbev1axw5sU1zGghZzCRUiawFCRGepM7LDa
DN8YkOxbIAsb3n/5pcYBO5THysW4nwxGxMOkkNjCLDgrIPHHVcUEszFSTb3sbDt03BpzTDFYJIYC
WkdqvB9r+3WMKtCc9MP2ega3clnzPhNXQ0CIuCBXtdpFUcGGbYex9a20d13WeFS76xdZK3XlNoId
nujgnQMQkZAoOrU9KBXmekJ7MgJIXz8o6bhPlGTzD8tBux3wTBQwLpRdzVHR69ZY7JAuYZP/7N0/
UfUtz9+vW1mBgmKvOIs/uMvwYhRZjY3YdFPCMidU9tOW/NE32g0QSs2O+WAtguy9i4kWZad2m+qL
HtBNvstkUMW1/Tz9BcJ+5jEONKtjJ2ygjoAAuEvGeGNa7e76SmVmhLtdS3UrqWws1LKqoCtdT5ui
QM1rybGtNYHONlQolhgoeKq9ye146pG9xTfsznUeFZ/cpnftxsCwTgMaKPch/UN9N8g3y9tw196l
z2xfSX7KSjbDuaqhMAT5HTirUAUYZrdjk0KdsI1L95XF5fLb7BeZfOCqFYx4OQCAalCmET52K6mh
m4AGS0ht9bik5TPufsnLYgW4B5AGQAUo9aJJjifseV6GeJIn9uTYYe+bu+a1Cpnf+E5QKADR4ary
qDc0IKOTxbHVpZ2ET2ED56a3IqNHRHG1B0WFhNAoI1NdERPg8JO/EVpYGTISC0kfTJAfwzft23Br
vihfq8lzHkjAyYvYF/bL3NpHDkqpgnrX3MgAdGvfxekvEJLrBX2Ixh7wC5xl3pcaeevy6WEBnfP1
z++jEnp5KfxdqfBmM6wFbV4whIZcyLz7ovu2V9w4G/oDk60+MOjHMXQqDPoDfh5ArGLnfEPmW31J
bpp7+eyr7GT5n59URNJlnnHt48eAjCgY9Vcgubzr65VZ4Nt+YqHX9KSzM2xr5NzQAS2BupG9E1dP
7uSGEEwoAGB2eHPbYXIADe8IUeLb7JjeFd/om77lkqS1X/qyMbnVu/3EqPC541kzsKnFtWSSeafN
7m4ZdKjd2UjtGfXMMf/OoklGJMivANF3UB1BExd9apTxhdi9EHvIswnHZdrVe+YOt8bofu3S5kth
lUe97l+vn92qOciO87cgJrpEzEXREqWJ884OlSKC7IxR/oi1+Yfdk73Ru4+6+Q8dMyBV/seeK8SZ
IcoAJOH2ILL5oEagIoQy3LNFqWRdaw5jYrqRq/aAFFzEGBU0XvRRRwOwj3uI6bizscEsi+2bTibj
+VpxfxRNQHSPdhXG4cQkSXc6Z+odl4Ruqnhl9ceuP89Bgnc6VO8x9otRAEesOOOdNJpG4ZDQAMnW
MLODVhab636wuogTE4Kvl9SIpza1SAiXw7sEMhajrH+zlqJjBgfzn9Cu+MDInscJK8L8ERq/VsgH
s01ca+yl2DlBu+HlFN2jm/JF/zSaDbkrfBsVLai6ITU4N6lHilPWvWGFAyjUvaSq61sAJXOJs60E
Cj7gBnSohUkC/OfcStM3Yw+EhRXmbfHO2PQdUiRf4yh/TtzsBQWDuwLTUJKQuOLg4PrhkvPgu4Ye
jpB7YZjf6PHYtsI6fXPSB61/GqgkF1nzCQKVAAiqYEYCBc/zZaVL3GpNzazQUHsINxG0fGnDZJNn
q1YgSPBBMQ0GOeGI5lpzKjtRsZA8gsB2pPzBHHb2L7uFQUTIB4H/D4jp86WMNNbGArWwsFCdr1E0
3RQqvaN59/nEG5o9HEKMwT1u6NwMqWje0rgwQ4UdzbQNqiwP0myU3LdrR39qRViM4tDFoCWsaMq9
O/yp21cihSjzXReuIeBbACXDgeCtJKJQkkRlQwqcXEihq4sXLPAaFJcChMFxIRHZ8azhl87MCRtH
E9ovix6bYbUczPGusZL7ZXpy8ttlvsubF3xgQLHJWM5W9/FkjcI+NstUNladmCGjB3N6XJr31DQ+
f1YIPpCpA5qHa7sJqaBmZhkBYEkPoyr2Cvi2+WpXb5+N3dCJ4s8FSDmB1U8cZZrLJBrnIuGkcOPB
jqYHDSpc101cpgkfZEp8yBYgcgCDzx1bTTs9a+yxvZ+zOhz16d5l6Rdq0dsoSV+TBkCs6/YujwbO
B6ALmrrA62EDz+1VOXFGdCLbe6sHmrVDGcpTY8Pe1Jh52l43denpoGrToboAbhLVuMCpK3nGHCPq
23sng96vFdu7xGiwMKt4r2L1y3VjPCqff1acuIP3qlF3R3dSiNqO1cw5JBKb+xo0p1X7ywHfuBrX
t0oyBHmKG9FtA9QnP7+b2EKTgGMMNoEgOt/NJqJqM7ZNe4/HQPq6TKr9FGfR91KdNEmcXUEp4bRw
I/0n2Qre03NTmht1uYphYszzdQflHaqmEMZyHzkTPQQQJNbWju7UmOAlRocMsOLG7JmGeOXcQcnY
jxqHeWPaSZD4Kx6JYAjCDNz0/H+EDxmIeNPoKh0vNLMM4uIneM19Q5cReq3kSGCq+G9YHqSqwMmf
79+o9TamIZsGEoaQTGNAygY2JvUHDw2ZR7UH6MXj1NrT5++Uc7t8q0/ecFRnVKcN7FaoUhvKd1wK
YPp9ue79K8WNcys8zJxYKbRIi6sUVpb7ETqX2t61ve6mp54FEUEVFaIaAyED5s8PEsP8dMTv7nRb
hVSmcZq0VRcY5qmntYVwO7ROGKb2wAa/6/eyMejLnOZ8ncJnTmr0Kvqobu75GFPcN5g8eJas6DLn
PDMhAoc4Rmsk6GRg0mzQg+7LuGtAcrfYnnPbbfStHrSP7Qt90X7L5RguTAMbC7kljsHF6+riG880
TFyqBq3uozrdUzIcWgLafafbRGbjVwO6W42Mtvbi6+NszRB/5LLvqKiLePrFZImmV8DTq/FdGf9o
rcqrewlU9XLIUzAiOEmutazvC7DiQO2yAj/WpnjtMGjZld7w3PiFrz0tfNKTsxQcqBdFd5qPnb8b
b6Rt8Qt3FX6J4D8lMUAJzPl52CZ5YOF0yDbL12zHSRPB56LefJrN5cyeIWZ7MUawezuDvdxqPVd/
NNLPD0JzE5zzBLwAwE6JidDSsGiERgRYsm4puHhMH+oxv9FYy3bR7dB6+ja6MVWveXclN+7lFP2H
YTxgOGENOibCJQHSDmVC0R3cZ0HzSn8ZgXYT75u3JSi3mJ+FmF9NMIc97wuMwgWc50nyoa66LmZN
+OQkminiwElqT3kHJhswAUEMAzKqfdj/gCwR/bA9aHfWh0aDrJ77cR+dRTy+7BOzwp1vxJGhpZVb
YkJU9XWf+O579OD6k+9445cO9iVPn4sMEfaQenJIHG9KiUOGelEkae7M5f1iRwBdlXj8FMZzP87a
JjKiHc1yaT2B5+fiErlB/hZS+TTP+W1SdWi3RQtO1n3WAEKlYEIbbupN/Vr9Mn6nckaplbgHkjfM
viKtsMkFRKYYpwJUxYDIm7t5AyRD6S3vURdEX7QQCErUMIqAHuev/VcX3OtucN2PLq4U7O+pceE8
q7JatKIbyvsSl1eKME9lKcCqBc7OxRlg+OT3+XaS1FzQnWpA6WSS23LIAhch8Poi1rwSWEz8+8CP
Q31QzOutzLbGxTUKsFX1rzyxIcHgs9tlwye+FTmtE/+4BRfBgwjD8ugLQYVQfJAzJ6FkdLQCo6+q
n+3zey5UZO/AQrSTseRdJKOQpcdcEVwfFFJ46wlxxq4nJQWNb3HfOkpY17v4lwH0ymRHkg/tEjMF
QxD8wvUPt4eqlJCJppnRKGA7Ke7jN/NYRt6yBWfV3exnYD5Jgp9g524dvzlobyZ4/2UdzEv+eMG6
4IfaMoFBuIT1Pjtmr/Wh2EQH80s5e859TjzDp14WSDlsVlzzbMk8xp7kjWWdFqnZwWh5SyNPfXN+
5+AIqTcAOUwbYwMMBz3KjMpsCtEl1mk3KnybWfx1aG+rOZK8ytYcxsYcIjI1aGsA7HW+KLMFD3M3
kvx+6dgODIteabSeYg3PQ/N0/bNbuYKgU/LXkuAxuIGMpTVhaWTzq8bQf7I6v7JkjikzI7hGnLGs
BxVyDs6RLD+qykb3of10Rw6V63WOb/1RWVA+lr7sGbh2UqfLE7xDG9wJ/EY2ljeiTFnEXqVKQKWX
zzJ4/akJwRlsajGqKdhBvI6mb+SoBd0zu+uA7dgpd9myNfByiTay6vUlA96HWRfJNupwKO7wS/fE
75cytfVcsXLcOABz/eZk7iboco03/UbGEbu+iX9NCcmvZjBMFuZYYcV+WdFDTL9f98G1PAxb+NeA
cL2oZEoAmoOB7A/B/am/jbvymT4DutJUfrvnsuDxT/1G+V4E/f9GoWs1cp38ALGGZZhFSq0FbqI/
amyztEGBgKlsmmAZg4ztP5hFpeRf69/E/6xavBViVM6yxcCqUawPjLS/Ha32SzZm79d39/Jlfe4p
H833E0/pSjI4ifXhKcbWrgOT+IvH81uAzQJfaTyy714Kx5NFSdn6hNCCZKI2nQabaqiY6zOK6c88
0pvFlVXWLwtLfIEAXaAcCOVXTaTDY5065pGLBXZbtfW4zFi3VyavD3Bu2/FGxn+z+jmcmBM+eCin
jj2u8/zeRW/CT9zG8SCgm/jXj01mRfi+2ZwAPdbCO8CC5dGlArxUNhosMyF818BsDgBZw0RS2IFa
Dx7SpE9fZFzt9yPBMiyUuIVV2DWxU5Ua2X2H3mpt9/RnPnbbRS+yEFAIWYns0uNAr4AJRAJJeNtF
W/Q8JkLs12kcs8vurbJ9wTD5C5iS3phWvF4/mo9K23nqeGZHpCaq40bp87jP8AY3tg3zloO1175G
eGX86F/crQaRtv++L3dX/HoZwgJcXo7mN+ZeFppXfJ//FBfOD+ZnMAULF1xc612MwRlscDAEnOun
8t0nE3PI1Xa+kVEYXToMrEC/BMRPaGZfsJqAs5E4qaXSe0Xpntuie+gIC67v7doRAqqFSULQBBL0
gs+PMIrS2SJTR/GWYb5eP6Gc7HX09//NiPAFD7o9Z27W0/s2q/0kGcCXMm9TQybft7YWzlWNdxNY
QS9aflNuN4tbaikog97n5DFrkYhLcZgr+QdasMgSAQsDCfcF4FNfHBWQZEUJ22D6qdxnzEtAw+1A
/bHNveSpgfKbnDb2cjQCdEwnVkVlks5OC8y3wCrbTEH5vXiK95zx8JHeu08e5O56T//uHPotV0gt
wCeXQK3ANrys9EYFrzkZ9eJKge789whPrKKnHbGiCHoQu2gGmXOxeycFhlXsm+hg+9WhxQSTuzM2
PJfIN+lzewcGIIwfSNxXdhpi5m6UVU41fho8Lau3LtiTgvjla3pQdt0uyTxIbUpLgpfFh/O1Cxct
pOarMu5hE/wKe1jU3mMQiSZ75ennBOFdY7OAu/RbFkRPToI5BEmIv1Q2EFyBR42T/KIBVBGc9h9L
7tk2Z+DZJL/b52nPK2igTdRmjx36X6z2rN/tTkosyIO6EIzPPFGIGB1z9Zi4HydvbMFL2/xoXpA5
9i9QN/KN43ib7J19fizulYM2bGSbv5K7nm++EEsis6xAtobVzz7ZFQRPgB+6D1D7lpT+POwtMKe3
Xv0IZJ26x5jw/4Kfmh/vxQaA8wKkF2BMulBwcIYaXEwdNiC6m4GdSTfFHZRs7uaAeupNv5c+83WJ
PWHFVssGFDlgD/R/8T7fFrv6poRgBYbBoCkdztJi3sq1g2k6qFOAxRk0NiJdmJX0mHmc+QmP7JVF
P8hkBcDrBGzIvMJ5pOm7oX4zgZbkwxg69F+trdVnX67fGZc/wkAf3UB/m4N58FPOvTwfCcnY2Cmh
Xi4ZJl4IRM8iWQKzasTgvG/A910CXsAlFqV6VCuhUeYg+ECBqKgxs/EPKzkxIuRkxlj1Wt9hJVbz
HSwjXgT+kn+wgFlBXHlrom2Epa1bKFgGEuRjQfsNw2qum+BOdu700LpAfgDOKTBbXSjBA9U31EOs
gnFAo7+yUrkBfvdgpBjCc+qf101dXuPcFHoTGnYDQAohwEDGyajrcYxCDYI8w2tZ70xD0l9aWw0K
hHxUhKOdxAo5Kao+Ui0QeFjz5NHopxPPwNRk3uTIcn5+uOK+nVoSPt4+LjuHFCAVKGLFn5LJT0fX
AzbABwSgly1rxZ1RwjKAPYHII4r/wgMj01mRKAOWlY3NcxLP3zGRL0uy1hZkQlSPNxdgSQTFt0yZ
FExpwYatN4+p5STHKluGJzQdOjBRNm2waPEkmbxdW5iLmMQHX9BxFIFpCvAYFaqAoGZIs3hL3IpC
qCeSJTUr5VwQ1EHeDgR1cAswDp3HHAbG3HqAqC9SO2fnvC37eq8toOiefM23fFQ4eW2J+piyYkCH
SwP9mleikAxUCCddM8W4y8q4y/IR89L6jteTuwNXDfxPpNkE8+tuPOh7RV7RvbzPsOoTs3zzT/KJ
SK2LcdQWvuoJT5rGj61AwfwN+qu7uvHcB1nStuZCpwaFD5zYUzt2nYp1Tm+xwe8PAv3HHuPhCmZS
h8+HX3wLtgWKcBMcYCIMpliarHZNUISTbNIPujMV+9pky+Z60Lr0UFBgccZBF92aS1LWHKRbDssm
Eg6p6ZV26Wnx13+x4KLLgO8OnS++q6fHpPV1zdKehJgi8CfnGXB4SYy/XAPHXIFhC0gCkL+KfWEF
MikM0wMAoOfKs23S+9xIJaXHldh+ZkLwtbhqIcWk5XaYG8QHnAHjl7fdtLu+UyvlRSzERIoG6S/V
vkhgHKMgSzvAirlTN60SlA1IhjG5Y35I3LjxIQZbEwZDZXb5EQjBHpEXD/YPQmDcXudH1JEKM5xt
zIdNIHHzzVl8CnYytEfUw3K0jn3kGW8VtCTHG1ndfSV0wDKiPuDv6DWLzJNlN9KyohEJdaUPTPrT
SX5gp71o+CXZ2su3D7YW5KcgQODswGJnckiL0k0xJ4Ct7Q7zS/FDU0AjW3jWk/7cbTRf20x3VvVU
6zeOtkmtXfX1+g+49FH+caHDjM4vWCscHsxOvgJKGzPTFR0UAcCFaNqbUktg6pdnCC0vcORyRme0
gkRYIKavWNcNGMYfVetb0hO/q9MNoZBlcas3q6wO19ez0oZFKeljVoHziEMV73xBy6wmTZcYdqhR
+5EA0FZErrdAxr62iQ9QsGeRwrfZawlMXTpamMS/iQzZyO7KrqLSBKwbckiwJIpqKkQbMf9fY7gU
upgHPR/wkpIxwF56KC+Z/TUhHFyWJlpfNFhnpd3rqRpQM/dmBU/VupTQiq4U4M9NCUGGTAUxkXNj
NXfLlhyNoL6PH/GaObCgv9VvzX19F4Wy2/vyw4BRRH6AW3B5X9CAF0pKy7Et7FBXhza006G8GZOp
QuxhoxfVdrmb6AyyLlLISIPWdhYULmhbgloCrzbhOu0yU0mdObExWKGnv0tUZN8WmNqACaDzy6YG
07PEZ9fcBXEGy+QE64ZY961Jqy3R2Nqhekz3LHk2mD/cNMGwQemL7fJHGvt15UvhO/zJdx5e0XL4
a1YsAzuF0hTlArP0kBGPE/+TYNzWb+6Ri5FKCx38y7tmTvgym6rCwEcKczkr3tvyV9UDt1C2D51C
Ao22XgmGHnc8FlEedLMtceIVd4L8Nq5i3mtEIBKMV6WKwlaDQ03KCmIKAGeN3+e28Juyjj1WLUFu
039JYU5M8u0/Ca18kt1dnNQO58wMTAsEI9m3645zefvDPzGryy8pPCRF6KAzUMrUCpdHncR+kt5r
8X2q55J8b33n/hrhf36yDAUcGFYcYQZsaL+Bm9SPxi998T0yE49ND0X/acF0ruN5siahB6KBgsxR
GF/TgPdPMno2+ZpQM7i+cyu3EkeMo80COKdBxAdrNVnGYJQEVox+8YfM+O22AD1prIfwbpW/FBH7
cd3i6lmBfg/sN9AKvUgGSezMUQ81ChSBfoB65kDGYeuyRuJzK7EL67I/1OvAYSkiAtuSFkkM5tCw
cb/a7FFxrCNpS581svbeqldghhNYf+CqLkQ0BuoCoAbZx7C1M/TdRi8jyvcYSA+lecDFPsXG+/X9
Wz2xvwbFYGVmZZEmNjKyvP4+JXZQaFoLrhnztqqXHdB7u+vmVkIySPf+Z30i63BVLIniqkg9dWvc
RI31pEWfns7gno6ZBehGcrIisbdomU0PmhHMJaqZ+pwZllcvys4CsQ5tZ4m7r7oFRvtV8ENYFmyd
f8Mdoym1G5gy2n7fRphMbVxwUB/j5uvntg2vKfB52SDYR6GTv37ODYFrlOZWEtGwyBNlMzFj8swo
k03air7wYQWzHjggaP9hQvDcSjJgwrakCg1p6vh6pQbDXNwQ870s2cNCO0lxS3QF0Rr/sk8CoD1l
nHUda0pIMXsKb7v1syY5IbELwI3wpi8evBzbKvYNx4rOSavnWdjnICvwetfQv9t2Ux86kLp7Q4yp
MWVRl+e2VIHRtgvz8frBieHpw/6HyC8w6JBHEBdZFIo5jnEG+o48WrzFyTQUbWYn+9UvqS4bjLzI
0j/MEQj+YOoEDF2ixqbKEnU2IoLRllI13zDBk2MopIvVm6jM0eEZhsS2oQlIeKlapcDeE3se0RnU
tGJvKJD01mZ9zgN8oLoiycbEyMZ/GgD5SDm5NiFSsvPjjoysJXWHqZs81odQTQh7Ruypb8lsp0+m
M9Nba4zSQ4Env+SptOZogJHzsW7OiSdeSj2rM2NwDBpqnaFshqV9Xoz0s9PQ/y3vrxEeKk68uZ1z
nVlUpaHdFjTZMC0zM68vqTp8MuP6OGKARkHCxlGAYtlZqfLGTA2dhtPSooReRfmc+VY7sJ9Vu+g/
hygnDzW0Sb9MZaF9dsjuY5UobnJMDRoe4rOaEWfSmhwRoq6KEUq8bhODs6ky1Ze5zIpestS1jweF
EQv6qiiqgqHpfE9B5663oHumIN+Y0qAyit5jWjT67lhOEu+U+QgPjSfHp3ZzwcDtDO/UStUzWPeA
idlf12PBWniFpilgL2hY8en8cxsNQg5AEhoNo7l77Zap8oA2KMGEpYN/3wTX2VRkMg7w1XUB+YvH
D4KPJZZ65mpuBrcb4JaDTv9QiL9s+tSQ8cKL9+CHW1j8xvhAG4hW8hpsdSmBFU3pm21FwWuF6kh0
m5qF+upkYAG7vpMXw78fBqHHAZ4pPCYvAM1MT2017xsakh5QwMRUk8DKiRZoRhcHRlN3PqKr6kX2
BHYUvXHu58qSqbeseidSQpC5ayZAqkJo72iD7qNT0XAxdQ+yi7dTre3GTt1cX+vqCZ6YEQLLTDFt
r441DccaeqdD7hWZElw3sb6dAN6BjQAcrwjR555pVkkFyrWChkyNu3syx4avzpbiWVbv4rtz2ZHU
reWrdtNSD4Fu8O16dj6ZiX6c6cmP0M9/hGL2YG4fchq67jy2hxLasmGDCR3N05NhAkwE3AaFl8Qk
kTZU1vzXQJLAT5FgaEJYf9wMHUkNBO/GcTVfrdooWMra3mRJmQVDAaSC2VIoaRY9is4jiBnc1FFv
89pooUOSQVy+m+KQKUuS8pRC90Ab8vv6Ea0628nmCAmgq7SIfimcrVK+2t3jFPWBwizJZ7XqamAr
NDGUA+yEGN3TBt32vlbScJ409xlcgsVR76b26fpSLqARHwcNaBofiEFGawmxtq5J3pOOIvFrx/qQ
F9b40GrDGJZojBxQP8S4RT+YXpR1bABxz7R0Xmyni7WpzDm2PN1elJuKaHEKWmjgZD2Cam+o0kV9
1y1Qkvot0eMQUU4NSz0vZVfg2iad+orgppXBohjDvnBTGzKVXTk+t0nxfH2L1k4brb0PQQpE7g8m
1pPbKJ6TCYDfBaGFuejDGikpnB3VFUii6QCWlLvr5lZPBA1ZXOo2ioLorZx/eq5aV7iDkSF1aK0Z
t0nxJZ0faXO0oKoKIQzVs5+42nLs0/ToZg/Ueo7JLh8PsqHC1XWf/A7hO5zVcWiojVtYsbojoB33
VDWPSS6TWlozg/rn/zigkFfkZVrqnZvCTJo/I6V7YsS+rwqZourafY+UE2kSSgc2wsv5rnaQFZm0
PKahCt2Ufa1C78NtBpRa82q6Lx198lwrdf7FdSBBgx4f6AJ0IlwXYOZfSrXsMgy359WveFQsa2N0
UfPbZG1CJBfH2kYCvwsqGoBNETeEjAbV2zTVKpOGoC+bS6/NU3sG6Flt7rIsZbLn6dpbjucxBFuJ
543Fv8yTr2Iuaqi2ui4yX4zxbRIyjse2bsiWdlG3w9+fH1HLMDd221nU6zraf7LUxOMWIiDU4dCe
xXCFcJ7VCFXAgSHpyNrlvUdbc56m7chmyXNlbVNPzQjLHFyMHMw2zETOEqpWfnAy9jtRPk2QJi6H
/46T7VRTPa7mCXb69NDPfnnQN/mWfHcXT3+mIHVvA7DyblIpFnJ1fSjWofXJxVrEoklVZ/1/l+3Y
DmriO4pS5wEbHcQaozRl5fG1j5BnpRYa6zDnCt96BSbjstCRPtUdPnAn69Nn24DvQKSjA/GkNhp3
qA/o3vWIupZQoAKFbAHVFBftr/O9LVUNo9FDiw8DI6dfOqbrB0IRPEFQXAbO0OsyaNXqpjqoXqBG
BFokQzhMp5jbLLORPKVx4i9O6cV64qmK7BEvMyNEl7Z1nKIukSimbeYpKkj1RtA4uzJon8yMkCH0
Bai31AbZTqYg7xu6oF8ioBXc7fVTWjWDRzQQEShXX1QKASof2oIwGupVDDlvLYqN25TlekiGWJv8
68bW6h8WCqYIlypuBDFWxlCx0oscbySHuskWdTwIAJiK4qPUn9+rRaw9tsXAfE5uL7G8tkyIWpoG
Sh+cIFTYTYPRBpkTPvQazKvAfkcgBPdZveRfQcdtOpI7gYen03YUDytIHpHcuTZIcsQR6wmFPK0C
AiScRs1jQJmwz3JyihaE9UxNbxBIj6WhmQPSPlNfT3IvT2WPzLVtIxzYiagP1VZxPmqMgPdBiEpD
iKrtmxaCjGqypZWMIXa1ZsfHAJBUgnbuoqYy0WqZnLZNw/pbFxhbPpGrfwcJ+qa/rYJ5r/yD05+Y
E+kUmRF1vTtycxUEkWbdzzLrNrb/oe55akXI5MxET0atghWwVr7obRzMgN2rVSy5K9eczeLD0yCJ
4D1twUzRVBMKQohH01yMTzZpqN+g9bS//umueQJqJxBnBK+ZjffheTSfoCEwpS2ieVsZAfCXR9CT
388Dk1waF0MC3LFP7QiOPVb6VLc5PlQ+JAD9gcnLnzlou904XuuZNxjGw5yADBGwuoc23paAVfDn
r7CHU+qA56a0UiAll9kD68ZNWuu//2EHT2wIjyY2V9hb0L6H1azdTGq/zegcRB35B6+zTswIGVq9
0DqZKMwguEGyoAGwKPZBU7b5h9WA0wz8p+DncMWeGZ6lGV5keMDqM8FS0DY4uv1gAT5hZYd/MeXA
BqdysMU5LpqbJVGyKA2ZPv/MFO0PceLC01EFuG5n1QnQyfr/dgQXH0GiqIL2G3bc6cnu21/LRGXg
r7UbENUVdNXRLAMzvODeTpZPTZebcLR5BjgIo+tscF9zs39VCAYFSNPdVJ1RSr6qtZUBsAR6f+CX
AJkSfIKlVjMUMUlDra6cPSuir4aNPufnt+/UCP8RJ7m0BiHdcrDwDRlm5nrEWG7winj5v9ngUerE
BkRT5kEF8CFsFwsjVdFEvUb9l3rx6UIEP0BJFQooKs4IiQyFEEezyVVHJv3Kf+lFioCSPqSHkZUT
cUhMzZu+TXQDKcIU7apo8Myc+rluSG66C4DVR6JwYkeIbLaaskpzdCQKO8WFZIUPDqgE+s0eBVga
zEjJJik37BDdyAfhVr3uxLQQ8KjJGqUZYTpu9RvbRthmw1RIEjuZEcG1lVnL2tKFEbwWfa39WaYy
CNW6BZdDhTE+C4bSc5+rmqWOwCebhi6kvAPmkq9V3H52uuW/Y/prRHiimcx2U32ccDkQmn3NM+ii
pKole1bLliI8yXp1MjixeRomRoFTgdRrNsumT/h2XDg2rlHwQgKofjGlCiKwahizPLlLiibzTJ3c
zW1/RMusQeMq/24bYOG5HhRWc4bTdFvwgWFJWtrkSLeTNlByH0XRSfe0INtwmoJBP0IDadnoGGmU
TbitfsQneT7f79NwxNAjjixkeBqt9+l4XBLfhID39eWtHtqJESHmDUrS5wzqbJgp6/4os/mcFMWn
m4w6XsyYKcZABWZsxAJBRkEknBp4a/Z6Gv1hRe8631RmDulNbLZq++lUkjOaYUYEQvLAE4mvo25x
OgA8EF+rYYGieeqkEV5hlfE0D4otA/tfuiN0lCGggHcFl3gXL1ytjDrdWowsBAFn+q1wHXZHrSjf
JT01b4tBnW8gjSRVCr0s02GFOoDXqAwC/i8SJwMtTwbF6bOwXNC7GaNl1NHeTDGvpo+WWXjoXTSu
T/H0UHfuqE7DIYKUnGxIgF9U558ihvK0DyZq8PGD+ejcPSuti213Qd2nqpIn1x0cLxnzNzuPWz9S
5k9DWfgEIKoIqLtCTEiEXdCudyDLgmdIlLTRr86JLfW1AnFV/nL9c7j42nH14l2N8TkQu3NNZ2FV
Y6RGRY/GPhCt41t+sLb8Lkvvql3mj1sMtDqeXHFP9CJk5ugLgK4Byuk2QGnChz51XQ7xEiuDiC9b
HgBsNfcOQf1/cSb1ux0tziN8QaZH83GznJ6fBnZdbCf/9kEZCbD3+fnpjTHUKei372ZIKvpVpGeb
YRqq7eTq+8yC0paafNOMBaSOFtmQWnsd+zjynGh47ZXhMe4xU6uXOPVMpa4/0tqUJRdiaOI/EEVl
B+QKnHX4giHXLIYmMxvrTgeG2E7ap3x0bF8HjiXr3dovQHrldcSd9jprj2Qm22ZYDkRnzW7+f5x9
aW/cOhLtLxKgffkqqVdb7S1xnHwRkjjRvpISJf36d+h5eOlm6zXhezGYGcDArSZVLBarzjml95jH
QmgmiS3XHwq/CAUEyIkBwmWK2LqhzqzFbHMrcvBYDZTU+Ws32uKr2vigdzUw1sScJdePzKSQ5rAW
Q8aKKrMil8b3bq1HmEm2N4iShpiIUwbABcgeyeK187HtZ4sU7juK6VK208KiiU0uB5DH7TdWl5J7
50o/g5vh+Q6CMR9cffV1UxQdSO6aURn/Uub8R2/p28IDihVIKcNPGhAudMr+1G3/pmvjVwu9az8x
ZSQPMYh9/ArgC7hi8cqEzYWgHuFiPB3aKdp2zC1O/fXd4Y0Usvqx+DaDJVB/ETA/mlVXtIAex3D0
tN6KclJudHXxW9r7tkZCdejuWmjEDnSRkCXXTaLRzIkyKIsKd7tuN3gazMyKSJv7hLz3Zb7PU3sz
me1xbjofIxEl4XPFW3klD+VxFbxJANYvYwomAOaAkuCjkuVhVH4tOttnUJ7ItTLsMaLwdqxeiQ9c
4AbsI7TGAFcXjLkOWBWD0plRaiwWwfxDxbZ9z21VSVfqykegpINWCgIlxFdAqrraxrxgOtgWkd2c
NPUXcugNZo77CJaSBV3R1QDrVnGjQ1YG5+GaAlSmRj3bmGkYFa9xtUkxJzAst27rNxjy9wZKlb2F
AHQoQ+9d1UdhFtVXzYYMrMNXKWykMtNBS/TZjPJ752EK09wHA5pisnoZqFvEWMC+N55MhF9MYj6M
YjeRvuDooa9y6SoVBmgWI9LAyFPmJ0tLw8zT77shUlp3O1vl9ynbx8x6ue0yV/7JV4oSPd9jjmXn
n/ospXYpKqYuhdEpsb5ivsG+L93j1LBd0aZhl+qfvS9gjjenuao8bjExa1GVLFZYNYJ9NH3Tytav
ux6Ixe92gV6/KRkMcqVLxzf0zNgHBOlsbXFi0yHTKda2xZjWMH+g++Et3VcYsDh9v72Na456YUvw
mNEsksYsBjPicAZQUMI0VHOsaZfcq9t6kz3U4yZzJQnB2sczQNXHF4T4EIbHXH48PC571aIwitr6
HqNwto1KtvOYbxpogA2zKTuNVxch31B0w03Q6KGPKj7NC5vpdsI9lGziXXfMQ3vcjP4U0D3bGgHn
YCdx2Py6vbVXQQ1G0c/UoCaCsA3Cw+UincmBXu/QY5F262fktYPkxm0LV7Ix3FHOTfB9PnOUpDOW
LKMwgTHWX3ut/gkcw6ZlRZhlzb2D7qY+Meh7xGTbF3/MyXsahvy7M7UbxwDfOLc2Oa38wTI3qZk+
3/5ta6tHFgzOJecfAgZ7+dPy2WvNJkZILxa6oxYDuV+G4JaZELyom9t4IE5rRlobB3Pt+u78fnsR
V2A/vsFQEQGJAA9QRHT+E842eMwU1SMuMyN37AOzr8KkS/yZIFH05mBMxo0CgNuC6dnpLKv0XKdV
3DYKJKjHYrwJmvKXtpEqNm6hIuTwkzmcMijBOhtnp4flD7APZUdkbTPPrQne2ptLXpvzhzU1UDcE
dfMgPngBppTdZ9vhbvwq0za8frYICxS8l1rqYhoVNrf66+7MYEl9rYLsTx5i3HF2mDbNY6X5Run3
QRvJ9LSvdCE+vuzZ7vKM6+zLVnPLIIoD4/mE96CmA1uhYggO22UgsI7ZfVekgbI8YUxKqBVOqKPd
XJaYnO6kgaPNkUWrg+VC/ApjiNq+Dm/73dWIQ/HXCW/XtqhRoOd+B5X8kxn0L5kXpEH1w0r88UB2
GKO9n1Gr4jO9rMD9ZeyWTR80D9bPNkjCSpJ8yjzRFiBvGLrUE9bgPtJxE6R6v5nZw6TOB91SXqZY
3VjNzzJ7UjjIvTgMk3S8BD/IF+/bS0cRIafUsZIEZDl+EuoDWjretwTh29ixezLwR/zm9u6vHgXo
MVggASLdFpOocjJJg7nd8EstDnLru27IBFeu0nm+IEggoVYMNYMrxn2ixcOgt/i8Bdg8XTFsazid
svS7Vil3uvdrzpVPzlfhDoVaC7+IEM2Abbh09zbuUSvJkRiOxl9AHMJca0Nctv7tneNBQvxQ51aM
SyumHhOjwFD1KJ7bZ/B6/dzR9pibDWlWGbR0xRTqSMAb4HZxbTxyL03h/Z4hRYKpHENAvoIZ7r72
RPV+N6B/PSnz+Fn8CzYQLV/U9oHCxZUrPnIbs9XVATS6aE7SI9Wyd2+yAqjkSPKxlUwFyi2QocQo
Dlyf4rNrRl+zT9FKjWJrjEYlQXBxt5YiyWZXPBzQPBs8UMzAwetcuFrsYSiXAXJJES3TP7NtbxUA
WG+7woqLX5gQ7hNQChq1KhItgpzQIyUIXLlRBXhUBo6lnJKYHIph+Hrb5srmYbgv0IZAN+B0iWle
MxaFMtk4Vkr+7Crvdnkfj39um1jJXHmJA7MmIAWCkpqwrLroO2vUkHHZzbuW3gN7FVr6IXXrsAGB
+7atVRc/syXcjyjauGbpIWud1afR6qJkgABA5uypbkhu/9WNA6QZ+B0bbEYRZR7T1umbPkGAdXZO
Ut7XtvZI4ur58+sBrRBUccDlDdTZL48s3t5LCdKAEcVeqjV7khTGb0ubMNYTU9xUw29LQKwkEWnN
DXVbx0wp0NnQaRJsUorCZmd1ejRU1tGt3dDrZ8BDFk3xU5Qx6Oi81o0ja8WspTYoRVm4Q1DwdIEu
vlxqujS5YjiNHnE1hTKsvpIAE96DOMRIq+ygBTSwKcpE0Iv2JFrqK04DyxhuBQIl0L/i5eUtDFMR
CSynGAO7Z0aFAde985h3NIAK+vvtL7qWH6Nlgm+J2XsOEHtCZtAZ6aAWVYxwBS4EINo45qWDWdq6
ElZGv/cWYBEn2/rjLHHQ9wWT+O1aHDPQRHBR0uFaf8I269MydDH+CFiqHWDKnB9rn0Ur/C/uo48A
mDEOiCigBHQ1yQfUkqJpgVTvq13KBnevrQEtIJSJ/ifwxs/mWSJqMsNd0ko3IHff+1r8Vqcvtz/S
mkfg9QnwwKq6W1GgNzKzEdjd2N2Yzhw0qLZ75LdXW9vbllbdAWJZiJBAnBuoCF+uJXW0enLIZES1
prW1XyG5f0JBD3LOS5UFQJc4vgn2EA3Uqc0ib9aMAAX+ROIVK9EMj07c+MAAgQgusj6nRTFJYRE9
Yt1vbUwgC5D51SAp0qzs6oUR/vezz9b1mMhNFm6kSf24MfwlKyAh0gSm8+X2rq44yIUl4RooJ7tT
6qaHB8Zfx/zYOv9hJcgEQHv8n0SdsJJsqFSd6YsW0aR9oYb+VBcTlN9BzfVdSPOFt1eztm9c9QJi
ZDoy7A8cytm+GW5cqrXNtAiJ1lGjDgvSQu93FOPHfEWvXEk4XNk8dP94fxWVSaiuCAFKI52ajamn
RUWpYky81k++Mpe722tacTjeYjSQD+BLWWIuClkrZ+GI1chsvWCOX6ep8pvps0PaEIm4bgI4h2jS
Qt5UuMpsYyA1oa4Wlcarlmp+1u1dIvGFlfQGNjB6DjBepJ8i8JqkLTScUl2LnEU9LsMEzhYeKMNb
mymB1Uuq8St387kxEdq0aHqi5agRRlUSpXa+9SYW9EMKRmDq08nYZdrm89+J3xNo9+m4mMVYrqql
NwBQCd+rMF1SmYJYfUwMmTbsmjeAcY55JlAsB21DOE9pDREF2pRa1DJ3DtwRcuX1XPxMS11ylNZ8
G1k8R9lCtfjqCZTQznWcwVWjilX9Af3TofYhoKBI7o+V9UBeB+V9PuedC1leRjoH3OGFxbMa6WZy
gFbCtkgwaG2YP/9xbMjsoboO9IWNtuylmSKxlMZQGjWyCfk9WqgLj/WPVpdNnliJPwgHsMNLwRx1
cWnGHPpZ6ZdMRVV2egBDKdCU/L5Sqm8ocUin8q14OJCUqNTwdxYad0J+sihz7AJmizVF7f3wmu27
IN8Wu+ZPvx+P89b6awR0V73Yz7KSyQfgXniJo1nIzULaF4mvYLnX1TKviL7geRzEUXlQd7yKaAbz
1/qh2dmP2jN7zO7jF+8Hl0GFvFHhe++3T9uKe+InINWHFi+aNLbwQSeWOhUBIzVqa+u+TNAXAo7R
kdz1MiPcec+uE9uY3bLHcOuIlEhqinI7zEX46XXAUaADh6cRBK48oRZnYi5mHXt4yVaKETRNCziO
pDiz4pP/LCCJFi6pbCFGW7qw0OVx1GUUtJcZmVLW/B2hTijZMZkx4Th3XeMASqyoURpHy/yq0tFf
7Jc2/nt711aixsWahILTrOUjXieZFjWYvTxr0FucacCsbnvbzFod98KO4OgNUJ1NpqcY9PgyB9YW
/b/ibvwFVfHfpa8FSTChQFqEKgmApkpqX/Y84B9fOGcwDw0ZV8cxuwJwqXNlEahbqpHWxe2mtzDA
BPntM8mtA4Bj6M2TP22HeRIslSHEVzcYQ7yhVYFThlfmpeczoLjZyAssndL+LMoMCozFGzbj6fYG
r7oLL3Sgq+xegzvAc48H4D7UiKRKoKbqxpjGL+5cbtvGeLlt6gqDjAwHz8h/toTDnDsATvBZHJG6
c/CWC1jQHoxw2cdhbHwIverh9Ec+xnAlhkAnClwvNHhAUxB5Ax7Re2caLSyRtltrMk/xWEnyqrWP
xatt/OYBAUcEHlgEjJwBYghRDAkOZUoxAzoODHa4vYFr38qCHAF/EaP1JmqFZ4OGaWYVUaO8XR5B
KfsDqMOpjafjVJWSnsDannECDNfJg1aQKH9QjLRwWVar0eApu37Md3q3SI72mglUbThZiQ9/+ehK
nIV2Vveofylsiay0v+sz8/eixbKC9Rpgguvf82Iest6rCkKSemqq0XKJ7B/GNg004yuG/4BnGCi7
JizCtPv6H7oLvB0KljtGzaCSLASsnLWu28bWHNnQJyHZHx20m0+7wYUFvrFnG9dZ0M0iAIVHGBbv
O/Ghy3TwNaFxXskecyuf6MKScGDTSiGlncBSXv+o0YeFTM/tpaycmwsD3OPPlmLEHnDTOQyo9ls5
I7Yu3/RGUqmW2RDe193SYda3Zc9RhxQiz6bAypZNS2Sc1uvDiRaMh1okIgxuC7EhTvtOpTmI91GK
GbZGdl+a5KjVy72Vv392z7ghMLU+ULZXSGYzy4mi1AZ6lOq7Qs3AKwwol8tAPyslzo8KI8A3QLyi
FC6kRYs9F4nXx3PEsm+lOfmIFDs7p36zDIcG3Z/xxcFjuzNyP+/mrVqyjZEAkWSgADr0294lYb+8
3V75ygVy8Zs+tDvO3EVRJ88eCxe/KcCYVpD0zb9LSHZ5uFQ+yLWZ3zz2ga4Fsm7yRxn5Mg2AYTzK
MTsBPcOrYaPKpC1FT/iRU2ztwVOhRd8ldHluFuagfU3m4X0erOR7ZVFw9yddTe6bQu3Qx3dKexej
WrxbBtI/DolZPqqKVx0b6Bq8KYnSZH46VO2T7nWNGyTzMLxUNpv+potafemUCSM1JnQfwISk5q5R
Fw1TBZoJaigeY1tTpaC5OLTQ3TBnJvF2S68VBCT7Jf0OnVokRLXaYRIMml7vOSUATlajkgMQZ2V3
uTuxI1W05sgQnhlYw4n91DLgiu04NwPoDKmQ2rST6ZeF9X/RhnzYxnNVvJmzZzS+CfBLs+nSwWSh
642YR+zO1h01bbxSbepWP5mj5hiqBFzOibLY/L4wle11gMZeB2h9PRBV0XK/KofKC+PSo1mku1V8
JICv3GG0AQTzS5pCi6FEff/kgHZq+wqupL2ROp3x2PeKpd8tOVkwL0rTq4fZas18Gztj0mwLg6oJ
1FoaZwhw99fWwXTp+Gwti/OztGL12c4JfaOkd6LMzmLma6NVndosTh2/caGXKbnpVkBYcB+0mkGs
QOX0SorQyogTY4VzRHM84ftNrz97CjSBY3BAjxSyHZX1l7EdnQ6LTkLL29XpH8nRuX6qXvwEEXO2
zIDSoJzPj4730Nl+8gwxZn/aJw322XeCcTMczH25S5ivUl+RlOl0fuuJB4iPiEFw5ExRsXLcxcQj
qQfzvREMG3Xj3Wn7UvWLHITe7hDfFwc+wjr94bR+euhHP9ma95g0sJfl86sh5PyHCDeOnad95hX4
FIP+REoDiftDNv0t6GulfU+aKKVHe3goRsenc/M0QiW7HzH7zst9p8gll9/17cpV5P/tiXAxjRoo
Q96IPUlz4w4Ue78ZSpnnXRf8Lm0Ir4jWWFIrS7FcRfPVVz75Kn3oU18J2j1/P+m6r/v5hv3S97KY
ubY60FvB78GzmrNPLq92tS8gjmZXU4RenL0Z5hYkIqi2Sp7Wa+tz0OBAqgqKPZjvl1YYGxWvp90U
qfG3jlS+zb6My4NZmn4ClJHkDPGfLDoxJi5CPcIFc+eqUtZ5dax2agljRz0gfvnAUTqYLxPJcshV
Lz23JLyugSgpST3DkuWPQG2SgLn3k7WrijtvA8AS3r3VSz+EZcFbjJJV8gLBrVUKCawxj4C0GP/X
9njQvsH/MbnM2BQv/8lHzjaU+9DZfQ5csWJqOUyNmRcOjEBujkocZKVnBc3bMxtCDgvnqCaL5lNU
J/VBNTLitx0L9Dx/hBhj0KjZHXhQR1OxnqAS9enHNV68GgQLwfFWgdsWvFPJgIuomcsifVLQ/q4D
PLc3Jmi3i/l5sOSlKeGgF2UyK0NlwlRi+3pl7FqQIG97xtqJ9vC4/QCV4KkrrKbIOjUF3X+JRi6W
O3R+Al7EbRPXuTpqBB/q+ZBEwotd8L0xHz1nVqc5crMFRQHLV0oWVP1ndT/QnsJuQcAKE2eAhxAH
1TEzm5MxxZNgpPmbXXvLt2qqDxmd2y+317OyZUBfI1HHtBAMRxMLxHMzpU1nDQi/3ZckBsm/lo2W
XHl2ICUFzVaHihQXN708Qjr0CZa0KGaASJwAHCxf1U+m4m4ckuxur+W6FIZJDojkKK2DDnTFt5sK
pdYbnsTkGKGZHbNdddAwW0s2kWfNBeABoKZgYA3QS0L9EmTFKpkUC6HPin3b+dY1rZ+T99trWYE8
onGD/yCQo/UPkubltnmZ6pAazxqkQ2xTLf6wKyLqVxhBCrbBUZZ1rK3p3JrwlkqHwVZAoJsiI0Oo
0RSgPqkREIxjCyTr4r9bCN6cqwWNLyDTTchyXK4rcbuicvlHGrfjff5u3Dt3Ct5sQJTqB2NXVUF7
MjbmXqd+/rX6dtv4iivi+QsAEC57sO7EaJexUjFmL5kjoL8Cln4b+h9NB65BJpueInqijvWBaQ9E
BdDxGFAjuAheXrkLUT0uHpxaqT/NlnqMQfi7Vyuv2yi5TTYgZaqVT7Hrj6rZLi+3Vyp+z//9AKBw
wOZElVuMhOnYO8k8QxyUWdUcmGxmvq2Ms2/ls4xVuGoKRThkUohY0Pq7/KDtNGidMbDs1FlTvxsB
yQ0WFC92bgKG5e1VicEKTxNwp9BK5/6DpEpIjXWIZ2P0Ia1OBsZla2G8LLO5dXvqyrRVRSeFIWRs
ju5CNwb/zxbWZHilWc1kLk5FMYVlzLa1m/t9/r3TXxjTN6xfvt5e2fUmggsKQSEARnQo0YmnPSc6
VdpEr06lM/fpRp81zNyFuJidblBQ0KW1k7UFcnQKSLsgF+DTXX40ZZ5y1V7iko/nA8UHbYvxnuzi
sAuzL8ZOfViC2B+7bX3MHjzJjSMeQr6356aFAFCZuRN3BUyPzHEglxqz8S+en/mu6bXpGXkKfb29
t9cGgdAFyQe9Y/DqPVGJslaBMVXivji5xeQT5u4cUvit8w1bs71t6SqVQ4viwpTgN1VRNKhUkeKU
jZDqsn6MOAxt8RsasBWtYXP8adgTeC+9xPBVt/VjUz/G0vEpZujIX35PDKLJnaK0Skwxogdq7cGd
sGo/2yiB6bPQOKnIjt1sq0KZikCobARYDazmsNvf3oBrt+KgGkQ8TOJxQYoTfobpZOYwouh7KqCk
soXaAWpwBJNsQA/tQ2jQ6/7QVQ5UsUjRSL7y9QmCaYAecCYgPg+t8csdaL3cjslkF6fRSqttZQ9I
2E06989GaYOfenudq8aAM0eEB8IBXalLYzWHONqJU5z6qcFQM6Og3t+BqGQ3e/j84W1jK/6rYnIA
t8MzG5GbGutp7fZ5DBlHrSyBr/AWO+wmG+pmDa0oi5I5kzGq19aHhhs+og6HBuzncn0eGa3Bsbj8
Yef8rT1WHg1LIQ7It3ZJJcu7Dup4GSPbxWcD7OIK+jvRkTQxLfJTPbTjCOHwMX/ToN8mezau2gGk
HWxNXiIV2XDmbBrMtFPYUe32QNy03yR1aUhec6tWMOCIRwIMQDUFzwD5FcokEMA+VVaqHF2Fjc8T
GankvK9ZAcAcZx0PfcwfFUoXdMmAAfOgyTSSURl8tW/U16yuSLH5vOshYIKZgeIgFCkFO1BOG1zM
i8hOcVIE+uLFJ9NIcCVN2XSXqmUsSeDX3A4+B76ZbmEWo3gLZm4FGe0aeisjIXW1AVyVdJCMYAQl
5LExDcnqeDQ6T0XxjbiaKEjkuOX5M/jSy1GQrVPGSojB27kVwAfTwwg05466U80tgkivtaR+/Oye
8mFHXHUIGiTo3AseUqu9TQ3qKdGypHNgjMMRsrMbGifDHjNzs8N/sAbdLvSWwRy50u/NqaVA+dVU
orIGURFyLuN8Z1cG/UGMUntsicMk3/DaNXG7o4nOK14aqhpi6rtAkqduoeBWUo9loYn7ft65GiOy
d+X110PiAmA7oL6gfCN4XH69sp+ZkTHkndBUekZ5f6eZCtSQJzvxmTcfpmWSWbx2Tw7gRG8banj4
bzHqd7FVdQ4emKe+ZdMdElEl1JnLJ4EsMj7E2i5+dLXQrufQAP5TzupOepeTzub6V4s3kKdUY0Xm
W4DWfzpaAVIHx+BIS0DsxNyd0rpLhmbADIE0eW0UjFyFYsvv2x64thS0t21UJTF7C930y6WUEHkk
ZgzpqdZsk2OhNHGUuK4MVLTmDedWhOs/qeMEeSesLNkPvaWpPzf93aC/Qt689dtJkYSOtUUhfeGq
uRrGw4iHWO2moZ0gTXjqir4le1Wv3fjBmReIzn5+94DsRfIKZAi4K8K6cq1yMBNLTU+KQsjJbVGj
gbTtCG28z9tBAoVyBu7ia5ZB09gTawwjPU2DTh5sRdO/k6VqJKCN61QGWDzoeqPgDo4IsKmXvqAk
NsugjJJioFwKtgaqQExN972RdX4+6BLnXjuuANvypz4XERE7OsgAkZsV2LokgQJsa9ICKtgVScKp
yQaJrdWFIaiD9AWxTFO89kfojipAAabQV8MoRQvMooccSjGb2TIUEhSYiPTl9vdaMYj5higugPTC
7xHhZqaLMxnFPKSnIYbikoFXlG8OSgJto7ENJ0welDy9VzaTx3UAKU0dZTyV/56zgDRn7jCrOMsn
axwTv63ybVenaoBdldHOV44WwiwY55gRybMAYWVNxooEIq3wxHqcQ9on+YMVj+Pnryku+gcJDyQB
nOJ2uR6j11iHYZTJacFwk02PUoWrF2p4+yOtLuXMiHDVt3nVtcriJajC2PX4wDJGxi1TGCskX2fN
EGAqqBxAqA6q8sJ1UUzUzUyapicQ9t0qHLqs0LfemGsSwPyaF3ACHV5aKH1eicIWdsrG1rOTU9Kc
lor5vaP6mgxEsWoE1xFmluGCR1Pi8tM0I/r+aj8kp7Zentxee02dfut446fzMCBp+flBgOCVF2HP
Ym+ZrdHtEgyoKAaUrPohyGPVLsOS0H5A62Bmr7fdYXVhZxaFMwQpy8Usxj45GflwLICZ8Bw675BL
VNtPGkLt0dS53ogDbTHI4lzuYG3XS243TIksBhWqyVMOOVoJzcRkvBP+iy8yaCTOmGGAfgt4FPA8
4VORvoYofcm8CAO+juiW6FtqZS92A9LOYiUyTaOr6gIKCqguACSH/0VAF5Y1DhCFhHSfE40YzRaO
afWdkfbYG+wIrjIUvUrUARNVRqW8+mrcKgIex00BHSAqX01jstREnWF1qTrAwMx2y4CF2TZNIbuE
100hopsIsXgkCNuZKXnbWdnkRAkpgzHeJqiMJ9NnVdg/1vPPiBCUUKVV8zGGkVylwbxgqrb1/dPu
hx37Z0H4TjhvJBkSWFjIF6/eZ8vLYkkO79pOoQqM6fZcA+2K3loltNLGBSb0jO5tIw4pcUNjoPvP
r+TcDI+7Z7cerTHGiw0wM8+Dz1WXDO0L1A0luZdsMfzvZ1YqNjqll/P9GtJ7d2hfG3UqAzzQJKu5
QvkAp+1YKM6BuwVh0ytq7khsFbpOcGUWFD/nV+2+1PwuyiIrGjdqSOKtfOD5+tr+mRS8rbJKDQPr
YFKvvSDJM1/PSLAsny5YfawMsvguXIJ3Ti+3ECkZxsSioBz1GDmEl5LxADXF51ifZZ2B1fXgZKK1
w0d9ia+ZpWNaRlziRHhq3znlgzu3m3nIJYnDla4SKPBQ2kbzBg1AVPzEschzymLNKhsFgiMaUMHV
cVSC0XoorQc+UXMzHdN99zIWG1I9FW3IKHQGJXfIVUoh/ALh4bHMGM4Y9/gFbQmJE8MI3CWW+OOq
CRDhMPAbq0UF5vKjKdo8MjsuFcictH8Gq3jw6s/iN7iUAEiLuOA5f+yKThjHc61krhVHTcFOuZZ+
Sxfr5+0YsbKKcxMiibBsAevzGpjInd9uPvoDe/8PBsDkMyDChFae2EycaDtl3RDH0ZAme9brm7ya
JR/72quxTXiV8XsVbTWxXZihCIFxv3YcjfXo2zX1W0gD5ODf3l7JR0XtMl+4tCN88UUjimE2Lng/
E/XCpLXuknFqAtVVtuXsND5GIB+oFt+ZDn0zzPaLXWf3dkK3aE6HnvdANbJPJ+eVetXv279sbQPA
k8PsaSCjuSzJpSti/pMOwqQZR+qMd6ldBvZ8ymOZFoTMCnels0DfdaqWkFiPI9tVfWt8pwoLLUc2
HVdmhf/9zErm5RlkdrEWjzzFxouVPHmpxCWvWAv8XJ3vF08Mz2ykRq535gCnVzr93evJFipMvt1Y
uwz9Lb1MDoxau25xA2eqj2nD9rRNt447/ge/Pf8ZQm1pVtqsLhVsKOj9+6aIt7bdAQEtGxfNVyO6
7bkZ0W2BxcE7FTsaT1+7gWyaMbIxfhsoBklEXIv7F/sq3GPaVBDQrI04mo/Dz7j02akMm535XTtx
PbI2C+hrigEIXuh+ZTJ1+rVAxrGYXBIRFSeRZqu0NavrRQFZs1geEzfZVwORfK//z/r+2RDSgQkj
3+hsJErk7Z0H4MC69i65qyFMMu29jRmOf5d6R9B6PrnflFBGWFtdoIEPCXEe1HDFaqfrEKVzJjht
tagTeNFa2BVMBodYPxoGCu4odyI3FSsLi24xgyxqjCRLDdgC2ZXkyFofI2BB6MEobCWUTcRdX9c/
i8KmLgUzO9Cj4TT0fcSoNz4k/nZ4vJIy/zjvXIDkgwkF4NPleY+NqZiMcogB92QbDehn4nvbaW+d
TL98Nf6Cav6n2jqH21b5sbo6dv+MijcrZvK1S+yOCGTxzznW/Dl/sb3WJyNUgGn62Cu6xD1Xz/mZ
QeH9xVCoLnUVqyyc9tkd6mOpd4EbG08JYRIR+pVcHBH0zJbw0UhFx3ZoYYsFUwht3nC6sw9FYPta
YATlEybpSRDussUJV1ycoWPMKhhUPczdSmc/Tu8yj89nJ8Ht77bqj2dL438/uxy6ipX5lE8xyAQQ
yatwrRvSQCKzIVxyc2zqienROOp/a42v+Ma9tneewROIQLKhpypUvsswcjKTfIPPlpVrTEtcG+44
UftxsI0HNZNpuqxe3cBSgUwLZuQVHFcvKmWZCpjQMO7NU+/btt3a7vfbn0dmRLjNBrTukgSCClG2
QDQG9BQFWwbuiyRmrJ/ef2sRQgYt52rAP9guI/XN5leXYmij9VTHJ939QTPZdNt1c5wGDebptaxC
nHH5+rqPI7OsvH2fEcAySH3f1cOxSpA2NlD3bGdWS6opq6eKI27w8ASUSsTPxlpVW0VMsMomvksB
obLurTk5ZIUl2c6rBhfPuM4MCYeq6ks1JjPWRyn0rTszrLQl1MA5p8zPLFku8EFUu4q9Z+aE88XU
DCzfuMP5Cq2HsfH1vxMJm8SvDaCK8AOCeeuWGGLRO4FyNP6qobmXhX/ZioXzNs46QC8LjnhCXrWi
3eRFAiXhA7TF/LEww9uH4kry+uOGO1uwkEp6qZlBRAPWygLMuAaDFn+lFe7u9qmtXtjY+7X9e6AZ
yt3d7rbp1bhyZlk4j5g1hC4KgwvlMc5i8VRlv24bkK5NOIpAYtosWWCBpyTNs3OXhkVg7MiX5kH2
0dYzvH+rESEjeGtPgFzwO/R12eqvFUhkQXZ0mT99K4LhN2v84p0G7rf6j5v4mgzYuO4zqHGhPIMp
sWIFlRkaMeu0xrvEAdfylCMTcssfzfJSl7KZNauPWfSp/p8t4QYfc33UqYN2tvagvDhv06F9KKCE
83GFj6fyWQ/bANnsXqqGu+4w/wwLN3mz9JlS91ikvoMOTlhtimN8KHZZwMLiEYrpL5qk2rqe/p0t
VQg+gKGmFWZpoARxLA/twQzKkPMEH6v75sBl4dW9d5ANZJcaFUJQkWAKUaJimdoD+Rvv1A3mx27i
sN13b/Nbfeq2bL9IFrp6NZ6tUwg5C9pBWqu3eCG0s1/ob175J/H+Y2z99/2EUIPBk7bdetjNbjNs
kr0ZVIWP/oUaKW/Otjg6G0S4SvfR/AxKDE9gh3LXbG6HBJkLCTEnh+Z0plbwXUrflPi+XCSUdtm/
X4g4pFbBo9Xx71eaxh+I6eu5jE90RUHjERsQRfA8gHPnyhaX+Zgzz446zNhGsrHeykdvm2/tx2xH
j0swh9NOv2sjJqdnrrmIAZA2FyrFjS8ipz1Ci9prYZWGnPjmbcsQ0sJVQH0bX2x40b8ln5/ehpWe
2xRWSrsWFBoFNmdK/bg/Vckms2Q9ZMnCxNfWMqXD0o7Q//H0dmcM7k/m9V/yCfSF2663ljGdLcYS
HllgiLtGbpdxlHqZX5sscNQlSKrRjy1P8hBZDSHQBuV4ArT4PbF3l6smbQjkJyMDLMXqGW1dDok2
ds4xeVw29r7YJqGMSby6vjObQgxpx4IkELzwIowmb7LEbwxMBrZfNPtwex9X/f98cUIYGYlKQTHH
4rpNe5juq72C0LjzNsmh03HJzodyUz61Qyjrva1WOM4NC8GjLONyyiCGGg1IJ6YQ2kJ/eEJhA2k+
ndS9TDDtA/Yp5qIASuIfNLBwqwv3XevavWYPiwdVHtx3WxXO77uvNL2Pl52bBebXPt5iykQeKoH+
hW3tLdd5Omhfi7ccOv7pj1YNPJC3d7Iftnpizn6XcCvmRgzVBXfyoqwZtga0zPsRT5w8Dm9/6LVY
er58/jPO3p3QDNb+D2lX1hwnr21/EVXMwyvQo9224ymOXygnTpAACQmQGH79XeThHpvuMjfn1nlL
vpPdEtLWHtZeK7O1heVXdTL5V3K1sX75nnxYyeLMNlA+k12AHe5SDJvdqxv1Te4MTL57x/q92tfb
cb8Gx161uTi+fkldv9NjdCKH6jClzR1mBX6yJ+i/4Qv2HKXB/wOz/uwpl0dpRmBA1MLBJNHfO/Vx
L50sFEh30XLypvKqdGl23/HAvDY7L3qBsPutVbk4UsWg6h+twjTDivM7/5bo5yE9hWrQXxTV4ltm
dmH3YKUAKbmGapd+1vL5Xw/LbGBuTc4dr7NGRt62Is9zGIiCIrbJ06hXEt7zCBsgCEzM4+kDXQRU
nj6fRi2trEaHH0RSk5la1atfBEnvg9E6sNJxrR5y7kvx7qHLCiJ3PPMYhf1sbMhVA5klYZ4CieyT
hlcAnW0dae0xEbHG53/+aT7bmv/+w9GgalRCSNA/DmzYm0HzrbWKFfjj+d6BVX+uEqC3CzXlcJEx
EJ+rYRpzXDMAOadvUT/W+uDkkyxvBKaU2gcfU97sGjjW1l95Cs9NA7OM5hYYmAHiA4Lr8+pYBSqo
kdjYSWZEXhwpRjVw0sTPUoW5JLoRorO9OCgG9s+APgz+4rCDvxptrRmy8dk0HZqxjepi3lgXA0gV
AyeUWkOWnl9s2Ji5OzHlhaBwCcit2YwnDM3pVJnNvVlnNBZ+dwxrvcs7u4wbNG8KcBAlPnf/ua6K
sRVoOgGsBsozYAk/L08X0VgG2u9PJQD4V4NlTkcSSnSHSqFOSubuygW8lHeGIJTHyBdWi3nLxQ2c
KCddXtTRXDmu4/aPs3X2xkbRnQXKxhgNh6TasFvjTkAcaPu1d7nw4gF1GgBtD3pUcCcv7mPpDmgQ
92N4cp0feoRosvdc+t++tnF+Uv/OB4I3FGkQYGyL/XT7we01MBYnTnelS67Y2Oy76o5IHvf2sGLs
/NLPs8hAB4P/A8KpSwgCxLEk9bIwODnltQ55bLhrQwPnLuyzhUXszolNI08EwcnUecqbR92Hj363
Bz/W7ut9u3AuPln6O5z40YFZJSOYtgM0BcFufiWPAeaqfwf34vucmwCah85aKk41OCjXQtHz2wfT
GPKHzhjm/856XqArKNyxcYNTVcfebXRb33hb+0m+tk96TxOVZmTD35oqzuI6pdt8rdR8fizx6GGI
AUMGkN84Yy8CwXtey2C0Tk7+ZJaxD+b3Vqys8aINuBbgKgE3O+NxMTNJDbvurVPj3Y8I67vywQEn
1dff8NwIUhUIlgGHH4ATZBmeCE3xEatKnwoVlpuyqr17nvndnTBd+fLvpmxMp2NSDfAizCJ9dlsW
BoPwwXoNISlUdsGnlSWtNTgpLkqd/rMpOCrMxAHxP4/rLBwWnr1MscHWJ+gbJE6DiWrmg0jv539j
BXq6OAKolC9zPQ5uRj+vLH0KrR2fnqX7Jzfvvzbxd0bwc/gIIuMZMoxnbNbimb/fhytWmE4dMQkb
hjFGuw5FsbtpGIGmo32xQWcbhbiuaa74yPKDqKomj/FsoEXqlyJGVAWPaTFGN043+b98sxRJB42O
LWldtuOGKbe+bNiWNoWISwPlp5EO7g+OWDSF1OrjJGSVND0MuzTPDtmsp6z92oyHqTESFfI2NZxO
HKnh5sBidOa3VgjrugGyaGWrL8Tu2AfMbM6DUAGeg8U7YPRmoFWLL2rAZd6COWbLjsNVeMh3+SHa
GcfmlW7X2m8X7sYnm4sDC/Kz2ul62ASGII70c2g1sQ2Cv68/8fmDgJXNRHre/KafUUSwWniebLU+
DSQbtuUYGNe56roVZ3L+xsHKzKyFaUcXFOCzP/1wjiRqSxzIVVjpvRStzOvc9V86a5b3c0WV0Lpd
Ae5fXNZ/DC4HRumQWQbkPfTJYpGZBI36bajwn4un86IQ4M7iUWhfLq55mEPlspYSHsUGX1JrHKwa
/Hl1KP894ALNBNwkpl9teMrFJQTlI9hFc9ixpykGMh1Cgd+MhsLtWytB86UjN1OkzmBzcPAsHVcF
7IHlNYE6TUYLDbyysDaEtA5kyvO1WdRLHwjwdVhC6oYHYFEV8wTFSK+GKVrPTOhsZLFHvId/P9x+
AJSsD9w0NHrsz8dOa8fwW89RJyBhyiT3vOkn6FPFWoXv0raBMxfvsYtY8cw7BGEO7XeBtXQGSPva
8GdhO9sBtD9fr+Y8soqij2YWDgGw7DEcKczoyfE2E8uqjXAq+buvx/ZYRaxdgWxcXBYSN6TVmMM7
cw0Wb4wC0QGWVQzDlZXnV1Dpq7eem62R55/zSGA6GEjt/zW1qLBFShY9cm91ykEpsfPZdMqy6sQG
S8Qoe//O/KL8pjEynIIn0ExIaPDN13t76TgGeLH/KqrjyMx78cFBOXmEEZJuVCc5qbdQy1/aClZy
ifOYcV4jklIolmCsbNk5x9wkRxfCVKfai+R1P9Tsym6dJmZBIMA0SI3oJuIS09he17xlARzl10u8
5IOxMAAGwCozj5V8XmJbVGaF261OBMzRm16oIC0mTVNEf7h7UTdtyoL0K0YvnqEPRhcftjPbqpZ9
C4+Secahyap6p6Uc07Dt1sqG5wgjZDU+ptvAxQ1nfLbBzNaGtvsM5zX1x42d2G9tkm9MyDCQJHch
ujA90W23Rudwtq0Lq4tbaZR6MDU3kPqOEE5F/7Uf3myep1BcS5q2WXlIz/YTE3wzDN9ywG2OiYaF
tdbI66GlujsFeVlf93Wrd6KNpmst3erX1+flgimQViFixqFxkZouPh1G1dAhsar2NBZev6HQl9oR
wwB/TmH4+69NnVfYIUIfwU3j3TGBuVvOyZZDXWhGjfZUXU9bZ8s2xQNLzIdgJ7f2T0iCrrxzZ550
HqbC4zOzYiDxWBKdG7LgErNPEqR2lasTjxk9hLFzIhIaEMCy7UiDq+rrNV7YToTSEayhmIikx/l8
/Wxt9sC5muLUtd2B0BDqPgMoi/nuazPnzQMYQXMQYQJmcBEBzb/jgydTBmbUmkmIv1LmRf5XX1yn
UVxeyZN3E95REMv21zWayeS6+q1AI5Aw8K7nW+shS6LDmszxha0G6QNcHuqZeIGXpKO6zvoWOA9x
CpoAsquEB6Mbc8+DjCMRdvvNdvu6X/m8Z1xyc1SB8hSSVjAzoJK6CC6En2eBNbg19qC8F9B/MQ8h
cnGooO3z9L84TOj9YHhzHkWFf19cydDIIonYtz55jgSPZTQVjrE3yhoMBi0Ji1/ZMATD5uuvfMHp
YBYaB3hWs4XXW9xNMXWVERh9faJjcRhKyEgO9H4qrH3m5O9UGWuB4flXtGb88ExjBa7gM36cnkBZ
dOAean4t20xdn6i6OE1g58mkXnkxLrhx2MLRRXEDM7dn4S7NLYfXXIHn57m5VjMePAmhReEdxbOX
mDFdhUlfuDLgNpwLtbgz88jj4mo2gyHrooJF42qA91HgBdvlu+w9QB9tiqM3hicEdOZ3GU/6PhY/
ZRrt0Gsc4ognIAlqitgyDh15/vobn0lSz+P14FwEqgcsTyiRLD5yL7gKu9Jgp4gG71yr6yIINxmp
kWOQ6m0wQYRT2AxyjyM/1Q04nwa/uK9ZePTb7JtXcZU2Q7uDP7piorVBlxzcBg0Sc51Xe+XzWx5U
98TNhh+Nburb3GGYbQ6c174f7RWndN66/buUGeaJzwoHuNhhmQd+12gsRbzk926i7zBq4nwXV25c
vFmgPX5rZuQH+b3WfjpP3BeGF5fTqxTPqAXDAUpkG/fYg5q+MeP+h/M6t29zSHjnqbOGyjr39fhy
GGaD4tl8PZeTBYK0XsuUz04mxNzKBgLyoUgAgVl5UuYf/6k6g8WhLwVGDpjzzm4lFcprCcnYabSD
Zx14xzLLVnKASybwXKGOhalqkHEtPGk/DLyIdM5PLvvFIScs3TWJuIsWUEid23cznens6j68V73d
RUQHIYOelJsEvThmao28+dx7zXSvCO1BuoWmzJLd0ApbazKmgEFCuASqqhe43F5wz3y32OWyXPss
Z4E+PouL+TU8duhLnil/l9JEwOS67NQI0h3A4Q/+Ocs+MCO405RaMePg+wailW+ACFkbObu01o/G
FzctwChy3UP4+WSprk3qwXwVTBSxM5Z8M0RrJPaXPh4CN8wDQuh3noD+/PEqUTpV5Q8MaoLmIwj1
7URBj+G/OOY43UiuUexEiriIaByzsAZDWQz1DzEcql4MCeTG12bVLi0FfdfImSt8wHMuSlQNGpJ9
1Lbwtub4h4+5igdET1+79BUbwaLVI6aeYiCnYadcMjAz6qQR5UoofW5ifilw8gJAtBEGLjbLR+vF
LGXBTrTt5uGb2qoPvKfl/dcrmd+ez67ns5n5GH68tcJsAkkobq2aYhJpRLIS+mlO7NsQZ6XmnnXf
v7Z4fquQ8qA25YHhAXn6ciq0MOuxx30pT2P03bEH9HJRDQYGxWZmanf8UHj2NanGFVzfeaAFaRG4
cpicHe0yuFPFWDod8oVTp/LpOnzmGvqpPHd/AHSQJbW2w7Wncj4Dn3cWPhAU/aAwA9fEGa9jJGTn
5WDxOUk7q++KECJuFQndrZ6sZjfht6Y4+xGkOgNzI0gpk2kk7j8fIs9E9jALGIP1C+z6n7+uKvo8
b2pCofLs3BLQqsTosPOVa32+tZ+NzCf5wxGCopmoIgtG7Mzs046qPDa0eqrCMeUu1PhaC3/y9Rk6
P7XIh/AKzPzvNpqfizsOdnvqVzkl4Ev3YzfSsWztTZj9KZ1raW5bew35en5mYW/WGEF5HcFzuFhi
brlg8VOCnHoLKp4D9MF1THnIEp+E/kYGlZdKa/TnPOHF9aaVJOE8Cpmto38dgVAd/evFauWQe03E
SnIKjHxPHDMpyZulVgKEC0bm0UnQzCJEPefbi2zde+YQkpNVKnGsTOGlvVuy1IaQzgqa5Ny1geQR
6HNQ5ABLEi4HDUE1GkFGwiMnDCLuMXEYl9a4UmpfM2F/PpMBcaIMvNXkVEDQKVZZcATtnkq+PoUX
Dj46xkC4RhaCqjOQZmZUBfEyh5wGkycGrR/FRA4BbWJDlE3sO29fm7v4hSzwsOINBdHZ8o3uR9ox
05jIidpsg0dnF3njtqXNv/uMmRsWjgA4BgT588/4cJ3daELrv/Wxqmkc9k0Oxqyy67yVnsuFG/zJ
yuLdoZELTVCBD2S18iByfdsqA0GcaW6h8IZJPzAP92Lz9QZeKCfg4IVQ60FDF7O04cIdQjRiDKre
JsiysnQ0vaSl5gG8HnAdt6Mcvw1qP40W0BpPGtLkolpZ88Xz8sH8wovUBYLMMcJ5MYvjaPO44eXB
nu48Cf1V6q0s9oLL+rTWxWcc5WAX4CojJ1IPP5vcmBI/4DdZ52Oet2XbsSZTrFWwdZpureF58fKF
wNkArYVpyiVQ2oo4tGs9HNSoC+7KWn9j5lomMP/6z48r1AXwAuBtxf8wj/r5kALtog2wj+Iu5MGT
FYhvaP4/F+GawN2llXw0s9hE1gSNT0tFTvYYRfeBdvjR8InuVp6ztdUsLkPWC0JbsyGn1s8fy7p+
E4Z1la/e7Et3LvJBpgqsC0rBy+Ks4Y6qdyCLdEKk4KXgXk2F+1RbW2HSDYDtAB/LNbrJS0ce9WBU
7maK5DPeNZvktiKyx8MpfjVNdWT0IYdomC1mto6Xr6/3xV1EORhFPIATMFnx+UyUdm3pYpTkNNZV
kmdjopwp5eY/owJnxfAQKRKUQmHor6DdB/9YIEYYpYdYAJWQ12GQzx1tspUDcZ78fbaxeL5MBpRj
RXEgeDjGkS23he42dsmffOfp6027eMJR4fi7bwCILGILw+mzzDAqcuqEfePI6UeUD3TlnVyxsYRw
8o6UAcSGcVmDbud61TUAjSvf/uI5+88ylkkFWmXUzUWN54RyjAS/gOQ9nsubGWPbLl9TybiwINwh
PP1oACKNXQJDGS+yyUfF5kSH3E9MzeotJB3WRsXXrMxr/nDQNEiVJfWz/ATk8rsbgeKKqn/ftr+B
LZAjKOkDT/XZhKJFiIpiRE6GWacNY++u9Yp6Q2wQjbR53H191i6carCYzxTSiC8QSy+sWbyAwGaL
jIgbbtILO+0gcO2BtGfK7r+2dMEVwBKeWvDPIjlZ1gBUoFsol+F5GBXdOnraqY5fhUz8NwtCwctF
IhKCV3nxhZyxLQxkc+Tk9KBbAH+qAhFxNRlxx9YURC74bvDqoYeHTA68WstukJQN5CbC+U0deSJG
DKfyKeZli1Nexm3+mgdrFi/u4UzdBKHsuTux8AxeXjOB7wU/R/wtGdlOuG7qGWz/9ae6UFIGWSo6
ID56k+h3LbObuu081HYRqKgmFnZcQ0Cxhoih3PnpuI3sY/AngvwLlMh5Em6+tn1xU6ECDlpQULKD
X+Xz8feNKVOYUSOgx7mFXFqaNeKnCFnMmPtqte0BPNYrjv3SnUYlGRitmSQbpYjPFqXHMGNB4G6N
6Y/nvwIUl/77kuZZIwReIMY6g5MXPsXIq0ZmzFHLiaYI6odOte1BXzwj8L5D7PMaxSZr5SNeOis2
eDQjILtnpzj//QdXFYBUqIUIZX7qg4e2ueHs3e9XgudLzgPifGjPoaZ3TlxtmKbWbQRi8SbnZpw5
8+TpuOGZkU7Qmvl6E+d7u4guUVaYy4fzqQSc5fNyzLIYfWMuL2TW9NYaY4oqnYxp2D6iKgdYsFwl
0LxkcQazOiE62fM1+Gyx6j0ZhNzLT0IAF9ZHLrT0tHsDoqY60bJ56dQa1eo5VGeWeUCtFyV1pJPn
MBIo6aq6x/Ni9OF9JNk2AgwNrz9mPJzNUDY7eyLp6JfJyJ2VQ3o+17+wvdhgGbi5coacnMomMUfv
bYz0trX4s0PBtRh1SVR5QKVimipk91BWWLmEF5aOWHRWW5npc2c+xM+7zWRhmiOqStfCpdARBo2T
Z247Xe8rDCCGZrMR+LOc2rsxbx6/PlrnaRlwk8AlOZhlARnx0uUYbPRz6Yoa1IHBo0erYFfypksA
uJVAt4ArIw2DWsWVBUXhry2fXyB4cngeQA+BDwUS5POiq7ZvzLLN0GK0TrWTJyOIBYTFYqXWOr/n
3gA8Szb40h20YNEKWhxmYWRTidk0BuxXbj1mE1hGoDbInCcX8OI1epELy0LFCskM7ikyziU0MJLC
b8exZicMPas9FWGztTM57MZpAouVR7KHr7fxfHEAQOC1mB0D8K/L2K9q7Ros1SiPOJb+0YSmEauG
0LSyrbU58fOVfba0iC7aQAQNqssEwr7XFfvmkmeDHo3s9/9vPYurWPcg3u4k6n7D8MA7PMFjF6tu
7aW9uBYovsDbzKzVy2M/Df7otZgFhxK1727aPHjkvXmYOXgSQHRWin8XjM1ARxx1dNxRHl6cv7AY
NXoayDcyFflInyoe1834yjuexwPD+r7ewXmHPr0Ws7IbShEmuvs+yhHzm//h8RPaGK26EeE1wPLW
H5P63kvpheoR3Qbr+4iI7orWQfHssMFfaWrM//LSMoRKZnJ7OFTwZn+23JSeJes2C65Fb9UMPNLM
+O023Fwxc3bksUAk1SizIKIA4GlxENkwFHAnMFOKcNs2RhyKbhsVZAUWO/MOnS0Iy0D0goAMfgrz
hp8XxJqwHybc8VvfrcLUlsa7H7X3ToDeSebhico53iRMib67TD33WVOkQpnPzLSeUXq99iuPJWGp
flSmTFtnujcbEyrnIXk3RP/qCvbHngZoDgy1lwCDGuCsQ+deFlcyrHeGEi/U11eIMe5bXz353Lm2
3fYBTG7fMbYRJKTq8n3VG5jbJmCEUppYaR6xHePdNYkCjHth/lbJ6qfbF69eP6qUjvSZ+uUtBGRV
mgfmNrDoI+/qKtZCOhCbFwfb7faZ9l4ahXpFXvQnt8zgkgneIGIPKalHkZDSQ4pkhcc8y4bYz1Sz
LQPoXOaGk/bc+x0yO9sINYwpy8OjhYQk8RA8xEQgqcswYhGTwKuQKLRTXIrqUHH2fezd/sgL67pV
5NVx5v2dtR2lYiF+9sSfwwzArkBkJI8zXQapORiIyWsSPhlVN16XjSxTyFJ227rLg+91z8JkaCdI
ynpURA9mS5wnUrfvZtSTFwx2gn+PGXraB9XAs60qOzAilV5xr7xwH9Sgwc59LW4bT2SJDKdvyhdQ
GHLZ1g70vcikSkCDW+/bqOhBU5s7QM8P+dYY9FujoSGmO18mhOYiwQSK3AyED0lA+0PnVj9Ck/4Y
cB+TgoToE4nquc7rKQ7o8DMoVJ74zL0xCsQhnW3sHUTGiNx3EkykW2HZY+zryt6MtDSQsIofwq7u
bAs/0m6MAf/YFO6lMknqS7Hri+losGhIuzxsNkVmhKfIa+oobUhRvMsSI9mtRZo7J6TtczF01veW
lG2/8XsjeAbzXP/QkNa6RyfQtZLKov6NiShsAsG/I4HPct32uetrK4/dNgrBJitwUHQEtakJUg2H
qPW6k9HWAnNq7cyNhp9syNjiwMTYPjVvPV2R7RgW9VWUd/QN4Ilua/kGf8KVt2/KibsYb+urly5D
cybF/M1bUNi/mUX2xI1+MSP7ZskIcmpU6g0tRJs6RkVTCK2CDhc080fel20SFMxOMF12AptqvlXh
EMTehE6nasTD1KMVHzmqSXkurQQqRDSuQl49u6Y0Ei+XOaYmATzoW5PHRJp5jB7FswsMINTbs3Ij
SrB5CU8f0FlSMS/cMjXGDGN7zPzlNxHdozpLbis+BilqnHdORZ2EFBXb0A70A0Wm/JT5gNmit8xB
XGN+c62mj4F1AO22ab25o13FpQvEajDcVY7Vx2wI33uev48SESk4RfKdI/DVvdp6pwSTG7WXJ4p1
jwMXdUzVnPnYb75ZANeuokNfukHMov7Ryt0HJyseAkJ2JkQA9qXJ3hqTv3qG/6eHYAj6DdqILR+q
XUUVZvEUdDoZ0SzYdmaZgbkdGxu1jnmCSpDaywyHu7IbkkinxvYGAH3buRfFGZsIlolk2SXeL6ti
/Tai/HWoymdfSwwQE7++0/lQ3E82NVKn6rLEVFaXuBqQrUFPVex7za/aHuuYa8fHlxt/KThclBfo
HtISIKWKMMrqVnpr9dRCLWA4KTcb48JXXaoGxnZTQDv8Of9RDdBLFnzw4ItZkyr0kzDj2xi6S1qj
Kb/blHkHh6FXBjSAF48A8m6tnIsNRguj0+RldTpaZEj5WNhwyVmZZLxjVyQnFOCoydug9j+lkjtG
MiJWS12SRVdOQbMNt4b6JjS1tcGY16tWpN5kTuT/EpH0dllkttuA4pAa0VTvCviyLc9tmgZjUKSV
HNg1D4ruYRwGe2tYlGxFlX1voeGxbdqeH8MKAXPmW987EAXFvqUdkAS5ofHYdto+uJRW+2jq/qAO
/mQ1WXlSXlXelsT4bRHfSAYOrXJ/CKqYBvwpow34GpT6jiE7HZvoxaSekr+B+K3Bx2GpDYgeujvw
W0yxV03ONgRWJqG6gkA9Vyx2iuBZNDjBAfxuAqLyLG7doNhwEwMHDjgMU3M+0VEW5U8Dn4K9sMFm
GY9upMZY5Z04oFf2jdWtgJyR+ayjLod9u//t91b36DMvTL3czx4ml76hweJe4dJDQK80m2RoVJnW
YJ6+AtZnOPQFA6kfUKBYlwF51Kgaqh0dLGtrU2J/sz3tbSWzX5rRAymUUYJuJJdRPKLCuqVlzwCB
yPwb2y+HjTU55GA3Df4bE9jYOsmgIkbhNYr6dqpKzBmGSG7wj1D72s3hHIOof7MdArdhYi7ie6+i
YNtENYbovVHHbhncK9rZMeol766jeMxI520LF+c16i37OLkQvaQmoC6oEP0oMfqTWGNrXdkhUdfW
mONZBN9knPst3nk9PCmbtA/aNqoHsOXKeGp0lSjP7ABe6XAeIHPzwnTzmmsoKMG/vSknkEfTm1W9
UCxMpyqz9sKo8BlqP0soQQ0POs7fe+pORxbqJnYiKtPGyqKYZrK+oqz9Jh14XAJ/eqylG8Vu59A7
N6e/QtV3Ca0kv646OHleeO1GRGO/R7z4nVYtnnwgXuqTlK18yq3Gh06Cy/ZV55dxxeVQxSrwdzbD
Oowc7OllFzUx7XIrVuYY4oh6+r4xSA9J0jlDzmvkBqZZbcVUyE0+uvLoOtyK64FjqnHqGkzh9hjc
hxM8ZARebQD2KoG/69JyprDMmd9thYqA2cz6K4y9mU9kyuoXcNCDjsOw8X/o8/p6ouErR1Uyiezm
ecimByZntCLyyY0LJqld3/rDpnedNhkwKxZrHuHlZiBK8LzBeqMToP9FSHG6vOGlAvlGYvVeneRQ
j0hBFmGClIzpXeN2KgbcwcHDhCzRgGRoChhWsZugALgnCLgO4CXuboM6+uZxkJyxJnsCE6EZT8KC
aiWw70kVGNArgshkUhWzAg8wczvmh3j1xupdieyX8DFl7dJy2nQDu8Hf/GwKTRMM7TtxgM5SUkeF
3vktLTag44niPoe6Lzoxr55u3liGWzpYMw1Q0f4woS0V9wgwtsgwqo1vZ9ZGEt/bG4rK+5D54KMu
SRd3eVUlo2qDZyTEfRN7LSVxNxTAyzv5bzOLgpcG6luPXqdxvU0TwPM4p06xb7qxSj0gD7JYOtn0
CkUwvC3ocUiRqBbytMcqb+SVI4FSdvvOmWJqY6rwanS9e9mMie5/d44VmyWqqeDC59ARDlCx8pya
PHoOpvdBUcCvpItfUqHTeKVDT8QeXtB4atvqZtDEOzmMT0daF5KlLjeQX+vI5/jyQSXSyS3EjbIn
4NIgIKsRy+tBJxGvSaqYL7Y6sI1d6BMw9rYW2/hDQxh0SDiesqAdgPSqReYce2uKkqxXInFry/8N
2nB5ZZOifBYyn7y45P24HfGW4YN0FOP4xWAC9etO9bYzHPYmetE+sdIfX4MG9X6L2vARGGjeOJND
ExoNuD4NhJJZXR4gCoHRYnPMt3An1cmrEZE11AbFPEfwKTvX2za8y3bShaQWJxjb9Vp8cZNC6q0a
GsCpTa633ogYzx08nZb2SI+FVNFRNI5ANGIAaD1VMrYlqgPAf73nRnYgIMg9yE43qTNZ727tvNpG
hPAfULR00s0TJihdqMH4OtFlAVfiGU4MvSp11xXTeLCKfmKxoJ5zV9v28ANyeERsapcEqdWIDEEZ
xZupGmW8+L2tMO4dsG0xTPW3vvCsre8S66asMh+Aeoop78Kc5Y0MfqU4zW7bSGN/ssIDAB9FTXpb
C4iIemZVJiXT2V0hGE07AGpT9HcPji5uA7TzDowQJ+lte+9bRpBo3t8V7fTLz7hObNBsx9yuHpzK
vLc8vg3AGwJk8ve2HtMilEmj2zfpFLd+GT1Qkz+XqnmyvfqHcBwkNXYAJvWJP4i65YnvUcT+ksZM
uTcO9X6IKDsObrabIMGclGCEHmp1DTjFIzIDuaGRfd22EFyoPHUbgdwjEUC8xa0SD6g2/qjQ3zqG
Qy/xIjdXtMx/+WPzVOUuZs7L8R5aGcCwN/4QMzmiu2LuBks9EeqIuBb0h9+Hdjwxcz9aEAKVXnjb
ZsTcsMZ8Bf1AtM0rjIsULYYGqBmhlcr2U+GBz095RYKnbIgRER5QEnsvnewR9C5lHDLnEGT2jiDR
S/uQW0iOvT9DMNE4zO0xkQZK9nbwpnho4KZ0d7kBLM48/pROpQt/Q+wxDfJow2W7gQXvCux0WUw0
aRLOAYj2ZRBnA949t02Hsf0dlqCO03120zcoJdvlm+FUN7ZpvDRQ5pAGfXRU9SqD6caKCrA3AM5U
+fZV57lb4YubgFS/LNwt4tY04U19JBJyP8Lw72q3vEN5A/lWZttJ5rR20tHsziq6rWe4O8VrK9YD
fVEIxrKheudugIqgdyoF8hVV5q91p373k4LEYfTLyavfJbF/RobUSeYPWJo1ypj55q2hje9tMW4H
zOImdVg8jYEv45CGdxOvH0ureRBD+xr0Y7HV3WTFFfEBBOdGipTx6EodxlNlvbhTuxl7cTdU9V0V
ZCkN6hfmQloCJ8dJW40xQ+Bz/DteWr/DBqrnXYhKjm0/O617PWXieqjCBhltvw17MCaMwtQxwFFH
NhS/WpccZBG9Vbw7EqdzwMdQvAe+PiE3xKGvVSqhepwUBf8fiq5suW0bin4RZriDfOWi3ZYl737h
JGkCECBAgCvIr+9R39J2HFmigHvPGuNLZhFk0jFsFkBeCizpe8u5LZEb5RextE+K9GHuDxhXQKHn
rVhZOboQwbfLmOZoGn5Kt+2FK3NDotufteUHzLZ3tHUgDskAdpJReOymBHNuffTQ54ebLPzPd9t/
faf/8E1cJGIJyljQ7x5xK8UcmbSCSu7HDorkmw4AzNn3LQq/oEfbdlM2SNzIyS0CLIl5ZEl36Ct/
0aghTHwIO7oVWUVNPRSE8FvnmSsSNvGHWiwl4a1fNmLOqo36qoRCO8BtDCv3Bt97LoiecHusH/Dr
nVB00OZr31xthl10VjOrQpWVOsP6xPR66Lb2TYM94526DHb4XF2PYSOVYpeO+rvW3i/q6iv3MWSM
mKDjBrt2rDRSdMVVLn6z4w2NctX1tDLBfLTtcuo2dk1V9jSMXpJTm35NG7aXUEp5WVv1d52b37g/
OaB/Lyxcu97GDgod35IWtyTHXq8heDoF6YL0YRbhvc+Uv29nPOL+vPrwVUWTX7EId2CtXHjo0fhU
JGSmhVmAQA6imuTCCsGGSxeMtgzhr+UT28EJ92aH+EugAraAU0nlo8eCop8a7LGRu2UaBLMQMSmj
hUnEFg7BjguHKdG4MV8MSQtpyVKAPlEFjZBv7ayAxniUa3syEmqPTs/+KYiQdVjTeNjuEZXCFWpL
sj0A3LrYYmeulq0KPy5ks62UMQIpTVOIRwkTBmKC18hAYYmn92jESJ/pnDqTB3XkTqtbHxgyrf0X
Wcfuc1uX8bhyuCcrsZj6CiEg++NY1z1xuSSfMFCJueRiXk7wD+BTb6emFTnthIRMFP5/UGAx3jiG
6bAY6aCKeBrGJ2nD+FuuSheB8dd9GCv/MEVRnTdzMv6d/Lm7javjNw0HmC2IL3iYrzpKTwPkTz2m
xhaCJ5ge6Lurl/RiV5dAaegld481Cm3ucMVnHm/uS2RCOON6Qu6PqttPQG0MmDX35F7HE/9cLIYf
SDKDLu9GXAjZmPluP0xwLR5sowhAfL3QsnVQfVetF8i28GXT7nvDODboaKpABnr4C1372SKOMS6M
8wHkjcP0l6OWIsHmqS0WUc7wQIfWdfegbsZdD8srVKAs+Zf2TVhZ64jEQLoNJx2QdSgiiB7CfJzS
sC0ym0DQGKhZ//RdOHl5WEPens9D74HZTFz2OikN25hsLL5xbg2C6+DmpSsi5/ffDrI+UeBL5mWl
H2zDNUQQqKf44p28yE0Jfm828RIyabBmIZ0Q/NMJnoX5JAFiDnKZy9BP1gvV/VCNnPABBu7Ie5/a
jFwWGtUfZCPYgOogmb5oNroXniX8B50Zy5UAmX5HCXhySgehD1K6/mRTR3Y8nQQH37w0qIGzYQ8r
40SDfV8H40Fz0l51MppLlAmCu9KRFWjtTDIsRL7Xl6gdJXvpC2TXdWat1Nz51RIMaYHvZorFOBLl
2sDKJr2u2/e+zI6xkNN5SYByoC6ghwGoayuZueyEaMT5yS4sqdTKM2QtcTCHGuErSGbuSqh52Es/
I9Wn7YABL0jbBq6AkIfPMZbNPg3wtl8QlxT/aoUa3rbUZ20xYuUBwoPC1904oKXKsLZBg9ZG/CQ3
yD7az3FoD12jB0zzqx3zOQjmfi8NRD4A8tL0BwVUzStGdXfqJoaFYui7pRyEJGlOHuMDFkGi39BD
RHYp2rn2njfNHx3dHLJefaqOo439vXV+UmGjFyJPs2n7L4Ar5HfTuVGDC8YRt8HUlseihYvBQSkC
jKZAh2eWu3hS2K8QXQfQgF6AubiCGReVDaQCJ0JD8Sxca19Z5HiPxX/tDDxcaYaQIx9OQqmh4MJz
Pi4Xpa2Afoek/4w/tmUPmu8WNGZ765VbcD2KfqsYTqYvso7JMXXYN7/CbWZeEXo2PWOVBYhgu186
rGkeegawAYcE6adja3fs0OT8sU7p/Izxie1V6/ieagRPzgAuC/zNI5phXGOevTqIm6Kreb834abX
Y0DEtY38C+5UWbgswWFMaszEWJvSXeSj2DORo8u9Fmxsjpf7A9GjvLk1G/dsy5orOnYAqoUsyO2C
4qUR63qFFFwHNWG8FLNHN7TTRM1ucA/HlM7YftCgIWzMvyDRX0iuSf2PyZbm6Rql+9gtMJdz742b
PtgN8RoWYB/wr9BYDTkSfnVpMBfPLfZ8z+GFiUWhB1Dx7ZwaDaQhXc/TBjQFB50rkt4lQJMGwFQD
RpBJZ3/XtvljGixAbJvpJaGpyJGDjB4Og7taoe+WxPEv3ofbs0RvXk5rgUcypXoHlGkovcaJQqha
Pdc+EkrxCyTY6UNgXyQ64hDD4tO2trI0uIVT82c2ncSojUEMCH8GWdUYlFRDw8WG4GK5+hN7A3rx
dI3TfFueVRRuheMpsFY/dvuuC37ZWtxT6EXe4dumezhUhxy66BWfTN2UNdbSPGgdBWJHmkMTAu5B
H9G6j5KeFZHFGlCPVlSrghw3iqJThxKAUrB1uZCBwYGObvUemUdpwA7aH9Vu2qx+NqT5i9JuntuG
nza6XbxOvUPHFx+Nk3VZt9myjwHBHTpolw/T5De3aF2j80Ri71ey8PDbtsBxTYYGVVwQcPopN1xY
yPURPKP9rl0Gd4teIveatAkiwlLoEaxMjmSkHOtotyzPMYMjuchcGguUzkGaKNc0qjqCPRMNkGnJ
5+DaLyh4nNpJHun2yLXzJ3IyZutKLH5RoWUHU5tOfMgM+Xhax00WiDuIczUTkotsMbvQjGHezRJH
NG6DasV9hs/Q6XxlTY3oVjx7c79wiosNWFcztOhrSHHPwbLr3bqGom8wHTGfJnM/4CliNdsjgq+p
4qSHaFOM4qYpLr3CUDYNOYw/TFfzoKD/moZtCQvY79Q3QjUS2MTdKIa8Zn37q0dRRJf7qQjTQ4Zi
7JmCkZr1sIcqWaIZjy8B+CbNfy+1bVGWp5smLOHwVaL0BNvSV0R/pN4F5FjsH6XsCKR8MNsMAOs8
s9P4xeeywWY3dsg6neWtXShvbjUwuPc2Chp5grDEjMD9veG6giYphGnoDhfUchmcZRWfFnfuO6CD
uRgafO+nKQKhEoWK/cEpzn4ynyXniJgRk3uG7srFNPJ5drF/6tQwt7XZeVoDrz8ZXzcmjwiyV9ES
GRwUrbdrG3brH4Fsv2LNrFeRubU/6+Kw1qHX6CrdFH617dIekQQUn+VqgOSCLLEYCi0vu03rt40E
8YsIVw+BOTw+ZY0/V12AI6GPfEwLHmZ6laOW2VxU1LJTttXjC1K1/HvkbF0kwZCdujRZMXWuGBDx
NqQFZw7oq8MWnHoq7vMx2maTi0mkPCcxbR5Anj0DT3LPRNHtycc8ezXORc/9GuKBQrRN+hc9r92u
9xIJb8YEBeIstopAzVDyQfWnLUa4YWqz9YDRoyvjjg2/59WNAwC6bbqYNmJ3TrDywY4WxB+RZfLN
tUn4O+4o5BtQWR9mBp8ycmVaVAwv9GjnWDyH+ETviAGxALD1NgCCF/in5CCrv3nnp/+yDU9q1aM+
OikwwwASb3kgXhWFJSyHyAkQNWK51J/Vsp6UQ9SA8GKIKnzLmiHBaYUmWQkPZ03W09x1QE0D095W
Xsu2TNOG3kXG1wfYTIPL2PjLDzKNFBLR61W84Osc3aK6jSxgdsBe4Al8XbDOa+NCwEwwltRj8N91
gok1t5lfz7uJZB1CtwPluxdAuU1cMsS9Y58RXD6DA53rve7teDAdOtFqo3p59oB2l8OG1dtAQDFj
P2VaFTyYjd5hpm67Y+seAPLMCMVM1VEAnVPWrV9bXSd/F66jrdxsyKaij9GADiJA4xTdVuT2tpmd
QXl547HdFr/UFrPXBcoCwOXpDNQXsYUwVb+SeG22HAEyBOdiiDpNkNAYAxESoSUFziAsebTuIRv5
RdcOZsYmnRnwSuX9g2GjDQsB7u4O3BcjAiipfinbRDOkXfhU/pFkSVSu2ybGV4bFai0xnAHudQlz
h2waV1AymAeObPXMJw3U8DoMxuztHNC7BQuTFfgSg1ygAJf7Ujoa3lIRm/fGRL3C8di6BARX3N1Y
RlII6JAEtYtNy9k5qGecMJ3rgjKSJrvLVCR1jqBlYU4bJAzyxWEFmf7iWh0BMqmJ9eD+s6jfW3zm
gAeNVf86cC+lmNne2yJMbRrJIc421+yhIAsav6sUPt4zXkb0Fo5yrqLZ3i02wxslcI81i07LGs61
SpuJ7B702/IczokwRUz5dM/6uC61BldsYoOreG3/oAL+o5aYfTcx3Nla97ZQqKo61jOLTz4McFUd
gTV3oOjyIHK4tqkMDS7RUAZbESHdrFBkVNd2Bj6RcAgacjmNy06GQ5gLLH2AstIhk6XoOK6SYVYV
pNXvsxNTMbbLbTY1bqtxHP13XKWhX1ArbNGa5QihngWNoeX7sgC2z0Eug5DuuTtpY891jZ8kG3Ed
U33tkg2jAdWVzVS8M32LmGwsDRHd8TgZK2eTA+byN839eueN0UFtGarG6326br+w77uCmxDEb/sf
izAAZPMP9j6ASrapAWNgH0s8PJGeVdWcegD84KbM1RD8JBGWdlcjzD9OEMLg1dw/rlgAK0dSUYPQ
bfpzn/R42SPhqoTUKNyxwcwvceOpisfWfsch98oRiTBPg21ajAFe94YuNKwnOGlzh/w4I7Bwp2ic
qTIR2go4KstRrNAeRsWi3Or4xTqd5CRojn0m36wakUcWXL0VFANqo4MS5xwYYRSQlZm3PDOExW0t
fnbNLJ5yiFASiLfuofCT3ysF/43MzgOlzQnxKmlRrzXF9rQ8g97CXUGHg2yaavTVXmCeiOPxPkK+
USfBJcAQb3pM50HyGjfwf0peLWsCqEguO0pBdCz9HqGmuwkpsu2MJLMWmALDSkqGEQcp/a83ycV2
BPMkvRlmK+RKPQGlPnuI6cK4dU5hKN02ctkei8NkD35Yv9RJfSe9kA83+8uqDCpVbPp72IaLt8EO
HWTvXS/Llo7PS9vv6rqGdKSDBgWFSzCvEJ9V/tT/JCyobKh3kcN9wmfoJ1B3GCefnGE5WCdPl5NG
KARJQFJP7vqAxFAq/9TydocMs+DoB0sOMRQtGrHsyboCeG/C58gE50VpWmRkK5NgfVJ8PYb1eJ77
GJ9gV/IRq6uMp0K1pJADNKltPP5a2/CUArfMKXfHqSUNthv+OjRjApnAOOEXUPI0x+0HoKXqYR5K
ElU0S72TMsjhjLcghIajrKeXoeXg8u+emg/Dupwo/gio8snRD9DIKOJN0e7Y/k6X9BCF2R6DwBfz
kpL47VL2NVbdVUy2TGL8BqaH7EA3vdwj914UtVzPNV/3ck3gckxe6mZ6MAdPJP4K6FcsemDJ+HDH
Rb72lr54Ecq9eIxYtxQJXlimtmkpALe8hJa+pagfyHDM9QFyEMzBqOG4Ne2x3+hbYFWBopkJBvD2
INenOE7wC7M9jzF/GiAPSzTvJaC7HIXBb1sjj7IJoHIQF3wjPk2A6tjhb5dimwGJg0trIb/oHM4F
h3Ill+14Ba4Cx5d9GbL+Rld+kEPzktZgFnoMOyDe1FF0+HS37sDNp/TxpUTHE/CTugsOTr9OYt7J
xR1SADW4lbUpGTD3B1Nmt/WA8Kon3fIKgMGNB7sVIe/UYalm4Rcio6oV5cPc647QtgIDBrPgkw6o
3YyLJ6uyGuRePaD1Zs5bCzuNGG6pao4Y7YBzPVBqgIMHxfEchRy4GfYEqvWnFhoQn/tNRgQPoIOP
GHeNeH9Os2HHsZTmYTNXen1k0a0GFDnLvT44AGGD+HvaqZp8YMk7cXAhiQJmAzbsJOr0o/P112j9
p2nMXjTO7TJobIo1DZM7hDYQDUAI0+MtFXorZA9EKh1yRIiWAeGHWKTXRbGbkuxfuzjIYvrU4oYY
sBU3F3+w+bzxA8amyzAD9wQlkKd9FlceXyGkwmCTBwZYaIsOwXprn7EHlloSEMNb95OxuOpd2kKF
E/xZNGATw3YymT7TekWw+aAjvAPRByj7b5U2LndgVvPAS1+CsN87qw8xsY/K+vrdJeoV4NV3E3rv
Jmve8GA8446FnK8eTdkDiSoIYy9xODOwO8GfKUq+XJegQLThbRFq+VVTct74cgO++Rx0GwRMzfZv
TjLcidIbT2ad+r1n3FSEC3xL0gZ3XDEo3mDmrBnj+aR6cdJKfcgGzF+WzHclIPxqhlKNzacXmqdp
XvpL0PoHzOWfAJ/3zba9el3ywQPvCyK6CmVJZRuhGEUjy7kOfsWpeKs9r8T9D/ggK82SvYeJd4p9
6F+iHgk6DRoilcS9bTPnlWucaQBtD30TwsrA7u633qu2Vpd49ftF830TeHct0h2EOFUQAmbX7icN
62r1ojv31FU2eq+NepZAafxMPnF0WORDUMPV7q6rMB/KRCATaVfSYPga6XjGDFeOi/1pgvpHcHFZ
QDbRAVqxXjhIIoYNzOL4V3p4cMKhO8abd9489ttw84VZ7b+abb+WDnFYfXoGnAl2dYAmMfkP4ORv
9OsQpLsnf4dFvgB2K7B2gm3/QWPXM0bC0qPjDqDmpU+fBMd7LjaIi3yIhTxQzKZfn/3V+5BaroXZ
Xqd0qdimXgOgCeHyw/34gDUX2Fq3T+r2S5BlH4pfSXSWtC87LKxyBMhhTOlP7RXt4wepX/mYvIMK
/aDj3YLoXoMX58U7mjWVl/b70L0Dc/lse38ftogrY7+YQYVP5H0u8idOMf0NeKeIhj7x7rvkvnZe
RV1TQvKIVJ+jRg9cU7fYMcX8ewNuY8OXyXg5w88J8VUMgty3rw8pjIGYSEwweUX7LTqn6Fxl/BmS
snOCWq3J5zvp0qc0+9VRzCNcdO/AXA7QmR9CYqYca+YbHZILHvEwH+b+D4kgYzE+QUpGJ169jAFk
wdp7pLBtn2CDeaas+S9MkXIzMRmilEy/egv5GG3wFgRsLBu+VXNCLjIRF7pCpuB3UHconH1NcF0h
AS8G8PPFAO5kDy6YlZtabr6BtoiOaVpBFtwXJAhPQxLsYxL/g/LiLfbqZh8AlHmmbpJ5mGxvRPh7
2YyH1U1HxNTKInX8qyHAgRMzxAUmW68aQeRm06/MHBDJUMiIFe3kl9781GS/SIfzfjjR+EYMKdLs
o515oeboOECnU8dfkLNcmkaWzp+xsoFHShEHvoEfH3BWV836l/QHjiHW2763+N6aYxtChjeyCtqN
gJLciuM8aADLLmfuVx/ozzaLntIVlDB0HcTuwkGDkw7unZmKGKckBffWJfo5EF3lAScX2BItnWE1
wdekZ686/s8TX5rcNzfu1AJznz5NzDshI743yxVlRpWHFYAl7Z0gzouDfNbtPwcSM8DbVq/npXtf
lToly+fjoGuzstH3fgM+Jf6E3lvq2LWJomPn/Y3a7kKJQV7bsGt0u7P2N1QbFTjjAhL83PdnyGKj
wgbhefTCChhB1EBzwk89frs6GfZ++6/v/s1+sl+pd0qJ3BM6FEEKXQg+mpE9rctWMqg8iN4tLQJ9
2N0sn48Ord4HdgFJyzeigf4zW4t64iTcwGq7Z1S04sVxvvNtUvkMD9jEMDrGO4Iym3zr3CkJ1a5O
J6xKugqX5iWJbQnNT5FC46Nch5XnbQB1CL7lidb07ML1lXb2Vcz0Bp1F1eH/mtkuHuIj0McHSFsE
9LWDcj0IMOIo3GwwcqkOUrEsLAiAP1B/CLlQW66arVhqcqCLKxmAxmIBmx6BLtVbVDw0RZs1hyRo
IfXjQJ7ssfY9LMRNackMCSM92Q5Csq6yaYq39qqZwbmtIGaaoSxB/ms456nMcoVUda36fGqfIG8p
QnDQKcTwcf07hv5MpFUMVQHpXtmUVmE6AFQEdbb+adhjBRxzqGu5+te05HNCyTS+CjtwafA4QjmG
t9NipJ908p2l9Xu2xueRsjOlvBTBupQm9q48pLtJAH+S807HYmehEtwyt8On5zX4UZ8R5VUU/OfM
sh+1uABCf+3xhiYPmsF9dUJcRO+dMxBdCBkoAmZvVDUFtD8VSR8MK/TFTuy0GF8ccyUWeJLTxchC
UL+wulnLOmir4XEd9aG3F1MI3wG7g+NHPMcyQQwyn2Q24BKTOJs2sOAW8MBhTZCSRe5Tn32BXTnX
q7uO/rSrfVEmHqJmsFqkw1OT/q4NJP+Bvdjh1+qvhwASuZrdUM7wBLbvhApmNAO4KsIE0CYNVl1e
Yulpkv/I/JfZ154+MMXurdmeOgQ3GX6nhr149a33m4NV7Gms1x36GU4+Ylg12S1eW8zsZd3YflIf
bfonDD46FKWYZjit6Xhfzd/48fkqmicJPdMVzl4L1/cAjHNyTwaonUgJmKi+QllZgdPIbBSaueYp
xvIz2KxQY3pqvC33+2mPCsl87BtI1qCpQQM3HaGaSv7RYBesx0R/i/TsIOmbwOUTfJsYFVDEyn0r
2qtKQHonfYHc47yTcmcfQ5Ghx2HJqqBvMfbtFPkvo7dEz09wFeGC3/IxWY9s3gq4vQ4CfGQDErcD
d9WDkc8oepanvxMuVjecYBXFbOlKopHUR7+Bo+Ly+UszvrMjSAlADM18X1bA14FA1kYCxQ35yNr5
0C/zDllZxTh5t3peCij2Cu7ESW3987I+N5H/lwTDwTUBIMzo0Kf13XjmBDVnCQ7pSyeYxDp2HlX3
lLr2DONM5UR6GzIIe5P4Eop+569x0bH4CQaEfEnrig3hV6R/EGr5k/LsMs9wAGT1OwERMKlw583J
VaD0fuYeUAG4ypOgcKwpdYp24G2qwQ3PkBN2fC/Cx7g8VeIhaUIvQEnSBaQJbCKzg/JzUvKYsPgQ
WQh6BPuA5g3uEIkSETRNfWxT96KRrJlrlMPkMBbIIsrwhMYLtrtGKnkIUE8vWIZYniD+zfwVor0A
YcPdoP5l7TrlLE54aTrWvvR1+A6JAcVz9qDE0/C/LKyxs2kkeNOBF146Y8mB3GRsthMVvLJxXCk8
qg7K0EiOD/0ToEb+rBkvUSR61JHFUOcf0xhmDgRzb0Bnclfr40aZyPtszA2Y4ZnzaxBPJW6Z46ZI
QeiMsxOBs6LL+er9kcvv2fyGMu4za78Nid7RwVPNJD2SjuxXD0d2WlJgZ830XbO6VJDsLAikjUZW
OGgsc9LzLxKLE4U4dZX4D9y/bbh+Nol1T5p8apZq0uRmfLh1OnQI1M66fLA4faLweaQOIhZKQDal
RgCiwEa7JD7gDzS+XMGbRLuM4iJUUfCD+V3kAkFZsGJw/yB00oNeicl5nef12rfulUAvvvcyvFdB
zH/Eqn4jL+Qb9WAwwujbCi7eTt451mAAFi9HSsJJedE5wxTJa//kL2s+jFCd9frgTILJPDuJhpcR
wAXIYg86fp+m7jpokw+gmdBTUFlcSHG2lhwKnU2Ts+pRIAk9bQi3V83kIbbYjSAl0Fq/BPWSD5jp
1y14recm7/v4AH4eZWn1Zw3l3rbI6zw9vujk4oDQY2W7e2NSToEUuZxh445TWGHq/ZSAjMNXlGNe
bVqI3AAsqUDgFAeCtOI6GyNRoCkQqsvZPzQpeYLS5ogt/oScv5eRgw2co0/VjXMeLlERMf8f4roK
GuKubNrd6psCiUwwhSCuTvmVVu8T5E949N4w6GCY1IAq/xNt9N7ODtOZLmYCY5jPczdlZTjRSqw+
jorHMvEQkwffukN97wCSKXpIarsdCabvOXFY3Vn/6FrAx4thLsvES02WHMK/FAvLelEK8tNGtLs2
dH+x4e6kAlnJwZcv9OqBPI+avgDKWsga+cImLTp+s8t0rhcMBYtf0ZrhuW7PEab/gMt/duuObk32
8SMfFzi/SleMGggWajEUmOGWhAtUg7+hEn1S1JXekhS9Ww59pE9ZO9wRqfEk1h4olj7xURzmEdPY
BIu9MvwjSCI4NCCqEziAa7Ff2uwlmqbCjF7R9qZsdQojXJCLnuxjZACOq8LDnn57xlSR2XA6D0WK
5qGlI9AOIwweEi4eTMVQBz91NJ18sKXGE6Uv+YF5UBZ3fTWoyOTAxGkgjw/NbrTwYoZ5EAaVIonM
jeDGn4DkSzAFul3LJJk+5nY9tLU4IY726oL6zQwZrmaJZ90rBraekXkUgrBULQaSJtvFsX6bPO8Q
hqScF1satr50/bJPSFyuACf6+aVpsHY3Z3/7nMDyI7WsFDgaYI6/LGt7RNxzoQbcGMs/WE9K7sUo
jR+/fZ6CdxhOWY+Noo6v0/QusmFP2w9Mr1XQbhDJemUMJ5sEMpgCWZRbhiJ7aCEEGNsUThYBRGny
dr75E+CpbgwvIZbO4bcB4mV2WQ8vQ9PvZk+cZXw3o3iF4KNcFzi0pAC2AfC7iwXsGvj2wrl0FpI+
DT5OJhKM19Gze8xQ4Cbg519ZcIgw5fXjeBw4PJ0OjzfxzQGBKtCZhaC+AUaAL/2LWEW9g5HyZWjq
vdgAfyb2nJgNauQ6exihgm43kOR1yjak8KbjM6TtwNfA0lzVrPi7xZEAMgX6uCi1Me4QurPKh84b
vNahwQ8q2MMtNzhAMTMzG4xOpiKPnjSbEVF5Mj6hieLSbAPkLinYZMjP+yPkvnPewTuWp6jegC4+
VVUctvQ4B8w7AGviu9QPP+FU/dg0rFQYSqIixTZRrD0AKkCzn8SiRdr6EI2yfuqg89jeDO3kYYgw
28t4I1dI378A84Z/QU/j8pV4hZli/7Gxq7o6fBuUvbqk/W8M63+NkhXYiHJJArwk2GxUElRhg/Ao
vsRgKuYTpb9i2fklcn4PWk3499F9GELMkaCMw2A/rNBehtlyDiz7NdbJN9vCsNAZtP0je9vmpYwt
NFs+wdLL9qOb9uituKW1frc4NKcYF58Zjzgidkqg8j7D39Caa5TMKISHXj2Y9zZpjtr7gIj85jb+
ujKX9zEYyh5uEIAagtB9CtonpkOcc2SN5MywJzAteUjIizILrjSsBbN5qtn8kqEd+3+OzmPHcWSJ
ol9EgC5ptpJIyrvytSHKNb1N+q+fo9kM8AbzurokMjMi7rk32Mip0MyWmy4Ut87p12Y5eWFI8qLm
YG7iMFDc1TL0DW6b5NbTjzLT2sD17Bv4W0O06wFiaaWXeQOHHz8+iks2iHPkEug7pfktyrInIRDX
XcxpZXPU+zSYR7kfF/dtaLPt1Ja/k9tcnL4/ckt6Y1sFdih4o7n8RgeLK8p93GmvbHjDvBNP+JCy
v4JnzkzVd0QK3LnWfYl4gvkvNhEtA+Qb93HFtjm9JJs/952q2rh1uCplvi7TJllzcN/wcDDVgHeL
dPSpudmiJe9KB0dEUWL6W7ywmL+cqXyW/fg2WPVVMRxfnew9vAuJg+mXo8DWhpYI+ppXoQE7LsC8
FzButZZbkYfHeoQRFZOTePXMcCcpflut13FuhdYql63fsA1hpajKK3P2+7Jw/ReFe4n7ZQZNohao
TiGeeS5mZaUnSMf2zrBJzK66jyn6tKuX2KYRHBclYLwZ6KScoFNu4jZ/qxEMrCrZWEb13SWoCUaz
d2qsFXP1ISYD206y1lUOh8Q+9E0Ba6e8JsPIs/Q228l2Kq6G2m21miJAzX+qWeirmZbAyIb7oln3
x9cfz8JPInF8vBodYlvEhUVWiJe2+UE4aCeJtP8ZvfbtdknQWvFZtGKtLV6v0TlmOLi0Euxvug6O
M6377iQYibSdEvR83aRC7/Du+qlhfoeuc3U6fW8kI8S6C5qRB+QI7I045c167WD1dbQ0HR+XGzf7
Og3YWLe2u8ovG2W7JJJKuF3py+xHzBQFA6V82MUOo8dYYc62eHManZOMWA14FnTOwci8LvyVhCnH
Gd3O+DRaKBQP50vMrF4/z3S2bUXFrgTgun4at5eS+m+o5VqF56nzf8morVq1Ozr8vZbBvZSwTAVA
50rL6tYrFuWtbbQrJ/T7QjNZFeXVqRVsd+pzNS23XDjf44xW7nb3SsUD25VPIzcYkKc/2bT6RHP+
xh1VBcgX28FPEa40cyxbry1ULnDmFK6asB6BS79xfU0td31R7zr1DwPNxswZkeRbm8ZWG0jqbG3K
z6trYrPSQtuGMwyPIxhn7oZ+o/RnOZXnXhkegdI53XV2VNSaNyTZxwL2JS5CetkXOYaHeFh+896a
AzeT6VpUA9sgJsd+VGyh3405Co3aNBvbthamc3hX8sgtLqpWV75dhpJqjkXtc9pNm6IIPWpLakbD
RVmYgz4sX+0kelKT6gWS6dIW1Yu1yM8kBfBz1UsvlH3EtYxA9NVOl3ThYcfuK7plrTEPkBWkADmm
TIdlfUJgO/WEtJFSQ8ODxV2bMGCkVbkBavkYRLJLCXLfyJw6Li117VlP1Wcmlnd16ZkApY1zjux6
FxdJdR27QqxhDsiu73p9K1q88cYwHOAmt+NSLi85+LY6VPdcZeVe1U7rZGl/xiQeSH7Q71oR6isp
eA+tAUgos8otpn4O+6T66WUeCLU/Tqw9XA2Zep/F0q3cRgnXvTH/5JUK91D8KwgXYPyIAZN0fcY0
1t6okp2RSoxqya+Is2gTQWuv4scaZNFIFtto80ET1t5mXNrm9iey1+KTa+dhuPHyOi4DS5M3WAjI
0jlUg9pi2AzQvHHGGU5Hi7/KwcV6iJm3cLaw7kejk5vBpBUoFE8K60LjdSeM80XRisjrWOWrW+FX
U7PzYfLmSrAyqQy5borjg46XWnKvpeENojkqxLQUTsdwNvsl9wOCAX02M/coeB8qyQzhIk+jAzeh
qt8YFtZjNsAtv+k01OyV9vAE0inPfpzhj2CDXvhoG0NU6PhQGVwscb5p1L8YWGFVx++Y1z1UnEBz
G2S7ZOOm1Rlx6SjxabrTedKAWfjq10bn+v/HupcqLz0durTFnbchqGctCOGoIHa4bCo4/4TAgKnh
qcHYSziT32vmRxoVl9HUbj2vArtDMVp/jY22csedEGtjsdZxkT8lsQalszGdo+gCu2UKTp+sUCAL
r0ufR8VPJmg11oWtRrotVoxO4oTOwoZYDOn/IuqLaLzFSXzVFxw2rBl2B+c2TMs5DDEExVRVyd7F
5UVcKHdAYpK7QQcTDT0RCVywiP7WEHpWf42is+okQV2/5en7IN7L8l9tpi3dJ4G+lbIBbqcsEvNZ
D2Ms7/zJbr4zjdrLmLmrjR0UXCyufq74GVEX0ufjn10Ur3XYQ5ayDbgi3qMDoVmJFrYiG8lkyCRc
2AurW05O9JSKPZ2qkLeS2RSjcv0y8TvKkzozABnRPcsdrvQ1DCmFXnaIsPEl9d9kPb43Ht8p3gOh
r3q9B2r9yikaQ7ju8WQLN5hocfHzrArmii2B43I6ZeAqZClRZ+U2R4R1RTBxVOzfk+FDfI5skSkK
y0ur7xB/SgHHiUKnd+gJJfsZnWvWWvt5fHXJ7RCa6ZuMj2rxndvtFpAFbyOFrjue3JBu7yVJmrPi
tB80WcepM94Btrcmqbir2Y6urTl/JgpM4HDT5L6J3rNiWmn4obrsZVJTP6/ms4yGk5tRetCPmOyP
HuO/oXoXBjYB+WrpEScAhKKSkklrMVF7Uo2LqIxAG27WfGnKJzj8kv4PrsDE/AFmsZjZXRF9AGmx
VXh3FfqgRma7WIPKT4wD+s7psUp9YPtlzdBSNNEFIwdJCzWva+HbcxVIMH6zkvuEcWTJXCDqreeh
JGNiMMfzMI4xZSJwLNy5Djc3RO6lWyplVdT5KZqVoApvrp5c0lRbO2OqB7i8bo0w/ilR957CybWI
wpGjr5tG+x6a2oePo/XFwJpoCfMO1RsSFloLo/tLyQNb96m5hWhtV01ffrOk92qHPzaxhKahvFeN
5Yd4RrxsUfedoz0PGL6UcN6gnO8NCLKEy3NsATrsx0KS3LnMQ/qsKdPFGYi6KY16l0zJd5lEF7V7
LyWu4qXV/LQhCgnUyk+W1HnWBtZ8L/rwMbuRH8ahcwxNY9iHmRg8NWW7b2E3b3iObRIbrCUQYnxh
y+7nkHX3FK/jalIwJg1zh8dDZL+JZmz4BAKpcJvl2fJFk7fVNXs7tN2WP2RbFSpOVccvsOlXS/Vs
4aVjGMc4B/1iBtg9YtBYZ8jFfRfeTBctNM3Tf2OkV3v8QvF2QXMdQc5rvBF5LO+Kk1iQG/B3q0l3
w+sYZ7+Vbs8rLCiA/9SgZqjQG3TdqclojFw7CRjHrSK+4MUcpd/ZSvNvrqcEA5gJsmdE6t1k9KNW
DxiHqUCDJDwOb1reMGE2HTZlzJ4eGp8a7kYu6dHrVPWMpwZThUwvesp3w+OsZOlpipwzcRZbEkiB
3kPqX/0uyv4DQmY3l00QZskepZznJd08DPghf1b2YNXLrROrT5WhP6eTfl5itqwmbAeq4x1W3XOj
u+vOzD4tymfyDNlm3Ca7sReHMm+xPM/FJYQawwaN80T9iNTsq3y4LkTIGpllFOueuCB4Hm/sfkNQ
iWnczabOtPPYAjLYZYQAYb8UenIQUsfhN2x1tjnoOqgFrtqEIxibyC3Ms5uU5XOOQS8jfyIliofM
j3Vl15uEtEms6+dBA+5soudkFtTt2nPHrpGwsc7o8XvG/f9g14A1ymCJ9Y006Afh7BMWPOIHXPXK
D4vZvFppLuDQlxijEPtfGyqsPEhzzR8tvH2iSH/roY+3vH0AzTwHifwlBARK2AoxRybxk5g7l62j
4DA9U2/JZvk83UxGTPPRXQi434Su3FcieSLxZ000Pa++o6JGUUe2TaCMfwUCQ61N/kzQb5EdOqo8
kaU0ZxFbYMqTtIaHYBXYVPJxVjyNSAVJ8TDnMr+ua5fOv992wti1ZhV0mgH9yuVk0wPMNUKanFGo
e06Wkxnln5PRekrEEIFeUc27VWPR88+vvZmtbRtD9FKuQ3ZOtG3ku8Yhc5q3kL9OjL+OVAHFKzTh
EaKw6bU5qOIYPQESAdmTbMlTk94tqUAbEHe6GJsp2c5oMJIltLA7S6Cw0bsvs2ByVfoZ+1QNyvND
FhYEGUGhbZrEj4b08ZuSRPNVKQ+wXmwdt7oVk/I+Af5wWuF3jBkD8mYzq6AZuKZl/lm5H/1DTp+Q
ZpkhPPDjTZv+S0zLU9K/wpY7pxkfPgcfnxUoSLVqWgHLLIM2m2EHdKy9iL7pn+xQd8KYxWPWR6PJ
n2VQf9tHttebcBC5UnTwBWOr1d/zhIG8Iti3jUXZJ314HT3Gq67zqo3mV9OLlSLjfZe+xc3H1FY7
U95zJX5ruvAzhhFWeQdziJc51H16ti0pAcfQ4IjF43CnKVqrD+8hMkm2qrtfGTLwqeL7JDNyarZ5
bB+tpvizq/YdDP4xiXytY+P/JhD6HaRq4mh6nUyNZd3Eg+HRjUTMrIZISsxPp8Vs9zOJCLlklZ3M
NzPvxPKYA4krJf8qghx1cQ31y4LXAWUaWj3GdDNytJWwWGKer0Dz65RooYhLTS1IKpnq9YCOUzBI
EU19eHznesc0p1TONQNcXZqHKKzfYzXakR1zNKeHy4pMwCYv1kVcbCvjRe1w+o/l0U0qJLX0uY6c
Db7l/zNEVkRXvWmLAPNUnrEBXaRpblPGWUkyX3W4fG2Ewsstdrnq6WkM7fdaRVKgqFEL1CxUc3It
yG150WszMFi92nW2t4giWSl8GPpDS2Sn/MGxx2AIG4R4Gj9ApAw2U1eidN0x/ZQ0b8OsfFYmudKG
mPjQMB82Zf2Hw8jT4/ZI7I6XixLTY8ovJbaqdo10PcGPeMxt7Z/LIMnI0ewj7UheBxA/5MwIgzHa
M4FZ4oPsoy+6RW8cu0+bkZ8Rhqco4UTD4fxKiutnEY47oqgYs1/bHIPg/BPyENXNJUmxyY/OsX0Y
hObpmGnOK0yhWJNivU+a5ia7q9U0106PvILBs5bhv8oGkoaSsP9RmJ+4Clk2rgu3iipUL9ldH17U
pDv0Pdx7NVxCbdyPuXJi/+Mx7ltM8O7adZVtJeSTLLSnOAEOZ4O2ghiqkYwfqe5V1F/Yw7RVNqI7
t+SYrFmhxDxFMW6MWAc/xbzEB0jMTJthVtHn/suWFOStO7gOMShqeCzh1o65MO1LIibbXxz5Vjiq
z6fOnE1LL2X11g3wgdF8S1puz0VV9w8irm2vXWQq/HqTu5Imoi6hWUBoSfbm1s5qLEiIqKc7ETBH
FIQd42zWRc2MrjBo7FtH3lrV+XAzchvwwpNCM4afStn9wiUHi9Ff43l6H6Lh2EXRcbDkD/Ng1vaY
ymszpvCHla8t7qUH1pWkRU0T3WhN1xRPyUVTY4qD4adUeRqcbKm8XlLWOrblgKOkXtQpJxhiwu/6
TxR4cEzeNBxs2G8fNp/qHcfoA0TB3GcPD8s9XXPWlGQIMvtQF/SsiqlBGrgJ+mUcA7yFaBmjfQ5n
F/nPib+SrryoVlwHUUKoYaFWZwMGL9PctyWan4xs2iU2Tukh3MRGfM+Me5PPQUepa2E81Wd5ERFI
9YILzHL2ej3cEedfErN+kL6ND1P8CizBMP3SUGwTXeDx5DJI4kQhFSYwMwPNsP8L0SiUEdK4/YLh
3CZRdmWeubXy/uCSfjZISfgBfauimfsCjE5D9yFRZLwZDXBbsjwEJ0vbWXjGpxEh1Zymy2QzJlWn
7tWV5XcWZRurJWAq/5I0qQ205jS62iq2+htczI0J16GVsV+VznUs81trQGWaZuYLDEbQis3V7bS9
inrb4NRzmLC4/LuO89wi9Z8h3CZXycCp0v5Qz9l1BucrNNRph4EldOC1sBObMeayMgUQ41KswceJ
SOIZnY0wGKwWAk6a465g3Jz02j4RSOxm/qyaOSxcwrELf9dQjTOos6H6+7EmwKTfqvZP7mhbtSdB
bG6JmwsPjEX4ixavg4jOWs70+xE4mPZOkBkFwWLuUyzInMEqfTHt5MDJssXc/WrZ2V/sLEHUY2wr
kssgf0rYyMf0TYdox/DqK4MRUNBs7R4RjDmJyj8exrx40FEjZ/MfMT/PblHjMqDOGoT7OkX8Rzam
Dh1tLlyqdyvEZ+kWw84wjF0U9Xs3nYQ3Du0rW6qZeQ5nfGHbWk4ByNcOOvaSzt3WMeXRzYoPI6dg
JSZnXnUDxWJefWd6fx97+McuR1eKuvG11cUJ8begQjfwrU0n1Lltrmq3OrSvuozuy4PlpNFJpHJQ
W/NUKxWjQjJfQELskBlNZeKpyHuw2d555XuDJRIadUGHRLHAIZiNKj2qHKY0PQNUhxx5Xf+ELYVF
tiDL3NghqKGlLO1lrT82KQ4phE45prtUcaOcvyYhHS7T6zvF93u7zPp2TAZtoopJqTXJBF9jQI4+
Z3SHXTO0rYc55TYUfOpTL1DpcwnCGzOzwQZfoOgy8fZM9in9FaOde3Ekw2+pQnD6kgZlHbPfbDNw
yjqmg3NxkIxAlvepibelVZy5NklnyeqDS/DMw8cxmD2g+9x7MlyYby3pjmZv0wLX4n9lL/RUnvAC
+HZFV1nrzUs1MTy3G16XoXXYcLvg2E966wfF3s9TDR1k+Kw14Fo56m8w4V+JdH1zIfeQpNe9sUQ7
aaCOkMf+3cJHtRybRp48t3EIsBPCWiQ9zxKDCTZgvfVJu2euJ+/zRKK12VKMskfwLY3N80S4wNYK
262h9tGZwMpkoyjZPlVQY8nWPNG4nIwOM38sWgjfBwBHluIt6pM6UGhOQd78tM+YdI2thrOvDtwc
mid0b3NLNF6jlBA6MR4lTbM3vDVv6vSpdnwHXfv1sMsVkoOwYnDddfXV4F177HbfRxXktG3L37LG
OFYuzTNK0yuBhPmGuL7nWC7fKDnYvof2CYdcEFaVg1KkeLZLUEGcHOVY2ShGs84NOH5goFL8pWKT
ksYKdGbBxFEjYeNl1zklXeVVy/KXemD0sMIepmEg4gdZNKsrmWM3Zpb/qDkGcp3muxu1O7U3d7Bc
uELS0C8KhkEY7XS/IuTJV4T+rnW6OOgLqK0x0f4sWH1XpA8QZUbKtzfyIGCnQXIUY/hs1Tz38Bvv
JR5R0BLd2kRGZK4rkheRmMibsv56MbwTqIy1hV6R59lBsFr6yOvcCH/HV0V/b1kvlen2/phx02pK
2AZW2eCHIxmmxCTJWM72mtke9zrRcv5YctPA0+IuV01AIIaPts4nV4oPquptNETvdj68FJVyKaYI
uZ2STtG8eUl8BwStZSqW6IOvV+m9NOKb6Ac/xF/Ggr2fYqwu7OaBNUnfQrIPMNd8EtKwN2wM8jpw
TKm82R30hKEeF0t/TxTe+G7ZtFm5J4QC7YAjjgFNPD8ToUGeCyEZVkhfbrN6otJLP+PtcHIS+Im0
PLadm65nLdyonXuPDHGyWvZkUpKpYfEe5q/N1OIWIOtrbIEZqw/HHl4F3V4dGTuVxDsqCMKAmObb
9XUEOlId4xQu6pnnlpc4RlLhEHJUYydn41g1oUc2yb2Ph3sULl5rRE8EfGwG7rKe3t4I6Wv0+V9j
MqXoMulsOSFeo3H4WrTotXQIzSor8mGroFHEengAMXa/IyRgrTHklCOVQEQRzKi9jqtNwUQ5Eysr
Wr5NSmmVCK1e6Z4aPK21xWxtzAMbaSKdk8O0hE+KIp40ooPHscdhMe10lH7JYFRy9LlkeI6tfVKX
hcis3iP5c6MsREPIJ7e3Xiy63GWMg1rt6RHkU5Z1hxxPI4IjtXU6ujdGTSapP0ikcKg7RyVAUqkf
2PxHuESI/rG8TkOxF8WjPUX1UKN0r4b5hV0Ke0n4KZo3fMRAcVUx7yoPHabZLELa1sZNWv/q+bf2
sD+zN68n8NZB+W0Y/sHFu/mdCjZdLb2jrSwulYVKXu2rY6//c3kbTFvfWLVCjgZSi0ooZ2ieeq3c
mP3kdUmzZdvjsXSMuxvHXmLDRhJK1icTB1n6ptj9p9HoD6CX5C+3QXifgL7lUQ97PoiKGoA46X7F
FwThSkLF3jaLelMrMx9g8a6Lam9VE3Ki3GJa3WRD8mEXWTAKBsODsksTvDHwcsioDHXV0LnGCxxt
Jcp3NdeetLgn5hRNpkI33nQDBZWGmXVKKq81YfXtYVMo4CKpcgK9CR5oUjl3h9Q+RI1xt+gTa3w2
M2PncWQYgnpnL3IdZc6qa3g3kuTmLtg1AfMMGzcQIwe2qfhEhnp2lO8sG8KWUiNPH82q7AItcgPL
yXaUi+S72MtznPPgWBkc4IPiYh0ChR7pOwA9sHbrgam2TuUrmOmnCvGyZnVyMd2NMj4abss7SQq1
lRYfuHApvdphC1dDCngSRA5UNlmt2Mg/oyLZOrNGUrR1rqfBf/igoqI4Zvn4jilwo6V8u/rIBZ5L
L6lpjszi1hORUdfOW1n9E+KlimyeSRc3vSMuaq4+W0b9inGqW01G9xzTylUKWYoDJssOJbQYnkhy
2kyqtoZrvWNf9jIOom6J3tvHxW3x9siENFf4aGK5gwwweWH1u/Odq51fl68Ef/mu+5ZXLdgLKUs6
ZTzE69zP2NUUrybBmMXAoDDajfrMZ2gZdPrLqMwBw9l1O746KBOuJJKhPmYLsxWbdtfAieMC2Gds
Tol74AY1aIt2K4fPgvFniSFvMGCDObewt2yR17+AQv/NTswko/QNwCr8sO+2Et4bYl0b29qpkbKp
ir+OZziD78N5vQs7J9AnxkpQtgXNjdPOFwKxCRsdfml5v1tHO7CSHg5cn/4N7ny2ONpmF6ZGVXU/
Ycya1XC+GtyczuCgwJ+dT9+9U/+apnMl9g1pgtXrBg9u2lR+pC/PWVwEksV13SS3LfssLPyOTqIF
Rd2gidCKuAVqSBvokpipNt49NIEsI+dbI3TIIoYrmreymZ4sRbvNWboNK/M8yuI8Ksq+68VpxLQm
kiRYRnfj8HY7OvmXfOLxzCRFlQcnJKiJ+4xmGWli9HSTrp10TAyGXp/wbKXThxk5dBgmk/QXN158
0ad+3VoeGwLIBmHdCOGh8eLsInZiufZHnhMHxv8UFGBVoh1CBs1tGW1nuRwhvPaYTw54d08V7as+
FU/8yQxznc1MrzzD3hfAaRZnDrFnpzCLnonm3na1hO6QcFdwI0+YF29aVWDctdeLaXvVGB16fFv+
kKoHq3Mvi+1gFAx9ORjvvUagqN36FTPVuK73OhoC8sho/PWV8K0o9Sdrl+v1iZOccA6CB12B6QvT
XDFdUxEHADt7pVx+w1h6oIlERxMxM/Aslm3pd0vh1bl1xBt+aMr2vNTjDxEht5TQ5tpqDzHgcvlA
PSPjOuGEd0KUSIE+oE/Yk1PPrDK/1aKtXWrrCJHIXZyDEA4VoqDG/VO1/rAMWTAYbPpkiBGyEIwf
dzDi+dK52WtMV9DiTxC4mkXvFtelFuJMQTZvKCZMBEpGP51jBapEu5xd9XOW/L9sxMwkGv8Yua0d
SXAkQ5m4YjpeLB+l0n93A+UtmXjkeRylKkkuqNHPhvB9URQv0+3n3FD2Qzh7IaBFls2vOlXdJAg8
Ya4bVFqY7kzcKFYRDavWIEtJ1oCGGIZWbj0+h4XhWTOGKicrjNWA9JuTbRPaeJHjXmyQ2SgdQvRZ
ZWMnn7q5eG5tYdpRz8PDwW2qsT8YoT9S2ZVRGpQl+g/dSW/Ks0q4tc0O6nxRryIbHlmEO1vLYB5u
g8HVCRtedsO7jba4yDLIi/Tm5N01kZ/qkpEsVXZr7Kz/Mtbhib46TwYPV8Nwhs0Df2kYvdOfHpl6
QB4Z2pfedd9Esf9omv5iSPwPUDqklfFVrzps96uMutyMOZpTwZqD4vEkNeu6WJ4cxaTbmfw0nwIe
kiCy5yvRFZuIX58cpPCz4vvoh4Kc0Vh/s935IDT321oYTavVcrdb/cj9h9YNsKuQLes03zLCk6/k
fkbu8KL1my43PgBh3zWXxQOKRe274CVvA4X1QHjOOUvTZ3sBXLdKY1sk9Wbuuktvph9tY21SYZO9
nY0euQHn0TTuAqdBVUQbSSWU6sW/oRYOLxuwS6bHe0PP3k2QYHYtB5D3O/wBAelYOD2Xra7Y35nq
riIoFga4hDFqtD+2kZHKGB8ixO96cd9lPj/lVfUW4wWciPhmKI85ogQqM44ltwnVwdXKHO+B+5Hg
HMxG7HXjT082oTO7L3mefxZmuV3IdLEH9hzQdKdK7WtMf4lY3YtQAjPixwAUMJcftfjM5FdKEiOS
HfncbIiuSKXt7z11GiMIL25Z18ZT34OU6fGdfnQjzHo/TBydZFBSo+zZ5fCD2/SQQz7ptHaOYQcx
6zSM2Awq1i5hvdjFjbEjnoaeBwMReMIgm3U/JrteszmN+FESgpfgyKENj6SiX+ap8JV2PNq2jrWw
Z71G8RBOyAHxgTS2c0WdTtgoyRbeomk7kZFLPf0fvlV9uSnnuVOGK9XpPuaU0UrMrdcRCr2g0xIk
NyXjNscV60gdJMq+Uqke87DziE3eDwVDOjS2jnpY69B4XHszuQgvbDpEIS/8LiseDqFzh5VAIXiC
34KnWyfgQQxHA5pSOo8iITyRAvdpdQbpSWw7cD8Ax1+WmFlzxhAPp3+5PE91wUCdVPLI+slJaSL+
+qBM852oMAgnMHuMRZGKrDtjzNeIK2TLPWNNa+BRJUiwsTAyhz8dizXSvDiYRuqnneErYIVaE17q
Rp6VLn2pK+UQTrFXGem7QhhizmtAw/cwUvZ+6hQvSFkUMvXKIdNtXkwvnea3xNSJr8jWo9FAzecX
0JaNpeFk02ecp3PC4k9jHz3y3Aimpix1AHsq36rNTSOujv0zEeMcuao/YCktEsakWM6SpDymTKbs
kEbHoQJLjnX7wosG2vk3NAMmELgkwhPMCCGueTWI+HtQlszxHKyo81IDUcA627E/thPGaGLX9Djx
MoQPEiS3A9AMO7iuy6QCAxZrOI14xXefr3XjCxEXRwZ3ZAV1OACrFbWF3ALnnlKdIQ2OzS4diRWz
9cB1IcoeCzkUpk2peGH3FfAALjf9h4k2+9rzrbTSiwIK2tWrJv6ksCB6sTuzX5znYQrUBncgyWQD
bjap0vkNVQq2FLOxQB4YFDjPWZ6DoM/KO+uMji6hB5AYp5lY0D4MIVwFP5wpyY2j41W1WkBZ9zc1
DL8sO1JWNFK5Nfcw05xQNG6doXnJM3drqUsw1+OBKNxiNec56SKCT8PhBOqth5LIsG0gqEk383Wu
2Ds0KM7JCeirXg5jDXhBcE61Uc3qySw4lcAtLklW7mrez6xA+06Nbzr1rZ7HOy2HNI178DgwIA3H
kdPsldzlG6KCMNhgQuwY3sjlWCyMFZZ667LaT5fijTDEFJ6pPIXcxgpmHhizm9IYLPD+eETaZUbv
SwkbneB4D3kmlmLbVUkwDkRKoU4JZgJxi/4KjLQs7EvgARAODYmbE8QRbbR4+VAIRhZ1d9HanGjD
ArHe9izx2avRfpz0i5v3mynSTppBzmmsr5GQYC/yA/6yQIrBN0UVGOpP6Vj7MW49LVeutTGeLMtZ
zYN56133iJTHxpsymFMb8wLvduQb6rLrSrIs8SrMerixLUtyitzY2+BVWnLVlNm3sfvHM4OvxmLS
UXBWGFjDLfofjewV9OAj1g6E3WFGHek2TXtgWrURyex1dBVxzHGMFcQI5zt87SE1uPqqtSrTcxjh
d84yollGlniAEQlhtkSUT+tlFudYL29x87hjK9+x8hNk8jUlUj0i4mkui0uVLruS0iSLPsYOqFxv
17pLNq9BOD5e/dHMyLghHq3cyPbYFqEvpqdOENKiDCjIvOB5ueOhJm+2fKY18rWM1uqYNuyWaMIt
KKanlnsZTU9VvhwULItzz1jRIjUWMEOFBZHN8gqgtGsTRiqDdmW/GB8dzuN+PBk012m4t5iYL3jT
5LhskfHvY0c60TxcCjop3DSXXt91qUVK0meH0t73BOSOTOiT5renlpa1xhPoHF12Q6A9042MQQ07
rIGnVVg9x4o8EuSo0Ci2obkcCCjZoEF5Oihyar2VWsxUkSiiqN9OxlmNZSDaRxVHkWGeYjX3CtqJ
sBl45P6S7mzbzI/NQ45xrav/o+y8lutG0i39Kh11PegDk0gkJk73xfaW5KanbhCkSMF7j6efD1V9
JiSWQpq56Yhqisy9YdL8/1rfIvobxhQb6ZjzmmERYMITmcDjnJXfzbZBRWVCg5z8l4TpQsHD8sdk
PQ5ia7f9Fx2hVseaWaLa/5Z11EoMfA/psDOzW628bbIr13eXSWad/cnfkYy0sXFfFSUa33Y4/Jk4
NPFEtRcb5m4hvsExodIbv0JUPJhB+RZQh65SE1AAswPWnxo7io9oxAeT5FPgwYi7Mmqo86xFM5Hf
6uM10Uubvr4H/87do2pRJfqmz/X3Ui+/JL3EZEYBmHpmtyli85pSKGANX3vXowSQNFAaQ0QcpbtH
IJ+gWyeDGJqwuA3r/gvPC2Vfq/HWg9WuzbaCwVQ/+a751ZTjsZbxFT2sR7qACnl+TT17YklKOEbg
0iqEs60xnwonWWHB4jJXM/oFeWBq4OtlOpqk2iYJDi1niO8w+z9Z1ZyJhL6WoEEcRZq/twP5QGn/
qRkjl/Nmu9JKRO0d8RoTdSJkl6hRqwA4aBjL29KhsW8ZnFXFBbEC8aVXPjCuwuUI1HIenmCpj/T3
Idbxxgi7OIYlIQmIjLe6CL/leE4tq3wZ6WbylBX3WBcguIiB6+HFGT5KdD96U9O9rSaJ2zLbWaUH
jWfESsUs9BK7EyQGUqeorTCbwpzECgj/RDr1E/f27KXBS0eAGG2oHsC4rSXbfJqCF7flYNulA/ot
8L5rMNYe2C3qboWTpFd52dsnSrXpM/ke6GM7HNZp3qlD1OUN1DVWmSifHOod3nPtkQ1gZPVjoKGF
48hJuAIOTijeqdj5YdQcSFuCacmm+Tpxaq2gYuWMZ6IT5lnAyFrkP61u7SD7HuuGjIocV39G5Ta2
qTOTTwA59tD1nGS6NHqIJAbGKHq1GqC7VuuexDyXFgV1j4o3iAbQcxA2+AQ54dFUplI86TwgJjFn
UwRKMnZCAjnD4d3KoMX2qbizgjjfCF8DlmD1KOGHil5z4/VXhqEPu7Gyxqs8UvFdDrZwLaWOzE5q
qyEdEEEgn3HtCYmOsv1LXzTxDtjGomxYPKzuhajyepFac5uG5mIbtER+VC4hHvgWXd61JsywX1Dy
RUQTCHz34MZ78Iqp4R0V2FNfSw9hARk2o25S5jvRFFBWibfB3Rfr6kJZGGWaiTgH9SlqNBz8GjFs
pVlytLdTb5VnTKIiBZbjyXKPW5CnXGMLTfsz47zphAAvscQ6Hapa4XmXBP6YPoZnuCSbgoW3lTVd
3vJAKeBrOKVsD4Nyg6+wXg1CYwNhsmPsWjR4aiBcJMg9AqyVveditwsR6Oc0neushYs4uPiKNO5o
BKlFh8xLd0Hf3oUhpchEasgH01vC9m4CijFhQDdfdgQR0fpq7NtOt+6SlHKoJrqHMe/RAGQ3o6nO
epmeo6K46eoQz3gD1aIZtl3FgdcP72yzOwE9xx2IHH6wrlM9fTCAzxQYx9AXY5kYByrcuW9c6ZTT
SkcsnQmzNBav1hFncyxZHbXZ5JE2FOgxdkKJYpn25LNdsi3iFGWWkIdTohccWBCZcD8MDe64a9kQ
B404WvO8y91AissKnC4Zcg3KVbdiO4X/eUEkYryRAHG3Zji4j5WByHECqvZeigRZdK/scWdJw7hk
abJhdnfXXm+9M59Cx4HxQVvmYsfVlddyvu1yaus4x2nNev7SrkI8+10vd1mIHNuKtqmnyDC3IAyl
CUUf39D5XjCq9SYDV+qzbFvbekyOADrXk4tKKkMBuMOICPVwHPyTndMgQS21dZraWaUdoTptcHTi
9gKXGd0OmR4O1R1LIX3W8UzCDFM0gjzun0zWtsju/bym9gSlHNZKAkyr0qnmoZfhLtj2vQXwua40
e0vpMSR6DjBZyUFlUYzdW4pYDKSPA02ofnJg7OCqzbHLFIhW3Vmi2Bacq4c3fUov1tSSHVZ7+qKy
/YPZuBIPkLVybNAgYdxtezx8NaTPIq3OJPrdNGSP1K5G59FhX6FRA6p07a41xZtj+C9lrOEbQ+Zo
WhZtRBQRpb9RSYk8L3v0Y+MqrTUIThRJU+O10psPUYPvMme7DaLuC3VqTDXjVVRmq0g0mzpFY0hk
PRCyHbwt1EN6daYotAQihIs+N5+pue30ngujguzQaA6/FuSbwSfIkJIxnqawvZAina8aOhJrzQvF
ritAZihLvEwuDlmqV5BzIx3GBd7ShGfkQLwC+h4LSBeW236PGrc9JKVRoTkW5hF8w4g0zWjtR/ql
iv3h9CWcT5WTmYLfTSpFwyA/IHo5k2J0rIlC6pNsG6kMFwW7qIy8TujKFIdg07yNVQD4OmE51/Lx
0ukGG5/QAw83btpZahi5VxCgQzZ+6Q1dXbz3+MYq1Z1MVXUr2ZPnmbP344L5y6pM7rpSRxql5j/a
IWHqSzm/iWZ9rc2Ybb8I31sN2qFECNZNak4yeRxl81ZSUVn2Dho6msKt27xHsbWs6lpuhGhOyUjz
gjP1U9JlCOIRgQYy2yMk3aOfVTv4uLRLA+vkMC0ObY/JZRY96hVmGkfUG3es7w0TnCoL50MmndfY
7W9U5n7tdOcOgtHG0fNTo+Y40OYtzj20/C7+TbtDJkt5ftGFPDM53tCCo34LuHEB/eF+sOQDgVFn
o/4Wmvg1Aru7MxtYBxmYFQRdA+3JeucSuuYGICW1Ptnjqu6X1KUOpSmftSK473B6LvIEKaPjBMjt
U+RYIEksB0oZRaoWCXLNsbAfAHzJQ8K1cWW4xXeyHRpBxay7aioCAhJpz6/n+Czz8Wz06grnJOWC
KSQuR6wLkRRbHISLCfKDsIhS8R3sTDLOn2JpaDQwkc7TY9qwCbhBcryRI4A7I91Tt90mmWRS1y5N
Z9CjwBMZ0XNLm30bkULXcx7ryvHgl4WBmIzcT6nDVxadpOXtEJOX++27cob30qWWatd7itVY/Qe0
6FZLLzIPbXJ/wOPSloApQys2YlO9aIX2UYS0CAhpmBYTVSgICs5RhzK9QsYJ1qoAqslVWJLjhlGv
b/u1JoErEy61b1vQX21WL6q8QgHhP/uc2KwpBN2dZySyuvmbaIMrZUngpTYNOM6bpJzJqqcmHBlr
z5DFlgm6IRcAlQIixpmoMk3m2hjS5kkjTfyVTWp/nEj/FB6oeRygMrv3uP8fuVXbt0TVRUckkx0F
A4elHPNYe2iCTqJjyrFklmHz0cS9eC6cmRzTYjpa9Aln0gZ4yCobOdtVU16vbbvz76uqtVG349aR
s2+L+9sF/ZmUUOqLKXYuw4iP5F7uIRtvSygNeiRYnPJDb8CPGuMHXQ+3iY7sbSgpBjt72lAHP2or
WD3uPkeCyanu6E+tuani5BUJ371DLCpkcMruKX4iYhDyccQg4rNMGvO2H+3GVje0t8RyFAnExrrr
hnvLjXTUN3BRDWHwxtEzmnrxRVMISq18rthlJrE10w2EjHdbORfVdG/j3PWwkeIpk+A3YwpBI7XE
0HTBjczzZ+THKO6ajHj2KFmWtVZiB/Q0FNVkr5UZLlgt4swVYuZFthsjnSWRRhPfEj9fByVpUvXg
nJraRcw9L5fFtanGDWL0nfIBhzUNtUYpykMixbtu5nfkmz0ODpvQEuaoI7ru4pRYYYzUJLVAfqDK
mini6BCFTelhHMaJoCkSYW0DNYk5ynjZZAYExqb54HW4sc3qVuTaibULGISk6UNxY9MkYCNSAkJC
Gse9SB6s1tMIHE7lxsibfQGRCOdFmlNCq+/zTPvqVnyG0awQLgNiESVbMz/3D7XjXxAInAzNvBda
QaCNv6ltCVdurM6Da12StEYmHzgs5z6JC5NCipL3BjND9kyjd1oGBgeeKDtQmb3HDXkcp2Fl6tZx
SIpD7brt2pCjv+0L1CGRQccGxYRJKkSSetUJJ7i3SAx17bdoWAPU4T1BYlF/7Az9fmKfTXSLS1HU
LAB0w0IfbOQQbHBfpRuhJlZ0x2GGZmRFhG+xS1HZ6Sj6liOK/1BH+TSm4Aeq0QaDSxLEisNesW4n
GA2UZy7kHN878dADAwrWdT8sSVbdRJizOknvgkjg3ATumh0KoR8mvViTCD8ijkygjUXejRA0egd/
F8TaqYn9OwdTXQEfLNNnFj5UowywhO4s8WDi/RCraqhWwmF3xZPWUG6dgm6XN+mTTYmnH4NDHGDu
au9aVv7U9ldjla0MBxCcSaUXYX2kjasaS7OHOnVBt4iIsewWAPgEBT1/1sRDWDWrIOCCjLV5ULRZ
KpIIuB7DhbP0SmfzQ6jQVqT5ilds1aKtt7YZu5UcGhiUJubCR0IAjgW5ijSsTrOLsCc3Kp866LMF
bEIP75lJQxQBRmp/VakNjQKQKMcoF1toZOpnvaUGzI5jsktKzdV1iAOQTd3aIO656Qh7NdLj2B9z
MZ5Ho9wVwtubxjfir9e8DhsiLFn9qYNBCHACKNJ4U7T0lWbZpgY63UL3CtU9WR/bQdJuQ6HuRMMj
zd6T7AY2PiY7/+Qlyik0tmLd+WJVkzAXBd0dTKor2bOqO2Ivsq9lIPB7eGfRXgdcGjvEVitXJUlm
uZMeizLYSHbBTWFfevq1QYI4Qhb+i8xJ3AnK17b0TkqhhtUjWIlue1NOr42prgzkslV0F+iPfevv
42IgoIxzu5qbzqTdhpzC6jlIJF4GPPQFnq3CG06w5TYdwjr9BYj8UatJBoTMEiq1bDNxE08PkNqZ
2UtGa7curRObph0RIibUsolpG4v7xuhv9PLDNOmt2C8eAUxVmT6ZxVukBXtziNeInAYTeVXwrjV7
Q5s21XjTgyTQJ3NlUMyheLaZxc9B/UXgLjCM55Enz7TEGYb4pa+ao08ajZ+/YOFdZPldDuXYKcqN
j9iIQoHWO8t8glptR6dBP8v6nMrhS0cyoRyBtSgamkrbh9hbCoXBcdLvEPxt2bJugM7AhqTiy+Nq
FfYTztExv4/atxJ1UzFmLwFhSoIsxsyGoNZ8C7V7w1J7l2WAvgvH3aMfY7dPzlLdccZeJABrOv4W
rFQCQKKd2an7bKD2pbd3hGaSuZ3u2X1jJi7OrsAsYlO/7T4iNM4zDKMz9Z1h1KvKSPa1wmlWx1jk
fSqMdrE0kDyz5lM4CuAYQuHG69+AciCdUo2PxFztAi8Af5wuPe1BJhOx1Fj+s+cBJgFm2opmp0T2
0WMAyunbBfGr39+QGHIf54RwpQmeVA8gUHRr1GeysNdFJPeVxJPixgk9xWkpCzoVHBYCLGeTbgMH
mxZkZiMq5am10XTT5A0j0BGc6ULHvgNF8YVi5VRdt/R3PSRrMoPwicWsqAHIA0+kRcxJHhM/HtiB
nVBeVyDFnDNn8FXekp2YUzKtrOsZ+ddlIAgt9q52ieUH7l0Tm09ZkH4tK9kgG4sflV1uC4OeGXUL
PDm6jfk2/VY36ibnVsP62BrkWri2PJv6RzO2G6Tf1CngjEQgyRyfeTe+ATt1KDrWLjWmz8zWC+E2
657Sw1ipxxogSeUd43Byb7rRuwprgttTTbzXk74fahNf+GA9u01zIGuTUb2bavAOItWvzQC9hIHn
1/d2QxNxspM3TuOimcmukyB9tXVW+gZCDes4rIUyKVHmctBXMaXnssqeKzf/0k68FKWLvEZ3r+04
uVLzlzQrTr+IAlAF1Ga0diKUdhqa80xQGscq1u5aK7yxiWlXWnpse30/6eVKs6JLnxGSnMFQ96Kj
VQ8UriCHk3CI6lFXe2WgXDHyqz6PLgGp7skEsDwAv+nXl5jsnMSllm2LG9TspyG0jwE88n06A1+6
GCFjP36zIrDgM/h/G0RNgpmMjXCfK6r6QYFSGydy7t35YXyP6rVkzP5uNMQ5Q5uSmOWhi70T4IMv
2JQf1DA7DAcg25X0PuqePV1mRtnRaSluDXmVQ9+o9pQp0Z/W9PsLRK4tHUJdle+5Q2CnNh2Zv1cB
Ee+s0Ef2ogZVko52rDqNKH/bRjvpoWmt687/lneIBzJLbavMe/eG6gGI2TkXAkWjqV2bqc8uqZx4
d4JXp6DhnM6MO6e3XzH9oWScta06iHMKgld2pt/gxn123Om2I8EBQSBWVsVmg4/pLkiu5PMX4YHD
wGtrMkqav0UlCZt6jrkjHd19QPwRuvSE4BqFuCdwHmJMJkuJ9mtdEa269KvyKkOe4gD1VCJ+V4V6
DQGIUxQLN/1Iq8vjUAKUyO3QcATFEr3C1onGjwqRxgAch5g0+vyx8HaBYb3WvfUEp4AotCY4gPGk
bKHBpWvsJ248QYFt9Zi2ckdPaz/WYu8jCSkCpjgEwyybqf1q+NYTcfDV0mKZxa/mL2EfbSYH8DoP
77WRl/uEFHCRj87Sp89hjdZLW2aws9vrIi0O1TTRbfGry5Ckd5YG2iCgpemkw8YlfSL1pxTMJNWm
Qky7fmjXjtQ2GfxaOBwEx3fug9+Z103hk1QK/luo9sUSAzVk270XsyqkgKdiWuHFbPVbSVhs60/r
uEcvaRYIp0Npc1y3ijd9yK5t9M/I76lrpukrV/E68EZIpc49crc1Mt+vRhB8oG44iTz4AK+w9YwW
82POsV1BBNRo/iCnBDRAw3qokhMKFG2ZKBiFkf4mhSz2ChAVhUs4hVR7X3UB4wHmD5ZZItcLlfUL
spbDBdY7m5iGnNlTKdyGOimS7iFPPLROQYdGTaxNU3xr2vyoTwUiWmkeNPK6On/kVoj7DqwR4H6g
aB3km3BOMfgS5o9+ZjTn0iu/RQUlVYPAeiyibUhJo8GPxIGhBL2YleZGGu3XkE27X4ZXeew/kPfw
VEooyzq7WIJtn2XDBaksNMRh0khqbcFex08DJNDBVxqkX1QvDowGooPOQlSn8Ux1vogEt9FoowP4
4x//9e///jr8b/8jvyFEws+zfxAceUNKXFP/6w/7j38Uf/2/+/d//aHwogklTdc1gKJIZbkOP//6
ehtmPv/Y+F+AoFJygIvgxu51OPGuw4phqVVfusdfD2T8biT140iZR5pm6TJS/Nitmr1z7NuVeone
3LN9YG/zMRMIbtzTn6P+1w/fr/7z+34lwK8K/aD59J//vi4+srum+vhozq/Ff8+/+n//6Y+/+O9z
+LXK6/xb8/lf/fBL/P3/jL96bV5/+I911oTNeGk/qvH2o26T5n/uxPwv/19/+I+PP//KPZTWf/3x
NW+zZv5rPkSCP/7zo/nWGab47gbMf/8/P7x6Tfm9w2v6Gn59/dtvfLzWzb/+0Bz7n66j65bhWMpU
hsnN6vHuzj9R/7QkdgNlWY7Q2TgyTJZXTcCQ6p+2aRsmCjBlWo6l81s15NX5R/KfsH4wzegCl5Jw
pfHH/3z1/zyEf92Vnz+UDPH9QymEI/kMhgliVCnpmMaPj0oi2bfbte6tUzQpFfaKCOHud1fjJ8+9
/M0Q5o9DFHjAwkmNHJSK5DCl6jCmt0N33bGl/PVAnx77P7+L0pUwLGnqHEY+vWC97qQaVStv3WXa
jjgIyCyzljL9zev1u2E+vV3C6j2rNuaDn3+DMIlKj4Gf88uvv4th/f2qOZLdts6jo+u2+DTKUEdO
UPmoGLVjtq/eyyX766NcmJviCknN1vnNtTP1n4znYEIyDFvZptI/PQjS6rzEKOD50sF+dJApro0V
IFJt4S45H98Aj1h2jxjtqmWx5Py7xo7z629s/uQ5UaYUyjGkki7378fnRDM19FSqCjbRvlkh4duk
62lXvdE928jHeI1nbTluyr3zai3tQ74ad+Uu2jZb1DNXv/4kP7nBP3yQ+Z35bqJOe5OaquLAW7LX
7cNzoS4OKY6/HsT4yZv3wyjzp/h+FBKt8MLwdcUWecIBJVW/rNZwEFbpKriotXzQ/pqhf5igv1+A
Pq8L8wvyw5DzHfhuSK1TfRbpDCnPGBmXPb6MK4IU9mIBdPVWHvu7YP27B8uYX+/vlr2/BlWmTp3O
lga1nE+DOqGRUQNGmrbUl9MqWJZLKMJLenyrYlv/5t00fzKaqyup8+qwzDKnfRpNsy0CdtJwA1b9
CuLsFXFU2+imvUQr7RbvzDa+0VfxKtvG1+292gFE/819/cltdefZx1Q2U7eQn25r7ShjJNEu3BTl
PQZhxGu/fm5+8nC6NNeUIS1dueLPy/3dPUzzeOwI/As3sc6+sL8fhlcEqr95F386CDHTimVBSsOe
r/J3g2TVxLazc/GJ9N1LjJxbL8xxkWLf//WX+fvFcoTtSIcng9VOCvfHcZBIOk0SV9FGL7UjhUSo
SdQF/r/HYCG1dMfmZpgGy+UP36UQBmC5wYw2YeAezZh6VmM7w28G+clT7iCvNhxXcE9cOm4/jkK5
0I58E8i6cw1pe5msgk11FAt9Y62Lh2D766/099szD6YkwjrlcuU+LXQTBwRXIwJ2E7hf2U7geKPn
+vHrMf4+G7MaGESvmo7FrPz5OR6s3B5M28PdNHwJY5rnzZ2yvsWkYf16nPmz/jg9MI7t6I5ChcM7
82l6GGIznDIJqMCnC2/WbyUSjzT6EuV3Kr7/9VA/WVMZyxFsdSxD6Jb9aay6oUGILzXaGO1CbcU6
WQ0LIrFg5CyCW7kh87L4zbf7ySzv2OzhyMJEr87W/9OtcnEFl1MqI2Y/6v9LDNBrb08M0MLdcqJb
ZtvfTvI/ead+GPHTDIhvkkzwiBHHg3ng2BW9GItoRalqibdBXwGg/v0cP7+nn2/i99/y03ssJksW
ku71hlJjtNRs+US/dVtMiDrVQMzARFXRb2iCOHLjoH4jrMJELTwht2gBd5Edtcyz7j7xjW0Si1uv
d26xdmHL/vUD8JtLI+Y90HfTWhC0YeUOXBqPHkAXPuF0+/UAP1lhud2miQjFFQ6u0fnN/W4Ehwki
cDMuRLNS6OtQ9K20t/hAuNI6P9Wn8r6hzriNfjMf/OxdtXhLYUBK15T6p8sfyrEmOYt31asc/OVA
7omLBJW/7gFG/Pob/mSB5RtylnUsWzfpr36aTgNX5izm2vwNi5N1F141G0Bfz0g2FqCFTwNI/i1a
vQN9iWFNJMWao/ZvlljzZ3PG95/hb5OtCEgx4/tGe3+nrdSSq701l1GxQFayoqqwrE/9yX0ETefs
os38uvG5nIO/zC7aDbiGX1+Tn84r33+eT/OK36RtlPZ8nuZZXfxdvYVzeOz+3K0irNmq9a/H++lj
/N0tmH/+3UMmGwGPKeEW+FDfc3yFNTL9Xw/x0/Xs+6/06UGmN5iANfnzEqtDtvH2/t5Y0qZekOq4
VL+5ob8d7dPG1PSN0hI5xIi/ZsmMrLmluwTMfKCmdw0x7tff7ncX8NOkbJKIkboqJCTFOOfBo1b9
7vDGWfxnM+J39+jTLGyQKYyYF+NJWc9dHIVIX6YmWoLM88iO7wkugaipoyMeg9lNMokD0Jh+ZZIE
tgC0iFwuQN3SDNhhh/BYTiRoUsWxzWxXeOFSiPzZjX2YGBbpByiwYVQIDJQAScMQyYs5NCRVTR9t
4x8KmZ0pWK0ze0D3q7UY9nCQs1G6MV1VrZE5XiOpCVehQ5s0UP25RO1MlMkXww6QkIfDLjWruwQl
IBL+6ElPh6t+cr+QsnPBUWgsa4ITBycLNn5KR6XNqj2n451OhJRWhbvJCCzwYxFJxRSLhVjUdnzj
FKCWY6TkXSPodCCtofquPDS99BkyrX62K+sBAvNd1PrNYoqqt5QW3BIs8iPyeuDG8lHBmtS16TkO
8E9orgk5NqMSr4hmclv/W095bVmaMHgdJzVXvVtfZGPOmSqAljsTRmarkIoFJsS3nkYIQHeiVrlo
sGgJByC8qLcPJdU6LMsYAsgnXrmwXGGmnyYAxKQuXUzyWHLHlChbs4HkeErAES7WyZu+RGToLkNi
zZI8eGMHB8QKBvHKgy+wdJEL6vbA9+/oWSdEyx2l599pvvYAkvfD8M2vdahjUscw22uAA8zMO1qp
swVdth4743EUhqJNAO7OgG9Xz7qR3Du7+bixEA4RTNBuY3rSJHjoB8Ohl5iWQbgdQzxMrnFd22iw
UkQAyZCdsEvOHRO2B85w8ag0rwPqvyzIrOKRN5BmQ+t1Mfa4Y4exdE9B7D7UJihtqCrnCoW2bZP4
QF+RdDFk4S5qekQ83/Awv8jQ0wBCDrtMT8QqD4BVi5yy/hBTXshpebsjmWVVLu6rkM57LgCAEHwb
GPjgs/yUi8ZctXZwZQQRsQyB9Yq2vjnHJlbh3HkrIpKyR6O7Q6Njb6Anjfux7KrTkInnuIkfR1Ay
GGi8YsvZM965Qb+rW4Ebu6pWqesSSeMN2tIupVhE5KbrY4cxedoWsXUYJ/1Fz4tvk2Qnmuv6rm+5
CanrI1DL9G1fWzj4/eJK4/9f1F4PBx6YsDXeCHP4KjEMosm1ZkNWOTd6EPSFWrwL/IqqedTd21P8
7lchTn0UDG1Nwlte1BLlOjQeTE84Jug5ufFDpEA6efZWG+2HPsYUxj5yhvGUW24JqNZG/1rP4vtc
mdm2lah2YyTPE9CtB1JaPpLcAVuuF/QaYgNMsYPAe5GE0JusQsbwRnT9Om042LUGYStlyP+0QWXu
kOSxdo06HzuJy6XdIIwO5ZBhrjQ0GAFq1sHl02YcG0SnWf+CE9AkdTyOd0XjQK+1tHtrIMt6HEz6
njWpzRE6122bIHKVsQaPWdoHd0jLcyB6l+urvTY+CvkmCuhmwrche33EwQxFNEvSg65HV1Ub3zam
94IKFL791D6MZbhLq/6gKvEyVs1LGsBpjVGhiKkHNZuNxV1ggCDQ1UdgJfG+pe1b+5huEl+7w0Fz
ZwZkJNaq8IHQg0MTYp4YNNR8dlIuAjcaNgjaw0OFeHzjT2QfegVJ3rnyvNOo4A71wt3lpvXoBQVE
0pLNLeDHgcAVCutW30z7KrbTfTiOdJ+D2oRjjF1OpzSARKWYNsgji10JMq/XY5IfklOYuTsERBuU
iqCMxAbe9wox8BdpI5jO+tdYOd+KvgALVa41MzqH6IXgnVr7uNWAftnZR0eGpzNqTzZdc9JWL6HJ
/ZmcjCwIiQAqjPxTmVpvYhrSBSMTmTcbZSPpoy+akYh1isE4GR50SExGPV2rSV1j97mucoJrJBAa
g6ZMMJaI9JCZanZ4m8fuOaKx5PbhrQ7FrDSKVdTRi9f8t9lYjWrojrloT0ft7Pj1Tu+Fx1Ix5hu3
IOFgzi1Rw5V0cRxP6qoDDLroA7DRrX0bxnmFFx5yhBaXMCssXKdWLJ8L/PBLwr23FWLJPvUeVJG+
2FUPpy3buXic0TLGPpIEotzDOnaWOjb3TPfgwqUPWGocmMQxdNn+pXar+8SwL56qblw/vi4Dh7gH
v7kTBXCDenig+dgstGR+psr6VPsa/h6fNp1Wx3zOQdsjS3/Lkvpg0oTHgXAt5vyixELN4A0Yq7mo
q6iv911iH/wsuItG+xpjFBocsHVVlMz2PDK/mYVoqzl18xJYw610EarWaVDf49ZB7h7r0/Vk4b9D
o9sebNSSOPD8AGTArFKrgQoG+YsbknMVV+yS2FmA/FfIcNvhDU/XTV/YZDWbINLyqe4RwOFvDWiq
LYIu+xKZs3HevAT6cNUUkhAQv6YnGtAeG0KDh0oSPeN2D/loPPZ9sQllC2NYF+MliHlgkIuvCivc
OPWwTrHbOlO/A17XrUw2w0SYDFveLCTO+ZPygT7N3rog6ZdTp3ajZj7rRr4bnW7t2la3HUmiRZfV
H4SKDoO0HooxeBuZotal4VOBFflt3MBJVKQRY44dHgB4giWpIrHyGk46foQtOIoRnZnptVW468gW
MF+StVYl3zKnvuk1UHIQKAt0i8OwVcbGhd6zDTws3FnLNJ5MGNKGZIh2RY+7v1f6vR3hI1XZfeci
6yH7EXGxPE+hd41d8Suv/HCGRbA10KwHMEkMP9mZosABqm899ueL1oCFasBUZndTvHslPdvQJNJg
1onUYXwsEhHu/dB8DBR5QSaWP0pfjyN4EUHkWDECf7dxma1AS4GQnXSPpRgqKZj+qquvqON26zpH
5cJfxy5T5xuU2gcV1K9tON1NoKXsiQWmTPvrarKglnbmlwZPzkFGhrZ0kK8gF7PVgewCutFadVtZ
zQ2pwY8CgcfektVznFY3nuDZiLV0VZrek4RIASKnekwEfq98ID4b3NSrLbp92pLighu53JQorld5
T1cEXtwl7+S97ov3WEts+GkxS0vmblNZcTrsr/MJgY1bWB5xZwbqPTPFy50NPf40662UCAX1boQD
0LbUSsKUF3R21oA5IwnHyf1dVMl0y1n0Bt/3xezNdS/dm8CHfzBNrCh61G2N+eGD780OwGQRpzBx
ymT4LKXfzaa2jxqLLZAwddJGIFBF/T5REkMRVt1AEcWSY3/YkHu21jhxmfLIZUWMCMMuYJkqoad4
ETX4alaEvSmux/oB2TGghRgRvZthV3V686GRSOrgqh50GT7m8yRF0Ch2JJ3AXpui4UmH64vNqw+v
QHtgwxk0ZO6YZ1PMlkP08ud1LOqTHqtXLy4w84/Zwq9wuBD6dzFjg4DuKN6HYXBfZ+lloBEeWC3a
MMg0kJXgLehvaE/JEjDkxvYAsgcW/XxHa24hSpDhbeXNpq3SnqcM+WanXYSevDljhrmmyK/jjJhI
C++4jrGmacqZXDS5CzEk1sor41vsbXeeTrqTNyEvb40+WTpJ9UUPtXKlV0R0+rj0uyopliioz6OL
28kmSEno+b1XtqDm0WGp+CG1JnNZFWxDpBPi5AnZDbRufAojkPB19ViJ4JKW5BWl/4e581qOHEmz
9BOhDVrcQoUkg0mRJPMGRjIzobXG0++HrOkZZpDG2JnZiy1rs7a6KHrA4XDx+znfSaa7IoQpXLDp
pSipdMg00wYdwipPndlbYPZylBo6DCxKSOz7LNG+xbOyJTiZjktkr0fCu2jlVTJFzpg1V+WMYX9R
j5GQvgYG7BBzwihZt8YNwHO0A3q0ZxwyMTXkuJS7GaWgvqg/GoVkgIU52pkXi5yeLMXJYVCLEFfK
99hCfsR+yUYZ91+OUV+QX5RoOfUQLZBZY4MlaobcoPauNdVd1U0IqEJEskM1HZU6OXaFTq639XMc
BIYM/AqSpt0gR7u5ZOX3Cl4/MKYMHENpGhTYqFxqSQMwI5ioP4u8pzkcqp0QF9uRENhlaY5j1z8A
Su/sNMLHLJjprwV3Al6WQ9oXMB3CrsMSMskPiyWrcNr0O2YYyOureE+Ymx/8xFUHu20Ibl+66r4b
2ByCSjhwVUYUIDlINbFb8uDUhgx4WSyZ38j4EMeZfU+HLM/QsqtUlcR1TR3c2TR+6MJUOEYv8s3P
FpVz3ViOdTb96M1Z2ILpJg+rMOw5Qe0B8z90RNl8bCLNepQFOdwYKao4cORjaPxg22V4UwBTKRGK
9AggPNEDGN4JSsi6aZtdEWARxt+NUjCprmRYg5t+QPxYjEQt5smdYaBai2Vw0AuAKqNiqzcvB7gN
pBCJ7KlZvASRg9xCMl3dT8N2jhAbKfOM3heXBshSgpdFL85NKMKoxc24eY6H/CWKFi5Szabm5ZEn
E/6hi9TiVgwK9uZZ/4YbhINvgWE10dVffRV7fUYGTl6iI7c8BOl4dNHStcIYkbpNULGezxjM9BgE
xlzEj0NnkcJrLFjTQxwiEntTQaHwkOe8lSQAV5EToupZ9SqtLWssLypLT1/m2fdeF+9giXwTyXvd
hBowKlEZtyRVnRSJ4EqCQbMrWeqJsF2rAPUs3rDNSdD9y0TwgBq/MrNmxXs0z72OgR/NickWT1iT
BYIMD2gus3wC4Vm0zLgvs0rdlmSrl1j61wgAkn1EMeyvBz3srosqxYlXF7DKkGC9NcmkbPlq2Wcn
ACtZtcB2E5CD/F/MN6nIn8qHtPcjprgNzs7e1yctRSSMta3Iutt2FSjpnZBC6QoUVnrhNzCc09Tk
uIzV8KoJY3M9KVzhMICaPtUvs9B1R3kinevrWpO0Vno+1MYxjolUhFelxXlxVlXCRBWopA3+4GIX
d8qHet9uwoe1Sll4xNo8lz4OCz+5UFVbVSpftayclbuXVabU9rQsQSe0oxvFl73Y44bfIQb7iA55
l+7hyV0DXPwRnGRX3HJIxRWp7b7ugvUJv+gB5axk3FDNCMSI37HedLcbyH6+6jcXq+Cfl2GRTKC0
4UqPS1J+x7u6qMKZVAg4vq3F98b/U4e91jxpIz6BPd1dbvCz/lVpR1KQwaGZOHuuMEhM4OPrNZwC
Yy7h3ebyhUrlp/dH79uQ/36mwIwiTlFURpMd8ZHwXLhZRAjRecCX4huUIA4miAsD59NyrG7oTLcy
ihD1/D6hjUKdQzcvrPVmDxqwb8zuOmi4y9zkGPfuvx4fn/Xju+aks3FK7TFRgpzmKgz7eny9GE//
uwbOXlQOPG6O8Xf4hnybid8S07rwmtZq+PkIf/8EZ29p7KlPhGu1vEvYR+lsTKKnLn773z3F2fAe
mO+ERaeRoqrgGnAO1S5oCz79gt4/x/qm3n1BYr80UHjXJo7xLbkAjLU/l6MthX9iftz+Qr99dnH1
vr2zW4YlXedGXGC+Fv9QgZgVT1ZFNiO21K+7TvpsCnrf0NkFQ2FZ4SRh4PEVwddOOAWPQA884bo5
2KrLxwT50LU2qs911cXrGmkdXl+NjrPrBoDA7LhinrI4zl6/gezqcyqhSyun3X79oJc+pbNrh3CZ
sjAZaWrMkyPKdpEystlceGuf3r+9782zJa2yZHZaDd+TsLVOcrold0PxfySBrbjhPnAfHzFV+KML
rv0am1bmWBsgIuTTkFDjYDf7+fUzXxhEf5Rt7wat2k0d7EqeWe1GX0+ouUkkPJGFKV7QhV1q6Gwa
oY5ZDQBpWcnrJ5mza6aewBk69XihnU/vWN/177mYBCdmEJglozVTPepiARAOr6BrNS/zuUpGxTR5
ClKxhZwnLHNIxlYlwaVl4OLPOJtwglyNTbZzfJ324EY/wwPgGy++grrmC/tgB1dkb2xEt9tEXugb
R/Pq0sbhwrT6Z4Pz7s1CrVKlpqIfBj3bqoRcEKReSRc0SJ/oDg3tfW+fTUI5nkmw0Wtv76zGbb1y
S+a0MxybnUo0ph25MTBjSDM2fqh8dyQ/1Ztt8ZGNUgt/4+Lqe2mUnU1VFsz+0lrXknXBCjRguW2N
cyeDflBcmu8vTBd/PvR3HZwLUm2a686se1v1nrxfzD07w2G3DSPNBs55q3tff62X3unZDNWnbVP3
6ypm5AnIpsGHe0LEjXFhD/OJnnV9qyivkWPoBv/8vZQNdVmouEcSH+AN8ZRcCjrTsb+u/PUT4r5U
24C14xXuAJbhstxTvr00TX7eu//1E84elZOKAciTn3CIdtYJUjibN9FbZUeRiw3TDexr4hJsW7ji
3tfOfQp9F3rhEz3KajQQDdHk+PFRrVFJRKH0nbherItOt9NBNNi4TpgzJKboYZP7FO5uv37Dn+xZ
Oe7oaLAlNF0ft49qNGEoW8NLGnfxJTdzk9MqXsbM4YROeZdtLimyP+pBTFVR0daggQElI551NBXw
GENplPncYdlJv82t76l8nNv7Xnn5+tk+7iN4JBlhtryqIunWv0cVxKMlj9U24yjT7f45ykTbyyeL
z94bwkv0A0gKEaqdK9Wg64dIodXMz47VU7IzN5XPhHCLEx7uxT/HJ67L6+3XT/fJ/s/ko1EtTZIk
QAvm2cJOGuxkDoJOroEzepQqla3gqbQnOZK3/BIu7v8+TgamZqiGJOoamm+E7n93J4wKI0PjgDZz
CL2xFggWqlw1Cv8HnwFYIM5pFoHqCg/2dzuLqKd5t26LJr/+Pnt4sD3cxJxo2nvADGhawovT+MeP
39QZk7QmqujBzg+HRM+EhoFpGU/1diCErbj/+l19HInW2m0W3xfT3Ie/3xqRgj9sLHxxD3rDTzfS
JtqS+Ln7uplPNq+UxklrMLGgImw1z1bHse5TbnYDWvgOrsKpr4zbdQOg+/LjJRnbJ4+0qjMZf3Qa
n/JZU6VOhEcNoNDXcYSLEnITtYPmTC0cmrfcbnHBuWn29PUDflxueT4mSSZIXtjHfjRzkXu+gdW/
uefuCFkEd6z4q2XhQkMfJ6m1IUOV8DaIsniudS4Ns6wROiZ+I8cbCWh7qB8pqxHawxWZdEHq/+HD
4uvVLB4Hwxk+ofOdU1NAyglVofRLQyQFK93UXXLbE7X8ded90owiaXibVBFBsnWubtVKoSBoF/yZ
pfwkkcfN9MINQBx93cqHcUEuyPtWzr5eOM+ULWfA4f+uHzXeOtT/22cnk4fAb8P6IWsis8Xfk4Q8
VVmianLuj4TrCukvUTF/f/0gH6d1mpCZFhS+WOmjcDvl+itpjARmtUck6W5xITv5QeFonrXB0QIc
3i6cS/v4j+vx2ir3UatuU/0o5Y4lcS5QORWsx+sn3GJdtQWHed0tb4YN6ENPuTRrfDIw/mrybBPb
lD0oFWhSzE767+iGuuPeuha+r6YPcasedFSbl1ShH74vnnK1DWHZ1TWRzv379YkxV+NJQbBOAnzc
0wEdYGjtYL0acPcCKb/Sl/rx6/f5YY5ngSYHFs+5hYgLXezfTeL6Jipligg97o9yf1/lr1///T+V
r78qBzTA6o/fjzWLVWT9Mt7tz6XOwujS0kCyCzaFP21bDFDdJkSD+XVLn7yv9w0ZZwtxFbetGAcY
MWZs28trmx/JaPy6iY+dJcmypOLOE7EtfnAa4vAwuyzWYOanmlubgB0ubbg/6S6smmjtLTa7IhPt
+QF96euWi0T2+DuEcAdzp55MG27apr7wYj52Fz5OTJkcLfBGaOeHC73KcQCRgOsH1fdCvG2pnuv/
nM3+39lp/380ymqMm/+0RH8wyl69NMA747r/9ZdXdv2P/sMrq4v/Yh3mvKLz9uD16vJ/mmV16V8y
L5aznKVi7eKb+C+zrPovk5UVtarMqif98ar82yyr/ktZfa2WxirI1QB3D/8Ns+x5YRwKmm5iIcFN
pGlcYp7vUMyMsLlMCAsXrcoebes23CibAZk796kXJ7TzeftDa2eTqDbXM7iDCLi0J/6WjqsFNPDj
zcTZLXTMR8Q3/73lfG0QkiXrky6JQDLOp9DRrIm/GdB7aAht9PAxh2xUhhc9MWcz9Ydmzp6r7uBx
QCvO3epp3htv48ty3xLCvUEIsiXrUfhm7Bevv4t+cNfwbrzd/DNz/uWAXGfkdxPqh6bXn/ZuQk3V
EHlVuL5AZ8HnqnrhHvKIY9qwXz0y2S5Mqwrj9cv2zrYuBmHz/DweVd2Ye+m+dcrNtBN8FO1IBpJN
spu/r2ax4QCWCEqUW7vGJngKEb9Pe4NkOb/0wZjemSRQXPhp0trLH7qCrSEHPcbyh8lSzRFxWy1d
0bmDS/YFSRjb0AOWtjM2KfpwLzg0m35bbr9+BZ82y1GPkxhTp3juM7agXoLIp9kiAy00Ln41o3fO
fV01LrT02fdj4ZU0qXsoGv872xFIC9NIsDbFARropdP/WJ9v9PN7PXIVD2L4Fk7+1493tjL8GWDv
2zwf25OlW33MN5u2b0r12M+H1Lr/HzSh42mk3ME54fxkWVh6q8YVcSON/oajIDQfyuT56ybON6r/
PMa7NtZx/e47aQXqVpFIG8qp/Q6pyl1soGZXw744SHvFAwj1LPhft3m2P/inScM0sRtS85DVs0+z
RrApkHdVuEMsbNsMEQ/Muq+bOK9vfGjj7HOs0UFymKWNf3wm4NBLR3AAR3Edox5QKl2y6pwfnz+0
eLaDUwRLz4eeFltP8gnj7a+6bevOLjJA+XCpXr7+sfNPGo75v7twXVjfvzVzmsu8X2hs1uuTMUe2
Nb8q0AkqwHrTsEDpT+2l6r2ve3XttA+trgUxgwwj5cPGjlQudSCtunBlEgBmkiZSBOqzpDtdLu+N
zleUC/cjnz7muwbPBmdTDRX5B5AAAQXsCn/YQmreycAAvn6u84sB3h3cDtXQaIqjLdWPv7tTGBJI
Ux1owMHXniRfJdvenrbdYa3fyrtgV7urjqIynfkk+jKmfdxY27GzKxc5FdDer3/OJ4OXn4OnkEMc
RUjt/AMhO0A0ho4klHXtAjXl5tHW5F4eM4jTXWUcEi50wLl05U8HcCLWwdWK7KLUs/20EIuCWtUL
b3bUd9ps+QXVx46wBg1lqhJpvkJojQZ1UdEyOwVnJHXoXVEiajHpdxA7zaw9We2bnO8u9MXHVcRg
e/hfv+xsCFiIW+eh4Zdppzl39Q28tFWngM3lKfoO8T+5nb6vS+d04RBzqd11f/FuXtTaJAurcu0R
EvwKEG9hhB1A19H0apcmq3XC+/u7Wp8RPRxfNCW4cxUGmDlARurMM9ram/oNMh51vulxPblH1xpC
KYfO9v4v3HjrNPFFw+d6DDOQikxoRaYRpd+VoLrSIvQFtIZh/rzmfqqj+Dxb2167YJu78MB/5tJ3
nZsnkdUCmWV2Ju9C00mZqh1V+Dn2zX4CjHthCK1D5KunPBtCBBybZjnxKmFIOdX8JA4/+jyyK4sA
PSiaOIDapHd7FfNMQobGYF76uj5uFXi/VL/XOXPdga3d8e5x+zHG4I8ole959JKfKvvA+mp4rQ5Y
sU4Bjmg/9FXjwip7fkb+55smpZRyrgEh4xzHIeql1qsjrWpKeiI/Om0CRxfIre9+aVNIdmHuaXVA
8Ix0af76uE7wvO9aXjcA755XUrMwVHLiBiZf8uffqxQiuIEgl/imq9rd+Od6qL8ZMfC5uC++ft1/
zi4fXrdpqutNL4Xz86uNJSB/OZCpT7begg4IvbYte81dcsq9nrf9Szrkztt6tEKVq2+bCbYG/w8r
bWvcXKrIfdzqrD3xn7/FOlunw94IxXjht1SMsGokbIzQhK+f99POtpi315OyxQ7/787W667ilKUW
rlDWV+oSbjJ8fW19KnRSNYZb8o6+bu+zR4Lxwi6d1lbV2N/tIaRfxJR4elc0DwoFN171hfHz2dT7
p96i8A9QirMnCk2ciwWht4QxfRPFwdYU9Tojwr2Uugt99+mzrJWd/2jpbJfYTnECi84o3Lq+schO
TpNLc/ufi63z0YhAUVJW1BLC0LN1hKgHgpQtHkYqT5mO5Q9WY4e6v2wz4Ms4q/CHmuVrsPSHfs3k
TLuTidE7jL/FWkqs92hT7rQFkziPfF9O16QrhcbrAALeFL4pKMajNr0nf3E3ZvImVkqnVy5M1p++
jndPsHbiu68ZY3I+wjWkkzqkq5EOSlXA/Hs/5e2F/eWlltZ59F1LbVgmytgEnBiHxxbYJNJlzzCr
vVK+fj2GP5uQZS6SORRz/vhQ1RN6RENkAZduUd2Pw1GYiAnWkwuDS15f7YdX/66Vs9ElzglgC4VW
5I28t+x0W7jZCTcrVlSLS97mlR1Ft+19RDYb3c/9qHlgMFy+oFyBMR9+ChtbXYE/ZxE9/KG8PLRF
0sk5h9VW6ggiD51WCF2Mn/AdC9jFix0DUysFvDIys2af+71Kinf8wJUtA8wb0H5XOhqZG6s9ycsJ
Xe4ae26PXN8RGAsvqCKsHI9pMu/QIm+1Ot7oJPlYQXSHsdmbpX2T9uD1AcFmltMuT7UYkVmGF8hI
XxKcFUTUX1kSOSY0a2D5Sk2irb+JguZXGDkM7GbpMF4NJJPWsXKQpztCPUiB43SvEKstd7cyS9oQ
ol+S37Lq1NJ4Ex0D9GEjSOhE80wCvHqRhECspbxrGN2/AZc3awaLnrnjMIfs8HCE4F6O4oBs4/mw
DLqnpA+kAEGvNr0yJdhBk677biQe7KXIwauXv0JBvFuEb7LyrOn9achBmSSZta8rYxsoCP8G2a6D
0pkFLqRF5brEKapVCiEmFXjVn8qalYFsT++eiK/aJdFujenNl8mf9cCJSiBwJF6LTbatRJ3bnJoU
Em1jptmPZsIFY8y+yA5GLeZNHNZeEsDcotFpBDV6L8DEy4Dx9UN5ECj4D4ZKFTsGEo1qesBoScK8
ZqUbrALEexo/EjPcVCKpAEa773pCmzBpp3INBR3ErKrbQrytqxSSam/nXW83emhPBoYE0kSXpMTa
SgRSCCg9WQ74kW9lVdjE8eROI8T1CWkI5PqmnzBQq/uu2E/dz1SbtiQZ7CKMpvhdcIX2ro6jKsy/
GwIHLgLirMQk4PS33iyujquUMxwQvnK/zHcESbl999ZyAqWa7A0YXSwjPOoxLO4GZ4oq+3VKiEWu
u6k5YMH/qShEYRqGH8JALsB1CwEPgK9VxNkQyVxpBvdEGdzNLXJ9HTab2nu1Yr40AigfgOpFRMkS
rEL7EBG5Mi35MYNo32YRiPhXc2Cezt+EKvPFgh2silevnMtDmERQoOETZsSdErltGej3sC2tSSHJ
0l6HuewlpKcO1VPTYjDsa3Lmg1vy+txSvuE6b7tMvT+ulyhh7eo0OGIQVIdt2Ec+Ub1ZGh0I83PL
VLdDIj4mMnjDQveVArUD5guRjHrFOMH+hvgf3SkkjBJEKU5EimatM/Q3QROzuHTkI0n8690iQ3/W
hhtx5tGSm0iiLtQFu5FQpwTscN0vyOMiFjHV9iXjOkueBDwtir5Az4tXnrsbobiaZiztEupFtd8V
K8tf4Jwm1HRndizqV7VgT9rFbqu8DUQYciu/H6H75zr5RHVKwAZeXKX5oZupx3Uw3kDo5OTEkSfj
VkPu5iJhbybZ6qG+7Q389/UthTLS+RQ7xpiUh78D7EpgusjWfFSFXd0QA2B1V9OQkMvQuHoi75O4
Jc3lSHodMAhcj2VLj55U7VkWEq82gWP3t0AmMcbcdcZdF+F2IQzYVJMt2bduxrmzSu9NqTvqM5jm
tTRQwcDA54eIswu6oxng3rEwKgpvS0XkhpRtFnDYYTQiBmhdNdE3GG8cs3kVzD1En2MInhiaMk7u
nzrTMOQfR1AwfcYgRSLLFSZyb6ZXLeh3zCJEOIPfYNYu+tAJo9Cbc2uzGMgoWljE9WtKKvHI9l6a
LBLBYneRx03cqNsRVgUR5k4U/5jGpzrsNmN9rXYPofYsqotDpzsytGdcbH4haLdme5cNJNOmpPxG
2P5T6Az6ZhF/J8HgtXLnZiDhCde0gxAGhiG64zx5s/hYDzUdjD6gIpGY2PUqnJzK3EC6s0c2jGmf
2agcgSfgDpyIKY4wQQ0B3u7ZTULEzCQESGK8FWtj01cqvA1cZdg8gXTbdXjHzOxmvexIwqFsmicj
lbaaoZEPdqcXy7Hq7pPyOaiOI/E/eT1gJOuwzpaesGbQljcIQO0gBY07LW6Ct16vphfCa1wBTXNX
5BtVkpysU3amdsyJ0tZVkstydNwBwUK6iMNUswl/0Ppf7CA2KCoPEHr4NOSN0ndOORAoTXSUEdRb
g2NHaooe8h1ifgh7yXeTEe2nufHKmXT7cAdn266MekeQEObqJ1XGfimoTq/nVFgEW1+WzC5m6VrI
RWxl6BqT1i+J4YGQDps5fwhyyMxW4g0UoLohc2fpahJRdaqgNEiBaZmspolow+F70FdbIQShTCoS
DyFhjUsZPYPJhIhnaooZVZTvzAQxaH7LNnszaLGH09xIlJskFX+RR2gr7a9w9dpuZJVZsAPbYz2C
kj1h+SUcA/wdyPdM2GmNeS00uPhM4DSE2fZyjLkbuzXzWNzt+zTbUX5iRiWipv7dB9Tc6gyoe7U1
JOHarIZ9qIAAJbk3tjxMvV5qKtA6MKsr3JLgDVbCkHRicNmaSOXpOWgtrwtAkYmhX5cmkUe39VS7
5E65IgrxKZFITvk5yn5nnWI45Fa8ELbyqlsSeoHMFfSN1E1kABv4JHF2BwkbBmEvYRrD0og3l2vl
uNmC9GfwZ4cWC+GsQlIobVO4jaGnK60MK6bYBHlP1jvZFuIvI9SfY+kb5G43H1/bIDvEbbPJDdJ8
rdtCNx3SYtw+yjciwV8mKPL2t1SmPkGSW5DcSqySspRusvj7oD+KirqdiFufKM7IlUSIjnqtTj+D
rPMsSfXNJT5FREbXuUY60MNo6FulaQhebljSMrvlJRSkLKuaSaStsYXLTQyVpxBho/evFdT7OpMd
QZIPbawySULbqEK31p65etjrMvmVK6PP4huEJ1JPvY3t9yrXSPHVM/SJJt5G9hCi7uukGY+DdczD
5DASeGu2AXEryG859so1Hl79lxHEG5kIEYXEz0Xc97BFguWulyw3NptNNPIxFssvK3wp1eqbTqpE
SQ7VrBKUg+01S77Vc7udp4clnZ24/VlHzJUNSUFNvu1584JuE7lTaBAwcPJm5YvUQe09BlTPQrBM
S1Hb2jQ43STZIdgGeKwOUjcIRCmLGgN4ULZ1+Kqz2RqmN2tgnAjPGn+6aW3QiW40ZjfaEHtt8CMf
f41F5czDY11AWqmM69l8E9r4IGvadmq1p165ITChboa9Ps+OjHo8NEZHae0F4kuCpxR204yPvKmp
05v5S9erd/QVy0hzmjuCOyQk0420s+TnoV1TDb+xeXQ1cgNj5pamvsmyN3Kn7UXpXic2uGVr7BVM
xbgu2VI3fqCg9J0UUj7HW2PuWAoDwK+huJktqpj5sE0XxclYVMQk2CUDOzT9ez8/mObIhirh+sAv
ebC4E22x6b3FNAh3rW1rFNjiYy6M12jZ5WUAr9mUw2saJ/uW3Uc5koQ9VSzBvzqBtD4DjEOsTk4R
sqIHzwV4D1H8DbvAkWO839lLH2z6LnDMQXN1o7yn9ObNFEdmjL0dWvhEzA95x1PJ01Gr5M1EzGCr
Bw+9LPLHnwhuxHlf2mr4lqlI64SDrGjMrD15Pj/14mg0wK1WCNahppyJ0N7uGHgWoR8FUX7ZipSa
x52Zy4DiC+zu5TbOizc9zm4T8Vpb1E3btV6CrzYziHtTsK4fJmU6SZHkQumypZreGYdDaLG7qX+q
EGj1YhMnyT16JRSF8b4VyXQeDmXUbXqTpM1m2pelSEgyKAnyUeNIAebTN848hzeCbFyZY/qkUgTI
23VVvAvUgkeWv8WsuAyu2ybSX8gn3BoiN8pyo8OfINdGqb73xLksUJuIGHULafRNCxKPKSPHzjaz
+SKRcEv+optzZi/U+rFo6n0UhgfOpax94AlMo+YLnygzm27V636UGcTMzMciG8lfVyvW+8YtOdsZ
dXZfjdZjKN1C23B6VXGzyTyoRNn1uu7J6fRSsXQFJEz2ueA1+jdoUnxKoWtw3kwSyUb8eD8WL0X0
WPSKhwHbG5uKt7hX1nRo/S0kn0MPTtp0FMpbSwrJ5Sk3Y9i7YnYShM7v4PPI5ttisDFSjf7aCKp7
MRi3qsWvVCpXHtrNEia80VvAYKEtdhV56fPBEufvplofDau9FUUT85IozORkAGPK2K1WbXOgF2/N
iG1KOt0SqfFYtgXbe5HQ33ArC7ilBQ6lSyWzUSledWRNRRZTniLFQQcL06UKYTg8bKDgHamYdvqM
a1RzOMi1weZJp8ip1xx5bqlDcbcEW2mMFlvKn3t+hMD+PRtSBmCzzXJlp2XyM2jJq4i5xwrml6k2
vLxbI3KZ4+SHNdpOMohPHAgmlNKbXle8KRU2TVVxrhqdgDGewqoYlN8I2D1jZIuYphuNrJse0gvS
NTGn/s2emBCyuf/VZSxc8VOdn0x18uruN/PcK4IoZyqBMAyp2yuLN5hrQKxxp40iEef9nkxVX9EJ
XgtK1qFg31EuKNX0dZzj25EzjgHitSJKPntShxcB6BLWemJ2DKcg6NUkBbMNIYBZ5iky0PGrZC7F
4k4Wh3uLfUGQP439IRUVQHXVMVEGb+bIURhekD5O091oUDgjqrqLbYtve0FkIT6W0OUSi3QmRaey
vRVZR0VCgQ7l/IL7xBQIVbpS1AV+HHXfAi0C42No5s1S3i71zgxSX0PVytrhRiE1TYKAZlAzlXYt
aJk/kIEdBE4VfAdwfVx0druy5gn1T6M4imyYDeUbR9cyeCCiVM+6ws7VzAl6lpjO3CSEgKltsqnb
F5kNbnA0VjOKSXBO91BlD6q4WZqbmqMN9DwlPBT9fVYS0ZyRPjuoLoTy60kUruaFUrWiHywWDhJX
vLX6AiaIWCCiSDSrcOrgRkhCSjIK8YvUF+sWV4/6C+SCo5X3bPceyQnpjNTOWfaWmgAM/VEn3bDk
YKV1dt77kCbYLjFcyTht+2Of3LTARGT+Jjl5dtaRWLMEGyAHTsgcZTSzJwjkerGClkSbcLLR+sKR
Z6pBNYxQKjZzH0JLYYXqrfuZt2Tul+ZHwwVeS07vQvc2DOMi+cmO142UpzDWPAwJWhD5MsCucLjT
hG0TkY0qHmXJk2uFcY23RlEp7TzJ5qkNRXsk4Y64c2hM3eQLnL4krpFa0u9K1B9rDqIU/ATX40j9
fTQfivLBLOELRKeivm3hhAUtGsvsKhe/x4tgt1bA4aBcR7JdEp2oeZxgPYN8WRBnJiUJGD3sgG/k
8ZGTpl0yh+YEUmVValvwX8ACquO+IF8lbbdLzZnuIQye5z6jKpNc9RpZuv1uUb6F4k9Rv+VicytI
qjtQ0OmWzmnN+wyyY97lXqOU7rQMa1J1t+um0isSFOQ1C0u7nl6ih8aQ7Hhp9jGbyI59caOYB8NE
XSTh3S25yKCs1VLFqrUf0qQ76ki6EG+4E6F4Yd6TkbGZD3P8Ww8em+kniC5H7mPPBOzVD8ExCeDv
Ewm4JMHV0NxQ3WpjcDyK4PQMkZklTwg4N8vFvSk84VxwZOFAGiKksdHGcHKVJ4qjl9MhIFqzox6W
zprbKbkrp/pB5QouVAt7Yi8Cw/ZK7jixKzdmrVMxAPtBcOHMytkP1zVBoUIl7OVZ9cwURxWDsMhu
cFucJmpdzZL6abDsOm47kgJpFetiKfMV1k+9pnta3DtmaQAFJHauz5xQLp1GVk7TyCWYDBGiNv3c
4nNNXswi3ivt+M3olVtDKHcUW4JIPwzwJQO2lbEBu1F7NCS+A7phPf100nMl1ceKY17Z6ttlBt7G
DeaYvOnh7aDum47CqhUCSiJ5ee68FjhiK7SbUngRKQx1unDg2oEA4Lt6SZw+HwmHI9aWIMH2nhKX
Zxiof6mblIDDZHLzzLiE+JkxzpstCcteGoG5LTWvSCku6pYLIwoa204SSYlUH0Tpu9aa2yB/XBMg
dV5qaMq+lKaOQS4hgCb+nX1kDAobapA5djs0RjCm6qtCfWkAYU2d6kAF2Q5mTpHqJQ9+qUZgT+wr
rCDnzJVfR8KzIbwUiB86jsEQ8JT4Npyf67a0F8IlBX3ygyh8CFOZ3OLqGjCiK4XUaYdgkw2nRqIi
iwuv30Uz1pz8kJXNNsp2hGm55YRyrqjulqTmOHBUmdbb7GYcQ0/KJPiUOncD8b7uBzuDuNjCUkT9
bXHUzfm85uYt6clM5bCsJfdyfDvDR6xuaoCOqXkSl0cltnYAlbiNE49CBYuQYElBqZyOUUkgICdi
ZGJzTlUZOh4+Dk8Vo+20hlynM2VhVqjC00ZS0rhpM0KoT6A2ErAz5dXAaTQkB8D4UVnlrhR/CdZ1
TlRp0v7OA+qYEzghdpL18Bg3sxuHBy0C/8IuvsrKbU4tLuuqw5Dsgbfw/dV3zawQfVOfiIx1hix2
OqW/goG0r0BrMSmR0E7w5bAcLdNDZweP7zZtyceIWMsbOLGWSLnFIFaYPFP1WcgGBz4QxaWGaWPc
pv3iJ/WyTwb5uZ2AqjLLyUxkljk7ggx8SEkOcRPtWnHZpwJoF73dSPxeQKF2l2P8ZtNlRSSIt+Vj
lze7Mc2oOGZ7vbVOQYoHPB1cqendeEm9YV42q8MnQDQSKH4DdmqI08VNRVJhsqzfh61sl/hVwiI8
zXoJ2KiBr1GnV1l6bCi1C6zLGrLBWEeNomSO0AlEw1cr6Iyt23Oj/pKt72XBWaoabcLEmdNTZI2B
PXQTSKP8juLgNqhavygelvD3uo5Fko60gR3KRG5Y8a2jhhx1zF0p8KZ1X8Beb9A2Q2TZBtm01Kvc
rN6qEVsmXbpKwdwIlD9kUhmSVHLz+NcI2axp7jXlp8Tmy+qYEdzK2g1gpxL1Lvw/3J1Jc9vYmqb/
yo3aIwPz0FFVC4IgRYqiRIm2aW8Qpixhnmf8+n6ObmakRavMe7s3HR2Ri8wkReAAZ/iGd0jxd6Z6
W1IMr2ztLmeh5xIRb3oP0dcN2gjdoleU990ph2reehGjy+hIyc9l+eTkLyCe3YQcorLg5o0JtZNw
3ROqtxneiXjg6C+99Ki2O/JRN5ObhdQVm7L85HffC/VOnTcZ0Z0qogHgb+SJMasSAUI355Cwsfzz
pXqpmOyoAujCm8skdVvIqNE6KlJ1244MUvWHAwcJCd0yl8qVQdMI70c3C79p0qufoC57qwJzDSlf
jfJtawyuguZluVMdY1Pr3wfZK5TCs0I06qkzaJG6nJy9XxDmPZg0gXKHJq+tuVl2V9Rfq/BO6o8D
kXnkROzt5JBoD7ems8ixW3N6zLRwMEwl9vxBW07tbWecoFsRU1H/nhS3zrH3DXYplojUNTTiQgPl
KHSoItBdObV5+v1d/lCV2HuRlCCmqteq28aT19rJcrY/5Rj3pcq6yB+wI8MuGT8c/UeqwX0nv3GK
CDAUTm9N5uKU5unZyQpn12LPCdOvONZbxFaStY5Hz9QfQzo3ztS5CcT9aomoGOJsRw1Pdwu15gpb
a4mtITmm8/Tdt4KVNth4nJdIGaU39kBkperZai6K1ZT1qCwhyUrNNKTKpSXqjyFrNvWI2iCzph1T
LzVCr7apC+FwWHNoBekrys2fMiVZybzDhtqLrU80EHoq76mrzA+FqJc1X+Y0fkA2ZWH7Z4kegsQ6
oo5zwKVz2ZTZqk+1owrEsKUGqqrME8pREvU6/Hcr6atkyYsuPUjaVxMscUMbLafsq8ed11BmQEJx
YQzNSqs0CpG+q1AGmJEoauJ8XU2IOAy4/WqVKyHIXAX4iKMYF1YalpOJW6L4ZtJsYsYhZ4WQb92u
CqHJGj4aFFodyVi01rcpBIYX+l/aYkQdEZWz3OLRUYpvuumQYzZqdcphkPDCpgwffIc7VbAzhA9B
b7t+3qOxVaJ1aCzKKPAgqz+NbfO5lFMKxNqik+4ASLlG9JqTmupJ6dka5t9tc+5j+TAn5rLgGJcd
fBzTPSzpXU37pPL7K1TkX7vV5jt08wWEAM+JIS0wzwQGrG3pd27U6bZtrhkaCIjf+271+6tctPkT
KcbRdABDbXZgDXusl4LHgSgX+AHlRZuWy7hSKYylZHB5olyx8/kAhyygwH+35C9gJSVMIqlB5hSM
1LgkDToK+hp2oOcSf1Y39zgAkEy9+T0OQPzo+zHDuZYhlJhovmmGdXnRWfVrLQVf+jfJW+hVdVcu
IwArv1wGUyT68nCJ8Ifj859wDTkojrzA355GQLiIUOPjNIqNbR7NFNGrK7CDX2cLY1IN+GIQrgEV
XoAozM6qEF1OqKt3pyL5PFF49KVroKMP+DHiKo4GdUS3NWi1F0NqrMHH71C8rsFrHyrxqm6F1oB/
O91cA4xf6pO8QdkwcQHGpJkG8IULeGpH7jWoaJ8u1YM/uQplPyB0BmqIi2wX7BxP+DCQawoSRXMe
aPh4lK6vctg/nKMaBn7AMQVz9PI2KnThh8iWBBy53zQv/SbxkEkBVU4JKHKNN780Kqi/n6Mf0Dd4
1Fhzw9WB9oRP4PtHXehKP1CZAz24tdfzsjpk38bb6sUHSgembI87qvTge8aVafTR0tCh8SkaNnuO
9YZR/mnONvT1TEItMVYfW4hkPW45bq7aeH1A3aBkif4A8gA4HDHG96ObgiHAvB500RC6NEhvsm2y
1mRIMepJiJDND1jQrq88UbGVXa7Hn695AQhlkjWo83LN2VnUu+RGuy1ce0kXhXRqIyhe0VV9jo+2
gJ8vebFeJqOom7EE8WrgtVrqort7klR52ajnKTPdKwP88GpwwYGawvGyLzeceWjashpQOBT6eIt2
o91Qjc9pfXjQjYCR54+G238ilugxkd/8X178AvZkGO08ODqIt1RDipyGZJ4vLOsO4Nuqt7VF0xpb
DGKfsQ0eKzxdA3OblundGL9aYD86mxb1Vb/ID1+4hqQBZjYW9kUXe2KWzUWij+Lp2+U6oS9QUqS5
MmwxaX6ZVBqUVA12BJv9xRt2qPuiPTAXwE4HgmfBg0a+Kd4r0I/+BSOmDy8nUJgMiybgJbuqDBC8
n3VgK9mrfjC33bq/sXfBpv48IdN09Z2Km/9lcEhQQBbkSGEzer9KDUZXYU1eLO07QY+gr3qDqcEK
o4QFpr3Xd9pfgxF2hZ+ud/HCLD2TbN9g9zHv6k23Hm8T9xn53V27vhYCiNl4OTJyCxO+PJwW+dIW
tY0Uv2pVDrIJ+Uii0Bz7gtgovbx4zuYKZIh8TYrpowOa4xmNUCIChzP6/bMEZxplhcFEARJWqwsD
98v+pniet8o2OhKG/2sCfB8eIz9fVkAEf9rQlXjCtsJnWZrfzMPwKt2TGRlvGkm8yVPOv+6n3XVu
za/IQ2j6qGaiJCzsTS+3omzo/SHSeb7jQMP0i6Jr2JzEiNde4+N9BLcUYY+K6zKRiXP5JlOpVLrW
iQSJB8T5NxoqXvaSfpnu7Q3p5TcMHvComm7pxwKBXFpL52a4wUHr99vAB8N9dxNi2f70lLMumkat
ZKG0061PIdOvH1Qq5trw+PvrfIRy50IaToqajNfnJcqdlhnuUA2Upcqb3OQRTI0P8bT5zoG9tJfB
ZioWKQZd4Spye0Q0nAMiUHeIi67HawHKB/NZkFYUEwkoLB6di+g2kcY0wmuP0xRzwuCHEqza/ppL
1QcHGtcgDuIi5AjGRZSggaKXYbzxboEcBRLNioLG1UOlZzza4so7/HhAf1/s4h0aIyrwyF4RktAC
ncpHRweQ5X/9/Qt8C6AuNp53Q7o4L3R9SPtOJqYVgl3BbfoEK8FYzx5lqfVwc42I8FHAzvIzHEw+
TQu30ovLdboe+2XF8g835UZIYqKojxombMib60IkHzxBtlLEYqD/mrp2eThNklVqYUcy13E6xS91
/2lIrz2/D7hL765x8ZYy2eiSzAG73yovFhAxrayWvUVtds6wMCpcRWm2EV4BaaS6V17dB6fTu0tf
PMthkPWyDGTyuXX6ALdl0626nZD5jJbVtbz4gw0FAiAPEQaB2L4vZ76KigyZVrkE7uplDaylT9Hs
GatmjZjeIv9c0wPAR2Y1XeWYfpTuEJOTFwtSJDI5IkX4aS/TcAZDIgBMRuVx6b2xMimxV0DWmyXF
t2HXPrKffqHi8/Z4/z/Xw2AJ/EYPo0CA+6Wuv7fv9TD4o7/0MNQ/hGKKDVderE6YIn/rYah/qHxi
O7wKU9He1Kf/Mo83/8B5GGUYiO82ajhidvylh2H+YZIzcugieUVAikb2v6WHIV72z9sVoR/SNMhq
cJILFtvFLi/3dK46LR6XyOWt9KBbqWbsDlF2JyXWjxCoG6jCdePEwG3x07Hzja/aTxoIfTcy+6d2
aNaxJhx5U8M1YA/4GPO5Zqx9CbACUoNh2yk+2B8125lVejOMlAvH9BtK8nf1PK9nU4At8099oq8G
XL7mGvi0hax+ZwZ7/ICMZWk4txWueoltb5zePLAzbOvJ3geBQktqXseglrHFWUSS7AFNpmx838sK
neDgU1GWy0jKQzqntO1w50DiGbjmrTFuRhnlAv9rm986fQsCFWnQyaQ8RQF3wGhi5Hzou2ZhRS9T
4a/7gUp+28FjSNe9Pt20dAMHCegXaNVUxgjbooNbVa7V+Hj+dJNrwVIYVUARFfoXA16isiVhllos
AE+twuRppnHZRP26CIdgoSTyHpzvSx6kB9Oel7pS2K4Zjbc9KKJcktc9VF25op/od4BqotsgKjax
QS8+C7rbPoh/lNr0Uhq5viiC6uC09QZeDyXzTLod9PJZAu5oZSAiZjyZsPDYK4kYJZAvuRCdFIWm
BJkc3i7nwDF+QDm6UiV7C9AupxiMPZsdh7VANPF+vxmwSIqUnhZ/9J1iPe21VWW7BmIV5ReQqlaI
jiU6pYjaezgErZKV9fWaLMpbNPrrLYhEXYeK+0viHIQob6sjtzACRXcjFPJv55vhK1NaE9KdS8rZ
zGEog8vwpfnTrPLf2vjuoue6aIrX9j/fqf68Ld3nopzqKAjb/74vX/Kntn55ae++l5fffPeHzX+/
fRy8FEKk591/0D+M2unQvdTT40vTpe1f+4P45r/64T9e3n7lOJUv//Ufz0WXt+LXmFr5zzsdLKvf
bY8P3ENb/OMxei5++au/9kcDUSCOQLTUKASi3sY5Obw07X/9h2RafyAUZKL7YakiRBShz1/7o/0H
X6VCSQ4i4wouTOL/2h+tP+BlomXHViZDADStf2t/vKhjGRQDbRiREAkVFBSF+N/7yZuja9mnNIU8
u7IW8TQuMvD4UyGBBzFXdVVtlMTeGEX5lHR0wmpl0YTTPcNcSOAbmiZY5Sp2TGl5QzCwaSIAiwGR
k9n5u6p7zKbpVvW75WDqizkEAFjSkratVd9326kwl4o8ekaWe6bVg67AXKkq13otL9Nh1TXlLpQJ
VDAIBkg2JcUDonUYGejrYsjgyUze3Fqb1MBuFAw8oJitM+c3kDBX2BdtVdgRllk8mGqyMwfJ8xVw
HRMWATBCBoOOfIsHWmjvrU5fU+R+CFXnQR/8hwTbp3a+M1t7N3bZbgjjoxSkD71tbvLE9/LGh0TU
rJTBy3QhEhbv1TTdxeF869v6uuvGNRlLZ+ybbLzF0V2m4ZrMJvz0hzoVYAc2xfTVgcsy9MXTOMWA
zKyVNnXL3Ep32YhBiNpuefm7POvo2gwrRxru9cchHPddlXn5oN3kQX8XF/22i8r1T7P34Z/7xc/i
Q9r72NSg0ERKhq6Vg0QZMmj6RQlsKHUl8hW0JacIm06wamMK4Yyou9NWIwg1H5S1IdOT4yuOQMIV
idtAmZLh5HDvqUbLTqkWKV9PnfwGhsQNaDPVPvgK3LgJQhL9MdHvVPV5UUrWMq8o++BQ9vtxvK+N
iGFgriHU1dDaIih5Kyn8FADOQyi12ZRDrKuwXAlsY9n76V618m8jkpZDL1yRQJn//qLvA95fL3oR
aHTOOEe2nwZAEcvHTj+N1ryo4mrCr8Q5/v5SFxT5f16LEaK1IfYCjpz3i7bttCgPWzp/uVwB+Qqy
pT+AuwbzCDWyMkbw3VL8WpUnU5XOv7/2Rbni7drk73A1IWSapmVcjNMMS+w1ywxTa1/awiYLU3mb
FF4rk7LPgVh8t3NZumWg3/qRscbcZmtUjtvX3ae6UTzsee5rwApQgY6Zei4QJgzhDEv1DrfFh9/f
60Um8Oe9CnFCNIiooMoXNHaz6BUMgUHxOEmxG+18QSVgjfriYTbsYzgKd9v6iU1JgPVvrcY5KWDi
q/a2rZ2jPCZXHt3Ht2NzCiACSY/iMhaNjFlrZkwQl5jtrVAgbBZFFZ1DQWWd6lMpE7NQIvBT694H
PZym2WtTSl4bZDuji197s3q68nxQa34XHr89IZQhDZs4m2IXadP7maTlowTay4+8CJJ0UH0ujWqf
ZtDStMD40qqfdDN+zYruWBirWTeBGcx4OyemcaCO24AxA4zkM88KDC0H/ctc3hVx8hls9SuObLtS
pasUZPDY5Nk+4iJ2CDMZNlPvGo0jTErTlwHMHaSzbauk5zA2jkpgHWwQsnZpnAvNU+JsV0XGAR2B
lROcbcnEbJWeuPRZbvS9Bp+h7efDuETB6FhMSDUUYXU2tGY5agoYPWVlhPkemPcOzsw5l8LXLC43
jlJ9xTcZXoKCWkxZYwunPSmq8sMQp4MqDYBQ6xOVzt3ka4dZS2gcz9ETRoCLJDL3iW++jaWojUNX
WHjKDfoBWBWE28M4prsgBpzSTP6y65rbOjf2YWruC3y0AeTsOz15Fbc+tMBZxcgaJbgdBeyO7R8b
M7MzN3Km/mggXZYjZJzJ3Cg551zI6ymq8wwF0iysvdUY63TKzn1RaIAC6W0bKQa0s3onOTB7okbr
3dA3Ni33Zleo6yomENoJ0+XetjaYfX2x7RHIYtcDJs/hyhlHM3YOiPmdpak9+aE1QwcAmBQjS6bX
hY1fKbMCHuNuqjPYy8UqblhQ0yABIY/1OyUJfmCavBuU5DXC9T1XrbWOdj/UORtQjLUZE/3QZcat
Wlb3yYT8jsSBmZC3LNX5pu1bAGjJkz8HO6stXRnovd2BsqtmsIvy0LXeJAXfZLR+XKqyKYwJdxz6
xM2pmvhzDP+i/S4VrYpfp7mvNCKE2TC/YmGGYXYib7rRgYwn7tVWR68vqjXUCdxE28ZxZVneZdbX
QDe2UhbGrpFAG+8wjFxUQ3UfIEhLsqX6Rbwg3zmbqbUfextCdIYLnnXfpK9ZyTSaVOi4JLTLQioO
khXi9uzcZzGfpA0TBxAIiLBuYzGDVZZGgoMeOC4HNHSYaUDwHA06ROyGEzZ5KNcvdMmUPNVa5FGO
Zals7RWDlzxk486xhg28rxFYnHYok+xtVQzD81jXP/jFRVGwXiDmlU6AC6rmHHtQ6b49PUaleIMF
ogFjYHwbEmcRWtKNWFM+gPC4xf3XAiziyio/7kvRa+f4XhpbgJigOCY9Y5G08NyNj47fnPpSR3o9
ZNR6M/OTYiLKreqWkokjLshxKBoFFivO1uyT761WfS2iALZfI73M41MgKYlnNWyBYq+diOSGID1P
evCaOUBfO7t7VCzpQayxKk9f7cjaE0tvIHecBygBjCt0WwHbGqwffsGCwxLeZnqmG0kWjg35Ttzj
lLPKtN5wAyX/pgs3b2V6MWLtwHFxBCe3b2yBHyKWY+uQK35X4klUsbLOJX9DwKbV8YMTtifiPmYy
tJPBGb8Wdt2QsQqUcBF90gPfQwCC22KLC9NXYAB3kmU/Gvh6E2aaIGvErdV+etZ67X5W2ltf2EMC
r6oXdmft5rQ7iT0FgymmEUxnq1US0KP7WdcOVZW+QqPfiZhXDa3N2wPvUymCtjtsrKzAeMPaSAGp
dDdw+8MBxaDvVCw4NigET+UKd+Wj0QELNKyNbFp7cABnycmg/0yf5FlwyAmp/dLcjD7vDBv3h8oE
oUw/OxhgZLDVy3Hy6pjjXVebEk8Thlor0OhzjD9n5nYyTwMKJtRRFrlSPcTq8Cw70ErzVlNZtnLv
DoTSZTD37qTaR/FiCs3ajfE+ESdNqTqsWJsnYkWHskBKac6Ig+uV0nBDYgLLRkTnBfQcmkdeMtmR
Wyi8sM6sTlHBD4RQF3B8flWM5smp27tiMOAzzp/Fqapx2sRpvq8k/dAGkjfakEkGCbtPC6UfoHqQ
qmPMraPgvnFgeKWOcqgiSN6xct/7+j7qeQrI/oHtKrNd3mbnSPePsxW8zpxpZb3NrfhW7qoTVWrO
Bx5XLKeepuReYcTrqQdrL8QIuvroqOkx1+tTGjPoAPUB9tgA1G4Cc4V1kM78dG3uw0G5k7+Lf6tk
51h2/XOZ42O9dxqoY7PB3tSH2XNVoeegH8SzG9lgxUgpeh6zzjiIFx35qsBTtncx5pfhqexG0I3y
rRK3K6UXT1VsG7a519T2FPgsbC0B59zmzl6ZtMPbHapmcHZgiKLWwB/IUYbWS+KmPiejWux0qTxJ
EmVqtWc1qTs8Wtw+BvkmDxXg6Vb7UWXT1jcDikI5p8DkQOnJjKe+6T4XTdOS9rE0pxn9KtO5r53q
NkWVHa9WqMKcx21cn+QgPOeacggyKL8aan1ioHVUPTiCx47wwrGLl0hOkFnwgRYUr2OsfZM/xaW/
bGzlCWGrYzYUp7n7bo3RrTi6RbgVDKDcA/Qk2tTeiIM+hq7GjNmL71etsTfs4FD2nZsP5eNoKrdk
ZsQVeI1O/otS+16cN6chR+7sANqPE5I/r5CZJ+5mgqbO+FDF+yyyFnXARC1lvXIRTBC56iSmHgKv
7PIxMVFRKY+wAgCmS2zsFfwCeCjFzI1oAEmalSxVrWfraYdSX1J75iC0i1pMRcux9dA4I8lZKKX6
TQ94P6T4kDikJ6MhC+iDYW0HcPn08GxIjqcOHB1SCLtAVU5DylLry/QsovM4ll6S2QIFyxTl229b
v5DfyGRejvlVyTkyRVif9UwoQ1awDw2BODY63mTDLjVqB9WPcBPxEMZQP+CcLvZ9V286UP/mprbC
c68B6BqkQxwc0jetNp0oxDJ5AqEIH+2Qm9OgB89gePM7zaIOoRB1vp1HUsk+LdnHMXKOETxMxx7W
aZ7vpojTpuolTxqBVpWrQglOhKlQ+hQmjTh1w5LXIvFG/MzcDHHwrYKPyPHPIhmn5BX8yb4NcCus
QY4ONSQJA6kgKB9imHXyPOfWS9MMkJZEnFtk3Gg21jcWLquLSgHlbNf2gpwHEQEUatzabA9IebzK
g594KPeAY9Y31ly4FeVSOQG7nUXRa+r4L+OIyuZgfw4IzkpDW9tp/FrWBAMA0WHnwohS8GFA4GR8
aOzxxpfVQ5oQIdSymXoqVYtqWBe11npmF5zTITqnqb4eEUxgzX33EWyCa8dS9o0p8ZryMAdhsc6z
FFvGxrHgAU+G6yBR1OvGvRIpD5HFwVYGmJv46N28TVmlFV7IEnjnVJoXZohpthFjX034CDi4Kgf0
PnqoYL0euVrFd/XQeAxs+26orcTL7e6HVetYt+f4lBtKhLpTFL8aZdss62moiQ+Q+qql71mDpK8c
7fSEjEKD0eq2uXFSlW4dWESwqS95ONnwILCvyepTGMXnVv5kNvUeFU8KOrKBOW2BIs2spsug6Lwg
o8qp+0250nzjYNQg0g3sgRdR5XhKMWubUBcBjlOvIuGT7UyFRZba8midYF2biqAB2CszwJQZORIQ
36UMI4QjAtTMrYnJrVnAr51LOYT1tzFadrW8Z4mDxHhI4nqLs3SJwgVTDlfdcSE39qIq9K1mzDY4
dciFcRvf6pl2KCZjBDXMcehHKVRGmEDyiNaOZARe20M4zdRZ9CUaZqcvIwNc4aeeoqaA+s2jVKQs
bBXlEt0wn4za+O44SkJVPcO9yE+PfQALoOlLlJp8f4vdBXaPco9nWAovqxkhEINeCmAh6ljVVmG4
ViR7XCu4kcoxDVVaNku9Q1djVKYN6kIF7FtyGgpbd+ngnKcG/lM/+N+dhtNOCekQFE320EPstToi
W/DZb5/MhAxKgZgr+CUvbRjq2/+mHhq6ar2e1NnLq/Y+VlhXqHGQSfbpJyLNY2IqB61iAqe5Ebls
+lFUP9Y9UCEfUH3dsXfZY7K1ioq+otU1KKvoCGEYhNAmlbwWz9EIlDsaK5yxvX+AmuDlAQmD6vOA
EFYCqR4o7Uk17RejACafwWXxexPPojg9i/StInhcmCUncoV3NjQ34jzcil9b2Iuq5d+XfX16y96o
QR2YyHv+x3IY2UGginwlQbmDQs2osv51QHRUbGUThBqlcyB/5ztxicw29k4bn6vY2CQ1kUgb7PS5
PQEvW/S9vfWV5tTghL4Qp4GYMZUWfWmhxxnxWYS2cF3WaVpsBQuCTepeJBeiXDFlwU09sJvPzM1Z
bANYn7yOTfLaS4xCnIBDIBWu5o9EsoHvGq1JIJnHZ2tMPmt65aVjby7Dm/KQFeGyqaofZogASniI
iuw5kpCmjuXVFEOqq8t1S4W2L2cKx5IXorVk9yotXv9Zbu1jDlVvGPNt4Mz6oqEIl8tsicO3rkQd
yAy9uGHUfnxTtNWNHFmwULRNbiW3ySRRnJs5dJoRGgtzCx73RLmgh1fSy2y0dLyowC4CxyG6TnhG
XUSa04joTrI4z82FKWGYWQ1fspCioylXj32HQoCcfqImzOY4fYlKlHPkrlxNo8UJwpv2s6csD3Zd
3n/vFPPGUFZNkH3hYN2oSf/U68oX6grHMfSBse+gnkL5QCalGWOUODv5R9hTcasrCIUDgao+cT4X
9LPK8hkgf0+7jCArkY52z1GiUixd+CzNbigeaj88pz1rIAmyB6u2tkEJSXog/eo48KYyPEcB52RS
R6+xSVcn9ccbq+qeyk6+eZuDss+1cqU+TWZyxt91VeFkz4oixlBL/+D3yqZ2XqIp+HylciQqjH83
nETdCM1hAhGTJq6uA0+8qBtldCbycQ69cog9uZOHpWlJR1EAqMJ+48PbkAx9HRSuhQrJEEFUmSML
VsxIjiPBQLp2O7/cD0A4EM4GPHgBNb6sY41T3nSUUjh2rP4+LqA3uW0bbqO+Xkmh4d3EgXwvzdK9
Y1fbJC63gHKWHYWHjCWnCDbf1jbPNUJGgwlZP2HCAvlUoNaZJdxDkjKdUD/WIQ028uPQSOtmZqPP
GutLMiSPIlNTu2BnG/E9RDM3kjNE53Z5V63kem3G94oJzTixl3MTrFuETThplrk/w25juX2zU2nJ
2aSwI4qoeIBoHaIm6LfysxRNewQhnmQ61F0AHzWGDikFG+b44GBKULO7+RB65NtuAjluRMWiGo1t
KFGyKDOqMB0qL7Dm1JQNuiAZNHdy4q9UtXe7pIMFPXiOuJ+p8rQ0OnfwvTorWg4QFg2TPMEIt7QW
b8NGBLlUDuBzDBTurNs4OyU6M5ejlAOvMPf92Gyt0X6YSfESxdigV73Rcmo/9BKUBC+DiFKZFvle
SeXEiJHGZDeswujcK8ZTlU6ryEd9XIo7CiH+sApK565pk/uaJSqj17No9Rwnz4IDgAEhtmM8BcY6
E7pAhs66qhxn7Uz6iyOXN5Vebsp6uuulRRBXe1TcXAWVInLYm4Jq18Ic9d2kBLsklpayr93RO71i
2flLBwLMAWYyOO+Ak8TcUX2/PIrSotYC5H5pqpRx+jQrCYXMjRV+DYz4S1wSpolt+coqMN7jl1iV
XNYiluDSijAhuajNq50G9xKZy2UuQozCn4AtZ160V0Mys7eCM8J6kIg7pDvR3pi4hXasyVBfI5Ka
jsqgqE1OFbMoI6zsfTSRSI4n2IFvZ4oxtCeRkHdx/6XiVxRRDX4rUQwUEsQqyNT+TjHPk5acE4k2
HRXOenSOmVWf+tzeTBGCiGFzwjjgkAhoQmZlO+pnm6okVccR1w9poEPfOXWzfhCVmtEWxxiFqKAk
lxTlGU1kMyIH7cShVvj9qScTNmsqREbjJbNzL0paGFHvRYYnxihojzNBtSjUdk510vMfDdUxaiwc
HZmRuU3fn3ICdMsfOVjl5TRWp6myNlZhrFlfxyIvTpTfT2JuZ5p9yFKvSqKzGlWnVpIPPb+ZFjrz
zzoONOf0GRGi8tRQ+4WZ5HCg2XBRq9PbnhHU+IhE5G6WaKSNau5qJfROURTgFEaaUI7dRMRFQQaq
IQjLGPvnOibQDHziYgCNbkMa6NaGfoCFsOwk+cjRRwcude4dRQUfp8mbQCZ0k1pCWKchR4sSIhx5
IlGcTOmLZLa73gkOfl5s1ZZXGMX153QiR+7TZknB+1zTyZt6QrdAehEVEY2RitJlUJQnqyfXNSnY
FdRU8zRDtSeaKLcyUKRDkBU8x07zJSQg+ecu/2/hDI5Fxj+X0IHn8X/9DTJYvxT779lL89sv/Y94
hf8XUQhCq/h/Bmkduzpp/vE9//EP9ztIhOYfmyblv5p3kATxE39CEizlD1hAjnB3A36FgxG7yJ+Q
BEv9QxfwEeF0KbAK4qM/IQmq8gcOYrow6zNNuGcGP/gnJIGPgNabKirBgl5Ed/rfgSSo749yjAOE
1qsCPFgTKHP9EoTpV9WAhGBreZIGUGo+BpYDWql1fXiYadCsJ0yN5/o4VzcDkKs8Oo6ESPXwPHN2
oUH4SdOOXeNvqFrc+NRnfKdcNvNL1X/Wwqv+AyLM+TsM+vVeL/Z5qYOGpCBk5clbmMfWKtgmEFXi
vbMN3GQZXfXsvETf/vJwLuIuHpdRpBUXbDzneZhd3cOMctmBLwYmni1z9xq06BLd9M8rGpbMywBK
9wu6CWM5pc+awfJa2PoL+bU9hccaZ1mnWJpYBCvusBnu4eTv/Wc0y5c8cPen2fwBKuHjMf99B8ZF
F9fuCeIrp0dNKIu8OYS0FiC6ah7H5qj7N21rLvtq16KlgMa0FcXrTC7+j26B2Q3FSmbElxj9sSmS
OjBkyzPqrdGUcGqRa4UOyQZeLwqot0HRfpkRAJB05zEx76apRMZzaK6E3eL8vpxuICkR+QOcATBI
nP8/ARtkiLSqY84sjVQGZIZVM6i4HD2kgOQgQWDpypO/dj2Befj5ehIaUuTqvPvVvJI942bQF9E3
DL62xaZfS5Qdl/GivwuuOou9D2T+ua4U3bEx3oWuqV0Sn6baR+grNSxPr37Q5RyM11p/+v3gRGf7
l2f50yUuxiZFaoJKlml5DuFIgehmPi0qgCxDJ9LTFz0WYUG6+v1FzfcImz8HBiOUtAn8lnXJtkLx
DBH6zrK8uu9u0iYmyYYAqk3tt1SnGFRQDG/qb9XceWNuI5gib/KUHuMXjahBjXS3huTeGBGii+UC
9Tl/OI6j/lmaEQcB8IY+VTcjZ1x0ndu0aUbinD3rU72RbNMddP1T3z7Pir+a1ZJmJk07lBjBdMpK
TZ8v28jTl9b8MgwjtawKMKVt39Z9ADxc0R6HqX6QZ/Rs1Lm/nyXpm2yNd1Dcv0theBh0+0bX0bys
bKpDyU2XBE9DEL5GBoT2VrevcL4/3JOE/R54BWyYMFR8Py+joUVcoFItJG/n/VAliG1+I+Tljlsv
RFFmmBGSDaE/dOF9GU0e3Zabfsju4wr50lpHhSY4WlF7SGLHq9RHMFeLGMWA37/rN0eByxmmMns1
AnFDeEa9v8sYHC08R/bqSi3dSnQdIA9R7LoxNZAo6DV1yYMTyPPCL/ZljRiq+qrM0yLQnjNCrEz5
psPwlmfDHeunglEo7bRt2nk1qkBgm/E2jbpP/UTfpfJXgb6up/5KWv3R8ofrgR8mXHNsYS+2m9DR
E6lROiFg9qQMP5T2zrS5odrrgAz8/mFd4BD/uTB+vtbFckQzLGuMjmv1z/K2hvkZLlFz6hbWXf+/
SXuz3baBdGv7ighwHk4lkZosybY8xSdE7MSc55lX/z3MBva2acHq/v+T7gaSTolksVj1vms9y54i
WYGbvV0Zcvon589HRfVC1UDCDD5/F+FXR1h8mUUKnDenW1NH/xc+m/y1lkj2tH+piTB+1z+P+88a
/H1c8iAJg5U1cT57Janva19jXK8vHUM9+iBsZHBA3hhs0Dw4BlpbPLCtSeUnf5TCe82SbkpV35nV
q4kAwhpudOtQKpBmdrry5uvg2aDCVDEl5Krehmm+oTe/0mTAGbzGSERualm1R4pFjtg9Kj6VDWFt
cCYNBiTkPgzmDu4SjZCKmsaEpk6mfFrxEd7pXh7SZTPSzkkrHxRjgFOlEykk+PLBzPNF2McfYwC+
TORvwNFGvEBdvuv38CnAs48NRXtp8/MNnHuCpi2JjEGHUpmusCWZv1i+2g1Wo0iuPVmQxpW0gL7R
LurFFFEcnfxrxscLazbDoZLSsTGoxvxjBN+j8ZVmdG0dt3yk6GtQSdSl6VqI2jmUHsLcR3DR7AWt
vRaSfWEv/GXo2VtRIwmCweBbdjOEO9WK740xZZ9B09sK2jtr+Egi45fZ1w9ukx1LP9sCMNzEEJ/c
/je7pY2Sp0ugF4umVlbeIJKhY+0R9q3dON3EI3ZxMg3HVlx5lbYNhnbVDuSvybvI6py2O0nRsB1j
KNKxaueSYvtq9mdQqRd4dDqE1tUojKPTybJxYZo54Edl49beRqvbXRLGaw1IdhAbOzctV3F5nzZP
nXACydTjl74yIy58zOVpY0bUrcI3ff5KKb1vJplIFoRM6IFP4JakpHZvNWt5KJcxklqIdZCQWizb
U67BWRTxq5oCWhmRbRrx0mUDLGi0RaitUfbfZuz9m7AYBCh5iZPRc75vE2SzsWqZrpWX0hL09FOi
UbbSPDBnylEe+00xZie1GI6NcSgt8YoX68I6N9kT/nf02SSCxiYrvC8oCeWPrLej/LX071Lhylt5
aapKnByJ8ZYkvECzb/LQ55na+bpru0F+V5h/EThfKapdesgy/zjecbTq4jxWMtJNow4TFbrZ2tso
m2jdOf8J9WQm0/z3KWJp+b9xZoe6Lu/k1oP6Y2e0OYNnV9HoxlQrq8O8UuI3zv6i96AXta2tG1Hq
nXAgHbV57+n5/zytL+yC+SFArokBxUo3v6WZRR2oFkZA4TTCGvePSK+qKq58ji585D8PMj9dKUGu
ZpLOIH5lrNBnLuiIrQrrIwh+1+3/hzky8UdkTimTCnY2R9y+z02KC5Oq7D5NX7T4mqd3bi/+96Z9
GsGYnRWTvCf2x/e4ZSuA8fhfl5ij5HHJnQtX/xMpX99n23qPNOMJieOmAhn9h/YZ5D281T8/v0uv
hGzQJjGZrez/plv/6fhUSEKrZezQ7FYqHD4jRLFc2Qlf/BQq0y5Fh9JDdW9m3wD934vIPy0+hZiO
vE21jtb6GWsxiYv/QeLzpRn5ebjZq9G04qi3I8NFMVgDAc4pwHt69s7PN+7SMCzknLaRt3NQmt24
odUrJGotnz0eYVS9VsKbZlpX3i5JvDbMVMX/9HwaeeLiDKVlU/2mX3UYxaOI6c/y4nPReXeF1Sxl
l2AMjWiI0unFbFuGhB2o7KkAvnZJt9bUYiXha/DDeAXTfhVn0gFNljM2k+LjJdbkhRcVz0bX7VuN
oBlCScKlpaTP5LM7etgakEO7tVtlUPLq+m5oFIKUDPNdl8SlHMIf0Z8VqTgF9HgECfRyNx1UfQR1
dQ7ath9v2l5CcKNpSxHDYAo7zvLBRdJgk3LgxAWU6BZPvw8bApApJfR9aRFkoL+Lw8vQkXSP5x9A
mXA2jMgxAbH5ngxSOV/Vbkm+F4EngiGsQcHaguSNi0wLdi09/jaQjpGvLQuiWpNU2QpRi4uxoMIs
nPJ+yn6kyRB4N2MuobpRN42VOmVGP6lMMtox6l8/KjYUnNCMbwL1r+C+m0geaY0sJNCGCq7M3OBy
SBZSkTPFxnj78/y6tObBA6GMaYAi0P5VnD49+LLOqy7xBg5/ZnUXItHsKk4aTOlSx7tR/veVhmlJ
4qhKUxQT++wddVPkUpmksMKiN9Io3YMxXvjdH4/SfjiuYZOP7a+fL/DizDZkTp80hcAvTX/+6QJ9
6lWVaPgYloz3wHju47PPkfLnMebhq//WWiJKdB3nI99Lyr5fBskUj3JrzpcjmBIrBEGjuUX7uuY0
QOdNYdupA6QbwPX0pFMp3vAQDdFqyAskbx+1tDPSNzQ2PO7wykbh4hccKprEt1OcTE2zOy4rSd1Z
bQNgi0xjb08eQrYcySWlz7uEBLxVHlWw6Nc+Pv9YBLODHR5jbgdVX/Zb84NCSzo96krRQkuF5Jh6
Uhpb95XnL6ssXqhyhda2KN7lQrqNE/4gpbBdQF1MlXGF5mVPIoxC/6XEFBYS1yJLh7TOsT28m2lB
ggtBX+jISJhZJZK2CTR29pZlpy3hCgohBoKHybXU7KDI76oBAZWZrSXRvWk6GM1w1YsgftSs/GOU
MHs0p4a/2ganJCbKwEKoCQAaYuXETgzU1Fbzc8AKQ/1pIZZ3Aoj20gjsOolv+05BlyVtUeyh3nio
NPSouCqvzK1p5f12JycTuMQBWZTn83e0Wh+VDi9obDwm/kurduuwNfexNS5JkfA95cp4l7aWBjQ4
3OLm9J+zqcxh0tTzaUHAUQxANN0EmfA4ig8YdpaDrt73I81sQbiyMFzaH7C3Y1EAVWCwFH19gfQQ
4AgiE8sePIpwNe9Qe40Jgl3++50EE2Tigedziifu6xhpEwZhhbLNblVhiSCqQbcVR6+tugEa6ccV
zWgI/hkgdpSppGsRzlOMAtJ2jJDltk1bEL9lLyz6JnD0zMSSU3xUhODJrr+dDNqNDkipJOkKwX46
OG3aOGbZMW18YP1wzg1qksG1pE38DZcuSxWn0rBEi/1f7e3TAhcVaglhWiJgJkDxK+SHoYVP2GIh
FzLt0aJx3I1j7ZQ9mFD+34tqFCEpKyagZ8/fp0qFaKKoqWY3NI/CDoWem67NMYS9qp+BFtid9Zql
0aNq+ccYxWOUEVIiD5w9ospcG40XLb0Y6IlZr7oi/ePFCLmkPcqvFkGGfm7GW68z8bqC8x079JKB
rQ8RAqP6byX1ZxMdZ2t0TkQ2ldgj5tK7Fd/Wpz7NiavMpF0nDbYYvmXutgJErrt3cm1uENywlEpE
3DXuqDk0449BON4kAUrPAhZ9G3c5XFcoXjhYNpnBr/ZhNKUc/QVrVQq49hWDyEL9Jm1fe0UG6i8n
Cz3hK4TnV67Sde5Jq1ANHHkskGNwE4xxF8vddsSS4bP1GctyXxIYJELNz0G4GnJzHohZEGCcqz3H
WQ/QgVCVh0CYCNqnUHvrGnfrVco+QEcz5OrCHH+HZNf2TEM5IvtujKgnYYQwuykxJg8sKP3EOUXq
rVx0IHbTozyIWEgqxRGSUlgXqgH0NToLXgDoyiX9SvSWWYN8KhCWoRUui7h96qAjB3n57OohKcXW
qW/M53r0UV12NG9iIz0GcvM0wFdzaoGkAa8bXjTL5X/Ap5VC8TUzOTaUo/KWayQ9xRh6VVwYNM+R
/0oiTmYdTWjpsklBL/bSSomTyNVrDn5gUxnUpYr2JHbhQ5HFjl4hvsWNgP++xDFcdqS5xVRGMsOV
2c9V6bJvtAPipWUek/Xrqo7hV/i9qOmm7b3aDy+10eNC8zHAFCujJ82uRmsbl6R1WEdRStZp4BFy
ljpqWe8qPTi0unLTCyX8k9TahwrpW1Z/J0nNXZmVT74u/UKpehsInVMpPdpGA2lvNPSIhZRmN0b+
L9OIQ6eovStnlUtrLI1lc1qHEGvNxSmlW+aqK1K1847eJtqV+86RbHV/DYw2MzH/z/H98zizXT0g
q1YKS8ZpyDeQsUilyocUNdwBvrNFGNHEJC+hksR1bxI1UB/M5kEvs+eiqp8l2du3vXIf1f291Mq3
rTesVPWcZ819NFivY26xg/Py+zpJf1UJYXDDpOYaPFUmScFwIlxhV75MF3ZysEugpaCyY+/4b33/
tND5oYLvUARd3Pr3qgusvztKyvHnndzFMZTpUA4FECzf7FguKEOhVH3PsbwPD2pX4eTRCBBq/vvj
8EQDMhhJBzRgzB5MZSbBWPTQ6ZMoWDTaPWeMKzdrDoubtqRfhphdiR4WQpdEgmm3juIgJwuJDz3J
xSJbE1hhAwpvSrsELb0Mztfa1Bem9+ehzVnlwUv7GCFA5/I1TJdV+ui12DmKtP2V9uljqrk7rY5X
ck043s8P79o1z8ti+OeSXs2oERvFhpL/YCP9Rv6Ybjre69hp3vXFaNfreC3f/zzyhe3LlyuWv24t
tCyRlDilHie3iL/Km6p5/nmAS9WNLyPMNkh5YRgIjDLqAEm5xH9sB/EfU+mRM71XIGdC3+nMXdB3
2zY5JogG/38OP92AT+/eIJhaL8cUk9xDvbX20Z3vRMuBoiOxfsJVbce/KvBs0/vlameb0CBX4iYs
mUFSRnsWD31kpudRk3AziZvSuw3GBooV2jOFNKyFVNOHo8+rqcmewILbhH2B1rqnAPz6oFO54Mvi
J/WdKCBwr7MXUh0wcagnPbiPPHkTyelWgvLuueHJ7OK91D8XlrkUzehW7aP3cDRwJTShyHf/TNDK
LQbqG0vWFpaFo0Im08NtUW0bK6jNyyu3/cKW9ct9mNWrdU2QBq1RTLtWeyeV3sZCXKg4XlqYQGG8
wzDh6CLBHgGd0epUu8eqlq4sVZdXxP9dqsxZAUpSI09LpkcRZdKUUMXu2XUSrFg/X+rlYZBisb5z
0pn3BVSpzmldUE6rhZJmPBwqfVEKHz8PMt2ub9MK7h9VQkkTre/FDtPFsNpbxDFLtt8RiKiUtlEn
7OCufXvnHKL/WX9VhGCcNKh8zivWVaP7PV4I+jAH4+yuEzjThbAR0ET1NkeHj0kVRbwWRsYrFZ3L
I+vTSYpDo6Vas8XIbMoh6KiR2tqJsKdluAoOiMCPGn3kKXkCwre3pEJFLu81ROHF+wvLlpnP6Z9v
6NdVwhDSviYPzbXHLD2OUNhVwbHaX72UXHsxpn9p/iQptIjSxP7B8Tj7uple5qOO06gnjxoyTZNE
lb+e3i4pl9qdQvYjuVdGiHtafFaSN8n6+/NEoqrz8w+YV9cVdTDHitQQHPQYTzglDonxMMrSjZKb
J2qkKyWt1n6gvQoevUTyQ5vRzhvrRhOKO1PnwDFKx6rXD/GgPlIXJM1PQ5pubnEKn6S0xy4yrAXC
mHWULuMwngI9OOswDSQlOhW1sdSix5QQu7oTtjHr/0BkpsERAHj9nv7sMm3bB3msb4T4oQrGcxfU
RyW2VnqbLP1Kex/b9LW1bgdABIYyEmCCnzu1EmKKcnDT9AhaNsFloOLuyB+sTt0ZUwBeGpH47dnM
6mIVWDDG2imrRI8YXhmofsJVcMuKw4C0aVyA7vFw19b9MSjjF78mX1AYHFfV0RnnxJ4ZmvTmaqVT
FHDnx3IVNuo5Gt5F0PCN1h9KIl/kHKavxuE5XzZDsasyt6Oznh0lubbFuiVHXmXxllaWf26gn6U0
Fd1wrYnlzTjoSw0tQ9dqEPvDO8kDZrfrufrOKm1JjNapmHNES+5GSziOvnY2RfVIjPo5qeppuxyv
+vA27ggqxaMHMesQkW7bU+j3ScbDjiNp/JE57pBnnUQQXS5hR3UCzl7waMC7+AwyC+JbGtEIVl1y
xwsE6MkUnloULoZ0rECJzOnnJghuQoTKUHpu4yo7W7jJLfOXMqjbMLE+ylqmYR3aYaKdffJjclFe
FeJwW2XSI3EnqVONJN+Oj6bc0L5RHT4Wd6bhvSFS3OM1Xkep79Ru1uDY5tf4Y3iKlUJYdxLrd9YY
u0oIcRJI5rnuknBHWZ2Ub90Y6GOQ8p7qG9/HPR88T5eSBzqJXcmDHm3VzlxE2Sn3hEM1/BJJRCjD
3CaKY8GhWKQKOoqp48GH0oNbYfhbBGgCM7sYiXhz8yXlXowiuIWIdfH3eSvssiLcJNiEiI9Gu5EW
UPOytQfYN8zDdVgNdizztGQln3oRK9gQq64iUw95PGvNLbSB32b+kCclySz44ULSfAkAxG+59IY/
pUC/KScpuPVfhXzNJN8nynMe0twuCBqKfhflHdI+vFXuQgiQdWh7NyfshmzsJIPKGf5O2M8FSU1W
V6ERFFP/srz+GNeJLZCbJvreWitkTkY6/rZmK+TnLOV2q+9dVO7iKN9znH9uC+EvPZFHwe+WrHI3
efmUywQey+R9B+TYgK9Kq3QlJ+OjFqlbXHoP1CNsXavfI5YPIQpvpVEj7CvkAN6sQk0/BCKfrZ7M
HzPW1hWuj5GzdR0RUa/sKqLMpQzNSdaflPRBJB5j0cj5o9+J2IOhBGC+JAIpp8nQYNJ1TWJrtIcx
7gr2rpWMQ91fD71+7rXxXHrD/TAIOFKzyu4LLGeeIe97V91GerBCmuKQVEHF7KWrpNdBsw4aaLFe
o7Cdjrej2+JgwK8GPEsJrVs0jlsCDJ/JTLM5X9qyRtbw4N7h073hRMfzy4n0jvwVs/GmqetfeFbu
FZc+nk+WmVSQrRRGL4UQr0tP2k0Z5lGorqdOeyKMdC+p8it+eqsF5V1SwDCp6S5YVXaqTfWxF967
KtqD/YLZ4hW7YpCe49J7xn19DAXvTmpwICfdqg212051TwpZw37p24lknaMSQyEhkWL3oMfC3zYg
U1tVbSl6zWhexTqltEAn7rohmcY1DrUXPmVat/aU7Kj54y1tCafUWydUyCcT9H1kZX/02FqXfrWx
jMc+bpDRthzRJ9+e0ADltF6Tons3Y47VEbUxNru5sidhYuUp4OO6cTtO1RvCsu2h6PaF12z0mvj1
jpW4EQ9wyv64srtF10fIETyFDO0kkVVlYxA6R2hcP+zpNJR4C4EzLdoI3V0RrCY/sDKQpDzQLwtf
yTogfdeskS8mhK89yFDOdHqcTV/S7SIHiuZ4LvNmlflZlFIyXF/CAsewOYkM1TvBC1+C6j01yrs6
lVcN/jutemuT4uynwnYKUErCnqQwsuZCEisz71cb8xUKUx2/NHbjFpGNgpWZKPkhBh/R+LyMtBR7
Mt/SPxIb4AKfyFi5dpGQO1zQ1+iKX64S3Uh99DgV1cop4rD+Td9y57uPOiZoAxz8IJIDR3JQQVNC
QGrmEkWb6+c0ZPmofTLQQbkYZJnJynODm7jJh1UVTYlX+ZbFfRV0xSFIHyM8LQSM+zIiocFaAm6z
44LX4tB6RIYPCjy/nKk07lLFPGdR/5c3dUyUTWApjpso96BPhcXPe5JLmy+ZDZ9i0S82wXd93Xwl
UimabApRnUivMS7DwSp3Ql5u9WB0fh7p0mkX575uIuecml2zs6hbCllYBzBvEv2BCuGgX2laXaho
g3T7v39/dtg0q8wzxpazrtvdFwAuoG3iE30yhsTu8muKpEsHj8+DzW6bIMaeEUZcjG9ydn4ox5N+
TZpw7X5NT+7T4RnkE1RWF9VRaL4JzbkigvO/fCAqTF/keJMKcJJYzHbDliYMWBMZQNMEeuo47Pwr
G97vHc6vQ1izmg5LUCdnCUO0bUHmiLH3RHVYkq5mR5hQYpIIGklYlaQ8ajrLh66AUrDs3HvVMyJW
G4oViXwuO/1JFcgW//ny//Hpv5wGZj9u1tlhn6r2Ki1YFp6M/MjwQRO72HbZN69qIRM2cavQcFeq
B85Fy5pNWG70j27bOxGWrUxyN1osbXM3P+AowAMrIoDbkWPqSGG71ypzKesxH03YG/DpjPHVJxKl
EYulUp9qixwjkoDr/GYsNOLdYUNQHRiJUjvWUzq85x0C0BjeeA6B1hiSRuRkcWjxYZJ/jVxBWLQa
QfJW9dsqZIS+Uz1F+VCErSf0PTmGULiC6MGXt1W3m2QTPnC6XOlWsEapoj91bG3GrtmolD8K+VbU
/8ixj9ttO2FEyQlw+9bmG2WPVQYs1Fi1yDQL0ZGN3MWrVmzDEaRPla+IsFvTnTuJFhCZrgNN6RnO
KKiOXPVHxS/wAShrN+rRx7ak5Bm2X/awUdjwSKJ95WnOT1YqdgfmsmQwpQkrmb2QWShzU8WePYkY
vwuttBKqQ2UGa/ahZhM8t1K+7K9ll8nfuqyzQWevqNZF1CQ86C6unz92hfCn1MmPdiWYeNLvVk92
IztsAqzZFCpwAhDFQXG1VnVeH0sCiMks3yhFveDg/aSPPMOyruw2vHWlwRnIrQ207LYbU0dJoNyX
Oz4su0B6//m+Xax+TmlPYLUshA7zsmvX5HgTdT6IbvMoCMkjhM+jpcSYzIkJaVU0MEe1De0sz16p
fC/dQac6RlJSENFoTzfYMK6Ujr4vGtSgP/+i2XuZmoVsdQ1l7uLDf+Bg5+66dXfw7GSpLmobNtCv
7sY9/SdxN9Mk+bIi/BtZNaa0BGQZc5Zvq3m+5RvUQCSQXAbbQKV4VqPhysIzTzX7V+RBxPq/w8wK
HjBoywRsMY0cdodncy3axnO7BdpoLLKjSoBQsmyXabLKHtJ+VT5NuTD/gRPu2+SdXazy9fuSJrqe
Jy7iOo7k2omerCPt8fT6Z2C6yRKX/FrmGKnZGiUn1zazKy+sND3Gn2727HttoGzO3ZDvNZgrCl39
Bg7VUtvV6+uxFJdaWkyp/7vjs9UhzWLJjSLG6l1E/pKRFAeJXBoVMGfr3cZT4KkhHXD9vIZKv82l
+DUXpRcrRRcvdxP9wuA0IQ1Llf6AMBYPcllsLZNgwsiiaKznG08bHousOktJ/ZCH4ZPaTKgkrAlK
C7Ii9K+9I9dm6nzlicXWKAcenrDxjiOfUdvbpA5Ju85wSm6MD3lVXg+DurgjQU8CtBZj2bcAoxYS
3th0nJu0yHKycTN6+S61cpI6A+PkY7CuC3nfBHuNz6IX7FXvTazUJw8Lxc9r1rffQa1XlGSLOAIa
Yd9UsGIxqFIcTjvJ6GxqD4NUXHtDp33Jl7nJCPijDAqhmKS+CUtaawhNMYScgKzQXErUCbYNGAoC
4hfWMrcJH0woh5JsfpN5ayJe18IqvvIbLlwkDg0D5SvpVGQvzHZn8RjKVZi5njMJFGPpoZfa/36E
qaKtKhIaNImMtK8LgBKNolyqjGCI6KeadKcQ+fHzk/pXG5/dyC9jzFqWACLMPq/pM6lrfacu23N6
qje1rTr1uvgFbOTKeN96iHyQP1/S7KZlWjbonRb4TrgV7QYpr7KeFO7XHEjfjhpfh/lnUvy0NZcz
jxZ/xFVZQz2JORRAWZ2jDd4zvpuVlZRXjk7Shfn4+brmIqQqVvJYGXhUQWOtZWAxJq9e2+cHHaJW
rWlrQw1uauE9xobx8xO8MA2/jDz7Vhmx1shWy6WaXrds5GNkvf08wOUpIjPJ4UujRprHSBlGE+ld
HPmOgcDb808tcmCrtJxoUkJlv0ZXsXsYF55mi25NmXhwYjW8Mm8u/wjq9TKcv0m/NltPu0ErYqvh
MpWTuCSG/AXaHdsNADMfQJiu5tx9W76nCfRpuNmrJ5YNGhSP4fAGLzRgJmn67INZvXJrL00brA+6
hfEaxYg+PdxP87TILMqfJsPULUB8NVhYOdm6WbWvvMAW9bNfFlg8a847nXdlyl6aN/i5sZZymXQj
Z1doZVGeCmotIA3/a0on/sqVi/vXCpsvLdqUSqPxRaIxN/+mVxIQ2sDzHD78ixrOt1m/Cmm0lNi3
iWF7UANlbTUJ2rHmht0r4k6Fj3UW1yc3icfNlEOjsAmvwVXXyCLNGKEYqFq7qN1t5nHKc3WgOH9E
7xh44z3I/BVMQBBGwgH7oaNRZM7p7haGvhDF33n72vm/G/OjqpM9waaLaOxQsEZPEeHRMrQwQ/Lw
cJl7jwSXnmoPvOtXurRXrHYX7zrgHCyzdA8xS3194H2tDKWGoMsJC9iBxY3a/Lkypa6M8G+l+jSl
tE5v/LxhBFpHCZtVz1Z/6SvlrlkpS3khb7yTtP15yEvvigZTQ9QmF7Ay7/G2pqnlfi/xLaalMbbB
olOjrVXkV+bT9wYo7+TncWZLQDpIuTSKzCdtIe8M3xbtyB733iMwzkV4bJ8Q+T6Hd90m2/x8fd9F
GrOBZ69KUlu616YhR1dF29SdiVt4OMDz2zZE0ejpX62J16KAi1zHNeIit8+uvKvX7vDsI235WRBK
cuA5KnLzEb96GBNFX/+9cp2XPs6fb/BscjZtSd4TLHDH0NtHPxLXhVU7eQAK2qApSLchrZ9ajWyL
uHVKMbkXi3QbN2SldFReSI8ahHVN0cQI39TyWtL0tYcwd3FJfpzmysDTr2xzXf4x8pVng+tzRpuW
SHYyrkzqy7MNqyXkt2l/Nxcd6Vx3J/ax55hkfaRZ9hEG3JAoeTEG81CM0jovyw1bX/iRyUfSvhBV
uo6SzqYqvs9TUCIR+tMuevj5GV2cCeyoscpRCiC1/Ov6UfiqH1Qlb7dUI28GEhw6sfvx8xjf+TTT
fP80yOxF85BiRmZLqQZ8fbBkU5gtBrt/0P/GK+FIlt8/u7q2hpq+FDckFpO9taIofZWR8f1UyA/5
XDOavXiCQkPQ6gdKY1ZrN+0HfIh1JrSbQBFwco8NEDmWAJ+WWHq0Yrh7Bk10jCDGTvajlYG50dPv
KIAsNfOJ4K2FthQ6Qs3weneyt1BcdICmedsoEf1wmiIYiSTPvfLuXlqPP1/D7N3tSl1jS8Q1VOGu
ESj7kXvw8/O6NCc+jzB7bXsB4UZU8rgyF6cTzROazZl8bRf4rRqg8gmfkBSI+f/999eZV+PSsqSA
UbQFaeD74mCuIHyt5RVHPPvnC7pwy74MNdvSKnUjEzzAjsfwbiuIEmZYXLll32EMs6tRvl7NEIEl
K3yuxn1kXrjr3KFIawuPgl3avS3fRM415RCR0vyb3/ZDn16r2WxutKFrYp1aeyWTEyTIB/A6T03p
v47RYEdlemMIhMY2910s3niGYC77PryvEBgUbe0oKjY26MRVca7GbCPo8CMG790360Mz3BsROSMa
7jTi0hv9AKeVz79PTIAonwOYQkka/EpLYOx60AhLV4n3Ooa2ckjuDdr8dZc6vQYJVlaxawe7WMoX
I0GSLVncdY0opD7mCdFMAD6sSl8zix0/MxYV+RJpQY/dco9Dmzgc1JdiRcNNDoE353A++EuFANCz
MtJlboWrqJaPgSkd4lLBNohlbGnWIjHS0pjZOBuAr3tmsVaG4RxX9V6NAf1GegmPOqax6+V/qj7A
FBCuWnS2K6Ix41WJUaYcHTMY1krGP5pl3rLqiRPMQ99/MIT6QZLquwRS6XK0YJM0aGwsI3+KQx8j
4V1e62u/yH/zgyZWOwBh0TXeItMQ4K6nAOCMk1XHUNXb214YIEhIJXwElolB34hiv47C9gYN56b1
/mLEsxNf/qsZHmzp8ihZwk6JuUsGxN7xLceWjzVnpWImyJqIBgaZJIn0LKXarzAmbT22cJVRpVfD
jIKzWtoKunxNJ3pL9OyMrYWE3qTIs42XiH8J8rKrBsWvi26n/p0HwVvW6U4PTUcIAW768YtVvk2S
/BHSYSj/gjy8VmPtVSXfypJzuinwrUMog2q8yvG8NH1xaJL7hKddgQhM6gYugmmTeoB9o9uiMyHJ
oTgYrmbXUXswBFyhOFc7uVrnxTuJFncJP6VOwVl7/q6vPJvqBWIN/bafktVSxfFVaaH1GsJhmNth
D3h8kKw1B9eFUQvLOOS9i4s3EiKAUJxVFCt68iL0BujiP4MLxTgU1m6CK0dAkYEJRldh2/fGrVRk
djYhqnrhRMloL/vDQYK2Tzywb9NvvNXHapMAlY98GjWaGDlepNy7yKZpAZ8rjNNiESxdY3hP2xHp
RdM/WJhBUds5Ipr5pV4QD1lDq3e9D5nMA4i4T6owvmMS/mXSDC7xOMCsXI2xstKEN9kadkYhLpMB
4nOTOLlOhmMmb2QzdJASO3Rul7EkIdLYadYyCsKNCwVpKDMSOYWbodNPGuTu3vMdUSPyBf5gwc6q
SIKVm7mLXB62uS47OTkqdTXifJF3iU8EZERGXCVQhSoWZFetkvpQdKBDov44cpxJEhLU1XCZMGvi
4aPBlEs4EC+Qz9HW2yS+vleRbVTKQ66UD0abvVRKciMn+iM+85fKSs5C0Wz9Aotr0JP6kGxijqdR
zFEuH2EU0yjEO5eQIpRX2ZLV5CWqXqQ+QBdUr+ArbeOiQx+krgKZuhIgF6kSlhMFv8BEDIDHGRVe
2KaD2f2Rq3+CPH6SY+UGFN5OpPsGLWxBwspy5OE1dEJHYh6Vpsds2kERztB+hGu2Su8hWH4DrVWC
a2ms7g3XQqEXbWRPXIxW/6ZqobcSuENTYombIq4mhscVCOzqNDv0/xpKvIsU2mBF7Kjdoy/JC1LZ
bTEPVgOJN21f2m1iHqycxmMdHjUUe3lxB6IbWpuCbcEy1lZqgpYZfXGZpYRy6OW2q9t1KwCMEbJd
EbZO2w6OHFZ3fmSd4ko8xP3JyBA0xoVmjyUqPkJM/cpEw886hE3tvkdBC5hfvWnEEf9MfWV3Mm3l
5t8kU1aIu0edSzb77DvY51HNAZ5PbY8BasRIFUZ3qUuV/No26NLHb6pJg2/VLPEbIKTBHMP9n7ZB
lgaBR0TZKbyY0h8453alKYewtK4ctZWL1/ZpyOnPP52E+XAMQ69OQ6YesJfkTU3920z55dVutNLF
9uh6eJPFYhOVrmMKoH484VZApBh6ylIU/wawzzeqhBQmetKV8JYcmD8qnt9KRfpZxHeaSQpXojx1
onbsdRXD86GzEmdCQ0/kY61u9sCMYf3WfJbku9bQrsBzLlYd4VZhxuWQMplyv15hWFSuYYVc4RA2
DylxOGzad7DgkQM9hd3/o+7MliPHriz7K7J6RxrmwayrHwD4SDqdMxl8gQUZDMzzjK/vhUiVkkS4
6CXVS7WVSjJZKuI65nPP2Xvtt4T3pjcih5P7M+f21E6RGFaUuvgutd9QKLXR1UUusXAc79Kpdmr9
Etdqj2FOlN8b2LRisP2Xa8JPW4HFoXZqBEN+vn/GaXDq4HE81+Y8dbd8rKLnovTD3RJFkikkE6Pi
Tjc20r2iPuOV1DPT/vo4Tu0rPxW3i3VGIYm1sJP89RRNN1HR7jvzXQ2HK8Kb0NvBQBO2YjE+duNb
L6TzPek7mWRcRhKGcyNfDRr2DOOcO/jUnfTpVy32lW09Vn7WUA/3+wY0WbRutv1a2Cf7+gyq5+xK
i6cy6IQE2HFHV5BmXS+bboVYo/HUgTIFOSG1b12hpRvJgFDqM5v6E9f401EuKvC8SefBFUepKI8i
rnKLyyBl5aqgVvn6Mp/Yk31aabHrE3E9VHLD7Qpu1lGF26z44ZGV8PUiv09of+1i4GATt8gmbymX
jwmpGbSBc1mvxhXQwqdii6xqp4POB1z59WLzfbn4UnBE/1hrqYwPtZTbcuBLkVfXmWeQSTec2fbJ
8zP81RILXYEWhUk+RCwh7oXn/ip/ydbhi0Je3atl2GSYu0janfrOu6ic8Uk01/JrdiP8O61/fSZz
mhrxn6BgFr+ihWXoY9xnlBMcBPUI6S3srr8+l7/jG+bs1g9rLHa4gWp5gkKkDx2WUd6Pwl3mRuvC
sGloX0bVFfm7kPHc82ONU/veTwsvXqMaOsdEmTsqo17vhzzZaSNuweinHo/rNLCetRFue1hmdu19
C2SYFnF+I6rJVkStc+YcnLihPv2UxYswAuojJsWcvFQRT7Eh5oEg+C1TgsvCIItxF20rp784Z2I8
UYd8WnXxojMz8l6rnFXLyXfJ+LpMRssNyMiLSj4s41htABqds7ieelCZgChIHMhalNRl2z/3O7Hy
63lVRO/utMsfKGc3NZ7ax2Jz7kn9NXlePEcfV1uOAAiKK5NhXs0AlqhAUM/S7CLs1TdcN88GJgJQ
QIgipxssneh+c5cqPzO1fYxxXiIPwdt3vfSd8QrZo4aTeeN9XmZzGesMaXoEnv8dM6/lTlA9hwhM
sFgRTqmvz9wfJ16hn45i8RwS8qkMynx/hI/eZriX3/VslazTTeeIBmBZWyjt4MVylR9n1j0xk2Nd
JBQQK5Tf0UxBV0TNRIdxRTAnB6/TYFTYn2q2PgeMao1bqtF6JkLqCPG+XvvkI6ETiT5P5ci5Xxxy
HkUIDizZR8nsbTPjKlekM+/YcyssXjzkwQAMgGuzNkrQur6jE3H19TGc+MZijfvrGBZvmHJS2iAM
OYZ+jDbN1GyL3nCiYnRM/eXrlU6NBD4ttXiDmBXik4C++9o7xN/DbbkJNwGMcvQe0SrZBJuvlzt5
6gxQquit0b8t1RgwyeXBnDh16O80k1QU78zVP3nDc8vNTDC8b78qxw8VaBblaiuR/brGLlADOKvT
Fy8+89aF/fT7R5a/+q9VFpVJBPh4RG1M6a5rxarUDbeMCWEVqjnv3VGteGX6FGTid6JunMAY3ruK
FuE0DQcLdA+NbHZv69JQ6fLd1Z1wK2iWqxUPfvBixDBb5fBygLuclIKtTz8TvAhJdysJP8LadHEW
0sJ4r73w6JvidTEW0GCJYEl6xyz0taqQt0e7zMFY/s6v++Elz8ioMOOGRzOyjkYqXEyEXaqVv52y
GINDtp6yeuvr36VKXrE0w9/hkKZm4BpFmB57sBbuFKaJmwUBf/yo9NbKnLy1BvNMzZT7MoKkb6J6
VX50Pom+U8JJEAh7KXYqBJjRCC76AEaZXAA+EOxKRvAQvorF5VjiIBGrK615EivVjqvvkWbYdMVu
C7ICy9Fcq0J31OWG6X1iQhiCE2N5yUpqmq2i404iSNKuleiZ6L8bEC47zwp2iRXLqHq1aOV52tMQ
51jMVNJAfd1NTZXwRPEhrAG9pM33MZ/YLSjxi1Rdyr1ky518NdRBvkos/bkNI2Wd8pd9G6bhp6gU
+iqQO93GkhPQjzV3qAoeldo/amFzkVnCba/JskNRYIfmmwFjuTA6wltBpJl3ckcYzkyXqVrim6Rr
Ei5XNYq5GPuPEfVbaxh2pQYETjBxZQOemUE7o1mmqwD2iZiKWxUXdxSU3700fcXxdDnoyk5OZGJP
rkEFvGhj4dSmvFGN7t6sSbyizdFK5laDtEvk6i7qoNa05dabU4+xMebEigoxIWbFXVR7L0mMPap7
9c3BFX08uJ5lp6K0HvNHv4Ymp9Fk0wyAscXc7xyPNcCVuL604qMVROuMizC29coIu007hKteni6I
lXemLDgwcXWrOU4Pma8Jg94fSDbrxZvRxKGilBd6/qCkZDAHyVaduMwGgKMyoEGeXxTkAWWF5Zqo
hLWJmLAk3AlYIoPJu/L6p5THq5hufdG7mMRDoJL3LF23hroxo+OIAUeHKtM33waCSO0BVHE+FAX6
8JlP3DkNoKIaKgqRexdkqlnNroo5iiyHlhy6uY5NMRL1Q6PSytS+K/lTJHkbMa5uhjJcN1HiKIZ3
QRaSXTO/RcBzIeflsRfjGoiyKNmKXuHUC55DOdKcQh+2Go7BGg9Og1+ny+4BH60KLXF0BBKaoF1X
ZJPZIaghz5wpFNq1YMa2Wk12moJFkoo3RsT07wIGDxraUXmwjeDKEF5pljFdKOkZak+FINpZv49o
qxdi/TJaWBcN8QpFnCPTqMeKNPTpWpW8S8N/rH3BHbPrRlN3lf/W4PzU6tqJp1AEGo93X3yau4Vi
U9oViQmebzdBv8/VbdF+96OezLrKDkXg1ykpkkAD6dk8BTkTiI5nR67rNbrKOX9SDu4BLpTDrRiG
u6Fnc0rlbAv1pVjT9AwaW7a019jnUyN2+6itHdksdsxiYeVAXSIIvRD2pHKtm5iEwI5zpDejo8eK
q0RI/oOCt8FWTfWXWCkAMF2V7eBIDFy0WFlPkHO+/nCd2ld9euUvBoRdJwhEvSJOS3bNrthJbnsI
1vq9vwokm38T7XYNncmlU4QIJ137d61DFtfTubpUnbfXv9WlFvJsDEuUwctmY+XLQWaU7HpE3I+e
kR8Yvvq6aFuERhfPVYqCZBC3xG25fhC4uiRdjDSPy9K8zDuub/mzoIMq6kc1lNatwZ2oZA+hj++9
AnsnFitekHT7SWRE7pveKMWNERlvUanpjMnxeBmejoI756p7ufboJX3jDm2b7nOvWQHHvix1wM+d
BDwKiJYqlNcimBWzMG1PJm9Rms5cll8ixMXpgJU8N1/ZGlBTzF/qD9/7FuHyECtoIdXR4meW66kf
dLsp+bRW3qUqH9r2uktx3xZgLCXIWAHtc9HM3FhtC5c6/jiNmviG8zJw/QoNipL7B6UQL2AtO4p6
B8N4G9OQ1KqtIPoz34ycA4hvV7cq3fZoY0iA0grjvm21g8rQx5KHXQ+c2ZFTLbMlWbifswrrXmAo
mX3HTkVa4w+TXKfY2KfEcTCnxGuNnWvSY0jvhugmUvRDksJwO/D5oYXKxz1pqjXxIXC48UcnT7/u
7H8pL+mf5hx9ikw6Fu/ZXVO9vzeH78UyN+l/YyKSSl32zxOR7r6HWfO3xzB7e+c/52SkJnj/26Z6
z77/QK9Xf0pGmv+qvycj6QQZzUkAPH1kvVigpP6RjMQ/Umd4t46wBEEpbeV/JCNJyh/wqEVcO0hO
5mAk/tTfk5Ek+Q/kg/y52Z9IJ5qb+P/+H868/55f/3mv14v//rcMVFnOz6//8z+WKk/62OgMiX2B
56nhMFlaEOnYJ10kVPihZx2/VD+bnrwSipwSYbgwmPd4FHqaTmO9h0eHwYnASVeC6vLhZP79d336
HYs31Z+/Yz4spKa01Zdy3rQxfCK+SN82D91lvLqPwZm6b+pROIzug+ZUG8uVN9K3M6sqn9+Pf66q
Em6nQv1jC7p4T0cqwPmWDpgLcm8lrwBV7tNNCI8HHMyrfxbHc/IgNXBYs7ac67t4/0DKb5vaHLHd
k1+oZ/cU9Y4BBFH9ZVYr/7XdzZ8H92G1Rd+39fQC4zurpdkmJj1yADCoT7dfn8LF5ua3ReZD/vBK
nXpdy/x5EehcpIYQ3ZR/I3R59fUqiy3ub6sstlAxuTp1gg3PzWeqBSVahujR1EK4DNW/tRRTM0Tz
eJ6M+Zb5cEB6VBdjhtXA9RlSeoVMTLNiW1Fx1TZ/vks/PYsf7/n55vrwNfrzoObA01nrhqVicerU
0jOydL4bZvZ8veno/5NLfVaZf/oR/7DO4uRFg4CtQeTkpWJ6DK2Q5D+kvOy6xJwbP1UvVb+i7+Qx
3sW5r7bfUOKtJv2ct3bZPPjzeAkoohRBn/zbQNJLu94oiIR2vYOyhkB1aLbGQXIqO7tJNucIOqeP
2lBlkf+js/zrn3+4jqQbphH8TCQw+XWxS1fg2nbxJQboWAEc1O9gU5+5c5Y95r8f4F9LLrojWhV1
4FVmqoZDBKq2+tPBpdxYh3LHaHsOb7s4Z0b4J2f1r0XnB/TDcYqJjOmKMoC7SFmbeElxqiUXxgYD
RvvfSIs7edN+OK2Ll0rTJaYVdywX7ebABHMX74SNvNV2Xz/wy/7tb+dy8XDECbQBYWQdcW+sqYAC
N4T4pDjSQ3w85105d0yLByQAA6SZ860i7v2t9PcQiHR9TuB6ehlDB+TMnOM3czlWyqYzxV9XCgnI
Pt5Me6rL7blllPmK//ZeQRw+91L130fF6ZCDxzFYh/nioxgESC+ZF4PLtpi2R2iKJAN9kVnsDSPY
hNqNavkHdrqvPmyQRmBnmXY4skny7iFcIyqbWoiz47gb9TcB5k4ffGu14NIPjGtZosg16k0dC+7E
FCmNW7AQt4VaY529SouzD/XJ7wD8fqofDSSKtLgrUhourUe/xg0f2xVgJoQ7d9I2WNNWgzGMShtn
IUrC7BC/fn0/Gote5K/7kak7vjfiYOY65fNjJgkQgQKPkzqSMkt2c1HMH59+o4bNVjSEh75R2duo
ILlpJiXxJm7aJ8ns3KyCXAvFli/NKm2ztZgHJJ4iVq4sd8TlYg4vIe2JnFiqIpZ3OaqZqjzkxLSi
en7sOaFDNPyUS0D5Cv0ONrUyKofOJLVDfpwDgwx0TyM1Wdv3bpQEK0Mvd6bHtSkt12+zKz8SV1Kl
E2p7pEt1F7TTQQbRmkGUSeGMeha5YWmx5tg3WkTGAxILP9YOvmYC9unvg5HuIue2jg5IHg5K3HGq
C352hJTQvDJrcs+RyoUdWci9eK4qnNvvy1v5w1lfzlVyMR/ShPTauQvqWuK16O9TmAFj12zH9s0/
GEN7lMlJGIjv/fqCn/x+/PIjWfhGKEsXk4G0njopULFV9eAvYROsqYXla5hXeDqad989S2Wd793F
sfJuwM9BPAvSkqWpQzbyruEu4jOta2u5uIyzdBtMl1FwGGCAfX10J+5mrE9kb/K+0TG5L4ocyfL0
zOhZyyB1SSPsk/7U/2yFxbcwM4OpBnXAlVOIQSISSTr31j59DDPQ3QKujhvm8xMpJl4mh4nOMZhH
s0oZJ54bD5z6tnKa/lpC/rxE4ktSJs1LqBtvozrxKj1469rV9uo2OSjnPnknNiOfVltclEKRBC2Y
VxM3nStSPZTv/kPp0g2x66Pw7ewn9sTL9NN6i0tkjknSBhXrmdRj9NpFd7hgSLofHq0XmejX2BV2
8VPanLkzTt7nH07qomCJC6kwu5FlBe+lbwQSC5nCK+1m8J5pC2+/vg2Xzor5vc1H0MToThHIFntx
UhOQpuSzG4Rirg7aW7eWduUFX6cNYocbMNdg7+z0oViFaB1GN/+Be/sg3379G5STd+r8YMM4xpS3
7MIFulU3pHdG7sQeSQgumkneRIoH5RAk09AcJ0s56OIG8TAStp+YrkCE0oWGwR7H0jpXlW2TVDfs
nO0welPpCg1m61ZAC+eQ+siXbIHCPQeeUNJkNVCmjuh5Gogokd9sRILKixCWgu+5Xx/X6cMichCc
N9XMcsseC1OV0JHl1Ko3CemNfTmdWeH0AzinGv59icUD2ElNQsycGbn6TbXTLvzVHMk3rouryglW
5/wC8skH4sNqi3sl7KpCHDMOSC8fS+mi7XKHk09kzYiOurBjcnZUi9m+FW3x7F5W8nuXWnTwRbcA
2zdk0ioinx7V3CpvKJD1l4i8CzF9ztG0dYqxDq07MZHOPE6nKmUo3n+do/kyfdgAdI0/JjkZim5F
DyP17bmytA71Dk7ZeUSGvJjV//k8fVht8fTKspdPgsYVaQkjbu3wNvsx3MXb7jKdU6N3s5eDYYSY
OBiy1z3sy/P72RP1LWkJFigCXRNV8de89cMBy1rqSbnHAfP+WIWUMm64EhwqoMtpD24OBkG/PVd5
nlgTSBc8MEKxcKctXyN+pwdW0tYxwhW0MyQA+GStimTUf/1Inbjhldm+Oyt2CUX/LdfHKAQ9V4cg
YXvV7IA7+itGJ7ayl1aMdc6rk34/LAQyfARm0JnE7H5xx6u8liTJp6ot82sh1x0SDxm0nAOqzfun
z5XN51UWd6gMxtwSdKo4S4xug/xmlAFMhQ8hTf5mMvddfk798/uDzIJki8+qAWqpZWnQqPhxfYkF
I2OrGZKDucLOrYdmNFZnrtevun95bLI6ZwNAicdSvtiRiL4iD2MtR26mGhuTQWCtC/dtF7vIu3EF
xE4GTjLNQzYH9UZO3hLIV6keXAn6fT58s0hrzkLQKERYNRPEUZTn5Xdpqq4l69qMVIiV4kYXdJcA
iS0So8u8eprKnwkenFG40rTS9Ui38JInXzY3VknaS2RsRuW5zrpVVTerDB2yEiO69xs3D+7bXrQr
Uihia/a4Z3ZZkbRDEBDj382YmU5fv+YDocHkc9VMrpU5WIxZoaU+B8IjuvULHoyV1QZPXohzSD0W
Wrwew3LVQ64NUsnVrG5ryqUbyfomnH6WMf4fdjD4gixiv2pLtrOawLKo3eUWA6QQ9xKjcrEO7vjT
x6hibp/ImyL0tmqSHazY++GlzXosMJwQhBhbCr/aYl9JhGw54H0QiteWCVMSaqTMgEhosRvEhavl
Cn95c4yC0G4GVCPaJJy78POT8dt11+ibi9iM6C4trrsv94PXCdS3xXPP9gBEcWCbbkcYVMXHSbw4
V+2eeoZQIvHyIeFXYVD0+S1Pq7Cpxoadr4U7K+1B1+sI3gtjJ47BCkcH4/LxXEF66jFiN8L7QfkF
E1/seZvJF7xe5e0Q5tYGrcpRaIpNP2Sr0IMDr8JAagK38EvqEAUW577Nik3rVW5O5I0VbpLiXBv4
1EmYn2gC3DWdfeHiB+Wll1qWz0nv28sULdg4PMQNqHZ6wb64KpJzwBnz1FX+a0GESIuzLpMrS4uF
XUx+PTCcwM1kD12778viwq8vffV7rX7zceINPMidcj3xZZgGgdiT3ZjREPDVC9oGK/artJBNR808
u/SfsmnYFDVBkqIKp4602KxdwUP+s8iwLhMpWWXqD02f7kP2NeHIoFzX7Eo17NDTr2juXLS+stLz
l6SUyfC0nCpqHC+KbzNx3BERqMo7ffheYyE3E5Q4iURZ8BaRqCvjR8wreU1zaG+05jqACalG35Ls
kob3QyNKL4GY3AvYtrz2LoRPEfAKmiOYCkQfRsGnVjMdJWNEIlRu1dzUGoUNkRCGty26eC15qkOr
e5OTDE9U2Prrd+3v5SYf3n9cfBrIn6+FkU5lU9FegZU62D4tQfkcduD0ChSbaLtnzdn8tfxYWGR+
KJcZt9doSrZnPQTRub3PEuRG+TQfxF9LzI/chyXaCW7HaHAQjWuil+P1y06vitbxHpMqamvSoKML
2U5ezqusf993sbQCCxDMyjzaWDw8Q0jbp593QmQ+uwI9nKR6FMIbT3tXpe9fX6qTL46/lloq17MY
PF+vs+EpiB/WkXEUXLGuXEvBuf3dnwPK5Yt4nt6pTPUZhy4Pq0mJ79WiDO02xHo/eSslazc13LpB
f9sZOjXotFZ9ecUEyalk2mgAxhOT6f/o5MFTN16DRbZlPM9ibF70xAj4eDjTUnXShA4XnOlKabeF
hxgnEDeYqlxDWg0AnuOocFOSkwII4D58OMVHcVZYTuCJBz+8adHGNDWmQJDGUrrNCkKto9yximaf
W6XbYjxGJbKdCnZsXbLS8Q4h/KnaAR1bDE2sv80VA/rh6LQ1qG5Yy2WImJlAHUkjZ1BRQKxMdis8
D8ZtUtx10rij8WxbwL6Z9jiWVK0K2Vwl05VUlFe+OdoiudrKcKdJb5pI9lpDmhYU60FdF+J06Ws5
xspxn+DIhMq5GSMmJdqIvKr1SWuLKj6kbx657WJtvBaKcMGv2WgYaIJIWnsaeBnT8h3fQs7hjVs5
gRXev9BWgzPbXw1wZXz6pHUVOJZ1GeLv64rBMVVyqjByDnF0jON57zuSpSDuJ2gBxhBcF7Kyq/Eu
V2Ze2lEeoRDJVnEQPhiGeu135jFut5HwHFiya1TNxkfr2GJ7Hgz/fuwDF76kq2G49H11PfgYtlXb
MPztmDSw65JrVeSfhntepk0dxE4QS4SKc1atsiRhTqvPbNNOvVs+3KbLR0JIe6mTpTTme3mbdD9N
60yj4+Sb5eMCi9dj2/q9YoUsgD1Sw745395OdK24tZNuGnauwlqvXPOud2d6oeCem+Cf2kp8XH+x
VZ9UplDewPpWdqxRGUG3ldszoVJLMuev1+fHRRZVkCn2oSVlLCIN6iFJXrNBY0fWOamCAA5cyihv
euuomHumEZcEzgdEvKlpsJIGZWWcSyc/sfPmezQnJINbx7WybID0fPqGsubXJNr7CL9UkWBEy04m
HsgYdnv95xjv8xG3f3jmPKjzyfztpfdh5cXJruV2HGItiV0tMvFdP9V08xuzvEoUPMieed+o1wHj
gthqXS0NLyUA32aTuRKQmAhLteT1G736ESJ66ix1I/rTVRYyOmj2Hi89Veu2uYWfqQx2hUb3tlCc
UDYPQIfdkN2UnCvPjWo4Kf7hYXglB+0J2SnziRTAd+9KXeFE4UEFKPX1V+XUI8Tkh+GjBYcYNuvn
b2cvlWGcNxVv+hyYvAY3tnX+RyssH9IcsjDfZ1bQ5J+eCNugfPp6gVMPiaYCWWb+J5GEsTiERJL7
LPD4/Os51XvOtQsKslLzM8ex1B/+ek4+rLNE9yhaYOZofOfWLiRM1VG/zwmPGGY1J913W3xP5LHv
misGVSJy0cvi0Dy0lw1NtXMSxFOlAABymIqYr3R9mbragh/Dz8qkQZRbMmwvurDailSlo35GZ3/6
mD+stCytIn0cAqIY3HE/On6+IUUjpLzdNDtpW70W5CvSq3PMbfZYv+mXzcqz8Xm+eJD8z5lKfo0h
l48nQwkomcCDtd8mvbJe1wQh5TGzIw8bxsa/0C4J9HarrfIiHLzj9Kg58jbbWD++vr1OfQSoXNkm
WjPGB2nJ50ek1pJSigMW1h+s1lZ/1nQDhVtDdMbeJtPnJywBV7THbSsCe7DPaRHY1v3+XgJaaGJU
5gfg5Jsf4Q/lrVpQfuo9sA0oe242Xqm+QWHksUl5FimtrCheCeU98ig79RvHR5iqwSyt8gRQj2p3
XbUbItEJm2wfxjBvBxNgw44IbLsAKS61UAgN6dJkZGnmj3Ggb8qM3OOaHVT4LQASNfTCTTy0NmKh
9WhExJLyWfBlch3KfSX3uJgRUovxCt00snN9FTUbdP32UI2rapB3sswur8v3XaED1EBk1BNL4+/V
caKmUjZBLTyZceyorYgsjhhlqcnZdt9I1DGASe0O2eeclzNv1nKjPA7e3ki9vSrWq0GPDmUiPAy5
fzWanlNrnWOp3s86Eq8mTB65TD6LX9141QjWutS3khQTeFLtghEhrAL+MSkLKr/6GAugwqvxZ8PI
ww615l6L5Xe5lTK7YxqeTaBZZQuhusRDL7NJ8o3iCJnlwVLT2rbKbFUEhmuG4YXUgs8mKyVKSkfQ
6pcO9fdMDaFmJvDBXE/+q9ZDQJ8mu1FphPfouK0IWbzpFsJFM4JLl1po5j4xb4GTeugl9PemPUjB
5Ui225xH3qbtITV9O45x9XvZSs7GvQBKpw+SiwEBvK+Wdu7nF4H2EDGHaVDHxsmPHkV3KynXMWLX
XKOHRcZRTZgcULBUetfbfte3pt3kzNRVfg8ld28qbiyQDKE/ac3bVF1kub+u5jyKDttsE6iXUR06
ia66U26R2YkUrhW/K4zckya59uG1hCFlUayA9O6cfniv9GcOzklT4JejhxxfggyEZEpfS2TaG0Vy
GE31ZxpwBcia7aCMZIaXOCIQS7vTma5HkXHZk6pXRL2jD5eeAhmFkxmLwqs0eT8is6IzleXbMsuv
+si6rDnmDgKLPKirpLcmWxWfGW6CoUCIRd0KfLyKcGZAB2pvR+nCU7HTpEeDmJQ6Ntws09ahWbl1
SWuEyOVKu+vG+CFXuf6T4bZra+Vr163sKuUthuKNxQ7B7+DACPtgDpMkmfMBu4qxH5kByhlRM4Ij
TWRia7YCpSGuiOuhZh/o60SWg5V+lRUlCvyD35ZOPFwM9BCDJtyaCQxo+ZsQWDQgXixkJ0lhrgWw
NcWcCE0Z4U+2EAs2G2zHNx6BlwrmnRDHK8Sz0GnoXmjGwSBdJSCjKafT1URz4Cbo9bp4iFGiClpv
BzXGoeah8Qy3mvStX93lg4cNxnQITt1gCbIJdbL620aGT6MTHvJWZPiYxcpRwp9DDVxk7NC9UYOT
ZRBqEMUPpfCk0JgWIGFX8c9pUshAz+2A4O6iNtxCt25nKpM/Bx0YtF6bfRC+A5ba8L/kwrx2Rubq
bU1oGHSS7+b4I1Gb1QVBMjjek8rNSlvtwS/pgpOiHNe8NwMMhnFfVVc+p1iljpOMR9EgmJ2JSS7E
G8GQ19UkObkpcQ9VmzQh7iDxLoKus/2QCUQ4U+gK7qFXfXg1EihK+bdCvozU9kIpQqcWlSONfZA1
nY103U7jZ6G9LMfrRohRtiMMA7PnDequVeqVrGxk4xtQFCdPIbyqNxO0DsaG+wDpimK2TjOK5Nxt
K7oiQ3PbGi9WUax1keuconwP7VjNdmLYXkQWMqCEJm034kE7ekL+WImFbeH9MnJ5pTfdXSyaj6ZI
R0w/tvnPOkU2H1AxV9/7ul0bwvAahHcdRCJS6o+KT7BR2G4CkDcWGJyq+Rk03mVU5Lszn815b7T4
XuMUZpRkUlwye1k0fiorDif0pQlD4s5l57+K9/5mJEo4P7ZnitgTIkHS2T+stShTGubRVZuyVkPH
wg63ydp0gyet3LTfYHitq01NxlHunOsfn+j+8D1msMSsgtGIsag840gWIxw13Gk0ykUmm8JIxnYF
hTV6lI1zfa4Tde7H1cxF35SEsqHO5tX4JMY8whb2t+Lh37hqok4zXDSopC1zcdVIV5K1oB9j1Blp
6Chb6+ptcvL79vo8F/HUVk8hyFiiiiVRQzYWhZWvd11rZmHiziy+blc6DOZWABlX1eHfuVIfl1rU
UFEwYLopWIpmE1iZzLHC20JQ3ST+qUbCmar5hMyJ21ES542sikRbXrQNQl1vQiizMbf+lKy1db1p
tu1btyK7DnrtFnzVn3uTf8lB8v+dN2TeQP1zbwhfiSasA9whlR9mf9vVCf6Q+pMjZP4L/ssRov6B
oIx2gUzDkkyNeUvUv9fNf/6HoKt/wMBAkcXUBZGoMQ8us7xqAowb5h8GUVRkgppzc/rXP/ovR4j5
B+oRUl6YGIPPwC3yrzhCmDIv3oaA9Rmss4tA7Qj8e7llG8s6yXqUDS7dVlr7DXXfVc9HZ6jc5Hkg
BtGOpGGjE0Wnl5dBhN2yvPCSK0k/VuY+rie7J9JGNJ507a6ssCnvk2IvCj/xobHVxdgqPdOYLGGX
Vd0AHuzVAPmhX0cWIwUGhtL41sJoUI8xc4re34pBuBpwzYaWO1AYDcNjjE2TKEi2DrtKgRdHUmX3
ng7fxgRlYEstAzkgw45Zyk+ReZUQx6jtQ+G2HfeTdVM1d1J0jKjRyrh1UN87AhoOKXs2XW2l18cs
3Zl8kNJN22xS+bJNHIFUsvgwIs/PL/P38D0fNwR8RkcLsii5oXA5ravwJVgnjTO8MjMpRFeaLquj
FK13wbHUXF3g82+/MaPjb+Z7WLrTXjmEGxw9tCIFG9lP+KAKW8/nZ77rgUFpl9qp8UhSER5eO5Uu
QuwwhXbIp9oFr+VUZuEKBWpdnWROc+D/j4PTEt5B1wa4OeQ3mXSm97a+UY3Xnk1/YYqgAVF6+hs9
eanHq9IkoDLX16OoOFGJlfcbFcqTcRWj+7U0NMAavLjsZ8FAmmrrl9hhErZdtvXCjVJZFzqj1ZYE
IzN+DSqmsS+lAPWK/VBZvuBn08t+laWNI5P9J4uPkXqo4kMsbFSsdcDohFVjXmnWXUhPtgBFPgda
1hR2JfdaX4DI011Y6bbuP4yJ06q3ZfySCU8iADe6wFlzTQaE3WHopbzqEnb1FjJbUo72mblOEd8Q
eTjeaQjUa7fI8NPFDyERAd3Gq+nP2X671/Kr8hmqoVPdqs/ZStiFwiZadeNeBlPuMdfOb03/WxJd
F1AmkbEgyJIsCrMLDyO2OY0AW35AIky44SztTiBRzbtNi32hPvlh4M6TNpCgRfY6K/CNQ8FTEt5J
/U1s3U/xla+Rk7JSSlvYFW4NaX267tONEgortp8J4n3tzfL2MsHyo3yflQdZe67U2zYiVnsV5q6i
uFV43TfX5uiOF5SwVNld+gqfN3tOf8Yp+8iVLq6w5/IvT90gyhK7tW7e9MK3cbqUARZphNf0zrTG
JRuvch6dFbmG86s//m59i+2e0ce+sjbKnZhdldZ1nT2azUNQ7eBrFv1djxBWrG4b6z3DapsCFxQa
N+yucus+AMuWbBM+HnszPKry0bPQIaM3CHddsG+3inKrahdp/5Ia37T8QY6O+vCm7Ub15f8Rdl67
jWNbmH6hIcBM8ZZZ0bLkfEM4Mok58+nnYx9gpo+7ceqmgO5yWRS5ufda//rDWPuddpbmCi7bl1Fc
2vSO9DGyd0vxvRvuR9qsVNpryjnusADdGr09i6q1yU9VGJT944JpIW6/MT6QcfjVcEArbs59nnyI
SLbYeLkVth/18F6MVzE7rvOD7hRBlpqLp8W8CMZTNHyN6sttJOHwUupkNj7SpZvOuBzj8k7W7xlz
zOpdNH7PJLNi4hI1z4n0OGRYo/UEEXZ2xURDJkRs1jqsZn0xmMynAulQ0o12Bqraov8gWzOYo+yg
18m5X/ILettSeCi4yCS1K8GvY901R18z3Fo7ZhKrK/vE4G618sdwANdcxs8JiMAsvRsrebfpaQ9l
T6wnC+X0346w83+q37+rkzhx/uUcMAlSk7Gd2zBg+1UajKRvVlKMg+rkQdIJ38flrop9kj0bVNyF
p2JC7Yq31RS+cNABa5j60qOPmEtC7bRuDrbt5MA78lU4jUeOhQKa8e6WvuJlYuXkWdgDIR2zEw52
H7lG46n1fSH5UhqQPhqzY9TXHpp/uk/iIB8DOX7ajHRY77Ju84KVrdfzK2+H9ineMuGTfSM9iG57
X8gW/WbvY7PJDyhBw8SHM+JJ0AK1P2yWQBmAR1xgOZKtGVZZNUZezuLEisXgft099nDbLXF4wD6h
MV/79FQUQZQeitAeEi9H28N+3jkocNvqAgNsGixA8nFXLSd+i93Q5Oks0/3MEiq8lAjp0UkeFpcU
OvKD8RQVEPdPtvC1nPF7nSXbnO8TNbPQs+c6LntbxrObF7LlSumEEehUP0nRUZL8/LVtXIw168fI
waGYjYrwJdFNqdXw05hAQ4JcC/TCWvTn1M9+xiLQZ2dEPHy7V6YdJhCbdj8nXtRb4kPnLm7yyVET
rump9wTrtY0/jp5KQN+tf4uKY6GfgvG5uV95lqjYVaSDtjq+dw1ThMCEaMPgUnHUAt8IdiZOsfE+
T4GasMmvXJNjgzuQ30d/tCj/R8W6licU+zLkOPJRyNFg2f4NY+x15SZ302YDuKr7ktdIltRZyinf
kqB7h1nkGPzJweofsOrvj/xVktfdMuYKsKeTHnLdwt41kHdJ0EF+AHq0oWr4fHZsJWi4JwcHvz/0
jH/1n3/vT39//q9Op1D1SMlpTIC2FQgmTkm861byNu94+ZZg3LO1edPO3af5WZ9AQRzhs97jHWV+
bR7Lp/492+en4iu2y3sSEvv7Ek+I0GruEAgd9euM0wb4BLkuyhMSlcccBVTo1I7piw8SHHQgc6t+
0PzQ6RgaLG6xb0aHgBBMRXGnOpJs3jZ0/RY0q7iBvMB4xivd3iWFfVu8mVvYcDvhrr5Tn2nL3NVk
jQzaXXYH/m3/CYBWfjfyv2/Ur+Y6RCxwQ/m/oXfybg84Vu9x+HjS7WRnXKgaI4LEHQXsm235MNkG
5UNmQWXCu2JHwzO+hHecutvcSd+ALf/EIf2djaj8vrq18P7byo1MVUzrhqsTriPWa/Ijc+1ur31E
31lkx+wN3+EhI+xOXqVM86G9g86Nc8loy2996RAk4pG5/aH9MRMHPte/bfWbDQp1hhaMa34tsKo2
9Xyo1q2ecn9qd4MDmKwWfjnbyIjUGv2w1Xns+62xz7n6aq9jRj/v8c8lwp7zFWC5PuHTYpfH6ARG
hzoG+5TEiu9NVNTmFSoYyCZQR+8ND9HkmJIjFvs03ElEF+oO1oJE8PSSy7+TK1sG2UtOar7lLBUb
cjwtxjopnGNQE9U1AyPx5cpdBCu6Dsf+YTomXuyvvjSbrWyHO/RAAaclmVMqQZ2dj6fCKLmd1+d8
qCtQclqtTqyqRT5AoF31jV2d1ctsNwf+joH5D1C5+LNcOXhPzMZs8ZmgmhcYOTbnbWIpzJsxfpVt
Bs5TAPHbvZE+DcrtLMEUQUzblmQFdpiLDB7nA3olVfbCs2BvOOnqrW61sYusTi29IcTTxZZuDwVI
bbx5W6qtnj113fMILo+H0LCb8Se8BW19auPOzqD9gWxXeMXnh4won7X6SydHt2N85/kjNF861kwC
XtY4Nebx1bnBCvyD1M0tqUfW5ik37EnfhrWdhiEYOhTmLUzj+p6QH4FSGz+X/j6DK2KeZo5HI9zh
KxTN2BTZzbQXZxdTj5SEm9hLsmMv+grZ3UyBRTyfKU5z9wY6fjfBjLfbi1kOJAU6WESPdCRb/Mht
bG3kd8y/5eJHGPdVeCxgCYDb9tlV0/EtemwlV6GNmk8zDmaaLSkIzGB1TAdTPgGlT4YPBLukTHZi
eyo8GaKLsGXXf0l3HHQ6TlkWbNqf2wGWrRI52ak+sWhv4mQNkpUOW8pM3GaotjePkYQdx4HU7AWH
dCWAUG4nzd6QnrGhSl8zE1J5MlkV/kQOQbDDgyE5iFR6KZDUx1bl3OSk0Rw6QFUCirXTNMgPgxsp
q50LyXf0R2XimUIglfZwP40OsmNMzUft3I5btXks8od1oLH4RnuMKj9c/NLYV+ZWLvwK+wHV43QP
/SyAvaE59GK4fqe+Vw17uTln5FJHp4qXQ5LOY3yUhF0p78Z0m2WB2fmG4tYDVkvPI/ivC1gfFjA1
zwoxofquiC5UmKk/GW6beAYNCrDrl6Iwlnoosr18e+g1mJseCejy8xo72bp6bOuDcwuPenRU5VcS
5ayR10i/RBkR6LE7ztTF74gBBsGLJYckVAyCevBe80E3dmLiwf7SXsPvXvV4hrVo3R4NNOAw90dS
GXAJx+XEjWl8Nu+bhjbZ1W8O00m4OMJhaRyxPMv0D5JkmTK56U5z/ErtGzYAucN0UfuO7m42wsWK
/UXYiWJAeXif9YfmC8Zxba06I1YGWwR2X4QOx/jLfG1uV6OfdmrjZcvWSFt7rHATP4mVfcOxqLTr
5/jQu1PsiLm7MOgSPe5pER7LbLcY20Lw2LIEcU8HjhO7gi6QkBTsjT5ElEwtx7ELWlJLgNfeGk1D
EMJ34vQBTd8d9w7DJ8onMduGy5aI9z7o7Vh2GNeOH7o7mJZgWqkeUrVZ7bKdW/Y+BsjV2YzeN/ho
IUBUzlPRWyZcrD3OdZ3dvcrPmz1+9bQ6yXvcBstrCtPHr3VaOmpmQu9LTLgoxmn48H3vK3twhBf6
kjYmkMuVPNxiWhvhof2ZzliH4Z90IbQ4yHVvzSqgWM+xQg54tpnmRYEWiCvtzcvTYEOFDbv6LNod
iQU2NHKeanpeel+3JWvzOvF1d5UXvhqmNX1yqtit1R5ZrEu7FQufDpgLg4yEub5joNx4/Y8Fa3yA
d5fkTtFue6pOu7XDLUz63FVmZzO4DD2eWkr1YS/Y9SfjyhpE2zLeFkg3kJEJqcKe59iNTjRDd/H5
dz3gC/nLWetiNb/kzjz4ee/WjKEHBj5bheQMKqLZ7dKAwXWW0FbuO4mlAl3e6Womr9v+8tcNQoP+
I4XY8MMv6K1pxoHHBSQApWVIHJF/EEg8UyzbmGfmVobraNsEo3xaitMwT3Z8KmMni/bdLUh6d6Oh
8DpAEFYjdym/GtE3hUNmWh0jWlW3pugoLqe4fjJyP4MuWjp8Tpb5nX5Emp3kVln4KmlutlA51dei
2H3h85oQQzY47YRS+cgS6+JLq3lx7nGIJHv0SSK2YPlxUR4rpFSvg76r8bdg/a8qStOi3oMnkccX
5SiftWPxdGvYxX0co1mJWQK8ZJtHQ96iSVBfxKWxOH/qrVpaxOAY7wzFSUth0Gn4la85zVv2kkvs
y2fOIkacaWWXnIw4tC8WbD1mYqJpjWfhjSHT0FijIzpi0OvbbB2ZSVEAicKWNFvEKLX3GoGZqQ4r
8X45adiet6/TTHWwLZMTuyMOYRo/wzxjc1pOMtvwcAQOWmYnF7aMhAf9XiROgGTxB6zmzWB5yhsH
13n4jmrqS71Hn/dpHHUw8MIVuyALfUHzSpEr39XzyVD8pgjqaDfc7tXhqNGub7zOqjFuxR9VdyBU
za9haonb1HDK+kUT/Sm9hoJX8txyR8hpiWx+umKT3m7gf74ypQaiQXKDjYLkwqbCDli2+KaJUzOw
6wFCV2QQM/LxiLEf2onJ3NKYIttA7R32jiS78dfa/WyC1UKt3BeM4lUIJ3eDYtORDg7Ws7mdLt6k
2iRjyZqn0is8JkiK6u/J9DavRpC44bbY91j/lXqQMapkRzjgT4bAa9SxQbcI57jj2Leynf4ubDiO
bh7cLrqFmBLIXXawMR/niDCdLVxymeaQP3t8GnL4EKycV16LfAjEq9l4iQQwauksYXhj5RMz64L8
h+KykEPIx3V3TeVClF9kt98c2vvohOkkIpRD+xjRsRjo4+0WFIbQDVI0FgRnFDNsbDWTaFs5AL1g
4ahuadJw26XM5KHoQf05mU5tAK1BegfX8pPukTG+gYdR0Ei25sqq2ym7hm5YdnpQJSclPcTqU9gI
7mI6n0ZlE7NZgXW88LLA/bBX6zOK48/2pQoYhj8T0anXb3P7mjQ07ngkWtpb8zM96R+blxSnt8pK
FLt4z7AUPBm6A3xyKn7Ufqt2r0YRsIPE4Ikbu/jhVtoidpdW+SK4n8hmLtMli4IydccejrjdJ58D
FWd/Mtxyy22oXHY4iuxgDqRXmfV/WbWRsqM7nTs7DUWqNbmcfeCcuEVmLrHk4ak9N9+xf9uGDOCx
dLNWH3Ptof8Aylz9jpQrJOWfxXCbZE/CCHCiop43MBhSW8pcBtid7CmguAm05K1APdAGdevcKD6p
pXW/KO2wcgoRxamtaV7WOolC9esSetlBbgcEEd8Ew5kkP1TsCI1r7BsbO814Q63osHlFqvojzC5K
7k0Ae4rvNX6kb2ZtYerIlqBf5KNyvr1hmV1yLD9Gsi2QvU4wnXJO0nc1tKQfw8UD5bLuN/L+xj4o
4bNoj1eg1Sd4BLrk8Ja1OCWiejp3pt12Abswx8CECybu0JElX/mJ0IJq7PUfDRQByNJ3BmcshBui
MwgGTq4d9wIPxXYFXmxpDMBPItHT+90sO4WEm4aHYVDY+8IPLodAPm3kr4xy/Fj0S8PGhIHpdXlk
TlEWxyayZTiiFy26V3g+fMd2W0h0p6Oz8p+Id2+9iQOqcYz5jk2hue0oJ4XKNotThumh6o3js/gl
cByAKtFs/fXMxwPzmWFXpLaMt9WrfnebWHo1BZW13BcsFkhZ0TWKf8zSwY+67hx2y9j0IAkKruRP
MKI9HjI7coHvXGxJC74PjrSysdnNnLFx4oUIUxubYWKG4Jq8tH7ux08DS4/zNdCc4b6D7dw7Jnol
FLK3fZ57CgVbeerwG5H89WkoFyYYs+rGG3uhaxNt5dLDJy9IicFUkFNgx3g3fe2fbgd2fM5LS3ih
/WEPDAe36yxhdoQnpujnejnBTugoDxqXzAaZZ1YEwiMcWC52KJw1pE3c9kz1X+ZP/ZNdijgkbma0
2RL2xB4fLee6t01qf/L3qFoUO95ndzd8PZ1K8jTFini5unPCuY6QYBT2pBsLpVdE2w1MWQKzMloR
QmdsZTxWo4vDuR8epW36Vr21GIvN/jTRB3Sn1VC/sWGmP5qtN4h33akEibm0jCNCq3SKNyj35TOS
OjeEUpZc8nf1froTq+drFp2NjMQ9DlZ/Pph2f6pt+sfkYdopu6g9CjdCCPC5FO4q5V4Kr5lJ44uJ
yzsLKX7vabg/8SOk0uhflgsMNn6Xebo987VekjOa3Xo7erOjuJs9IRg3jsWP/vlmusJOvdntQbOH
Y8j/3DeXye/B/uZ7DRHES+6xMvDKLcyXmEQv/ZocOeFd5imW/tEqbuK0zzcyBAycqVF7Qi2ys4Ed
qXwlQip6bNzlx1xHzUzxJRu3WfQL5HZphb2hMZE9gbfyC7QJAlRLWSIjwoauyieDtTUXE/941a5l
Z8OJAMqKiD98SV5kKK+KfRAlhwlVZ8+ZLTPRWmGJhJYJYzlKlcY6bK5KZEH973UbDWWg0zRbxdph
Oyzcm+yp/KPKTR+Bh/THwYHOfR+XtjofYFYu4J1/dO4Bv/w3HMbUGPOKhAOpv/1tNpMmhH0CDrPG
PRCx9RzR51I6O3jWzoWDwyu4hpq7RuQyI2soHNnGGrt4EDHwT5hHWhjFEIQUpX9BMRMBVoDihMrF
oicEPa+M21HYMLrCzvKU2OU2f4VyiH7DlGzmOqabPqnU+mQkWOb7CE8ZIVTq6mg31xs8P6TMJzCD
AXimdNtSq0QPoaXGbIVWiNcvYwgre1uhQiKAPXNXuLzKbltYPMTFlT0ZCZrDcxjgYCYOEcMVE2Zq
Aos4gHawhcgeCCz2qebB4IAvxm3zp1xr+Td3HhTO4PaqWCca0FS1X/hxHpmobjtQONAZ3WJQ+tBP
jKK9aXHUjdvxcmPHw+vYvZfOAkDHpapbZUDTz2Kx9D9Q+f/jwfoL3P2v6/kFLvetssnhKYKnmdxJ
m1DkpHAXmpB7wLAUPh0OvhAXLWyICdsKkN3etLss/NG717j31AkLp9MSe3Hl4MsOFIeq2jRYr/GX
5NycmCRVCthzyaS1gUuJP9NdKsPdhPjj9B8UmBBMc1fN/fDblLwIqE8J+uwYAarr+fZ2WM1vlnpX
YHzS2FJLrQlv14eIorCj7OLzaotCy7gw9RrxiT7m3zWAygnYDjLAtJ2utZ3bc781kud+OSfyoUm2
hrqnJcLbAlnyZvJgDxrxXdvuMj1gDqRnbynTz9EJYYC28WWR/PoBfKv/HB2VOt2tVQaW5w3LjvMk
DjYfYuTAJFMpA7NrGe4oi15ZVYYK9fB+SghDo64D74r6PUDh5C+bY5ZdU5hl5l14c7iM/fgN7lAc
44BMYdAbnLjRbQnU966WWjQy1b02XhUAgQnjAw9+YJgeGVD2+KNP90lxxFu7UPex6QD3MDEO0/ss
e5kwb9GsKrSWs5xjWmTnXrax1nQ5F0dn+t2aA4g9kxGNshY0gkPk0MaumWVTfXV/ovqsFK9/LDR0
Exss6kk7+K2fmJdGxgaYhR8fikPoa56UOJWnUexvFb9mZoY8G7xzOArn/ln9wzgRUcy/fTz2J5qm
r6yt3+aX5EbqRdise9scpKAHLPLelkyrwNRN/K7AHZuPWvM20gN3vZk8DcwEyHAJaopvGwJvF7vD
l57tp9s91Nm12pXvCHq7/dCvDBtPklaWu/lOx0WbJ3/hZLZILhRdsPTJ03UC3mytCAwGv9kJR45F
/mDRexFclPFYjF4znaG9CprfXUdjP/otJJbMIilRqXbQswcwjyfc2luPSUdynmlczR0tZ0FHC7k2
g/nM+M+JDhpsx4o9lnRmi37WAv2CVh0u3g0BrnVbR2JFsEQ70KGR5vim2zWwXOltVB88bHVSHk6A
ZjVByyQDhHYneWZH/BnjNk/RnFrGDxwVGVPOw83w1hJYtXIglMmOnPID3XU/O/97FPzbN3kdXBjE
MPy/R/drrHIjkJlAbB4dbbrTvwPKNQddcMFm+h/9jSNJRwgJPQjp2UBK+OgAoJfA8MKJxEwlO057
dhOMw0/iNf1A0tg0XvvSpgcZJA0G82ARLiIfpp9Z8IQZEjv9oyYFaeEsj/IHqC4RnDdejIQ5gTU+
r13AjT7spUYzqPF4rP/9dSXzX48IDV8piZMYgtSvIyJcwlDox3DjSHfMMMTZkrxp3RG0l/ANWCp5
gr49vmciiinmODeQbfYFjugYNEmje7XXiKEa0ZRv3LGfC2DPB/bKQ/zArJrj9W7jNn+hXo0DegIE
dknorDGzg1hoXkpfJ5so579xDOLLU9FLoNHEImyYMAxbGvjcMk7T3nRnQnS5swdmCh7buZ/esWTL
R3wjjvkhDKSddt/ke+3NeFT+4z+un5Nt/HEmJCIbbYbiRyj0m8Ni0+9EVoUimWmHVVxMH3gm/Cwu
IBr7/iMO4mfzmD9EFAy4Z9oQZ07zQ75tHeWED0pF3wvwXhKEhWuUNz9XPm5xVukJW3kPCRma5CZg
UvqX8pB5ope6+Wd+Thu2SksMlMnq2Hlvbr+vXfoV39iGpwx2+rmy9f0YsCju1qJY2DIS2aU+jvsy
0ZodlYldB/Pzn2JHEET821Zl4Mm68j117feIWegHVTXEiKgbUNkf5mAgKohOxtBO2Ddewctmb6Jp
07TLYL7XgfDKwIrTsAP020JS32ASQJ9GiZowdgoBQ2u/+YI4h2EB3ifkpDJsET4BRW9n/R3CWHU2
Ptk9Rgu60o22uGU8O96slc8gag4Qtg2T/0x4DL+SEHDetbViWt6nyK4fmp9QdWI2CoJ8KzfvHLY9
nP004SD4yzGtPKOEgxBEr1Ma0A+KPXNclZ1qLYznBwrp7DX9QM8hgdfELrAcAPC7+Q4MSDMldO8g
XFHzIom2YFAgavfm/bALH+TtXB2XFQrBnqOtd110VdtnXtbsg3lDEQWDeopMGO1HEWcOx3j4w0v6
Vy38+ziTeDl1Gda2+A9HxjjsoAbfGNSkh5RR77T1ypOmgp6868iJpCMMkVu3U6GT0Dj0Xlmcmv6+
7k6C4Ya2+FbmvFxuzsky0RFEXxIlSg3+hajbIcEhuW1Hgxaem0+HDEdFZ/DI2CANlMqmGJly5ien
NrzE7Z4kiUIN2mhL+Gr+kuQ23ik6Oazqtkx9SjPy7pBEwRCE9zJs2SMQ6kxOlAKAercPhoKxi+qJ
nFxHpv24cg6DnxENAdPYZWdcva9Hw+ogTMLyiN3JdBf2y9EzqFsvaeFHvIJ7kAv6nIecCT/lYo6O
w9fe27vkVX3RPRo2xhrmg3Fog+Ktyqzb8U8kiX84ra2HxBpYTtgAZmtQzHmpPt8vSRGtvuP/ZzHL
jaYLN2ija9NxSU1L3q2uebS3HKt2sV93mWw7vqqUdjSATJ60J/HPzrH/Wmj8/UJWXtPfLgTfzFa8
bVgYsi8wSXQrL0UAs6acFHBdcI0qYbuAmLJyNbfIDtJn9ARraHGITqqp+6Hh29UdTQz33F2RgjdQ
ydwGzufoKmW0Z9b4Sp9AWFW5C7fiNqJO9wQXvBMNjoZTR223rxsa4O/oDXAT7b6OgJ1sdct8hC8m
o4W0EoQZ5+5jPqYelFDd2oD60wfD+LF4QVvgh3eGxqAM7CPcL2qH5DO96PubL1WWItHJWirsndau
Tpu72ZHpzGNX+WJq2ChgBFa1m62QQlN5YUzRQEGr3aQKNDrByALGgw86AFf89S/nfX1ln5dW+4l3
Bceu/g/8FXmtD/7xqv5tafwSH9ywS6lkg6WBQ4MYjO890M8PkTetDR2LoS0l9qX1kgf9OrjmrvRu
Pn1OIPy0DPw+1iHkH/aOfzvfafx0XK+wv8LX679XyNCTztB0rJDisDiUYGScRb7hE4diC9s/KWC1
9bf989v//0/7VT1pXZUnSsGnEThDwQ8ehczWtMJd87q2T+NlKlgdt2cJBIyjNbIlpJB+55Y+3TTT
BZSbIDgUWDvz1H4D/GAJqdmYZnP8a5wF+9wesKxXnnL4W4fUnfdM8qF3atuSIwoc/vV/375/7aD/
fvt+velNHYWE2qfrF8ov5rV/Gi/MGKuH8YQWXj5TqMiv8hWCEOtce1SBEl2x9uPM/dOt/UuQ/Y9b
C2uFc8AUTUz1//tBpkmYjsrMwrop9hzbAxw+CeqIZb6E+Fqs1D9HZ9gdm0e1gUhj4bv7sM4gbw4K
m1VxdiW+rNAtlffCqT66BRmXAzvC/CQumWSWaIvDze1V/JEcJB9o9GAyoG0Cw2DiiRUIT0AkY9sO
PyUqXlrhT/VzcVcnDGDnH8wedWoEC72TVNngsQp6OFil9ySn4Nrzh6cirUDB75sh6zjXkwmBWd3m
11tWG50kbiJh45Q3DixnRaxW2/NmLdpNNge8PUsom1wZPDXoMSYjWvJXIrQzTEPIQVqZJGZIxD2e
ZI6g2gnpJNkJXIQOZ8t6fFD3+ieZqg34kgd8ADCWvitPtx/I8fMX99N4qzQ/wlvj9gQSqX7HL4w8
55svb/Zmc1ySlTSg9pesfoJDOHU+krMhdWW/6dxNyjw80KL3DJzIvomexJ9sqpuD/Lk5z3ej6gqK
p+ErMgSJLe1UapuTEFnQjzsmh6/GBUrMN+Jc7ruRUokFYAs9IHHoMBTsXDGBQWv3ZjDIfsvbRXHd
eihARRoJqhiYabivGI7wPfEwFQStpg+VPC6CsUcXN/khaj226RSFFoChr7J9M1LjDIsfxctqxPBw
rTIf56Z+8ZZ3tXPl3GtOOGfjM8LJHsJ9W41UNo+hT7QZjJ2HdDs4EFkhVgJSe7ov21m+ggUjXOVv
jmiQAQHa70doRx+97fSu0qBNkx8XjioYd+Funo9i/1T3J6m84ERVZJ9he51IkIp35QNj62gLjtbZ
yApFNUjoQSqbghpYdfI5nDM0Fn/oE5EM/dsSNFfrcWhk8j+sGaOwTsnVYglC1YAobKKSwpXStPEK
QwjRoTENQf/08qLpEExh5SCgDlTmkeTLb75E5svdAvyMPGGfyC8ku1lSNkP1FqmZ3M0QLGS8yye9
F0+9cSJTTJ6CPuHEs+viCz1dUPGXuUG2u+REqNu430zUKmaRcuQrEsJwErtmJiCxx2ZLv3YBcDyi
wijTU0kqG5PDor3WPKAKDYVFwR5KO8pBYkFEdKgV+DycQuZET9QG1VoPuJHkrNO2m0va0RYO6HrG
GbR4r3VuDW+Zx3/vYPUIcL9tMYi/6zMINuNgZbalOVgMG9AU8lgXW2KLagA3XIvBvlBuUcp34KJM
mFJvczsxsVyBVXFboQp+QLISpftwAwl48yTEr6BvKttrD+94HaeYsysPK6IEakAK2cgbLDpRvS6J
AgzEhhefCPaU+Um1TcsLG6hV/hXmtEEjO+267+KGgMALm/ul3MscVEgQinNYv6Qw6CAEI7BI3RQK
G6gw8HL0FWHGidrjZqPPwHsJW/hku7iQ9rHthhylMYdDBL+bUNtguZu5Cli/4SEzva27DSMfUdpn
/Z1JDxSC/7k5pHbFwuOjBP5bjmPEwGkb0bNUbyH3M3QV/uHwmQjeJN7T+qa2kTN5t4beq6Ej4GUE
GAJnUhStDFeL0p6YGDgGwWSVa3wliYdqqcmsxrCZmgzc0Y3fo5HwZ2ObcUazOBrxIa6u47grrpmv
HRkM1cVjNASNvtOn3axYxU97kGHjiH5ZH7P6WLEnDdfB8NYzfD2e0R/QagyGy63GmNeOYLFBD+vV
u5KBbOyp5U6jRardUrsL86O+OB39Pqwy5n4dBQIsvRVOZ3FEeAFojtK5anfQ4YSonpk40Lu7hZky
tPt1lKvCO5ruVJEN1TI63rzvHIepzmkZFkFcr3iRvKTYtlyb4hW75TsqtxKMxWSXODCYum8QLg//
WMYHAJFaAOYsDXYIsCAFmgiKP7+ZyzkzUEwEqQ4Z3GqcFCAMe8b6HJFtudjjqtpxO7ztQLz8lY0U
3ldfKblijCpSq1hVx/cbzs7KEnfiOzwnPiS24TL19/DwcZLfSPdjSDigg3QFRxkZVkTp8DaR0qjg
adFZZIweUurG3AWNYSDMXIdYXBijpooJ5XZT7GFlfg0ydD+nwuco8fQ3BegcWYZob+SgozqS7Nvt
SYAlRuMLuy4h+89GAY9jZlsCRKtXYLeRvgltPnMqE2mS6JTdw9zs1IoB7q2dHTrkxEDW5i31e9Zb
xB4mrxh0EcAF4wQ+dWYb4ZMy3VdTEGmQ03xNOItNkCa919IDQaTB7tpF013lZ0aBpdfPPy2WmY7w
EIM7U1SsRYNXTLsxdKpH/MFQnCjDVhdRdt/LN5f7TAvmVMn5fxcRf1W+/6ghTPUvmx30hMov5Eve
NDdsI9DaSYorQ/6F4FdaN6jdPLNjnTsKG89PDNYpMWnaNvCr2h1MOSdiuosJ2Hik7zXXGVWSEeQY
gAmF1/rBUC0RLSvU+ZYpgnMbHtdekL0GauOPBiLM3G96Vfq/MLH//Y2UVWr8z2+E74hmyFjBir9U
LJO2KdUkpfoevB6tirZXZ4sRiXDtHqqHzK3ZGGDBDPvlOUEUTf0QDdCvnWWxQcTwUO7PmXeDjfRl
nv/Uh3AJ/3Jx2MaSrKjpq+Xvr5JtIRf4FqfUr+EbxH5qV+6v1u0SOvZqsQ35AOWUVJd3XbcjXJXF
rbSc8nydFE3Q63B3wZeNpWtiL20r7UvKIKO/NNG5j19S+OTHlZBmzd8hhZ8kQfgVXgfpM1FBjaZX
iGS35lkXaFYHXCOrQ9rByx6x5RhfTeVdKLZ978i4rl0VfQew1BRbczzAAotnF7hvchkTQ4LAXNLb
fMjPGjorxqm7jRteIkZlOzYZuD+vBbzr5iiMj8S6Q74bpJ1M74O5xuCXjTMw7tj44qdZOGXmtbyy
QhAdhv2tuaraWRt+VoiEyU2gHZYgoeFlUO8yGYXIDtRm7LvipXuOf8jpQx+Z3Mka4BhFRhiMC0lm
hFB6UQJLwI2ahw3I5e0KXqVgeJK70rIdx31N3ml2xK4zF4KZj5b3BY7V0UGsPLw8OhjM9FAptq7Q
U7PLqHgcUcX0BDFLJ/tD/o6hoZvnXPIgTrVseJNXxm6YPQoTIqXvHuYkH+/TBlB/SdiHEHxU2jdb
Ogu0thDdaxtJp0yyKycLzBryn9josRRhR6GgwFCrcXrOcxi4LyYKRGBnBzEG9MNDHyQ/ui/0dktR
Rw99BWGSPZ1T4VUePH4NYJGCNo8frp1mA1HQLdkxOJGgq3C3BMskygNdWrMrfB3ZSLGFLdYcuviJ
ccNt9lvIIHfjnp1HbnYEwyfekJ05utL8YqizLbAVQqHwss4zMhsJmPY570IX9s+h83ikbrmbn0Z3
8Og4nGzHnx0hhZxceEFYzXk46D5qxJ/qAAv6qXSRr3hQuzEMpjS4yiI4xZbh5IeC94+6cgeRJ70M
T4wTmOn8X8LOa7dxLGvbV0SAOZyKWVkOcjgRbJfNnJPIq/8f1snfX3VjChgMpqe7y7JE7b3WG0O0
HhMwB20MjBqaP34kvnlejbgL0efw1HsmgJVNUXeIw1lxHtm4+Mu7sTee4r1xkn8qt3yOD8Ju/Gqu
8T6rnHTNfrg7Bm/5htrxafVA2MhBcPjeHxBBCodhz/HAKGi4Bn6fycEv+T2edR8OMrTCOGyud2et
fLI8fYsEBQnwjiu1sc2LdEoetMc6XPF/anEHfKYb7VQFXYCVERaT16R9xYdr74EkHmJu4lX9jZil
cvJL/yN9oHhrd6Qb3N11YG1qZ8bPgCTDWRkJXq1+ifmuqj73fGduIm4Zm5RoDt/mcYJ66XEuyy6h
1Hwjyd6SqbYDCJ1h/pYvaRo3Cl+SrPW12dctL3nj/q46P1cAl7As6OWhrx8E0Mq/nX/Serz9eTav
Sd0Ed9JVxM7A3/8HUicntbUMMY+l6tcFnbIb8cP86E9SsFDCtNqNepgWmw+cymWPxeUv+wpJ/P/5
AmhHtVRAZOlfQL/Vm0ZR0BzcuVrnqrgcPGe262x/k98iDdW33aAu5Nu3Sji9ptje0IAZ5yrHvx5G
t6OMODn3MiSeLkYNIl4y5Karag6egJGTOVVx1eQiYk5DgBzbC2Zl0zcec82OPmCISuurj3b65CwE
D0lYgPrFYx4q2QZxysvtc47fBPQUMjunopUxyiZPW1sc0Mlik19BDdN2g7sUZ/ZCuUW075KgFb2+
PiX0IuUfE7b2PlAVz7h96gxhcX/I79wxgy3cTtKCStJNafOZ3fy2LUN8s36THiX4nd5uRzK9vZRr
yTGxa3gKK73YoPPAFkRbc3RY9fEkpRS+Fr8guGqBOGyDG4E9LdOO46/cUVhgl3yv6kRQjmiLstco
wT9D9jdKTKl3M5kH7rG2NvNtZ0CEtx4MiuSUDioE7jPeB8y/m/RLPN45RggtVy83n3fR3Kxa7DS9
wH/pHgBsDVIQl3SfdnBZ6Hbl2OniMxLKVdttL27KrvYje5bmaBh1bJ0D1r1nITUFN4bNHL34PHH1
a7OdoSci5hAm7rhK4gV7PhloFB0p43eAH8i3iGXWER/hUW+TdyMEgvqkW1+tPQOxOjpsMpp5V7kf
KC4GyGTlWUmxu3pM8Yp0bJDMeZaELQBfRGjUuwT5YXXSbkfV+riDMkHAtTWGF3w+57xys/mIZBRY
GhSt4CPO76iGQ5wK/DrZ5/JdyPbcPZIykG7Jk9WEh8S4jMTzxG9I7sjcRUtZCKeJMCFdvLaaB9PX
e8BQOHVUNMFuT8waD6owBAvOC8ldE2+JcpYIjQwSEOkeUBSKG41Dn2zriEjNtQGn26v9ayY+rq1R
ihe1qEEw1zytQDTttRRCTZj9of+q9cx8tHzeAgaWgdwo5HRuiebQlmdvybcJ1c+WJ+unOkPF8jgE
8GwgHwUOCfhkrlmU8G4ccHaZZVhim5txUKMeRZDW+vEU4tMrdXsVhCWOWZD6Gw4A2Lu58Xsc8QaK
6fUULcq/QNp0uP7l6Fj//j/OLksqzEoi8BcbanJc7bG28QlXxBqZOvfPZvHTzGse1CtezdgM0wRS
IfUS32A0Euz8C3LcFT5iVKyIs9Fi5yzqaKqxOmidrb8ldobWba8w5WBVcNfHfcV41TfilUY+UbxJ
tgES5aw0oMu6DsKgfEMWMZnpGLKgFUyHVhkAK3SF/QWFDk8jUr/B4hsOcPHAHAZX5vRMlo7Z/ywE
ArD31M7ADYAmE/hgsIE4AFG0w+B0BRb1Tcri4eA+Hg6rkSrkzhn4WvDBwnaiTHTm6K1d20aTBREr
j5FjnP9m8fytUvnXnaHqJP4o68z8p3zrRnqVnhkltB9RIj/ZcUWQ9G9Oahw0pl+fKc0A/80PnD70
xYDpEn37VNO33J+a7CjKu7Z7NCYy0jj3JFiSat+lVL7GHw1Ui7hR38rPVQdJJHO/ytTEfjeFKdIg
luQcGzur3/Jd4dH/HiP7juiowBACmXP7IlGb6LRKZGALDOu6YA4yvTwFRz7xPRpoY9P+ouiR/8Pu
Cnvx/9+LP57BOIo7Ue54BkEGt+azdapD7Hfs1MPhRl9isW8/Bk854hWwp6fW/1vhpfpbs/OvD4O0
GtmSKS2hHO//fgn6xaiEzmRd5MPonUz3IoNxHfjMI9csx4DHKFI4N/GtNAnNtonfxpxsbWrSmcno
RO2Cy7U4DNalngEMeg/u2hkYJY2DGr9Wot1wbnQEWYSl6S/dVjVW+VY5HjoltzUdY6HHoNqm7sAx
gc3KK7BIoxohV4NM7wqlIWUSe5C2AYuAyCNR3O1ecNp2tQgJ9mS44siDDmZcHhKXXYc5D8VFI/8u
0gQV55ycQDrYXWfP4LIA9a/2qupnL6tyAwk+qjfRjfswwt6Rx84YOaCqMB3ovCDaEDyrTioEvGjU
FoC2SEg8FJsgIfKhaI/saxnw1woFep2Owg+QFuq4wAbraj1m1U3skkYOhIpuWmaKD7DORtFhnVVT
8OQdUovKxobWlmg/vRK4p+KnU/S6on0g9fH0YQlu8Qr3ILmERyJtmyHx9XBwh4/4tQZsSLHD8p3G
98kNCGQLiVH6ZonG11fu3ijQI8Se789aUPuM5xH7U7/CP+ng4BHMFyx3G4b0mBfpwnRyEgr4Fu8B
F04/2uTiqcdJw+l6KJTtwv7hy/GjHH/zoyWvIW1d5J8BEUS6vWbPxEi9hX2ETrs9jCiMIrdVEntC
YR4i0Od+5n+m1hsXw10rODsPQ3Gah6epeiaqYSTSEEU/JvWpOhhkkUTbFBA8syeF9hO/Iasr3xa3
g8wRRoFGciKUpkL9PXip4C4gUTyztcsaeO9eDPGrnvdwKfqngEFm4fNxlcU2m8ui7YT5IE179Itz
+nWXgFvVkNjQpdymxYFjnZvYtO+qv/iI2usdSecwP9VJSLF5IrwP5O64VHuN5FBiLacP7A+wrnad
X1G8aVtB4olw55l4DHsGwtQPkYfhEZdg6pqzwyXflWE8uqLo9o2j310dHc3NNqHU2cobj2VRU7aN
cGJklGmBffiySDtF5ZsAz5qBkb1Y1bG6HcbWMxVXYPWiPXM8tFgYVBiTkPT3sXGNT4N7lFWx2dY3
Jx758o7h4OUfEu3gnjIFuDrm9ab3eyxxwz7PWRjxevShaoUqBmckPJGv0U05Etq4TZi51NxrSG+J
/D7fouJehZZM+MAX9V4jr5Or8RSnX1N/vIMo9T6jYEoy6uhwAmSmbdKfJbst2Dz3DLp3XB78B1uI
TUz8/8aM/suozzYiSiISINjh3/qgf9ztw3JPiNGD4Oxm9D9tOB2sU3zg+3HJ0UW/MqGnXvQ9gfx9
rPv48o7U5EW5mF+q15wKc0MU4l/YPeW/SGSKY+lsFC00SX8Cc3Aq7SBJIEXNj/FqcrptmT9PMBRw
bFeoSgyB8Y2AJ9ZAEBg8R5MNJIHUPumctPdWmwz2KYg8HCikQnwKb+0zJ+RUBTh1IYn/dk//Xp3+
dTX84wX/cTcpdT81QkqKGLiQnQTTgX0EIlHzFRfk/e9VVtJ/vUOqrImUoRFy+C/tfNTpg6XnvUWw
YkE+2+BLLwbzyzV5EplKy2/zSIXW38L6/nMM/OdP/UNsIpaTqk0qPzW69vsxRBUClhj5eCx/EHtu
V2vr/344/yuMhFA2Gq1JQDEpfvsDM5QKkRzYhHmCK/OdM/TBOE0Am/Nz8g5UccHZANcZAVxvktPf
NmZJ/dfIQRMfnfKqjnSCn/9nBU9xHywpbfV15CjxOnUYDzG8aQ+tGSbZ4030byikOKM5L+4sQR5s
HAZ7QHduKWG4RHg8uah+wW3ge8fo9VB/3lK/rbY0X+B004VfTXpucd9mrzIhc8NB6M8DuSSEI00g
QT4j2nAHKtj+hufgHDY1dhIqOFA8OajuYMLWRBOXPY+vQCzhHKVc1yuPaiBgnLe5Nu2XmefdU73s
iyTs2qW3gzAQtFv823TzbqZxR0h5jG6dsW6jXev3Knuagva5OVk/MIrZbXtrgr62jeFa3nYMyfom
PzKA0lANCUdLECyDHChP6gN61UTbU33Rd19i4emTV8venc5LOruILF4hdhG7XuoL9y2b5A0khNCL
lQl2QAcQiQw3l7ahXZv5bDnlhRNwUn2Mef/7mZLFfylifn+slOoBnEqk4v4hpGiySF/kXoJLeWcw
Q+w6+BU8FEbVNbNgo/vrVKkFyQPrsY2QyYTeTxFpbsFDE9aAycV/WWP3K7ZEgaC+S9jDO5QQzvxg
PSk4hBnLkVq0DiiPdDvlXdBxyUHCtm46bcmwIyFbaYLY9KXoQ0V1G3Uw968L1iSeCkx0M7udA3Df
HAEyyd/CS41l5ZyR3aQhidWVo8I9Du2LZgYQOPYoUw4rP8LvWtnQlXequSZvldcUz9Ix3wwQSEdz
I7+yOAIKY2BZtI2p7eExs+UciwehOLbdnhI32DFyP83H+xLIEUKC93v2k0KzWeNXucBJkZHgtFfj
HT+vxJuHPwGAhfwLvzvzhy2M34Kvn/DnEeuF/MxCwvmmyoCRTpU817jtKKhfbIucDO3LdPINTQzC
HFq387iWPW8VA2+01zOUEQeehbPBFR5kEOGb8RvxZnVzMBcQTwbhrO7w5GhbWTkYmKjJMLy5OhjU
/bEcbLW2lWIvE+QA3YXNAHSFGToH6fFvzWDj3kc3Dv9LCMvEGYrHVP5QdwgNO3BOr/icP5WS2GUM
Z87/fviQVf+5Sq8PnybrKioeXeXm/b9bxFCkSdVMnClxWHSEseWYkXfTJDsgmBRKTP2nDOyCHB6j
AB+uGuJyzE/tSc13xCwG5pvuNM70OnvY/dIfshazCBdZQ5K2VxLGiAhidfA6PG1TEYIvqMrrDRLy
1pMO4NXq8TZ6VDBgvJ0e8d9BjlhPNYieVe3zCasBOdqHHpPkifI7udzhTyTtGh0C3uwwVtwp93WG
mwUh6cccH3QquXko1EB5aQr2R9mb7r5Y7AvWl+mlNpwCQzun0MSyDT8SB+J921A7L/PtYDV5k4vH
EjEaJjTxyhGa21DGjPobiW5uD6m5J5IbwBkzetpnf5Lxub5YhESLNAHaVeVOhxt9XP25U48VGdJg
0egOcIzed/rVsKDLSdn/1TJcyiGxiaN+QIuCGTDx9ae7tWMs1tQdflBZP6vERiJ3QniMhue+hekg
OX4h3KN61i5sJlJ4n10984TpZPDlvvtyb5s8wRy2pJ3wkM0zCdpe1jKv2u0QbxrmVxa8+Zo6IT8i
fqGuD9zQNPZUCm7E89A3m3KnGBec/dj0gsYMB8mpyj2pB/L9CTaLUxo5+uSLii34qF+N7Ji91gVs
xUZr90XyDlimLIf7z+KO/jL7KTOthB8dJ93gxnmog8LeEIiB1taXxPQxXyfsTI48oDgiFJ6kl+BO
fmU48rShw1G6vTQ8N+l7CbCVHCd+lcxbbUvM62WQEO4Sexp7Jx8qil3hAChfHIXqYeCguW9Sw+ub
64QwNybCngUGsifGfPUxITuEUBlCgjS13J+7rSZeMpQO8mrBv7u1BdjyMJBTAIAh+9EXCQYURsQn
kptsGTg4tnmdEx5bdsSGvTPddNqWQ1IcAFBZvUMYf4qQBC/oYo+Ts2+5gLYmKfAE9bAM3L7jkT9g
yxER3Ult9S2DiD0UY8NobNL8WdZ31s0T9Sfj5pndeeZgpScLHkYZ3sTplzCGirlPL0qPxQ9aDWuz
yRks27KDkhnfKy0z+GLhqEleqnijUhwfON1Jh2K1pU79rruq5hioPWQbgWz5q+4uyl7/JuTbYPXQ
DyTBAIgVj+1Z2XHvga4NfKee7q/j1wJcJdr8sqO1lX4R/7w2iwtImt7vid2ZwfAUWZukdWcNUhOt
Sik5M+28ifJM15VdoLCum/Bm9Jekefyrc+D3Pfl/pl6OMl3XRUhdYnr/1TxaUc9QLmJ6c/I2GH6H
xxQ3GvP2urGesAo9fyz1AkFY+eMAsmAQYXILlNN6rG4gmcG1md3hyGjeCRcFZcZVQhqwXPRqX9YB
F68ooDLOXEoJNKhDUu+9EeFI49b9ox4/KqumViTkWyItIMgIUSKKES2bO1YB6nD0fiYXrQsU2G5G
NczXBR2kMCQFCdM8JG9mkzFILBQCmqlx55hvzWYklrz/tubVYAe7GaXvPRQbYEe7adfQV0d1RG8i
4ZMKg2Bmglml7F5n4PXcmK/thgQFUGjixDYi1JT1iwYJgj82lCoQyY+4gi9vupKe5VX2WAShWlDT
AVvL/JsMjglBnPBg2orj9umOeFtuPXT+6EsHC6XUWUFSjOwDk8Mc4uiP5h1FB6ZL9lLDosYvQjdY
Dl8n94EBZrRrCNjlqpcRICRU/XmJEpCZOnOyzn+52qR/CZ//eBzWsesfi2ShiiTWV2A8d3hom/ZH
ybmjHVEJc0IZtMl3uO2RHQsZ1rMNV9L/vlnl3zfnvx9HOlcMqmctWf1jVzD1rlRvIz9fPfAr3x0C
SPYrZ5W5CW5gzHfS4w2KNrXBODeJd4P/AozyVPL7OBKfsb+tojpv2U9+vyeRCL0e91CyY0jeNh8i
dVEb2OmTBjMVuzmKR86Q9ny78OwxKZZeFiD1C+jieexf0Cx4kN42SSJbLSCyE6ybgqLzvNhj2IZk
kTBr2GhldtiOHVQHR9wPD3f7IdlOx+RifN533OTYik1vEJzqkZCUkIlqzSvQLnVQhBH278VVXEpI
P1fw/I6XxVcesv3XsgMM91WPwBU0m+BijDUoUDy0UQXABFDZi3m+AZqFzIjr/yO403PCbXSK0ZOR
FiGGRUiGzIvmagh3AHM864IlnZ6D7M0MLbt8wcfsQ05v1dP6xxpbwGGGVNGJN98pAYrTZvKqcwHQ
gxvKxmd+yQ8y6ZXz8YAyoPbf9L11yEJM58HqfiP6yC9xaXzzit/EQPjVl3BNhjNto1P22bjZkQAo
p7xYITKptUQSjao3BwgwImJpJnt+WN7+97Mkof75c0zD4IEfSmL3pHob0vbPh7mecykZLSdrvVLa
EwIncqoVvpmEJUoV3NyWeB3L09g6xM2kouDUfUDHAfzeVPsIl1JwBpl6jqH7XIaGOK9rO9D65yN6
EZqLwW02uco69JVPWk50ljO7BFAeqysRJwJBpxiwHIOAYiRzV0YP+JTmHWYcgRdPNiNyCEx4WRxo
a/6J9wF9QR7twDHvr9NsJz85gBGCB7F9Aagi6AsUhZ/Pf6toPQVCDwEbzdOCokBot7wmNgvJsfpV
UZderDXw9MbL+Sg+ih8UXqu+DaVW1hxhMXMRgcDsJXi2eo7gK/sbbtXuYX4HzFtcwm87n6Ryp8P7
ZzUHI37Ijvmvdq89yvR/zBvq04OUk5cUhqPUEXZ2VhFn0wDuC+ieI1fVd+J24OwaGrfbjzXBi6Qn
8JXVrqoZoLz87D5NWz8IIW/x/WQ+qA+gzufltIbySiDgvxi/3taEpftF/VI3VrdBOy2SRf5M1icS
RRstyBMTN7InrXCYUIPUZ9kGZyS7BFsLvtRtcWoChAZEaRdIXNDaOqhPVn78Rzd28k//i2X85kN7
uMsLEFns4DRGUU5BNXlXZ0sHFUakt0m2ZlgYbvrYax/tzUcCwyeNvsaqATODO+SoDN/VkO2ddR69
NmD01QbqF/7cqb7xSoD0M/UgU0Tm7qD/xmu5jf3hpXYWb76uFxqMDjND6VUkpqOY4xvC/I78GO54
OJirND4+I+ZH14eE0CVNi/y2JJwZwvBFwRch2d5b22x1KJ2X5JFpzp3NTY38Zv3uwgaxjhN+8Yb9
bsVm0WocEb9t5WMJZzp9lYM/di7LlyiihXypEGnxqSAKxpe5Zx6Bh1d46zEwfsYwzh7uOIKCO2qV
z6vo5P4I1VDNG+R/bGmzsQp46Cht2aVjD0ljKwQyvmOC7hE58m/DOyGlIxb8C90Ojia050RtQtgh
1XFmR/qYdLoxRpwm0ra3MtYINEfQMuR3ms/TLnVhdcmvxmzs3r1BDG7SIZIgr9gxtA32Vifa4ku6
sF6T9AMqAvOYwFNwn57ZYziVOtJKABE9TLpI6pSnXtUh5TqfqCdC3kpEqlRJPKzhdOt3wSYes+92
KIV/p2ihUfZZEHAvn6HazuRcwLVvmGLt/KIjS3ECnM2i13UIrzucL4B5wVCFRoW78GrMj/zGXFff
ZPrTx+pyYmM3gfuqCJ5BGkQLgA1Jd14TqzKiIu3m2QypEzrwG/zCbE5vI3WZy74nqjgOuuqDiGq2
ueZo/ZLBPFBl6Ft2PQ9hGaYl5XG2LeWa4CPj/OJGzfLHJgtyTipE5GvOnbKOU9aVIFVbgI0wV3H4
cmRGyvgNzchfEnaRknyN2uuQOaNCJcWQmD+XqI6GZ/XHeFyTG1YFxM0vET2o0GT4VEIFnVSLiWD+
jGFnVpMf/YsP6NWTd4af2i+IRkDgD8CzAQNAKqNb56gJODG2fe/nnbtSa1MSCOaWFE4qABH7isR3
71gb8Qwnnx2e7Poqf2bF4XbHC/IBZopvE9PMqEDqsYYWV00gLMnXWugMon7rPTGXjC0bkUjiSA54
TA3c6KvEHnX3ikEy+QFQcKnzTbqlaLZQLHE1jMIzh4pEfDBqGvhT17z/aJnbPqfu7ZU0JGgtKQmq
6BxbAP773nLl2sFZVIZyv6k+SamDqAJQGqWdDqDjTAQ7rr0sSeVDZ60/ZKh/UINkL9J3ezDQNzQM
pGRcWs4Kd9sKb/v4I1C+LdXk+uzWL9T4vSRfN3XHwgRDFgOePsoswnZFwYP8XGYuWVkzwQWYvhvu
uzZsMUhvZZvhxxMQmjVrerh2u2TaJn2rlO0gnOHxhpV12dRGiAmvmIPsJR+fgDFtGHbZ2Cbygyw9
JNz6BOVYvMo9CMwLFmcmBwTvO72ETXRF037vimAYH2L2IMOmKRfdsqKfKWZHi5wYToYgk12Cc8DX
Xud37l/SNFuS7ACGOW0U9x6dyQPkK0/WeTftx+fxgeoAINwcHfJAWi+dXWtQeefMrK0e+YYDVA5e
hL1enSZl/1uzLGRbGXUHqozCr5TdPWCpJfqo2yM4s+PcITgp6oK+dAly6Sv3Vm3kc/KN7otJaB+P
XpT5urqR83BcPESc8JXoXfm8zOGoRUGc+qKvvq/QccgNu0tD0SZFgLebO/cQc8ZSYnBcD/Ls2D71
+/Lck4jHN17a0Va6bUO41Uh5SoLS674XdpNVnTjukVaWXPZIvf1oa3BDvNwDAyFFeUwX/nlkk/0H
Jk/fcHHifAjtgRcTEGu/RfY8k09pHuPhVE+XWQ5X75gS822BvRM2BV9MgGf2CLp2AcJJYb0WWN/Z
Tok3BIEmMwp4HOjyjM1Y4j2+IERysPgsmksm3yTii/ba2FfwY0h8UKo9+GISFMZLzXZUEe2pcaoc
JQ+DCyLC5EeGT6bM4rTIB7BMVLcD6aMeDBgSndvHgpyHzzp7vkc+Ob3LF++sAfYBHUmYTuORVXsf
V4kdqi0NHClDnTYSVeBOsGiDy+2gwHIL9mr+WqiwQGO86wRvrk5IRJmr0Oa7a5EjWQ+Kcy/CeQwz
fiWuPUI33ewBBRb/Dkh4+kAWBwx8+qsAGQnqz1l+T25U4EGBT1wSDZ8IT+r4IDZHTUMgRys3I4jT
C1uCZhfCoBJ9B5E8KWQ9dA8jgxjivC90VBkjzyfdtCsgRiqdfiDi8koi+hOhNZwGWhid7kBetTfe
CV2GDntsa1La63gT443N/fZLHz6i8lvFGTftJ1R1/CajtKkq3wKhR83WfMvG6y0+MBPc31YFDWqa
GOSFuGtwersQX4kKsZjdIeFxz8NysLEoLwuehpkRBhMNx9y5oBmSYSchEM8eu51A3vjiy+iAchQF
iWtmjtK4kXCd0x1dMjEkKpLQDyIFtIk5FLFz9ZmelgD5A9+XJNsAJuzkr55eAb97Gxxjq//KSCWm
iryX1o0J2p4jhvYwMvVIFwV9HqQd/v3UL+bXe8aSRWHhit0wbEvPvDHVkZIALvLhgotd6j4G7JH3
l0zBNUgHwAvBbJa/0DCByod6Ay5kqznOCblqXPmIiMiRxqdlU1O3RN+aAPT+M2ZbvNG8DjBwzZVM
JOW2zILXb0uLLODe8sZZA4t5iwkqanw4HZVYuUb4nlg8q9eU6C5ygJjN4U6+a9J+XUzWI7IZWCw8
dHGJezQkpA/9nEqT4OLRCCMwQdyIMZrDXPR5/5kcZ9PN79chZQel2MSOMLlsUJujBjRSWkYIjAzN
ZKcbJ240jWoUkmqna778EhkWOuJ9drmH3aZLdvf6sfpKItYpHHpG+W5QG5u4HVtk4pJPKWHncxCF
s8fd97/duciZofpQKM7x/pajv7z2MrDucc2zZX/QEPP3+wIPU41RyJYqCqxdsgWyMBvRyZH+o0w2
icR9Wa66hAzmS6Hq3FlNALiyS9fMqUq3E8kTGqbbNUPpLp9M+Rgj2jSRvUCYE+0WCNVWuDkW3+TM
Fo68dqaEd2xz/t1OpVAH8DftGaXGV4P3LshI5sMobEI8UH3kmoATMxqLcLF20y3Q0ssigsKNT2r5
JODz6Yn84xU5rNzc5SPZYT7NsgOy5IY9FPErqhSDsIOX/rPrnifKAnpWfO7T8UIJU2kSredZ9iL6
I4I+odsRUwCaDGGDaakKFG07hrHN864RCAY8gtiZVLob/BDwIXPX0XgAjEIDfY0GV2390SR8kXxe
yjSC6LWAg8Hhr+yptzYXD+T3BuJPIzjA2jR7PeHoBI/a+mk164xu22O1dO65Y933i+bTM4U7losB
RRCzZszYcUWtODEn8cOTcGIlgj3mqyWXaMDvvDZMOHyL3tguqmqb4MUvb0GnY8khJUa9kFKCZvKl
LB8Mw536XQaLpHMo0vYMCpUfa7yf5kOFcN8Q31PhWBIhr+0qUjOwV6VA31Tb2gs24SFMahhD5sFY
e+fbQ7jScSa+JUKlwg9NC1e4uZXi0GjPBB/Tuoi6nk9l8qb1GvbN0TeFLe1J9e1Rkt/K9OWmkUPi
/QbhaulVQZhPPGim4T/YIQWfpDO5O9BWlS0KW6Kqr92wM6a3qLiQH7AwEzHpfK+6C0b0tt10Qb3a
wMHg9/HeWo3naNtXy2T2nhDgKnLkbG4X9RK9MLrIx2GrXwib5ZUD/1EsArU0UB52uWuP6uS1DaeL
8V2Pe1M86pRDdcJ21HeZAQTJYd3LpWN2r3NzwZVpPaKz0fWw7Y4RycCEN0tknhwMP4l9XTwr/YPe
HlThILTnBr9u4tG/M1SvNWIvFF0gf4QkGGdCGMl2ouEL7dI7Yi6PooCI81i+nQacusR81x7qRktk
3fWnNTsa1YvXELUMoshjonuFxPhyiaywB7icT33nKfUxR8Nm2QWreeXfvsafYXWfJMuRkNnydqyU
n1v1BpNMtdZcvk3wHtNApL3DOKE+cqxNiFsxmOK/goMh6oUy3leR7bfju3BhUGsSvqBs/eZ3ab3k
4iXKcHOkr0XqD9G2mA7p7SkGEl7jdJnkkVvctAdzflGfkOpUO5LQWjs2qd3aW/x268cW9BF/7qNq
hH33kEpPRebJg1tAp07ufH8ycahhJTmQvgykCoha8SHP6T5J99YkIL3dZCC4KOD6/UpyEFiRe0Z5
hmHB9UaMpd77HBJPZa+y+wZcYYbDg4vCVfD5JHDFMLRPoMk+8haS2rAflEeSWFhcGKbG/i3V9zpB
HJH0XMO9BT0K9wph44bAucSpfekcvRiPIpqCPH1HWYIoE2iNEA+UO27EPrvtAM2xz6TbXDnG6Av4
vKjfKnY8XjSJAeiVxW5BOU8AEplwEXvkHreGdmUlQ9hWap9GdVkbDgS3Ew8y8n4RjR2JVFDS417z
qGTL6iu2CYsffjus2NRwYPa3kvdZ9Klh6RnnSGbFoGMYfvQBwmrLENHpSzu9lGSEtny2D7cGmY7b
rmd82NcX9v0IgQL8yao1xL2VCpuRu3najQ/lA9KSc3pgGD9hYMfY8cy7TuguoyM1IWC3uVe5wyeD
6PIsEcptvlNEtpLf+XviTDVFx8CaXkkyIxosLcM1PHr19BQT/ZR8YSQZor9g0ZL5L4nBCh/qK4So
Sqohi38Y8RJ5GYebitmD9LB+K7ShlJNt5kQdotFdor/eBxsAAdZtqhwLYAGtBi4JZnHDLnUKHaje
2Wrm9c4yP/yKuxNEtIgeEMqjsRy9fsRcqZiHDpCmqEA7nBozGUWBP/NaXCUQ1mJ0zEm3jyh6nasz
SaBIx5E2KK+yexOuVBojvaaTYgOQop8oZBFcUWL6e9W2ZIyxLK+akajACUZykvFtRog3vIUGAWYt
8ruhcpVfMT4Wbnf+9+CsnrLygeD8VvUkYHUkKsNB85Nf+YAoxk38G9vFtHLFDN7lKfP5aQbguys9
N4ATJB9+gaKIRzHb5wuibutE/12teaT7YCiVh228cpmAgPhH0XwSRQMyL7vNpX+545Mj2aC0kSUJ
i4OORogxHXv4/EbZzfQjL1ikPY3Qi0edL4rTusjYCH3FiM8yNDklldLIRhevxZPLIFb5ae1bfO0x
tiIexy+/BjOuGaw8Sg17L7G/ME6PMyZvGuZBI8PCI8TP0/htnUV10Iv+bzha+S/nzj+fpvVp+yez
Muu9IN55mnqn0Xc6exh+q8VVrzMwzT5/bHfFXjumj+ULAWW3fXNAduiSelX+LPOG/WMzPoMEoOGW
b47yF6xc0f/zWSdeFGW0qPG4/yGnsfosSptVizY2DkpX5Rcr+RkJ8nP1jkYJ8TJsK3dg9mIi3bCT
K1sedhPpM38rNRexLy03DdElvJUP+YF+FOgajKuQeauVPGDzZUFCC4MNz2SZe6veFTLR1DfTYBcX
Hi1aPzo06ATrhCCPUUpj6SaCboBjfEBnQJ8nllGTeRKGMj5TvWCGJMoa7asoYdxLJ1/hzje2d823
7l9qe5T6R6lzYo2scK5hCmn4OUtgjFcIvuyarptSjkkKdLQHWJ43w0CeJEjpjRVAs1XTF2hhuDvp
z+rPhJdFAvQ7JjZCG4po1pHlHaMl98xv9B4OFAOODf9yqzz5HvKEqyex9NCCnQDbnDsDAa6rEVI3
dQiTAhfHNXTgW2NSV28r3yDYiGt04ukm5iJeEHAUMeUBKG7qqShLMfPzV/FqMUpNL2MyXAiZLCnr
YTLHohIhZlVe1fyrzt/qrgfXeF/In+YerXbGuOWTqsIx4Fcj24CzPyaSEU+3qylBkZxJqiyRISET
SEkrZWB2B8VZECvkkEqrBDJPQXz65TlLHlLhZUhoyjlyeoPvEJADMFbFJFC7LdITvOMhzniMotMa
2JXfAhObKfQUHPKwqeGEDBcBOBZN0r1HX9yBW43f5Zaek7C8mEf1Jf2OvtRdjTraRufUQhRoiX37
lIjNR9pmt88shAhsNssjgxEzJCn1CHTXiwLPdn0kkANb/LhyAgpAAxIVV4xXIW8svuEPwZJKHwR7
WfqB0pc/gCYl+UJeNKasYEX27PZ9fgI6Z7VQBJR3Ohm/6abhc+LJpoV9yC4tnh5AkWn9RSL8F7AE
0NeSrQheV/6kHSMkCr98DXtsmbyjbYyFQ96lw0mWn4d5n8donQFd7Lp0ZoG5TueNimxTDUqyZsh3
2JCHUrRUbMArZeeIQbDZE9st35lLpGdcRZTgsKsOdbgG+KzR1/5MLwR0ygphFl7tm7YQgLL/7xPM
+C9uWJNQWCoIjVVF/sM7oSb36v9Rdx67cWxZFv2VQs1DCG+A7h4k0zsyDUmRkwCNFN77+Ppelyrh
kSkV1W/QgwKeCiXDNOHuuefsvbasq8QTgC9B3Z2w94HzBTypwzOcMoXK/aOc32GmZxcWMIGhyU9J
7BqT8QXPLPtbe9oy03z1633AfkPfDxGQlGyu33gLhGp9zkbpyk49BgEq99JK4gAJyJc+z1bGgnZd
jVRpMRDnQei5gtuSb31rFlPaIVcKTwzh0Tc3er4zgTa73jQRvu3JkMEfoRjZKCY7LwJmGZ2x9154
tjav4QgCGP/8QP1aOAh5GPWELfKPFdm8KBzMpDerIB6FSdO19nScS2c9yGvGQL7IdrqxhyvIvEQl
7WAgix5fxgddWceO9JYUX+FNJLECU6td9Wj8N1Avv1l7GU6INAlPwleVbevlS3o3bImwCFb2V69a
ddVXp3mSqArZFCL1uyp29SlbiNZhe0c/fSf4lGicMApTw11pr+a+uWeAL2hAaNehJwTpTYUvZmdt
Y+rkq1cyntgcpVu9+gNB+tfFRhwfhrIOIETHVC6Pj6yFg2HVhlBaQ7ci5o8ZCuW52G9P/Ff6/9N+
G7+E2EPwt8ytF0HE6xnQgz5blvhtnrrb5NhTjAMXBLZ7VS1yfTWIC4Kam61mhlwbsdoEhxqtTurx
OUOnGzIWZnSGsJ/s2wOcGY1uNM7Fx+6EUYyZ9pg8c1v+bfHzxXe9WPY7YJCGkvBdm3Ww50GxtalK
4pl2j+jkCoDleBRDdO0WERa40D8c6V/F3uLdtb/EzxcTcLns2mBEaMG7E6tVMmLbwLTac2zYFCYg
nRfqFElsuv38DtB/KScu3vdCZO5HUe2UEno9wA8oqQblHANNFuzgJc2leGXNReSRvDKe1RmhHfgh
gUE+tvf2Wluq0pK1UzriAi/n9JOUhWEeKFF7GMlf+yd6u8R+Fnj9WfbwthHA/fr26f9W4PsueCmz
Kvte/5f4sZcsH8rA8+v/+a8Pv/vPi4XnRP37WPjb06eJ8Pzst6efse+GqRs4TnRUY46to7z4mQhv
fCHQXbdwx2OzsxWVSvKvRHjWDkdxdN0mDhUH/T//8TMR3vpi4hGQHcNhpyUy5v9WIvwH3QdhBORt
y7gtue5tNG3GxVUv2araeSl1shO1czXAC2a7f3jGi5f4S6f061tcXOAmz39H63iLnuBfO/PnJhR8
pNEtkJ7A7zbvTgPm+8HL0vfRxuLVfn03FCwAylBFqRcLSi21kVfLMvryAXFhep3pyTbLMKABmMrC
s5Q1q8/f8MKz8eP7IZkBUwgbTcfA83G34hhZWcgjtiW7bTdQrZi7ZjZDKUWeFu5Ar49mIbnEGdZm
3Y/WQTLs60HH6awtxcEeUHOWIOFkyTx9/sl+dygUTPmKDd2bT3hRhCihrsTZ2Lv446RjrsVLvxOl
a7PxxLkuiUmM+z89RT8+zf51MN69p9AZvdu66ao3mLKMlifCxTYaoD3iJwu/KCLbHHd8TllCwN1V
CnhPCpnh986fnqe/Of/vv/TF7qy2I9MoC750jnY/lP21r0fLz4/rhf3px5ckphiHjmwB3L+8xkJr
aDPbqznjLhNAOX1MqUgl3isK9047rMxE37Vms6nwJzt1dkO7Y7TSxR8+hfgml1c65HaBMVcRpV7e
uqVuNGoUMSkyW0SbjB9RPI80KocqZnjobPPCJ8UJSluwDg2HCwArx3BXJPatX9XXn38Y7aN16Mch
oQOkwQZWVHJmxXXx7rw77mB7Wpuw34Yqw9Yw7hNyUxnT4yCSTHrywuGDxBWK5W3KnCELkCjhLFEH
fe2Ah6iLHmRzv7dVJEQMnBvFnaVYFzx0JCH3rBzG2yan147Ef2DIrDPNRL5g4L1vmz9KOz+q4X5+
G84womuDO/viIVKUeWrqPu6LWh/JLqQYrnAlCK0WavKkaBe5n2FsZUbgNjPoVDuVu2twHny2jZ8f
WPHwuDzJuHZIdVAd3OCmaJW8O66Ja3EDdynauGIqY1QOumHhlMlNntHZRAKkkTTg/+H6vihJfnx9
W7aRnBJTwzJ0sShonq24ZY3QOZLPIXgUg1zGsQtw/6CeGTuSTcUA66vCtk0OjTWWNcZh5JNE0lY8
0UKExM4gbdXB2TYCqd94c3Hzj5hwpIBegOUdzIgQJOc6GwF3B1eDZp60YWC43S/s0GPczMgkL65z
D2jrOLCJpSVSIAMhPt0YmxmfazD+JPDW3oiyvxxsC5uUblkyPqqL0z76th1JtUXHEQmcoifT3FmP
cbK0tUe1h1uV1OgbbkzMS7FrYudFfF+D/kS/mCKjD/oGpzBMJCXZ1tFTw/TLScJ1qKFizYKHvgcy
oANRItq1668LLuxe0snYagkjQu9dOFtLAQ4UdjRrkmVqtfO4JJgTgdc4hsehjJZtiacbZ5mF7y3O
oRwiVFKteNmr7azX0OkQRZYmZHdzvsQBl9mbVEBehppmK82HDn2mj5+jksM1DdNZXzAZqplLZEQZ
oil0ur3mS3uCczDOF9et1+1lu1+aD9659PPNQKQDiNqVXNcTx5dmekiM5aCtDXxiUajuTDpLUcss
30u2DmMdl7shC/gaIiGLnqr4aCaYyKbzFp3D/Ux7pUmhoajrkLYNz+zajB+KocaqAmKDqLRONAqq
flGQpTiQQjf2KjNQtJp2zeDvRtbUpTjyNdkgGdTIwevmqh6s+9IDwIetQ2txJetriZfioYQoFQ1z
tMN9ubO9gWhH5FZIOmvCL7IqXnSJBwkQxDzu676i2y4hdMrLfq92fDGdgGWF7NSovrYq7+jiJtTP
RV7NExP0++ivq7wlvtg/lGl84wFTtGACOeyYJc+fNV59bdvsWgQrpMf+Yt3YaQy3nWhgL5jFecs1
rS1dyUEheWto+tI0bZpvrJAGn3tw8HoxwJ2YmN0QaWmkRtpIpNyZeF5m5nefsysWIXHGi/iaUnKq
pTO9eBwM9xz75TInwCwgIEBcIj7Wvt7DxGQKjmoDdobn8dgvw0kCqNIIuIPls4zpRzyIJ47wt1A0
SBDVYqCcZSptxdtl7bjwxura4dUsHz0kCYk6itrYPkUeDWb25uLNLMBTY4za26znbBtmrceRYjGI
0KYBm78qmnQVMHq14q1p1KteGtGl7pSyWdV0OCSQGxLdjByqaao62xARZt4j24VzK57JUiAvItcg
tv7Kjv2FyjcqQmPpRR5uaf8YMxUo02QpS6jzUMk0pH8zPJWiA357NURVoVCIJVha7HbOtD6VTuJP
jJbzzSnpqwYjlTu3BdjSMG+r2GcWDw2llYhKZw5mozT2KWXDhPY86DPxkfLGmCQWtE20vlWBtoTV
MOXi7MfgSqq5QDFS4NU2DT5qwlYTbAY/pWUwolB8yZyLkZMYI88MhoGWh4Mehk1fRwSmxvdHker1
M1cXbxRPxRG1ucYyHQITHjgPjGPaUWvRfbVjlkuwBgm/cpOnjDmQ4diSZQ4FiIFXJ5P7iNg0k1Gm
SHw4fjUVyzGv5/PFAnOYhizdsTEupBa9so7iDEUkOUMYIaV531LQemAkfDrGFThgBRCvTzaqbK1L
7zu7oXU0oEuseKveX4iLuTaDtcHDqEuSmxL3HJOogk8S0yC2VA+TC6FnMYWBzvWvnm0Fe68Srg2F
SR9nV9QQEaN3pQweKmoGnbl7QMtbdxl7ppM2SZZdx5tEAyMUhN4SPVDj4fP1+HdFlyMaEaZMAoVz
WXSNZWHGdq06mFDKa8umfZwSmWeof1iCL0YgP5ZgB9C3hVbftJU3L9K7dT909TgvcGijlTbWScjo
km9YIinwYtIuebZlxKTIUCSCIQF7ja62RCoAdLfgqkCvalN6utx+YwU1r8cHQoy7bLj3Whs9esq5
Zhrt5uW1y4PFru+tPt66Mh1pSsjPj9cFBu7nF4HgbsHnNA3tYhNSa6GfJi48Uy8IH9zu2ijQzhuA
C3vnTB2xi3Scm4a+DFWNmQRlNFgZL31QTAacmoqzhRs/1Je2wpgVndgfPt3vCj3MDupbEa2Yb5XQ
u8OsGnEXazFNn6HjaSHVqyqDtpyOz309LmqUD6ODHo3JhmVX5KwUT4FVXxUW/Wdd+sM2+bdX1ruP
cnGg+jaRksrioxhav7cKDAB+lj+FlXX+/Du/9Z4vqhxLVnSNlDBL4Qq7qO7auAgktabhNHZMQGR9
Z1rSLCt1ZunptLMjjjUbtBZWrzVMG55NyYiAQW03A65cR5qLZcNxy5Ukg6J0nK2XXWdk0icNjwi/
+cN2/oL88Hb9UIvhWrdMbgX1bS/27gyZ3lDGVqnQlkNkJwEc8WlrVhILzC1nDiA2LkSDERGXfxsn
pFRxrYzRQTwUE+qNz4/db1oZFvY/w2LVlQ1NuTh0UmhpftHLzjRRHnuURJncbMQuJqDijdM/dRZ+
s38n/kBTFEPRKcffDGDvvrqU61YWxQzAVWSzjTYzQ5w3BFfl6kAYEGVN/fj519Pk32zfeUvHsS36
S5ZhXVyEsVn2SR3wlrlORcKi2HCr2qU3D4AfwH0PY4SDLhVoQdIR/0Q0NYIRUYKabL3cWLtdtBSX
TBUxBl3rhQFNG5WJzuUxqktjiKlr4m3nMOeOwCUCV4pSikPZnY1BP88zedEkuFW6dtYV2dUI1ZUf
T/p2Rsm1KD1vZ5vJtjWRMD57qEnyRDr1Eb7UoiI9l8AB29kGkbazfWNdwzgMPGMdVcG6SqhWy/CQ
IOq0WmOpZsjj3WhVWs2maZiDE6TO80eOi22JPcNppmLawuVV99TzoT+rcw2XLRwu4mU0IR7jTUX/
Qizo4p4QFXjDn6UIqsQTLo/ZKqTeTmIKyYRPaeprfeAKZQ8wjPpakceFzU5O3HmNwzJcldcSNZWU
M2l1SJvFYi5qXta9CmsRNbMMatHTpamUsS+uw7XnR99b7lWNNo7e9Efpmc7idUGZ1HIAjWBcRCGi
6pxNQ1CtFIXoXupnpQBjC0GybWdpGy9dinhflo42Y0FDYYjeeWsJSHdtQaBR642JUDAPN2K5GUp9
7SL2BeoRQwDCNhRJm8oBOiVzuDNnW9UsIa291XAHx/2ur2JybVqmRrgKieZ1KS5iWkI5HTEZsXpQ
nQfylminXQ2sYqJSdIWkkBrab5+k6GTGqMrZoxRslyxATlXtbAfmlnHprzsoVeJMtHVxLSfe0Rlw
mMQwFdkt8ALBiIMm2Yg+k+acjIYWQa/tuupRM+KlwcYzsbyFk7CViPxFz+nw2+ewy1FansuWlTVg
rO2wq5CDq4C6R40gxlnVOjFfzPSR/0IKLWP0oGiRVkyCT1kPiwb0qtLEM8laVdRUer1RimER8Lxy
ZOUFhzwFvLarpB7ninXrsjt2HTYS6bAXH9Nh7dUjiqCQy4jz5yE2dUYKUJightnvjeS6Ms9ak23D
ki1e9Qhz+qroAIxTfNouhS80NCXX1h0ZVPngr7XBmIjehR9gmhsQ72e0ZWi5ZEZ0SGnDiG4vLGo2
lruUxJpSNpZSyWngpZqCeXUguXC+h+iBul/v55U0MDfv9+K6NfuByDBU+B3ASu45UYAkTgW7ItoO
VBu6nJC01NEWqVcmK0jtcvsgR1HZ0wU2NUaHvFlqZiYGmRR1kAzOzco4zBjOtIATxPZIwXHad+fB
349yffP5Q+7X7p0pGzCWHA28juqwYf3YUiHhImw4Puy0kFOIXUui9wyJm83IRkBcaqLeCCLvZFl8
Yh1YMmPZUnOOn3+OjyNiFjY+Bj1/k6a7pvJ8F6XJu6d7JhdyKWuMiKuYq5u9juuJATB9pKT+Q5mj
qb8sXKJTaVqaim3dtHm6f3wzJXWkNJU8e6ob4VoSQnx/qEv4Uf4xIfOGVnmjFk+io1bp0UEy/FnB
IuNrAyPZ146NZ2OAWCz845DZ56jlyaWpa9k59w0PGJ8ZU0xrp++eTZ1mjtOsfBMPo2J3mx4tesjb
Jc2tloWPQ4vfTzKlbYiEvhuqlYHhKBtQ6NsMwsVOzKJxkOfcXIGxVAY2hGDmbbVbdCYKd7rFo4lk
s7OHhTWMCNp1grWTaOm6zcZhw5FZ2i6LaEnQiqis4Mge5VhxeyZlt3eEUj+l0551AG/qbqJW8qMT
YbyNTpIvLbPYS6eBb5JAgC678b370CakxDTHfaoAaq15QAdJu8kRrEXQJg3npI40X1Ke7WOy1Ut4
G118rkAgacFBirKbukxwNFJ9G7XyYmqCucH9IsFCT9Z1xSUP92dQXeazyVTs4Pr8UY7MSdpJJC20
ZJFJa4gIorsRszMNFPtUt9mjmvg8sf21GY5Lkwf6IMdLXa+fpdL/NvQmYhWbttFwqiUADiY9KR4g
Ei26ypOORl09JZRyeZcspdY9ZSaVuIbu0yukbRJ59zVhyIFDIyFahj4ysK5w4Tm1M55O6+6uy9k9
B+HatbHoGESGG6zwop2gptlNR+9L43OIxl3leceiluesQVok4pXtraQ6p4iPQc+aBPN6Lla0QmaP
WBbzAWuSTbcoloi/4yKoEJRoxO71CjtgrrSBppdmUpmise29hwZACtaPdR52IEg8xCYU6Ll1q3Rk
l9fNlRKnW98BBwkTSs+l6dtbOeHSQ6QfpPo6puVo1fRWUDuJtcTxk2lk4DNGNWhWcYSJmTWYImCQ
DqIHYoL8dCFkxxFfv4q3Vvcq+/IqCpmGh6yX0nhMOvtZ4uaN0/a5wf+BuQGaaKeb50yKt285svZ3
t0Om4nQLxyVRUATg6C69EwvgQnBbo8Fx4xCZ4wDVWexcz7Gtn0J5q9TedVA2ey3GNMnDsXAS9IFT
0VYKWZ7Ehs8oy+tcrp91Ghd+19zqKD3aNPhqImrV/QpVh5M8BRFmFTVf4PQ+1LV1V2j4CHrCSVUs
xYaHVDmcBZ37MKiqxmG0zqad3OjgkVLQVq1NrK6+FL2BjovYrezX3qJnINpHLOcqblmJbJfc9WYm
gpcmw1PZAY0kPjTJ6I9ik6tMUtgUbe00j2bgQFNhVJFdl1L9HOThQYe8pWE0EKW0+FdMDNdiV0/f
c1tV5HH6SL69F1GmBEX5ZCvlddlId7beU7ooaz+50eyQtgBEUVVkAyrtleiPe2n6NKrlPEw0vIwG
1atOegGbtxBV0ucP9N88Y20ZpCCkVIXy+XIOWNPAToZKtqa201EYE5RNeSR6opWebkU76fO3U8Qz
+8M+zlQZObIj1DQd3/5l5LMcmH6v1cByW+IgPDWaiYLT5wTJpiisJFBGSOsz7PXqH9YT5de1S4AT
IaA4tqnz66JRPtj8mamjZcztgUgTMDU0eug+LEUXJ8IFQpcUQ0v0qMlPvhFu2VVuAz+BAkGkAZ0i
j2v37Wj8PwgRzlnCf59qFf6touGDwKH6n7cX8b5l06f66cNvKMGDejg038rh+K1q4h9iiH/9y//r
X/7j29urnIf823//8yVr0lq8mhdkKeKCt79avf73P1WLRsK/1ymcgrT+x6yp6qc6aKpffvCnSEH9
wpQKuYFMgjijJo1i5KdIQfsis+XVuJ4NRFqmzITqp0jB+gLYS0amoGooZ4g5eS9SgCJoUHPQKtN5
AefviBQoHj5c6zYh1YYhNqa8m7jyLqGdVlPnjtopJPUZRBXcy8OybZYxbO5m4lpX7iNVBeOatszJ
+FqOZHCIxNsZZuLcWjJknBnRHK2/sQJzYi54FSIaaoJ75lTyvn8XHvC2Thlizbx9QQMTnhT/GPiE
N7UcuLIsYzDAlrK5oYKStKu8TZZ+uzCg95V3zMcyZcf/QscdCAp0t/lDdpQt7GI41RkT7fNzKl4s
uepfE0xEr4O1aeNtNBA1bF7DA+rSWUuYIrtGGCcmcYrIypdYNzVjWZ8SSoI7EmbjciYgYOnUbyYR
pnkqtQ5kP+LTWX2fPNo9KIt5ib+VLRP0XnAljM3ImcVlde6ftaW25eDI+EGv2+fyFLCRsifW0dj4
18RFXwVb6VHHYkpm0qP9MOL0+k7gV07dSzrlPRZ3+sDMZ4p4QXdxx8rVSnha1lm7QulQ4U0jdhGB
WLhU9jkRG2ePCMbr9MQshma19ayh/QynLTAcUo9FyAyl3rX6aq6SnQKhkXSTGtntV7zWqvy1NRZl
gDl1HgxrXsc3d854xOyP5r1BlUfD2gA6ooDs25nlyiG6iIhcvHBMgzO67nOiYSpvnffVhKF39+o0
36SA+ZA+4TuE+jW0pSAi5WBdZkuiyCz/ARNWAm7LPlQmNsel3D0MtxZhLSA7HqlKJRjoC50OBP7Z
lcFpL3cl2zN4zdgHUdZ9hbQkp1PyFPH5wtMjXnjWnxEUh3BkexvrsX8eZsQmX8PBQEaG5r/gRfAg
ECfyzKxIaN2mAvtUTxBi74t2xQnLVqBl0nvsfs69hxkbo+9xXAUHoYXj+Ak2G6sew/Xv9ovwPrDO
Qqh/CqS1x5zG+Orgjh1mNTF0LtOTaTLcEJho2XOZDAIuIhTczqJu1nziCZzAKQAEwA4/UhFeEAq4
E2uN2Q6yDhdR/ZySygBl5Dbba0s0JFcR1p1rJZ+2DgWRYHWszJPEXUdkGomrxtK+YxpiHpw3xAR+
9XuXEAcsEsJpCcwN7/d3jOD1HKhdNYqY9SmI0dW4x4FXzox1g1K3IP99UsIXYsNeS6TDzXNEcdpk
gC5KOBJWEjKZH9L78WD4KIGnBdeVC0FtPoJJ3eLC8I1FdgtDL3u0pUnPfAwHMyEcAAjrWfFiXpdP
0StRkX28JLyHrIUX4kjYnzen8Q4s9ZicWmWZKRMCBgV2ldYb+tulojBcOir9rWKjuBayHZ/c56vo
JbHXUcH8BeLDa6RCL38Y3DOzOzfB4TKH+4X6vhRcIe0bQKidPSlWtPCSetZw9XD3d1OpnxXltOJR
k1xlHIB0KmNkU5ierfGloHVXQG3lS2BaALI0exOWyQT9+vgEroFK6won9TRcqOX9mIO9f5DNXdLe
EAEAiEFDpq3YN+zjQGF22kze6sDA9iJ2wlnBwlfdlW7A4lga9tYt4Lctw/ba7O/QVNvShlSjsn+o
SXE39mO7w2NlwWRwv7XtzpEgFPgPHWmABO+NXgnqchuq8yEnTeVa1Vd0D5+J2HYOlndy9xg6sXBj
z3HvrW/aE0ZO2mdzurczHxzYMlsGqEqHZ+HcgPYkaGjz4ZmyFerXMz+lZitnXFvjWsVI/dIyma6Y
bU/g5kQQ1dQ5M01VeS7C6846KEDVsJBFxJfDaXSuym6lAWq6J+4LUz67pisNzOkhiwEr5C/4Jap8
ZrBTAaScL8VMHuG19gSFIscoZ53TiqGqSOHBm+aAoQsPZrXX1ZVFYghmJO/esZhYnyDOvlutb36U
c+/lbMrHCcW/Vj5wc4qqIDQy3qrAd22Cxkoj0R9Wpsl38XyJZmF0VS+x/O7NOfizTTK3Vn+/lPqP
U2taVAz/vgrCU/gUlN8+lj/8xM/yx/5CrK5uGjImGuZtQoj5s/yxv6C1tPR/1T6aqLZ+lj/qF42z
whwFywLteYf+/U+NpvpFVoGdOugzccTZjvF3yh/VvLgImNWgfH5zHKEfNRlXfWzf5LoulZKRKNNO
RuZu0eUDn86lGnpQ9mUSm8kdCY9RKEDwvUJLm1hKMNNkgLgZen+4ND0GyppshMS91XiOStYh06K9
6dbkYS6MetyJbaRSjvMgCL7afrUKKsb+nbE2PcwYVX8Ya7fEcxxOY65x9gSit7xmpzuVTJxL4Wxs
QZq1xjEa+o2lY5F1vypvoUjpUhu+Op52sCR0QA7PCGKDMPel5fid6eek0eLvvVtCiswiahTSesJC
IZAODmHZRiu97fAlbXsEV5VNP5yKSoYFkxBepQcmD1wSeYJo6jZ4RIdDEugLs7Iovb5GiraQoSn3
JaujKUPJ9/GuDPrBj0gYa0f3oWkcdVKY5aaXnnqFyAcj2VhVdaqEXEYGtmWDVa/Tgyw3W7s/5dpT
KSWnJAXB3aUFtM4y/RaM/X2T5MOKASGxBNR0aG1v2H6uYkYlkWNtMg38X+uZbHqkTa3xPNdre+b5
2M61ZYnCJDGxItZHKz4HQfpQpneKJ8X0p8E8sU+tXOdbLW2dtt8mvgfB9lZCejgZ6rUhga0pFGIR
oLzIGQjKkJ5ZrF1XBql9VfraR86adgbpGclEgYjjesdQpo5i3ZCHMODYVbe1emBPf6d1MIV9/xSp
yl4DdO2Pt94IMArLVYryqVCPjf0cuN87BeOM3cINUqp9EcULvUEEVQzUZ8By6xu/PBrpVCUZJde0
+WDa29HCt9RLZBJhCg8xbSoJXqDIXvVxf5P0Ib6rEKy2VlfwGuCVNs8RnslACWipFy9MiBZKZj+n
rnTvcv1HnnzfScHWrmoBZW33Wsa8WE+CpZnjZui18qb3h7neKSuj9zeDNxxa8PgZokcnATOr5LD1
+hFuXW/d6z5fL49hfTha+JQ1kj9vZOehygsxKFpZATyY9snpvo2cbHdkzenCmdLXT12OY7IDXxml
ZHj4ODpbc5vLRL0R0Sc1qzx3N6lPbh8IRbprmHu/hhYSr1SizZqeNSf8Vkj6LqMDzLJMBTFW+jLq
iTcaqsehpOthKEIGkeLM9AqAdlmV3soye41WOftadecqUTSN2JvD74WbkFXFc6XqIFeix0RlNZPG
s0wM4rtH5m+Woo/9DfvHQ4h0AmSejBcw/H58CHmdomVWXxKYrD5ELWM+D97vslXAHsRfP3+r3z3v
VNRbQvDo8H8uxpCZ0pa6n/NWLsS2mAGa3t19/g5vj8y/uic/vg0bVB75tMVpw/Ncf99+H2PPrsxW
U8ijUQ+hKe36PtzLenxU6nTnUWlEQ/VSMvaaBFr2vYixJ3rpk5aEzzW56n5WVXMcqqtBcl4bQztb
bCt6E1BHZ+Tzt4/6/9Da+M9btTmx/37VvmrKp5en7OOqzU/8tWqbLIw0Jcj302QMw3+t2s4XqiWA
47bG2Fws6R9WbboJNj0J2hw2g6C/Vm3li4OeG/e6SlvNUBi4v5lY6Nv86/ag5YOp5a/ff1a5ifsF
LSna7B/qbOXiIs6LrjTpz6kUyBhEx/xUx6TsZWn7Nci6G4Xo9lgNpjpTH8/F6BOZEMy5tPRR+260
wJXfHbrf3L2OIoqEiyse/Pqb4sN6i8z9eMXbThEG3gjPqg00mMM6WxG6d16WvTiJcxsSxYb4dat4
9VdzBEcQBpscUHOCCjopC0bW/UlHVtcCirKZ5Cg9qMCsnwYGzkLgwlZRLQoX7LbcbqtUmtcxUvji
Sia+REr8qQR9DZtt5gYkwzokbKLqm7YDOo44BPMpNdlJ1W/sjFLFqAaYSRGo0+Cm7fp+onWoD+x6
zOZy0D5qWvCI/u4oF9E8wzAt991KaqR1rjlbm3kLQHepvPXCeiOZcEiJ2wnD7x6dA1t+ifBYdtDB
3W0Y4CqUyUnvv3tQ3OTk0e3BI8A+qskrQlRW6t9z/SnDBh8GYPr3Cim8FRj+1H5oZahrzo2f7RIg
HzW0SC/SJgjGJiZbFkjrXqcD0YRqVuLlpI4yZDhOxn0Vr2IGHSqI1Vy2ZmC1G6F0j3kzyZun3l3h
3sfpeaS6s1inWnQUKHTBpEnwOOhuDPduQDoFbQGQQ7IUbSqIRS14MFW7MtjoxibYY6bY2rwPgBh5
KWw4ILZYOE1iCpUMkA7+WcXE5Wn2QJXNGBySt1ZopVfBsEy9fW4OKxbUnm5NTTflVbJfu1BaSCND
wk4ytmVKtVEdytBaKMWdOh6cXhyuxEER4PSwNxHeGlK48omQ0HBcm6y9PsF1Y3CXBZx9jWKBddQ1
1IPPrtJ32b8Z7JIXZlGRtFqysXfK/Jjr8X1pZ92VI6moekftiSzlnVxQe+R6dZPr/SGuoodAwsjr
NDqjR085WYrFTH345nTY3ZMx1650/T4rALBWI6PtsOJKijr6MZ3aQwps6FhHTfVi53iurYwGUSk/
jnlCt9BzYT/E507e82dXHM5UhW8Zw4ojnBPm1WSUxrXu2td1Xs5S43vRPPSIPqvuZHFTZT0xiF4I
g+7okjMSxc+h6M90DZ2UZOVWqMFtSJR8ju5ZG15849hRxFvAAryOC7Ee5j2R2V2FFVhmOan7TcuM
dIi1hUuuSANk1QBvR7xn3NDZkeIrx36qq10xVje9AaiSlNGMUxZtEaDeJUl3UJMX3dVXTQQsPE/p
CJJeDv8SpVnA8e/T8TqysmreNTUOdd/cZo6yq8qlateQLCgtI70gRuykJQjIu+ch5ojq1rNXHtUU
+Iq7tm2fCEqSK+VHxaiXdgVbmURwD84MfYdzMnA/nF3n1ATOMtFfteiW7YZVH3KfMJFyZYoen3uj
a2srIYVMRS9ifg+40oviPMr3VgVHf1S+WYhp3EU4ujMdHoKrPAaSdhM26qOcbrtcvlJ40WYA34Vq
NbPtbZz5jzp5w5KJc9QspeeY5oTQWrQaYXSWfWpFfJvp3gYtf0cSSg7DPNUgllO0uvZRo2GpDbey
B6Tec9c1Mat6qN+2cHpkGrFufjKb6lyqeG98UNrcM2OISTrpH5xc9EgKrC0Ncah7mc5jyGgsLu8i
DBAt2vqudhdxhIBlVNq9LRV4mcP62RiHmUt2qYE6qs2e61Y7ZZpST+zQv00SQkhhf3YPeLdWYwwb
QWkX4pmU2E8GMFLDem3SV7NfDcGdaz24dFpsn8AHFXgIiQY260kj7yOivuRhBEG1H1qoY+ayoL1l
0A026ghMI5ja7sYIGMYWuwaLlkx1b9DGzunUDMVX1XzCy0NbXEQy3Az6q+vyxAk0Mrb3TgWQp613
AYrgPAXSR+SljOg8LQ3YJAZhJZKyTMjPTCGIVoUFN6ic5jhI7PylUZ9CsM5uD5vAp7VRE40Ak6gg
F6XyybkuO++2UHSi4wRcULkeSmeTB8EmrYdJ5pVPkk4SHIOwPkbe7PcgOIORmlpGLHDTYeOOzT2L
NESD6M4J64UzAPcsvY3MHNHS5Zndic2xRDhzB2DHyp/tziFZDilMkKoA9kklpe1V2f2x1/1NGATP
NlSGPpAPcYkgYai/mUOwV5AdZyAG8mqbckkmxVRPZXTdNUvkQipfK0tmj8CqEMj6yuuYBOh9anF3
AWiKq4NWiLdatv11qgNLLrjnA0VnwJFNLItQUCwMLmRUk3Gz4eVHp3Fvbe6XPAH0HPGKfR2sYzvf
qImJdOjV7rCINM46eLNur/PyrDMKyOmHxTj8uwYeDHyvYGDlNSY5Zoi+eYkh8LXibLvHrAmm1aAv
qhoxDwg+STdXVk38bL81wnQuQ4bOa4+MOX8xFsf/Ze/MlttGsy39KhV9jwzMw2WTIEhwEkXNukFI
tox5nvFG5zn6xfoDndklM+tYUefcdEd0VaWjbKcNEvjxD3uv9a2wfBdbjni5Bb9UU8gGSjSgBAGo
NhASWR1R4Wv689hm5OqodlcAzGWVRMGJTHssY7x6IfiNdCmpObb73lGMYGnSK4y9aJWwSeFQ4yAh
l31Su4tqqQLKo/N8Owx3bf5WkFZYFCVM0HahygbZsgkB8A+qTHgfp0RmXpok2CaooBokzVdEacws
wQ6hCPZ+zR3U2ikp9Jb0MdnU2X0n7MuwWXU6XneLxtJw9ixaEohi89LNAmVtKvxS6BM3Oa4CQaSq
8D2sWPUoJg404Vuq72isgopEOemjq89ynqO8Mkh9QfbHFNwR5R1FIspCoH1AITTe8gH6aDe86DQc
irZFJZEDPrijEGPKb4gy8QrJD2P4Ek5EO9NcL7tqJTUvKS4gbULErcxcJSZd4b3JKR6MD3WROpJ4
Ew7pOuJdEk1XV8dj5rNsMCorCjQKMs3mR2merYDFHvsO6h+hfkrNwJG4V2EKVAvFoSy9Jhalc0r+
IydivcL+jwlPS9FHP8YRLd5oIUFPTMhDxAcLb/BB654U6CJ1SYygBhrTJIYnBPXLAMRcUnY3mV4h
DfAoM7DxpV0nKMQ6a9p9PlQPOdNd0kPXZGNZDMzHguDGarRQBYTjYrWX/Ycgam50gAxpQIyTET8P
w0aQ9610zoW5pEDMJ1gYrXgQylPePYSm43vuED2M/gvCzyfVBxnrC0CcI9ENje/THOuK5EG09I0W
IqnTv4fUBJAr4DYgNXISfkTqd8zGi9DTF8zOd4gaWa9AUFsTFJg+tCUKzDp2sKnd+lKDeObGqpqF
IDsT63OhVMfKn5yh58EYTx3TazuwH5rY2PprP7Sc2SrC9mXdtkQgwCX0EmNTdILjy9Ti5WATJvU6
Y63mjOBQ3aIu1sFu9Km5yyeB+9B28RFTPjtLxhGImoreXQk/1lBoIBgHdOuLhlBScG72/BDq6aEc
b0zyu6uOQRlQ/yJxyaTMTghQCHeDSYBtHpElBfsDYYbCvVu1sKbm89gYSGqS4cYi/i1rUDfBTuly
KhRyuVVjkr7CcKWpPr6wRy/ZmjEsdxPg9QRkI5T3tfoqMjHFs8trYwk3AjXMtH2vyzsP+6CVkdRD
NsA0kVPJ0aFQyJPuFxMImUaCo98QJ8oWt4SaYiYyNHnF8VrxoKbi0gOpokv+ctKhtXV3RvauK99i
JXM0Uo+jtnHakO9cr0P5UZdDlOE1wODQjmimpNp3ZYp2Q7SNqZOJxCy0OV89GfD6RescbC4i943F
n7KEmbaXkDNUBr64yFrRkROEmFOTuZraHtIATDztKblA2RhF89kKx2jtbfAEL60Reg1i3ZFoNEtO
z6WQfveEV62hgVdId7HWnLyMSNq0VmT2zuVdo5EF/cUZ8F+dAGczCYOVfr9+VUaORb9A0CrTynJ9
WMrQdtfCWt58lZs4l06uD5qqolBSV8TZTXl1GbnWY8GQQM7qrE0gZghzaniOv/8uX12Eav7n+k2X
Nl6vj1xEKWiuqW9WCmRd+8LWfBH0/+6rXJ3hpQbwcp7B9qVT9cP8Ud6Gr9bS24jWnFDDZgQiiAEw
JPgw/i0b+6U8ZXy+h3OF7FPbZ5AEXy9avt5Q3HrjvcXM8Pv7J8036G9fzZI4liLSkBWKHb9coTUb
q55CX4G8M9gYtm12gTPIXlinTv+kfKW6pRjz28vNZodPXyjTchEDn0DQse0R1RACNMb4BuaIvDXb
IOwcxD1JD3A83+t6OX11+X85XD592/njfbp82OromA0uL2zmSE2ix27Zl5t27HZbeFRMHLDmv8rQ
vjKv/PkU/3lV9Up2K/aighOCe9xv2xmPvc6nYoEkxNbB7Oj1Dux3WRP+4i3/ew/32sCep+rU9g0X
5sBBNsAle8o1VsY6W4077WfD8D+vdM1vwfVQ0kQJozzlMxiQVy+8EYpTx5lEQW5OAAXZLbOQJF6i
1HCTVfOBx+KLwTs35H57xau3v/eHxOtSXg+oqfeY41zt2XD6RzLAVsq7/6C6sDGX5UlZtYT7KOvk
nK3odzj5V+4k6oi//RxX84Pc6FhOar45W956M2cwEZRlLgg6WpEbD8UZGPtLRX7J9P2/8IQ/3/Or
CcIbuqETWq4s7HCoOe3as6Vj66C3p5H+VTTsV19zfhyf3h60tCGzPRcb+p3JhjchY8mL3jW9W3/x
tf5F5Z+a/D+H0vxJPl2paOhDKgUPFrqhaz2VM9TW9ohwlR2gzPD1tpGJzuG/edWruVBv6mSo5xUL
7ph0U7iK7XMqXJgKhxgGEvGvtAEcKfpiGP/LOfjzt72aFDtRRTRtXobxTw0Qc7A+x4swB2vC4stp
Yf4ef3tRZXBCIuddA+nmr3cXoy5KOiFVbHE77c18WR+s85zeTWdupx2VNX3XdfBA1eQrKsvfvika
QJ2rWhbYInbys4rw83MNAt1IKKbCeSagB9HRMv8ginxJf3nXb4T7L57n9YR0dbVr0URGySOq+gra
6/O8tim74M5aWYeSiC4icM5fTUd/K61fricppiEhdpSBZvz67byYhrsicT3cYo/piqPRghzjk7oB
WPzVmLme+i7XwnrMkj1LIq+1AHKj9aJVdvOUM67yc+ZAkn/Knr6Rn7lA0rOGORh99X78KjVGc8DT
U/E848SkPYKw89fvZ6ZJ2MTiyFu517f9Oj7UTnQG7mLXmy+e3PX7f3Ul/WpCFdA0tyoeTHtwPKDR
90SGWU7z7pGcBrCQR/kguMOfkJX/32H7HzPi5D9vsDnVR/Yt+Mdd3jbBR5X9g+T0f/zPrHkjTCr8
9o89P60/N9/mv+xn782AQTZjUrBzz+ArZpO/Wm+a+AfidxWJLg1iBSEvU9qfehlBMf4wyG5nx8kf
AWkza3b+FMwIqvUHYg84Z3iwlQsn7d/pvV3vDxSwaehbgF5JzDW6qlwtI1XpUYAQa1J55BetKMbn
jkKJJUwbYaz1Tdphwkhirdg0bavtfEPwdnlVaTTjeuGJEjPwjVXeyQMI+eg9CDhhcOAb7BjjwCYw
pEdVrmDbB6XqNnptR4Ox9ThDPn16Fqef0/LnBuKVacvUEGPTw+Q1n+ldqH+uvkRDV8mQS4SPYya8
mtZ0F3WDtutLSnOhnjz65HxWk3UEu204akeKK7S3HRTJYi9O6g6aSUl3vqX5Fvkz0YQ5kfi+0ppB
GtANWwXDpzK1uPCRqqKpJbGbPlUH0Qepbyxtgkr8YqOoXq0/Gp7p+VQjq9RSJBRS89v/aXUHHoWG
xYRyk6hZhosoNlbajd8Y06o0OuXJ8BO8zuGuau7MFs5BJlUYnXPLGVQ4lb2YWut8zKjFiQ2k0wm3
zuXXlFIdTkJqHIKayOWgo+WY+gOSZ699byb8WEpQoctpeyrvcekfZLHZaZERnzS9hjzzPqZR9Whx
kl+3pJNFvSVQqPWbVdiABMfl622ysiL5MZHYkjAOnDrE0JzI+rAsJqCmSGSwfKaN9u33A0C9Wsa4
XRD+8JSokgVRy7qo4j/drioMyqyrKiotFkIQ0zsrcZo9EXbnlS38Z+w5YxQ/xm08oVukEDNIVgaJ
B2LQaOA9EbRXv/Vx2/TNmzIqCgSPU9YM3rGIKulYVYt48usbsx37TadGySMtdiIwwvam64WtmDHW
xs5cdnrl0C+PToXe7QUaFcuCruG67lVl1Uj6nAyLHlsQ0/ZGyYAaNZ1KZEMdymxKw/o1THLzq+Xo
ehjNiwRLn6boksl9Ea+OVY2QDJMY5PoGLwOd5KI9zy12S4A7X2Y/elKZ17n3UdS1vw/9QrUxLPqr
SQDWpuAjWNeTxlfz8LAaQraa//n9c7ve7MyGB32WJUj8B1uFebWt00q5qkJ10jdi0pu2URd3nYZ6
PdOU5ijhilwgkEtXWjUhSk5N89BLBhK+DCjeraf7X1QSrudCPg18XYthpFkKlp2LuPDTKCq6Wm/E
XrM2UxirWzaFCcnzeBkTg0QlSwvSh9igARRnHXlmQbYNyhsCGqdjbNSPYpoZ7jj6cy56Le5kEbyT
6CXk7CTtwa87kmKzOYUkNMnHKoSGvJco4zWCh9MagvTVjZ1v3Kf96/xVsEITMn/5SpJ8PX/U/RDq
ouJt0gr8DjX0KbJ7o9Uemjn6fFKXedXMVlHagBVKt0yHqwyvnVc0ENFTe/I0Ec6udeTH5Maq8fG4
1nlE0IwpaV8dDa9f3stnJZqXlxfCCHWwX+e6oYt7RfFUqn8x3N4pApY/FnW2bZQ2vccYoCTpAjLa
rovJUA06gCw+o2QnxTkNAoJVfj8m/7aYzPtSbp3GGqvKKgPh14+D60qzfF/3XSuxprVnEFI8Cu1H
XfekzETEh+UxjfBInHZ+AaQqaaZ4OxqKKyEV5P4k+HllujvSCAhFDUp/q00NjO5U/fOniqdJN8zE
9VYJqegXgi+v8oxzohDGqZMUVrUftOD9i281b6x/HRCygcxGk2eCCyeLqwGRYaz+ObYHK8TPEPfY
0YQkXglyT4zBVBcvzTSaR2Rr6zI9Z35QkdFZkULcKfdiS7PNqqRx6fczbr3BiFlFOZO6Og6nwqjv
vXESSZlLhOXvP7Ykimydrj+4BV8DKCwzBRrhqw+OMFHJJq8RNj9XENPLou3slZ7kIXmUSrSXojqQ
INGh10HVKAFU63e5ZQ0nzRsLuw1Dae+FJJ0y+MiF1R71SZb2qDNJyxmCzq1jHz+1bHDU0okALfX8
myInFg30YDuZiYjzgHJ6Yd0GSTwi+CHIq/OHZWtU7CU82GxphkHbrI+N0n9T5/Wzn++wqiCZpI2l
rCrh0Wsadd2UgmAr7ZiSrASeTp+8Yn3ZZeR6prvSqElubuH5GYfoXYzGswDN4k4yBUedCtORM5Mm
oqLtBrH+EQoGWVOJgsi3MAHYwb+XYVWNoCicVh8z5AQpg7KnEyf5Ovyn3pNXkJ40m8lAPU0QjHYI
QNTR77ZYIvVmOiKsh3I+742olTwVYxk5Aw24cdSVTUsbcdVYfX+UaxMJkubXt+KEAsgPhB19M80W
JY16ZOpFB4y2b4ypxaRW4TmX1W+1j/D2Mr23wfioAdWTIxJKLkPH0ALLqTxaGobVoItQat3tpcKD
ZlZnO6yyWLyTDt+7LqMfGQVlB7LTyQinvjzgIeGF8UXLcL3c2zC/9odECgCSKcmjOnQlzO7K3F+u
LVrkSfWt9FaIDRycy/CgO7wU03rAPQuAP0YiVBr+eKD9+d2E0mlnZRiuJS+76fP88XLPJrY9kLwi
XONap6z9Hg96EXkJCtz64bLh0vFzLyF3GEKj3Xm9xHo7/03pTBzTAnIqe3jpaEdUewTAcxqHbCsg
y8noB6KVlAlLlHXJZU9C3JvH+pfXMvz9gLw2P87QC0SBtxc833LUODxZRU9Wi2DQSNEyQpR4aOua
p2ZPcvvDm4rEqccIAx5x8AW9uEZZG6UaQpQMsECRz6TVdUFY4uNgdf3Joo24uIxfLWq1g97jyh5H
PkelxUABCae/7Ab+ucsrorR1athJBy3pmPTqWAwPredP26xTb0qz3ultYWxjMw3d0JfefDHITnKq
IrHOS/ZQestQqgr9JfHX0qBtGJQE7Akon7xBI/DMUPvkEXA/hH6/mG6kOHgaSjM6qmNHtMHcWwqT
kYSZzn+jLUjOUkTXXLbKaVeCOnzEHW+udT9hlu68s2CSbpk0TApSF2/0nozpyCNWQaIHf+59cnIM
7VRpfAM/kZTj5Q8XPT3txgC8CDRHyza60gZ3YlMs68wguyhrLdgwXe10Aw0yuVTIfiiIwtDmR+8T
fONnNUeIMTRYNlDrjQkvWNLIz4BI/ar/GKz0sRUGbZvkhEb1OnvtDjpIXvDviiUIuSodPEDISbL0
BX1zmbeHgeCI2FJJSsqp7o2t/NT6pA3qMCu2l1fqssUf0pkn4f8I/JRQ0DEV70bPHPBExthzmqPZ
CvKNQgRGI0/5kzD31D1cQEiYpHVdVvVNRVqMJQ68H9EYjG+l1t+pJUgAKAOoqTydFaNKG+EopCqJ
b2H4GMjD1ILkm+V7aRa5+SRjBmsSt0VD7vrqhM+MLLVp3uUJ6jELTaiMly1mjGTcviyEolFhmhvl
Zl10tPqNpm5/fiXO1ZJbD7nh+pbJMUfX97KU6LjJkMGUQ9Wc6xEjlCeK4A4TxGt63WY26rKEODNc
75fn7scxLKAY+WCVjNouzmEhxoOu7bIxJTiEpxojwL/RiNC4TCSB2D9EZUvfY/6AcHCmBTIl9egD
H4GCBCa+ETsSOzmMVQMrdiu7XS0rD50qPXXaSKu5zdrXxK0siLBTK96ObUm7NepY5yMUfuPU04cz
zerW7KZmFwgC6MKqgQtgtGtJyQiDlLT0xOICYYzzdRWRwjFp+bGSl7XsETPpJfUNyzqzY51b22BM
Hi4LdqsFmE6VOl0PPU+3CPHvzN/4cnCp65JpsPOoLrbxSBzqoJwD6+ghotn3YvdgoRR08ZgQg1iT
rVzpAoqtNhE2Y0tgp5p3sRNPoYyuFXFgIt9IIW1khCaEtflulcbCbdEKSB6bMthlxUkwkSvUVR25
l5e58AZEW1lbO1Jv3ms+yp2ks8bXLsCP13Ti+xSIuuOzIslqBILR083Fz4+tkAEr1ngLesQ7aUie
YuSVL0YiflxWUG8So30hFLzUXTHBc5YIyJ2f2+WODMLM2xDwEVxWZo+ztCdO6EV8GV2gkW5JkQve
+9hwvEJZt1W+60fPe+kNHZlMjJkvaM9yH3gfqgB0iFe6NL1bK4ykbdvW0cZQeAG73td2r36fA9y6
PNnBE/DahHlyaDVrm2l1dWu19TEsPGWXTiphQPg3VWkir6kxs6Pvi5ywC8mNU425tKrYQbYITAgF
Qq6QBOnkRp2lnPRMSJcBuWLvkVrHO1Pu7vrCCPaCj1IxDeoHvbC8XYIHY9caRPdl1uj2qHh+bi0q
vZwtFKSWMg+dZGgSqB+81340iheglmRCitFHpn0rjFa6V2tDuq+bbif3omgXUdKvFM7Yi9yIrPVl
gby8WHVYCSR2ImIThqRa16JItzwAtjqgP/r56kGDZdiQ96eK5Bt3Q0bUUpjfwUexfq4F1JbeL68/
BRdvJ8QcQOokP1x+MNEvrX8elXOOAqhtymJ0pBv5VDSquKsbYk+HWEFK2fjk+PojUGIfnESh+1je
wTnt1QMRzCN5rxXwU08ys12SFTjJ24wMmJ5ubmRshIYgxCnOspMwJS+XxV4wg/vMUP2DVhJzoggl
0pkaOZUajyevIGRlqhUc7fqQHMa0R4wxLNhwWWssEWuRE4Cbi0UOmjsjpTDf51ITwkobaI6o4iKt
c1BA1NjnnRjphH2SSIcIXiBaCSo2gnbDttyEA0yiUu9zg3OvG26zPsLQWgCCHkSs2X6+iEYh2+ct
JuQ6rklvFo0flxdCVNNqp8qJgFI+IMt1ngCSyaiOaeprB8F47ZVAu0OsVy36VH3L6k5dIXMJ7XSy
MJRq0qmc0vKQWiifuyxBnQQkzc369imXDQ6wZpA6ZZYQmiilwUoKYZPLIoLPHqr9KTJ8mIw6cF9r
ys5C15cvHkTr1fij9bHCSz0hQ1ktHRL+vX1Vk8F5GSaXzWfSqyn0WzJZZZ0Ayr6ra0LvKNGBZvFY
mk9mXwToqHWktTzJpSETc1cawbAR25qoN7F56Hi6d6LSvI4tf0guxvSURBNlGrgHBgvrIZr3hziK
slv2xoBRDdzwnqXdJXDItDF9Nmq1dFVpfE6qVqKGPj1HSaPs5SbT7KrNOH6qluSaU0TsZoMlLSw4
HXVacIpEM14BX6hXSp2jFNPa4JBFwaNA5cQpLfThYUNAG0aqZhWXJCyJ+cPPIVPF/ZlZKGdjY740
oiU5nO9NqotN4kBSIrvbR3unDoG17Tw+SykJNoxA83C5c5lUmocSOJZIkWVnEjMqogKPMkVFACjR
RwctujUnYPKQjPyXKMBNVWe9sSz9YFp202TdBARNH+VC2KVBF+F4pERWdARyAYsyEruoyh8hc8P5
8sMEOAhF2CaPVf80cRDeVwVpkZKI1BBLcNab2qOmAjGUkm9DEJnHSiRP/TIoVFKefIEZltU5siMT
MBIE4tANWr931Qr4g1r1xVEuZ+DT5S0M0paML2/yD5cfgHfjWTRQQ3oeRrHIj9JvWaOYs3pIcMxu
FM+ZOW5jcP/HYQQ7woKxK1Ge7tW0uDP1ultzZ60Kp7MOGKJOu/UQVjXnCjneBTLqyTIfcRmohBB2
dRg+VKMjZLhONKFLD4CaxF3fjexk2hJ0RCpvKmo+vKd1sPXieWJrrPC5TJsXQctMuxVKgmjm2uHl
BxaR4ZBqWvI4ypLq9pr20bU68IOxZFebBygrLbx/6kB6cSP71VbQPJPdDPOwJyBGhEbOizXlBmVD
jx2/XfZjRC0XMUEoJZ0rANwH+6eUt0oFeCFuEJkXkf5WiV2yHUflpgobjdzLWlgUYpqu2aoB3553
xUZcQDYSegintB3nEmcqceQakn58VoOI2bslPRyS4E5I8gfmvZo4aUWk6SsIu1hsIG973TY20naf
KUJvK2rZ2UlDU9GPjJnHdBz8/lWdy89FK09Et43Kqc7q9ajBBEjieCBIC2BClP0og244RX24l+Jm
UXLhm76iFK9mvGl9HGK7AOQReem27nVs/ZOh3jV9s9c6yBZQ8kivrmKok1Sv/R5WeuErbLbMQF12
gTgAcUTiJ4ftuCmMjNKbEuX7UkfE33pWdSta8W7+p0T3CPQ3uGPqUrUAr32sqrd1ZdzWUmGiTqVu
2ggVPAbh+9CRWyqXwbQLjOqk0RWAAddXkBZaaHhqJhnsCbmhPy96SHTBuPeVRHrXEZmB2bD8QzL/
4FuEc5a5Csj4Mvr8aB7K7Q8yZziITezosVZPuGQU8WzUpu6KRsLRvZX7TStTt+tFrV30bdpteiEj
c15ozkDT/a3oYTzRm/l8WOKw8WNNB12ZY0dWe+Beamy4oTSJ7ksq8s7ovQoNbEyZSmvS01RQu9hb
vP7WF/xirZSm+lDMKkmLInqkF9q+Dpq5uUKdOJLbCiuOqu3N+VwahzfJTEmGEZhC4WbR9KtsawiQ
G8xQIctR4DmTrje/2rWCp3oc29TJfTVeN4lHzVH3xPPlwJDNnQyob8PJGy1Hpxv1nAdT/DgWHem2
xGZIvMIb1YLE5pkVUH9dnGiGIsm0sOHYkRFsyHWJnDHWt0aO80q1AH9UsbFPe0gpHqcLbghQlTwO
EeeybYSvY+z8OjsiymVDx+b3i8K88vdynCrLcJ5h9OCqpFz7a5ERe60p55Ufu0qKDVYeoEAWtcWp
ICHBw8+P5qQWd1ryHPWVByc/31RzdUPvjd2lkVOWVmOzkA6bEg6OPnS167dUZMZpsA593oBT7fKD
PIGWkbXABhjq20pstOes7u28H6tbRMsvSTL5uyE14f98XdbV5sLcrxVHVTEMjb471XRQileFu1Zp
BtXX2sQVOmBAvdASqloVQCiKGPILkwZGbmN36SvWlU5OtCfnthgPxF7oA/8vwYj985AzlE8l2OJt
Ixm4qsYq2lYkTEpxwT4iSCTnssv3W/Mjhqp4nPp+X0DYSn0Bv4UJ5AUmwA0SIBTRRCWsgxEQy6h1
8r7Mp27RIe33S5ZrjhQKmZqecuxqEz27MW2GNgNr0uREMgd6DMvtr02pp8+5ohAIbEEax53YFSPf
pMGO7U8SrQLk7lwLSpw+/hRa/lsdeKhc/O+/Bub6JWps/ZEf39KP+vqv+r+S3sX4+c8b9Hdv72+f
O/DUa/9qwQu68gfL6dwWFC1kIDC6/urBX34LYIVmSH/6X/mtv6AVdO41UabwrPNHdOmz/ZXfklRZ
I8GHmDJzdsZe2V1/a3+90ozMyC7eDyKxaMjo6t883B7RAJ7SmjLJhYTRbsIt2XaO7rBl+6ordPVK
/nklLK20AlSyh+ZOzKcGF7vVISGEZZY1e4gsJwhE8aG0U4hCqduFS+0jvPtSESde9aKur2peXXWU
6wkoBecKzTp0pTu2372HuH2g1wOAIC5pJLflQjfzY9ieK5mVPKOkcJCzY5kfjZfYXMg75utDvgqP
rUypdZE/jlvvQTrVq/oxe8HFx6nwh3geC7KWs724RbJt+7eTyz4Q5wBOTyU4Cwnwgzv8gxIYrXPj
gonS9uEmc+PHyoXm5JiuRAro4kxA6za/LRw6Uffqowiaa8vujNID9NfvpLL2qc3uJ7lXwC2PyTY5
tY/hpj/k7yCPbiAxrqt9clKshbhKyXlYxMcAhPICEvuaKG2XinzgKHY+vg62jra32d1oTv6o02J+
HFfCQv4YoaBJqA5WEWsdsY7HFPoVkKbyYWpciFqGBNp8gfwOCnJZ3cnJKo9cjjZju0/uE7xgB/9J
W8xZ6Talcv6rLg/WQl+hvHfiLZyzxeAYi1n/yeKxiFxxaThGdaBgdojbm9mxLy+HdyyZUKKwwj20
jwHNCsrX58RNF+Vjcc9y7mab9iXLbTLgd4mDhdZpZcdzo3efrsAGvbA0q+bdfiIDPl8boEUWqOdO
BGcPq2HcpM2Wyj347nLZvA/nxlwq+KWXpUsXHR9Uq9x5wrmAEhtuOpkiAhHeC29tfmAwfcYaTOS5
ct+/8Wh+xJuZxBXVy35d7A2HG/pUD1ixl2hrHWFJLvchXZXLnDPvQvs22AwAhaTk28YmITs5JW7J
Pv+btcdh8ypvyvdqLdjGvXdOnwC4WQCm1iWm14AKjD2u0Olv4dAuB5snuMZ1277FuxvrOXOqPW2a
NeYj9Ye69PJluc4cmjcbz6bQfygPieO/0pXZY6hYNjfDplgxIPjgKQnOpj0tym12Mz8B3MCzsNFV
klXxRHntiCmotv1749C/Ede8tqj5Lv196k7rei+QXZksk2PsTqtmzc9K71DXK4yoEfFSaO77hXo/
pNh0qSXujbOxsg41jCYKpPv0VX3xb+XvwrkDp0zCoJ2MizIiN8AmQsvkgaqniBjtg0oAKjnCG9WJ
XWvVbOQb/d5i/LikH7ndzucuEZuz8HoQbKDSgKOBSMMKdlf5CzbBU29LCYTVTfignK3zHMfxnEeL
PFqpLzJRq/1SI953EdxJxarbaPnWP+QCJ0eO+M8hVx7w0Lxn8kpYGg9A9jji+/lLJax0InzZLgdk
W1c1TkJKEhsrcqdsnTBBgO8KGFi9PTFW/TMmhAJUNtZZtokqETArxcByDhZlIVFm+xC0Fb5Gg/RU
C/cJNjxHSclIsLvIlTJo6w6ITqcXF1ZEPZZy0Fsg30zpNk32AvnICuZt0rO3lPI4IPcLX2IbdteZ
z7V86tV91lBWs75N4qtcvMAc4mAdLgzp0MRupt7q9X0MxjAAu7UsDurOdIqz96zuQzynFnixfVhu
gmRdJGsD6NwpbDYw0uYiPEeLeA5uJ384JUg6d6xuA9wsZ+dS2IqxwurX5hTrOO4LG/q8GHeycFev
mr2wyaLV7GTrjqLTu9HKd2At93aj7yHqmlCIhnVdn5r2YNU36rAioEmJnYkkXMPBHl7k7ULqIRmc
SR6ihgDsqxaeL2v3v7XJ+X8N0XEBjv1ugzLzRRdvVRP8r/9IPtLx827l8mf/gnXIaP/I70B/gpRJ
Bevyz92K/AcILdGyIGkZZIFqrKT/3K1YOHBl4FwSzdYLmOsvxJbxB3gNCLSUjdC0oQH4d3Yr1yKZ
eTXnb2PDJCLAYRM0S44+7SFaYwoDgMUyqtpmH79pN7NJpVx3+8xWdhRKkNcOK/iVr+o3aZk7/Sa9
G5hUvwykmXcNn44XPz+HRbgIMltu0nVmp6jWSInbRratOwknRfk67KJ3dSE60kpc4Cv7yqslo7n8
7QWvzjPAa+WkD7hg4xSuvoxvsVrKJ+rA8Eqe5HtCyqy3ZiWsgd89TardMNNSAwwW8RdSDukqKehC
ujPAJv+frz5LJj49gkyaleNU8HkEkoO52/G3dHvQpccEhnHCZ++RIAsm1Po2sgk1XZcHDso3/k7Z
wVVhjdwQaO/GbHSAn60mfjk9WIQnw2NHzq/b8SFwqnfrTVhq74Wr2ZmLAGxDk8tVdqarrZiX3d72
FsOHtCJl24YJbpOFNxCanS9qR9tWx/wGEcZqeiNk6+CdmyV+QO0U2+Om3nXrYEWrmXo78uTYxux3
pBfwBCjKtbbVwlqLzwAKv3UP0otOdpc9kxexqmJ5JICe+db/QvBzrUn/20i6Uo+KRTrKscLtVNf+
eVy1a7gLeBnS71go1p8OJaefw/OzUpW35F+NW2QuKHBQ9vKGX+n7qfJqiZDw/jSOdVPYNDRt5dlb
0ntfwz49hSBCAXGwHty0lKvSZTsuChe91uvUrrOPZCmuaWs/ohYYvmfdcrhDeBAuUW9R4QoC6KvA
1Tb61jwErybRkwtIFajfW/Ybs9tofoLDd99fINRVnofKzSrXHFGBTq5xr8wNKydZ+0+ioyznxyRF
thAcEVyBYJsfYfeRLcsn/Z0qpCE9s1OKVnAPFOiz32BIvJuOsVbA0NqWsBGlpWErN2yEyze2/ilS
CwLHQAd7MHsWE85NaqVQH2CJroDIjMcRjT7xITnAiK3+NGeIQ+QEaTCDiDkiEG24mt1oMq+4dNMn
39GwYZ83P5DSKE65LbfheR72/m0sHYjRo0t+V6foYrgqiSQ/tIpA3xXl/j63NZUSA3EhS3P2gS+N
t+yNbQ8UP4fMtM3oLaebyZFhSLL3C+9gUyy0Z2p5A5tQbUFwH9hO5cP4AXD2saJij698mfp28Vq7
FPdjCrZEMC6iV8sGB3Aj43ZdVK/Jw//m7syaU0ezdP2L1KEBCelW88AMBuwbwqMG0IiQQL++H7lO
dWe6d6fjnMsTUZFZVdvbgPiGtd71DtewzNexLW6QS4OeFZ8KmMfWeD67F779x4NhsCVEJB86nX19
xRpePZ5fCWZqkQHeiNzC6cfv14gpg3YlvYubFDGcPh/cfnFxS84ja/CKbb3v3M4WHSOafD0eVoZ/
p6y6oqP4xkb7ZG3ZzOkWj8XtFSHjyQ2AYhcCHA/WYZGZ7Y51db1bGkqeZKZipkBpOv4O8WGKHkpx
VGt2si3ciiMWKw0DLqHZfghvNcLV7WlP9FyeWtie1FM7r63p1Kf5keSv4gy11hYTi0STNAsoNvgv
E41QmJZQJKbJq6qeG2jvZrk9XhUNbvR4jJq44OZE4G3l3jYCHGy2bWk+mIqYw6q3mHxXO/2xlL7b
g8e6OPYPZpAuiu1z7sEPMT6Yoyj5G8FME1KuSXx7nn41ZvHSv5EUt9KY4dvyAgPIiwUwSk21Up7r
LVj2g8CDFR5zxdjA4Tsoj54+zimhFjXvu9gXDqju78ks7mxy5K5TC3ebMwJ7OCuYD/OQUyt550cG
DIiz8RHFNa446AtVl8QGRKSadcktntSJUOsvJgcOxu8O23gQF/cP4V1/BU66QtzGk4j8IJkLdnrA
CsJYEBFiV34XcLwf4trsPu6CTf7FzZEtescYfwVTOlGCmxgiucXqhb6SlUHT4Coufv9OEwESwnTr
7Fj0IK4z13zTucYGK6aP6w63xdiFYMlARzWegT21v/SprvNdN5AmbGKIxN7vZZMRzpWqWfnKBAdv
oTbHcsI2ElJMTUD3sTuguYM98xpbkPCoPV/i41SzsPq77prNecfPTSuLMjy/BfepeUGyT5zjZX07
O+XdxLGlzTYj+wYT58HB+TuhG1VsPJ772OLs0vGm7bEYoKE81J+jvwAWDZ/DgYC+DSYyi9f7a/lw
u9zT0eQ/rBv+njuVMYAJ7i1rHjr5RgrG3sS6rS6Dc8WcOveQ+GvLZJHt+5W2IxWQpkjMFnfeFC7l
uqMwjsBu9ykz2IAX2S5fZatAMh/h0ylezTtzS+wvbEZT05uZzOqodu7u3eawveN8HAfK1JRR8iK/
v7vjczUwUKKzhtJa04JtBLaax8eY7P6lpPuChF/sMYcoYJbXFqNm7KEkbNMnM1XyL5tUNpOvqRxc
eyZq5uP5Plni/4yFh4w645OLY/LV6R5fN0ewwojJ7nI4k+QQBISjwVvD0RO8ktOVPSXr1tiPShGd
nAjRSzCH1pysasoHjLC5aJ4xU3rwd6AivCMwmHzmm+zbxftiC5gERUQuHyVLpZ2/mh2e63jxpHgJ
2bKpHbo3mli5tbQd/Fg9MQnFk1T3Dhoi429qtl9wTMRVTLAOwaslJq20huVnv2FRTizG1tyRhdVZ
3dcEy2uaZsxcJRNc9kZHrERVZ8kDZ4wpO7Wns8NGmRcJWs83L3aIUKc/TiPabi8lIIe1DXBhT7FI
wJhHt3iTKZUMd5uXzoG/sHCH5pMAYaQs/WIhBhIkmMZ9JHY8ByUf40Hd2MKws+/dpHbP0yXhKfoV
AhMBWFaDZrixYSbJx0RE+u4lpffg1uD/aUWsvmyJX1A6sEzZTcyR9GFxOftgI6U8S4dFTEUtebhE
SgOLfXkXLSE5QNEYtNGBPYUjsxS5s7Co+DC22ar/ErayV+wwzhjBHsKhKP7ys/PAtFkyKw66i3ny
tR0TEVxV6puHTYyuWMWeXXC1byv5fdLa9zUMugVNr8IzqS1pDydBXFx5hPUu0a17uZDYFVhJVKZ6
w2wJoOYTz6LyudtLTHG7cd9cFas9rR7XEFcIwralqJ+Ta4Htz/idYBvxCaluNi5y8+4Nn49ltldf
JFzdBUhE93DS4bciASDAqyb6FEaGIxnuSXdkw4mbfR71VgLf/mq278eCssE1XOweCFrUw277wO4u
eGdhWqj85jcPiAxJvC/ub3NxPx5o/RwKDWCPanXRJOhINnmXuEjW5LWth6md7ZkuK7mJLR9W9zxd
FWP90iJ5BxruruhdqfKT2oaFkXRWj+tNY7ZHwU3WRnAzxXWG/9w7l8LVzOzEfh+3h53PH/POb8Or
p6/rze1lEGmfrey9WukhlTprksFzy7ozIuLmJbZFsq8Q1XinySY+zWsF53GrMCC+l+9J7RT4lp+t
qvZvuDM91yEAHU5Zr0rv4mlafchDmMdWfzfVNxz72L44XOFuv2A1gCAiQVTMPHgExMXcSYs3lcaU
b2aaINJ9Os1uGBnuimgs5rXELtHAEz1+MRPtaPCbrq0n1z6J8r0YFWUIAZJ0gQzKxdsp86QrzDtq
Kav+xLTEavCjAlbqqUImO0T7x5bKCWniy/0ztfEHFikxiWlCi8OpXETgNhxsMvf/AegXa/xSximJ
NNsDGkYDOjofsoPSYifcYuqMb0TA/uj7YMJqSGisbjI/xWGBRe2NZW51FJii0yLHSjyJ9NdpWGuc
85YhOcRA05TeASm/VH88GSbv4Ew+4CBm8AeNKX5sF18cySyEDpMBEnkeLicwU33dxIDvwOadqubt
MpbECzzMCTPGW6bxIP0SQ4Sowh5TMGQX+2ACmqsLUyJMAS2kwfezNw1jnAnNzMu/hF3b+0JJNJd9
PmZQo4gXSE0i95TbrGYMN1h3kM+pPyxqMKTOwaQX60PD4ot2h3zcz4Q/E1gIUNT7fE9sp2xqt7iy
g/keRTeJ5COE4WxLqZOb3KnV11iNg0YBH3Hb2HCRPCiQy3YvmxVGQuZ9OVlTK45pYgThmucDiLJQ
WMNTuqQSRo/budcvUPoKzgHw3o2Bo6nGfnMjWQp/So+GQG7Nwun9AmPg0ioW3FBQ9mBgPgSM6wuL
38rtxZuwzq74pp8sbVN+dQtAVr4SvkhytN+GJe55Etc0JbFgxlt8H4xik+pmLlhU0pl5DWQz3hkg
iz7Mqf4ALaBFmJN8F7cXL32eRMbz8KyG5GDY9WF883hnOIanOHJ09cXwBE9hkS+nQTMnvMKW6Skn
Phkon/hRlj6xB3u6Sk9bsMlNBciiekEHse23on/zdVO0SzsLxTcGrsW8jMYnw1tPgpxlakGMdgT7
GkGQbE3WhJO6N64TPhrAZGvly95PD1jP2YV1+o4QUO3KKiwKJhtn6MEUI/UZ8+tX8getlHQLhVLu
EcoLwT+7J+f8BefMTjyF0rGyhRW+Xi+0g01Q7gtWo0u28i7n6t6me0yzXRoHtwig9CH7z68WDpZj
H8a790TeC41J8VSvKioS1hQj8e2IGj8OU4oHV3bJR7YJiplh9YNa2eCmXrR0EiNCamJaHeCfz35Y
XOZqwBpBMrcCV0RXmJy9gmHJ3eqxbM7cBAfiregy5uAicLLUV9kWtG8uZxhYAfabY/SCtCwuC+rv
04KPROnHkOCyTo3dmAJuaKt6pjh34PxAXvetYOWBSILEeZvUe44Xs5LDYQPQEBSB6DCefXkwZLiR
5EiSwjpBMD9EAsWr6kHngn8utrPYB//sVlO6bCYYFqeJskwUbKsDdQgmYA0FV7Z5Cck1tTHBm/K8
irUwmqEfJDm6UWLzpZJPWbp5BlPKGRvE9BAT88GKM1RLqJ7kgjTtCKiEY42jypLDhMvErmbnRb3J
aRvSlaz4NcKBuzWANaecTV6/mxwlpworqtC25lhmsQHH6mPOiFt5j2XPFyP7bF2/YgM3bu3XgtXv
+Cp1yRFCxtLMDOsDnnDJZ18GN908HyVSP2DdFwEn0LCiEjN2cBItfgE3LC486orXme4GMmzI3LCU
LR2wAe1pd3ofPw7pY1SonB6wny2gNP9k3VflgSD0Ge5+fDqwHqBw5ekM8c3N5qMBw82PREpXk2Xu
lY7OotKjysNfzstZ2PoMpZyj9qbCupEtTLwv+Mnco1Njk5tytaoFT8IWwtytgDcEbgowIWUlBPFX
85IuSQkDQRrPFApWq/Bk1GpHuqnzGz4lyOzRE6QrnltoBIgZoPT4rasvkgBqWcL52v7uDfEdOPkT
emRcS6g54lyG/D8g0L4ShFvVAeFMvOmx2/Gdx18VFqBXK16eD+jxPbzbHMFF1xHkm3jA/54B3Mm5
hqcXw1ePJVA8B1n6NkIzMp4k1/UQqcAbsnUDwRnHPDWtPU2az4wwVJmMvGPDGSTvmPRH6QZXigk1
B03lZ7ZkcjbhXqAdKD3BohT1av59MWNmJrSyxwuGDrRZs+tsSjXMSAdjB04D5iy63+EmpLkZp/bx
utIG2nqrXfeMAJ3fpsDKDxnXN8gmMeYezRgMtNo/MEul1HE67AiHuTqDS95uWOOq7ApLSNeeZmF4
GSp2/QL+OBbrbF9yar04KPGh6N1piIIli4YnDmzkEhjU/IrL/fb2fnylBdGQrXClPzK2lw/o5bax
AX7wTpwL40HW4HkkrX7BAkdc8X8so788kh9CQ23SEaZx5ZFwWHJwE7b1ctm20dlS5wTbWsO8mxfe
+fDLq46f5J9e9Qf+qGhDjiaJT9pbVXB1miAHB66tzu/Czrnasluy/dg8vwH28h8/roENwmh2pmg/
feSnV6XXehzF7UeoPWWz7kjc9WClU8QwdL4tX3luMjU4MkImbOpVNsy7ozjQ750eOmRJ1fObQ8j/
8pZw+iYVUILl8YOZcMdp72aclNHrKl8QjLWON7JzWXU8k9y7RGmgLW+zFiudyxMVIUWFToEAVhD8
5rr1PTX5H98KfJJ/v5Mfw4VTAnstxg/AzveSO+zIDrMUGaTmYhsuvl/uxBaxSynxLjqHELtoZ0Q8
uVL2dP+ufgFkrCFWvJeB7lJ31abyoRJKJQQCNUINkwSjyNnD0pwrG5uIRVMJYLpxxNRb9pL1ywr7
06AEHf5/fZYfW50o2D6Tksm4wpJdGwDr2dWbMTe4587b/7ed+5dX+4He52XblPhkABfbPDnqKJy3
x/t/6j1mmVl5F+6MXz/iuEl+fl3jQp5McdRHZv1j4cAqg+JesHUvx/NeeG+eb5S4bFmsLBeg2p7w
JI5ebYOVUMhdJlvll7Nj8gfOEHmW//0GfqyX801ITonIG5Bfxoo2e5YnZvGRkFNFpwcKIvnG8bbA
W+xuxuvqLftK9oOlfulL8Z0RvHt/0t87zaQBAdHyadDqrTD2AIyrpKB6+u30/74R/+l5/VgSRaVC
eKzHt+t1NrRT1Z8eRSRx+2qFnvapXeabx/z6abjfeBJA39QpI+o8vk5NdqtlYmvkp5vnmX7MoKmD
TTU+Z9VRw4XfVNZ8JFudK2vxOHHJg5/409LCPFQTTHqp6XpwxF37lJGmogRMFDAQPxcgCpG+mUT4
sf/qPIQp4B/WBxZAUB8niipjasqf/2VCpzVVAYGas26CmhHfBxc6tgzwW9ntTFvfZ+ITSC3IICm7
GuYSTiNDpcYJ2lJOIdb59I89lerXiaB7t3wFxIPWOEtWY01gQKOEBEsHoqwu88RTcTAVTYS+76jy
8NIOJ/Nkjru0TXPIjrhz1aI5UN00JLLIH8H8bEXMo08QjNVyns24fewugCBP6Zxtcwg1MMODOwU8
oJlVmBDSd9yEs9MynSULiBNOG9JceWpUPjURENlsGMEJDFEi6JDOWIzgRUunrXFkjkXhI8JTjhA/
4tvozMqnys/n6qKB+ATYDGZHrbLrZ/0SLq6fLG4zI6Q+WY9Oh+NhC9LpKSEsleCEC6exHjs0eMaO
fhzLTVgvJ78EdgCqoTI+vaf0tX4MnQkpIiEjYuyTvzuSaAyqqs7Kxs6hxxbVzbc0NvbFyVdTbwIF
Lg6KVxl1ALkIzwCqo80iw5013t7ZCxa4vZ/McL/lgxXOecsR23mU7e2v16Q0/UEN/q6UptMphEB0
+hhO/tgrzTRt0yvRwnbCvKkawa/J4opHuhlDuh8sulWQvq8YTJGC+I4l7o7ykjnJ/R6N4Ym6Fy/g
3j8nO+A7F3j0sU9WbcAMxxdo6GCiuEwkEqYCJ+8cNYT/Js4tHUdd1UeJ8TsTRx/k2gZ9J4Cg5E7u
Rqy42zIsAHw61+awEBa4W1z28Gw5V9rx+nHSgNBL+EwcvNABeqfqaPkIvsG4la5qwH58ViyyBcJB
zVc9fNvNc4BTjKdRsJLrwFVvtRbyLmYPDRjIzT2zJjKfvxEoPl7afheRIwP8gdsMK+NkPoJsMXic
YbGHB0vU8QtkH9QGLJOkTRkc52ZCR+K7BtNlaHFOvWQjveJjq1Mmpw7kYsYT+bvy2q4TR1swpRO8
lpGgfSWIgzOBwMX9hCobIGdiw3JpWvufL8rvLPmfp+IUoxG8WfiH8vOUkNQyVlEZciquExptbJM3
lS1v0KQlc2MLT93JX85zRPMNBQcaxuGjO4qVBe0Lo+9NHTLcXzUHjdbimQFK9qZt8aXY6EzVP7OD
MMH9x5TeKKyAuh7PF5zoTQEU5YAH+VuxaDa4v28JjNpLwL7psSHLgh9lImaE0nqEl3KwivyX8lMZ
L6Z/+MzKeLH95WSsi3S49jWfuWW1XEwdHpN1ji5LzhwCwUzm1xw/Y5t/d64f8urxUq1ur4/FxT4/
aVtjM31SkUo8n944wZF/TFMPaOqfv5bJt8Xez/eow64gmxlrKelnXvRNvRuaWjC1HvkV8oZMV++y
6jFgOq0fTr/RPNmCrafMihmT53W7qpYjx7Dz403HKUqSxZwMcQQQIag8tVvlGwtEwTBN0zdGsrvM
I8YjxNsbWsXVVCIJR87pM35AtuJeKrP/Sl3dIof38pI8nV4rYh4+rgfGUcVyHPlew9Y9L2TQbWGB
vtrPo2JmLGUH4DfdSLbko/VciIwEiP4Mq5VE5CvQf+HEogMDcQCfbiM0bJhV90y4C3f8J+pgzlYM
7MFGzhYjdJ6/ummm5vV4oidVrMuW2fPTOH+XaCwN5713q/3g3SGRMHyrANtqCRYKO55z9rKcLmpb
DfkTJhKg2apoYr3nCwsEDi5S0j2zn1emjy63M/gEiQm24hR73sNh9GCljXZST1sWB6qX9JPTG9D3
ARFxnWzhDJznE2IgDlNHMwnmDdN55qZeFwrz2/tjyVCxcspgxDsUeEgNdxXTJ+z4IINex1Peoorg
zl/jv2SeZngyka330jWUahNXB94cmYuZJbzILuMdG0N1HPk5mSoawA4cO9KWd06rENKL2zG4OZki
V2U/q2cC6F/snj6blytjRSzv+QT1jph2/K7MYT++WcWZrpuFNMeiatlkTr5X34UgB+jLD5OLU9Ny
BM3uAqAIru3Ls8ZDzxqO4CCY1jskDNQ7r1QHRPva48DrlfGxxpYBDn9v4XpOTWJi4flms2RnzACU
gEZ0KwvAXQgH8G4xBAcGzj4ci2EbL86Lm/l4u7zIgw3IRazwq0HJoJn9cQTA9GhgNAQzwLy84jPy
PJaKRyw1pC8QIDf7TLjxZzyyNxAZOD8jdEYA3fqMUie1Uxge++KVzIv0fRJlYVUDJ5Y+5AsTVvsG
EOqj5PJWAxGbXZ7pQtl2Rx1IHUT4t9pT+VPDq8NYUyDyTyR81f5+4pyHSmu7nN0sz0sIITMJQfAl
MPwRXuzYclkA8TrSvNSfHjJ3irwQkmmo2YV/eVPX8fwO7RTyOBUBwQNGbckRt39NRMwvPkjfx/3/
OHbg7onaqEeQf7LzlQRjBfl2ohvdEmtDpwYnKOyCCsE/sVgbZRG/nHb1XLCGkoXE3by6U+bpzXak
p54ccR0vS/+3s/APxzXan/96Tz/6DE1P79drx+i9hb3P9MYkDGV0fR2rPRmCMwICJ+GmnyyL6L4b
Hao1yoDT7nqk3bC0I4OCZbrDW5ivewLwH2/FF/X58lvL+Yd+TMfdiGfGiS1NtbGm+sutMlwkYygr
3mZPMYuoB+6I4WbM5FLrMZ4xU68PmFV0TxnY1+hE/s+PSf5Dzfa31x9b4r+8fne7GklFAostP6xk
NWZUCw4W6E4XkfkgL2vOnUvYrRMfSRCHe/s7gPUHdOVv7+BHR5qRIKMNzfcXlexGhgkR4dz/eFVw
fvVLyYEu4OjIPX/56NIfttffXvjHCil6bB+K8aOPx1IM7Uh2im0ZZi4s9peeevkSno/Mcn5r/P+0
r//2wj/q5Lw7dcq05oWrYwP1Pz9zM5WoWZTw7N39cdgKS0l0IJRYk5VCBCUXFUQMKtTmi3GnwR1B
TcRsBgaQtjlfIyrDebxhlsW5+b0+/r/mMyOWGtv4f2A0j4Tm+SuM5s/ir2Tm//MX/5vObBi6AuNR
J2iPIheU89+Jwcp/4ASsyxx1yAQhPf9FfKX/hzhGFhKiafDn8ojc/ZvOzB+JKhRX4gr5N3/z/4bO
LP0BrDJEBTN2wgw1hFE/9s1pmuXnTryOJsH5YsQbaupPfWasM188/OqC/gdc4G+v9mOzTOX7uXo8
eLXRc8waoyWAiRw62NloR566v+1O9Y8fj/Nw5JIbZJH+OBhloTqj/WzB1rn5OhTU1ljPnrwiYBxB
/YyF94gSQGTzCjt1EpsgNVfxEUl4DSqVFpSlWOQBkyL+5LJnCLYY2y/RZkTO0AHF6WikvmiYHsI0
DfEg+42eO/3DycbKwe8Wr1oJJ+cf39BZfXTFqb2N3xBhEmbuZHDoSiitJNYicxL8dBHlS8N+eLHN
8G5r7BRzLh1bbikmKQszjQYfiyGKk88EgVCCEivmdyQ2hk2qRz1JDzpOGsZPO5rhAyEdSa2hAYF0
BA7fhNrYF1Gfu8Jz9EH9FV4sMHLd+svuWf3rov8bN1jS/vhRZRFXHAUJgPLthfeXa0TsJ490eOBY
3dC+yh4kF4rC4hRqD5RBDjFNF4bQI9+1X3SiPXm9wF99FUMyovEQA2mNLoxERwYflo8jnANqlJkn
xvRh6l+9RrIwKdqVr9oLxIUC+p68y0mwExwdlIqAKxOHwt5vyHCJZw98wz6g8HSww14YIvf62G9h
Drvk/6F3I5oRNs6d8d8XEJb6wRsQo8S7M1G4kohnxTp24skxHcli1x5UIiH+pjD7lx6Dodb7titz
ejF4KOGEtgASrUSHg0nWSOkQLaxodUZc2tWNpXl/3uLpN3lhbgiaxIRPRJvD7PqxVOBLgDMvKEJs
dYGqLBCuY9NRraCT0H8MpOLRmBnO+ekcVsth1q1O4TjekZ3z4hT2TzU/5lSOsODn86fbp7aCTAbn
srcUOhPSoxdl7Er8cgNGW3Ba36Z2V6+lm1XtAE167/Qs2d2RFKoQl4H9rVrEOBjszxuGvgLcaJo5
rLr821fNpAMbqcFqBFcjUooh6Rd8Xw2C76GliYl4cKdzqJ+cJn7le0doiNNkxywIA3hioRHZZLZ+
Ixrb6SaELro5Jep50WgeImijd8+5r91mXRWItJ/5SJ8FyGlObwwRQBq7D+yrgBsfxO2Zcm73PF4h
NFClVfsE8ONioyqc0ntXMHncGMKhjQRx8npmg0HAhY9OyBAUwX6TrxMaOMnUBzJN4eLm7ay9+nHh
tYwWRCKlYTxzitZ2DaUAxRTuAXAEWFelJRoWrvY3ZvY9Li7zOF8gRji3fNH+5Tq/TiM4lVPJNBgU
c0xN33nqU3rZiuRqMx4c9vnr2DCM8s5yTbwZc/4xheVUmfGs82WUkFb3Ndqp2gQ57e9OjwJv/AH6
F+brcPsMOLxbnD9cY05r2/rQ2AI4hamVQxktzPu2Xpfz2/zxyaCF+KKg55w42benZEsGC4Y2DGOE
BTw1iJIIPvOnCiEf3fJY6s3Fp8yFb+ZnABn13ZM7IJyRsD6xBtjXhXt6ZpfEfnf7mLBoNDS+6u21
rcHbGjCbVn4pVN1V8WxESNk4g7zrxDkeseY0s1DbqSUdJaqLLCX4bSnHfm3LyUczUYg8XOCVoNRj
GGyEwcu99sgkzMgLY0ZskwhRGM8QhdX7LP1MHjN91Q12F9GTI243m6iKcADRCVKFgZk1prxN9o+L
VcJYmRV7JsnHq906iHRzi3Y/BPF7v70bTzeo/IzTTIibjw9+AQ0zpr2gTO0pasoQ3Vq6gM5a3dwM
opslecJcDRlIQYveQKeCRdAD8tJKnVewAZAXyO5rN0eGgE+xH8qu4EEicpINChGOg4ZgVJ/2s9mX
iUPyNIAGNIPc0m9emnin+E1GqPiYnLcqJrWAj/jv7dOrAhWc42Tkowxnr4EmDsvaWOS6d+txiNzF
xlLTX1kumHhggBuvittTHqjWbcvh5JXMBZrwtiteC19etU6GD1B6fMCInNTOoz10SiTY1cS+zGs/
PxTvcJIyv/GyJ5gaUMS25BNOZrdttgYR2MiLeAm62L/1U/6R3QPxMDL+s93FG3faedFHt6uPApNF
B4VHqOdlG00Z/4J25tSxUIeaYxWqdOUXwyGKd6J6lRiqpOHCu/q85jshuIWTKJ8pMI90Y523hztq
1n5GpszrBKklKzeFtrrpXVSZty6QV3VBK4tV2TtqlwhwzavQqvYPMPLeVYtAMAC2R4GXYjPT0uwH
yggUuIVb6jP0lA4ndeY2/sm/DC/j7VqcVmwO67Ec9JcU8OYKIU1zpfWGOZSTI9PYlbOEDaLb2Tb+
vCzPT6CX/K+rTWgr/RmDMu6XUZpauMPVOtmdVbCToLlHudOuHp+oTW2N7wp2oqs68U4/6sszKWkO
aYIoYTl/oJhlHrZvr1lq1g/7CmWGxfU4qPbp5b6sW1w0zRpyCaTtp8R7+M38gYASzAZ6dDdrdc4B
oOOTgYfKyGLXR6GmlZ1WmGYCi7wWTDYQdcN+mfbmZV0X63HIwfZ4cIrQSrxAG04iWGqCpx0yT9ne
n/OvaazgCLzPa0yHHBFZCE2p7mQkXixH0aVoiyYEIiAzlUEHwC46Wwjqj97VizlObSqW5Vt4P/Yl
6GSu1xERELYneT3p7YsK6dDMcxCg74hEU9BYpYD4gqfC45IAoYSPe7ZoHmG9PWNMfCUdMyKYokwg
GLqTiSXBs++dGkU46nuYf+QsDyaidpLeS3QGOn6GvhgZAMKT9Qmd9+1sS7tyAV18Mk8XXedxf5x4
+qqLG6GI+vhiK70HN05FJNR4U5Ij01CXIFm7sUBOp3PS3XKy1JvD9mTdwNQQdgFVP8M3cBNwVjhu
gimc/OpJWYEyMN2IXw3WobQqgkZ/k0p03jevaXyt2Uxy/1z4YsYsyAgUflDaXnmOqiUeFEc0GelZ
VNjKTuOgep5yQxBhzDX8mD14LXNiuJBcpP2FWF3ZpDn+nL7Cr0evgJrYhK85vr8LJskmQoHhBdvz
BjW/LXLioW6DLB67+t1ETfB4OzkjSw5U1aFKQ/gAU5QT6F224BCEkO4VwaYSqqYe3WfyoWsu+q4O
wlXqyjcbj6REn6tAipVP4XVb63tpsr/JoaIHAsHYDkcJHHdGEVCIYFSP/YLkCuaZijYR5lXs6XgX
Lkoof9fZFQrAeZvri7idULzMe4EU2vVFOUyTd7EMGbzO2rtXrpgFmFcVHixQHzsAwiL3LRZGHDL4
0zlnnOAxRdl3Xv82Tvm6fbNPJrtGQv3OsC4YL7zce58wY1dh/kOUL/ZMu11Y7JSXdraeQmD26qgh
PP1dF60M9tqSEm5XhSN5Qu/IXSREwTaYDS6RSjjTQ8k+A6rhTsPMAeSUpMvw/ll4mtOPp7c5kTc9
o8DGKwZ8ps6f+IxNI9GfcqXyMYaNJLBrIvE4cCwdGuiVyXxM7TwzYRqc4iatEijvKhcomy2DwO6c
rzM4oVeGsXO+v+d/LuP/JJCl08IVREKJSxbFD1wCfyttkgsybGqmZaPqp9gB1Z65jHGB6L0hqp5h
Z+efyJ8U6q3Ci2G8PsyEAhKn5rf+AJCrX/+FQPzvyWNjZ/kDXDTgXzFros/GCeVHI2gY15M+zbTv
LmriQPodk+UEKwHiNL4wBCcPZxr88iRGAtM/vebYnP6lnYk7Q7/TeCu2Ets15Ga85rCkeGxRlYmI
CZplzWJCHaV/DRUxnywgui3LOO0nundnwxFwPu6vMzceOfe/PJE/fk8TVNYS34ekk/L493fHW4uF
Kp9SkrJvF8RU5K74BdZq3eaMdtwKsyhqx6Gd5Tt0IqV7WqT23Rt5jXBpfu1yvyMqfj4skoNGn3OJ
Jlcae8O/PixdHfrLacKyYckkH+OdHTvqwoCB7EAAwAEFonXrJivaqnd9r98tZitQW0d6DVCb32+k
SPyenlF0Ybg3+WLsL2xxlInyF0yyyhBzEOJMVPJ6yS1kdH4N+ODg2pVLHtwUw1QrzoHFNrf7S9JH
2QyyokK99jbtIvXuliDMEE21dC10Vg5NNp8+56V9Q16gvAwImzKnKN2y9tKMCr6nwox9uQge4plC
0NY6twaJ/ARyG92m4CFyVmMty6gDWqpu4S1q4qUeQgqZbquAY28kknYuVp8QzVdNRnqscwd410K4
I0WAmmRlOMoFNLxZSkJ0QWIBFE0lr3Gu8OLMTPrqlTuLobk31uE3DwfPGJXlWgsnzgPfWvxH9NdT
yB1GOPE7WgbxCeqwg4qlQIKIRSJZxMFIaT8SIqvDH8gjQQzP8zQkujSRzKmPzfBAgaN6xciqhkhj
icy1ZWu8NLePXY5NAp2uKXmGxeAKsYMyunngqsBS7wO1dlVkINbVmE8tbKpwGgxzSLywXUjigJSQ
qmS6nc2hscpZnNnnCazEMyIC6zwTSGl2M9xPAHOSSCxb7zrHleVwrtZcY4lGZHPpxJMesss+ufkG
M8jKzv1RDm5IVqIupxvGcdg98BO0W/AdyA1ubbyNBSc58K/cMFXOZfJPd4N3njEtpwPaicshulCu
jT2yvEP6Z9hXt7nO5IqZ4d0qxEBV3VsOWROOvy19oE2S3pEve8poj4LO0tfWZUQJEefedJU5iKz8
zqlX3Ky2ElxQA5rFmtFS9jn0MKTdx8Q/1aEyCaXXfkbzDEBzd5jkEBdG+QS3K0EcTPixeZ9TAKKI
oAiPiVzmIyF4Q7eQcbkhXs2q5SXAOyg2xfO8K2bJkxghaUrYF2Jja+omvbjV24hsXYPsYaasOn/q
yNNZA+6V013YsmIOG54IHikt7GgH/cqN/sQvtufabT9iH1OeLDASMGTWbSC8KYarzthvGsMiJap5
i1jvcmv2qzYSNrB2T2TiYjjCbFPAf8M7uVykXKLOdVuFaB69SmVynCwrV2VhvGeVedqDy2gWarAZ
Pb0EKYje6pj6NXSd/FM92ZBdktsqBZWjfp+AcYmY9GClYjqweB42LfLReMKO/CbZMFzaxI0/Hx+G
w06iR3u4ah5dskN+j4rTNrscEaDUL5qnuu22ZCKvd1HWhEM8kq6tuHHpdZDmj/LyVpiP4rtJvL4V
WHAywU4YH0NIU2qae0xGVLIm9mli3StTggOOxvz7QNCicpl9XsLeJ36GnHjxDckCJKaB+vEt3lZP
lTVd09I4lzm3PcJgYCA7CRrrm7zjFTOJ1HSzOaYl+blOWoYlwup0UUlRfuI/2GWy+pk8UWIHCK5j
YRTDYBkIj/+CnkjmY2BcY2lzcslDdacZtvSci2/p2RJvtIMgZHaHWuESaf71I91hp3NlDwTX/+Tu
TJoUx7oz/FccXtkLHEgCCS280TyAEDPJRpGQiSSQQAiBgF/v52Z9tquz66sKbx0d0ZVd1QUa7z3n
vJNTAvdqQd/MJhCWXOzfAHiAOhuzDTvzZ4iiALxY4KJHSJY8gogXhuLZetmw+2eM0fAGjj7ApVxR
mEMtOm51GouFQt8rdsA25NFtXGqlHlmOvBkHY3/nfaIr9cX/2N8/RhixQNShxGgcaXfa0ZGfV8Qe
GTVmrVa67aDfgkyzlt18e6vs7IaI0j8ex0En9Um70mW3v7zOuqvD59nO5rdtf69ScpNVf7LqydND
IkfViVEMmpCbcbVVYGhsoBJw8lk1pDQnOcu9hWfvOdHGT2Yt+bg67IrWx0BADqsREc4QsShpjh9N
hCdORRXnkRsN4gxWSLYBxW3fkHbl6jkEmAquP7DU/9+AC3FwbPq/AVzefyAudZOf/uXfnPr9tPv8
978gLz8+4SfkResSVElJ8ZUTR0n4E/JCIh2JMD8qH+UvyIsk94FCNEwp5YEoU34CXnpqf0ABSUhP
n0/+PwEvorz6Xu/gSCP1JTxuQCi+wfJafczTFBtYcMOWsaZRATtkzBAgz1KRMuf1Elv6Q0X6K8xQ
2OD8z5d+o9x3Hm39upV8KbqRQBqrCK2YV67v/n2IiMlJ4ZGoYxrhuNj+yPskTpEy8ObUF7MVsyJe
c6sfM4WcMo3k1/P2pzv6CxCg/6fLov+1DHxl9UM93zlC7REh8hpUgvC318Yl3k1C6HRwmhDfKtAL
TwKwAeMwBy7SASppjTLhGefuY6WTOGFKUyH3APSmR8NBLBh4aHtxx9ECZcHsiIKWipuuVkiOHBz8
0XhNfn8y2i+wYS43Kgatp/SI9/pWYveuj0FSncioLIYnXzZl1AZIvRbkKJEPlwtzg3PURglObOgB
KVuuxAL3chNW1bs27kN8Wus7yvL6TVtdJw9PNwep9arRziJmqR0Jdh/Ek1dpITzX3MxDXR1dh5ih
d52bP1h3JuXHYE0qEFQgSPtu4T1GMmV0SocYHGwydb7UdfWnrBmdxhpEudOG+h9CxaTuLzG/ny7C
t8K+VaXroXOiC2rx1fBl7Op1POMe8+sGf2G3QeuE0cqamX/nQvoLBcSLMsJ+NPRLhMXR9DOXd5uZ
mDJUDjYNtMpEcNuDDypLesiLlX6m/gtKrrzTAuArtN4oBwrmWU98nsOe2CXG2MHV3iPEnpwG57Eq
VvU2cahyjIF3egdXijoTgmbOsfb+WjB5qoIeE5PKKOP7UpMD+np2+hvO53sFdeMngs8II2zitxat
pe0vjoyW2ORrj28HXpBi8SfC/Vc81ffVgtVNgi7Z1wWW/NfXoqjwam2fXMQss4r8vYu7x91Q2C4h
6hANZGDVqxtSFR/Y18PCO0w6Aa6RQvZoPtmjf/9cf7WGfzsavSuMNLvIRr5u+U+9WvfewfD13BfN
9HVJO0FzcQzKUTvqM9Cc4f/XXz2wQ0jM5OMIGzpWG/KpLPz8guM8A3U0b0NVxumIUe1cdRq3HrVw
txOzR316Q07H3ESNoHv1Ls51pfFqzn9/AjT8v4QafzqF70g0iTupSM6FAHWDiF9v03PchUrcD+WD
p5zGGZ26Pm61wmXAaGoHwJ6yh1CwXVLTkw/qqgN8WfqYc963OfUhTRbuDzdXNJ1j4CdlzYxBYgp7
N6Ag4oEwx9PerP3EHeM15L2AAkcM2lzsEciHOk4hKj+G5wj8L0v4n2t4GsNmqI2xYTHzxjjfnORl
KHk0sC/n4JqgHjRFnXgwS81IPjm8qpbIXePRXZf78/6xpjxcA1up7gO4WN3gDbhORkBbamU262Rx
v2Ei8wQBn/MB5/AStga+lDT/4Q2zqzh9DrPP3mPY4R3Q3zAmxtGLISKGR5DYRDq91SOUHtgFpYJ2
iC5AMVL2cbGl1Ov2xh0qc1aUHrANlBtcrFpMN18JYQCLROFoUDsFJYBPDvDT1irWw1dTqR/vOsAQ
M9Tb7eO5xNT0/C7t1EAf33c3JL3i3xeAb5Sd4fJsK2+6f7ZxvPEHYGODSf8t36sI1QRSjW3AqBcJ
LpQKTn4Njo5uveJDQAm9QosAUC6m+5qVVt6VGTmbwo1ps9lHdGQSHs4ssLJUjBAz+Icch7ZuETAW
tpBeLi7bq9Bs9j/xQZoqNmkVjz0qVXoBoScuNsWoXqhU5HhBAGYw0hVKSKr6MuxLBh/Wh9w4pn8p
/ArJG08ZzhHGAysQ6wl6LxsyiCyxLzwTYXOCxZVv6jemq375AKlH/+i1D8YawvKtmqWT6wjwh8zq
6LLQKnZBfixhzRuQGTZfm+U1BNo7ukr4gk2KU8nLk8LO2UdvOTxP+tvnohjzjawk99ltlGGvpQL0
VXPQRfxL9fUzoIZ94XgT4NjzRbNkDAIdH9Pp4XEqaBLVW/bRtdX3Gn+HHGXJ9Da9RPhYAlKSkKeF
sI/o/VZ4pGwkrNpwPtjUuHmzLWuLJyZPuGXZr+gq5MWWLDZ2ABNaXZxy1FmzxIN/35Usomn7nFdH
AMFCDqaIfUE1NYS4W1ww3kHAc6+UnQbFD80HmukFkGjPAnm9eyA4HMlxAcSCy8Po6nJF9Cmosk79
fgwTxsmN2QVJfeAGlxTeS/durK8ADFdi3uM74t1c3CF8l7AkWfcCDYR/3y8cPcF+qshspfZRKQBH
CHLg7vXRz6NupH90/Mo9baRFwtoxv/p3pB33zfNi098LeyXNuHEquQWDiyfgOJVw+WD1vkTdHEeo
MCuGd+In982wnrNKreV9ep92g4qIpE7A7M7oVngIgSnhKgrWuG8Hbs3oPaAMGHwZg1LtjHGykfJx
esS6ha4e85Sz07nFkoBKpz1teNWX3TvDfZhfPQQA5ApanfxpFv3x7cb0xcKm3WCy1OCU2Y7qMc4U
oN/Ka0iuSl7uKrZlfdMoNvnwryFQRQFXghcFOY1VYtt7mLGY0taOxFhOOLAlo3aZe4/ZwyIIDWIa
Yuh3Ifa9++cNiQPwFYox/kaEozNFon3XQnmp4LUkkHy0WgJx5wpD/j99PIl0m/NcBIcxb4my5dFI
F9IWNw2kOAKBk4Kqpg5M/POn4iU470KLZgmboLygCiSosYtxLMdZGqXXHQ1e9vP9SK6A/Rreon4f
4yvmVEbdrB+19aTUagKkKC9sfiIdhwG80BxsLrSP1Gr9x0L1HlHPYXboY43osngwIz25RGrD8M3R
j7+xrqZXmEfSx4Mh/PKxhkNyWeLX0WPQsbvibLpk8XyZp+FXmPkA+s7TFq+N3/eqGY+rfKT2YSwI
iIFmZcbwyCO5lNEbciNt+mJWc/ewrAVHTOaCad2LhfhOMhW8CmFg8kUtPI+D0yMA6OC2PTG+ywMm
Bpur0b4Plg18dpYJzDpIjNzIOMqKl1vs6m2U2xUgbNfqrIrdHQFUtZZyq0MiNgDg5u7XfioTmYk7
k/8a9r7oD2IkCzziFW/5Eqo+VsvSEJ09hJNqjDpRUBAFOwcggs6iMxEl+tXhcG22C4ZE097sucYs
CBpa8iH7j0BSPG5mSjpMl+2WyR+8mHHOmfdc/TFMeG4gsGensLt7YCDclDZJuTroHoB8mI1r7+5B
jhQsXQkl1XVOvT+WkAvavLnLJzkyxrG2FGyHVEvTbR1z/E+4JtZrrnhM+ELiGUZH9A25i084MqwT
GgMI/GO8wJDIkkQyO70fGIntz8Pj8MnXpYtyqKPSyRxBH7sOTzNuQc8CA3MJgfiUfU6yhUaB3mV+
iqTS2L3M7htCFiuTmHonSPmE5rocn9jrjQsOta2HMqtplsyy3rMIZ4f1YEZ2k1PjjQgknCAlwAPR
h1ggAFp0ZCFWfyygVCfWXXYLfKD4inkvvDAwSvG3XjzwkdjoR/fY4udxYm6GTjIdKk+3ywcuzljD
da2crIDNDWzJJOGJbvSIA9sQuQk75Nt1fOGVFFMr6WJ03kBi4x6JWz7dF/bt6owxIQw5Ru0B9lF6
SsKRCT8LE5ry7ArkBWYGizczWu0WnKxrlCx57ADVsNVZJP7A4vZBnZKm6pvEghdDXH1xfTRXW97m
x5gTTXjuYNmbzNKfzMj06IxyEGetzSm8a0Y2RoQxxUntAGdgxrqFGOVOVUDBnH/gom0dkGqdF3zi
9LDUTM0uob9JaH6opOFbRC/yVfdf/VURDs4LBBcviaN+bY/Bza3iI8sO/CDmmWL6yE7DQyGe5usX
pN/z+5H4/CseKI8V4A2HefDoRN4ejPxxK5CiF7NDR0MTCC9mVG6uG6COacpnw7jBP6jitcWzwMW0
O3HYw6qap4ybXV6QOetIFGYnnJqxXRtKhUvKO/+VvomJ3BMDwZN7XxQ2SLxMRfd6wyMZJUf8CvKY
1sXW304TAV7sWviWlDBhMW2WCuvGjkMkZRKq0AHCfwd9ErZZnhp2ggxycRqTDXKMVbgBCEImvV0/
uDGJzNkiTO0j83uBPkxnz/A0uW+QmCnv+T2Qn+GDsrhvQ37J8FG+AtqyGgL+9YvZ7bAoOqtctjDI
uWDC2nNaitjuxboqU62M0g7JgVbZi5s6RE2TI+UVzT48t1nj1djqzPrOxVXjh6dxrXmON+lC3FXc
LBkRUD29vFYjBsPCix0vp/MEo8zG7u5vWAjeVw/d6qX2bVe8awApcOX3QOEHnHoieaZM1Dfhm4bH
JeZFFVNGshiXRwgZGNSNH3hyMp5n7a+dQW+aPnkHPXbZbgdZHS3m0a8i8WQcoi+hDHWFxyRVH6rg
rR5G1JSgePBQpKZd8rGsJKymMH8sblVYrq7ja/wwmZIyOCW0y77NuUEeDtlx6j8dfhrK/IOYlFe8
O2eYq3qvhfYuvUtBLxlX6AMBL5IZuM1pL4PTvyyMnsZQvA77wwpbAZxjDsursBeQ6bKtJ9Yb7zdq
3DM8UMJumj1gbJd59r5zW6TzAiFcU3rt/PWer68flY6dkX3Dw113VclCWnj2r1jlsnqzoQq7CkoG
1Im6mfvN9m5ifwxSs2PF1aPK1oSxVicYDg8IkVjZx+AH4gG+mTpvYS6Wrop5DWrF5xAFFXDd13Ad
lE64TYUtpdTFQ+8Zwe1DQFAsqsV5JsRMp897lMdgTWNalU7AqvQ1okrsQo8eYmkQpjs05s4NRA+e
XjkrTBYWeh++PXxQ8V83hYlUEkVr6t8/CYjKxwOeuBaqDLLIA1DXREyyOx/nGZwIl3irD+lTxuFv
e8LE3MgZVY/0l61I46SgtwJOJG0KcxSGMJl9hx3CuYgUywzTS0u542BQ+02AcRW5QSZ8KOO1Tz8g
bjIvb5hK48Oa7q5H88T+hqNLd0V7A9DS8ZoyOKpTpu62YiZhd4h/zEELy+OQ+4c73fJeRfg8JkSH
prjcIXW/QjJrx11QuRL/iCgdnjFBefZsgTmrM+UY6BsWO0y0uuMO9yCzWGFyaJj3kG1HPjoMm4rS
xjXOHAhdmRRc/NOkIfshAPsIc+s14lCAqQDVGOlDJWCiTS6sbj36cWfen6cv5vGYniafJ59Xl7Yl
eoU02sgw7NvZFM0P9EiUNV1SmimbOp4Y8rPunL48lU+fg22rO1VrH0Y3s+dCOpVrp3tmtx+KKtgh
M8vRwNbywhNoMe+fQHUp1SnEMJQ1i2Yt2MBdkyy1q3e1Cc6TyUVgN+i0MwGJlhr86dzTrzbh6uCj
LXwZcCCoFrygA9rUZyh6OsXNrz7K0csXltJ3rxR1UDk6YPQ8bg0Oi9WU5wMyk1DspjHKNXC61rrM
WVIndzsSN/pJjdj1ejJt5iHQ4kW2bC1uK4X/F6B0d/bJAejgDjMrNfO1eGZJP+XP8I6OsgGffR7X
lygdTGFraY3T1f1O1+8OPGK2ySbjtjCHaswzrS17sm4D2ZdokGBDFaRPYFOnQl2BdIBDX2bhtbhI
rCocfCjslTR+5YiVY9YuMFkVpc91lHvsRQEFYaLM6hWmnbyvQgU2O+H1+9ahDgKcCcv4ZKtsLo3w
vfxyZON0JFsN4cgWNq01BgAecJdd83BzCl4zOjJ0Zt5HULPHWKOLU1CD+0JI8N4e46h8XK7onNuJ
6N5bG7RNv1gEgMJwWcIM9M5ed1K4r1gnFePtFgBeYY5dMiKioQfPuuG5LOCl4DAS4sHOW9fLjlRE
GfbDTeYRr9XB17mC29T5g3hNEvyR7yMxJBRSV1ZlBejgG7/kdTilaZ7CLzkw6BUqCnYmWwkU9IaX
P4jSJMEb+d13iT//afzW5sdS13O+q7FeTp9JgAj4UH0NLzhhdfL7WZn8y2+TegOwD8gzSIK/fVsn
Ux7HA0NsYh3XsFjQHaRT6HOAvzARkS3TZgDctWxdFx8+WvzH8/3VBJkEo/85gm8T5MPxIFeV+hJH
0BWika99HkDRIYtW+L5Fvz9j6RfmIvrP3/cNmtHLTudEFC99qFNGN7fEiEkLGqZGf+Lg/PGbvuEx
maznmdLjzE7DJ03yyzuFkCnsZ/in6CMFWdAvHhqeTB5PlSwE7ZuMBMbKtXl0OakK0iige5mOtAyE
4ezxLtr07Xeg05hsYtnWQrV2+tm0PfiAEMyqGtrN0XV5QT66UwgGdl4M99j68M5MYuT6Z8EJOnfd
FLva3lQj4/6Gq+zF0jpOs8N9fCuLlJnmDY80zSLyZN1YpI7BRjgN7Mq67j86by9UwZdtZ0jByMqs
hTjBR7IN8dzCE7dCppOHGLMxxdzVQ0ZmjKysW3Bctjbd881tQnUvjeEN3QIGm3cago9miBee206F
p0DVmoPN4Gkzo5AcYSOEpvrAVAitopCAJ4g2oX0T25Ls6pAxmNNCSXPkYBB0ttBMnGZLTnYs3Eth
GmzUOHFKhpQG1qYEFZnSyj8LzwU94u5Nn+rXEgud32FekUzk6IUtD54UNFrwxU3GPhj3HoOHR/pU
4pLKi/6oPy+Xxbz7/mSgydwHcDmbi7ynq91D7s7eNyP+0McjXYHkk5KNI/6qvOysMkdnVa/eB7L5
TDwhTU+cyyKdiKyhhxlxF9w7vbmhLZDx0jAlsIaVoKEeIyU0c+6HoN295qKsfoLtI1XVKF5pAvx8
zgSf8CCYD92v3d+sQRYe++vVK3lQMrw/LJUKNLVJA/ZTCEP0+cikPpi0QHewdVwbjDI3XiLYSPhW
nGfNUeAR2IlOVKdeHBYoQUnzI8gUGwPz+AyrwmMbYVrGE8wvcyg4tPNM3+9PnEjZ6foh5I1OGWb9
dX3wihY7kkPhYZqBlcbdaEXpB6f2IWB2ivTibPdf9kCK2/n5jdAWmM+gS5TLFYibCZ/5ACj/dH4Y
fh1Gh2mfq4KYxiJ/1YBwYeajl8t07KugJA0pSKZ/gnWUX61sikwcmUYAmgoP769r6+Gan1O1/WIl
Sg4woVPPM/ijuKHjfRHpgF3nz+OIZTbo+hfk5khXEPA+PYwt7Mci8+7gPGyzHT8xf78Gqr9a9X8+
su97TJpm19cFdiBOnXYbpV5rawAJvD7TPGSgGYhDZJg8BVqlW1W4Wvi3A+zQE9CB4VcHUCvRE/TA
H3fpYjB8AFW1zsW6DUXsBSWjIFcz1l+fGeuzLEx603qN9ad1mx2ddvsnKeDgl0K6ng6zsKvouooi
8K8X+3rQDvrloCuW1Vk3dEBufRrXD6e44iHA7EGDudOQU3xanbQXnkLBQcGNTKiZW9JB+mR+u0eP
YIXBqMZsBekJLSsRwkwD0ctbMCKbXdoMr09S0N/7MslhzCQh6N5UlipqXguCZ/tZeg5x18I4PYkf
DV3tZaqwIvV36bg3qic5eBfaHyODPEQX6GjxjUH8wCyXIvkALuPV2LzW/bUy7GNmFdyYyfiJvpIu
EzLmuwDHNATvtZVzv3pu478QVNIlMMkmlwSGNsygKSmQbicemL2RtLsFMA/Bz1noK6yla6uDPAQm
ZCH8pbNayJEOQ8nX7/Z5m1YW4UrMrm+HcQVxqMQp4AoBslvQHmGh4z2nF+/JWOeAASxvNdZN1kAU
f0g9rtvm7YJPPIQ1eeR1Djbt2PZASk7tQvbFVSF1oOKYunfe1gQbIH+L9eFle9hcvGIkxl/QplC9
0SdjJn8HEetNbjbtQNeE21OJwLKo9eC631bYslK1H8juOI97GL7b3WQkY7oBlXH4gLzuvlxGbz9W
JNwgpmrfRXBVjbT4uMJUCogXlp6MIweePtTgcoBwjI2jbcm9E5ski/KSLxLUutbArBMfYFPeJnDx
KEC34rCveAc1PiQhH9zval+8w6hLsxg98TFtzcLPFthynj1lBrObqI3O23HFtQu508yfzLMnH0fk
bWBOcuf2JSNtyJLGX3w42F3ZzejhiqCsNkxs0eIkJFXxIEMdhAzWcscJ4Vur1A+yV7iPMeZXXV4u
1e3tK+rhdHlf12j/3AFvmsKjRVxfgGTu6ymQROKfGF/bWCUFz/3LgtyJf7/6BHuD/kohVPii9xaz
aR2/RlwJeXsdBtXmdXTBHAX4CrRrC/MdbxjAtXECEIcRLIsTlCxKxpurICyZ6KgH44sW5h4U30Cn
538NWDCejIiDZgAN5VTP7ttsLOa1rRWJbjebDgZu2beZuaJUGcyKp10lyG8XOYgNXmaDcU9aPdhb
5GLaxSerH1w0O9MmkuLXcBUX2M8wgAM0od+5WAMlgjuLHFByzp9fDtP+LZfNwXH7YtsXdEKZ+WFq
E8mANTf/ycCWYIveSlG88jytsFweDK+q+aCXz7xOz8ep+9X3j3iYE0GxlFUEC8Kqivi/h3XbU0Pd
WUaTz6cJkbnhBhwDUMCP87ayYNHcUI4Yyk7faesippqH47zLJ+0iS976kHixGH8YdzxxMUKHPono
0srf7u/4jPj3vbxjAK0OER9wlp8XPMl6NhY6Er1HjbM+GYdkkTwdwJ9sye7fG6vWK0jGSiRmkoJR
WoViLs70P0T+azPPRujy5RBs397UGAUmIjVhEczUQfiegMq9AqQi1Xtv91xrNsRrl0H07PyR9nhb
GEiqMFhVg8GmU7znsTC+TqZ6cKutdsjISAtOHCm3iXs+lYLWPwk3LdRxK9nHjT2NlZG8lvBdG2qT
81ob9cZn/7R/rg/9EP8cih+s7OMbMAmiO014qpMRQeqlEN3QC1KUaqg33gb5EmN5IOnk7SmFWT2T
Lm6WvQH6lA8XFPC4UCLYndBpYlSlR8iYPhbcQMkk1sQQX6MbuA7r4hB2cWUj/4NqajbbytNG/Wmz
vzoX/+g3IUk8lI7Iw+j1NciLzMOc40KwkEQlguaXcxUCyS9bIKRb+9YR+prWkWfdN0XIGwWLNnsv
oTlBz1GCAVRDR5lmy93LEyBJQwNM9QSbCefIWCPHAKXVIISugDZIDAhmTwudwLAzFQfBeMIfwFzJ
MJxh8yhG+TZJzP785sGlCApXgR5OjYYz+PIcy/W8l9md9r1+V1E7xpgQpR+XB2wZl7VSCSQ1pHjL
j8NLf3ra1/hYACcyApDijhzohDkUqyp6+o8HJFCadhzDKB/B7xY3hGakYgmH9OdU3WRAYTciNKC9
coPw46nJ+ugbEDxw5bkyDEcC8/aCcYbuAZvlTog5cweEDKVOiE/hVTMU1hQPa+EXYyx5ob9xaqyU
Z+5uxWh3IQu7z/roMinqDOyWKYxzEQ8huy0KXNaP0/5+QpCJ7M/E5DG+eY9PdlcpLrfdrilPOuR7
/b50ElSc7915D4MsBPskW3d73xotTa779RlLCNyRax8IjflRx63d25+mAL/qUn/+nm8MlgGB9i8p
p5wROz3JZsycdFc4Vit/YA0OfsWV+fmbvk0A7tm9rW4aZyT64ZKA3vUAL/2+NdikV3gA+lpZ1z6x
rx83CgdLX1dALLclUaM1c7/U08LK7whGAkShyinRD6Sf3Rj4C0VtVOx1RwoHoLKgS5tiLxzcRJ2L
uTV+ey6E8KCH/QLuXD7msOPagO4m2WcIbiidmMCRq+JdZl0snBCqCeLKldlds7z5jOV/XPH/16Ra
ZjbYuOEjouoMUDBWGFD1/nOKbXSu9+fi+C/+tXg/ffzMrf3lB/1g2mKu8R94nAinOEmVyWfkSfxB
tP36E1Le0PPIPRmbP56c07lusv/814484C/hR4UZ9leGtDBG+QfTtiPrOKOo/f6gD0dXDH56/xeq
rfzXLusfR44gjdNXVb7sWy9zKk4PqUxO+UqQEAr0MciBv3iEYjuFOfFGU4LVVwVlLhU2h6OBCZ/8
p+v4C2LrtwHh3y6f/u0lqiut0pNOma+O0akxIMuBkDo5+QlJdPGSs/2Hr/vlOf/vbde/zczkLO08
B+ohX+VLeSl/dqa9DxVANjiVNjEX6MmERuQfPj//VGX3bVb495P81mJl8jHvPOQsXzUUPMhWZawD
9R12vBZ5wA6KEl1s/yQv3Mb5B1PjRWrtf3/i35iSfz8EMQf7aTh6UfTzUTtzs3tuEpA1QsgCOk3r
MST8mOi3x7ZjP9+6QFdPsRf71xmKZitf/f4oJHGi/7sJ/P0ovvE1e3p27PRq7nYzTAL5HZNvjPoA
xS+767Bxs4Bxzkc1Ovw38f+f3oFv2Zjfv1jtfvOX1J5l8dJKvhjmlksoNFEpBbV0ttWjFCd9xa5G
NC+gNRGq/6f7+9OW/zoF//HtOqZGmF+T0NqTv93/Qb8e3B7FM1vdAtXl7sNrv06AXFZXl0rbvjmN
TX2HgeD7IyqCGrADMfjvj0EX3kh/u/Y/H8S3J6CU8pQ3reVNM7CU3J3PYWdHhLl5xSCLwrETHchL
7MHF1AXLM9kcL1Cxrw5zztxDd4etKNww+KyBDt0Y6pcGzwCHYOFPbBzAkvn90rtNj/YxEFr9WI8Q
78JqYNPDIzOdCldLITRD5mzeYc9TnMWI/5GfFcJ7Z3IbvYYaO+Y9Jrfj/RRfp/DPSHNcd/fPAFkX
fBnycKy8MFDoWuqmPx7QEONwbEkYxec2CJx1Na8Rs0+bZoh+TZ7SzdOJFXOZVgJXTska7HMmg8s0
1NYi67wf4vgDSYRjwsIYn+KpyhEOmMduu3TSdycJzlEx53ohAhecSbvetcz6aeAiNTqxtepoyi8w
Gr8Sc6QhjJjFafyAL8GGX04JBZngTzQkkpGJvDY/hPdRNinHQsuGgkd2GP3SKdPaKuNDrJBp0Qn5
vFU/QAJU8STAXE1n6QxXjQuDQLPPxLeeY2OXh01IyxUX8Sm+TNLwJjIgsX9ntjK9AildwR8NDxiS
4FnyQ2D1HEUoCZR6W97mM3LNF2VIRPemi6fVc4hmc8ZckihWqtV2wgDZ7G6UcT08QGV4vyx7wXHK
QyuPINchIquG5bsYmTB/4eDLvbBrncDjfMVYkzJCKfe34LVrl0pjXEfFB/KqVS+WosZLfbgblXfy
hFxyEOf+kRlS9oZ/JIG1+pq8SZN1CTnFF10HW2otxibA6UXZcCCE6KCNS8VRUGWUk9eKUKM3Uq9a
A9kWdKyYrtxVJ8d3fdj5GETAXFslxgpjxn1bPke0NACekRDNLrM3Fb3AFKWBQjcyH1CNX8xT/PIz
5yX4SZ0pcGhqn7YaxBlIK3aXfwDexNPG3A+ChyArDOwXRHsksGbB9Yrk0X39wIRV4jkTFq/kb1Lm
9j4g7TAtRl1A8kpJeyVtVD2Qx3TP6CaDr9y5FlnZ/BRDohnD6SGJZnpBiDHs4Xtj1isYitIUuBGj
WRADdXLl+ZWiu9losMHkuEAZmi8uHXhXvbE2YRhA0FZ0ihobbJtHeaRPBjBEGYgX/CWR0HtmMHky
3vpMJmmlBjFeMjfyRjoQr18WrsJkXh7tAqfEDt0ezRgsVLRqyZiROmxuG7rL04KacHYPiSVzYxX8
9dShZncVuz+hz01m7Y4G7YHnQ3B/Pw4Pqxfi9Tgbs06AXcSDWJuWi5d34cavqDucjBfmCPOoEFO4
mwGpViVVze65V7ib4x7OujgXmi0YBjQkB4rU1SVUTTfkyWN3gMzgZD5U57G8GYyqlvQsgv4es9dq
MCxPZtN1uY6Km8w6RJVO0nkyxrssriPlPWBEF3YgskkROAAJxm89Mh71ycO86YKo1Z9kU53s0UBD
eAQdZKIgyYV3Y96mrB+Twm+X/W05OY15tmiei4zLVZA12VUM+MZapGBSfqIhFh2oRJyhlcdimqDZ
pxWP7GH22tYco7p7+rXLFLHACbLEQMoo5wl3kJYWm8znnN3Y7w6xnz5MqfbHykiJVP+xqsY38mHK
xXnDo7ksp68hLN/J3QOHmcMYTuaMcxb9yb21cMfBuPU8OwQnOsU0sbJJb6a/98b6pMpNqC1irArL
h1H0+jK74LgOveMwea+X8hhkeCvHD7gl0Aj4lzo+zrvDKjiBEgV3OJ4SrMiAmCbrsJCnqJJjdPmg
8bHk0xhnS0y8xZTk/pbgKcGvQbFPZgzGn/ShEqQK+C1Pq5wXUJrR7KC+aXktCOC7DIU3JZ8KIg5N
PHUYX9o4t5Av1Dny42lSTeRV8Zl9Fgt6YSq3K6R/0CaRLG3rcXEBZYfsE52WxfIxgmh0nxCvdp4x
5HO6E9Xux5XbG/JbA68cS2i2epPze+KW06PXzLO4HvgsEeqEQXN89qABQxqcCuI+4QBJeArU7ZF0
6mSazqQFM9UpD613HD+9ajTwrswjmEh4mafuWuv4huYDrklq0m4/UXumyFWml1IktfFB9ajetDI+
oLjQsNq3+OmRgxRdyE4qn2x151D/QKkdd7fELA6YfuDbJozLb+Pa5aQuBmNUSDGnligBLMzsJ0Nm
omt/Xz38sn7S8cnVdNSB3b7yrX7qSXWXyTYVTDGEe+/V8we01gMa5dV1cQ8l4dpUxo2bDIxTQDRV
/PuvV35ZQMnIAftyX6Zv+1Y3IkysihOw0AqonVskgy4KZHh5KM0C8xlpyOBsm80qHpRhzuKxriI8
WgYYAN5HtM3zzr5xqwUr9vT3B/Zlv/C9oOWS/OPAkCD9tawu0k55S5QX18XHXA9ti+LUMSCVMEoE
N2uWzXulY4DyJ/2Ypv6qk9FFK6gjf6KL/Na9PW96Wp17VLRrf0vWlbGejbZLJ4/gCVme8Oy7g0dt
/dFWM0Jo+wascJM3yg5cBO5GTHZ4aY6hmptlUBpr1YXyfAC/nZMflTlTWJveMLMcKJF8nh/jiw9F
3NguU2dWGuOEPM2u6YS4qtSUdTgrkrVrgMJMRpoTnt3N5GiMX/zdvuHgU8YspmtMHqDhD2cEHk2J
hpkTq4npPq3404nfpjv7OabukomByo3RGKwDOOhshGhVgvGoZ2/QXijGHnTdGC031sWYLy/8vIOH
bo5HQJZ+aXhnY14YfD/lhGKsncTv2OXXBRC6kMziU7F9YF78Od5oHNzkbJXGLHoaH6PNi1OwcO+y
p2OjNoYFaFPft5xJsKTyM0aczwcVg7PwPsSwv08WW2V4C7IezY91Yi83ic9+aMZ9ERhtzkTuxdkc
cy1FV/0It9wPYH1wcfiBZsfw+8ZkNAMRGPmNMcebbfN0N6H58bAUfmvz4KSEsV5jbZpQ58iv7nhD
LWBzlU2nNN0XZyg4hpSrpfmMVT4FeqVF++bw+Sj7CTGg6OCHnd23bXgo5iN4OxgzO4hIFnH92HkY
b96CQ1VM9276VyMmAZp+f7iKZmFhRkbMGDw3h16gs/NeLDsYBvZ0ODAC3VpfjBD9N6Z5ft8e8iXw
yLiXom7bv0OTMqcC86wM961n9HjiYkiU2PzQ1Y5uRnQybK+PjxiANsykaCYbnp0ZH1B2uKBKsMss
t8XyQgmE/5sRLZ7WcZ4aG/oMV+XC2VN+qYwgFffuYCx1uBNUD1g+VMbwUzPtALAmtAPJFEf2eTYd
qG7COUwdR0O+iONE/TfCNN/e21bgfsasw3b0AZkO4FA3FvTFFNCxfbLdT8FQvtijWzB5moSsiDJf
chrLOxoeNTvIebBkKvLksRqN53fLeZpPu/4v0s50t3XmSte3EvR/BpwH4PQBWhJFzZ4l238Ej6RI
iTPF4erPU07nizdjSd0+SANpO9scirWqVq31DqOH9fLKGDxO6ATS4rA92XMn5cgarJfzG548GuF/
4iIFMGgH88q9WkcjMrJPbXD3+M5MFmFkDT4PI3fysB6617OWCbjynhi+w+BzPXmkw9aRgGFnvcgh
Naye/OFTiwnGzC1vkO4AZYBNqAdSlP0FNDrjwqeALMEmClZ0QikcJSyuKq4H0JR2FeSwgfvgPvB0
pQt87O7m8bUecNgS2qq0XTnDwfqY3q/pLEKdI0kf3oBteZDZ9NJVjhbd7L+riidP7F/14H9bWb+t
b2L9+1awUCXb3OkZ6xu17sGjNH/sRq9LVC8ZxWpIwHLwXNJcYeiT4eu9V4JVf+MknU039oBOAwbr
bjbWhnfVha1QExWpf3sw0wZ25SDHqn0d9r892D7IFLkM8GBG1MsNpgg5XWGMjR0XLDbkFXGCkHXO
ycGdTYFWdJnY6KnRjvVXE8Bj8Mz+zH9ndzSHyVb+vx+vty/srLhK91ojag2Yl103EC2hDQlzeFQg
4ELSFphoyC6Ws3QOSmlB+vOugiMZR1Pfy5bRspqmnE4xqaSdqkEqxLzw6sKuKZ7h3BD2vm2sBFbb
yCqKMusj2S7qPMxQZCPzl/ZVedIgXp6/oSGK/udu2GsKxMe0lo/bnah9pFD8aXqh0JMM83kNIOje
QgCnodgeDTf5DKsKdohsmM046swKUE/5vLmJX69f3pob4eS6x2H2UbgjaU+0YhzMiKkbJRv1thCw
HTFql/Bw5o+lG8rFX0BDE5GFP2OhLZNM03Men9oU8ZcfB8voNrnN30sYGDyrhPMGRbQH+6mbB6P2
qtwgxCO5O3aPtlrSPDan7TXtNcIc4vPGH21deoNgESys4JS7Bmyi/MWXHTpPmPkiITqKFBcpw+y6
eo/EAonQFMkoYCEkMV+wE74QVLooPv3bB7JVSNy2Rn1MlOO/R/u23efHPFOCTeYeXjJ6FFiYk8d5
+wX76ThQh9oCWD7pv7ubUTIivdK8EMl2ZFvLT1sB6lRRR9Vwt1NRpQzX7RjvyntKLiMIaTVU7/2U
PQplUJSLwUycn16qbf44wb49f6+4Vvt5eIAYHmxGPvWyl9z3DM5DcDhQeuuuEWc2nevDp57ebV9i
a7q/zzSI9c2gBgNN7x8RWvRtkgmkwgrlLZDOkIlgHGMU2pKowImAsIil6xwsjjFAUFD+RIuRg/IB
fCJAe8DJ4B0ewKXIwGF0jOmH+y/rMBSHC3RShTMImQXlItIKqmsAvkPgIkdp4FzTZ9/Qn2QqoMNY
Drr3rB2AqMMIBeWroVUNpPn2NsHzByoI2+zRe7FJkDAsIEfZ3YaPyS3AjjFWY/NkHA+bJYdEmARk
jVDg5OH+mpxrVb0ANlxiUczSF7pHz97gdYIwJiWwcIkSjgyQf+AEg/itJaJqYfoM/DlntqIqifQi
nx8dnUFO7Km3soeysihpUf0LEfVDVJp5DSeFFb8dPSjDF2WYvtBVF42/YgSxg26/s3I6CGEdaYhK
255bTnZIO9BC/VRJHmGNg5Av5lsI0BMTu1M4QzDEHYqEILgHsHTDEedj5EheISzisTU9ItSp31Is
xoGnGjTX3TXNXB/ML8Jlr1+K6QACBMzPx1ktHKYTv5kJ0wf6weDMDXJmalbrkETWGFimyxPstnPr
3WwxFI3MG2nnqbdWsJKRAn7SV0IEAL/XZKyEcx9bZR5fVt3gOV5WVPGU99ZTb4DHUUFGDoID7JXv
SZvDnKPrRnqv5hno2YfgudTFeVHgDT17flxF7w4gju297wlKirZSsAG74SS5gVMsckeRwqFVwIcP
oDVgEcOrUkGBtrJfQ3dqnv0rPMEme5yO7+1Y4Nb91NVZxVECkNcy4mW4oVBqKhD0Htr5uGMOUljm
LoUboE7XurvOVUjMsI6jnFa4Bv8XiF/uYLrRwwe13tzBWwS8gaYch0uKwRl/go4FytmuxXa7v0c+
0LQw1CPTQl5TaAqUI+Bo4UIDliMQEAhIwv5HdkgikaBQ6enB0HqjO0zCi3omcxQJMOvKftZvcg4q
AowE02sWSnBA3AOmP2LFB72F5rSb48QNg31DSFKbZHhWAuQW4LdnPuwEl0nRgK2AuremFmd5RFpK
1GGH0pzqEt7x/JG/Ec+JhZgng45CWBNpJtrGCDuApeQ45XCE2K1MEEjBtTgEpIuWPANcJgXgXGgy
OFftTL95xFrciwbZKwL7U+EclZOo3RNKIKoIZWdKeKHwMZUm9VU1P2B3/IFm21zUiwImP8LUbUPN
+0C1HPrxkKo2fR9oH+UCIBKqWlvK1TuQSsibjYU2SDCUruRNJWBxzAg4b2gclx/4dziUbGPMb2oS
agrM/GRxwFOoIEqIBpAOwRkv76mWL3HRgOBH1TV4F0QA0QowoQQeh/kaGbGR6D8g/41ZXQsag9gA
oToUzloYCXI9fxXc89cNV8TiHYJVPg9et7QtjwCaIRkusw8OrsMtJpLIVwJ0DkEXxvM9CtjPuWu+
aStrhUwedS1KvQMfL/NbCsfFQ4o5anK7uznQKS+GB2IDcRzED5bK/QEdmg5A9CS6LVG6Bh1M+Rek
1QKJ5uNAnuFTVupIto20u1AZhdqtmY27q/ghXOq3/gakF3U2Z6RxTlg5iNkKLoxyDbZptX+wmCKA
v8bdk+3+4x+WlNIaj8ciI6xcVNzwP3OpPLMdLMfHaxmFAyCnswYIx3w/84VCcDyrBxMhGAwoEESV
kM0AqzbCfWuF8v+SBJ2qE2v2RAhoCte2L1S5a99Adb4hWonLT5oZQyNlgokeMM0favhUBsSAHzl0
FiwoY/0mZBPuRJ9m2ryR5FISu6tmtGBuhNGC6Mn4K/EzFAi+DdXoiPp1Psdl+q2cyeCldvhKAiC7
BRo2degm6TNQmR4iZQrSGNT0AZwMAc+DrNvOCmQhsKD1B3fgFeB276HEpyTYu1tqxYPmBhbiDOEi
QD0C3NPBKqTgOi85fWuvmJDNRXeAOmg0eEUyGoVkNCFXgpoMYpcTQ/VQDNhpBvm1PykXBNYcedX5
duhjjYYQHakx+tWo4t2Lt1KHmFvdwCAaR3NfFA6UAVr0RyF+PejwzaWctEnurDu8NYf1h2iQQd7D
ldSY49SAc6Z4VfT8po6LYcCYU5oQNzEmyXMyRLhoyTtRcdEmjCxtiCMVAkZfGcCzB3JI8H9awInD
BfvwJgMpyRdeQ8WH9wPwH0YzkpXsjNRP36tnbVLA04NyWI39m5wCKnx/dcwgZM9Y78QurbrwkcaC
9CWCscczYorgwEhf83IcqZ6xQNjy6Pldi0x3Q00+eqZ1MUMbg26lGBg+g+yC29dd+AYotXMgbAAu
rmyqu/Tdpv4trg9QCha2t1vxgNpVQCUf4QPjKqLFGI9ekxkaIyBgYVkjMoewNe02+66Vp6G17KyZ
ysKCPo7jVZghISaBFIx9nd+kkJ6eanwFFoiJz4NykG5QpKRTgF4LkUy7oB5RpiVciNTgDbWE3TIi
V3oG/SX82ICrDo98cmGQdxjsPX59E94K9HUBQs16Zke3r4n45CYcA6Nf0vujC8fHH8urBg88g/4k
pkEwOPn3swbpAH3eeAoHA5PTwo4DBMYS2vJDuTGvzEWEEHLyQB5BZYpyjVIOMrjb/mCKFgHlJHmY
JCSpwciHWKaI/IodkwrJtXrNjktyUM7zuT2FwZ8s87tkGDMRX4+v+1EJUds7LC2Cij+jzguMjaHI
PKtYSS+Oq6D1PMhfmzlE6uOEXjqaWQjmfMrwN9ErJeuoB1optDyrpwotkdfbNnSLJ44MeAAwBMgA
hJ8FSjf46dlrlY0eyeQJCRM8yP1crSbdDZcKwwk/F2xS4rcWlIR7/uZ6z7lgJl8JaVlYzyBJh9La
Ymki0UkHMjk5xM1MvF2IWyxyC7oXRV7RMA04uJQVlDupQMW9rQeJ5dI1YRrH6czHbw+TABBpkEmY
xwgVIBKYDQrWQxzskK0qxSuRJx/2Ln/CXbBgaD/ovDL6/HP+Tslc55V/JARkmLofu3SMhMGjRQPw
uSTyFog9TI4L0yvW2xl7s6C7jI+kWdfFkksGm+DT/7ApJQLgmxvP26suGzq3gh+DODH81zF6xTCv
lDfSeRNPtgLGDZ633UTFePWaV+GAYi58MHYJFFzjRb0T9H3PulWv+V5MYi8d7ylrYkAMjUCQYGoA
qTi2Lo6j1m048EC3H9jTdNK+lxSBKGsOTSStVtD7B4B6A2eorfEJpIlwuEbYg6TdTef103W6cW7f
mA80xLvNfjvaPgndN0zZQkq/71E+lNfpfYE6jKDjvfnTemwPZA1VTRwyJnj8YoLh8zjgUV8YLILr
gIjHW7W0gYRPbAT1N91BuDvAJ68+IugOnD/w7hgeOxqGBzI5VmaF1U4bImHvvkLavWNfGJkvaPQc
PJZJqlGAXjFejW8BrVGoctY1fAh5qj6R5YPNMK8xcpj6N9lQY+7PEv6gxFeWfzSra1i6+CqMXrtF
gkvDNeg6UQVqBkAa6KCMsOxZF3h80/N8MQdv6rXOJTkPRx8UpJ8PnnEbgf2wVjlgUsR7QN4cpo7X
YQ9ZLeJBNca6mE41KF+hDKPC7PC29zo5EyL7t82cVinw47IYWiTJnv/h3NpwFvzBffQs3aZclqzC
rJnaCCkMOY+DkEYxhtnYMW+UDavCRGiMtB80NAe1pwzght2xCqjgJd4UGZpRNCR4U+TBChrR9vQA
ZJSuHmvJ9Hh7eNtzCkvGB6Gn1qJo1rg0mKa7RfipOrwreb+J2IQ5PQ42gI0XzgO/YmVesKjDeUcS
hPfGsojVAldvV/PeItQFptWb+o4AqMRTyMIqR1sqtzRb1TusMPGIBWi9SR7sGQJMKuTxDyDgd81k
h5+OkG0IjrS1OVUiQIDLLv4c0bR+O0yhEdHBw0kZxvSjSczdHR/iCdFgP3YzatALdZq9KZ6Ms85H
TSY9FtZRvHcFgtXFiZTMTeZVZHjWH/FrhVD7g/2ezlkylyhJUJTEt2GIDHJyg78RIP/qIcHambPe
iE0jos4O1Pqr3l6RnpZUsJ2hLCJDRJSFEk45h+59/VbOiXD/OcBWwn9G9mkEnWcoqF/1LWbJyIKY
4y2yJmvIDpxD7jlDsIHXwE1YnRnON978XvF8FXMjnJf0F2lTPyQeGy1LOuspK9WeU4YzPCDLSFLn
Q/EWjOH9S7hmTprX4Wb/KS1BossMxnbcIHsiPyHjyKXNqTqFajWw3zHLka+tVbAJbbE++h/SC31V
lV3vKXbt1zJDjsgD8EvbFkVb652aQMQ8BUs/qSafW6IFmyJO3423g6yJysL4IaMlHaxstFZgbR+2
gwbljDXsbY72E41eRfh6dFGClKmhHz1nlq5xEB5DawHvICN1MZSRuhW6KxSaF6w9a3qWAwBDaAnh
s8GisW6ek3hg33ICq9DEiF0F+D/HhnRmzsNJhDD4SqhNXqMQBrNbx1KCkqM8wFZLnWRIG5RLZRlj
4Nw9H/cTn5ci53A4iG6R2gB5f2TBsLwDSHqd2gPlywEAKmxktRk2BWhVLD6wNAFk/uCQ57JWb4AA
VG9AGbStG3/GJG8vqAZ2q50meHkabRtG5zNdobz/wChqNVvXgCybao58kwVD9RnoI+1ZBRwPbRy+
wSvkoeozd+BMh0vtmgLFJnH1lONiBaq8nR/JJuE5Z+OM+pk81tzDuJhg7+JxVlwmYIK0K8h4wxav
6wpB6/GecjF2Kc6yDG7Vm90qXpRjmsrD+CN8qO8qChnXnGP5OqixuAb7zaIFCTx7gbwXTDTEDxAT
FL12kL9jJPnQezwwuOmMAwByB9qHT/IitDCFxDorAmONYsa7DQNhmj0FE45Bj9DThdYjn6teyMGo
WYcTSicA3pmzBqesw1BhOMha59S2KG4QHRtOPhZ1GkFTxTln0L3Q5LbfIEewB2jD4ypkFUC7ASXI
KwNxc07vrvh66Qre/k28Mt9QYhrDrwT8/ggcAY1yvuWLSnUHIPycg6BwqXVGEV4k0Fz3mLRSkMD0
YTc6YMVufT7wv07VickWlizwiWCEBp/BEs1qDC1Kr77TXpqXFAVK89FBqUECCo6lDHPUcFFUv5Xf
kKMZA7r2F2yedD1ZStdVNcxf8sFTMkWSGD5/6BFQHMxwsLCmGkV9UCw0V5ZbEgDyMGrnJe0WRNce
cnbmw9icvADiFBAAGP/ZmNLZQz0Rh/tKxnkmuqqu9jfQNz3cYSjk5JQAPPuVWYj4kHe8raakdxOE
JVwaN+yQVGxf4eojkZLcSZH7siV+sjERfq0mQEJKyS3XzAkoC9C6FvWVOdYXmnt8YQYgUM/K0ri7
e2MGfsXmOPbYPkLMoUtE5fC5hHU6S97FD7Bj1kigIe4NIGqJSBdNsnbDJKFshxkW0iq+yfGUntHd
FscaOhi7sQNBdhbOdld43w4Btbk0DsqPLiPdGjofgBvc9OYF1fK1L6amA1a9GVqc0e80quzlGg1R
JtV1NuUjuwgg3FLpevY/pYX5YLv5Q/4Aax8O0+C4VOhnlevOJed5NZ7JJyYwbZGEGRaLbKqwI4pn
1KjBwcXn0ETpju81NcR/qGClw1W3ZEopw+hdJjEgo4yJGfacq/BWfCDks175kIg5rYxRjkPtp/SZ
PGlfiqdfuvFk1xJTDMyJBz4O/Q+PhwSH4XVX1KkftSu6wQ+mM0b64S25Yjn2R9K0XMr1uHsu0YuB
dzVNrh/4f4bgAV5c+bFYyDl5SkTUBbfFVJ9IoCcewOhhXAOnCLkXDjZXhONCHlPCmLG7E1xUL7Ec
GBTTjTJ8IyXUls7yOBMyA5rHuhuzOJcfFoojeEcD1Psi0qRMDuUB95pjNWo5R6JvywDkngPXfaMN
jm+hKozjbc/+rJpRfp1ec3alMBFiZyNEIbIJJJU7zpTzAHkT3FQnsDORZaZwuegWoh4ENdFTrgEx
TnX6u3tO75QabmDXeSj7AGammzrHEGjNWQ1jIUTdSOapdbVegFIlHFfqugofKh/DRzdXgi6DCQNl
GtZKn60qXBpP8gqJWap4yURaGE/GOxWVd9Ma41c+FjWECgBmxgJ+BXc+eVUABD6pr+qEIiU4I+OT
mfiRsZa/wjTjaITL1SC6cp4MkGLA0mgHQOlc6Cvpvp5gg01hhlbDFW4A1K/1JVp3HKModkNEHUM6
vy0msWcXRDNbFr1WVtxu+FJMHyQgTjgPePmbNGFpxP5uLJYq/TX29jckIFcqizeyO2uhsIaNDUe+
TTo0N2ibCMcufkdZN2JtrjnD3EHOmTyw3yy3r9IMogzhXvNJ3QL2+5P0gDjnJytt8d49A5iKb0zO
K+T7gJ5IFW6oqVD/V6CS1PP3Ei5KOW69eIl80lu+avZMFAJ/mbx1swbdZ3mELeBzuSzeFHgkL1yP
KvHuDnkdytvU4c1nMLcBMjysaOB8RLxh5fMaetWG3YEpmz8410i3D5WnQ8OPFNTP91eUH+E/jtAX
t2Th191D7Rup7uz0nO4QQq35ops7K+05IMlX56KBdeFmP/R3wfFoqiy40Jos98jnUiaFph6WwUZ5
i0m+ILdSsKmegGvid4QR/BVRqrpMnuj1wp1/aCL9cede6zbVnM7Zm7VoiypvDon5SwJs4IBiH0YJ
iIHeGe/Wk36JnaD80Hv747a9bmwYK1UnO1mwaW/Kt+bKuC9ITNfWW/ZJoaF6DD6LR+k5fEXtxn+i
OXPhpcVL9Tp/f9y915ottGOATPgx2FDHsXaD9InilUIGTw6ZD9jDKvYAQIjapfv+yUf7wuSDhpc1
jVkFWF7p3bdt2y7WlS1v7YULWAHIYqwj5H04asHWRvqzRLNPmcmLYKbBX06NCy1P5acX//4APeaL
r9ahXR/AtMVvKLq3CObGX1WNblC8kUFTv9Kp2cgX3lu7dNteLKn6UT6YggZg3CmP6jpaZ6+od97J
wJ+NzeGBk9VxjjIkuo7aajvWlvEnR3UKXh1cS/hlFDg/rGsaPpeYOT8+lyE7hmYYqmp/IRC/wSoy
I02QfWHyo0d2a89qT5tgbD+W77P7dOZc4O79hNvDjeuvu6m9jrpUyl1VGMz545uOR92t7zUL1OYl
16K2e6tWlBsy6PCkZtBlX76m/P+KMPdfVVHmL0iSx38bVPnHS/W35PNvd+VLuSvK3Vvxf8TF3pK0
zXd+UP7fP38s/vGz/5GMXsqXP35w43JXtjfVR97efhTVnj/9B+JG/Mv/6f/4t4+vq9y36cd//sdb
UsWluJq/S/7w8xaL9GnG3H/lvrhKzND842rT9//8D/En/+1CYWh/NyGBwo40iUELdtw/yXGSpf0d
iht+V8BrdMs0TGbKX+w45e8W9t+q0CHSsQfX+LN/suMMA3NwRVdtNgnZhNTm/G/YcX/uAhLXt3RM
xPvLQmcXoI4see9qHBu3PjWmGnEFxEG/jcb1P9a3767Opy7fW2tbS6qarbZH5EFqZ1FSPMS1/noo
uvvzl/8TMPKvpxdB9i2IkqMV7I8FAnuFRXtlr9RLDZOiYN+Swh+idHD+Ln/uV/+6C5/1+110366P
WWAGrpmplP6AQw2VQxZcsEg49Q690NxHbZrimxC5hV+oq8KIq7cibtqpEgY07ssmUi+8xokbiSn4
/TWaQ+5HVsNgNYozC2nJ5/ayqu4De3f3q3GS+6CQ4+6gqj5K2FYJ4BExyeR44dH/5NP99QXkHlwm
DBspbCU1cGsDy/Nd8yTXaA2pSkwHKqZLuyMHPv8OJyas3NsuYpz6HDvOUBthv0IT23grNVLGvLHG
529wYjLJ4sbfpmyZ175USRpfwX/JOgSKthV1lvPXFl/yXznGv4apt8drkQwsvjXxokN4XZuU81oQ
pL3QO3/5U2PTC+ZtK5tlo3F5fbeMzWVaoKxcXtqwT11c/XNcpCCLcusYH6amgtIzB3mh8Hi4Pf/k
injEn0amF8JHf1/s7Y6rI6ECZARBJVF4FoiZZJwuHYRwzt/o1ETtBXMTZXLr2/ht+fvoJdcoL3Th
g575GqVQqlV2enP+Pj/PIqtPEJD8TPVle59OEwM7mXRh1ccLb3Dqyr0gDtq6yxPpkE5VZWaESL2W
x9H5Z/4z//7n7ETs6s8vvG81uW50EC97mcs2mMIdIygfLcDTYaAVMLpQrvejQr5wv1Nv0gtl01Kz
MNiVtP4qHbeRSn/X4N+cf5dT1+5FsXE8VsfGZkFK5Hq1j+qPrJPMX15b3PPbClGlXaqptRy4unJv
0HdUGvOXI9IPYNPcNlao7t09YvJmSjdbl0B1/G5I1D8f28nK2A4CbBK0zpwdxE68uwRr/TF4LacX
vMrWsFgpWZOFh+lgl2Onsks/i0Bf/+7Je0FrlJZe5S07cKC+ZSnaPb5xYUx+XtSsvl/PNo3kyC6Z
8kGYve4DRO1sieJrcsgvQIxPzEO7F61q7le+3B4C10YcpkuvzfTx/JhoIkr+fcX8N4Rqo2tWmevs
U6rn0PfFsgM8yBU0yRE2D0A5hHgZcD7IM6hr01bMXQG7EfV4YZ0C/AZ6uw+XNRpHV5/nn+nUaPYC
ug01Y6erPJIW2xhfd5mXxqR9WfzL3d/qO3XtbbWUtbgM3MgurtMypEvXllMzaK0LEfh14PppWHvB
re/1qEmOBbRkj7794D4UWrx0FQWBhUr04I4i3WA9qUAdnR+0UzOkF/NI2sVhJ7UgudXj8rDl0JfH
6S9nXy/km0Iv8oNCYLYQggMV6KpphcovY6cX9ZDvrFo3m8hNk/I5rSN55MflS01AuedH5tQM74W9
lSWoVDRMpxDqQCh526R7VCvrGWjshYTpxB2sXsYdHaKwMLU8cH3LTpDfT9tgbe6rsgEzEACU3TkK
EJLzb3MiOLAl/GPX2B2LqNATC8B4ml11UnkTH0ttZKSNPD5/g5+TS8vqbd8mrD/Z6fQQ45pig7js
tRpsrWFUGDjhdKp608b2ODP3I0mXL0yvE6+k9u7YRoZRmAcH+VkJMEKIWJmueerxwvucurr4aN+2
2VaW1aYIuLplPqQsI/kRrGJ0Ieq+yjg/xLkq7vrt6p2U+Wqjodde36A6MirvlUn5CvXQc2jVa1/A
8AkaTcDKgZduzn+hE6Fu9d6Ilwiro9UxoQ/1qyRVi62RZhde6NTX77/P4dDVftGh4Z3Eni5l4Ebq
ZGyqyXhnmzRJpbUaoKvbVUF64Y6n3qa3Um5tQ213IStlXWBKk7PM4HKvuOeHSkyhHz6P1VsVD6Tn
hdyw0CeJBHG1cnBtiPGPaKPU0/JqY1fShdc4Mc2s3hoZIYOi5wVrpP7SRq8GDTf9+vw7nLpyb4GE
odwqRsDq4vhSNt3JDZ3agwOEWpcU73e36C2RvixHUuijmE9lcRx37TCiYxra7eT85Xsl+b+OBGZv
gZRzu2tsh89QAf0G8Lm8v6Xqzob4tkkHn/Lg5XfHJbO3OOYHuyt93yJz2KFQF9bOEZ0A276QK52Y
TKb4/bdYt7I6q819vHdNqcX/IjHGRndchz5NyM6sI4D80gVt8hMxYfYifO+Y+TF0MKSrso5GcdB4
pQ/u/PzXOPUavRCP9boqgoL5tLObaQ38Ltujlnq8c8JZF+4u3EQ86Q+B90Us+jZWcdmF0p6Sk2un
8ujQpM9hLU+yHJ4EelTn3+PUIPViOwnlsGltBaBeEx9nXSwjBBK1zt35q596gV4861mVbJNtQAK3
r8dZoY13PhB9p51tq/X5O5x6/l5cV4bKYttyaKjDEogwALvKjC4x0E4sGmY/opM6rqMsYY+A4rOt
rmRlte8uNTBPXJyK9B+BsI2z3U5zqp3rK8EylspukdaQvXTFLy9kOSfG5kve/tv0saykTIOSenLQ
lUMb4fNcG/9q1I1eEBdhklPfCjhkZhIsqEDWXdNpH85f/NTAiMn07bGVvS7leUFlVNGVt1bpELR4
zkNUL393eXHbb5ffG75c6hVz0kBBymqHIVS7Lrd/eXXxLb5f3aa6Wh14eHmvJq7tl+tdFB1GJtns
L+/Qi9h9pW3VvR4H065b5/E8yWdt/rvagaH++fBB7dh1axvB1JSActtO8JFk9rJpLiml99qbf21h
Ri9aw52h+8HhEEzzR+sqn8Zje4ouDhm+h8XyWPndXm/0wnabFmVnliZ3qe9C0DaIF1m/GyG9F7RB
UxxiU9nD7OYL764VinGNd35enojWLxbst5ljZ2GU7mw9mGo5KGH7UzIvBKuImx92Eb0XrImmhzgh
p7upk822bTTRzOYp62jfb8Fo/+7ZeyFrWns91fRsN010ZxIY0n0Rdhee/tSw9MLVCKN9s9eMoyej
bLZvnrt4dP6ZTw1LL1IDO9gFncRkV6PAswMgW7bfepZaelm7fz1/j1MTXu8Fa7lTnDKzDjtK6YLa
J9hpWxDGYFHd4ObS2bwHhfkrrPRe3EaZKmeJud9N9RuISxMJFubh3gDbhkTS8PybnMh39F7kGhJ6
tsdtsZvuMBqrO/TErJmjQjdBCjptL+SGIsP8aab2AjdRm86yTYnRkm+CohhRZ9hDdE4ha6SJe1CS
Cy9z4tOLRvH3RVpW2l1uZkE4DejjNs2dDNtGbUfgF84PlrjOD++h9TJonYwq5x+GUzOxZw2ngLp2
8+L6CDVrf1Cw23gw9QurhiLG5qd79aK7iy2lzENxrwLKixKPSiisJiLTxj6Z0C4HtBADFtkc7EtF
slOjJ37/baEqdnKhtDl33BW4CsAlbQ4f+2ASby/k7Sem2pfGxrfrG8XeKdKM6+fYhu/t2yp+KYLj
uKgeQnNz/gOdukUv9rs8VI2i8msP8U204l1VCSZ1Ps3AcUWofZ+/yYmVS+vF/iHxY6UzTMytammQ
YJlqVBeWrlNX7sU7Laetuu248iF51+I1npS/e+JekMd2RL9gZ/FltVl2vAvD9fnrnohrrRfXtir6
iaWNY0bVLNNqZUp3VvMaHMqRARw0yS4MuNgSfggFtRfW253Z6gicoF6wx1EcqFicKJMqvTTqpy7f
i+pY7fxkV/MWEqvG7jAzc/Q2dheWjFMX781I2/btWJE6abKVFhFUYbgGu+X50T+1Cam9iSgQNnXk
x1hPg7E1IVvl3Wi3rMc6tu4FqgRP5+9zYl1Qe7NS8pMyDnPhupjeS/W7mT1KiWdqz+evfmIO9ZV1
rGNeWkUmSRM92tTayodllu7A8MKH9m+64P38XU69Q2+mloFW5YXs+1MbU1jQtIdXU12n6u+yxz6M
LTQ0STb2XL2BiRa/BrBd5Eu4mxNL2lfV6NuqGXeVWZly4E8z9R67cSN9MzRXKhdd8rsZqogbf7tB
m1hmpaXcQGXb15SVT/HSsC+saF9X+SF2vzB5366eF1ZohFvmf7yQ18LnWjgO+y5q49AywBGP8hUM
F9Slzn/nHtbvr5RJEXH47X6lddxmhYV9aW0MotX2GZeVApa1Pa3giRQL3UGNESlLrBjO31DE8U/v
J37/7X5NhslStKv8KUbptvwRIW10/sJf4LOfrtyLbkuXym3RFP60mPEucovwhRg5R/DkEh0NHA1A
eWZdup2I5p9u14vyfZKYSiEzcN1VCZO98LYj7bZGYSxBwfPSaJ2AoFhfme634TK2R6eVthnuspi2
CUUfJ0eERLhDY48iSEV5fGkmnFh5vxKrb7cK7a2VpyVfBqUL1CQgMKBph1TrIFsIE1Lw/Jj5XPhW
JwavjyrrFMeU4yP3gosyLm6QcIBuCVsvmOSedJ9MLtzmxCv1sWUHtTq2scI30imzetZ4N4Ow5Qvk
NHoPNzLSuPiL4vtaXHqvE8tmH3IW5VGUtTrvZV0BZ4DcOUIMQPgQwrpLtgNzro9F9P52evSBZ1Zs
q3aTOGwGXv1ycIPxLayybFrcofZzYV6cGsPeAgFUpSrkumVaSIscuYijEOyZXfhAJ1YDubcapIZj
qLHdQKtFMQM2KnjmBDOP/We4BjA2PuB7eEnm7NThUO6tD3Gnl9rOYDKoXiq8RWbItg+Uocrctqbn
3+fUWPXWBN2UJbpC3GJbd4MGqo/g+WXe+Yuf6g72ORdiLu8ORwYL5or6KSEgATcbR0cBSbPf4pU9
FmSXR3lsj0N361oXoKYnB66XC+j23t+lYgYcx7tbbKEmwpJb2BThb34pUn9eEMw+NC3PsqiKDd5N
OHFifwa2PthoEM4PY2kkXXiTnz8P3iF/7j1SIkVBHe78aZre79qXeI/QVnMhufw58s0+Ts3Z1/s0
9WV/mhw+451rZbg1RxMdOtL5r3/q2cV9v63O20yxFHAG/lSzpaEkoZRTQ2jeNr/9AL0wl3dpnOjJ
Fs2YzxaphcILRuZ78ljBPEYF7BJe80QKbjq9gPd31VHOFG6j4uoqvO7upGECXxwnMO0jRcb6/Gid
2DdByf85XHFppbvd3iZ/XaKZii+bNBTKHuhMQoWeoOx3Idc/kT+ZTi/k43Sfh6WYuAbSs1dHCGUj
2lTT4slZQiWedzMVFqpQUbvwYuIM9+9pB848f75YlTml4oRW4iWFjVKYNA2k+6baunKnu8kuwShx
EcW152iIYLUH77BvR1sf+jA+jEGAJgs5a7m/MRFlLJp8e2HfOzU5eytEl9W0QYw8mAbah4JMUYss
wu+aN2YfDUc9KigPFl+y8VGLj2HqXlzYToxlHwcXlmpjMgrUxx1UShW+HRKEQ2XuAI7FUAoaIopQ
kLm2cEz/J9v2z7ue2ddxlNtga+9CgmCXJvRcVJbtqEzd8zPkxEL0Zcj1baE4Jknc+g3jVVD7Ap2y
3/uToz/OtpfMUk587D7cLXcMM2oVP/XU+NMoVy0Nqcgen3/4U3Fr99aHrQVs01SPFP+VAWwzEgJS
eHNU+HgmODRHYvwqz9/qqwj5QyTZvSXCOGSKlNBOm4LmwlOi3M6ddD+OrY9437wctqgGtxFmIila
jXL4qAh4uSSpQzaQDYrmoyZvsP9EJTg+NNjXZZPIUt53ejBvJRmXV0jIxvGzgXBcxKhe0EG9ytQG
PSINWjZUYDtwOXmReka3oR8PuyZf7ZxXK2i9Vnvf6rh7nn/NUwtUv0Wp4WiUhzEjyvnuJZ/ivSJU
vrcL69kcgaieYgWYIqgG2PnCDUXQ/zCuRm+n0uw9UABAAdOuLBBNaxENs49uoR3c+hChSRn7y5bZ
s+0QtCuUCyvQiVn//zj7jiXHdabZJ2IEDei2JCVSam+nZzaMsSBoQW+e/k/23fTB1xBu9FYLQARQ
hUJVVqYtXF+gRc3MFY09J9v7WbB/JQGx2hBWKqOSnHlbOJbaZFZN1ozsBC47fb5pzH9FrsCrSd6t
ji2cw35wtXnMGtSMIEp9prdmaB/dX0Xs3tA+WaGhUseqwyBxeGJds2600jAmfIZfVKEL9kTQzgzf
HchaGqAnax6o8fPyIZCslyfcioOVdXxZcegydAeXdryiTRVwvMuDy9yncAW6bZXnUz5np8X+42g/
GlfxGpH9aeEWY3VGBtYV2anU72l5S/wXKPx+6S//D6azbk1vMnHTWN6Lzm71/ovjChEtHZfM4Bmc
vZsvEBnR3njGvxYsi8jNHOP23tBkp3UAlWBzbND7BQmNy+sh8/Mi6nCq3Alafz7isxZywCZIHOGT
oDeyQA8cCp1HkEeww+W5JK7B3bf7w4VYjo3HlhY4gWw4r1asjw/cfDbQsn55eJn9uoJvWD29Y7k7
IIqIBhasZQDJuqS7qqFz87QhBCyO2ncVWFP2LYKvSI11bjPuZKe22G4qCoKJ3Ljp9SKwXV1xYUis
S4Qe5t2QDw0aSU6pBkogCwpnkWKh9j/5ycXgCnab131Nh80CqgKcG7culJOggXwN9t/mzY+zq/+P
6F/2DYIlE6r5rAAoDVtuJ3RjYTXO16zOzwMr/86ufaQF9Ni2lR1yn8Y0h7pRWVwtA39zuKNYR4k3
EVGKS0arnu8whtxCmgHUq0gT+/6jYi0lXyhiE4fUTw3ANneHkv2svNfBxo3qk0OGOsZkkJea9Y++
taSB1gzfF9++myt+NNzyqiG5wkHsPuaT7RQBjC2de8T9Ps691R2oE3ZgpgNJLzgwbO/Ktb598UuF
cEJnQHQvbguekYcUlCmgAwQl4C9wnIHyEVTW4EQGs40q2SV7nzqCs4CsjmlZk5chMWkg8b4/5cjz
Ttvl4NnofQ3y5oh4RqigEmdeFqBnViNwrPu6BmWMoTh4sqOxm98Hf6fRmnj2RnHJZ4+l/qCpknWu
ZL/N/447jowbrOMZkA8gQ4NshPXWgDAWcnCjIhSSnSjBQRDLyjRNB3rGXZwjUOjxysF0u0IPNAP2
vekjc6qev3isBBcxuJlpawVchJ95RuB2j4PODw0B51ndtgjyq7Npz3MEQSd2zOsCXOM0IlBB5eWS
h6WzPSj+h8QpiuhHx8mHjvL38JyByPG41xGgEvcDtL3IfdEnZapY4o9EEOTQkJ6ZPSYCa88JN0Yb
g260AN3Y8ScNn9gu67qCYv674rtk0wl7ySbu+C2tGZ4dwy5iswtJsoP5ffsF+jCwtnSRdZiTVgn/
kJxOEes2pyUOPQ4okpTOuT62N+arg+oZKLMLyKnbwGaC0g8cRS+qvmYJDN0RIXBkLFEJxKKeZhdS
BIH1bJ7BhLs3tr2BCbOFPJv5ZyeYik3QJVUKdyj5TBEcZ+/dIZwP7JRWMUdmdPueQXHHv6lUHUGy
CfbfP3iPwSTttgwdQ3CNfFkDzuuMRNUGgn8H0oXLdrh8PiQtbQ4R3Pq8NWU9uniK5CeQ+Fggn04j
4wqsKtBe7N+gm4j6FqQS8hB0U49roqx3SrwjERx87/M0n4ycndp/9QnKEhwy61My35ugnvtpoAmx
Dg1FhuGdeemTGxJK1P9Zy3EwlrlvdAh4Wmtkj1rEFysk451n3YzgIwMHvgGuuhYUhOA/7juQv9LH
xUV/efk0VWu8GWCCW7/P7JQ5Bw56YiNNgxWUmVv9tDQoyCv+pySoFLF5Pt3acbCAzev9pyF/7vlD
54d29np5p2WjC9dGOdW0ql0cKA2lZQoyMnCd6fe5cbw8vOy8Cn6mG42C6nObnwZnjJd+CXrjqQfz
vMVBRg614MuzSLwZEW4Lq1i8rjZThkdyFjjd2ddPreq+ltx6IggP1jb6JrqwTiaAa0X6z3V60Ele
QenmUBEwD1i2Yp8lEDlomv/3PNqa32TIDELDaDFfm4VHwCKFul+E7pTHKQEXSmsdSgaKKUeRrpbs
jiV4E1pTvTbLIY3ZEnnllBQscsCkXkLKkc/Rl/bmvRf5g8ciK0Lg2UGuZMqzFYmM+aq2rXhaK8Wy
SQ6wCMMrbM2zDDPvk6L/ZWlhzZ+27Ib1CiiMLOK0BCcxdHo+trZDE/NhByXtHX9+uL6tEfgNE1MF
9vexxZ+4IhGDNxtstsGiA6QchMT1POr43bqc2+aW6796b4v86fvl3TBlx1mwdzblK9H0pjhli0V9
tN/hOWlHrt6WO9lvMQO3PDoMyXY80hq/CEjb9VVSuww8ejPLXAdKulNhNyebe6ipzH612N80Uhjd
jVMtBg3n2XTRE6+3tZ3Gvs+hwDcUhB8nro/5Hc3RVZVkGbeycGq5rSeck/mJ6HV/by16Mx4caxiz
66loilFxmcmyGSKIBmV/VpGs1ZMFNOegILGS7LiLAWsQZwG2DESTitMi8UPvOYgPZ33b1qazGZ3Q
3Lp3N0fuivSXpnBykp17/7oPg5c5HSoK+F0yQj3IGiDS1Cejh5upRS2JU3iLQeG0Jafx3RY+zLTp
ZEQ53p5O+pw+sto6+R5qUYYJoYONnLcyf7EGCNM6taI4K1s24ZIw03Sq2GZNp2EGQ7G94Aw6Lpim
B7NfFa8uiZcQ0TNGNRqN5++fNJJoGq7SLos2fruw18t29X6WPrFgETKzOllGavQgnhowYYJc8gQx
kAQKBwPUGf5MIX91jvkZfJkqEVVJoCRiZ3rN7ZttcaaTj05Oc4mt9Gv4UUcEyawF5Y42Yan6/JTb
Ruy0kDF1bYWJSDbCEvY6Lf0lGwx4uhLxhtVB6eJP4SZWda/YB8mDTcTwFmyllID78tTy0MI2mAd2
9nfpbyDlINYM4v/48kySDRBRvEW1sTLPUoDzW/84FWEL4OrlkSXm8O66P5if5digOWNGG28F6N1L
cEY3fy3z6WuDC1d+5a1u35PKiacCFLru7Uwg+wiFtMujy7KtIsvpZo5VnecuaprH+V92Dx4dEIkg
SRPpoK72X9XLL1uk/fcPizTC+3XOoGeJAZFres7pjWEplkgWiJnCnZ+jK2j1Kqs7oSnaZ5AnXG5n
6IiyASH+U2PH0/DYgpP68pJJDEJEPVOLdUO9VCxZdeiVaGALtlC7xUti2RS+T7ZUwpXv6cXsrU3K
EtACMT8/lH4WuSo8r8wMBHuuN23JFqcqEr4eCXr6zfnP5XWRXHfvL9MPG+yh7j6t5jqi/tvebgNU
yy3wJnt51ORlUIC4HgjFw+WpJFsg4p1BrmG15tCPp8k9pWdjuB8HaEtGlweX3Qwi4nnM7brP0gWE
9OiHZwnwhhCzuZ/vIUYf7chNdjeg70LhXiUAZef99w/L5uAKrYxyG5FHgjgdml4hZlXF5N65rk71
4wDieDNyfpVxmyg+bz9Fn1x874XtDxPW3ZAWhW2Op37HA3AkWBg0IObf5rEBU5Bymt0/fTKNCKVc
mwW9xybu1xX6PbfdNfLMN5YLmtnpsPwEt78VYiV33g28MRSxsmznRFo/3tIxz0ptOnUlZDyhNQW2
JHrgv1I9gkyLfqyRIit+TSpTktipiLbs0QbS9j6FwED3VoOtv94C01Rtk2z99vvywzZ1SIxqvZPN
J/qvhND8Xb9BsAzOOa6vIOsxIIQEfMMC3LKOM0VYJzErXfA7remUpORYPmxcEfg5tIEgHuU0G4TR
u7JQ+E/ZC03EXVJ0u3hZiWXTzPy4lABH6/N1V5r9AX78KS+WH9YMbZqVvubW+tPOMjcCycLp8vGX
uD9dyDzo3EcNC/HrqZ1f7OEn44pi9+fj2iLgknQzKzVWzifPK986fXkp1tfL//jzU2aLKMsqdfLM
6PL5VNnjATLLyPUuWTAMzePl8T/fdVtEWpYbzfypLubTAlI0Y4RkyQbCc5DDF6q1kX3BPvOHozwV
Sz+uBo5yvoy35bJcz2y86bT84fIHGPvV9b+uBhjn/47fZ6Ofb2U9Q6kDwllAIq93bjwAz08hM355
js+t0RZxlp3e5T2l2N4109Ch4iTtBClVZw1AzYKFUgQyskMk2DzZsiKrCbaiYMjvj1aUL4rjKfv/
gmnTouYZa7FEem+GHMSD5Qjx3n45ph2Qj4rslGyfhdBi60s2G6C2ONlQo+AFhHnrJydXOCfZFwiG
O9WDPdB15UmbO5BQGKMJbWZWGg67+JDy7t9X+pOjJKIjJ53lc2tUMOMXaE2ex3iHz+un6no5DBAf
UQGHJCslIiUdwzEykAxDBaeKzTnpcuBoS1UCVGLQIhzSWJfaKxsOc8BDsHOgLVvQxOZluNWrwhwk
B1UERdbblo1l1mCn6aPm8CjbaHjZ0GQrI9iyZnl9nekYec5y6LwM2/i9Wsu/m9OWx8szSHD/YP3+
r7uY57asPGJD8Bs1aePJifXD+mJFUDaExvBeAUe3rhuv1/k5DaHtcXlW2XcJpo2TWnLqlZACYv3f
WbPA+u8ijKw2osqrymYQTLxoHDxEU7dNrHKX1urNLTQcSo6Na6maSSUPLTCV/3fp6rUkXd1pbdLV
ECcGCK3Di1fHM4X297X7wOshcZvrLFsU50z2TYLRN8PS2bXhtQmdkey0IPJjgDIYtaXLmyK7OUQc
GSe5pg0Fxkfm5A86WI/+gTwN/3aMPnSWLk8isRWRE1BnurtaIGtLSuM1NXYdSYVPlwRStggpW7cV
aeAZ/35AuIsibfOiwVcBIruHhlAMUxX5ZF8g3N+awQ1z3lfJBR5/3p6a6c/lpZF+gWDt7dQavEqH
PpnPzhlyjdA9pNdbuEGMCETvimvp8+yoLQLKlhZboM2YxIwH9BUW8d4dYSYqlgyJuxVZ7La8SEvq
G13S9K89VHX7+icBts8Fd9cXV0mwbMeZGYi58AG7WPY7bzYyNMiGo3+VHlXNfbLPEEy70di8ghW9
TabSg3q50TxaNkDjjVdc+YWuiL5lkwj27DftnK3V2CckLeMN4ntDMUdeMd0upPl5ebUkU4g4sXUs
CmvS+z7xPIATkemAnDVU640qzO1FVSOTWIQIF6PgXtnyLYVA2PBGrG9m83b5z0vQ5bYIAuurkfZE
18CDerNB13iDLLB71Yb/r+PRrKCAqMMy3OjydBL3KjLZQYumGLnVaDHpOgjaI2CjD7oqHyRbI8G2
S8vX0LqXdUmaQ1XT7O61wX362v/ep/zwoCjMxgTqGv97hS6Dld2l/VvaKcaW3QmOcFNPvC59d7Qg
f9WPSW+lz4w6KLsZXrghzcTIet3NQPgXkJ8eWjCnp/SLuyGYeUtWZ2EOHAma9wLGimArntpMlRuR
bYdg31k18S3rCAKQO+s3ujEgHh9ph+VhAWYDKnfVcU6UOa39H38SRYv8djqx9XrMsITTcX+Q5ccZ
kmQB+n8O6NX9o8KDSCxdhHqVusWKzti6pLN+t+1RWx5H9pgVX9sNEd+Vm/Vscm5idDjzvEWR9Vet
K25uyV6IPSTURP21S/UuMd0IRNcB+vcVd4XEosVmEVdD4VTveJ/0YLUyZsjkQEaJfDEQELtCZl/3
SLPmMGlPS1ZmP06rvnzxn+9r9cGm0S7f2UhDQCDZnw/pApaVnPBgsY3nyz5DtuaCWedp7mrbZPQJ
WopjF5Wg0N90FcW87CgKpuu59spSDk78OT0Q/3op3zz3pfVVAj4ynyTy2w3o0BjbeukTaJPuOdvs
yBP7x/4mVVNXyI6OcDcbOmjLWLfQRB8rkMSkIU0h2pkuD5fXXzK8CO9rhqqvXK5jiTJmBGU9QMzY
hFw3eJ6+NsFel/hwgIyc+isgtX1i+9CrbEFQBWFotyy+ln8Q2e6WfKnmcqtQwqf8BM7OVSsiH9qH
zkAO1arC8cl2WsTxUbO22zHT+UlfTix/cszI7Q4zbcLUue5SGgLu70HnffS+uGrCLd0Pw2qUzf5Z
y8sMLYoSIO3x7+UdkZiciNfrGy+tOhdIojHvfgCi/dt1VPAASd3SFkF2Ztsz9ENtfTIcaRV1p+pQ
QdabH4Bhb0CxsjfTt4oSjezkCsbt5HXFC46pWii8G7+a7dYZ7y+vkKT6Y4v0d1Vv1rrBMPZ4zoGf
gJY1FB2WKzyDbug10K7+A67miCHOVyFeZV8jmLnull3ZtzVNcENHut4c3eav0akakSRvLRF85/p9
pbXbSJMiHSDQ1TDyZpobmhlGx/5bTWN1tFK7PoIGGkAVV+eKJ54E/mqLUDxv28zUK7GO7B8fQ3a7
RRpYd3YuhzRxH8CEwaESPhzaE7nuoDGrOhqSEy7i8bqq0mxtxrT55Eaz7l4V46YoAEnynSIMbxic
kvtoEsN9dSqyNlyGf5Z3PyPnMqB6dvn4yeYQjB99PVvHQT+WrFWUNTzeCITOLaggLjetqXiPSYpy
tgjI82hngJN4pcn2W3tD2msJmtB99DcQjFd4w3qJBy11N1AJm0rOt4jMK7SyH9OcDwm3r5sBdaT0
XGn0cHnBZG7HEnyBS+otbfNhh0tASvno/xpB9Ji44XTQ4XMgv67/UlETyM6WELCzViu9vMGHGOlL
w0nQ6Cp8gWzbBRdgQxAQakweTUg539IcGYWlb4MGGlCBnfJnqrnh5eWS7IUIuTF4o4+Ng2dyzxe8
L/Ecf03Bs3J5cEnMJaJuSm3ZLN8Yx6RhHMSeP8ulBWh5PtRD+Xx5BgkO0Ra1L2rfzacCEOVkOe60
YU2c/mndw/a4QNC+PminflDcA5K9FlE4aEGkGyEgizSY9nvRzRug6ivFJkh2WxTBmNcBDoOYINJ0
IacMgLwzeMdlbuEmGY3TYigUxiHb7f3jPgRgLqeGVwwtUMnTz2V642kZuZrCG0ruFRF0U+4jW243
JSntYss0oO3+goJQkGb2tVfcEPu3Uak442QLJtj44hVuUzUEu05++r4TYMu1lh9n52AyHl8+WrIN
F4w7G/PCntF4muQEyZHRjdpKpXoi+/uCddPW4kwDAD4Z5+bgVMPPsjhD8QLKkzesUzxgJVstAnDM
tMFLEEgSnNfrjSTD2oREUxFiSDqBbBGAYy0TKJTNdkCBZmewWn/2IYh0r/TvSCOgNrOTHK/JokFw
PX/pVGhdWS5aBOJAcMTXOBjbEnAFnkAzdp6CLXZjCs4STcn+JdkcEXwzVEU1G5tGE2gwhwscu2GF
RuYEZv1QkR9fOlvvF/EHO/TrlSHozhEL1TRosxebHy8PLMtOinDpFKRV+k6YiduveR1/WknhhFVY
JwQ0FCdsSzjExROQzuzX5QklViIiqAtOrJGa05Do5f1i3hXQib48sGwbBBNnGWGrVaJJQEcnpAsm
wKE6Gto1sUg401kxicxIBBsfi7ZEmIsLap2645aaUWU/tspSnOwTBDOvJ41pzBoz7MX4WgPd9MPW
j+bZPLSxF3nmLQeu6p9+3YXqdLHMRETMtL46tLNmYzyhUy/R9CyCD7uB6m+o62lIfMCrxipxyuK6
6X+heyDkmhZd3jBZFCnCp1faj5VZch3MfOh+QYfgIXua0BXoBNOr+289AUr2uKgYMSRrKyKqNSvv
eUHSLcmtP01lH7fmqlqudeNxSRX32Z6U+CRDKqLjSnQK6eid05O8A7DH++b2xlE3i7AevhNynamS
LpJrUwTE0dFwZhvsp7E36FHZzYd2MB8b3T0vuHsCnsJiLbQidqviXpDEZCIirmu3ZqlSW4s5v0Gj
b0velukVWSWFRUn8gUg5qHXMzlafIUeYO6/5fAeefUUAJlsowSHsYtXD3Jddorc+CIAnVLYNdAIM
ztKEfjM8b+ibDzaQSg+UqI70PvZnZ0DwD1Y+kZSA9j7ZOdV22DtFZRK0yQAu1aEKaSLbEcFNOFmv
TWBSglqn7R18ND4WYMfqAL9SAeo+93JEBL6x0bM6fevQb2X4CfGWxBxYnDOVVJFs+N2APlxmq7W2
A3KH8NRp8Q2a2bE2lc8amxQHVuLSiIh+czI99fy67+BXmtvqAPlRcKf24EyZbqujisdSOsu+Ox++
Iis37lrDhBdXTJP5JjtWofVjPoItExKd0FRTOMnPTxQRgXDFMi+m1zl7jjX0f+/MeUPitJF+PxzA
BHvjdYqJZJuy2+eHz1l018YjAvPYpD4Zq3mXgnWkylXY18/NnIhkg5nLxpYvuJ3z+qZq6mDmKh04
SXqViPSCrGPgoadTC3IZ45h/H8EOYB+6Ndgpy3XlPsg+QLBsspR0IDqyBNmp+GmDg8CL+MGOq9NO
gLfbtsKFfG7cxBeMewUeZ9QM1Kg2ot3opasHLdoFrKnII3AaKjZbgpciIiauQUMwtfvNjfuDF9dm
YJ61u5KAgWBn4v1t2wFpAmMFoHsD/Zm6YUSSayH/A5LLOOk2IPFj/ey/Oa/lEflKgKzXwAnSILuq
Hwwt0BUJRMlTn4igudlN6ayVOYor6R0r39Z+jfwqmaaon6aAmX/q7BvbEOYyG0JgR4v+u2yyn8cB
RATS0RJ6uo6deXFp3C4NmORyEqbscSRJOVmRo6r+vr+T//euAWHJfy3WJptFW4OlMRKUt9X4LzPT
gwchR5JtYTqlZgC7CNxtjvu1ZcEI2j1nS4O0NoJ1haLCt+Fc9HsTyhovk3Eknn5L+uIwl30IEQqV
2OTnYRcRgXl0TgdvKVsvttg1d+7QRR3kekIL1PcV17zEcYkchWPdjbRsujQ2+IOTX+kIflL3++Wt
lI0thBD5Al6atcXYFudBXt04WQXE5c/Lg0uNQXAp+mDNbaO1abyM4EU1Q3Q2/yLf0aZlBOmTc+Rx
/ndVFZElD3Ds5n9Py9ZYzLAGnJbyDdwmByMhB/K6awwVfykUel7BKHbvJHUToj/SOVz+QonPFKF4
vVOaU9E6MMD2O8W+EEPFeCo5ViIAb8VN4rQamptJ7443Q9O+eNNGY59baVIPOX+c207FgfqeVfvE
0ERMnrttvC9zPCnd5mb2D6W9RA2UjJoy9vrXEZn70nwwZviw7Gylh7KcgxIfWrTPvj0GjXs3dwg/
1qt0/dVrz6l/59hdRCcQrKevl9dZckxFpji6Wj7tZ8ePiTtH6Aw3Tp7dotCOPlvFhSFb733mD9FB
s+VkcE2qxTlCzTFd0BmXAJWVjBsqXOl8uvwdEs8povpyr3NHr6CA3RkZjVL04HtQOfS76jrVKoBS
2ztHZQ+yqaz/fpBPIOk1rpiqW67cEkceuZtpg+Ns4R7rH7ZKCUNmAoIH6cempx0oExOTvw7bEOiT
4paRlBmJSBVXt0WrU63HO/AGpMrXRVLuNLBzwK/mI7IGUfUbml5At6vAhDJ35QoepLKLzNHKSYvt
YIpY0jxkTyDx0UANj1KJc8zOk5Yo274k6yZC/griDMWazmAGeiBnlrRxCahOABzsnr3rQvpk3ytT
A5KQS0T+5XYO9dq21eLR3Ixw9dDb6PDRD/K8CTNnVjB3SYDWRMQBVs1W0NE1oFPWBIs2/t6WSBtv
Zg/h/JNpg0bXqUPTUTyCJC5BhAFOY02y0tdxOpbnRjPxzo1I8zUINxEZ4PKC+RppTC2GC0zZLwqa
quHvZRcg2/f99w+OZrU7Nho+YFQe0OFeyoJaUzhJicWLGMDW1KfM4fjTTnk20Rqp3/nLfB6q9uCB
3khl77JZBHsf2Nw74w7J83o3aL3XjZ8aaBFkFK05y1WqQq7IlkkIHWYzd7ZtNtrEme4g+xtQRwVt
lx0cwcrrouATVKA6VDGmF5dCDKTzH1IVfESSbiYiwK93wfI89Fifmh6Q4Vz/bVEWNjG/cguoW4Tl
Tw32zUMKHrLLB0rmJ0XQX5sthd6U2Pch0sNiA49WfnSicg1MGzIxBA3AZgTyrPHY/vKfL88p2R0R
CziVNWjzdEw5OXngzSBx5t8ujyzZHRELCDm9voNOMtwiOPrZ3xQ9ccomTtnY++8fTA9AOj9j844z
dKczy9idybZ7eykVl7tseMGyPdNeV42u/FRry8Eo3jIyBcT7mrsTCaKhLtk4bMarmThXc/vSWq81
+eKSCxa95vOguWA4imuEIAsfYzLXL0ulqUJZ2boIpqwXVa9netEnjhONQxXOy7dSyxRxm+RqEyn/
6rRcAUytuiSbYhP6tqbx2qDl2MkPl8+j7FkhQgCzvjSzfgAEMD+lMerp6clhV7ONnGqwhGu0s9Hb
LJ60IIu1PyqKH4l9iQx/Q1GVts8aXBKjj8ynUT5MzaY4SZIVEzGBNVCGq5Wiu27zA14DfNZd1xWJ
VpXnlq7YPvEHM1s26g01iDOwYjSBtkca1N/t6zb2D0uI5OEUNFF9Hu+HH+Y3FU2KLEUmMvq5XQEK
qREtCAS3al090yHy2++T+x0lit7wg25LhmYMslwBr5OlXkSYYIWG/cFeIasABcQ7EylY555fGXFx
Gk/lOXvpFZslsR0RMUjHrlk0RNhJSbfT6GkRei3CvnceLp9u2fCC6ftrmaNsBIonJEaCeXmj/YNb
PV4eW/KiElGC1AJFRL4in8hNUkatht60dWjHe69OrZhVXRNpzFDMJQs9/4ebz1jswZ35nhGvbse4
isFrdsrRdaISJ5KslIgRbM0RGlVOh0PdVEm/NUGVgXQbqYTLiyVLtotYQCurypnZ8O9sccajvbAn
ZwPINZgr440M0/20zOVVWeVF4KKtEGTEc+ecHc3MQhcca4p/IXENIjKwqbIi7SHrkfiWf57raOY0
Nqkdpq4ibniXv/wk0yACBOs5rViz0SGZweKMcN2F6gmqFz4Qj8Z5vHbjJbRu/NgOd8I082YOphuV
HJDEp4oUfqAtJS6HhgzOY0BGPayYEtcrWzfh5rcIaNJNdJYmIL2AkDuaVMyXnfxNvzPCNBhr8JhC
/+eo6miQnUXhae/oppcWhg8YMZjLpq0PJmhC01SxR7IIVoQLzrNTIBkBw13utCyw78oKafM+3D8I
SpDz7/LfdGii7PC1XkQiknXleuaYOSmGhFX6NZQvowXIUbfZDkSFnJAU4onI19XYtBxZBXAOfTXP
6bmP1zzgNui2j8V1e2qO4xWy59kx/XnZmiUbJEIIeY0GXdLbNBlMI6o1MA53j95WRZdHlzhWEUPI
ptFtCw6AH+7YMJ+P1Ovjcn5MoXbpICq5PInsVSHCCAet7nKmNRC1PKyH4d45u4l56OqgiItwO9v/
ctyzDzz2TyphNtlnCWEDN8q0S72cJcMM0uYBdZoFyjHecljqf37zJb56IuIKm3zsc9osLOGbQUKT
IIfE2XNbuFACYKYeLmz77bWq4FTyVhYpvqyq6CY+rCyxZxPJFjQqdGNEq/m4+iQeF8Dn66/14RER
a7hUdsV8FwRfWlee9dpJHAAzAMFWxTsmgrdPHPe7Q/8Q1AE/M3ENUkdJxtfDrl0VotbyVuvet7bx
D71pnenMf2P7gqwcD7RvH3ytUxRAJJ5bVDtec88c+H5pMLe/r2hGQSGsqyqFssGFdABL/YWbHJAk
bz00PUrck6qiKhlZxBuitafUPG3Kkm1+81v797QyVbggcTAi2JAT3QANKm6AuuuuU33igZ9l5dHO
i+fL5i/777uRfthuj3KL+6DsScBgyas2LCcVsldyV4pgws1jfmnVoNQj9X2nR17lXxPoSDKqOKmy
pdl///DPSxfN325qdieaPTtkPGiEfBtT/+nyukgsWgQTzrmtbaVWT8kyzAHV06hqf+coSXL9JkWV
aaZ+dHkiWfFThBEaiz+mNQUwuZytq1q76Qoo39E54hD7NTUwfiwsaPwlKNbqOLiQMW+Bm3SvGvtc
2UM06uXB7FGnAU2sNf4m/hylJg/7kgearZKYl0Xd78Hsh7XORmss7A7/cZ23G7vSTqul3ZTuGnXF
lTGycAb9THqf9bXiUvoc8ETeX38f5qPZROyuAkp4Ou6kCIgiIdsOOFp8ec1lQfj7d34Yn1tQ8Old
oM5J/K64fS5uym97D/A+y9gotlYWYImIxNrISx+JLmwt8uTH+bAMkFnOoiJ0AtAE0Smg9/UBlY0D
/aX4sN2ZfeK9RSBihUJKYZgFygzGA97FI7PPaf7a+lPkIq9a0d+9jYYKS4VLkNigCEU0jNYAGAbT
7bFDpYdoDYey0zNYXgGCmB4W8Img1KHEJ8syDiIw0ZhJr2t+AQr/cD50LNAP+k37A5J8U8ITaPv9
M8I8aZ8qpJGRqjxcXlTZRwqOhnqaQ0w0vyfugsGZfbBm6zbvfMXwsmrU/8ASnXXccgPBg3UHH3+2
kvR7teuXkru9U7D8kbeBSgZR4u1FiOLMyKRVjc8Sp2/waCbLSaeOSkxCtk57RPHBqKxlqfFEdVhS
uDlUAEE9bmZT4HqdIoch+/NCetEpU9tDHMISn1wT9kKYqpwlCXlE1r3RKTyz0QyQaf4bD/X9+sJe
xu/DGvBbM3Hv7T+Xj9HnYa8lQhFxNS2uXriIEVEac0Eg3PV+NFlbyE37aNVzcnmaz69dSyTkM9bG
yT2CXbD01365KWeok0zQrny+PPznm2yJiMQK7PvEdbI88ddbvVnCyn+ZG1VziOT5ZvnC06Btcqtb
kAlNnB/sVj/UVtDHy1X5a4t39ae1DoZHyNkqvJdspQS7ZqzJ54bR4cTGl2FISqsK0uJ6UZHa2Z8f
K0tk5Wt4vxljt/anyfOq9F5nLLWsSJs0cLj7zQZqpIB3XkeikjjjPIe87RqIyHdbUbsgXWjBWjZo
PpTx+GgNaPLwKYOIo7chZZQXG/pUcwPggjIE1CDn/NhPWquN1zoaPZFOwrg1uOdyLeXjekfM1Nfv
y9EDUW8H/Mx4N9gdr4yQ26unBU7ateP/cXYdPXbjzPYXCaBIUWGrcGN3u4ND2xvBUZFUIqnw69+5
fht/GqsFGJjFjOGRrpiqWHXC60BqvTCEpaDKr0Nqa0UTSwjXhbYV62QHGwFfw9KEII9+LX2ZNYCG
MHuurVCa1Brhd+qXMHRyQlFZo7dEBh5w3X0umamvheX6gPcyxy2LyNdSN0lvKphfDA3V+J1FMLkQ
dmb2kr2zbKPIhy5DDzvkhiwjveu6IG3T8O01vLET12g6t+YpbrwLLqDdO188+OjFZxAT8jsJP6id
++fGPllD54znd81koJK81PpUWOLUWyS2s2Zn7W49frV2p9afF6LwCZS/SrjbQTQu1GqvK74Rktga
6zYRKBLhIlai6N2/v7UZsw8ISENsPd1EUqiAwHC+l4ttbMM16o0XjZ1OTVEi/JXvaSIuwMrAtWIM
81/8yTmoqHwqXrBuVbkz/Vtjd9uvf8QpbDwnE6YsT8pzUUiJXeuru+xM+99jFFuDg+du9oxJMS8C
tmmEKfzsmu65wv/9TsLW8GCV6RbSToggbjYe8847ABv1bSjMl6m1j9pYB3ce925vG4MUrIItYaye
IUVfnOrFxIsXWcFdr/eglBtTvkYGAwM+FW2GD8mWKeosEdm6Dhd2IuUYv73FN1fw7WbxxyTngc/K
ybqFwRd6mT9CJCcWR/vBXNilPAHmfNyzdNn4ljUO2DB/8ftbVjKmnxbpJkV51051qBaz0/jcOq1W
M6GZgNWrwnJ1JDKUNprTNgFhNiTpYd4r12/cVNgaU+m5rd21QVCerKuKre80Gp6qJ476y50bivfD
+z4i1/rDnvz2xuJaoylN0aajJ0R58oakEUs41neEfH175reefds8f0z84iCSmCDFcSL6x6ZprtqV
z4Utdo6rjeleIyghTc+sqoTUbtYNDwO9eL3/UtIjlx/+7eff3vvHz3fRN0fc1uZcB1/bdoqn7sGV
/8ZQYmtzXM8jCNZdnSfV2NtxPnMZ6UnsSNBsDfztSPzjlwOrqdqu6OvEgN8Z1hM0eprcAIy7wKjp
7cHZOF3XYoYebbQyi84T1cx3bV3fL3ua/VtPXsUEJjw2N7ANTppMtl89v7Xvcr5YezbpvxsC/72X
A3X0v4MDcIErcquDDfyhS3i4HOr3KRygmtA7VHBKTGNYF0Zu7IA98AnQzfDzkqiH/mFJCBTUm+Tt
4dtau6sKqNsWk9+WGlranSEhZ6WM+rmCoepc3wUe6HZvv2Yri18jHkvPtbpxnEZ4nOd5FZZ9RdHL
FnL+lHo8e186Nf9CuwIkBuT6ddT2bnkyqMmLiuLWVXdd+lDJXMPnmA4hDLncw7/9sLV8kT0VAgac
NkxMm9DlcAOEVhUIVZQlw6H82JzlDePxY35++3V/L2KxNVRBDYEpl4DhbaqG6WgeqARuJnHZ0rvM
/zAr5yEde7SY97zlN6bXWW1ApDSOojXeN6N53A9W7PjF1yXoz/AO3lvIG5t8DVMoAs48ktMF7oEI
cr6xPRhqpBAf8nNvZ9g2XrHGsLqZPS8uxyrtUEaYGOwUwf/Yg/5uPfwWZP84pMbZwfEhALEAAjiE
WmKUji8lQOBvz/jW01eHtz1MymvTlp+UymNZxMFYwQ91r1O39fTbn//x2/PUddnCrPlMZjBl4d4K
zwV3r+K6gXNha5diflMy1hIjI19VnB5v0AqsGieeouFMr0FMd24uG6t0DV4FEGlJldstZxjVfJf2
9OhXIIkYKMYJEr89DVvZjLs6zRWz6tqUxe99vhyCMI/s0FyrSxqbaA4gQKzAO+++/Vubnrmrw93y
iFUFPj6pWSLCPlljAnHJtz9lIy6ttSq7hs750sJ2uaoh32OXbhNlpNu5rGyN0xrCalwjtSrww+0+
uVmMZRf+kMIm/duoQ/fdzXIF+jUQawztPeDJxvesIaxikqK8XVxh4nHs9Q/efHh7nDYqw2wNVIU+
FO+HFp/i3rsf1KG/6+pwTm6qOO4P9GtuZ3saqgTazftdhNv8/iWoryGsghuDhArvLIP7+rdDm3Me
7TuVMBiD7VWfN9L/taql3dUzQe9lOdftU+V90lkVtoC+LejY4Qx4e/Q29iRfRY4RtSLfpGY5G7jX
LwuYU+klmI9W8G9H+hrT6qbGU0aOy9nBwiJeF3HYxMzf3v7xm6t4tdsrQmflCYzQfAEPIbRPwUPb
JkOMAlSC9DO2zldwi9Xnt1+3tYJXm11ONEd1C98icnnwa3BO+z1nya1Hr/IzMkEjruqm5dwVwESR
9EV5e5I4GzO8Brc2YCDN8DfDTs/UL972ifBKVO8W/84i8Aj5p6FZg1ntZepVv2BoBvfamiWZvSL5
tyevwradBX3dl0g7ciDtHQSLEVLgbz96oxfInNXyWVBi9ZfKxuJ88iFeWiSQSTu7oR31FwsOUG+/
ZWMXrzGSfV9adVpyDI0WoRFPwJDFqcXA2I1xXT28/ZKtSV6tn2C5qdn1C74EcEJfHrvuNXO++s1e
/ryxPtfQyMZtgxLeFHi+q5PZOB/UbHZC0cZPX6Mi60pbzBuwPjWvDiN2lNPDSN7mJBa03Kv7bhWF
1rDHIWgcQiimmh7L9/Olv8tOw9FKrI/OjR4OV4LDXqNtI1dbwx81gCxsBgnrXNRH1R4Vrnf66e1Z
9n7X+/4Sd9YAx1J6g8QNuD07juHtO3jjlqo6i2ABVuQC3TlTtpGXBSN5NNJo/uiX0zw+8LTm/tM8
GuqEXSkd1CbRoLazrwGBolgIxQTH+zr7auEPJK9zkHn9thI0sUnTN34oatq7dzwrpgY40cGbnEOb
VhRdPlxyxFRGeq608e/hWV8S1D7Tog7mcFggGY6/AkLD8oujHOP2pwmib8MDE8OCEgHLyt63I5lb
RDSJlyKmfg4sUXXIpAp4SDOx+P6LawFvwSTNTMzayfcixxXwEumzanIia6Rp9ZjNbkuinJKBRXkz
eN6j51GPXo20xrZJSMO1986WMivAzVn6jt1nrdb5kPBU5P17z254HvWOB8uv0KrmZbnkI3oWcDKz
AFe7o2PpulfX1lZ9MFOW9o+s0QNvQkMHi58XJRpy3/DOYXM46qnD7XUeA8pgeIti3fMgSGcHMVBp
/vTD+Haj/HAq/IoGjzLjuePGk6Mn80FNY266qGLQgCpD8wjP+smOwI8Pm4a/1pIU1xzOLDxJM9/R
I0zPQYX+6acT9b5bfgOhkzqj6XDxA5LKR5Ax/KJKlHEpCyIqcGlLMTitMveV32blXeBAQhloEycF
t74UeWrHLlg+7N5xrQUV2cD5UTZ5MrC8IM+5XXhfPFcEPo4wO7WWu6AY4tybxw9N6mLwxibrcLgx
S1z5YNxRhVlrZehOENZV6EnNbKiaa0tpOocEOpiQSyJFA0vB0ZrpkVgeby71UPsjyP+wwYFFSEYH
+pJ5Q2kie/ZS/8BKYTXHivn+EpqWsjqCllzaf/IttHQiOlkWjM0ZIOJyROlsCkyE1lvPeTgSv5vm
a9P3cDKCD5/TvTSibhVs5Gs1uHduKjzzrtKCyW/YWjqYIya6QWsUJ0mZXQcQc9qYB0JVzxSruTpM
82Q7D33XZ6JInA6VO9CjmUm/jNVk+MUbJvxeMQY2fW8kNcVhLAfhfPSbWvIn5VlQLijsduavJVA+
Xnmw+qybZDjbTeB2kZI3S/jSFEHw2NeZGD5j3zLy1dDWdd5nhSlcL6w96czAlIxLditnqFLTZ4fQ
HNdOurRd97UE4cccieMb9cV1FmPBn61zcpmD0JcT5xt0ukSfVIORzmct+AioxmBsFWkAjqdoKdwW
U2uNaC4Ra86maNLF0CRGDeUrlGnEg2kH9WAMrinHXrTsOvspHxO4/cpmiVvVwxwkJloa9q6bKgtF
EN+7YVFopxeqryqwunk+jMUNgZo0fk7tKva1SdXDkM3gTDcdTe3EL2HFBwhvU+V5JKG8Z18rWFcv
gCzXdjPoCNGbWi+eGvL+GIB/MH5sc9qM4CoGQ/ns0cmFD3RdpL3+aAULlXGurbJ/qnvPTYGl6j08
qi9ca4pFFYzqAMZ50V2BkyiLewgSVezKiq6YnlM+NPWrC1+Mh2EWQYeN7szQ2nSlbZ97wADNfWpn
SKego5dnD7aH8ucFzdkcalb9zBo0Z6CrqL1Ltgy2ORQonLTFva6xpr0snJ3R8sZXQRplzw+qMJZP
T7VXzToPLTnw8gilTFgdh67nE4fFfNbad6KSQbCvjqbGI5N1qCAgYLJDsPTwfO8IZr4AW7NxfNjm
OikvkHo3OiNPQtl9c1+7PbX0YaihXhlWkvlTF8nC8ZwiCQIO/OwpM7DpKkLqCr9AU7rDrZqHCNQl
CBdaVtlD3xSgzhruCRN3fKl4ZDlll0Z97hvAdBxmlrvMCdwxSxwrUB4KU7pin/wqYG4TloPfqp9O
2jMIKYIFTouY8t6y5MXtR4rfThzVB+8kVUv9hedojb+SrC/JV09MPgXcWvncBsI7mP0KBYU57WhI
3I4F32vVs+apnMzMjt1cli4UrKVddWE1oPJ27DxbwE47mEqrbMKqsV0/JhZbSprMFh+8n3zhflGE
vLUdK79MfFH0grzZJq++kQu9Z/DsKb8HNYd6bzCWuvg2QrV/Os60qjNwrAKRd3HTuzM/CCIcNAkG
2MMdYEvWTZEcJ6J+VUHqIPlgXas+ug6M3d6VBIIPjxZ2d3XIoVU83i9upXkkIJs0vyuV7rzQLUBu
sAA059WQOCaT7nMLhqbAo6Ukz67SmX5vvLlNo9nqXHliXq7zAzG8nM5Zq6iJJreGJPzkpgu5aiqI
l3Qm7dorbys6RFyZ1o3nBlZgV99lGlaFnuLLoZ85I1FQOl6P9pZBkz5Mh6FdYvy/wnvqqZrakz26
oJG4wJPLGP69uUhAS27JhRYTuNV5KeDWWTVTi0OrnocptsVs5QccmxzK0WWr25MgJv1hslQBSzan
tOI4+lttzTAdAWCBP6dpG/jxoCavOqWmr8h3p/CBMAjziVYiAZABzqCGms5/mDxsZAhcpIqevRad
lSfHocAlpOPEsqdikQWA9L5lidCZ20k+iHyAV+psSo9GE9VTlRC3KtworWrp3xdEevrLQuFfkWRo
6kLHH+f26FwmYLcgMojOBMfbUmyZqLFl3h/yIhPlIwLQok49cAD8MKGYTR61J6WdeL5vA9HSYvHq
n/OUiRowQTn19zih+PTkBEgSTpZvZ+xKWlr5WSKKtnXGUPeyywFVSFHbpaGeO8v60nZWtVxgkZpD
0MldLO9q4OLXf3FFnXUO9FtHR3/0AUqCO0ArB/db6hUkOJMuT9tzxkdCu6vJlcO/kNRkBi4FxGrA
rOsyKypy1Owi5F0jCRkJFD0CsIa9H/o5E+ANWZnXHswCFYpzEbRdELGpbqZwQWM3e0k9n1eRxf3U
HLx+gEQtdSbuHSZaKiBfhqEq4srHmrq3sLtTERUBbCaTzm+q7ggdTOnFrcX5BH8yCklHkutZ3SFZ
7D24Z1eBjmeR+hJSIaLJgVTvqwcNHXcI7DddVX+B52nrJRz8iexDLbOZPvFiblpU/wPNUiss6ooW
z4bk2fTCisJ2fg5OY6Yq4oM/kOCU1gX3ysRj1MeloZFkmN8FdW7cj3CE9YFhKQO3xjrIiE7dZCms
ygpC5jmWIUcyGwTlzPXG8qewgAl/mGZLqjSuO9uMXiiKjFdt5NvpnCZzn402hKiRXsHxBg0ZHCsy
q4KbZndZ9b39kI1k7oEEtIzQ5dEeuq74vBCRaUDWms4CODYQxRAt+KV2nLmN16kQqU1ZIUWZYHYN
bBPreP2rDio6dwfQb9L8PYhSDMmAXyyzaw415RIYRLeFRFcoZU7nb3O3tP0V23AmlxK2UuN7Pddc
37dcMWxlbNKCM8SHZpbIeKeSZ7r54CmZDSw2WZtCEN70mVkAQhtxp4CsekZnbFafWFy+mq7I5LGl
gwadBUkwlTjxPTb4JOEl56kNOHre+XfCgtUijwLby4iKZI0oezWIWQIyWMaWrQnllHP+Mnm8Hx9G
3i3V+yqfuHOmI+/JRTK7mV5mzaAkEbpzMVdAlWSFB4qlxpr5Jlrco7DaSh/+o/lUj2Cip7Vjl1+p
BlkPIuqmG5b72idq/lW25bjAmZwyldlhb6a++ZmXLbIpntfSXGYzjDAo1r023s8C0cgbQ5gaIKMJ
M1XmDCmyi/vMl0XqulKh10q7ueOwDK9eoPE9QcExz9vWhpJXRsbBihbgMKqPjioqZDE+rq/pdBgK
IdImbOt26L8CFWnlV0priZ/d0ybQHwxwKPxx9v2bNG3h1RYSCdvGzaYaMoc9kSlrMn1w3ZzDqqPL
F6quzA3m8WbHM6RGhYglxkrokoqZhinwYd6rGF3beq+I7dsXu2SO/xFKLq53SIMgm5pw7EjJfmaD
mN7RgATjF8t2u/KKGS6LV3wDHBZcT83W89Jbkt3btkfl51Ebxn9aRTBO14I0mX2dye1iWxo3t66g
D8j+fVDgwnPHFQ4e9BIXAoXFpQtI+cEtClf9qDyjg1Prp7b1KmG71QPINXvIokIz6KyJS4m7SXaQ
aRpA3D11BqfAj82bdJaJsjO0rEPNFuTEYYOF7X8fLG2zC+38TD+MjZNVSTBxwb+IntjjK7BvWr30
E7OC+7wRzDwMo8WDsysl8BPhaBuHXOpWd/3PcfQ1srUgKER9riWk5T9gvIryw41gmn+yjaH1SSi8
KbapL/hLnruB9WV0WaNYWNV9Nj/VyDKRfrV01EsaL5S1Cqq24lZGdSvUAN61MDKXnxH4dIBDrSgn
FoSV9gbTJUPdjexuCDTCGs7KVvOfveeP8mvrtF7xngpHZn5oJBiGIhxoVs2QkrMd5OWysEz5Bdfa
/lqDs4eEHzFS8Kiw4XoKSzN3tvuHqiIdpBz9Fr89TG3kiQlvlJ4+I+eiZomr22XsYzBpDdllz/Yc
52SWdkY3snNS8cynPp9/ubAaDb6BvTU2Byh2U/NYk8Isv6x2YeVDY/Pehql0MA6/Gss0IsK1JMO6
DvAzjtIhnnifu0ULMzKpXVq8QoXM86+F9CdyKPMex1akfTedTg3JU7rECNRV/YhFhQQX8bqEALED
XO5H7PhSxovK5BgOvpzkZapuuteTdHR9nmY+Bo/Ud4S+5HVWy++L1bTZqWmrgR9pYUOtPrR84Svk
VB2ac6nLvOBZ5qXRTwEuNyopl7GuD1OqRPsihGeTLwJKXO77eWhdpFF6MN4L7b2xfh6Hws7ugY0J
nO+EVAsiHOOFmh4D3/TlVTWQ5O0iSyup467IS3m0mkXmB9GWEx9iaDBoO+kr8JyujcLeuICCA214
pBEivctTJtU1zQ3375pRd+rcmbrPeQgUbFk8+75LDWRl1TCm91PK7SGm0sj6AZlNO5w1zong4KQD
rR/msjBdF6EkZPE7q3AZRK6Wau6O3GmqCfWexWfAXPEpH6/Gr4TzLcDt1nuFahDyXFb0OKTDrhWO
/Y6oQZtjj0XAf5RO135dGmIRjLrx5zvYPTL/OKRWPd67yBiCLzMD3SrBiUGB6upvqVqOu49/FIRK
drUsxKAzcQAgVZHqW0/9nGzItT+wfJqXBwUXJiXrSFuwMSjPfM4cCwmsmxayiCyX23h0V3Y2jd+u
1W2VAW+V1D9atguKJ1ObT9YJ0q6fMxlU74aCeVGbpulOO2KrfL12FElJvaRzxcjZ1gA06GMeA8fc
jSE7ugd1zz/T57c/ZavNsmYLsyrVfNAUtXEv8lAWSaywfVfG0MH/fANnN01ID9MRFno7Y7eh7MnW
dOFmUEJPuHOc/1+BeDn1bUIeiw/d9+4uDfvwZgroJ+QphxMyZztv3cBYrgnEYpmGXBBCzjhZf+bO
eJiUfKaF/+QZ/4oK5EVne7ZsWyO6Zg9njpFcDFjr+uJc2kOHuZPf0Ly6wvVwSm5glObT/LxnPXNb
c3+pGq/ZxKhaZKrKAnIOoFXqvW+Dj28vjI3S/X/4w4t2g4I55Nyxwo+odoqIV+O7QgTIr5va7DSX
NhQF2NqFZJ6cpfJwOp6Hi3kVNwwVSXSERkSCCuLL/Hm0wZixL5DyuqOHm0MvdMh2FsXW0N229x/b
uCkQRAa3V2dmt8lohQvZk9neOCDWxGEinVHp3lVnJ7uv3NjDhbAadyZm61ez//3VOlCo/nSlfS4g
VBA8pnvKTVvPXTXMvCJbetpjImx1ZKQOA/bp7ZW01cT/D/8Xdz7RTvlyHiMTBycVi4f2YD1rNHWf
rY/V2U7I6aZJXUfjv3nFs9+WXX9MLfLbBbZJaDwNY5e05kffNjstv41hWrOCA2kXXNXoxi3Dpbjp
RO+BdTfWzJoTXAZpWo0lHkzTl8qCFd9L/29SLmztMjJNNlxYGdpW2i1+dDlPFKzJcJe4CsuJhNlr
JG4Frd8n4h+jbpUQ3cuNUmeIJ393ElT0I3hhNZDPaKN/VZdnv/GJf7xlElUKb0KuzgOoghpXZM6O
WXbtJrGDZdpA+P3uM/7xAiabeUDWoM4yu46tOqL4lizBJ698gG3M0SGfwNX+x9W02sw5yqVOO+Kg
wIYjwXLuPX7e2XW3ffuXwPB7kv74Cjvts8GM2M9dYr1kJ/uEZuUUcuQP7RFFxL38YWuwVsAJx/Hm
tO4x5wo+4TiSyP08wdAx9M9eAo32dywp4vonqucorA+PebJL9t0I6WuyL+k76ZpgUFBVb8+4TQ3P
VEPdi5yLs4aU/i1UgC3aPzl3QO3sTNfWCl9Tf2cwsoba4KXIMgFZSKYTyjERbmK4g8f7moAbuII1
37dZ7IYSFymE5yHrfRDip+/kiXTjcdexaWP41hxfWjujSfWEeWveLbM4afvKhYpt/knZMrTKnWi1
kUasqb1+KTJQzUZ15sMF0n1gM3WhBAK6jN9e5hun5tpspBkB2J86bKBqOWflxTY6dLw9qcmtMbrF
gD+2UFpaFUF1SZ0N/DmaskqgLTGaBwBCo5TdjbtiLRsx5T/8XWdmJIWW7MlC4zNrkgZovbeHZ+vJ
66DeoKPiooB5cpCC2AwSXs4evXZrZlcbXyEOOuL2aDgOCzBs4TMRVUl2Sd/3Weh9UWj1x31kxdPj
25+yBWVd83mXqq+s3nbyc6kj9to81y9WYiL5tf5YPOJVxz1o3t/HjK4ZvQz9tVYTfBg6f0fHsj8H
w3x8+xv+vlrpmsXborHS4sBszqRYLqVdQFfN9k/CF3vxZOPyQddEXrdgMDHL6vZsv0D56Vw95zdt
goOHQn9kCBQKxvh2Awn2wG1/XwV0Te2FlP9yq8zjfdxkHz17QYHT7tuDhlzBQ81Rr3t75P5+ItK1
y0gwoKA2gF92BpsjzNsmJo0V+4CPZMHJJt3OWzY4DnRN7q3pwpZOdTmiGYm8Axz4+Lfs4n6uoim6
3YNd1FCro7OH/d4avVX4R+naLzsrt+A/Dj2z4eKUX/xWxKNXxG8P20bAomtyoSeyig0O1sPN1u7m
V8wfsD1vQo63ZSD5TmDc2jOrwwCqxaSvS7wGGDXty6jO9c6TN6QhUWT+30N4kKlGqfz3F9gHkWQJ
OqcmGuMGNwaxB+TbwJDRtd9IWzBAVxa8ZX66HWXyYCV+8DzEE6TSrHPaR7OAturOMtuY9v+QCwWw
jgJWu+d8/DTp8V7Z49E29K6R/0Z8omsudFpUDbZhxk8OsmX4ItflU9AEy45Gz8Zsr1nQXANuUwnJ
T+NofZhlf6+5c3h7wW6ckGvPEIhszSYbO36Scr67GRUu83zieq+sdttY/02KUdz938VUw2wltUoz
nuc6Tr/0EKXPEj+mfeK/kMNNtIXvRKutKV7v7HFCTRTny2mehzEcJY24Bb0GKb5YFd3bGrco/rev
uf35H/kJzE4lEH++cwLq9MhuoPjH9HRTu+lxl/63AhP1V1u7m3qCGpPlAJwLgJpPWuDY/GYni9ga
ptXmFhMPQBxJnVMzOcPBaem9GmFPoSjxQs8LdvbbRvBYE1M90vjj1OMTPEO/QqDhxZAKeSI6kUma
D3fc//X24t16zy2P/GM+gB7oWc7wHjny0+I9O70X1+i+5d4j3fOp2hixNVO1TgFaahXe0RTul4Ab
FpoJbnqiauMgmA9vf8jGLlz7deSTcAZBgWsO2jGEcBUHja/c0/DbOmvXfNWa1pq0qSHA69oHFi+n
arpA0LG+3qwTwIT+BAGs4N8sXujasqNSjjDVLcS2OezYgSLMfvzbGK12eIlPwD94cCfjzA/CQh4W
uXfz2JqA9c6Wpg+IRJGvES95f+3VYdpTxN44vNec1aZzjdePYNs24ug587t5aneowltPXm3mtvNZ
3TQDnqwhbGagMGACn+7s4Y2Hr9mnOeABSzb6FcJyDQqbX8DbGzbGb8/lxqZakxMXQYAEhIZJkg4A
dLrw+BXoK062/oUi8V4ms/WS26nxx+lAU5AopNdA2K2BIEzpZ+9pjXyycGCG7lp7avBb43R7+x9v
SdGBH2pAkBNAEYGOjrKiT94epK1ccu2q0UANcQLPHJi0IlxiFs/tXXV0X4JjcyDqKqM94cXNF92+
7Y9vGEQlR3/Gi4akPy8xtGtB53UQoZuDFbOdCL2VWK4piz7J4ciWZre3zAm8l5N8iNRvsbj+OO6K
xW1kHGvSYmNBaFplaX241cdSADEPBjUjH9MOTWGUqN7tNdb+Xoija7oicBrDAvxxfXCOqIZcgmQ8
gEx23JNf3rh+0zVnsWy57YKJJw7mdUy8w3IyIb7j3RLd7G72zap/90j+ktSs2YuVpUFA6Fh9GC/+
0Zz/X1lvishnfhzj239NWcifbryO8QSUOw+n+GbHAd+2nWW+MWNrMqMngTmqB/yAIVF3IllO/nuA
aWWkQDuD2/CJ7Pmxb/S+6JrdmJZoS6QN3nS7bQJbkTT33+uwPUgU4KIu9sPgYo5ZnIP5iEHGv+2t
la21z1enRMmUX6MjLjHI6hx8a6Iqumkx6pdiV9Vv4yBaMxzrsZ9hMOwGCUP3GvgDkA12Zmjryavj
ofY7lsPiJ00CmDOHsh5TICf2KEsbkfc/pMaG5Tyb6zQZ1LMP5csxB4lmz6ltI0H8rSn2x8GmILPG
AJ1Jk6ZK+5CY6V05tZ/63LpvO/miq2LPLHVriFZJ+zSqfFKqTBMbtQrICodl8/z29tj6hFWQb/jA
dWFXQeJn6s7phw+DdIG0bl4dDpVxk319+zUbH7BmNs7alBmAbwEYPkVcdKAA7am9b0zwms445d4y
TC1Ej/vunls0ssrL3Owd9xuj46xifNfqqeZtMxxZufwausFuw9qB3kjlONa31HK/A3m4e1BtnPhr
3QsvCHTn9tw9iI/SICKrx+lFXCD8VhyLaD7UDxBaPc6AVx3nb+V9s3P532jn0rUABnhqntf53XCU
N1nLa3ERVWg6qDDpA/DEaLy0H+wxTEEu+YR7z05Pbms9rPZ8muOVppTDsfTUBU49cFozOyt6a0Gs
EnmnzBtg4PE99tLyaODQR/DF9CmtAZj8t8VM/zef8TV1g65oh2PDejtaIAWUZKDX/ZPHCF2TUAEE
C7TJb0Mj5HFc+ngc+IMmJn77x29lY2tvjtkB5hwa3sD7fUR57KH5UETCSW5U2ls03G3ZbyUYax4q
mBd2/n+cXcmSnLCy/SIiGAVsgaKqerDb3R7a3hBuDyBmJMT09e/g9xZ9dUulF7XqiF6QJSkzlZJO
ngPwLz/6Yxw8lrtHA+EA1YKt/eAf7cQ8cR3/tqIUl/tSsyVz+8yt+bHovIcaQtV9AnGQz3Ryz7dN
mtyTWq64dwsMDKYWsfcruGvujAONay/dyV/7o+5BUuG7ckMqoPqgl2Yw09ImXoow5uLg6SpkRTKT
G1IDC03BJa84NESqO1G84K4/Ngd6xn0y+gF1R13lukuhXU0L2h8mjKHj5lNeLni2HR/qxXwUE3hm
679obT1kwv9dokYquw8QNDktfEw1C7XvWxfKTRloVw2T25cdrA9rc9fmb2FXnYfVdWNm0dhq/9rA
li90vffRPhVft6nyPikdbLwZPA/6ZeemOrHgbi6eLP/JLTQjUuwKMr6uaEJgIuy6PA/WnQfBIRDV
oAU06tGV7q+Rv5/MW01qUJmSaoGJCE6NwMvSJS/5o2jcMWrW3ns2u7Z98xu/gHDwuJwDgsviyDcz
SzNExQTKCDtv7t0yc0sjNRYv6gqGJ4c/zggYeaNTHFHElYyqswc+OU4FC8xu6qSox6SsLY5OlE3j
A7tzX3A7GV5nEpaXBVogMQRUB+wRRx7NZqNQ/rBlRN1QCTTxQ8EwXdIVMK5XKIr3iYEmgzOoIR7a
r048n4MRsPI0THR0C6r52v//rrDdBDivGGqcNLfvlpnilu0xzP5cDxfVt6X8MLahiaIpz4+NnYnt
jpar4FETiLw/hKK2ftxmRaoChAumghAqjGlffgnXPxW43Vtfx6Gtclgp4h3KW9toLSM1re8+smdV
lDHtBigT/77+61XuJNX79oCWhmA3kBevU/NnDr9f/67qh0sRzirLq8oJ67oNZeJsYTyazv3GyGPY
6iTSFLuMDKgj6DSoHRM/PcvaU9uHsTF2OM3ziBgMSIgguT6Sf7igCxEn4+smyBjkgb0vMNg2g/ab
tfzMQLXjrXMs5m/DRNB3U0b++nrd3mXsiC1j7lzSTVbBYa7zX0POIuZaSejfjTy4m9z7cao141JE
h4y56wwmBK1XI509sR147zl4Hs+aD/YMMMltQ5GCG42OXY6HfiMd8w0+67qH1vNCvDvMBUTn+HE2
IbKN/gfNNbJqRLuPv8sleJ9ru3GDOYIu8rb7wQBCHpfT9bEoAuVfEfLu4yxohYPOTiN1NqtNiYPO
MC4GHfZbtehSnI8LGR1aoWGbo+mlQr9wayRj5rBnpx0AIXLMrkYX/mL6e6PZKDQnMkWQ/rvkeTem
YKArp9uM7NJ+MBwraeoP3haefNc83DZpUhYAGXiObnMTvlz4XxbD+ezm2fGmT8uAuqJHA5jVzFlq
byV6R2qa/81ww19oNkPFcstAuiEUBCc7lqUjGt8S3FxMMSl0b9WKzCVD6IzcpWNn91lamCSumGGl
Iyv+5hsBK+Y63LFRh65Qlcgyiq6oSpZnC4YBgklcFHIzxvN1Yn/+B3S0dxX121ZahtOZy0CJZTVZ
Og+V86uH3hYKxx5M6retthTaOZqtM4Fm2rR2mz9djSa8FbDQ699WRIEMotvampmZj2+vYKRwzexh
Gd29GckCXQ1oJ28zIgV4SVrSeGsYoo9/jikgTuZaPTje+gFw2/S6CZVXSVv5AmjF5OxzxLJPdonG
lHNf4VyXpQ3awq+bUKQpGUmH3uUGbdJemKLb6j7kfIuyjt853XbMXfJTCCgIcF/37HU5BC0ZTjfY
K90pHMLUngJ2KNwmzteq1kyW6uP7CN+lPrfj/Tob+Lgw0Kc9JGbGkutzdHkXsmQgHUgHEdqTH6aB
5b6ysAWThzf89F3++/r3Vb98d+N3v7yv5sn16xybal2Rg0+mna4AIKPbvr6P6t3Xwe2SdeiPNVL0
lgZR51ffO1ppYkD1y/f/v/s2ABsmjphZlhLR58lcmk7SD6vQXPRdDmNLptoPuoyzfjGy1CmyGI36
KS+rT8R1jxtxb9ovLRkTl80WwP3gbU7tsQCXlniyQvoRHe5JBmbu2+ZfCmJzCgiFSnOWZl67Hia8
KUSBn1NNhXQ5RVgyJI42HTENSo3U93HvPo5f7A0EeoOXRcUEvY62NTRupAgCGRU30bokYd8bqRj+
tFMqip/C0Vzwqz4tRW45BaaPgzzGAAl6h9/n6zdI7V2ffdW393l756EW9LCXosK3PQ5G0iWiwds4
36ZyYMngt7UObN4H3R5a4Qlt3Q9eaQxRDgzZsIFo5/oIFCssw+By6LCMFnbKFDRBHyrq4LxVfF2z
hsdD18dovr8tf8p4uHAIDRCVNLgrwN2Q4ZQH7juaKLu8yViyAEgGEgKPODWqUvS9d82bUZ6I8bd0
Pvfgz7B0giyKZBRIG3JOwsy3yhbHH6tP2qY9iCLQeJFqAFIMFyCmYsOKhQbOJynRKM+MB7xKRZn5
BLKvyKq+Xl9rlbdK1bUtzNlAo7qRUjynocnbQxcuNGYe8tbXyRsoIFeWjIADQ2LHxn0x9sd7L7VO
XnuaYuMxiMwEPH5VBCoP6/dN4/H3+XwXfVPuTaDsgq3WK08CxBfjmKcM6u3XP69YcRkAZxmtWbIO
J4a2q+uTw1lx75ntn+sfV6yFDHzLyQwmVctF3gbPWAsZqWjO8nuSg9fvNgO74XeT4zB38+0MqYnP
HFdylKYbmOyiSosyUo1gn7Z3BrxwsJmA7lk6Fj+DZucIEgm1dNeWl298LVmqofZ5M5kEvloZXmT3
BXRwcOXEo4KYCXWc2ECLj/bySXHsAXXIf45l3twqB/sEFFE+LemWuAd+DBK0+4PveTnSVIeGUAS6
jIgD4hQ8VQIVtj2Tx2CdYh4U0QaSPJfSX+AD/E6pq7lPU+R1X4p1owD1ZjlgRKZ5srrpkFVoeHeh
BOqGcYtX7utOpmhjAMjiPycutIsGdOw4mZZniMvQO3owYg6wR+rgzQ7qd4mLy/L+QdeLpwhJGT4X
TKJq8KiRpZXjxX4tjjPNNUNRrA2RtnIfhGQWKKhQbOIdY3amyG4yrM3BAeecBcwPG6pEM2kOJue/
LwgtIlXkoQ+2l9DB2iwfydGOd2/LkuXTnJrJkOq9TVHgyii6kbXMCH14m9gApxbh0RnZC+6g4jbv
bx2KlAS6zkdrVosFWT7ugYPzdpol60fn6MTkVBx0gaMKUBlCZ9CBZVWFsVgv/xug1gnMRh/mdDv8
f+wookbG0C15TXGMwfXH3FmfgOaOW7CnVs1wsIcincpGw1asSJ0ygi7MQWISLpg1u5yPa18947if
kL7VvNOrXFmKfT+wZt8CQ1HqWw99mzaDODThfe2DWM8EI4p/0Pjxnh0v+LEMoAMh2laYLey0VToB
dBje7+HfVGl3hsgEgv+6HcWiyDA5z6nt1RpgJgx+dPNdN37h4oTWqYgJnYaqYkFkfFxvFasNLh0s
iFP99GmRUJd+yzpdka36vBTwtrvxNuhw2SWmny10e9xfs6kF5+yremkVdqPv9uHNNMsOVIm4sgMR
42yYfdSNcxJmFbiwnY+GKQ60m3+CdOEhq7U6DIpHDkum/Ad8OTdADJal+ZAyUGCCxfeeNecKDF8l
lKgfWztLylJzVFd5wJ5I3w0x7ygo+l3MH+6G49ayo2n9A07flEP9h+WaqPnHEnFpIqUioDIJBQ4B
O4DNQFvd4hgdW8H0E5qTOBwBq5N3bZiMXf9tqLZvDESyERSg7bgGl1EceEF9B2BahredukvmgueJ
QcY+NiuXR9kCIhhw5XW/Mlwh/boeFooKyZNODYvdVg6bsYsQVjy7LU/mwfke1H7kjeW5F+DPBDB7
LPzzdXOK3cSTkkpuOfNGCDIwaCxPKzh+cSBKh83/CCK9l+smFAAgS8bitTjWzmKBK++XVHYI1m0O
PSd2P/Ijsz+G3XEbvzjFJzvHq8acXjeqiE0ZpWetQ543IWx2IxCxfhGbwdc244frX1ekYhmm11do
o9k65C7aZeiJXszEEbgtWCCx3nXT8zzyP5TRp+vGlPMn5ZnJcrlnZVgjOSF7d/WpSnVVmGo3loF5
rVvNoEiD620vIGOO8Uqwt/7+7ysB2FP/HxxOuzNfiElZk6oI8raZwMQG4PLewVOi8Hvx0ZNZ3Bd3
oa3zO5UVKb8YzTaBYhJW1h5U76sdfHe8GpFNWihT+T16v0GoCR6TdUqLNTOOwQq9SYqurhuhSWDJ
+88M5w/uSsoKXjh/2nfS/3t34d9J5MT/rxndC7NLEyplDWxEIS32dxee2x8NPh5BoXZbhpDhe3gd
hlg9w5YQFI8+uDkWNApaW1KSb9fdW/HTZdgexIAp3/5tdEM6ul8MHSxTFTb/BdIzQj5XRokC40SO
y9k6kaR62BGmTaJvN1Ckaxmnl7fMN6e1yqB68Mm0g9jYoI7JQGTPvMgU2LQFTk5GrqmZ/oEaLqyz
jNcTrPeKbqT7iZYcUZjz/SQGnM4hTPcuFyNelgNoVOFeHgTXtalBtUZSMTKLUHidOeTHwGGpyauP
NdPJbas+vf//XRHgVkPBloXlR5ovSWeIEzSjNZ6r2ANkaJ4HsWpr6jh+dbXiwiE7t8afLQs0l+hK
/5KCW4w0hIQ3cEWd+Ol1Z5zLgCWjicuegmxOHGgWj6Ajo0viUvRs9bpeM6VdKdbncQWLsY1hrXdW
ulPIOI8kyiIbDDJ1rCOxUG0GMuNdDwZxB5QJ+dE4gb+N/3T/bQY0zsbjchixGeggqKrxyGi8gi4k
HwQszXF7XpJ/hBOJ+bSmJK1edONRuJkMyPMclEwGrsyOI3gyufjem1qJPEUKkKF4goeFGzr4dPsw
cJyYcOizj8urCQK68mN/D7p4aiUb6DMOeRyiQfWopWjaN7IL2UBG6tXgUp2rasqP/ADO9IQeGI9z
wKvxrH9gx10oIr4pR9tS/KPNegwnNOEcSR2xHH3u86KppJSrL8W/l+PhbMnxafavFKAHDofbJbow
AlLGTqsZgtKQVA24rCQWKef8OBzmg32o0y5HI51Idj6rGRIi0fWpUpSG/3q13uczmoGmuYaZCYwm
kdf9KfmPKUN/Gf0Nfs9DLXzNvqlyOzkN9Ba6AkMAxCr2BgTS72VjqKWNO6PCterci6NpDbEPCTTN
wBTZVKbE8/yg5YYNnN1QiGcI/RxCsp4qkCdfnzfFQUSG8aFtCmwHywCMUDMfm82FVFUWLYShqV9z
ElQcN2UAH4VMRUFW6KHnfdGBHtb4FEzzA4QtmigInCLpyapxaoUPyNg9G0zGw8BgaasgGOOW4f1E
/dfZLL56IcOJbjKAg3c1p2jVmV1G8OEAvRjQ3zLSehx/VHQGdXq9enGV29Ud8cwvYNYu8XocjHFO
6q+8NU3NfZdqQqWskNXjbA6eb0BXJCNJv5pOZIBus+SAUo9sPok1+HrdORS+9+9Z6l1QQSlkqvEe
judMyFI2iVd52zeXF+OPpQB7cnLdiMoDpQQBGRTQ3QPHi/e64rWrycNmV4c12+LB5y+3mZBKhnLZ
7DXvCEw0JSBwPmP0Y9iStY8808Wh2KFtJTTDUex4MqoPZEfNOOchAgqOHUEw48m1+OfbxiHdGnh9
4WdNgHGUZZdCESVylmeQhKecH28yIMP60NNRTYOB5DY0zTkX9RqFzHztef+npQA/Xjei8F8Z3Afd
iWYkAljObqJu5A1Dn0C6woyMEJgXxxUYT17dCIWQwX7lBEkucwdZkqV4CkT12aua54HOmrEonFdG
+FlbOHttj7EMrj0cm6VboJaFXq6a21XCZ0I1Ma+IRBngBy0Ed93l4lPPGB/bmf1uuOmiK0S7zShy
p7m787tQbx26hS6kC3DZMZHYBGdwtJI8jNfCNg5zxZ7DOfMidwE277oXKOJExv1l82gX0K5BFlun
Kalz963M2t+3fVuKdycvenCOAx5RrrV1yGcCQaxpohqEhOqXSxVAmXGIRViYKjAEiK+WTfnzWI6d
JgRVKy3FeFGKgUOWF/VFbqVG9SVsfhNPx6py2V1NGdRnmyW6rqH9hQhrmlhAaSViQb3GYNlOHV6f
bpl+U6bLo4btQhEMS9uz7A439Sfu6DL55erLlOF9dohjuBlidtrCPLS8OzkMdN29c/JqqBe6/fNE
t7gzLM1IVPO1//9dVCB1GHUPPsm0rlqxK2GGe3tDgu7dz31JNLGtMiLt524pdjUyLIptfh+9ArAn
8LxV/Qemo7W+7LCmzI4X0gGU4BwGGLd+9aXxc6tv/bS0eZedyQJoUyG9QislDiAWgBJEd493eaMw
ZcDf1EEoDyqHQHUMQf+8Qp/vUA+Bl9giyD/gTY4k7lrpzlqX484Mpai2IIEEqI2Nx/BqScggTkYJ
SbtFh8VXMDyaMvgPWjwcMGoAPMy7YUmc14pEaPNyEvAiQpPRTfhD6N//5BMII3Q3y4ohyTBAAUg7
tR2kQcemUGKbyS837O6gNaW5ilH4lcyHN1ADPSYUQ+rxJ6r56KfjsLaa2FP9+t0r3sVe6czjZDn4
OpBhS98ea3+7M1ZPcypRQKtMGQ9InB5slSGyeM+H8zjjVOJ3zyHoXURhJPkSphMPPrMtPw2gBQCq
7y4oxCO0+/5Sr7lpIzFltGC7mnWNMxFQfBYBOXX4VFa6pVeEjgwQNCEgzmoXn7ZykeDFNPKmJimq
R0tM9/P09XqeVxmRgh/BYfbGwJEdWZG4EHnE8pdQVSss0Ag4M4QXdc2xKl+QNvQpLGsmLFiCelBR
RTPpq2NdC3aY0Aj89/poFGlYJsyz5iYnpo0saTntZxN0vgtaPGlgvXmWjqRENWHy3j6s0LAx4XNj
D4p7C7yumZNYmx0HKISNzkuvj0Rx52LKsEGQH1PS7b6dlc73bZ6ORp+zKDDMFNItBz9Yfwzo0a47
HFBKk+cH8KMDxqITdlZMpAwkLPCqAHVfTCT0wWK6QRp2+jLg+WJZPl0f3+Va1ZShhAZE/yCUuued
YHlpcQ9T8QrnIEj3UDvD1T9emsFAed2WIsfJyMLabVFdePA8wUuwykwczU7ObSzYAE7/Z4rjBpRZ
eTiimxiwn6h1mxMQIIkFDaGbimxTZtEjE2u3eUSndwWoV9TORhUFta47VrUMUvgX42qtI2QPU8uY
J8j6+Z8E776AGPdudUTcNeJRZIah8WmVMSkDBJlovXFZwxREigcna87TbKPWyLbHoWo/ox3Jje2u
Sa4vuiLdyMjCvgLrZB2MYdqa5OBxKHpDya2Jis0C3/91E6ogkVJB227bFHjYZjLLjdywiQty59Yg
ZdEl538XDv99S23KYEInpILvklVp3vRpTta4dUN0rXQJK0AFSlnaT/mh3gScjx4CZr5dH5hi7mRQ
oTnY3eQSDCwXkAph0Qbxs2HUEXSovi4VBUbj1JAWgxuQDIQZb9380qFR7PovV6VNGUlYbeiwci18
vMAjyF2b4uVqTf6PM6WDvJGvO4Yp9gEZS0g9NjXtBENd+1tQNDqE99vyPBdvBtEJ9CiuJ02yJ7R3
5ZPlta5PTCx/U5RBhNtx40vtB5AkRO9VjM7t7nEsoGfJAj8aFyj0aoHeikiVwYUUip1ZUE3wtS5M
6Q4sy2hq1F8n9jyK57I6Xl8tRWKWwYXDzMPAhJJEutHpCQKMd46T/bz+aUVsyoDCtsiBAdsERpBj
WyFJM4DYbZyhqvp63YBq/aXgX+zVqzsHBvzhtfHXZM3K+6mrI1v8rNi36zYUg5DhhEZYsW3tMT+1
5T52I39qjelkNkMM8UFNDa0ysXvAOxfzBlwLFw5MTKj/TDNPqDGfmP9SQFr7+iAU4S4jCUVZ2iBU
5WEaNmbsFuuROMsj7QfNABQ+JNPprdRuuxbq8sD0GmDzsCIr/3v9hytWWGbRawfQIvkgg00nbLnQ
hohH/zcJi3O34u0YTMnXrah+vxTja+MEZjtieobht4u62EO+vf5l1dJKezuUmSimHV/2a6BEyzhb
Xnj4yTd+3fZ5+z89Z+5AFslrTI9jZOi/qk4G2O3Z2H7sZqahqFa5jnSeL0JBGS5tkB+Gx9VOcwAH
6aL5+YoUJ6P3Oqfya4fj22vV/VpD47yVBrRXTDwEtg+uBZJqaH5qfFR1UJVhfGYFpbiAh5gru79v
ejcmo33cpc9EUb90hQU55+ZMwReHaI/DAbTMI3sQVv8dQ9bx0isGLMP6wCkNJoEWv4Hvh3yxWkAl
e8Z2sucgiMZtaCID2sxRz+iiiXyFa8tQv3liXc9AlZeuGXjFg88l06ydIjJl9r28Bj1FSdB6zO3m
gYFiMbDpR8ezjhvUMCA3ml73cFX5JaP61qoPGcvRD242ID1F203o2FHjL2i/cV62TiSb08f+ZiSk
mh7cbdBRSKqqGBnkV/f1BJ16DNC47x92SYQCXGyQxV6TEYwDOviI4iLWdf4zghcLx7KpQZnXD2fb
Bmvh+jf3vq70qcPF8sDvrOrp+kQq4ljG8pUQvs6acEbF130dgnuf3PnE1WQ5lVtLOYIQe8ElEAax
tk9WNkYdmOqwElGfHZYCoC7r9foYVJMl7fe+M61d2aPe84vmV701H1azPOCdLero/OD39YfeID82
cLtqxqXwcRnbN/JldosQtV9W0NGICfR4vwkzW763BtTAI5xqyixmpudrDuQX7bmBjPKZVwE0mbdC
4rRy7i2TZYmxrZ/5impAhH8MdMprBnYxK8DQ/gPeVRy+uVTrCmladB+zE7OsA9DAh+trpBrDvhO+
+zSYXwrbtW0PYEgS+aL5EHoirjfnNJo07ovf161cLssxgt3N35kZ82blLXjkUsuvonA8kdJOqP0b
gLmodYLIz89QXk7MSYNSUI1KqhAqF7rtFXG9tFlGEkHTm3+gbAFxOTVEPEwl5JHnVtd5ezFUMTYp
J9hbhyZrQbx0ch5oOUZucA4CXf+o6uNSybCiIbL1qsBLe4+dwtB86SF4iT4TTbmg8iwpFVgQLYZq
Nn67x5b7YrG/OBs9X1/zi7UUpkWKfr4aBt84Ph0sfbLSl7IODniFPpDh5boBxdTIGB6bUwixLr6X
4ro/wrHiewX9bLwo6TBCqu/v6fOdz0JpO8gzZnlpB6A2ab5yDyrNxvP1H6+YeBm0M+aOvxg5Pl7b
b4IfoLKtyRWKaZfxOW2brS4fEdAzrm9a+wMlBkBuNHJLR1eaqUzsE/ZuYkI/HCAMgN/uv7CH4slP
rW/ocOMCtPc7k6+dTH+8+YA2bd21vsqgFM7YOuBIoYnJ6j939dlwj4YDnU6iedBRZIt/oNR349nK
BW3CYIYED5Z16u3tL7PK45bZKTTKX7th1JhRjUIKZajPOyN0wbAyS/HcQdIi3NHbSxVnfXm67lUX
d1w3kFE4k4DaCqj1vLTF+7C3kU9Gh3PYYHyAcMwfsi0PjqAJ8XSN+ionlkK8pNyf8zzEuhRg5Sl9
8EcXvu6WWDEWGZQzlKO9TivCW4j5E1/Cj6NPHoBpOlZVC/iXc9g1vKJw9tPrc6cIdxmfw3JrMVaC
uatKOxrqN7/7lWe6NK5YexmPY2QzYSVIjFIBnp6Il9B+7Mo7NpAftqltCVaNYDf+zo/B+JNZzM6w
HC29q/oWcHD2hdjoMctCvE7TVSRgjj7TyYsbIo61GezKZ2+LK5KaUbRcNxpPVwSUDNvprZ71w4Qf
Yhfkj11lSQXR27YY0tLEffw85JptXjVgKS8EbOntUuQk9QqKizD08dnhKbvpStcNZKgOxepnS4sN
zF0qH+0VZmw6mEYr1+npqX6+lBDy0hr5EMJAM3e/AmgRtn7x6Lrb4TaHlvb2YfKp58woglZK8MzW
fPK3HlsCaTWzr4h+mZeL9t5azgZquoHiRnXKyX1bATxw/cdfDhiceP/Tl3lhsDUYEf2WGB5dMAOb
m4gaUcZlrwODX55+X8brcJKBx3mACXPE4cft2eM6WODRMCdNRlGNYQ+Pd/HIXIMFZMH6WlAcOPIw
7yPWNGPEi+0D9f2bSjhf1rRcN1P4YsIyNP74K3O6O4NUmhVWDWCfuXcDsDZu4goVn8YB5zXr3XO5
ZR8L3+rAMa3TfLycK3wZpbNtXeNb+8kAG/wZdl7QnxXPzfZa9uKzaYfH6/6kWmypSMeLsNE3BVKS
y2Z6cgJ/OIfb6N7587bdaEIKZ8JWdys2mFj5286UYU1ushIdx7NqnqRoLlmRO00FZ6Lbv+7Ct21Z
03GtnkS3JtybbyqqfRmvs9me64FbwkvLvLi3POtgDBDOGP/ctAoyNKdcHKu1G3wd8mZxX85/+FQc
LNf4ftvnpYo9NJizNSF8afJLFncF/9KCY3ti4vNt39/X5l08iAF6GdANw/fr8mkKttjb+uch0zVz
KMJNxua0uessfoaEveEeOurt+ssMOrC2an7U3k1kY64vg29M3FIstr9ifUO86YuqwIGMOjSmvjck
12fp8r7gyyAcKsiyBBSL7HteExHwB7d2qWMqUM2RFMekEh7uMrHE6FK+hxD1saHGx9YFRqEDGOv6
AFQ2pEDe1olyx6MkdbemeZ4rNFxGDRm7X5sVCFxYlfx83ZBqpqSYnoRjBnyuSTqRt8wOByhVcB1t
v+rbUm1eTb25dQ6yUQYQobdOr+h9fLr+sxWpSMbZTGQu1zXYE91cvpkbu8+c4AAav+MwVPce6qTr
ZhQjkAE101SArxZXyKlvFmfbWEB+YPy8/mnVCKRA7vgW9KTDp2ucxPoGp7A6CYFF4bkZ8VB3ma/Y
c2QQTbeVuQ+tYQ/0Fizpmu4TNrpDV7iaKvtye67ryzia0hmMvi1R/nZdXn/NJ/Z7tXsodmztFONV
v4hpv2RJtpYLZIOc+qEh/qectlkiym45BoVlRv1YDtE6DWVkrGUVe+bCY+aZeUoJvanTxfXlVxSn
9AgTDaYhMOaoNejJLIJzUdGjI3QPpgpXkZ9NpqEwHA6J0TTnD9wN9bKZig/LSCKgOmbHrPFh4buR
0+QRWX9fd8HLD1xYPSmTua5buC7B6pEfw1cn9U5Fkn8R36F4fbBT3PGhM0RjSpHPZGIyig5uEK1h
AYr1hbj2hyns9+WOp0bH4rNvsP8FusFYpES20EqA8BQWyiqLfVy2+s89CZKuHAC1AQtW6WpA46qQ
krJaB+T1mK8wZGItBjS7+pOI1/r1+poo0oKMHVrtoQfLJ74+e2Zk9a+5/YBD6+Thsa99vm5CsRYy
TijLO38JK6x6sY04cdf33gCBQJOlQ6lT9VKZkJIbYyYt532OitmGVJ5RJJbLAIWrz83qfb5tGLvt
d5WQBXnFAAg0km4OfQQa4oFW83mbuhbtM+Vtay3DhbJxHed53x1nt0yImCJcNAXbpNl7LwuDARS0
h/y7ITToac961BIQThyGOLgTj8Mf/xu9B4r3KYzLr+NX9uw+kLedg+h426xJIW+4IOScl4qkfmcc
7Do7jnmR0nVBvSp+XDdxGXCPYUnFC/JvlvsjbKC/3Y7yU3Uw0NfsR1Cg/bi30tNU3A8fix86qbN/
j1AXYl+GDfXNEkDJpsQu1PPm3psciOdw+/cQGG+TWHgSBgG60RleebYs7CKTeJ8GZ2d7cWkRz51Z
HjOTvZoduuCyYMshOGCH0ThO4l6E4whVgsVOVtuFhN/s5Gc/bMYUTE6QhXHm6pPIAnQR9Jnuzn9f
/AuDkZ/JuVXXeQlWeWBs2ans6q+bqUM/qT69p7R3/raCrL6k1b5HLe7b5M1TNDPdVYYi/8qP3+jB
rkKotJA0qL657YPj5NEEUsOFvWwmBVC1OFz3LtUYJAdGy6qZiw1jqDrnXKOPvbF0hx/FEGTB1qxH
Ee9WCEdifdosJJbghQZQ5bOApVzOnQ4fqthAZHzY4PWu3ZQNVgEA1IbXx7r7E8zubSWrzDIHuTG3
XTqsw9z7fzPLOGWDpan2FFMvY8IgD8DtLUDGBbv7Z1RS97SyNWlJNSdyMm8Go8knzIlP2SfTrY/t
UPxwqHOb08igMJw323zYJ4X0/Rc0Vv6uR53Mr+qX75P1LqbAo1QQvvsjJ+Iwrc3zGvK/wtp0mH7V
pEv+bjqOX1omTpvdUn2xhX+/BaZm0hW7tCyuOhh5C9F6bGmLOT1vwxCFBMpgIvvAu0on8KLaDGR6
t3roHTE1uLAYA4jXg8HnfntbTuEBzTHgv/sbQqfQjgytUK9qTFJ1VvHQCiuBgyEA6lAuye8Cv0lW
A6ocOhK//fr3Un7e//9uwcU8oC9/f3pkoVWk6EkFSqqcKgB9tzUiJfviTdsAWqKqfFynTafgdpmh
FluotKn61CiHpYCfZV+c1/wnO4tj9QjSmI/h45xk0fwCtcfT9RSrmENXKqXtENhAfz9xVJaTjpYR
teVLWAM0MX2+zYC0SC7wc+DTgIEmn7O7BTJiEQhwjQSaXEPct+OocXDVpMlwHINXowE1LtyWER9o
HDsfkmkOn4OWZWeHFF9bYb6KanHiuuJopCoDL54LZ4iWZlhPgtQBhs6zeJ7yRVPzKbxH5uhaZlCN
bsCGAMrnxx2AaWgvP45G+xF8+7/D2fzjo5fCE+hOuj7Vl2mNXF/m63JWY5gWA1dhQIYD9DJMoOiy
audACki2Z1MbRDVak6NsnhkY2ubwsct7/1DkC8Rp7bWI16Au3q7/FoVfyVxeQWixaskhv2v20/Lg
G3YxnvN83r5PzepDjLUQukZxxU4uC3HOLc3GeRsQLHawfXAWr3ggfcPuWjypH9HZ+JMBNPWZeWgB
vT40lUFpF8h9zyoqAwbDrnbG2AXO9uSD/uCxRun53JDMfvIAeTwXC+9bzaZ2Gejo+v8IQN9lImgy
uyHt93oF7v0E2aE2Gc21TLnf2kePVTjVLdMLqUKSsJDXkc8KJxFuW2p8WbH1yfCauuwKo5lClN1u
92YyF4h69lwI8vX6nKpcV0bX4DG/teiCWGHDeY3JHTYlHjeQap6L5+Xg4Ryho+ZVRKXMlLPMWdf9
D2dX0hwprwR/ERHsgitL091exh4vM54LMSuLAIHY+fUvmZNHX6v1wuHwpQ8SWqpUKmVl2vsLkJ1k
xz6hya7tri4HlqXJRKhNBmoPAADxzuc71Vs+aLdm8ToVQ7iZI+JY8zQ5WdBb5bnRi8/UAaLYBctd
VZFE11nU8doCRBtL2jVhOc8v1WQrPL3sdBahOp0zLYbh4qKOQrs0gWAS5KhRV3zyVhPncsnWYDNS
JCSNFJzobu2CzTS98Zo3wgA/9v2lCAwbaGxXn6zQKMr2j2Lp91PtwiErMtlNGnI2vo1Qs4u3gxFV
B6Tx23iI7YN5rEKqcEgyq917f2dAE+XERXGri8rZOXFZH/SA8ZtNUjt9VDfWjVNpqpNIEsZZwplK
DGdsoDqH2DmaIjtsohyCGD+0cAohZJCFejAf6/RjVwCRyQ6QXXNYFkS7hbntyHDQ/tqKcUiGIVLX
MdoTlvl7FDLg0BjKeQj1pvt1fdVl/mRfpnfL0S/F1Dg2GtdJ0QZ1s90OTvkjM5TC3PtkX9hVIojV
8jOIGP7t4JwmIBRPilty5mGDP5V4l2RLiQx14wb+sXHax9C/agaoKukGrYc/PclPyA9Hw/p4fa5k
C7HP4bu5qhwKKucRFybds/17e6j1O02n5sd2kLn3+q71cui5a2rYQf3ynfcE5VG/P/bZwm1mtpyu
3/ZMTdqhahQ8caoDWDYfgimT0vFBdoicUzbbv1JIxwdWWSnYAi7uS0cXY7Ycz5Tc3ADq7ik59inK
rKz289hA5/r6pMjaJ//O9gTAWr4UOqofC2DER9N6staFh5OlwsFenBwMYA/I3i2n6ZDa6Sqg4E2g
bwYXGdL07fqnX9zuaFnYhk5rreU6oNZinOgXt2J2OJj0N10GwLv4z6Y0Hmxne77e1+XnCnQm7Eoo
nJazvVgoGnB0N+ms1YrIPFrxUnVlDMlgelqtxUZRBGHhWDTf57rNDt7qu5/IXPIoS40sWBq6fSQd
gs8R9nIx6PZs7YXRpZU9sdQBFa6vev+VbQlhOxdOaTWEY0twF2/kfFlv5q38PCBneX0uZTtCOI6g
0Z451oay5H7Snt16eiCdqmxE1rRwudvMrTInBh1AUMSnIJu3tO8z72fFhttt4j8u3AH45t+tPC0N
0arG2VUG69vRae76nj1CSOcG/OcPZNNVhOeSUYiFFVYxAfzAsNc2z0uf9aXSn1ILJbXXp//iTQij
ECw+LwxLKyyMYjT7+2akZ5PwNzdPn6lOlXXIF087dCJYvatl3sq6FkOYZufZLfrqE906UKxMzhIh
GCkDqM73oUlHOAWiDdDp0voj93PteH2UsjkUncPIB6DO8AGO4b/1xRzZ/fb6sab3Lt95tIxCScMf
0HTZ63HXLGdmZB9588G0CWZt10jy0xxN+x5I+KYk737o7vfrny0xa5ErddEpdyej9g/AYbsBCFqL
05Qv22euuyqYr6wLwbIJZ6SZHXx+ukLtB9pWn3U9fTJSX/G6I2tfMG+d5JblggIYirT2iz0bbxuF
xAxXveVI9ox457N4buY6YhuQGDjfm0z/vnZDfH3yJa5DvORlwEKaE8eXp20VarkOwfTaejLb7GaF
QjeoPf9c70cyQ+Jlb7CbOlsRNcEB9m0bUjf1mpA0jouYoW3p4XovuxVfcIT/ublVaYqaH04Oehe6
GZ9u3Dr9wmatiLdNResqG8n++zsr0zW/hr5TRw4Tqjgs8Nedp7LQwqpmKmCGbLkFO27mEpqBNeZq
9qZgs+o1GAdQ4V6fIlnjgiUzG4RIWoPGLTIg8vZeJ01XkShKAp+/NaDvpqbKydSuJrj2y7oaA+Bs
kqysp6Cr8xhqxMfcZnf9iMW4PhLZYgtGvQ2Nt4AYFIIiWQet5kqPbB1kzivCuWpVPQfIVluw7L7n
i83sXQrHsgM3LwKo4WYAy39oCGItBWiQQDVKoCCyrJkF6VVE6ABuZ8GY5VUIIj7VJU+yMGINhbtm
5sjASXjIOYkqvDqb7ho183yTIqceOFUVsmxQhWmSdRFrKmyzoMMEOBOE8HiEgiCQ0+uoO/LQQ2gO
qnT55USfo4tcp5ozbxq4ZKC+Uh/X8lyvj21hBLp1GJG28D5XZUS1l8L8EM4X3Qlmr6UNJV23QSKn
ng+L0eDF3lvjDWzHkC6O5zXPo+t7QrLjROpTOnel48yYvqaxPrX1Bu2aKXRI/vN68xL7F6snFsJa
mCCmrWncJeh8vj4WbqNSqZF9vBCik9FsHNZjQ+dNeqMV+jPP+B/GPsgDoQsmb7plgbLYHB+PC8CW
WVCgYMnsDKfZ7hX3Wtn8CAa/uEY3AqkPjipIMO2IiTKY8XR/ffIvTo/ti9UTrTvrICOCHdZTfZ50
8rvN2pPmsi8fa343/3f+1+4rnXm7s0KlIfCSdswH0JxriuvRRSeCjxfic1J6udlSqI7UKcXRRJHm
zPMXgiQouEru0rX7gtKQ5PpILq4C+tp9y7uRzLpnLAMUKQ8rGUAsPv0GNvrz9aZla7D//q7prkV5
J9dwFfNr57UCP0Cgty1g3Wv/+rEO9jG962BwPJSFc3z7Muk3a+NPgVXVCdeZ6hJzMWbD5AhHuKfZ
bm96GAEfIPhprxW924DvQTp8XeKtzsZABwGHoqpUthKCRfcE6XhiYNWnog196t3zQlOYmmwcojXz
rlhTauAATzPAjvrQN79X/Q+vS6xKJaH+N8D8T0iIyRLsucmIP3BzhfhSuK4xLUKIgC3hNgR7UewU
N9lBB1IRz+1F5EPDWGErklkTCyomYK5aDaDLQ0cpqvk6NyhZwT7YuGDmbAUsrfcM5CkWP+Wx7jVL
B2BUX6g22MUT3PZFCB6cKWNuhR3sZHGvr7FmegcfFG0WG+MP2YjIymXXQ+NnhYfkG4TZGrMKR60K
9NJXxFWSnSWC7aC3nZrWiOaLPVazi+ZIa+c0eusTSJpj7YMlFf5/MHZjb82Ti4mycj2czfU7GBm/
fmiGvH1o77zIqBcgTK2RjMrs8fvEtCVobf1U+cpgXcL94ItlLdtGtb43dVxaU/cn9MPhSbJ4YPXz
mIE+qK9D6kPLpiySNP8YTNgXq1zYUrvzOqFL352cg9Ut9nnJ7SnIMldFA3n51dIXq1xaqJJBuBw5
Ks+qD51bnfNxizx0G9RZFdi12wfl1ETc8L5fXyiZqQve2J9su+kA1zh06dep/r06H4o4bV8Upe/S
hg1QbgEtn3kec4Dnu8cCflg3X1flBURyGIossxrryg6BIM7ZsYOy5/a65flzZcwfK6UFBd6/u7gB
HSofRuT0yLbVge+VTwCQvDVjl3xo8sWSl5m3Fq8sWAlf/ZeyGl4tm30sThDLXIoUXrWr9qQqKlx7
yk90uvHK/nD9wyUuViSNBcBlGFoTrdeGHeRr/zVDvaNl+EdA9hVzI1lbscwl0zu8grVYW6SeXwmv
P1NenQ3Q/Fwfgaz5/fd3DsqvF0Q0BbZn33+2UYhdDjhTJ1UyWNa6EERZfAIzbIGPh6Dai9bSUN9w
G2rN6PrHy6ZfMFoUpWUekCmgVHXWJpis7oZZ7htd5y9aoRKCljgGsbxjpuBXN/7ms6HtAp6t4gtD
2uX690ticbGww6NOZ+KpBanelBXBhHaz1Lkxl+nPWENNxKlbAKZQnX29N9liCFacpayq8Ey8P2gB
g8WWNNlY85kNSn4/CarFFys8coelmrHTg5p3u6KhHe8S4NbdrpqOZLNSalyyJGKVR6G7KBO18TrF
nDdQjw94Wbw+QxJQnS8qzNuebSxICGBBTlvUo+r+loWg7PpsB0aYBroZ8jA7VKqCBdk49m39zvbI
MBQEJM3I2sLwtJZHXsZjxUh2E7gQMIvlHYAyjCP0jt4vhRehHub/VX3fo/xL/QibaqtBEzG68B90
+FVr1Tc8h900Nn/0cvduJMUvd4MEHEvzkJYtkCDU/Vj0LCLNiyFbAN+D6Yxp/wi85bfep4q5kyyL
CDMv3azdmAenXpa389ZHHrJEilXZZ+XCbIkw89WatWVYMVtZYbKYFOO9kTt/NNLfGfWCEhxby4Nu
nn4sZfswp+3pereSOFpkJC291XK7/SrLtinU9J+M/hiGH+MMcN2suF9KfIuIQu/1Jjf6/TLbl+OX
krYgqxyLmFjNy/UhyMJcZ1+sd7aysW4ZOfOx3nZthnVtfqnc4l5fjVtW5Heug1Th5gIsYrXBlquw
9Zezk7bvCAeMnpNqA6A2O20+in36RIudO/9xjXj4YW8mQtUbUJDNHkMfg3/n9z2YjRWhz9+E/aXd
JtzMKaVs4L3nJloTeMmuLpreliSAaF3UxOuxmRVuU2Ywgg9obQ80Dyu1E8s7ORhB7qkyhZdxEbYv
8pTOQDdUKVC7yfZpPe+6mGOSRyQ2Pw0o42SRWrlUMgaxjDbz3XkGVNdNWudzo30tVZAB2ZEiFs/W
k10aQKemifFpiMCrtUuiFi/prR2hvtIAPq46ZxFR1flIUI++WGJVbkY9pDQlifO0HaaTdeNl5+2H
dj/izTc0ozLOnqCRmLuhUrJQNnO7S3hnmXgWKiGM3BGIfq7x9FA/5tFPO1iwPmZEP803qmSMJNgT
q7AMqypY404kSWkelGMMXQAUWN8uyoFIjkyRfbSeh7ThOfYa8GyfyKFLKCCM9tMUYxyHNGRHhSuT
9WP+O2HQf0rdNpur03zOH2CVNzRkt06s7/OFfnxFPxKXLJY6GIDRMcDh3cQ0zpDK6suXelQw18iW
XDD4CfS5a20WQ1K2TdjOSLmp0HmSulHc8P+dnK2endpsNidprLA91fBZmvvYH6xzfqMfrTfryQv/
VDFAjUeVJrrMx4gYOMunbISWlQvl3ezzrrxbJ+ltf1hC++DAz4/H7eH6ykvOYbFeYYVyhgPUN0Lj
/MUq7QCprUirINXkfCejqsZSOhwhqjSz2QIDLUPVwd8YFpmmNCJh87qrSudxGmsPH4OW+yJCDhpG
Pl1WniYtnwOu0zDffnbazhP2xqaDhoxj9vv6zMncmoiPw5tqWSDN7CfgkuK4KoFxMayi7Oy+uYDT
frUejbA8Zl9BgWArTk+J+YgQOOL5m9k5epoUKA+y3Ze5fuxH1eOq7FSwBB/ASlJBJBRTl37zXgpk
tM5WtB3BWNiAUeecPewsj1mkcp3S6RMigWowug7Crj5cG9D3xWv+vEVG0EECPuh+gka6P3Eojjeh
CqYtudiKMG2ry+axHzw/MaAQxXDg8Ll+BhjiDiI7AaDb93seWrE1JAslwubcoUaVol2kkBzXQw3n
63ZchiBnx+bofbLi+oksiQHqREU+RhZVifC5apnHaVgwtu4PP0EWPLLfjKQ7sUMZa8oVk3hYEUVn
FF7X5g1NE16Wz2NZfDF71VuKbL4E/wDtJGRXR2w91/ZPjGhP8D1h6qs4b2XN77+/Cwf8rqEzGN+Q
XEDp21qdUFcb2Vzx1iRrfJ+u941vFPqxtEmTqkhv5vK3Z5sPPVRFr2+lv1T7FwJmER/XM56WbWug
eePLwA/a9tOooL29LIG9FUg/32rZ92I9900GdRUe9Ew/oxrqtGxVqFeJxx58o0BYd1y18lC3n9j0
pEPWafTPNiRV9Ywf+/pbMcyBQeMM2sCuWQVLZiWDNcVtF5sriBF4uKXn1HyZtG85zoRtevG3rx27
r1sjbCvU7+c/LGM6tMbvWY98NsfXhy4JrkT03sCLeRvHlp3o/G2r9GCcnjPXi9n453r7soUTHJCe
G8vacxipXp2H8pOXnpn1/XrTfw390qoJ0cgAhrt2W1xE2GBbL7toHe47L/J6AHD6Q1EtSPl+YVpz
X9RA1kKczDqSdAl6/DjeV9snu61iCOsGEznp7DQbzxo72XBZ1L935tOQkQCtdf7b9a+VTLQIAvS7
dSWza/lJ23wqoJSqs5ci/z4TVZGGrP3dI7+zENCA9pqFjHGCrRhgQ5muc+KQnav16PoAZEk+EQNY
aWWjURM3jD5uTxAWu2GhezI/7VeZ8rG8U2lzSQrLfBEFaGdpWvpriWVduzBDkrLsfrLlVMwwHP/O
qR6t9tXIzzT9kpvQULwtQXtkJT2UHYCgz7ynWRVIS3zx3zP83ZRuzjIUq517yTAczfWBbooIQxap
/f39XcOMED7wpvASMHiHa2xE7dMuq2BjLq2wPuSx9nx9zWQjENIY2HRArORDdkQVSaBXZbioaIRl
LQtxTKUTF4JJPYhQNCjldc+akopOlnv5+/u72XE8LXU0C7zsRVk9ek4T5nVdBqnpPPpbnfj9EHFe
vg2ZExGknsJ8bvLw+nRJt7jgURZIbHPDxqjgJ/Rz84wqvSiLi5D18U7yos79SKxVRA4iQVO7rGVj
Mti406IybGu20DKN2Ml9RSmHbDAiatAcNV/3avTRFIEe07h84j+85z4ywfEd0mi+sT9UeWH7ImSw
qzSvtwo7O+b1t9S5tfsvivXY5/2ChxdBgnqZ17Ndt/2xMnM/WlzzwfSLs6NlX8vJtYI615OhKEKo
pYeNVymORNkGFLGCuqG3tBoxHP1sAm9Cv9Uh3sZO9u167BTxjGz9d7N6t8cJXyxn7NFFgfrTbutD
aOlG3faaElORmJX1IJj+MEITEARV/bExWR63LY8Xw3odbcIj6qnQdpLXel3wAuvS6ikH29qx9X4Y
2bkcnm3HCEpU13k+in1B6Wz2f67vBdl4hEDCLI3FsAd01TdG3GYPtW+HqbngzfJwvQOpvQjGb9mD
WTbWOibAO9Z52JzMuEuKxEGEANW2k4mkY6qS0rwcFnkikhCFKlvW+xVP8gX1z+RxP+JUB/XlmfJE
AuYMsIy2L+sR79HmMZvbT5w3X127zQJS2YMqZL5omZ6IJqw2yNUv+TaCnBIbak3mFAAg4+H6UshG
sP/+zjp0MDiN+gDPVWpevPnd0aTf+vFmbj2Ficumf//9XQd4emvM1McUVSsCRT1qxi0gs65IwF0+
Gz2Rezmlk946M1oHcdFh6JO2MhR3UNl3C0Y905JopEbL/a7/8azZc7ROqWJSJBdcT1RIL23mcto1
WFPkWpCCy6E8ATO2gy1mUXZQXaQv5wjAkPHv5DeeOzVrg9WFcnCbArm3kgObnKNeaYdp/rSAsPVj
20gwaOiW1D21MFuLboRedVNokCo1gbhLveh6D5cTe95/cIKdM/Spv3RJS04QGD/C4Ib6KU/7qDcU
txzJkouy6NaC8hRurR0MjYWWduN7VaSpXookSyGi1LxSq6zM1vH9MOaA94DBVSlPSD3QgLTdYdSr
Iao6Q7HDJHYtQtaYU9rDUjB6YhUoP3kZtHViG0MILsDr6yGJrD0RobbVadc6jdHhjrJEJSQhkBRK
f5Hwrb+14vZlf0BQmKLkuPBEpFpFLVCTz06XNOBtj0B+82360UXtK0Re34awSVTPBrJJE2ze7Gpi
MRTkJNQ4L90UjMXDOlWxizueYtJ2w/tvlOWJSLUF5ZFD1sMg8ZB3qOPpWDnnPkLAm1RJqaKvke1j
wepJD6b1crf6ztAjpxsCTUc5uJKqVta8YOtr6VdtPpEpWdgb3tqBVfuy2L1qW+3xzIUZEnFquavl
nr62+Ph4jPW4OqSR9dlI7EN98CPVqScZgohYq8wt7cbcMhJWG7EFNHMzZ/BVqhNbcq/2RMza6HKL
ZD0GUbwuETnVflSd8NoVQm21DRDlQAX7yNdoCb3AwisxVRGnSpykCGTLezLmLMexYlH4RXD+7sop
Kw+Gwg5LqikCEpk9irTNPslXss4Y3v4caURlhIQAxNzDMdppb7Q3iLJetxfZePZj/13w0Ay2lXsT
HsHG5mZ12YHjcZeQW54/Lh5V2aRsMwhWr9mOXXIbwcMczvFyW8dZvM54OIp1LcAD1U/kCaIqP/qp
ImaRnAQi2m2rNF711dgnZfqz8Md4XcrQcIsYPAvBmK/RqExDX74zeCL2TedLXkPw1MAz1XDqk+E4
H/IjPYyKgcgmTnAEPXPago9aeSq9F5MdzOKFqU4XyRyJKDeQcrrG6uG0nEtbCzVrfMypMQTELRrU
mW+QKJyA7fHbLL6+0SRDEeFuYLwZUJZqdkjp4dL+mWVm2G0qSdF9t15waSLijTm018YWcQXEHe+3
ob9Hbb3iu2WBpCh97nPPW5G37hInmCJycL7k0YBda4TGXZtYp+uzIxvAPmvvzHDga1Nai4XZGSCF
av9cC0Ph7mXzLhi431ogiaN2l0ygsbLHR03XI4KU7ce+W7DsdfInkG27XVLOPEvgsubYnPzD9cZl
AZBYOoErn8udGd+OIokpGk5QM4+nNLTBih05f8xAv9GiwVZMlMQTivUTub7oW0bQme76p9S7Jes3
c3kAvDGguaLkToIL8EQCW821emrwFPsUr3w7sqV5Og1fOiOifrCh8geFnJH/bJ2AsFfC3iVbS8QY
jp2WN26FcWnZrvHUk+PoeAquAdk59R+UoQdC4azWuiQtn7yEHLbjWEa5fbB/6reoAwrVz/SSfSyC
DknB2Ggy9GSTPrJMFEBTFO33ioHIJkm4pPuNRcaSky4xszyYzdvGVD3HSV6tPRFU6C167VXASCfg
OPW+YdmjPqRnCrXjOZhC4IsC9rSgGvmoygfIPJaIMlyY7jbaisGkdxsLoAZ0pqEdZDXy8TTCC6Dq
WN9PoQteV8QVzq7RE49kPDG0NOi69DCwITRWFvT9MU9/N9mXDnCKCo+H1/2BKetwj2jfeUnI1c2F
jUdlmM8Udfdu2CXuELEz5APssDiT2H+kD/Bt9ldcyYpoRFz+0ahZpMmdWlpvnQ3TLU/GwYqMo/2m
n5awP1Xn8WZTvKtJN4tw4JtpaUItHFPqIMV5WOM8zIdQi6ewdINsCiDXF3PQKkYqMhIJhANPav9O
KfFXx2jTvUOcbnuCuDVj97TxsIJDcg/r0SzDTg82lTaPxNBEhOIIuhuPrphGG6VW49CHbfHRpnfH
/m53zD5Q2r2R82SyWeRq5AS8jeJ4ljgfEY9I7YU1C8VXM2KdTCu746l77Ib6+frGlhw9oiB6YWlg
j+D48sXPjnb/kg9F7GnhCjospdCcJN4TgYea7ptlCy6PhOpTsCzN0c1psLFfZfdSTOvNACnW64OR
VLl6IgLRcgmHfkWJa4oZDhFeMyAOFtI4jeDkfmqPRhu6gOpUcfWiAupIsgoi9XIHAtWtsEz3oM0+
QJUH173J5zLwQG9/fUyy9Rfu+z6EWPiqoQO8DwQF/akNfYBaZIVfk9mEYPTGWhZZw0G7O7MqYFpi
rb3iuyWLLuIQdQLphJK6YL2d6adlqN+WDbRGC/Pogdjj+EBQRH/sTb597L4ighDrvOncFMcPcCPV
/VbRk7c0j2MJDdbr6yAxFBF72BWkyZm57gTFbRuAFvllqrU6AEvyqcqzPOq0D2ovi4x8I5+6lVrE
RZ1xF+J+1xYqbINkL4l4Q1IZnHuat5P0E+9QLA3IRdO+OTbEVXHfSDaUiDM0ynFOSZ66h3LgbdAN
2mlNs4+lcEVEoecYleMsyHz4jpverAvJbz2zrQ7FOKnE4STmLMIKXWYag0GxyijHoI/lMoxRny3a
/VpP7YlTd/l8fTfJpkmwatDHVWMBZq+dY2/7SfrFOE/LkiluL7J1Fqy6d0luZO4GFR8LQIUFbBUh
t/UHavoqonvJ94uYwSHNPW/aME9ZkQbbxqdA143f1+dGEkSC/vbf03Toc+KnNXhSSwvCNwi1QhRk
B14W7beUj2IHiIgeMWqNjBm4GQ/pmNtxWiz0lDoOWCPIbAUoM1K96kvewcnfG8y76KD1LOrVJhie
p4N1ANuMccwSPYt3XHybKIvhJPEU+Tud77rJ9XFi05iDcptov20H0tpgfn2uLJodpt42In+BFGST
kjFwyTjHxbBU4TpvXuBZhMdj5UwHv1r4Eap2yvKTy2EzETEo7UaZT3roSZUs+4lnvCcw1/xmvP1K
y/nVJ9DyMFHHsUy/+lVFC3H54CF/C6DeTUM2alm5FJgGoymSpmpOLMOzQtO+YVM95331oGVdrNip
lw8FIsJP8paCRkXbh+dVP0yNQMpI85Oqaw5VVQRpQ27XMvsKZvsIIlRRoS/HEtiUca7voaF5m47D
rbboeeA0yHxd/6TLDoyIYBWX2xSpRtiOPaYR/s9450waewkrLX293sVl2yciSmVBYm5a4AtBAMbu
NrtM9FJVqy25hBARqOLUSGiXO0XyaC3g4KNFlK/dHeq7yqAmfxzaRaU2HnhfRynVPy90OBvGEvNs
++J6VdhozblcuAr4s19E/nvJJCJ+JfM6h+s9A4c+Qu4GAmh6CzESF1RIJaCqPJ/irMwQyfbrUdvS
Yzban3N7+L4W3rng3e8MGnmGAfh2amfQ/yyOLl0VwdVlB09Ecixm07btM5yEpr3drV7z4lvdJ1os
X6+vsGwTWf864JQ3UHrNuHuonOW7bhhjYHp5DAplTPvqK6A7sjGY/3ZC6rUCSSdo3D3WHdfeP1ZT
+tUdJoVtynapcMJqFqhT6w3NLwYoHavMeoPOgcICJNlBImqL9xWOJ9uCugLnM4V+oE9DQ6M/NI/f
zDngnDV/NIvltFUgEPfmh4yXBy+rQnM148ZnipTe5e3pitgXzbTrvh8wQlamv8wau23pZysmvUPC
wQKJjOZVTqA1VRVoWabYGpc9niuCYjYzs1jmYOdpK7jzbGZ86UwP9elWYz1OXU8ik48qAsjL29AV
sTHQqprHgqEv1MNmkCIBMjnlr1vTnjyXfMiSXJFhi+aGzwt3F+fQtQgk1SjyGdqktA3lEbgbzX+9
iOvv+//deWSM+ur7HD3gHRVvkSW4daH28GBPzn1F9QQqcicna+98a/7q5gwkBt0J9W1xY/Q/rluz
bMl2C3n3AVB2bWyXtJjGavneLHkOpdBmDaxFMyLmd3fZMH/oDuaKjFx4+aD2aOPo5b5+JnyKGm36
6nbVy/WBXDZpV8TVbKRatHHBabtBVyIo02kOB5Ifrjd+2R25Ippm8RqvrvdIJfO3e8cmJ1CT1EFt
qaiDZdYqxOQM2i60Qf3lIS27T5bX3kwLCQHqBya2DVmtBZmxoDKzTa4PRxJ0uiKkpm862/BajEdf
UEvug/6Je4G+3czjXTafx8EOyvJcLL+4rpLzkpiriLCZi2rsam3XC9HH276iB4AzQzMrzhVoFhWj
kvWx7/F3exlUQCCrrzGq6TCcDAfSL2Zo44KQRzSElE2PYC+iEQq/MsWWluw5EWpDaTm6OPYBS3Gy
h37MbywQ9ioGs590FzyDCLLJNVaC2QHBDjEht4Q6i45UkbuW3y29+wRk12kshoPt5vE208/+tNxl
vqWIbWTDEnwCZLxGzc5hqV6+vtjl/Isb5EkxrMsxv+vtjvDdGk2GY7DBxLDAz/R1QaonLw3EDSRy
2faUmxaqDwcE/lQ7F/bycL1T2b4QggkThN/uYKFPI+tD5lcn3+5jhtLQlbWKnSBxECJHlGGUE9F3
nUAHBUiVWdzTrTyiqvLt+ghkzQv+gXcOVB52jehOM1/8pk30rYk7W0WKLmleRN4Qa9DSdgLbWKY9
TOxrw8cQKYLo+rdLZl9E3OSg9E9Bz+oc3HVEgrcIOP9kO0M4aK/XO5AEXK6IuTG4nrNqAKM1j4yD
G1bIKv7yw13zp4yRTB6nAxIdqkJ22XD2399vYGJNWbZRPLh7bhFsnPePQHOmAa9cM8EzreoVy7ts
/yLSxqsanzrGgkHpQEC1hhOiv9eFj1EGmr6lcktIOjEVGaDE5EWtcMsb663UDXKo6DdvS0pPD64v
jiS+EJXCTTMHmLbF2swLiBH0PHGmn8PoBeP8hw2/r/ch276CfadjRoeGYUmK0i4PDumbgOpeFxWs
2E4f60K4MOwS5OWQoQud/+i8W979nIvD9aZlG0qw7bVxNQ9q0ZDt7VsnZCv92o8tCuS8sUKSYFKR
qUn2k4ir0TUvbzRnwuE4bDgYUxNQBTYi3aOV+gFlk27ASO8F1FRy4UqWXkTW2OO8DDNFopG3+hz7
JVA8c/63CJs3gbMV660JEKHivJTMooi0gQVSLV3xEmJTu71xF/2bnupt2EwlvfFXpscfWiwRdJNm
RWeA4nJ/uDCCuUFB9Hrk46mdf1xvXxaZ/YdZqgBlGTRcEGl2tp1wA8Bzxv3PNTRooqHkaeCwrD9O
vAJAed3B+42RB4RWteIgk82jcPa3rT01WQ7m/hxXDUr/gDgQ2jfIAw4uVxTNSMxV5DU1rK1ruxVd
2Nt6UzvNozYXYLGqFeeNrHnBG3g0p7RnaB6h2XkrqtuNlT98M1PEzrIJEjwBqbptdlI0z50yWEvr
xLYv0zDCof26vgVk3y/4g3bbJq91wVZXoQi++LkMEFFQJAUkTYuQG6vM262CEM4hp+uTZy/3luWf
rI5+vv7lEtQNaKH+PRtpbw26odUEBG/DicbFN3MOd2yoEQJ+DrZtPXDj611JzisRdTOVjM0ggCeH
lLeg+NDSL6RZFSssm6V95d+d8JYLcaohxSgqdwB4noX+9GnzHcX2lDxguCLuhs16DjF4fPpygJZc
lB8geO6//I+979iuHMey/ZVaOWc2CYKuV1cNaK6RCSkkhZ1gKRwIGhB0AMmvf/tG1+tSsoJivxi/
HORKpXSJCwI4OGafvYOjzOSx/GL/FomMv8baQOhIDgra9gen6b6ocP4SWHtMh5vLvPLhOwjgWiXF
s5dH8R79tQd2puKosgUsIeS6/bLHQr5xgay5u3x3pmZyMA4tH1vz0AElCxbHJIii2ENS7fd20uo8
E+1Bek9fXpR3Yv7ZzF9/77mrY2yoCERoYZltjditBJ2AaD++/uitBfg3cMzUNLgd8J0RnudP3Vke
wvvpoRwT+cYDlAr60TsneiMvsUbFhF7jtsiyYa9WfQLFzyRs65h7dUqirEcFxbLvqNvtnIytwS7b
4MW5U1XLxWhhMO43WRvWWUei63EoE+MuBxuIscWbT46310C2UU7w1+CZGuA3gusWpfRx/jw+Q1jQ
/SJlFMshCnClkpsuMFlL/BQ48Ss3z6+CefkoVX8OW/+2raadk7q5mhc79GLevIPUVbDAAURHWICe
sEtNk6VfARn535U0Nwe6GNMXA1ULuAVmiYEufTtOekmM8HdD7MfARZ74YY+IacM2r3E2jotGKq0w
zEQFMIsfyB7aaWuDrG52aEa1lR2OcL7U9MiqDoTJY1IFVptpPoL3Yy6a2A5RjJgK3f2eeVjzfEnK
NRsauM3zVN3zojksbHcDXr73L1I8dGUiKlfVsnMwn/kIToVr5xRk5Y1JOXhQ99GQG/7KGmozGOmO
6HKAFx4OnzmzwG4cPWvXKSADM+7Yug1olb/G15ACOpRNfSk5cQI2xBJ3pl+DgbOHtdDTiXqw2A1J
+OIngDTEpgYpk9X078xMUteps8WL3rNouBHLLrx14+WuITljEPJw8ifU50L5HuQv/bGOMJoj6g5D
o35IGs8G8wWoZcBR9jQQ7+vitjQFKHb5PSdljdXhoKCKeIGDQKDZd3K5ytPGtO1OSLoR0K3xOrKn
vQX0HzL3nZcKFENnhNV19eDI916QARQav37bbNzCa9BOvXRFEEicAFZb3y3NIIoloRnmgwCmcpJR
m++vj7Phdq0BPE5ROIwDBnaQ0+CBUgUEjlQFIOqIpmXnMG8NsTIgbTD0I19Q7KgcL+WC33eDxIK3
O7HT1uNXrkQk68ozHrL4HrHuWjGe6yFMjHYfXn9BWyd5ZS4giWOmNoJyb1SaM7egXLo0yKS1b/t2
T7dtY4g1cke7XjksAjNQAIbEw0iTRhWHvAoPUxDuqdZumPE1xRfIAIHNNxiElPqMshfkJK3pqejd
eERbbL6USLIEX5jIs9ff28ZBWbN9LR4nC2Wo1Gvdi9Qews8Lv4hm+qgstyVF4R6Fvbkz4+H18bbm
d3m5L67ZwMl97vmXa6piRawZPQyj0wAVOL/hgYc+oxmqN+YjdKB2wjpy2WC/uEjIZUO+GLGCeinn
FFVESJZlXS/eWL2IraD7wXR1W3XlyRTTvdUNV4vrpG5UPwHElrS5feJ2/1mM3Y0XQcK8JJngzpsR
C90F1ZloyIC8/ka2PI+1LPQye32T9zh40v5BPQ24xkG1Z4+BlfcDB/uDX8eV+hqZA2lPYRXtOJRb
u9n962sRbYduMoKFr53gjSrYTajA/pdXaNWo9tTpNqe2simz8O2yX5Dl6sV5SMOrAvl/BHVtOrZv
L3Q24rBHCLmB4fJ/Lv+LZTZNn/vROGOZQQD/+bOfOCdxdN+CdAjSPGig2IMtbzhwP9scXowzy9zy
7RzjeMWchmT5zIjca5DdsJFrhi4vNMKfW7wu1pPUmyFa65XTOxC5Pb6+1TbWfK3V2XlWXkFyGXnA
pejf+jadoCMW0RMrbH5sa4EW3NcH2srUrZm6chKiIwKKCJeaTH0cHCiBQje1kd5V6Y1+UnDxxFwA
p9mkU1fYCchI9o7Txnn/GdG8WKC+sSo6MSQ7FZTMHvVCvtgCKc4oFG3aWfLJBXLmPDUqB6Gdh5Yu
X4MCQFV7JKi/XkNvjS0BDrAuxg5+jQ/OyaV1nmYvSoO63YOpbZ2pNcYTPVXAegH/dbCuQbCL5o9L
B6v79tKJ1iXW7j7fMNRrjKfPG80nib1oHGRzxxzd/5ORMberb7UXDbGj0REl7AcOLMHrm2bjZP2c
8IuF0wrx5dBiYnPjf86dR634Hunp1mRWdsjr5Di7AplpjaJQy+zDVFoHJwBnn6vOI3OOwldZO8id
JO7WcCtfB6C6unJqzKSpydNMPOfUWeGYFM3snHK7Lo81Ve2JLgbYXLUrm/kTp/mLm26N34SCN+mh
iwQPbuoPYxteVzlLo44+zF354HjiUYCePhTsiozhu9fXbKu8uMZxVkMe1j2osA5akTMwJUcvzz8J
Vn5sTXTFVH0YfHN2SnO05ZzUpXfTF91hAJtaA+b5natsw4dZIzdxwUQlQMgoyU+kji1UcHgdZGHO
rnq7eUAMeVS633Enfn28/TWE05DS1bbGfEk7xLS1jn7HktzqdvIdW1NZuUcDdSQTA2LFAsafdzOK
HLZMdN2mrQSbwOxWBxMFO1CGrTvz32CaAVOKdQh/9YGfZNr6IJtrEh33LTgYLvkVGlxVR+fbzl65
+OK/2J9r7KWfu4YMEM051N5YXwlFgEzrdTLnIvPYmAadm4yBfo96za2ogr1u5634ey1YCkqhpS0r
vFNIYCdaWzdA/SVMgSm6kteKCdD/QF5KhxmdnVRDJ1k7+m3YLW/9OkhK3R8jEz1p1757/TVshIxr
xrKlKEQLFBlyDrM8a5EOMj/r5geNSAwmrtfH2DCla5nTCDd9YC4nYqyLG9u3ThRF5tcfvXUAVoGW
p8Ol0BHut1p5H33iYhoei8N82AG3/tp2emuYZN4v2vYn3DtDW8FR0Ej4zNH76qKcXI/siMRFonk3
JU1g71jrX8/IW4MloXc08qJC6Ojmy49KmpSy/L2x9lIRGxe2twZKNtqRvs8Beb1o1ENArh9i3dBr
l08oYdkZGdW5l14bD6ZO+g58WiSKp5HSGFwix9cX7ddmxVsjKd3AtlwHX+Mw8+UKGJGrcIKaxULv
EWF+MuBqi91ueH59rK3XedmTL67xCUi8QAlM13EinjGvmqErCiket3X2si4bZSJvDZechMWbroUl
kWAuBUtecwzY9UXHQGbaZHy/0/bXHrO3Bk7aPaPWbOHFlVA8j1s0fyjf5jGap+7qunvHSP41H4NY
1NYtzkTq+sVdGwYnBn5f245wMdCzUXs50V9bDm8NtHTmBdqEAoFiMbr3dlH5GSjq3o+EiSSwcxUz
5srz64u4NdTqlFM7nJ3axQvWZrI+Ec8UCdjalrgXyn1bjDaIwPJ5Vznk1y67t0ZcSlPRGVqR8Jck
ce/saLTPEn0Sh6oxMkHnWnMa7ClKXLSwxeUY4GTM/RhT5kbfX5/u1oZaywxqMlbdAFqEQ+6zR1/P
V9x2Dtz2niGakOqhfEbnSXoBbw+FfxR9kUVkDzWxOfbl0L44MIzNftRcUjBjob70vhOcCxkeRs7P
gw5SYdH3TF3gIf1UxdG4kNjvCZpUmp2gcMNt9NYUbLSLQgkqUBiHxb9FeuY24MFV3vNrv5vQdFWd
0el1cvicIB/07vX3/ev7CWCwv045MpU7QZULQZLus9Yb33q+ef/6ozfMz79DQ1VRNBo7l0XWj8VX
aaD9UziFO4/fiGy9Nela68oKrdIwb0OAmFGSOTPWfKu0eMO98s4dy3MvqkdftN+iwGD1ePr6vDYs
0RobWriOMBHBLVW0bZrb4RsokJ1yj4C/ge54DRu3xJqFbaZiGGcHh8DPiwK8i5NEuS+3oXpR8hNo
zkVSU5eeyLJHQ71hZdbAUAoghyMV5uQBomONJNbyDYQHelMm/rzjsG9Mag3fJCCfsBH7wYJH4NCp
osRCMqAlkNox8jga70ksxY5nt7H11mBOnS/10A/YGpjYNyeyhoy70v7MxGjvZLm3Rri8yBemIjdt
z3JUXQ8WbGK16Ayl7h+TLE+v77EN3ytYH8vR6tCBDN+r4FZGnQMlT+MEnzn4Fl5yUX2T2HQn9tia
yeX/v5jJVJe6W3KEyNBO69Oqqx6VLL7kuevtbOatAVZuCDpq3LK65OkC/qDnPp408O7TvJPg2jBg
a+SmWGhTSAObScElmEMBNHCfXl+DjaDMW/OggVMCKH2JRxeo8Vz9t5QlMozWM7Ih3pEnaKY7OSjo
qp2pbJT6vTUdWqjtyq4aRIHLI9QkQjAwyrQ6TCCui6Z4ueqevQRSEOddRZitd7fyLYJgsUEEjfFA
o34TQn2mR61dfaGYnXVlx+C0CHa8mI2R1rBOqwV/nCcwkhpuA3llAfv6+iJtbK41epNM3LKcEZdM
hORsMnsky536rrXcnSBo64uvznkEfGvtVvjibuRkrf/cgU/y97756ogLNDRZQK5gsQfuxrxSXeyG
OUW2WR9/b4TVyY5Y4Petwt0O4ffrealuyhJyTGKv7WzLXVpry4dtrlrnZ4WsA9lhCAXyOLToW+BE
nAw8ojiKRTjGC3NN6ubQzQUjK0lzR73X80R3DOXGxbVGaWrRtqEZMUcvdz6Zhr61LJMaGxGCSw9L
tysLs3F5rbnU6Gj5EbUvRRrDz9qXCIF9UEWXV203H6SawTzim8PvrdsqadmXyxgWDHtuogsay7NQ
va1AcfX6w7c29PrMwy9SFcHD5fTojt+rfMd53XjuGrRpRX5e+xaeq/mbkt4zdFC8/oU3TvgardkC
BRF2AUISu5yL6350QXoJQv5rJn26M8SGR7eGaXbKjNN8Kbi7kzdl+SzsG63LKHM7wWOLNvW716ey
kaP11iKsMLaWK3pYK/fOZEt6kYEMHjjANC6gp+Cu2zXtG7VWbw3ftITdMRFgpOLcnYuPEIADZTSA
EBf4IxhT4vIAC//RRqGiOi73kYoDE/c7Z3JrK1z+/wuPoqVoofHsy9jsjhb3utjxVLae6/71uVNn
VS2dQ9CdLyREC0Jnn100q/+etVzDONEJbUZQDnqAa3kn4TaHcBDH0kzZztoTfMt/z7l6awa0uump
1LOL1sJ4vrDYxW0ynaLsIiZQ3u2R122YqZ+iVi9evWy6GqFJfkHB1OehK06mqse4CpZvpq0TNc5p
5EU7pH8bY63hnbRopdd0GIuWPwJ3SUltn1smUt7ftmzKgvL9629uY9nX6M6m9vJ5QKMXIu0qmSrT
AZjF9hJYG9Zlrcy66HKxmhKRFgSk7mw25xAOAhuS53x6/ctvcFZ6a/jmkmtTuCi/H9BV+qHiy3tt
rASSwoeJU8g7+zd5Qd62kzzMDK9PR9+XuktCMmTods4g3nlD7Cp1WnVf1XWevv6ltlbu8jJe7JJS
uqIhKvIQXVSx8tDAy9r2Yzgp2ABOE69UfVKByf710bbSrmvutIpEumkozu1FLAoyOocwNfdgoIxh
009V4j29Ps6GK7AGdNad1VdhCIoa4fAzh/ZML1kc9EsV64ndyoD0O9fFlhlfE6Z5c9TZAbJhOMoj
v0XB5gA94geU0/w4hJ5O7cTquAun2LAba2jnIMJQFgqD0SM/WR94Vibe0dxAtuewr6u7UZrx1iDP
UngyLygIUUDFrxJWsQPwQUlF6LNrtR8Wm4DJK/gajiVQgvNnO5/uShU9BF3x3OfD46LKWzNXWVvu
atdvZCLXgFBNqIty1IWhpVVzCooyZNyG99bE4lLOb0LANHGIACbMEyLNN3cJv/3WLlpjREcr73s9
InXQhi2EOL8Gy0PnqLQdryey4ypt5fnWoE+FlsnFhtoPkCv8a934TzZps4KE8eKozED+QtRNWjjh
NfXFzpHfSCisQZ50kXNgXzJKTegP36XXPaCxHiQwHv+6RKO+daCpdXB999b2VXD/+qvcsK1r6GeR
Q58L0AFUaHv6pS+HJ9+23yO/ueNmbD2e/tWKoaTdkiGHZW1R08kItSTgvJ2fhVO9lw+/POoXd/Ya
7EnLwe2HS1lWyrm8mdoe7a1RuJfl23r65cS/MMPzMklROJerwS3BjZ17c1YJuSfxuWEO3VUU0doT
b6jE0zGEiBu92DEEtOJiGAp0tbMr7e81423NYxVSzNXEIWEHRwAN7JlpnqjeI0TcePIa6NnWyOAG
Ap6kVYrwJg8HfR3RXP+mHV9DPMHMQsNhgN8PoqvoI80EdKrYta9ikZjUyewTcc8VyuHpb52HNcIT
LExTXl0Yj2QkrXMfWSbxmJdnqBKGO1PaOBNklVTgNHSRvQM6GfhhKPuqgl6hjesJAbKzc+o2ttUa
xOmVHP9EMCSzZ0OET3wsCvsGfsp96VaZ5Vt7NnLD/q+xmHU52sHYIeyjx+lnoJQfxDE4YlWu98SH
tnbXKp7ILROAwf8SjYEuOEBHJsyh2YMPb8SUazFVBwUzqS/JlxIJia4KEWiV5pb19S0N+52AaGu1
V0ecgZjNBbIamVVTvAGPV+Zz54lWe932W49fneua8VoHYsa5HsVxYqB6UeFVM+5hszZe/xpjKdug
AToPOe7GmAMYhezOyl4/aFtPvvi9Lwxr53eguyrw5Br1tLilzXz2BNU7J2Ar77WGVLo5Dxe7w+P5
s+7PlyA+D2OV2S6QOk6UqGP4Wxgkbw2gDPIRx+ACoBTF/KCEl3pF/6PuZNKPc0Zr1D4r9v31V/Zz
X/7iqluDGY0FFASahi+54PAoTv2pz3TaA28N4ko/HTJbx0VsJTSl8HEveQNz/Zt2cQ1w1NKhIIzA
0Mz6EE63lkLHcv/h9XltHMM1lJGO4TwtwLkfZrAU+TIdAnZLovxogUTg9RE2TsnPXfJiszUwU9OU
u3mm3cl/KOzpXTkiFV267d77uWzbXy3N6pgrPoAmoqG4KMqu/cA9i5wZXdAaVKp6yEK38u7ncga9
WAdimj3u461prQ6/Bg9DTby2yAo0kIMa7V240MRd9o7oxrr8G1qxmUeH27TISFU1KfTF+qyS9Rsd
TE+62gPAbNiBNRxRgrUbWFPcsEp8inKV5bm9U8/YeDtr8GHhUHuQRc0gPwtvoYTIOVhWiP72+pba
WPA1g6QaAyJZycqsbfW18ikyRblZDl0J3A51nY+gJXjD5mqP+mbrNV0m+WIHj6wihkLIKIOwapK7
rE/8qN5jVtla6MugLx6+yHDw1OjkWeM3QfFp6gsGKgjbHYbwY17YwUUaHRIrv5ktXkMMh8jnw1AP
eVZGRZsNhoGPDNLRron2UIxbS7/y2oEEGWZQUIusNPyqdnE6BOGn0Ql+z56sEYNimQfaTm6ZzVFw
b7vWPeTo8d9AR76+uba+/+pgOwTSqbnGaqOjDDU+iAolUkQXjGu1Rwr06yHoGnnf+qgFTcaF7fD9
8jPid8oTuqhvBR1/T/GHrsGJhFOnmNsqz2wRTqkr5adgBivg77wiusYhVswC0R0Am5lfVLQ6Kmso
h/NUtkObBY1p1M71/utzR9dwxG5mkWkjKPLWVpPHuftlGou9uuivjx1d4wylG/ptIL0y41NxLBua
ysn+xkPxULH28Ppb2hpidbItG/ge+J95Bta/MKaQ+Ei7BeLIRIJKB3fU742yctLRzO4QJscgEx4w
WF7H7aSpqEoA3O3SVgd73Spbs1kda9sNG9WDZjUrm7w6BD4o3mbXtd8uAAGc+4JEvzmf1WWOuh7T
JK/zDI0INHaCMXV197Z0m4/GCT++/s42EkxQ4f6r0fXJCKKsZqmyqTwUT+oA1IITHMh4EY5Az8HO
BtjYv2uwYNP3vC5piWOOKPq6XezvCuzZDz/n8B9fp//k35v7//Zv+n/8F37+2qgZFbV8WP34j1vx
tWv65sfwX5eP/c+f/fVD/7hT3+Xj0H3/Ptw+q/Vf/uWDeP4/x0+fh+e//JDJQQzz2/F7Nz9878dq
+DkIvunlL/+3v/zb959PeZrV97//8RUREQTIHr5z0cg//vmr87e//3EJzv/j5eP/+bs3zzU+FjeV
0OJ5/YHvz/3w9z8sL/iTeiSKIseBebXJpd3ZfP/5Kz/606cOoMOh51PqQeXrj7+h7jPk+Bh+BRZN
FzUeG6KBjn2JKCDm+fN3hPyJ3BUBfaznusS+fO7/frm/rNK/Vu1vcqzvGyGH/u9/gE30L96qT9FM
g8HBrmvjawbhOrkSGt0RA7xzpsdu4hmu+lD6CYOuwngruSDmySLlDI7VCrFHDG48f0m7xqHzFw83
4BfOFQs+D86AsBapEmtIXB+8kvEAxhh/Suy5cT8PxK+/MMAxh4uiRTnm8VBEHlRfLNuRsRMVUD1o
q3CIkgW1jSX2OtdrbwCy7oI28ZAs6d6O+OGbyoOxOTHdoVEua3NBgy6xa67rg80gavY5D2oWnRQF
KzbUkexe6Mx3bZdfh4tF68NsWT7IcWrp0bSHuyPRysaMOumq1+2pcofILSBIhv6Om9xF/ucdC0pH
GnBV5YEkMUifPPsbrQYL3d5D7VnJME5Mkjez8o1zOwyjJW6lberyrHtSt0lXWI0HlkKdB0VEYT+c
cB5vwwGstffBPERhkxU9QbY35mM7if6raPTgFScejH1E7nPKLcNB5w0WJHHVd56SadNXFeJW11+K
bHC7ProPG9uBmnc5gt0E+LBGx40nUBpwCix27BSiJ0k5YP8lrlhGJ/HFoEEvBfK5HqyVilVW/94t
Z92nZGS8jxt39KGkxYqyjadq6ZuzdErS87iXCx+srG+taTnZpiUeBOOHCaBiPNu0vDu4M9CwgrX9
jQHZNkjCc+TPl7gp5+hLlLfs5GgnX47dDGjwPXQXoOTAAyTCksA4wxz3tA5piXGApXzCqx4jBGek
F0loDItiewKTUhaWJjzy0XUun53ZXTmG+J1xy8Ip49Lp8MtOd01MZ9KgBKOHBo1TUTfWR57L6alv
SzUf2WRKC3SxegyT0Q0pEuxz60btB4sFtThbuYXbS/p4JtoeF9dKJpBj1kdjadI3yP7X4SzazGWE
Gg+wbiAFqisElarIE+otRemi9mGX4hNXVJRpPbZufiSRXcxPumkJYOcmV/mpVmNZXi8Nyz80Avp1
x34GQUE2NTNtM1/63ae2NlMeK3TXfAaePFpif5ocJ+59QW+1N8sRCENmfVKUE5FFF/c8NQCFP/QD
yXlcSxmE1503TG6sqUt0Ok9iOLdRWU3Hyui5+iQ7veRHRF9NjsJq1PsJinONAvH9NH/JHZcWiagk
Qlj88eQcq3FknxcGpri3QcDCd1DX5d1zvojOuolqa3wW5aiHo5oDprF2wBAfwaudfy+UKB+YalWd
Bswf7Fh3E0G/GUN4diwCzzyj5VwWVdz6HtYb3e4ziYOldn4Ah8FMMk81TEldY40Sw8DucVDEA+cn
en9D2BImQN4y9jOWV9oVPQbeMJLE0vOibwoWyeeetnDY0GgKJh7bm/wglYhrTQzdjTlGjii4szs4
SPh57qCw6wfAyhtV2uZG1xUP47yeuJuwOgohIIsIrzpQnVffPA5Fo4RT/8Lc6XcaboI9DdFptvr8
sbYVdHIX2+mfQ4VK0qOfE386V3M48rhxvEGkWlOHHacFknw/4N+jfOZrNF5l2g8giyWjqQySOpB9
mNYcPOjv2nYo5tiXeQS6E9sScxIBoAedDRm0LIkM9wLIpiMZFbsCJvRK17Rdsoi2Hjkt3JY8y3sG
w0FweFmclyYgMVRIIitdCLPggeh68rOgQIX7ZAEYIqCXakcyUTJnCgDafM5PTVcxHrOGWo+9JP6H
yDDuxCHrpxByBbP/gznlgMKk0FV4mabP70pEyPnZsFnyeJ6i0jpPC+3pMRIMa6jMjIJsV/izumIe
kUuGZMYQHVwLtYSkBzJ9SohrZJdyFBe/jITjBOqy7mlMxFwuAHgFIbtC7U83qZkgAxWLvmrQ1djV
tbhZLDvMr7kxFEJ6kGZtM8A5q2/tDJqu25YqYl3hpRuBPo3Wn65MHfrj1TCXOUgcagsb75pPmluJ
7xHoMJglEurYq6nrztSWEgbWd9ogq0irRBzokcypUIhL4mbk5gePOGiBNRmg/e1ANZRlywLuk3RQ
uSMyR/l4lWXhQgGbgUtkgGGRURe3ea+nFDJs090kFvLE/b5Jddc1d3Xj6AcP+x0ZxdGqb0QPZspM
oe9kTDTrKKRk5KTtrw0Bn0cSdjwAb4Oc++L75HFoAgiq+LdG22MRg4CjNqdFLTypIi5KXCHoNIxJ
h5sTjIqBk85Qx8hvRV2ja6VwgNh9sqSjQLQ7d5VM5rqdSGIr4+bxEnSdlYyKlRrXQ0O620HZBC3j
ClhyCMOwur+ZhpABxYZvVL5Tktjq2gPnZZ90LvS6Hi011uENDdy6fu7xeuc4mGCVIDk9etNTKUzV
Pc94deK6gJlWaZdDkDiuNDFviQNugTcuGDmqlCuloXwA9mGeceqpISuCmjZ380Ds4co4tfO982v0
pTSzz6NsymXfHofIAXFpFkKdarklNo1y80jLUoWQ9gLrmn0visAeE9pM6LhEYDwMb2UrcP8oI2aJ
7qbAgLs9GqPu2hogcZPAStH6bHW4lLIgV0GQFvUo5aNoI2sBl6zuwHEmc9t9LjpR5YltNKhFa3DO
2m+nJhhVTEjnMlBYeOi3nnEHTLe4SMV0JVwty1ur6Ozimuuw/jHQBb09rPamxwGwK3odVg1iiI5I
FOS7BpDbjHYtavJ9I+eqj0eYbSSpGukiiTsHOKIusFpA6+TwYLKyh8bLu7Kpo+F2GKUih6BRQ/XQ
ah58yMtGssfJ6xGqCOie50CpgWHtI+g9o/Gw8LIA4lqOgKWgxUq2Tw4vrPxYDHLiC9gsK1X1mejm
MrgporrmSU7ZdLCFP4ALlBOD6c7ocbXjwTaheeD1DH+hhztHvoaqLfqD0GjiKeJ8YWj1CXCbTbcK
3bj8MdQkqBMBuvYcdLNwqeESgrMX56jRMHMVnMH+jluhCpNg0uPynooxDH+UbgTHMR7AMxUe2sWV
3cfO0OmHY5jOE7CywuT1S9v5bxq1FPlDb6ht0r5SdpRpr8qDhOJfYLRpUXjOTM+c4tosPR2hstSL
j9jdS2wzV1dx0TpVkOQOCqIgLJnK6isd7Fpl6D2TLEXWiyI53CibEci72KPzkQSRdg6ycibnPpyb
y+RHCaXvBB1XbfVG0WnyMqYCNMO301w6pz5kVZl0ysV6S9aZPOlGZ/Fi9LQW7YMLNzX85hVM9gmB
kKmVUgMm4JhSM0A9kFM3eh85EwEbXth4LOsNEqU6oZbxovMyTOPwMejC0U6xuCCeIk4ejllhTCjA
48fDukrtkgfte9MZO8QcILbuXAA3duC/b+qgxr2qTLXc8Kqyx0e7b/FBNYryOsfKLqfB8QDEKRhI
Z86lP/hOBt1MNE/0s0vQ92mggQPpGeJ+MBY+kPiTNeCEwHyRY2UPqOOg8Zk3ydAvbv3PouD/D2r/
uMAat4NapGaa+stfo9rLJ/4Z1fr+n5BQJbYHCm/7AqT4V1QbOn9C+zcivgdl9cABjOt/olrH+zMM
PdBpUjtApRwf+1dQS/8k0AGIIj907MhxbfS3/T8EtcT+2VT2rxqM5wVeBM0JNEMTBMl45iXqfZHO
DkoNLyCC9+22eXvn9DnsGQ5kxN3ImuPRCgaY7tKMwWOvtAFfYaka741TQostDri+c1T7A9S5Z1zO
P4oB3QtvJw/3JOLZyZ3THC74j3Dix6iAo+2gFydynTtq8GoOvV9V0wONgIRMXMZseS65lKSMpSCk
OiyOraCUA4GjOZO4TPQT4h0OVGZlt9P7OjRV3yWswHl81mHTVMnohLJJBL7fkliOyaGBF+ZlcU3z
UrFYSId3D9CH4j3cKpIvMZGauV90Y4/qhwarpj56rigpyLLLYDoMcIsvGh0aGTSG1yAftCpQMZJA
IzzYpd0CUThEuBKavDYetHasoAcNXFD3GW/sUsUGzezk6KDjtIIx9iGO07RjQ+OyjNDYU3Tt/6Hs
vJYjR7ok/UQwgwioW4jUSc0qFm9gZAloGQH59PPlv7s21dVjWzaXTVYzE0Ag4hx3P+5OG4I1Ldop
mTkaQr6aUx0z0bgYtk9dwr5XkYQXjktPAg0bxzgwJTc1mHQFCyVfHa/dZnYRY2EqPZF9WRR31IPr
9qXNSj0n2U3W/rvbDA2qqMkZMNgkCeTR7m2mfVoyP7VAY/T4o2OOmp+MbeMTQpPpUxagS3a99zQr
kNf05jQn7wNmBs0ty4g5JzqIJinesDTIq2s/2BnTpEKUbdRM7daFQlp5fahEhtFQ5gttiBKP5vDr
4FgFW5Yz+qTxNkozGDnV+paD3tflBozbGiwTU+nbyzjr/bc8XbWCHs4ySLjS9GJWO01w1t4WgO+F
vq1cbmklS+8hK3Ni4LuiGbQvWs/rw2gGfuH+sUT5/ksrS66PqYrCxW9h8P2otVWhnfpqqkRcK8PQ
Dm2t54UeaMYq88uo6EmjRc/t+sIapUWzjNYgVrQo/P3k+ptzoKgcB7JOMK4J6mKdtWDVIOboS6pC
yQOOenZ27PEquoU8zq31YTVzm0W5CZwRm8tYtk9LzsR1bKkstS8i64byyAtqebiNd13L+Oe0sckH
U2pY0ORDOmT8nv0inMoJutcGrNR3fTXkRpyPfj5/lqvlbu8WE1dJSIKwbR09ro121dPr7TCXoppY
lL6eZq++V9A+AARNLofrln31k7kyPvp8qPyPRGG68tK32tZ+ZyTcx4aBYQ03QgrJqeKW69o++Jww
2UG0mVbtq1a6kx+06yKfe51HHWWuqua3fChG2mwzL5ofdlv5SRPMWj5P8VAp4eL8lnu5GxTSNufY
7FujLwPHy+TKVO1WzLtZbt1wNlq6oYyCiYFhyd7DtnPRDbNKHlPTM5LImrd+PeEJMGFVW7c+lk9y
09M32qP6XGbuqoVJSlTzEd48UVhujESGrppDQFiSJ8I6Fxl25bzyeE6fqi2byalRPuYcq+tNxtHj
zwxBq5ZuxcOnzY2dPdizeQtHzIF9VtT6zsEvTSs7rUp2+nd/KXIP2dWoM+wyeXK7ODPvw7lg1sM9
j1o39Ei/Rs8KsiVd+2/CT+w5ahlsKM7Fki3VyRWV9ulJ+uPdkGyu+elrLYSQ3vlLsx9abOGjaUFx
00fbXDPeHoA3jMNTvRE+953yw3vRyQzvQlLW0jNEhmGFNmrbr0k1AWoBtNzQ/8bhPuPqClJCx8Az
IU9Hc2N5EzUHWtdp38pM+A0KFuWEs6mSJaBWLPYTufVPiCDpa4YtKVRoi7RVQaX0G0TlTOa5ZknM
MdvXkEdGKcvzSN0rA/oN72yZZnNJ1IJVKVZhdVyRffsjEzeAdBl0EmicbrrA5S0DuIqcnwfgmnid
kuVB+iRlBNnctamJmUWRyKgTiUM/PpZWgilwRsiZJjq1xmBwZRI7ZarkRzUJgoFsU19AYoWQnAJm
K8uDq2Prc9gmIV2HHkBf532ROgXoFpbEPkkp2B2ssUeAxnRyiFBqDkliO+9zbZrpBfW+X6WHZJ2H
/pfqc219lV1VqzpUtjTAMjf4L6VePTMJU9N/SPXsSRXGefGdPtSbGTtjIj+31nxZeu+pd8UcsuKZ
LTOo4gpBvsVCORqWskZPzpo66ELLD2nr9KekntCtjOAInMFvqrEfZAdyJNVj0Zp9kLetBO/Ypgjs
x+F5WNTUjbpqwriUdd4H7mrNRy9t7t3W+DKU2bNtrHTma/UTR5fHfpNTtNlmyoOQP9OFsVDHuS8s
Dqh6nUNMGQh2lNIOlDC9iz4P4qtlgqqUjTGdhqo8NFOWnT1r0/d2z1CTVnk1YmeN8QbZZ4Rwls/A
nWevIOndUKUZDG3Txfai0jfdTkeEqOWhSxu1t8sEc6Cu9vcG2OQjuoSZ8KimKymW56a+nw0n03dG
osQeb4ofqV032GEAAFbsUPFUOh+5VqaXbMFI0W2Xnr/slxFwD8eZvgmyVTt1D7mKgX3V3K3LugQD
R8RTmyMuJZ7vjj1ffbDVvGmrgVFMYQF3lC9anlX0L121X5YiAxDKPvy2N+4BvdQ+aWcZ+Lmo8XBs
/Z1uD+ZPVSzl/ZbPv9x1yZjnXItwrNyTVmdP5lb7V2eZHieTqFE6RmtfMrLFC94loeq6j6otMdfK
5uwLJ019UpndRe1S2m+r0spzs7U2iS6+dVCckmFuNJ9Q+DJwuxEgB52ONOomwnUyCaXS0qAZ9PJT
Tvq1qqqLZ9R3ZJHMl6Zvi90E3Mjguu3E/up9ZGXaA5xhqGdugx+uVn12U5AwDvWoZ8giVH7VHhax
wr3lD9y6+SJYU+0MLD323U9yvutgNrrD0HgHNVRfBkzy2qw/FL2YA1NW19ze2OOw9fdLedn6DGGR
OZBbYDdE4TUPJYqWMXXp/ORR6hNhyegcfDpgmvtdZgIPZ1n9UWjlcJiz9EfpUiI0S80AwSLrfbH6
b5O/aKxpY+/O2B6TjLhfpmJPOxdmow7ET9fMOdw+QTE9Y1F6TrbuItNkDdpkKIPVk+elAOsZ2UPN
27C6gl4KERiUqLlK8D7N4hWeOmcLUlE7e6PR+13np/6L2PL2uc0K+VUX5vScEsrw0wcRfAb9GItw
YS75SIDCrQ5OVnXyO/iC17FTFEuu4+/qtvDA9i0jO/vWIi7JSqU6DeP4wZm1vOJqXz7xT6oHT3kq
ajo7u2Zq4CCplo5J9MmDrNTzg0WtdWhWv7uDMU3fJpWsd+VaqjDBpOeXI7zyQTWkQeIG2bd3lKSl
4GINg2p5mACttlG++VA71aExmk2/LlMHSZVWyVqznW2tDOdi3YZdNST+eGwopz+HBl/r0PJSK488
R0O7LoZ1erYRwbDzT8pdj7yGk4puYwi4jk55U5wsZ1zsdzhDV10KZTgQSlK033IO5/GnV+m5u+9x
0TJE1K9pk3ah3w6aE0qcf7zA9Yz0Ma8kT7rt0xqlUll6C25bkEORPo/646iPAyMyg/5lzfEfovYR
J33tiVgse3p0LkJtTjS68gYmdEY+BWA11OWbqAe5B9dWUzgMDE8cRArws1NUpv5h6WkdAg9bv89W
c74WntHEwlzcWw248M50832Oef0k8p8J0xVDXSz3SYob7eAYy89qbrqDLpWz70tWdK1ZTlintRPa
DgdxC9AC+NvqgY0l84nt4KVyRfa0LEP/0KSrdaYittmGdSYgJ/3YjvpbYzh6tPRmHuaFZGJXWF/U
YL+LqnPuTbd9rlvPeM/MbjhR4HI4q6GNbLufD4am/fT7xbnfjOmj3dzPeZJLXM/leiryPAupipp7
G93Rue4wsZS8sFeqWclhmuUg6NX82q0rxerW5gx9dPWvza/WHVs4YRR1nuFdvIDoWtloPIIK2Qcl
xiwuxKA90Vbo8exPFdHLvTzbdu1Fwu/KmuPJcyS9j66dZIo1D6Iqs+aAkNrRWSyWIvDWvukbEKVU
XKu+IMvedaeL6SZDWA8exBYTzdmL3+jt2QZmjazN8Nh4nfrqOUzYGWr+0St/jlcPEUneJMsR82gm
Ly31hX0h48I84l84LJJlvKuF/cPt/RDY54CsPYTaMYLeyJ9Sy/pprOJbY0/PozHz3PP2ZmpSL0Ey
+d9UIpogpyblkB/9uOptESA9/GZaNqe85hukPrZYZbHLzNm0wZ/RaG+kGWu5c7d01t2gqS9d169B
LbMIqvm16OQhkRORasq5ag6WQaZ8Ew1FA9lh94kwLz4/VMZ0bHRvPyPVDhJjbQ+lnWw7Rp0iYrk2
ui3wLr2ut93qtHfgYS/NNP5YdWkE29xdqbuuw6pjZ4D8K7ASyDmnFL/8VssDb3Zmzkj9aoJWly6A
c11uFgLRAW8xzzrbqbXvMtkHc24fh0R/UbgLjw7fw7mlgmK+qfaDluB/J9rvmbH1u1HlxCtyiITM
9JuYgrMDFk5uoT20q8BIyV3TFtMKVrW8wxhGA2qooJxzqOhueM1T51VJvMXaNa9C1Y4viar38PdT
AI/dQaa501GBtwYDGywxUdWj2pZoKFUVlpwNsTEku64w2TK04s6fmpYTw1/CYSpuARtaGnb1+qUo
xouuBjMGj45qpencJ5BVuqQX8MVH3ZH6vm1THTe1xozhgb4Dbshg9rBMTRdyRPUXUfgPtIQnM5NY
hiNGbIolmps8fewGq9sVc6MOJt1rUJhaG9pAfoFuVOVDLxoRSjngVlOYEHAMvboX8FKHv5TnYapj
YkMuIdC+3YDWjJnOiFsOC+fxo0zfwlHT7zbbvRerPFpLw7fxBgYhVxLOAB/Pfsv4nb6KPahvfRxo
mkOzyo5JVa/RZrhfbGRcYWNpY+A5/lPrQvCl1ZXsSCOgozgUVvrFFmusa2YWNFv5DnZwlfb6tZrk
61r2c5wxhRoVulmx9L2DpDk6eAOWdC7iTFrcZQ6hybXQmKlRV7aXYOFeoGxPUvf2mjbXbgU5KKsE
Jnip4q5uXg2tu9TAUo+CrvC4jvzJvjLXXSuqAciVCGdd17ojVVy/x8ZBcNy44xdqVYJ++qGob5NO
w3GQE8OgRi/sGuBhsXY2I7MdWE4t67DwuyQNt3lIPvu1m45ZyZzuzu7WCXrG7JIPNZYLFEjaMVKt
WzZnot2UExbAWb8ssG1GvoOtm560IjHPSJoNChgNdQ6Q1Uvu8RIl+fpL46HtV/JpMPER633tiGQ3
apP0gZvWumTvEOMuRT9xcNtJHmxH1b8qQ7NPyvH6o9KxB60cA5c9c+T9MxFYNlADTu7xP9Gm4ajL
xXYTj1nb5mzv6x6M61glcLibDgdy8je/sM5lXcqrMLXxrTacod0XpcGWbbqyNo6+4eNc6+c+40na
7F8ro0qPTTWXvFE4ohJ9U9NOO5sl73WUGffwov4D0aVr/tQVi4S+VZt12XKB9MzemuG01IO579NF
vysM6pk92WNpE1iNqIyoBO5Cf7IagUM7d6aAID0+V8uvLHGbmKbKOJT4082RsjYz8mylsR1AyWpa
8WjjyXrJjfqlt8ztDNudfqlq7PISUeT36aDLZ2NIH9ttOoM3vJqDHI6tSbG6OoPYNXnykhXbjudN
H+1YH2sxm/hKQ1OLJZ2CxTNe67p4TNL+biTJNLRG+SBGdCiL7R2XwrwTS70r0dhgGdnvHWn/qIru
hED7Yxq09xoyMYBuOm1ZpSMdbb9SENx3RtPGngcpbQCbRXg5N6HZM9TuwBixyhzOPYdRDAStFX1o
ZLqjTtxWeR3hZwLXKb4NU34pKSFDwMY24JkcnLW9OqV/0lw71gbEi5M3reA2wIowQ+2jsMFQxnYq
IzTqOqck9olem8wx4eiSpnNDuzO41qk0jfweRUp7bzeEi1AZdW2g1gYj00Hw7YTD5KgDgxT1/lhd
5gwpel3r+p2G8j0kV+A6MQoaaFnXcFtqOygzbGyr9kIA9cHbpmfkJzFCqMcBCSTgslYGi6gOWY8t
l8q1s5nIV6tTIjS2sowTx/VjB61qiC4sP3aOVVM6J8fZ6USwONqDr7avEsXpbR76pbA4f4Wp3rRB
uy9KRYaYu3ihFIC/jW7uixyFUl6pu7FxOdmS+tZS3IPPfrYT69lN7tysfiwWMzZMzJDW9amahY04
pLv55rOvjxDyxmh+app5Bi9OkTJoH4bvvRu5uR2LvGgxAacTbssHKMMLUexXlerHLfO+OusWWyJ/
lZV5ADWNBlMeBQqfZpvTwNQbBIfDAQlRcUwSwwxdd76uIvtlpvJUb8uVlPVHaduPbDuPrpa+QiL9
su3qhOn5Q2pRgJT1et+bZbNnRmgLVhIIptID7srXL/ayYNTsXV2wTtmpny1UHCjy18HLHpno6ALB
6J6oRrBP7T61qh9dO8XaYvEGyp099wc6Y8oWHi8qu6ggLnBaTJzB7fSCTueJWDtaSBVvi3U0AfJF
Aflvimc82odA2DeuvnQeSGwk8y698zzrCClXBU7WHFXXRxzBzFtvT2VCr7dSvHGr2+Pa55fct8/t
4H7NLe89V3Rm0Nl90I0DUUNLGsJPEKPgu869QcNHf7K2mFSiu5NJae4V1gPppImwzDh0O8PtvkgF
Dm+0cgi6gQKy7165q/deMZ1G0oyUtxyKVj/72KTg4r2cCoepfhItS6+PhQBNoZLMI0QnWbisOnSo
lX+tdd8O0qZLd34qxgDriKNWwB/Y7YfMZ/jy+TX1rP1WtJ/VOtwBkkHtjd/zVdks1OqlLIZ42EQ8
LN19MVj3fZWTjSxxhQTyLbXiQs36XjjFY4WrcLWBx9Tqw51tDW2Oz8toZmAFptwDguJgS2dVTf29
yrKvmKS+tOWQ4/rbp4esHX7iuF7GNxieEgdfU7RbXlNBBi/+5yKTT1Xauz7NXizpfyA17MEiqQFL
fUHiNV/LtPpqde0aWuABO98e3ahNymfpYyeCz/2XpHDkFQTVgDjIeefpHYKsmXjq7HT+JjUkSj3y
i8l5WDvHjNPEu+d0uyjXc6LOXH5aWfHmi6SPgY30/VSo9wmse++IzAvZ4uROKO+hEbSoRXUcF8x4
KqmFXVrf0jOgeDtfPOWuqbM/Fyd72V4N5DuhuY63vFMvarzxvsKZilauPsuexLa2I/OEyNoJxn/d
bs7XxtJ5u3xt/fOmNuN9zPPkukLFgRNv+mpHEx3qo65vxlVDt7GjjrJO7Vpbocc01l2RFSU6pLz8
LqbJCCe65Tcv1YhCJ0BYUExv4uJYjfsMe7M9Mb63Xa1qlDd6jJUtEm981vLROAJnLZfa0YfvcA+N
Qi3YiY4yJZl2yagv39DlpIee/v/sb4vxbRjE8AG68jn1K+jKLV1jnrIkzoTNcZ7lOv9ZY0i95g8D
4dhBJrUXb7KafcOx3Lp2FbpWHqfziNhy7l2837p7u9PxYkVXFiLJommobR5LzvSw5gIQF24epKb9
aiQ6m4GDvkr3eTcAPSbEGM4jKbAnDNieYQRZm6637pymtB5yy1IB8KgOB9VjclDqWbgiIwrKqumD
undLYqHkk9Z2aKGqPvI37+taO0PgleW7U7ifDJ8qQhVKVIQdElQzSb7CiESV1xJ1xYjap5O7b2vm
aW9YCe6hlYZYF9uhVvpTYhifQ2/9yNyFcfpNiyyki6j7y6/rsuhh5yAGLHqzDbqEmtvAyOBo37pR
6HO5G3Ie3zJZTE1vLy75HECG6k2V2sVNzXs5GXeqR8rESnQOKTxq2KSGjBxO92DIYNm1nEQYp7B3
mFGeXT8/tFrBjt9vb0AY97U7fFS6/pzb/RYYY/u5Oat+ZwzTwRDiOWFlwX8C4C8WxKDlHC3dPC3I
ICAPKGbqRB8ONnhFPAoFJ2F3eVRO00oaNl8fyORBrG2PJpBBOt8u7Xd9uGENjSt2vVnbP9s+by6e
NRLBsMz9sUrN7NlCq/NMNsN0IksJAMybl3tPJRWgbyfMnw4LOYIbLNCJoIAI5OC0ZCf3fgNGnBXP
U2+mdwZhgmfpSxo/qRPBBabSVz/rIWNbmLVE//SHagq8Hv+5ldUaelU/PzhVZoNkj2aMtCn9kpLc
dVFelh0N1ArpwamXzthxCjt3NuDsUXNb8UBolYg8tHMFMJBBIyHhlUtUxOoGtPP1TARakcwdKqnM
WxCfeQi6WqxIH6HgSFXEvV11j2NmcQw2MDd5UOkrUtZ8AO0kCTGoF7/4Nfg5p7nVWJfeks3txGsu
1tS6J6tdzYPva/UvdOHpeTLW/jFBEEM4ZF5KPtRoRHddJ0/jMWXeS+mly7Hcmv7oW9l8MpLejkvl
669aShR8JNrZeLOgjkKs85wbBtXcKbPV9okxzQcyTeTeEMNwbtGB7yVJpmie/NqKcNq/uf2sxYO2
dvnAzLcyVchdGl9rq7W+OLfmS3odN3Sy6BqaTYEkaHZ+N82dgBlTYzwTcn4m5EZnJ+xdTmFr6nCl
ov4tdVkcbXTHToA9aBFNrcfJnrslQ3WIoo+JhuhPMxHJhXo6i3O/Ztav2k5bM1grZdWhUH4ZGyql
KN/syic1oZKrjig5NYN+oyYD9nk1oG1u7utz/m5MevYFhraMMavEZFf0KNjcct6Y9tGIESgt+93S
hjTqdVDNKp+Xr0XVt1SkhX4t6kVS1HoelYqw783CnR8GNOBbVHVtgas1ENhuHZHvl5IZ+ZQFQ4TF
veYBmKQBjjpMP86+t5Zw4+58MpVMD8aiDk1SbRwFTQpLqSaniLJkGKsnu+/tepeosshiLZ2an0Zi
GT8S6c+n0Rq3bzqTiCKcmkS+J0ASX1ZVa3AQDNauwbTl3rWrrMwIGFMu3o2mXN5Ru7V2TA2j7LOz
olrdidofljqQBe8yX4Du4Sb1Idug4Z0Ar+6GmWrIQtYZ+O5kJfG8MBPwo5rSacNDOB+2c+pmbAgD
/Fd/hKygjFLZ5tKnZGxWx1JvgfNxdMpfPRr2NlpFZaGsaDhs8GtKpLbHodlnJn80pxQdxUzpNCtV
3lTOqxV3lq+qqPJBAQNpN6JGvdZYGLLhWr4FA+I5ULOF+Oxw82c3PTBk403QZ2byqReoRKPakHA0
NvkpCLE42N8TENwqyO1UywhTqBZSPczU8k6bK91Hfbx1ghNNj3/Dpw9QvAXqgV5WDFR0IyFffr5Q
hjOG65qPtWVtTQm20Rg/2kaDqyQbls3WccZx2aX1CKLK3ARtLb9EzGE5ww2SSjYqyTGxShEbgjM6
ks0oHEY+vKY+Z5y6HoSTXfdXZ2IE7douIMIftl1W9nVumZ6+ytJuvsmCKPZbHEQFS2Lw1dYg7e0J
zW8dowpVFEdMzP00m9X+lSCjk8EGYijPXED96GWThmk/wFFYDIgiQs1rN/AT5CNjgImL1+1tRnYZ
aU/SskWqDJ50HH1d/RSaCdmhU7boUZVtr8mMHsL2OghVXzDPtqoy/14vYuziTvkjgTtVYyEPqX1/
fWK+gP6zVfV4rvKcYrUF+A5z5kmWaEwSFDlkPnj6bposeez1Dnp8g+ANfan1+pWVOaI/9nPQApX6
9RRViHloGasZ2a+29hr8upOMV1sNXn9ZTbQthw0tC9x/WZh1xCIHp7Yt7hzCl86j7inbnHobNUHO
JL3sN/e5NTWRxjb2q/fOuLlaxIhsYYdGjsTjwS0Yh4pp5zi+0PKaas+NcKHM3D6lBy60hcI+d8Wl
cKsuUFo3bUejBip8hvzOp6s5phOlzabhrlU7CSsTJg59BwGDHjqlRadrqQANumDKiWOOZ+GzJxsO
JUNsTA0F8uRqxkIgVV/7cVNI7XvW6bp16RDtAIaQLI/RbtIXP5YNR2RmZlqKSBK/dnPfeo+TxjBg
hILHmQI6uswKjQzqn1bOh2eq9cRH6LLOyzOSIZnShq0Fg+yL6T2u6Vx9FvYmt+PsZln/Ule6beyU
o9Hhoxkkr7ugfEsIvDCX+mpkMkdewl9ZYNCykdN6SSxJQTQ19TdXuxVDQsvSYue60jMCXfHbr5Om
iirUvRlZ55wRbxq6VZZ9YWAH9EpDgZk8OI15M+cbky2qzaSQ3ON8e5OrmxaXxJtmI7DHwdcgG/pZ
v1rFMH3vMxq0BPDPDbW6AeWA+e9+6iUJXyG1r7rJMeyVgR22s5Z6mVivJibYDo6oMzFLDnvRY4ya
ZdtEgePLodqnCB/R3Gurf1KzKp24ElOjhbXnmsXtiY5UTVuad7xWK+annmXaMkxgCVy+L9EVIeJq
JwOcdno0l96KdsZ09KSISaGvAWBTrwKoMwbNfZhBvpMLMapsNMyvMU2T1xneFpkzTo+Dzv0M4K78
z7TTtauTatszoYeERs8ZdEjYLq6ZhpaqfS3oQY1uMgfjbrKcadlba+Id89F3Q9RdVNh6QdpruHoW
5xVmSJt96jQm42I1cbjdwYzpD4VdNcuhbxux0iw3ID4y72m4UyE33sxKGkusz46ffhssBXetVVgF
8bawC6wssSd9MtAY4Zw9iVhwsN3InsxcdoL3InnOOFDQ/G5idA8M9UDn+jY5fEFpWTb4auqvawQn
lWRHu/Q2dZ41dpaw35KZGGu/4N/AexciHPx+M8IcIKd+NFE1XFzOjJNfr6Xc65PqPuAeZwtFvGV1
gWHAZeyYITHy16omACpqhNIV9yGhLkZkv7CfeJs/Uceq/Jtla7k405Y3j9XoA5H3JDJCTW2qXeNx
nHhz6ZXhThaTgWXyUvxN33mDrjLycixZ7bFfFq+mydYO6dJwoFQT717MGAlysoBFsLCCmGyiTeI9
DVTZlohPaodmFckPNfvWGAZ2It0k7hCMuCTL8HZIYAi5yZO1yNmPCWtOVxh1whnJcKdqZzpjcZGh
bE5LazRncox07jtYUD3qaFE8S3hnzMFS45S1oHShMOsuFwvBIcv62s1DIQ9LnYxL6LbSWE82x1BJ
PTvPJahYJzSEMEU31J0VbozkrH8ZLP+PS9I/ZKSOoXuMbdqGpzuIWf+YAm4ccqHnBPHKtGvvwKHC
OZzj3A/HO8zf4nGK02t5NHdmUMTN1cui8htAYMRUWSz/4mLzz+FdBK18E9+2bEs4+NH6f9qeMmqJ
GTMOmLt6+aYNnyybv1zrPweqPWExcWoiwNV9XedCfcZRf1fMyiy1ikwDDLNGM/uZod+HNr/Jwdyu
ah7pCVMz/E1T/H9nUX+fPf3Dl/HPjzSZZP3HR66NzfQhYoWoj7edu5v31nk6qwBWJzSu7fPfU2n+
aXTw7w/8Y0i9MNKt4o03IwX4V3VL0BjHxHv5y2Xd/sp/L5r/8yk2ImfHug39mn+mzqBenNfWJPLE
u9rfEQTv0VAFza9b3mAVr4e/2c38c4D33x93sxL8TeqcFdmc2J1hRnX3qwAl5DA556qNOl1e/PHb
Xy7u9kz+eXG+4flC6LaJFNH600wc54My3zTHimiMwulF7ss94aRREtxMQu2Hv3za7bv/8WlsSSxM
x+J2ipua/PdrAxJ1Khury1hFc6xewLzHX0tkfliHbFcVIVmlfpDcz0QthKzRfCf/Yif/7wXj//75
3h8LhvnniiJstCJ9RQBdvClD2w//u/xoHqCr2wxeO8yIuyhVjD+06oUHVYxqtIrb+VN1ZSjXHlaj
/Mvb9q9b+Z9PcXThCmSIyOL/eSu3ohm9Lu2tSGAbVZ7K/XYqDuWu/8sd++c+9f8u5r8/5vb731Yj
NQZTXHrHNqKdSu2X1Iu/7FP/3jX+uJA/1oQGh1KtBRciY2OHBBBdajwN+3yvXb235c5D7/yglv9V
1Nm/L+u2e/52WdtMY9xlXJZhDtWdqQMYaoirozItvaf//6L/H+/gbdtA0c20xH+cv377KG9YKnqE
3EKFArzaWyeZJ3+NrvifPsRDd40NkWPapv3HYyosM1cguxUvlv2dcmh4MAKG5q7GY1NHaO13frRp
f3ly/3qZeHC/f+YfD84Hau2ywgMBMd6x/Ykt65QOf3PU/p+Wh0NZi3THEqarW394anBy4vD/X6Sd
15LbStKtnwgR8OYWhqad1EZSSzcIWRgChCEMgac/H3rPbJFFHOKXJnSpiE5mISsrK2vlWoxWv6WM
/sFArNeH9tcr4UM7vNReF2+qT9e/mCBt9BYdZzaFMqGvkyPvdPEuoLt/U7dB5u/W7Upa521Qr5c8
fGPTPEuKlnxmbUrRJwGiNsphX7W0yJAeX1EmP4c35RYeFPMDz0j7bf5gekkgBcOP7GP4XfN2HqDB
x8Nd9aLe7QOI4+6X1EJmPqypy1RKpsXMjyzS5VsqL+YyYE8/lMFtxYxMJPfW0llwUZ/gtQ4dhqpa
PORCi3Hu9T4yu8QZMs0vrFuzaIOSIU8j/lEdhu31r3lxngqGhDDV7REAjyLvAlV9scrX0HlKm+e4
+tVmS7ze8+v22yUhqfBcGqNlvmOnV/txpSRxt7HUAVgqvM0/rzs1uy3+GbyyOGYscSCK3mk1NTan
czt9Cdc0TN8BDMnYFKFbe+AQPy+xSs0cOKatyqo1TWPRH57+/yRMYQ9IQJjgnW7l8pNl83iuVRVq
WDuevkBXhKt9pA/+TqF93xv12C6km7mAObFvCYkgy9N9x0VJ9/vRflb26SuszVumN55MLV5IAHMh
Q2azFJ69ELARiaJtGWg5EAHdV+vGjXgb6TMjyArHCyEcicKlwnkubk7NTXx0Jyub12Gxz2vMxc53
UCmuMXB1Z8DpesjMWtFI2RqUVxbl7LmV4yGupCFJOWdBtjfRh8ohrzCZft3KzEFk2idWpqU98UXW
a8DbFlaSMX9n7KA9UawP100sOSIsV0pjSWFYV/OPXHvd3dGhOV8Z4O40bgD/mykh5tvEkJm2wxvr
+L7uPMC1gdH+mUDXP6fNyZLZQmAPzCE5UOywZOV7E/YTqa1uqNef/8YVikVDh1TQFqWOoViIeK3Y
6+DtW97hu/3nquI5IEeK4H8zJMQZ4AV0ofYYitMO9QTr1Uq7r7pzWEjr84H22x8h0IrOrsZhTKcu
pO4hIcxUfr6+7ommEqziyWwTzhbDsTZzrIKNMA95hpTSnNrDXjd+/jSu1GC8Nb0SvJ/bfoQsARJa
3wiOHqP3Hn2XnXf0qm1xp3iMFd7UXvG+fQ9cJF34ZbPp//SXCXugD6s+5hXH8dVHsLN+9xxucy/+
pK2PQbop3mVr6+X6WrzdWq6thbAVYGeTFadhLYabnqak2zMwEzTb5Mb07Wcdptr4KSxcKBcWeaJn
9zuzxwpdG06fN62dk5RSQJKg5KPl+DKdejlRfaSKAQqawYKHS3amaDixwyME3arKmo7UCvEKGo4v
uufcToW0fbfbhu+UMVA3S59Snbb3xcKeuCdc5JqSgaRytCGq2WqFK7mAnJAiae/zte5aj9ZAYME/
CvnwbfNg3RR+svozIu7/JKCTXzBttRPHYx4eDxajl36XRMeHamcXqzK2/4yo979WCFqLgXBoyoTN
pEl6GsONSAAdgMzKNFFkicHRJdZsQXrp0o6wNca61ZN0xJve6/zyxXoFGb3mJf9O/z5RKpvP+ZZJ
mQf6sx4zkL+WNsobQ/rl9/ztp7BRAPNLVov6GhdzmykqD6orr6AhFm3ACn5uItd4aF/lZ7i3fcMD
1HRf/rTeK5K7VK/NJkiwSf9Zb1M4Vkq7TSLGHzV/d/yW5KmXwk7zNzuGIXi691C2U8SfBw6Ud6Be
Y9nxDXcSUvBhKEv90O+8Lkg6jxGiagVNpa8spP4pUi5W2FG568qEkSnWvjbvdEA6It2XDz+Zye52
d630FDvPBXxQ1z2cXcMTS0IsyTDNlIOGpSb9oFNd58OP6wZmcw7sCaYJWx9dFiFYBsi/U1j2ND8f
07XibEx9XKHbueDGW+dVXDHoCi2NVp/Fm5LwofK4Uyoj4UM5z+XWWY0btKTXyfuQPnfkhwudqbnP
4wCo4gLpcG2/yNdRY5pGDvepqh23qmFnLjRr76Cd96VU2qL2tcDjOreGE8mEbk7Bbot8mEYZO2kH
Ubefy8MqcuLbuOjXDAwH1z/V/CIqdPRUW1dN/p1HO5g5qQA2D9HC/REdMQTQ7x3PQBrB/CT5i+Kg
c9cdh7YeDI9cQWSRqfsYj42U55xGduYz8OpXNxXToX6z0e6T7f5rf8cgQvOBQ/HpuptzIX9i943b
9OQwgHfLqgEoOH4JLwuk935kLBGXztYS9IBxjAYpTWehvxKHiV2pPSf6lDeyHzvqpMfhPgo6lwHT
987jtKT6zlvurU/79WIf0JE1aT4bhipuN/RJ/1PPM5Xiavb3NB08Xfm1Nx5QUfOy/d+spc3ktqrR
/YOT8zxiuqjYwdxHZIZAtxSQvXn4eP1rCSK5/5x2zokJIYFIuQWLT0gZ3CUmUQk0YF+VvCse3puN
dbsvVIb6kycnMp+UXt4wevgAZpyH1qN0p+/2z0PVLFEfzwbQv78IxYdzp82xcJhjwWktAQi14+l8
G9lRsVpwfCqLLj/lf9cWEaVzM7UaH6UR8IuvvTNvjluev31eoe/4rJ72Yb9eOk0FITlxoS1Z2P1N
VSd9mk09gXVYu4cbBjWDcbt/Tp+1B+Az76rO3T/xxPYhfFjqfCytqFAhmkZacNDyjZPdzh8BZaWM
Py8s57Rcl8tpm5oNcQ/jAMIJsd+NTR4P2ACZ6Nu/4K3chJv0qX23nNou87WqTI+SJk8X8ObIQiGY
AT5typxBy6J8b0egjWzGlvQ/PhRUGji2ZhocQ/QYhTXL1F0Fq1fHALcBNplni4FBWbBmkHQtvbTO
7MFzW9P3O0mZcr6zQsg0HCpOJrH7wPQKJ0iCGNHdwHQVzx5X0IY6q6U35Jk8qqpQvYJeMDSe1MSW
XGtDz5mVTkgeHV/3L6aHvi+j4DfT/VMD3PPO4XOqt8t6dZdH/JlhsRfXt82xM9Le8PO6/GQ72TQY
HzEkw6B5y1BQN+QL8TkTM9AqG0xK8C2nQuZ8ifet5vCqVof+4AAqyR6Zt4HcsPGu74IZt86sCB+S
PrU6DgN7HHE9rzZu4/xlJ63KvnFNyBuu25opJ9QzY8KOgzQrsuCRQnna5ea3YlhlHW6z2wJhUvnb
0i1z5knj3JrQlYnUEIw4tOFvR250yzjMRnsEW+yqG+nlumezq2iYVEkKRCw82px/q95os3pXYmrM
C9ds3h+kh6Q2Vn3K7aDZLZwDl7kRv06MCUesqYLYHcoe4j1Hgf3woVC+XfdGmULrPDOeWxBO2E4B
EpdnBa9O22lWxW+fUj9f77xoa63hx4NndX3d4oJL4osXR/KoSnmXB7vdD0d77JN3/9vfF05OrT8a
DRgbHbIZ0FcwOk/EWtdNzFyCzxbtrbN2khKP1qDsQ7UHmht746rZagiSr8BOuCCTGShe2S8w5XSe
s643w0r2ufFIj+gtcSfvPl//KW96Vle+n/hQjpxHC3RiUnh3kwcw+ut6q36cmjpWIL8efMVjhvsR
PHogvV+Ccsy06bjfqLo5XU3I0YaQtpq4LA9ao0lA2tw20D0Vwhov98KONuGOqVxv5+tMoCx1lOci
CKo8iiIKXRlcx/kOZGL2II+VCjNk/DooP5VyqSKZSce2bpMPZZP3ZqAO5wYGBoaqCsU7jvBfY/Zo
aC+x8rrw3Wb23ZkN9dzGDgzkMWbYLFAfsxdeLdZsO4/h1vVUlSzfWucO0zN7wrcKswL+NBjrgmbV
3AH+e5cfgWC6zOkE5YZ+YGB4k0zFc3sL2u+6r0vLOX3Pk92yd+DQM2xgMej5jeHWhi4zWrrXzWTl
U/dEcRirOkK9lxqaD7BuH1gKOmJq9slw6vt8N9zZaGctODV3wJ1Y5Ap77lWsd7VeZFjM7pKHZDNu
bJ9H9EeImP3lonKSUBDT9Jk1ISR3h0jp2hxrBzhyvu7vgPCvY1/fOk/yM0S/q+ZLfJuswuD6l5vb
4bYJmtDRJrnIf+QYTj5dE4PDseBGCJCxvrHXpre7kR7AMo+A3rTAvC3Xf17ZkkdoetkqhJhcZQVH
93t4lOCRtn3ZeW6bAtKa70W9v7vu12UGOTcibD5clY7HqDX8sLXXVvzrGC89ei5ZELbbSAuPLjEW
4D6Ckb3w+vbX/+aDsKtgq4srM2ShyhCi+i5cjc2itva0DueHy/k6CUVcnQOkrOVW8pV34yp7PzUx
9M/Fd/21fpR8eakdORNt5+aEKs4Z42FMKugXC311+LjbREEtwy3kxkxzeiim/nLgj7oZF47Qy611
blUo6CQ5GRxGuGw/GndU30O48yDk+Jw0+WfEuL5e/2ozaQNrDiAT5EtojIqNr+rIwRNnXegfvysQ
fq6TL6Gf/ZoQ+pyWh2+LjbapfhM/4STYYmnY4rQWPmE8oIQHZljyGz96ooXiZe8SdTXcZyveJ+w7
hsaD9KPiyb660br7nb36C39P7Qvf1EbMQAojbqq9BxTSY5Cm9Hlj3t11wT6AqGNpa1/2wOgpnvgr
fE2rrZyyB6bmQ2lrTHziQZrFKITYsldBRlXC+rd0vs3t9VOTQpF+UIpKlytcbBo4k6DLUZqFw+by
BD13SijS66MzqpXMFTxnLviYfI4rRtfgBrr+reat2GT7CUWhvCG5TpN9fTyWFiImCBOovt7eFYW9
MaTtXxgxHV7I6DLrF+CTOj/GetVxt4YEZe8z9EXTAkjFjWx1zcJNY+btUaNzzvCDQ5sEXSMhCRsQ
X8j13uA43vZBFbnZugq6O/oXOzdeQWjxnH5rXGe9D0YodrnyLLa5Z4KRrQ5oUZFROb9oOznMOfT1
aJMrnUPQRXDCDs69HiOdASetaUCG1B+C6+s7UylM6eW3TWHD6TDVT4hu+LzWzR2N9fjFCH3Up03A
U+WTsverxhsN/6i7y4j1mZ1wZlvYfHmnFgUsxBCqmJ+M6mOSviw4d1k1nzsnbLWYWfzhWPFF1fvB
6+4AuG5SX4XRZ1NsCx8U8tJtdS5fn7kkbD0lTrTUsHHp+F32Rh8+DJ6uO5S8ef+r1+1mwcGZE9ch
VaOkRZ/S0sSQRR8qOxiQBQevx1V4o9HvcidpXOmmXi+5NvuxeC9TVJv+2oUeYdwPUiunBIq9/7Xr
Psf7j9d9mQJNOHmQ6aKMo7vMHfGt5XySTowqTNpU2dt+xVCluf+UKB9zHkJgFrtuZ86PUzvCF+Lo
U3qpmQI+/NSOUKS0S/fBBQtveebUkxaiGtPCk8NBeXSk6GvOEOaCF3PFj2MrfAeTjEVrSXAjHOy+
hFoJWqXWgxBrw7CShjjGN3kLxfQLNVjpRc/Oj+trN9P+0WUKUUCkJjB7RXzjzoawRne6i4LjSlmN
ml/qm2n+Y8AkVB8tp+cHacnm5TmDzak5SJAjJye2LA6ICDIyxHlZBYMHWbCf+W3haZYbfzR5ZWBm
3Y2KzWIldJk7zs1OX/nkK1YxjJvZQZemTslXbYUOLkT13uF1wjZpP7P17tNfrC0rynu0rTC7KL7h
0FWDkQ1KLH9aW7TKHrvbhNSheKGrb5Jnc+FNYKYJCqz5xN6UW04cjJJG6jtYmphGHiBo52Qdoirg
adwPK0m+S9sDvDi7mknpwXKjEtYuF4ps2VtwewrU832vy2DKdDzWKLR04dRVE0jfKzjAgnTbbSsv
9GHyDvttPKmxdzc5DeCJ3sdGRs7df6i+ZeS3pZ9wmUXPf4LwqQ8mugW8qHN/8M2bqR0s5S7PlM/q
qllLn4tvCx5Pf+6ax1PAnyz8sauO6VExo4CpUs9el6vj5tADdFwl3uiZq/iG9upiV+Xyc9tw0Rtg
HbkxwPZoCgf9Xm2hHqdgC6Zn5pHKPrkJV9Za9RlK3y54ePFNBVvCwW7DyJ/oEbamiUIJ+fbUh8vI
WfX3FgMsllt+a1e2W8P44O58iOndpd17kTOmH2ChKaBbCqB9R3TWLJ1ECyflWUY+NQOG3S/pHx9Y
bzZ0XZU5f4H7CJ8xlYCnmDlEGWN4ZEwHQqsjw8TcCcsl2dnLZI8fjDCSGjjrp7G784hBWMRqIhvU
vgQTGFoaW5Ri0U3L3L4jfrIdbDLq+nCEaVaJeYX6MjblNrOfo/0SnuyyLzj9EotHBot6Q7FEQc0E
8gyFLtYu0NfcRyvaCT+sTXJz3DhBuNH1gIdfJShWDFojCvnH41cYRzBURpgFmJUuSqlHzFDDSsWK
Hwt0L1pOBpj/y34pHVzsT8wgsuRw2jgmeVj4sOMhR42nyLLgEIyFawEQKjfqu6F1mwAWi3W0qmFw
Xrh8LNkUArZF9gHS4CYPtHGlk3hVo15wa9pzZ1ln8moStbEZsmU2SmhASrUTN7BUQeEvsSfKUj14
qG3fM7eEyN4QSW7Smgvdi4uSDpM2FukIWjykiwOODRQpkGexkLocbU0ZLL/9Gap32Cd+Xk84c6t3
akhYvR4CLIaZ2yzIJhbNHiKn3Y/rFi4TCq4YANN4Q+caKhY+lsRelwosKNrH0Xh3qO5Lc6EAmPtA
pyYEJzQ7LBl2TbPANKR10+fA7KyNVX5XnKCPe/e6P7Of5sSf6cecnEFa1+kHHq6Bbylp9Rof7fRm
bHXEDiO4qVD+kBZuKrNf6MSecBPLtB5mHBt7iPl4hVLT0v9+3aOl5RMKYlBqNmwRLB8ato8IyXpR
/pCp95ojv4/MpXnTBXcMYTMdIfTTjIRwGPLnGC1EaEmue7NkQOhrJ1BvxzSGEM9WPiX6e7WsFtLB
bEBPdwf6HVRY4v0hKaImknoM5BAwJ3rF3nyY2Lmvu3EZZhTu8M5Os22U7iJ+rploJ7RRyoLKej0O
ryFzUJDQ02z74/DCDj0Takh1GjIWDsjKVLU90FFepBqjQKQPkdwk1ILrzrwNp56n0HMr2vmmSbtp
yyC0FKSqK0uBDlw09aAra/xQWcsBiGZGMePs+RggqLOyvDa81xkcR0Pi+g+57DKQJ07dnaLnZPfC
yRXHHTT0QdX70Wa/Cn0k7wsXdh4/9+NgsUCeduel43SgTdWxUQOdgunEHsxLfQS/S86J2AfHF/h1
PiS3GQ//kEX4Iw87wJf8I2om/tJdeqb0mVz9bVrIinVxtDMziqepEwai/STY0cIJ31tBsVUCFSJW
d2ngUxCsp/0wrS54am4jFhfst0r6xNsCzl0UkzB5yNCBXeXGZ8X5qclxcKzo1nYTpyas6MrCbPnl
hjy3KoQwkjlILKTQTBX5TcEbtZx/MQBZX4+cJSNCBLcRUgdgnykCgAW7Wt4EeSm/7HbVx7+xYwJ7
4b1fo0Y+D5hBgf+dWXa+mv4Um5CtGi9me1hw5hLM8PahflsRvKng5NRLAyutd4A5Afnnm9SH1ANN
azpusFzdw8jiy2560//FDWP6XL9ti1tQRp1B6qBb0w8t99WvoQltoaUs7PT57/XbirDxWi2JtMGc
1rGddNbcoX6FK2jByOVZc+6KsMVCZHURmMMV0D33MN54tmX61+Nh9hw4WS2h3FD1PVIqOX6oduip
OSwyNJT33PDlSrq/bur/s31/r5lQaoCMi3tYiVCh4KIb3R7W3aZf5e/VzV9cc88XTig5hmjY1bGK
pfxj+7V+kX9NwzXJGjmT1WHbr5y15uVcsQ1vuRu7EBhiAZLss7iScwbQdtyo04jcr5tu0ZsLW+zt
PneR+X9/OJEjSOrhKhw1XDwEaG0McMJ7EMX7UcD4rz+w6fp1dNPcJOthtes8eWM/0MB4sO4Z+/uc
+862WMiSC7EqMgV1h50DHzl+W/CQhwbKDuP3hfiZctOFyyaZnwumc5m77DRDZW4PGVHvJQ9T4w/h
gvfIt2+zIPGX2BVm/fltTGxUwCZVpkbEHBhDABqoqypBcewYAzRY2OSXLRli9cSQuANTubdqm03e
x48masmjaa+GeHCVY+Lt9HvEc7y6WLj/LTkn7ER9DwFqP+VIXtzQemZWsVk6NedrMvrRtgxvBI8H
QoYEZVs5PQoptA+Pd5C/fUsCBxLYm8KTPB3gieYBP4AEIPGzde0xOHjwlmLy8uFwOodOfoOQQKFk
36F4wW+QNtZz+zH+gaiLD08cUgLKA3paH6W1ejfeM9gBa91TvrAl5qvBE/PCp51wz4ViYZ4nvG1e
egAK/YMvrZ2P4bfEX4LxzQbSiTXhoyZRfsyHDmvw3Xmj8tHMoN2MP+z7b4Vcu7F+GzpLDl5e7ab1
hWqBZozMWou3rU7NE44QqpY7tYai1lW9fFM80cAIwh8aPVSeQG6mLHugWb6wb2YDDL1duheKqlxS
C2VVLMHjTRDDojfUQF7hWPxZec5D4+6245oydB0/jA/GeoJyybdo2nrHz9dT0myAcU1T34Jsamqe
l1NQGdZGvWMBGl/2VM/0KlyvPuw8yztuJGjr3HwLSdVG3qiIXkB0v3AMXIL6WfXTHyB89F0XG+FR
5geoPL4E+s3ol6vdI4SQr/1rdSf7aGgtosnmAu3U5vT/J2W4ndUI/w3YNNtyhYri17A8TlJC2vOB
DpeLUsy9UlOfsy5L/s6drswfTtwNtA0YJjg3LWdmqhhRhbs12ihPrfIj6paCevob4jEDKxZ9TGd6
vhXbxzFKPXIs0fGD6SlbJZvqjUlN/Z7n5Kz/EyhwLh1PfEgOXMoGeHThI1o1FJOddMh55pheABhm
u3mJ7qcXps9QIn1eShQz5hhO0Ji4tQ2wseJYxJi3RtMMTAgavfRoJWMwKH9nwkJDl3uGZcpC4uX5
G92ZEBN1+hSrX2vzzyeBEPWeJiz+a0HYeX2eJtqx5uabbpMNavDV2vZrQFB7BEHWiyMsM6XHmTXh
C2VWr8bFgQZDZDY/don9nA3ZS9wn39W++TKU6W0mx3dlIflHtVprlXEHkfcCF9jlaJfgsbDtLHQq
6QvxGxp/GtNGEQgapinV2j+Ykfilr2ovWqmb+OdSV2Nm0506L/aKijGVG1QDyfLmGPQpl7g0v3Ws
yl9IpvNx+e8nFa/3/VGuY73Fjsb9IPzQcW+EGL1kT+i/3hBnIKvLWwVRGBhCXYueP6z0KqfLUvRe
vqafL/XbwX6S4RBzGPaDxlIfatdcx+XbMID+HqiRu/+qwf+3SKe4tMZCYtMhe1W6KZypF3wnhP/S
WZlRt3BcLFmZvsCJX01SDwgVYmUnG0HaRUgtAqfbL1z05k7ms4CZfsaJmSoDfbaTWD6Ebjtk7Dwk
WfzOcq3bqRKs1k4w3pjfISwa/PS2+9C+iwMuDMh6Xg+oWW9JEJQIvBjZ4qvUqHUw1Oq0i1QJVaPh
m9N9S50lNq3ZoHVUA4CaysDuG4zrxNc9PLT7Q46RzP6OiIyrOgs1xpwBUG/I6k4tL8MSGs7dYSgt
y5x2327cVlTJdZMsLNRcocpj7G8bU/o7ccJ2cptBVWzUb2UM3+jeCb5bay1I3i1triV/hEiv0NGV
h4wFG6uq8lR4kdCVzZY8mhKycIjDi0XbmbdQMDHio1odlb3dwVeFR9K78MZZVd5bfxJsf3uX3mpg
Nxh2ZJDnb4JOUZkbpT3JO7TIX9UmloZsLffyhOlXI6TxaqkoZRn+n8c2vMbwcclMpiO2d/7FMqTT
j2qLf6mT+yWUPvmeB3w08a6buUQhkglP7QiHziHNucKk2EH0yv0yXbojdwtEi05vGaCft25ld7Gy
n9u4v40yhHvunLWXEGjaF2+9jZv8q+LnN0Af7wpmkujvBu9RG0nWTQAKxGt01/GHdb8pUb5bJDCa
vLuIon9X2RGRP72cjSnEcVypGA47rBv6VTHspUvlxeyW0CyGsBzYnhlUOvfXOUKkXcBGHhi13D3X
Yxk/HPXOCq5/y9ktoYOJAJo2UegKn7JFw5ULYsmWKGUAAqnfl6PXN7Kr9E/H4kfV5AvnwFzDD9q/
fy2KvbB9YR3DvYNFfR1t+vvc67iZmavsZmkBF1wTm2EGBBCRCv95MHbKJxkVXSe10O+M3oUOshKJ
7MNi/ccorWlnnDgn5MxDbvTdDl0CCtB6C5BmtVtrsGzom7/MKSemhJSZViEkaDKmbOXFCR8T9aOa
v1wPjrmLJAflRFwFjES3RYblKt1JuokAFKGurZzbdOU8mL71pQs0j+7MT8s375dOgrknJGwyl8RV
hP0u4jmUGnL4QwTyoff2VPHV0Y3978bj4DNDsbL87GYJKjt70J1aFHZaKYW97bQT1mIb/2jX3W27
GmBMhUn9Zhk1vuifcEcBC9Pt+hRr5hdzPfoqAo2SZ39mwIx5zpbq1u830afrH3Iud556KBwMByOm
Mjew6Vio65XguPRPqCYuHD+zJd6pGSGZaPqQIepJuKiPsMDeUdPdTleR3T2tvZvu9rBCNXfbP0vQ
9uzvzaflbteCnyKWV62jVkaui87L4XMsf67z98f8z7ukhCdII/oNBgOkwjHUHFCUbhR8NMufEmJX
PIcuHK9zif/UglDboVQG+chhxz3DSr63CJXm+n57PR5mT3DDZlMrE6AAa+eHCzKXwIpK6q2JaCzr
vObFRkwyQNf+dodMCTyAyJ0d1slqqRKac+7EsFiCjUOo29n0Ni0j5VY5qB1ZP677Nu0f8XjmOcCG
/Hei59GnX3BStpao3NjInJGzjprv2E/27ltT8QJyvLcHfaminHGHkRpaDhOSAZZn4VshCl7XTWqy
jo+0c1dEvX/cjChE03r0nJvsJloNT9f9m0vKZzaFM6ZiaNNI0EYK4q15Y9ymz+Z7JhimR4+JuXHY
mPBlo+2zEJWXy0rJB6qblq7MfJuI67aasNiVE9Fre9xD2TECotTN96198GnLfW4NZ33dzcutfG5P
+IzIzttlXkFfttdiz05/tariVe1CXpzC/DxWzo1MP+IkVrQRMnV9Ijmyq4ONQMj4VHRI4ZjNzwbB
bjesQq9rnE08FksfcTqdLyyDRIWLS4HGRSQFMWukwdMOGqmGTkazVeHpHm+bjbGezh3z2yJKYs4e
zUsTrQTZvBw9McyhKtQSFjW9ZMerqJoiKsjT+7hu/ePEDYkKxeKA8dw3PDUqfEMeuIx4D/rTb1aM
aEE/MYLCKda6jxo5Y1Jx0Dyobv5u6UBfMit8VaSa9448TGzLh1DzspaLgTEc3dHOFyaNZ/C1JNCT
VRUqh2JnGIdj5wAsu4k2dQwxQ1MGcutajJ3t3hnwO2WbYWN7KGp9u749/j+mwYdzo0SzwZr260no
IoDUF/YerrNDgJTb6NfvzQEGzkn10y08+31z0yLe6ZedHz8u1mjzK/zbuFBP7AE19/nEyRdVHkIY
/VSj7b9V39OP8uq43t1NUPwodu3BX/B6ym3itjHo2vzXa+HcUpoh3tsTvij8gvDW+3Gjv0w0GP1W
dcv7JXb7y+Q+fd1/jYnkxpXDoDey6IRv1KzqHhlU7bB0gEwHxBWHRLqLtu9Ms7eJ1aSukBzKqrvm
UK/0MHlXaqhE1hrkA4ijJmb/qW5GzzClpSWd/Za8ndBHkqEKfgu0k0DqSmuC3vNGn22rh/6L8S19
A6gdkYgJO16pSi98WHqDnbVJ6wpqwEnBRUSo1YpRocpJ8CbytpMP7j5/VnaLJA5zR5ZxYkXYncqY
2oYUT9xjOeqJ3DYPa+dJu89k9x8qjvS2hqycmwwj8IvGZyP1xLiwP82ojgZ9gAOxe+38iUECBKKb
fZ0uTv8HBomZUGUYB+EwBs+hNhEBz1Gh1WE/ZVoJuWVP/mV6By9fwx5WBsovzTtAOrJUyc1cm3hk
VRgvA+QPWYs47K7Gg1wPDfyfh6D6qoO7AF64Un41XhyEXr1a2PkzHp5aE98bmHFCzOUfa8oK8dj1
eBv6EegdZo0Q3In8pem5S4P2RGxKq5jhOcUQSfN2Tdg6oX7cBWV7fI1C+QawR3Ddqcvyw+YuYSBV
oZJlVPFRMUkptMKhSOkW2G/joO2qv1umaZ75Uud2hI0QZxH01xqAFUtr0TI0/aRAF6xL/CKB28o8
PNjdYXt0mkCXjq+mc9hDFpssJZoZZ6fhc20S+mPW5+1HnuQZpOc0JGbfnO3+0zbT/w9dn5n+0tuQ
+792pkroxI7c9ra0M5SERW22b1xh63+4wpbKjJkAwSHbBnmqwa5mCWdRfgiRyaxZVcTw8holytzc
XI+P6bucHw6TK/9aEA+gTkey/XjMARqxu93BPHzs1MM2j62VZtvdwlE09304AYhCFWEmEBzn6xbW
Snc8FkYaKG2Mzrumr819tHcVJ/9wrLMV8Ku7euJhjgrpz/c2Pp6YFsqJlgG09BjpCNdBgrPaF6m6
3imQqPYJMpE1WuHMvtijSyP047CPEOBFdIIWxh4AkR1P+q/HfN1aixzRc8s/ScjQtIeL+mKyaD/U
qZ7szUmRshvcQxxu1Cjde7E1rBpbWpIkujytpkX4bU3YpFk5UrfL8FJFg+UVxkO8f4izH6N523UL
YTVrSQEkY5AzIVUWWhgo2WeD5FhpYNoP6CP6kPJszfhlF9+F+hL54fTphBCmtQwjyqS3hD3B1n4X
0rSGbzEY9rH2ESVHIPhtThSV0s4zRqO530VR+j4LHXV9ffNc1hgThfNvy8LV3JJKc99XDDKGQwmU
zXK1+P54/B+NTFXASbJRDMnp1NZOg9AsvZ2DiqdcB8e82F73ZWZvwnJhgeSdTgmaG+dm9MZKqw4F
VnLa8e6wtrdTx7xZJA2YWzI4rzVF1Tj4ACCem0G/xUQpBl3wwkAGvM79nX4XhdbSrWnJzBSfJ4u2
U/NC0VtksVLQCuGvvd9IHgLHFpR6+efyyy/kzpdy9ZJJYQHHpEApAOSRnzRPWf4Yaj/y3cv1bzTT
2LUZ79cpGmDLg+1TCPUkO5jGaCpMzrau89q937+LmRHuAmQtHG8anV2uwebcQoOT8kSzeAsWSVTT
Ko2jLsTkofugxLeFhVDs8PFv/KJnRzvNUHm9FKIipIloKgCnA/km2ez9w4f8Q3TfuMa6pPI6wOPl
GgtLOf1FMWnQG4AkQ1UBEVrC14qLuOmTclK4k3de2W6M6LMR8aKZLrg2c4KjMsq0ESNP+Cae4IcW
VWdlQHkubtJprh6tpAW+yktPuMZATAzPLaBXRhHPQ71U+3FkdpPmvtOsnEhl9De76SAwqtvo6fp3
uowFgGnqFAlQJFGyCqZGOdGNqI9AGqY3tbPJE7Cef+4N87wOQGsSOezYQsXTliiXwAsZ+nap3tYW
cu1K+bR/yod6wdCML6eGxGI/i8YCNWJ80Y6rrmbA5j7O3l9frpkJey68v50RgUUSsFgaujhjxvdp
Yyputuv8Nhu3jIruoscizIN9AnWGdLwthm/XjS/5JxwbpcM0uBFz6z/sfxnyDzO8OXLXvm5jpurH
wUm5kYzENhJbC3bYZHsFpWYe6TpfQ/s19g8SLPXxhuGKz0tF3KxLJ9YEl8yoyprIgg0pQjpbQwFM
NY9unr9ed+pyx05dCpqmYP0pjMW391Ttocxt0W+3ut5t7Q+qtfQ8PecHy0a9xwGoXrzu27VkpPD+
S/7hpg00erHens7oVnmc2LDbF9WtYnf5Aj/nF2QBMK2CWZ6eZM7zBM1gnl8lWFPyQ+NKo+aq3a/r
KzeDSn6bhp5EJijEoIM5N6GrxdBqOdx04X24hpdAgWTMMxTaBFBE0451RloT3X3ijymd4Og1WRTX
mFlafDTpMoGkpfQUzv0uHVJpn5e2b9RovRvPpv4zGf84pTO5PmlSTrRHkFoKNpRe2eu7KeghjjU3
uWTu/F3R5pvrizmDBTw3I5xQVhXK+t7GzARiKBWXztJDfbvfmO/o399a0SIUcObVZ7JIWcEbDIEp
5l45V9Vcnaiqav/oy18rhia6TeW/cXV6tFpvl+GH8zYn2JJKl8eBY+E8ZEKjLyzlwARw7ymvqHqO
LxIDG5Jn8lb9BnwObTdZaQuZeWYvAHv516rIId1qQyfJToUWj472e3GbVkuXkikIzusL1hK4y9RG
ZlhV7J2rORCsRpsYQgszdou0+5m3uUwZ2r3GtfxYRc3SJOfcaXNmUggYNNNHe4COmIBxXqFpWzMS
O40AT1Jrh2gh9c9ttFP/hO8m54rK1ZVsAn4oaKzaj0KQbtGfX37OllFsT1hK3Fm5xTKOyl0EtVP4
Xf5zFcMp0YPUU+EwkRnvErJWUx+sXHUooOSo98radOMYRgpYPP98Q+uUNAY9VFrG4DbPQ527VbRP
dvn0nKKs1IOrNG4HmniaSC1LxpEiSOmum5z5SGcWp21wcguSS0tuj+YRrkSpd80sZbbrS7ZcBSyZ
mf7/xMxhn+71sKsmYqzxVVkdf2STBHG8Up6moSNmbqsgWx+XmARmLkPOmXdTYXxilp7noFnHzPHN
LwjfgV5GiBQKVBKmq38fx6B9RueVY9y/vqiLdoX83zL7Iie70fFBj0IRf7AYvol95cl0ex+Zhz6B
MR7dgD+/X+IuYGJQdLCnXFzEqqRg6J5+BB/TCZRU8qVKf0iL/efr7s1+zN9mxG5KHFdVpBzg14zG
d3HzbHRfpf7xuonZFSRVafD6Tb1vERFo6A1PMdIw7YRk9MbEj8e70Fe3R28MmtHVY9fpt38DZ5um
tv41K8IC+zE7lIzdRMH/I+3KluM2suyvdPgdPdiXiXY/YKu9uFMSXxAURSETO5CJ9evnZLnbZqEq
CNvz5JAp8SKBzJt3OfecosN8FLddBTAljUirz5d3LQw6szNzKE5fZ5NWgT2soBC30z1jXfaBdZQ3
w44+WU/GSvYxoMSf2DrF9tnJ3+mXz5/g2jf8uNBZoKwD1NlCxiAOJOC+cvpDKgA0M9jSQRDrmN1x
AuIOeWXB5nHBTqr3cV+bFtbZ4dT39/HW8vL9EHT3FCC6z1d0ZQhFfLs/bM0Ou1rpitGosCU4/2RP
8ZubeMsAgLkHkHS6K/cWkDBK4nM1jLylUdlreQ5gKYIVBVp+Bti1zl2N0w7pCJmZGHiYzjcARrY3
JrrCpx506DwurPVK7CCoDQUFHmA/iIrOrU0xBtEmzgRwA/vGCDDshgC66BGJQb3ahVe7bbapHwXl
Usx55YueWdbPLQ+GJUGgKsIXDfNjc1ve2RtQ/vlmB3+2hJ29sknPbM1ujYFNZplbDsaIujiMC4hd
oqFiW+3CtSs2xmyTnpmZbZysKACElC1k2VwK5OSF8tizxse6Wjhz15zamSHxVT9cR3HMhlRChyBw
1sVmykP9XeDGo7B1EIOBIJu45uQvgm7EUb5YHvIQsVNEg3RmVTHUmkkt9gqwYR3owKNbHamWWZ7o
wMGqsPA2r6/SQlR7YopEGfJ8lUiwJmWQII3cbnnpNiJ5BQld4oFpdPTiyM3WdQFkfPS6cCaufsYP
dmc7EzTIGoknrLPxDQBuIB71zfgq2F+kwGCuMQay6mue7KYPS/fu1SUDw4gGHPALAHPN4mqlmpy+
MxikOoknb3VvoOBKBP4FtOv4n5rX3S37OxE+zz8rGt6mgs63+LizwwFY+Vh1nUNObVtBWKGt2GY5
priWZAJh+oed2ekQ8WiOeXnApHzLnfad7YItxdwLZIbhKYD3rJYKr9cyvjOTsx3boyhFaQ6TwBEU
e3E/Vg9m4jpC8+VxOmJCK6xWizNZiyudfcWuHwiOkE0ARxUT0wxnJQ5ydATEtNHf3TUf3uwsQZIo
pz0AMeAICjkJ9MxFPcTHXVXlrvkGelUXLHjFaqlEdn2zom5qYHoERYp5Dp9GTsErTJsF/fY0xxjU
GH8g34HRAAwlf8C42xJIQ5y8i60KmVlQiWoAGc5xIT2x+3Eg0KujDRitm8StpYXJ6Eu5JButKRvV
MuTTGKibV1w6wsuIqxY5wVGJp+zI1/pYhARFYrfbAb5fHvTCAywuVF1VwjRqE4ITp3tiHYKBv+GI
Pj7LbB/FrarVqlNQzJYM++ktuTX22U3pqZj6jx7qjfVs78ZdvXAxizNx8Y4/vIDZZnL6Ui2yrlH9
ltGQcQwwOj+aFnVl+SjbS+HHNVf7YYXzJhNE3Q2lj3pxUvqA/IBALQhpd9wFi83X/KvpRq5ySMN4
8j9/s0tmZzFWnDSN5lQg1cqVddHejYPsNkbp6ktKP1eA6We7aS5U20eyCUKXkyegI8ZsAYy9adY4
mkL/ungWZ9PETMHfYS47Nzy7O0vMtMUTEc72q2DWNwXPr+1Pqy7IbzEHhTGyenGm7brf+2PrzOdr
HDOpJohXwA/F4JE2IEQP7l0rd1NvAHW2J0dIRJauzKu31webs9tLURMTDM5YaGZJXkmYqyWPrD7a
7YaQweXxI+/ThRNy/Vr5YHN2k+XgtS4IKE3BngA+EFQS2b2G5AdKDTeYAvCBJe/dvAZUdglhdfUN
A5oPKh2UTNGonB1OKSWcWWhawTslj8OGbpv1m7hAwbnvgQRjwQFdyy7RgEPBCpkBatxzZ4jOfVPV
wpwYmLJ1l+7kZ/VVMzb1e7wawN3QbAuGNIGnq4G5YjL4O1moK11x+ciiQaqIRASsu/Ogs+vroc1a
nCArs/zS+hEBPvO5M7j2OcFFCdwzhn1kIXRzHmeOhiQZSm3g5kT1OzZ90LjhrjZeBNn69DR+0b9k
nrOEGhAHcOZmz4zOQhO5aPNJySLh+ern5BvDTZMekud6Xz9yrzrIS0XUa3klDKLXiV4qMuiLrWNX
Tkx0GCSQTsTnbFcDDqZWeUMgooMyWHir4nK6XODv9ubFHQM4XAh4460aIBofA7obHtqD9qVfiZJ7
ulEyN3rroN3tVathkUV5yfjMwU/MBoeDA+Mco9Htq2CMeYyRkrn507SiGwdlkZK4I9jLnpYOzdXt
hKYGDg3OKOj0Z8AJFrd1o6sVDaIncjv5KdRnO7dCTwM1p97X98MLDZdypSuzao750ehswSU3uymz
YFS+63wJJXnre/re3mdhnLrxoQq6gEFiHrJrauyS9xYA8/RhsXBybU9/fIhZLUieUow1xyVFkcbc
Cp4giqaOflMci6DxlqVvrxVqzhYtnudDGkwyTe7apqEYgG/29hb6luv4ydphVM8BF57pg1tCDTVc
eqJQs1jAuLpa9NxtMH/BQ80RhpWkt6yNYhoMb+mrIELNFM86kFeMLbnJnR0vRr/XvL8QUf7dotj1
H9ar6AR1KwsWRz0kj3KguMO6STxohiqGyMTDNNT+ujguYEDAUAJUoqBQpM6BGBHLAc7sYRRds9BE
YgHAOQe3mZiyqb8vJRWnvu3cbRgg7sEM2gkgNrvhIoWBFHrCyZXW7KcS6p6TouKNpI29CN6/zE2O
CuSJvHED8uN1A3T20ja+ElFgwb8/wbx0WxU9zUdZeGbrCzRH3Jhv1VsVfYUW2GzpRmrvFjzltSvu
o8HZ2e3R/JXbFkvuQjQXggKrXUme6GfkYfpg5y5S89X/0+bsqLZc6esogk152z4rfrsybyk6oqLo
54HE7bAcTIhA7OLDnjRKLSgWQIP1fPO2FgF/voTXqslvE78dzU1uLwneX4u3wSkthFB/MzK7yrkD
jC8U7mmgtSBLm/Zx4xrfO3Syh61g0qGgbAQSoFicrbl0+kJ/FRmjDHAKetrzLu9ksUgqIDwhQsIg
2ibIfd9a6KQKMrwhUDBw442LbZrL5QqrQKKiVo1qkTFnf7GB6mnaPhFns4lXug2OPzBrJWGHE9pa
a731KKAJbsShn7UkGnDpjWbGZye1V8q+4vy0ZMBxIBlTqYHtC7kpwzNaHwnG0sm82ELnFuc3q9np
OcQP4e+hTeTX3U2MKmfTLYC1LssasIINpKB5ipFojEydb9Qy571pWci6ueO2z3owlp5APgIgaLoN
JvwqTHv/5cKGowKVjTlUiJdCtWDOBlJRDm0aDUPSGdGKfRmNzu1IZWvh1F+k9gBOnTSbwEMAqMBp
5R/uj9GW+jxFOB30afmj6BLQRFZhVlqPOadbmpcLWfbl50Kd2BIiDCijgHln9iL7ttM4TiPGUY2v
Br+jdur2xYLzvMjkManw0cbswDfMKMlYAEFF9eg+653E5ab9xcgtEL6pD587zQs/PbM1C9nHlGMK
KoF8tRW96vl3B+ROnxu4cqSwGlAsKhbKaqItc771kqpjEDnBIKJ9mEJ2FL1eKFxt7bfYSwI0n4PP
7V39QB/MzeIJjvGEKctgbqg7T6OPtYXXBx/5uZUru+5sUTM/UejZAHlFDHMZXHFTu3SNULZeMcra
02nB1GUYjE+E3BioZdR9ASCdXaVZq1ZTXGBGTod8onyMX9UX5W3ElTp9aXbZLnmmB20Frq5nYxu5
FYRh/8ZBBiQNY8mgcNcEVvH8C0py7bQQ04LEOcboXaIl+9gaFljyLvchOJGhCIIBdlw3oNM5t1FL
E0+dCvuwrNCOUB7pIlHKPLTF7wVCGi4Q7C/ALM/JGqO2s82pwDi34faB/FoOoFKIV+lGp8BIG4aP
qGRhK15sfZi0dUAF0flAHxcz5LNFxZyWiW1HfoIwRJD+ufWTFdgPisc2HLWNRYPzzS+0fKCECsJ9
kO2D82DmOaJeIbWRWJI/3WiQS3RKRJhJaB2nFf+ZHZVn8LMUi2RLF3POwqoDhwVMH9DNF/sjarRh
Ys0QgzW+8x0U6hMOShGKhkTlNvf6w+hDNhjSDurS0Thdjh/jr5nleT6eWXKcTc4YBz2PA6WP3ahE
TafuvQRSTlzLPWzUHYml+7xZ8JtzH32yDPYbXSh9ovowS4jLiedlFMFy3ul+h2Q/ZbXL+gGk3UsM
Ftc+KoC0mtizGP2YC4s0UlzLkyYj1S9/5rW2igZMYU1W+LlHu7qgP6w4swWBMkulmQMrPHvCjOEO
4YTr2PuYLeWYVw3BlTmiMyeArueHApXA0QL8LQ7YpHq9FLvOWPgS/5502ebzJc19yukbfbAknuRD
aJBVNZqtHSwZtbOtSBQMTbNQybtI1wFPdCDfAeE/QN8stHDObZRmPnG7B1SkgkBK5jZ71VP20QpM
fJ50n0I2W7rr2TqGtvSfKIhfuDQQ1uE1YiwPI0eGMqfPsrMEAes0YJjX9OXMZW7mWxZAcfiKU9Dc
g/9plX/5/J1ebEZwTcEgglEHIyUAQp+v125qNvC+TAOzPnb0pql3WbLQrrp0m7CB8QgRrOLrAQg9
t5F1DD2UFLkjiHx1T06xMFHYM15qVJ1kkEwtek6RG555EmET/XETMSu6jnPodTmBMDs2xt/E/OI1
8Rowi284aCLITsd/Frbmpc+c2RPP82FvTlmrp0SfMGBVul3sR3eqNz0yxEYSlovOXOo1lg9q2JWJ
2tbq82940Q+EFgu4whCQ4UY3EVzMzno7VRFvCwljUEnl8bp0S21TqA3Q5pJfTPpmMEzXqrYmmOw5
qZ/QDw0npUJETXaIfgOtk8MuaTcm1TzLOVIoyo5T40KDKFFlEe0vuKaLcyweF+UadCfAogHOsfN3
JevpaJOMoKIb3w9x71r09vMXcmEAc3RiiAkjpOj4XqTxMF5h4HGgoaxsVdPykfh6n1u4ODY25v5t
IKbhKjTc0bOotEiMrqp6S/Yl677qfjZl49vxUip0eXBOVsDKpuvI9+CNzl8UiXSt5JEjAxfYbNpA
8JqXh+yLjl08bqone4FK73JRgEsKxC9G4zGo6szCG1kyaKYPObBkaWSuG5sON2WSxK6dREtsrfN4
G3K8eHUIaeB6sL65HBUrKMFcAlGRgUc4mSZnyqa3NNBwtFLlJqRO12O9cEwudgVsCopOA5quCqpn
82/GZNpNrFb9ckQ7Ctn52NcL18eSiVlk3VbMIqSCiZpNNWjK4Xczjy3xQqnzewK4KohMIYBHCIHM
ct4MkrS0lDVoE4L0zXmrnyFKfpf4dNX8MHYCGdd+/Wa70Ke9zxqUeWkohY6/VJy7qIHOn0F84Q8O
L69Hu5OiWjxD6wpKM9UjUIWna3bAfHMexIEV6C1YQifTjZkPcprFPOYikzo9g4lSM7hXHXACzF43
mO/sFABdEKjfdKrLMaVR3mMMSt7m8HdQpUzR6GSNXxYe2KID0UwB1awODbIF73+KcT7eNrMHmUeP
SLmNghV4EFlDebtfU5L6Fo08k4cGlV3TtN1Meo7Hl1a2vK7PwrqnAfjtfTtTAx3g4sEix04r/DG7
n+qjJkGmgY/7nDmhYz701FjIQS/qR/MHnrlgomURS/Tq9OZAL+YTD/CfLYVYGe3AhlV50mapMHYx
jzG3ObsisypKika8pHoU7gzQPMerLFQe65CGS3fi9RUKOksbqB/UK2b704nzCWNJOCPaDXm0R5ff
Wl+A41zH+9YHB83EQDX5VyGcIC5C9iDmkFEiw+jX7K0aPKNIWoo4NIsdJRjtSlOvbKP153fP3Mmc
rEBdFokZWs3QDT0/eVB9KJtygpW+yz2JaThenf+5icu3B1IiG7oOYloT9cU5xi9vhz5XwYQUGm58
JLdWWK8g3etad2oo9MIEneTnFud3D3qQZwZni5IxPdNXYw721uatHw6pBJGO6vVzG5fH1BbD1FgW
XAUqV+ZsT0QF1ejIT8JFfeBgrvAIBvYX6aa8z58Fdyyyv4N236HbjB0Cenk9hGDJ9wqMiYsAbrGe
M49x/ijzQZ6ySjgxqzIOu9DeKmvBWStaY0tu+nKvYMWIDHFXADlwMUjeaBEtIDOdhLqkdKk/gTwx
c8lQWX2w8G4XLOmzWAVaHcBmIHcJkz205jfRatoIMGq+Ze+cuBguGNam3wWjECtPIE4S4P8cm0Ph
geTr80e53EoaBr+RZoDlClncKar6cDMlyENzMmEr8egmx6hX/ViPS8iIBRunm+mDjU7nXIFCYBxW
1V0BKsEEEz7tN3ABZD8NwxWgjD/FOXVx8eOqQ9nwhCtE5HmxtE5TJxo1SRi/JpCVBoORwDjbm3gv
mMflP7GBLhIbY2ZSfPcPK9VsiWAunCWhfCc3qLTpHlvFJvIIqAiIZidaR5kY8IGWeez/1bnEuXHx
GT4YLzq1qsq+TkKp19laNdPMN/u6+Ove7uy1zqdkCy3utbGs41A/ZNi5oK/GKBomDL7UvgPVIu3d
klz9/vNdOi+bzJY297BN16tJwqs4jPonPX4A8mG03pIlVeGr+/SPDTMnndW0rramCqdyMN/lTnZz
clvnixowInI+d2YGAlJIjqOcjDRlnqfQCllpRMo8HEJWe5kQRJmCrkR3M1//prU1Tsch95Ug+rLs
Si/SJCBgz8zPtijTupwMwrzzQJXD+EqEFovPA649yv6fOYeX3w5ILFF6RhnYgW+d3SPgESDEgrp6
iNszVAayz6Nii1mZLVeNhW1yAW8D1Atz21BYAm8pRMnnLelEM2kJbl0pqH9WcDRpkKNjq6ASdStO
XwZdK+Vnca+8sgfyogNwvJCrXy4V5k8gMPBbAbgxWyorjFLrm1EKENkEacvDmG1VA9izeFjqaYoq
xfkuQiiPPBdfE1AOjDKeH3Yd0CCdOJmQFRR5hMANGrgUyV9nH8c7RUwD3VXMKIFpfV70UgYzN8cp
ouE0KG+1WgYqvatL44DCLMY2TD+PWz+GBLdhPEzR5LFxXLiixFLOl+qgVCowbhaOBrR7z5faS4bW
4Me4PuLXBkARufuGVA+0B6lb8YX3eukCzm2JL/zBh5LRHHNGYcsGeKJPJler76eIL8Rv11YEngiU
TuEHdHSHz630tKiyerDikNd3PMIA0wTJ2QGUWupXiaYLm/LKklC1BOOAJVqRsHhujMm907G6xUTt
MKrNwSi75F43B9nwQPBh/I1gGN8CRACoYYLwBz3wc3M2yYlCbDhRkebi/nN7dNt96pWbcS/APdnB
+IsFLEAgRUUPoSrOPpAas2AqakrLSolMQozSr3P7exTXCynrlQj/3MTMaapVRGW1hQnB2Zce9WBY
6/CZysqBeAIY0Rbv8kWLs01vRN1IOIdF0/KqDfQaUBudVn2YHuKNDAmR5G4p+r1yM5wvcrb3weQu
U6mDSfXOXgEXBtw+RcSS38YAEP2JAr6KnTA71/hu6HqCW9ISkKjznTJlRj8l6UTCbCNGaozvBLrj
JxaT22q1xOh65cihewtxPOCeUfC0Z/WsjqssBu6GhKWVeImztbQJzMAyRvZ/FPqXz6OVi76I2JE6
9B1xA0DpEFL15ysDtKeUc0PsSNe8kzGma3vxGjn8ptoxwIfUr1XtWVvZB3Hif+s8//M2/G/8Xt7+
9gLZv/+FP7+V1djQGAjx8z/++0DfmpKVP/m/xD/7/a/N/tZN9V488Ob9nR9eq/nfPPuH+P3/se+/
8tezPwQFp3y8a9+b8f6dtRk/GcGTir/5Z3/4j/fTb3kcq/dff3kr24KL3xbjrv7lPz/a/Pj1F6FK
9D8ff/1/fnZ8zfHPwua9eCP/WLX0tUCq+9tv/O8/e39l/NdfAPr+Jwj3gUMULWkLzgLnuH//7Uf6
P0H8AodsoVctq6cfFWXDya+/GP+EVJVlAKWJf4KihSjBs7IVP1L/CQwlMD7YVQjkUGG0fvnvA559
qT++3D8AA78tacHZr7+IbfHHgQDKDfUQODDDEHsUfISzbTOyTkpL0Cy6jg7mSFqg53nI7fuiXhLV
OT8MAk6HqxztW1DxghjUmYfTtZLI4Nrhhlt2Ywi8zXc+WK9KhhvBljvPpPaPD1/iPwv9uLC5N9MQ
PIgqAg66ideEm+H8QNRcafsR0YxrZ/4YtCBUFjBmDJLobvQgrRRojKR/om4wu/pAkKQAdipACJg4
RdFkduj1xKC4VnPLHQe+KmUMeDZsNcbPn69uycpscYNRJVIawUoLVUo5/TGMMji7tIWY4Xxz2PO1
nELfD5GJqRQ1a83Ccqs2uW1Na5tqBW5VDdqbPF0qMM2xBSdrkCxF0gxfBva5WXFOVtJaqrXBcskG
/EGhYPLpMSJbLqpIXS4LbEti39tghgNv1uwSkJtYYp3S4BM50nvW1/s0y7ex2m/MMY0WAslrtgCD
QeqFGrKCgZvzXRjbeZexEoui9jE2m7AcklBpU3ds/+psBt4fmtPwNeKyQe1x3udXRk2laj9apzr7
8Ng+8fWAStn4ILvFIi3mrDwmjAHJjdIj6nQy6DFnsUKSSJllpLLlJvhY2qk8pkNTcylAuNzn52bE
6/2wAwulVPPanixMSd5W+Z2m3lntQvh9Kh784QLFLj+3MYseoxQ0OnaCpQiaGyPM/PKIds2N4sf3
Yl4byIy9/FyFyrq5idAmRgjmGR4/tPt80z2X3xBemp66biFnZa6B914vocGWXvXMo8iRDUxTh+cT
k0VsJQVNwDbN4hfFvfHxKrh8DzOf0nBBACXhXTdgcUhRfgeXJeaxMAQxhZOv69AzaNZisLs6dp4A
eat+vtG8Ygu+Hla5wAgsuJ95an36Mjgz6OMiskEfchYC0xzTP8PgWG50qINio5GTdnXmA+u0YqGx
tQ75ox3quxjVX9RpFswrV1482F6QTjhCSwIzbOebL01kPeGNY6N71gf9vXqX3k+gxjqlFvZN5Bqv
ovyU7FI/W8TyzuM5sXYgwRUdveUTGnzmDYFJzTqJgEws2XSbdKuhpp+7LBQj4G1obWPPlt3MI6vK
Z/IiRvrayg3ExxqYnyygIUUY/eHYRZXDoRFg226j62HPKn8cNRDPIHnMQeVr5B4S8K0tqf7nt9o8
HTgt+qPdWVqlqDneBccb1wrMfMYkhOv0elBv17a0NlnnZobsdkwJWrSHMNTnJ01ytCVltfAcwivP
XAKQD3+sf7bxokEzGdHxHNKkoBONOgTNHkhdBVqUrbQs3qOviVIddkV/u2BafNeZaVtX0eLHdYE8
fc7cQkElajsWc06bznzO77p1upG2/OX3sP0saj8Lka541zNbs89sEsvqoVbkwPNVGwb0/TYBVLgN
MQX0NVnnyBWKRS078eo+W9/sE+e8gwbV0DiuTBuXqj8k9vL5Gzy11z6zMPt4VGvrWHKwqgxXk7o1
QnRvgQUtfBWzTvU7PcQv1e5L4dZiAv5G8fQ9sGI3XAdOcy08yeePc1Lv+uxxZjcl0RkUsTQ8To3R
UICO9q03esmtKNPnnuPd5Ef9la3AwrzOt6ijBwaaMhDb+yr4Dxi8jOpCF24d3zgrgWBN7g0vX9bv
vHbyzrbC7KK1W73OIPgktoKNp7TW0cbyRGKsBHy1vPWu7jywNmKboziMquK5g0lKSopO7DzbeKjA
4FFkzxCpW4q9rqwKKBlLUQFhAvMlmsznZih2uMPAheJGg6q9I9Ep/KYssc0xb3AYxq5+x2xWJ7lg
ZtMxHKbWZGdmchOSSFF3PaPRtlQIHH7LO7/WCwj5OFO5krjT/ixaCrhaPRgrrWEoxrChOnSaRN64
SeoNydv+EDtdHwzjaPVuD5Z3f2Adee2mEdWNSZd3HEiYcFAi51a34yrQC57tskgHTmKqS9mjWZlu
LNRId7EqN3tmTHBHbZbtmrwx32pw6ISOMWkh0biySodMWbWxkqwqaCDtUANJw9yMez8jjnRbxzLw
ZsOQPmpaWWypI1nf9SjVvjkQD9kzrZiOfdGQQ5lyw+uI/b1oJz1gLJU3klGNHn4buZt6RXrR7AjK
IvkwrvMp0deMOs6OdlBo5C1i6IErBlwlU80grrjUegCZZceiM8xDEZPxaBdOvmKSXW/iMtE9U41V
r7Y62UMFf1rXZq+ENbrzuwl0s1/K0jAe6UgcwETKXPuaklS660hjr6xY4qZnKy3f2/JAdRfiFsrW
cJBDSp3Wh3qTjM+OxOqNHWlZAOFka0tMVm6ksuq2XJb0Nee67JO4Fmlh0hpvrSWnIKIeFHPbs44N
Xpan9Y3d4zt5lEvyhlgGmiVMHbZ10tQhJFOLPcRoTYinyrwAZwDoJWKoWz9wp0/2KqnaIC5q+4Hr
TbWJ1QpcuTXnq6hry0e1HeNjZDhTQOxCsCiow1Ct86qjqlvWRrzrRBK5UetpPFpZPoQq2LW+qrmV
+TLN5NB0MnPV5S0irlyTdFxQVYdb2srCqDMxG1d2vf091ZrhNqkGZ0utoghKvShDSmz0sWsre2Gt
rj2nbWfudblWf4IeNrHdFgqLgT1EU6gx3gTSaBA7hBhcsZY4saRtojJT79wut+ij1irK5A0trzO3
KGMLnGZ97jwXRFKebCs3jk6v5k9R2qTbvpyiwxj10lZl5H7oY33dtAAb3GkWlIi8Mdda3R0JrgUA
2VqpPqSM5LnLm3RqVgC8ZTf2pIx3vFOzLZBx9Y9cJg7Yec1i6tZJWugTviE01byIFcUt0GrFM02H
4Z1ryfhklyWkW6LUKI9qE5VPU6PkULNTqxJzRFNTe1FkQ6YgG2rQQY2cpU+GPJW9m7Z9ZKwix0hv
TK3G6B10c2XH1WTNTv2G6XSTaQ4DXaPa+9gBshclVjyCK1tVPVWvysEd6+h5MiLrwAeDuFHCVlZO
8Tf6gr1Y3aB8JUzK3NTsUzx+aW6bgv5En+nOgUzSm2Q71G/wZrYpqA2Dri8xhccqMyjTxknd0q7l
TRsNkw8pEu0GKHbdZbQyN/jFQZX3HFS/qb5q9a70TexU0xnlo9RyB+My3LxxGtK7hMo3U54euKQf
FSNTAUo1+Tc4k9doAhEyBgzqTeGUiWvHpgEVErxm0tc3BkbTXQfqIi5pFcPNOxuFYbSBb5U0wtB4
3Kt4HOc+LfUazs0yDnYytbWrNhXCxZwbhemmecUCENDbHq3LJ30gN3Jdvk+jYXjoXN01NH2oqf0l
cgjdspYRFyzaqJ7mU+wyR58CSeKVp2ZOkDtD/y5RDY9uFNvJTtdTrLyCnMo4YFCkCWgZdWGTZTTU
+ZTvccNZgZMRFUobVulKBWGhFGUg1HVo4qlTzddpJN/wyoKGUkeVHU6BabiD2dI6VAilB+w+0MoQ
S7/lcf9FoVG70RVJ3ja6PN5I1YjZOxoNpmcmbD9KySvFHvVKnfGvBAqVbmOX7RF47skD+Mg6yGa6
kbX+WJBh2GQWFB+SkbfeYEbaqo+tyutH49kaI8OtGpp7SpVBiT2rDT+DooJvFFCL6FsuB3pdqysA
5iPXHNh7WRLrBcBOfguOU9Ai6CnEwFtj2kDwwU+tKg1NnUPZrFPjn52Z4LPmQ2keJzrdQxbwMavK
t5jId0UpQXKlScE3b043SYNmqtPi0EAp5U1OpacOQn8P1dT18NsmXUOaZtBX/TAa33LWWZXvaN0I
LTFbvrOkjq71uriDb5q2MW2bXUVjJ7DbZFj1toU5mTRqvQRzNr7OmvhHBGTQamIpEp7MSWOct8SJ
IKdXV9V9Vsq8d4u6aemqQDsSzBMT1W5zfPN0BXU6CLSaSmeZXtdpmc/aobvPpw4AITi8LoTH6wXi
T9Icz06taZMXY/GTsAkftAatn9cVIyJuZoLGkPAJCXATD99LvY2kIK6h/QPyVMZf87Ih9yksQE3X
tO9KQqH/Y9Sq3d8Xgz6+1HXfT1tMeJjxVp6cplw16gje/BpaGY+dPTbPKEYLOk8iRd2aAKkcublE
CwhBprkSWmlsbger1FBsSDrprchzqYbQXuVsyqYFM7JOFbYCO08OqV2SpjdyGjWyP6DWjIHlTtdJ
kEIoIFkRWYqPlWGRVZQ42h5czmbsmSW6m2Cil8FV5PBMzz3Q4+Vr2ZrKbx3ks8NI6YzCRzxl+S1Y
Y3PXKhunhHBkFn9ttAqqkXWrtcmKYY8ecFDlH7LR5bfoHCsvUufoPxvMTq9aJ42eeKw4D70WY3qY
0gJMkINe70ieJUUAdE77YqvD+KzXthGOlZ0qriFnCp6kqPatSa1VMhbFtuntzPakSKZOGBUO7sU+
y+7rXq9+aBGDZvNYjDsAtXjiEtY2zI3AbnCQ6ijbThJH8VJqW7oznb66GRWz2XNUhaENIklb4Oiz
yq0LC3qQeWuCGEZJv45OwjddXToefmX7rjaDGRQQd1ypca9jXnhARI5q9QahEvOJVbDA1Inmpxo0
4jV7Gn70Y2Xu7bage12px9updaTCR61WdyUTTFHS0JWPqc37fVs7dlhwmW51acKYRZtjCkG2q3XC
bChn2TGEbaRa+d5BmQqMBZmk3smFlWwUyqddTmLHV8YhKj3JagCBsXVMn+DO9TAazO7MntPbBFqx
sTt2KfVsCfK3/WSohyGdmDfocnKn5PV0F0vDuB0TFq05GbRH5NL5S5xp8KYYttrVPG19axgdTy1k
PTCnlPsCeXHMC7v3BkWJgsrQpNEdyqnfVdIA+qLeKOwSMWIPTke96OV7Raudg9Y5rZdDewg3S2pk
ay2Wzcd8IPRQyeb03Uy69DD0qlK6UV5V27xrzMKlBZXuYkXr/dRsBIQq42vORqDejaQJVEXPXjsl
4d+KaNQQ0g3c1ZVRaT0E0HoYIWg5Kjk0RRymD0c+9SX4VvNpM45MUb1sLLR9WhJFdku1nH4qWSnd
NnZb4lZpMMlXD8XNRBINdZZmWpGmHI+J1JsPn2eHFzU3UHhj+hLDzUCrANU/r/IAgYDPyzCu53xH
Fcqtm/9j71qaI8XV7H+ZPR28EVvId9rp9NuuDVF2VQGSACEhCenXz8meOzfunYhZzH4Wtejqqm7b
CdL3nWf71Jr3dEaWAhv+C1v4f5ruP0C1/MvP/UYD/htPt9fufxB0f/+F/2bo8r9Azpbp3wgo3o5b
6NE/GLo8+usW4QHKCjw/sO6bcOofDB35K/s7YRf/LgRc8zdd8Q+GLvoLOQr4bYQkAcCD3Dj5vzB0
KJP+920ZVFIOFBLPRwYPGP7pf66xNKXzXJS6q5NwXu4h8qB1mo3xqZycvTeDYbtlEfxO5m1+UJi8
RA3X2HLWvMcc7V0Hz9gQuK3xUfoqHckPUzmzu5GUFCpaqNprbpshruy6mOeUOHWiVo4b3QXplom5
eESF/HhRHemvmkb8NWYJIAjHfPJLKIlJRCzlFfzJWGvnXFfBRR8/W95STFbBag3aBFb2gJtLyapN
TPsEhmy+n8OMvdFsWuqZsqCeIRS9lN6lqOv07DEYMnYZmWMnfDxtnawmoJUVM+QcrBfXsm3NFfpr
pA+khX0QfsTMTriwWV2kDuGVnEVqrBWiiZ9b1zcHZBaoS9zQ9kOFern0mOYSlDyvYts0a/dLkYw+
CFnOu5SR4TLHufkq4BX5SJthwE+8aOxGtmP0Gk1aXlHGQg7SI3gqXuFCl6luH4mw0Csvse2qYVrb
I8nRZYDZvb2O6UwPKjPjDikD7UM8MdIjczJaKjIn2TWi0XDXjHbZO6TQ7d08Zj9UpBDHRmZ41VoS
NucuyMpPVbbyUsI4J6rExP6c5qo8tWuhdoR25i4SOvsRjGNxpszlT02RIUVkHte3ghH7xscmP94A
zyfBh3zBdmLNTy81NqIx0sd2Yfx9BipyjJt1PhAz6joqC4CuNmo/F8z897boJle1qUe3QSL402Ja
CKKULr+5Dsg2Mk5Bf57P+c5lFgrNketD3ll1ypR3+zzX/AkzcPjQm6m8uGCa94Oe2TmiabGZcSSD
fykWmJniuRxN5XhgjiWhwdU0ef+txIxiZTlAxzomHHew7oPiu22crOQMU3CrrEpq4cP4MEwCWbdT
1tVmWKbDmHhzdU2I7gyL6DJfUXDxdZlM8Ya3LL0sQ5hv02yVyD8qHb0vYZyp1wQXR9UoVnbHRrPi
SohO9ngoupduKABU+XAVHzY17gcaiDtZqVmqbr+UWXlAJcmMZPgmwXggJ51g+A6SOjblwGuPTC+I
q4nbl0zKXSZyfiRrgHUpJcsldHOMbcOwtgqzwD+5cM1eMx+yt2kp2cWbNVT1Eo4lvKdd9swLZn7y
QCcbDfpkQ2mfHAeVLEedsPKBxgXyjfNRHFYPnXWzFFGdDKM4Qn49nLIm6t5XlLrXeJbnHRPpuINZ
B5tM2SxnF4T9phBDikB4MR2yPlvv0etJDmaMDJy2wCseBuQm7FMaBM9zuMRnXkzipM2ELJWs15Dk
O3PATR5tEf6HakNMHv0O6bLz6VYpsVttp7ZZYdmJA4547wxiDlBx6Xc6UosDDDAGm05l/WHF8t1X
Auft1QwWoQELHtmDoIn5XEXc/PQtXU7QHSDzMxsl3XZemzssnOvBN5SOVcg6EP1mKfo/2N/ba6iC
9jgUcXeaV4AKm4lqdRp9rv4MYRDubV+KzVgs+sFYOTw1mYvqtUn9N3KO2CYZDei3kOSb0iXLi4+S
Dlr9IODnbmowyolGLdDuD/07SOfyAvMzGIN2cdOWoHFi4zVtXyQsoh1aEYncyykaf+In3dwDk4Ql
ha4YruwqQqRPYve2feM3fYtHEnPRiJBYNRe/Y0Lzi+z7ua17abO4StOpeZtxD4ialOcg1CUO6ljd
WV7q934u2d1QMISfTj0mM9qvMI26oRrwpdPd7AeUDhUw/TysQ2h3ZqXwoGokOtXIdvEwlgb9FR+p
00gl09lh7QOwg07YNPuMCtldW553ACfKaD6WoZhexbzkex4G6DiHq9R+RQ3QOCV59MZZ0pzLYvbB
dgq76Gen5Xgpm37d+W7pogp6U/2C56FFvDETPTQAS+ae/cjW+y6bcrj9WT6JfRrp+Tokvg021gYC
EbpSiqc5ZGa/6tAeERVo8lpGof82iV6f8K3Pj2gwWWAwSuVJOi1OMTatA+0jiharEO7WzRys/CcH
THSOkrWbqz6IxXHkg71GbccRIoGz5icK6+jZx0vyjIcN57VwyXU1IZ6Kgrbp0XGZYQ/Hvl9Nmgbw
UwyBfi3zJjoQJOGiZGOd6EfMPP3BQlbs+7EUdyFp4bJQmTxiHSyPgQmyRxwGwSVaV/XkBgMd3iSW
9GJ9EuNKiwAKctYjjYnTnvwpnR52ehII+IYOWiDEg7pfJO4jVC/J2T5wQF1NVapVvqHyO5uRQabI
gwKOiC/Hd15u8pEkSGFbYE9qkxLWMpVEv3EPK7tRBUOkhfYT2eABF1A2Z2QkOzhAy1dS2oVscgYH
ZN2Pcz9XwpThyU1x353Lfhl+A21FKezaiSHAyOBuIIgeU70LG+31t5gC+O5GCylDFY6mRf2pSZ1G
Bv38UzkLk1txmx3yWc4csExhkirgvsAC0yvE5eSx7ee7ArAiwcHr0JFxzSeDQLlAoY06JaOw9ZK3
wXT2PIiCWmrKIDvqfNRXSSvoXRTYueJ+VOh7CSaPtvORxT1CJUhj72mxltlDG8XTS+QWSmqUcxn0
EyqCCKd+sAgQXdOljE6FHzj5QyKmwy1aXQBVUq6PczTQ8mlKuyipAIsmw64r1qB4Rn4NPigg8sgD
0WAN3E4anq1XAHZjhP1MQGWc7AKYo95bTZqXsi/MUZS4RbfK6fA1nTqSV1nvAiDvY4CsQrjqeW1I
E2WfWQqMKCYtgAVoyhb+W5XYVSraUDyVOYkNUJIinDjOHasRKmbbBJRLX8w/9ZzM1z5ldNokNqTA
PQk+rLbp1EPWEj9VxbjGv3zD51+joDPEP0EwwOacE/3cSYV0xGWeD6gljE94o1CRnBrkEmuugNeU
RKm1yiGjbYHjWPERGHxa1cQn/qU7xXdDOctrskb+LVrntNbE45DKJxrsABGEh8WEiPjAzY6XZJ7H
a6uC4JzMesIyPIb0WFqUS8eZKLeBkkCmItrICheC+DGjhWlnDGH3PhuiyxKyGVufmY+sCJvP0cj5
sgYxPY35lBxoJA2qNGXzOlJucOtLlH5bNjQfInPzJort+qvLyun1VtQCBULchfuhWNxVjMv4YeY4
BFzeBG+JWaAOZ2i0OjYYe44mIupVqoaAV0WcxWdaCLpDeXrxwjNOEWWMY/wBsHX6OvE8vw9SF+ws
S82JGUruM7AW9S0Rade3g9g1WPHLYrxkIjwlmJnf22gYcNu16Fnjsc0/BVqZj7Frij1qg+FV8VEx
fISD1ech8P2+tUIeiBvjhzwvumNY9EXN5gWKinyY5aHMxXJsFlEegCAWrooY0VVktfhsc5VVhZnS
vAons350Hc2COuoW+UwR1YlRtI9vGLEiDds6KTp4O3DXDPW0hOVZrDpeTkURgq5fimnA55PrUFdL
rKdnn0XmqcjH4UuyNNulJhEv7Rjy3zEf1QeXYv1UKhQIvvctVvsAOPqvwQTRFwPK+Ogzl92zODAn
XJRmRwHPoJWeijunEv3kzVw+rsaKC0dszGNbdHorw9VvLTSQB9qBK+kTBtkxWi53w1Im+6EliOxV
WbdpaY4/PN1CbhIKMtwbsmkgNtwMTcfrdgR6MZrEV4wl4aZpouKBrgU7LZAWQ8cYRFvZRf65GILw
kLlC73TPs40ZB2SDMLocQiSaHcKYxnU4g2WbANXWTbn0G+L6PwnWuk3odbdpNIFPzfX+pOiARx4B
FqKeME9WZJyKaixi9TU7g47biN9cPXBepYyRR+5J/h5kTX5WONXuR7UUewI0rXYiHTZW5vMm7Xj0
WFhVRgidaMQ9adf53MckvxOJoPXK0ddEhoZfexHQ794I/qob310Ui4JP9AQNd0HM0O1HYTMbZpa/
Aghq70MbdnsQfOITMI8+ac/6S0xJ9whmzS7rXrlw5uEZZYfNWxOHw9sUJdNWjCPZ8771h4Rlwzki
2u/9EpR/wPm5PxnowB2gZwmTfhwnB6j2wlcyiPHIbdxcULGBPbRZ3U40brpXeYbmoHB6m1sOX29i
6CGEIQ8cS7r+oBbERyJyhbzTpvRft5n5mBB+w1B5OB0WZJSGCDlsy2/YaiGziaPgODZE3hVpw3kV
wJ853+B3G21MrNv7BI/dUtkmoRuD+et3JKP4qtoyf85NHzzMHWnu00gB0UpSihANfC+22UuTh8C4
CrbuhjQHtdoG8XkRaVb7rhfnxmQWFU80jl8QR25ezARqZI/dTYGeJso+RwKXFQrfhHpIM93ucTIj
siTv1rNxIsDB6PDuoRJUH7UKwqsNS7mjMip2XZSBbeCJPPYMtN464Jh1U2dgwsrlezB7U1bw/fij
pDMWnBtN9mzWQYHnGfl6Qm5dWgfZiqj7xiBXlfUzRDh+eYzmiV4V/uR2jjG6QExH920oo8M6R/49
mgocJM6ycy84Qld10tVjIvm+o3yBcgm4ctfnZW3KwP0kODj2BbLPHgzLoW6KbYOoibIB6yXD/JIz
ER0b1aeXYpaYW4bMhbUux3GHGSF5sc087hnu3B12r2Ub+wWxVNyLch8vi8RdmvJdCaxyQ7oshZ5t
uMWo5KUUvzDlrEixAg2Akw/H03bVrrwQniOJwqK55cas7Rhuw5MA5bMTASgYTHLIx2zz9z5Z1Wmw
SXxPeOYB4Kn1FLmOnBZkJG4GsMnVOrjxgNSs9AO6A3FLdpHbVFt+jHJS7PArP2HhZ89p3ERHY1AM
o7HzHgPsYnd4jIraqhYVEkUQY1Ipxy22Or1BK0lyaJep3OYS+7LKJZRgER/rDsDDWza0uB6WeLoP
RAIkuB2KQ1YqBio9dV+AasRWdEQdukzrQ097d8J/nW392iDTmt3OYGFRA6mHJrxMggcAbae2tnQN
36dltdBsFAh5JTkmcErk75zhPXfLKOoisHLrRaqQaQNGtOLAoL9zl4R118n1C8cD20L8FH2g6y/f
urBL0ffFJGhnxYYKrvllPweLegEoYk8T7/t90kVBAKCFmTegY8NVrEB3qybP9EOkBd+YrBRPnRr6
Hacz8pjomj6NDJA/9HX5Fmh7BLA5FyDmWjxOLPWoCZ1WjhcevAz6TvQ5galij9qlrAbdk1QgCZCD
FC4wQ5b9cO5hmtoEIkruEX2JiIp4WuXPwNHhJe0wS4NDwauw6HaRN5XJjfPKgu0ik/SpbBSSqErB
fqbFap4XwoAsyEidIcJYp4r5VO4suJ3bp5e4r44p9ggqDyeUYDY8+qKFAogT96NFU/bDVKTLZYVu
Bsyl5+1R9wnMxVCgI5V1Ra4RSRPxjlC0CZG44GgmELWnNe/LCp/4Nre9xqqX+uIuBv+/HzkMjXWI
ueq84lyy2yaz+urlAMWR9nS7jgrCEMftQbA++fR4cXYTzPkvc2/m25SY4jaDbeBqAfk/w//Y+kq0
kkGqOQ1ZPXIAW3rkaiN4ceMl8wjfSzzl47ZJnXpIMKteej9BaKZEzKqklBI0uPTlE5YF12J0Vs2D
geGxTrA4/AnzHjKP2SzrJTF6PE1j3L2PAU5dUlDebsZ5GU9ITQTw2Sm7w0Q9tVs2Bf2ZpUP3CCQN
4JMM6FVGnBz7yKVb3zj3FPOmvUQYXF+g3zCHNQjGbS64+bXQKNwvYPTPCNMcgaH2896KYHwM5tD+
tkYHZyK68pKUa/fOxCS2hY7lB7u9WNrEeL8bnC5YSlAXaPyKLq2C9MFQS7c6i7z8NvmkUzBtVAqY
i8hcfmAdsTvgjP357+8rXFp6hq/TYc5Ilvl5TG33XgxufrZjU8L5CDrzmo/I7IrHNf9DKMXv2c7e
T3ienktRlMe/EfP/Jw/+I7ppLP93k8+zlv0Iu8+/+nv+/iv/TR8kf5UFdGy3omoU4CFX5J/0QUb+
uumHya2VGxaevwOb/kEf5H/BH3KLq0yQUXXzD0Ol+E/6ADAsoqfLEkqFIkbI3P/B3wML8r9bEDJU
ciF555b793faFr6OfxfBtXEsc4qrBtDiDVBe5ah2QyQACGRBiYBlMrbNcaJJ88i8kI9uKgC0jEmI
+y2Yl1oK/o2gK3VSnEO+g52VdRCuzEsPS2I3sM3UcBziCCR5H/IR6Y/Ov600nF/xx2PowqD26opo
gnQp+YaI6nVNOOCGWKK/AQhCxahnNdgHtWHY8b9SGrVvhnfL01xA+5vwZNr7oWwvqQOY5oLmF1Ig
mz9hyaJNzB0764S4Ooj0Q2jn/m1t87lesmy5D9PPIJ+7wxDNop574UEJW7sRgUGqdLb0u4hZWpdi
zGpIoNxhFQSOQI6KtBF4VIghpaJF98wZPQMzkFUCrdt1aBbEjxDhz/iw/0TiFiGVUXSOrcu0DYnt
0KfqNh03MAuYxgEmTiD7oc14iUZLgbquHopH86FRnLpthPVvQbiOGuYQSY7Qj/xpLIbgDijxFk71
4Ni00C7Oa+h/W56qDS0yUmV++u5AFG3RaGLqIlQjtr2Grhf0Wult36rkqewmHNK+76ZjiJi1AzWp
qjCsRXvsxOLRr3khqxUbCUZfNVymdSYvindU1dQDSakprrj9qHGVV22PpBWgGd0rvU1UmyUvDNT/
wVAUNScy/SLQ8y4bHc3DhKTaBiMUTJ0MmjdV6KCarQynGoZLTh/TpvfQl2atY5u+D5CCl4cLq22c
zFsRB9O7GNwxF4ScdTD1lU7vhjW4I7N8LTuCIqn0lXFEvWR02CwOcCe7W7k6uWQ7YKgkWFx6yY5t
gFYQoU6ynUFt6R+Z/A3oP3spoeWpILwDRzON4ZUJ2Cm8A3IKSGMCc1WOxVoF4fSyFMsFQ+VvTvye
YXRw5pcv+WcYUnVYbg0GTLiDm8QjAyALni16aZYfkHpcOmqPnuVqDyYAUR9yeursXRaa9IlZh07w
rPV1MEK/bsN+X5Bkn+SoBs3QJM6GtX2LuYXu8T3O7LFw8hjAx4PPBrdqNj9A2EkqBTl8qnX7SpRY
qognu74vfmtgFtVqIwR56Qmb+iLpIUJwegBFHuwD/UXx4DrOACcJPWCqiDbMTAfro8rh3kWzd18Z
azEEgNEbQhpVZY+uBBBlVcLc9yTQ/ZpBemOgkvJpe8Wg+yEzp15blhcbQ5KmYvgOyhFbHu7J3NO9
mTQIBOiugCe9AgV4DBa6GVX24qWBbyVT/G4qlytC9os7xpqXQfvgQ6/aV0rF0TbW5d7qHh4bHt81
IDyGLN4UOqqiheBuxqMGCSnhHJ2Y9AIJV4LNeI/r1Id3YpIn4d96+whBUY0tu4dYQqKeJd2G6g33
Op6InZvzTTYgYD5Ejcny3UG/G7+t5W4tvrPy3ohTj9zSNtlwvS/M/TrsfPwOusCKb2N2irknG9tK
DOQgynNBvgbzGPof+Xgn1Es6AQHBznvIcSzluOxbxHf550DSpzxYIdAbsWQM6N0okGcQb3oO2caK
B9qnu7Lsnrv8ZznfRw2EUrTfQVn4wRIomFJgbo80HSAXu2DtBOR+mPzZDuNdEgCtMjPG26Nppx3r
XT03R+Ao/qDia9r5LSz32EgIcufxu1UWgyWI2h77NrnPQbX13pzhsHrO8NaaongY+vY9FeuOzuTD
hOULy38DvT4YgQC5OaxIH16WKdp0s31ZUrahoIJjdBMCjvL5Gw6GXbrK5wjpnUmcP4+AptYbpLhM
H5I5Dfwa3KikEHsm4iPtEIgjnHUVWqI3fYRKQ5Zss6DdSpo+tA7P0kRBWIHfwwG3C9X62Tnx7Pl0
4uSUL7GolJcgRTR0fOHtXdoRS/ZdTq+Dn94ThLMVBfwxhtR6KsgJVYp/2pIcE+culnLAUeH0AXEn
yZJjE4KQLRp6SaShNfCdGq69Cwy6Zx51ZxoshzFAlVKJ0vNkSspdCPQpLAPQUmjO5vqchaChtVw7
QGYJxDUuwBAo4TtYuj9uFBecASAw0vwScAM/skT7CSRaVsXLvV3RMzPQ9DyYbEBKCSWHoIM1sCRQ
JvdBKaopZAfB5aMg0YX3ALXboT9b7GoCZ/m2KIdXt06XheRpFQ85raMGAaZZKdt6XmazzVnzQQrF
f4CA3bB4sg/pkFwkb5/bVezCpbkjBoo4S0AixAcXpycW0S8h8WGEyICsEDHvqhDhy301yQLkCA/O
AKEMuGtwHwzDBT4o/qEHVu6K2K8/fZE+KYbeslUtdYZI+NDa7KSD8d4ky5+MD9lmmiN40VfE7Ds6
fhNvkVmS2Bpmq99WaSDZmuxNYcS5XWUCmSnd2D44FWOzwOq6nDiU/lUBGW0twCfspBwfoTXYjCmd
IAbENQSLSQBRm3TbmBbm0uNHfvIeF3kJndApG1ydI2mnCcUD7nRdOZsgEweZf8pzKLPwsK3skEzC
bnG336OqaDeN/ZdIyRP0nb+jyInN0qbhC088kkhu+uQJE8KpGUAQAL4CcAArzRjY01COEZRNq6yK
VaLOon0IMC0CT7lfcK0PPn3vxLEpSDUCe4ER6yflL0s77LC9nExcN+u0x8HUCoaWv4a8kpzfjTg8
OY6QIf9wg1MVsnUfNU3nmgKBLOdkqoUmv0WsT5DIf9klhQdZZKe1a5anrghx4oQ3uZzj2AnHOIey
3OkT9No94Nl52eHMD4BmQdLr7Wq2wU1uN63ZmYIANjKBqjgGhp2XkKfJHBp0yjfEFlB7ke69J/q9
pCSGFI5lgLT4J/cqfJfdOu7YLL+QLojHYDlZAj9XGXfxS9vA0jC3/UEqeUMAsJxVysTnJB3RlUaV
vayxYFUG2hsNugsIuxTCQxDmvvuh1n6osIuG930UuufBJT9XrYcn4OLtc471OC1Ru21AxlTaMojx
gcPfQykQ7ZYCqpEu9Hs9Az/HKfIoIUk/JUDRt6aLsVQVddKhqHsd7iVFSlm35o/e4wvBS4YDID8T
EnxO6QQ1PhTXmUkgRcNEif23RZCnjhFOR6fuqJLk2gp3108a96K6PQhIao2wx7qZyUovy3XO+aVY
PHrXy/EMovhtkvOdR1lxBanptiv7d6AZL3pcm/Pg0HkQs+xEOlArjuENHDM/b5Ni5EcqX2j66rOp
wCOLksZkXs5Fo8jJZe34CELjGSAQsr8tSOgktw8DLtC3JR0fTNJ/lMR3+9nTfMcJJjYNhTyMDhYX
0LgtcxQmNbmrRNoC3ki7a4Izqgalp+ogoDDOgNAtO3AT+froIgDykf4zDeXPKUiWupndF+mCJ2jw
t9IWX7Zx93Gm373vMOutyKo3Go7CX6to7nKDWNl+jLclIAptUX0tix7qjpUoCDlwqIA5KKbjtMTR
BmDoXE1g7fdTC0ED+Dm4CAJX4j3Ci6RmovEqI2F0McMXikHf1ZKldTTBCRKDZgrICmHK2PyWne33
RvIvqN/XDUxs62bhDVwirJenANT0Sv0mZvA34MCpfRIdhUPtnVAMWUA3ThycHZ7X1FWlzYqDcDma
iHtIAEp02tY339GmEfg/J5rj3Fx7CDtDOdSz4D3oVogRhrZ5IERdRISQF1Xsoyl9E1r9MSx6mVn2
sPL83GZ6hLFEIragEHaDGf/d4E2qsCg85hl0AxU3K4C7wZa1a9gLwqAZfAzQfcJpbjDW5p9d43G9
tfj5hqp75FRjRRPPWTTSQ2NDj9WNfE7g3M9worotj0RfMTM2mJDA90G3Sr47q9nZKWwCkHddySRW
cA2uOSPoDgRdipL7bir5lQg4MhFdCOd0Oq3Aazoa4TEy5JzNbEWRGo3ucCLbA8Cm5lSaXFaAu+QG
6rNPYHXRJjUR5tNAnQCPm60MHNpy1fDVjKw/Zip7m5IA54SnX0OATofE/uoz+hUFGULfaYzi8mDC
sJQESA2Yh69Bd9GxXYFiUmNfolLOj6WP4dolYL2GsXRvUnbLsYi1PfUAutAckZ/azCI9L8s10sBN
97SkebORofJAgFJ8McP6FcbrW6gJrzV2PvApTfugIym2duWoe8xMv1vD2zHcrr9Wjl8l6Y4wH3yx
Dk+uXnhxMP72w+jUfSQGBeBtYXdB0t5WR2BAGzq2+jmYcWBqKHqCWiwIkKi7ecbOWLkJpiqJdwts
N5TiM0L+FAyzFySdNuMZEnM4nRgrJS5T2KOeEjoP2xjKtC12HaxxRbvS/aoSFA+PeXzUQmKEYoW0
aECX3tmKp8GkH0NHIfW/Cc7TuQL05u0BQvLuImA7QScpqGgcdrNqp31pg6K4a0o3HObQNHpjw7AD
CYoSzgiPKEn0RoOK2+RlA+28iUbYp9CoKh+GtY9ArSfNWGNlCeo+LVF0BXoMSuUC4F2F47VIN+0c
jagvSwUcZSUrhwtWaTbuKE9pCGcd2M8tTxp4o1U0xvuhJOOyVZYhvjIbfbICzYdtA2Kv9Ow05FiA
NICDpvshwCfa8RHS92WBzYaBv4x3NH+eZbCNoa0BNo0I+mioyqTZFaPrtxmeRZL8gf69ogQRPiw6
pjJ5vKWZbmJLwdaAZ8J5Ytu7nm4cWC6UAkDARMp2rCLDq0IN4JuDk090XKc+OMa6fwN6G23WGC8b
euyQz+gRNjzMxzBwy9bjraul7xCOkvRq61P2xIpox9j0Mfb6e0X3CtDsMQdSMKAZKYbagZ6cbh47
hYpKNWOHAPkqMdnIH2PSiy3UhXllgUZsx8njVe6k3ecBHvACaymsaDa62rxB5WBrbl9zrIeThCD7
0PgQJDNqamrNo2WPkwIdSdmuSfxbs8y1mi0gj2SAqqvzqHMV7V0ZxU9KKAsVOFT8huiu8t1EtwqD
98727f3gAwzaBFGn7cpjLDn9HnRRs2kmawGoj8+yw+jLvbSVSfILftJPPAQHHDmlayDqGDsw/W9d
QzB+5naPS/RZl+mTkBM+Jrg/Ovaf7J3HkuTIla7f5a4JmkM7thEILVJnVtYGlqUAOJRDi6efL5qc
O1VFTrdxPyvS2OxEBALinF+Oe5bmJrQkTPc8tm8YJOsDAUmXNEMq2mKvMkQOElQ1K5FQOrvc8viJ
DLwfXZCJximvSVe8lJ4gEYdU1JwHvyrvVRmd3LZ8q4z4WOeoVvvpdUiLdG8NLQRLcai1n61Tow3T
yroTQxMmbvkYl1Gzbb1oXQ/Zceh7f5PYwoH5shkUUQ6Fczs/pIZ4KXT8rkWcQBOUX1vV6lOmA+uI
O+FQ1NN1CsxXd/K5BKGTWYSN99qKv6Zu96ThObiI6/dqzu6wyJxqhfx1Ga1HB96ax2LvM7c5O00i
/mK2a8eUF+6tdQNvV+huwD9AooBnXngMrGCQUOQswaVUwatVNFuuR2tvKJPy6VtnuhHUzygIELz0
18yy+3WUq8e87l5Bu5o16qd8S8jPWeXBfWvPn3w3xh3HkyMezQAlj4NL7inyPuvE+BSbS7FOwUfW
Y1cxgwXB2qmG+6YgOMcsQQmkOnadavbTZO/QAqyp6wT4ci8FbfSZcA9z46G+cetNKiXCUz9Zab/d
4e77iqT1OfBj/vLYGKspDvauVT2ac8VDgHVlLbr6W53bH8ydR3NJt14rgEGCu7SdmRaNt2Sij972
H1FuxZy+9ICs8N1BFLNqqnhfVeqtTJx9IIe1hhUiVjp0SveMZO4kuIWHOMGxNt1PdX6RTTaE3hB/
yVriUbN+XQ3RWiXijVYhHRayfug8RUGlMaUrPs2XGGrxhvRJkXqrvlTWqqi7T73Qux66T6TOp8gy
2k2tnO/lhCqo8mL30Y+7MPKSd11YLs/8qNrimbqPa/E5Y2GspHprWm3vPQ+xQFEWK7Xk3XpASp3V
OttBpVCpxWP12MOR394G+F+m4NkT5UPnwvWJxLcYdrJLI5PdQpOF1fpHL0ifhzl4ynX2hZSG0Aqi
3bgsoSiG/aI/oac/xp7F7CcOU9E/JwEuxhI+Dp3hNkdkIYS7sscXLyt3qcwx4EPRbDoUh7BXqFAt
g8eQ9n8IlT/ZJSHxsKwU0eIr9ef8NA3FHSbssAf2dVjeB/K9uqT7apHAi3baCkF/T9Y4HmI//6Zt
cRgt735KehqaG/6wZfYPJKk9ZD4aedeZ73zLfvHieIOKDb2md666+slwxi3O5r2/pHcUZnnM3PZb
FvMSZrVBod373Y4vczt3QqEVcm8fFubW3t42PNPAx5RVP0rUuQ12x5up78nsxJOBD86R+Tafu0fS
RZ/B3hHHNogaE1xM9qQPKEfZGgHc5jT58CySZ5zyM6VgLCFJFA4I/RZPfvOb9puZNoD30Sdr9j65
uATrnCKc3G+2Xd6tMsMLCe18iDJswF6/t2bntVvERzEkL3ixjiZv5FXfJ18cNM7uDcdXUx/eHPFz
lxx1Z/AGdbAn4TitShjGKuySeWX3Yo2mMkSU1K/avrzTt0NpCXbYHvNGvZL1uuFxflfbeIa86J1V
9awj59vNoVMHwU43oF9F+YIsdmt62XW2UA+a3G7ZvAPzDDUWSlWNDy5yMYZ1d3JO/LKrXiWhapaN
tMZdF+m3pf/s82hj0Trlbf4g2ickS2tKVHajcKY1CtRjjDiPBTZEXehzl+qBTVdide6kfQX2X8+L
3C+de7JK2tbx425RMK2k/sSP+iBc/je1BHdWwFjJX53MCoFBve2xlpaLcR3Qf+iunw+ZZ4dRjh8L
z61EzcBr7CajsTFZFrz5LZq4Bm9Y874bNmmdvA/oMtOgfC6Z9i9+FMEUBtFWFea9X8MGT0WwG9KI
oV1i9FDljs3uwl72BS4pChGnMDXqhWUDE2Xuyad0mY5dam9pedrIGEmMIZjeHStYBT0X+Dg/SJbV
pNRHXaendEHWZ/bFIRXoJONsQ9hJiBVsO/tEAS/xCbM5WKXaj8b70MW7OZnhRcS20O5h4UlaGt8r
4CKsU+z+9dHt6k0rvlSD+aTj9KSKZu0SLVo4HypqHzKmy1WyCCbf/qqaU2eP59oyvzomuWz4L0vV
7CbGq86cn4WSDk/vdO82/VrY1r6tppNjxXvs/RGoOTXxcb1HxhitItfaJT7Nr7O/bE3Lewz6+q6Y
R7aE+Q5D2jFWmDezWtycbqwk+jrWnATrnC/2G2QQQ0t08prgc2dnL5hE8PRmd2YFie1kL7NFsHze
kio77aJsvmYaeKt9K7ruUBE22/RR6JnqYvj2lWz+m3eZJHxw6dq4mODFsOKhI/tdDmY/oyBe8VYK
AcbpHLipWapvzNKnhgoMQR8GOPkypKGLwzrpciR+0dYzp4tn85yLaZtA4d74WGPt95I6QCb78xTR
f+hmZ2eEtOMb14oX/NIf85woorpYsSJt0bAQMjYcS4jisQRwGHCYdWWPeobeqsgCDeOtW0JBGeml
H8oRdVMbNhaCtWE6pEO5c4NPqcsf0fZrEIlNpJbH2PLPOiupouiHnTKiZ8x7OC7QnxgyYkzjxqkq
kx1pOJid+xF0gssIqRAuqU92w/dK5DnouufMRBBJeuq2dNqzF9VH2eaIRY2Izo0lxO6wq/IMbXS7
sqv8YthRmDf+BhvlWkWMoH4aLileggjrvpWdMldtC270ccqOSEb2dRaEdVxAzFvfcVdsBrPaVqb1
+oeGZaE6Y5JrzCAokfP9otSHCqxN6kYhYqqv0bBsndp8srFuTA1OEZsaGhG8jyyKYbOIVZJV1ymx
sARMIK8lMFEOPUHUs1BrQyBcRsukToRO7CuEOKXZNrhy+B6EJjNSijjaF7xLib3JJbSKMTwiRfLu
msqY153dnZUV8PabHnoj+9pHKjrOKYoiqfSnQEVfpAoeE6NvtlPHBTotQHvDPL+hYvlRlfYdEp/z
kNrnRCPA7SLqfHGTRdfUMdJN0sCbNUN5SBUSGMDjVer/yHuQhcG0zom/bUSJIjrrk0+2kzrr1J3D
JSEqMR3ikzmcc5V/ts0zl11oKPs5yaFDFVESMqYaqObOH5x0mwXLFjXxugrkq9M95KOaEY66ZB8Y
4vNS0kqBPhh1XovPFlyB5j4vmBRWI8/9kDdTwrhEPG8VpxYTrxHPzxO6t5035ogfAOhxMD8NqGRP
tbY+1aMHkFd9TDnOCSxImgB4g0iRKb+2ilwWw38lj/XcFw6otH6VzaW6wfh2D3CsQ+UtUCkmXIeN
hdeOV1mAbdi+ycHGeaORkUSEhjMi1BfNpboSWmw6t2N1eVxszMMmQsl33czVgQkbDKg0iKOojC9V
h5+/z74uWe3cBV63Kac6fSSvzwx1yiEg4cm+lPdZIBB4+qidcepc/XGUrH75Q5lhsKqHxwXOjlXE
3NQ1qi2LAJjRChPI+7DxKdcbE/eGNIh9AguGsOdDe9eJZ57HPbGCZv5AJkecmlqDwXZ8v2w3F9HH
NFgVPFp9adORQ4pj3LYbu0CHbEAy1hn4P+L5m1yR5+NLHXd4K2BjoASRK47Ajapi9J8m2PS5OKsA
DyIc0Kbtcpd4HRGRFzQmJD5Uyc5MuMWb2tgnDtLANtqaURq2cWrQ65J+VWn7hIvMOI948eEc010W
dEe7xHUSDwRkCOyKlqZJvGoeg2LEhqJHAiwsNK9lFuxlHO+a1Dl4cX8CrjhGubWsu265Onl0D7B6
XUZTnVvulJ0BlVhFTUruybRjiHpNF8aBPKaKyMuJ8RgzKdc3lcJtmiDjLo9JO5bw1TNQCGr36cc4
tGGQtM6WxUDelRFCfYCtu1rAtogA55Wdn4ouSXm+g7RURV2vB8eNdlXSXByJ+2tVO12ICfqzjoy9
K/N6ixhjY7l4oPJu4bUXoIarmw1Wh2OZfdNu/x2eA+CdIc9b0qNWxcjuMrSvk+wPrc/GCfhndghi
EwBQTrxyjwttp9Dsq34y5Cqp6LTpxyIOF72tveID2yu/bwT9lu2FmPKtRcLIyuvECa/VvhQusMSc
h9pVpHr2y9rJ+m/MCyWDrclNlXd3uVV+aaR/tIfq3hyLbhUFeJxyet3ezOHGRNGZ1EtnPJUjI7gD
2lQmyae2Yzo0qIBaoUMsVlZjyd004kIr0AWeYrGUjCTVppWPia7Z3XBaMlmO6EDSQoZxOiRY6cFB
usbm38Zjf4wQRe2JfH0BMqKULksZIsdQWtEmLV3OzswK7GUfpALc4fzYKRe9nWG2b0GS1Jvc0mHf
d5fJdNQVfOcwFuS7WAnoI0SVN3oHWhbxZozWvaXZhzWuLsvr9iahdzbyWvJx7wWBFaJDdGEjJZtN
wAxrSl+xcLzXKBHB0+prA0i+mjq8uh7lXvi47zLT1fc3mXFVA6+TNX+HL+NDeUJtnNQtN9gKzog8
t04Hj9sUV8OsSC5JeAI4PKxvqsiYdK57oiu242htWmPibPvmqehtdPflsCPil+CUnspL34Z3HkSY
wlTS4Y2MR0Xw6KnLpmI/u/30AutWrK22A/rt8udxnNCFlEz5zXTQRnBAGcuVUXbrPI0w6FXu8+hh
kG9HiyyIZrhH2PnRL+NdZDBp2jjiaq/fmbpcgAkdtaukf+589aNzUnz6Xrk142LaOU32bVTeO2qO
i92hTBxh/zABgEtTO5bD0BDosgW7C1vr+0xoBFtig5Cgh/hzlv5q9cYD7711N/CyUbkNe1e/IBjc
dTY62MGJ3oeevsRWcO/ZT1Vg7tRAkoI2Qzcy4AWR9+1nzCN4SsuN4fqnW0z2uiNooY3vjSx+CKqn
GAlqJV5tT9FfgmWTCsQ1vAjjvTgHjbOn33xVmtxFQpKo03Lm9cD3H/Dt7o3BX7XdhTyWiomAovKy
faxNl8A3HsLwS/HwxYxxICGCn8mVQgESz8VzRLTKym6Wj1H3l8J4IKkYpNojqbsSq7RLNir3N9mI
6akTj1M5b4lsuJfErVS6ecyc6M0EZtFpuXcy94A49+LYbGFmWd2XjN+JBlUjT4dMkGtUvVtjFvJM
PQYN5sob/8kxdY4DgbSlqAQDzfX32seJPb/60ZOf8wfywyycq+xPY0IbGA6igEiMxMKB7DxokDMr
v29dcJ4fS/fNn7v1RL5GkB//sJRP09pS3PyCd56ybyzRe2TNq2b8mi8FQycNnA7bInG4VjbhTek7
Jg2KMLN1C3Q7Md4Fc8cWGBZFMW5iY2fY6qFouRs8dTdbHfcVgpwm1GxNIpbmGQ8A5Pb8tV+IlCNm
Y53bl9tjOTOvicd4A2FM3Vg4GC0ZZCWiMBEAIi8rD7jRaZ2roFMmycNS8D7Ivjsp3kguH3tBeWI/
oAd+kHKf83vMuBNu9AEOyxfNqzjV2D5he6M+XTlc2rlK1jfFu4vmykfyHCVb+g/gOH3EJI8wMie9
nH3rm1MdCIE3ymle4VHeVstjgVuziw5uRgo3ctyy5ofS0T61xqOQXG0l5e05cc9tsrFT85FMIu7p
VxyHB9KCNh6r7O26zYd31nE121vLZmcyfV7b+K27PbLY4LUgACBeFYMDI+GTMcY8gqF5aY35LIva
+mpkw3jvt7enfm0Y+84siL7TSfzNTCaDEeObMbqPvAC85OxA8RNIOutHg72H8GQ570l4QiEv5nzv
KmLXmmnB2LLgNNN4a36AorahgauTrcXxjjptKGVq/acMHmjTyfSNRbL5vgRLFvxFDOCv6Qm3VAcJ
e3RLeCBkXdLL+Kv+sUrzUiIFrHDy1Z/NCmbO3WJl3/4kCr3/R6Djz2Gav+da+vxxx0e16dBnx3/5
LXXSbu18GSlvXuPu2sCrYP7+x/f4PwXu/zMlv8n/rsC9/2g+4v5j/lWBy7/y3wpc5+8WyfUOEfbS
F6bp/xTgYf3dc/jxoTbwQxIeyz/6pwLXMIO/EwzpkZeNPdaz8W3/fwmuYflE83s2OeSocGXAJfSf
iHB/vQI9+kH4U6xbDuEdNDCZv4VrzlkFZOUBtdgxywzMyspKhbXuXHb3n07Mv7kK/+JIv1eo6hHe
WjYciZizOyUJXjJMFx5QPvz5cRybEwcFPsdVeSs4oFbJpFCc+0lYRICTd/9bOHJUtDUhq3ayKeee
F01gYxtbj55RMrwU6vaDVraJAC2KP2SKoy4EeoOIrOcahFFN0m8+kNM0bG9CBzbBvnivAQvzqguL
PqiisExJyiKpTbtb2wObvOOBUrt7G3H/dDKI0cy3Ln3jRGtMlamRX+J42DSRP4hHUc4tEGGCbGkb
xHjbV4yuA2leg4agsJ0l0Xsj60pzO0cIG/ZBNABumM3sqa2eMg8hCJmJ5sb1ewQczdS7DhifNrt9
jXHB37P0jd7aFEZTbB3V8GF1V7X909L2U72uXX/KztIq5iXEXOFNJK8187KVCI2cTd2LuD2UhZH/
mEfHydejbtMOPtgaevypgWi/T1Yq0S7xOGFVzbH9PxKPYcII6tp3v/gNi8XGZpwHnvLJRkfGqGBs
AuCyFKKuFCVTndHUY3kkv2hyLhIADHC16llRy+CmdLKHoY925VLLche5Mo1x+nh2+dj2fKZ7lHi2
yZCSi29eWVXeth+Ggb14sIlbSwosq2fP7BWSBFm4/TERTURMAiYsf1tmRd+FRpQ549FLoWIAKeW9
6ApKchodbfwqxrRV47WM2escg2SyKQjmna81Ek+pY8sLpT/3z7y1UBgOyEdooW5U+ijlghctnx18
QQn6AcKc0s77HLDO1bsktvv+ImVGyFTTmCgHS0+q8QWFVhO/aCg/E3Yro1RpyMfuxu/Yoj9wrQrj
s2qljR8OsfeRvAes++SHLMaDp7XuHo0Uy8VJqJmwy8qua+fkL7MoD9lCdzl5W8waR8en1OiUz0ZR
3ru4b8dLg4tv2MYyrUaUW/B9IOMWSlWv9bJXHxDXIfJRkoE8tVXdbtEO1j/8xTGzczzwH/s+Kzp8
nqiJi80UOwlCOb10U2ibVXFDngzDXmkyUQUBNzlp3JgC6r2bZ5J4nVquzZz2hKrw7YMqoVlIfMtK
NL/ErRLa5uf580JL4XNlZB4qT9FiIlJz2gB9pnQiqGZqix1UojNy1/gt9DlGXey4CZQ4lUSoSt2q
X1z8U3QRrGyP1MiNJfHekGUW1D9wyNlkZttzFiPEXqS5KVraoonRypfkmGe5L56D0QmME0k7cb6v
Jm9OrnamhfmkHF1AhVctFNzYZL3HnwdhWTuti3qbsTSF4c5jw1sHwwIrJ+bBgnRp6NQB4lwAvat0
vBT+rOODuPmwth6bMit8YwB8pgjp9dPYIAsKI1Mg0eqxJPMMMGVlrI2p8bGCNn6JeMB3kzlsF68z
MeM6aro3OvQzm3jsCr1rlUXDIXjsGOCOmERX+a8o8xdjuc9Fq+b5LArLduSPsp1tSfiH6xjuvZ9Y
89xjS6gpagvtxHOo2E1I2SOLQFRWOYcoRQySqANCaTdwF4G7zgTKecIc3Ih8Qn8CYOSiTO+E5ldm
hK7ix66MMJ1aEzwV6XVsDRl6HRUKuxE2VMt4C+3EfPG91DDe13pIVXcNMuWQQz2MBE0si6zDCfB0
ODcWWpV1/0dyz3Ag+YQh1W/68Xs3W2lxiMrSMtdBMgVfu94AOuyFR+zs4NsjLc6mlz6bfQ66MOP4
KxEQqdnZLl3ab3RrW5/KUWdXs3H7R0M4CNhU32Un1yALZE3kpilQ86fceovjLPF9ShINiHCQRzei
PansMK4KDFipyJseTA1Q7eQsEwp5s4uljWzIiXGsDlPMQmwseP1q5bPVkgwb10cux+ybVVT1j8aC
TAX68fEKw6+W9r2JFwDGQMQmtK30mpkx2ux5Vnu30OI90l+c13IcNVCDwlN5yvt6eKjjutF7m3ZI
gupZ/OlKIDvPJKkhiHFPLN2w7Eu3DN5UoJpy3+tCz5ciXRQQdmYUz/wU+SHHmOFdB0lUwRO6olmg
4boRyW5mQCuZ0pnQ2Lptil+2sxYdYsVFHYOdjdDVKC8SuSkUskE4pzzyjmbUI9LO87z8iJskPjcY
K3duaidfokAPn9tkygu2FIwGIHOKNJatYSWIxHjnNUQlk5SQNU3UrvskNjGIOzf7hJKRbkK/LBDG
sa+jr6OuyBq3kKHBcrM9LgGojYJvGACq78kDUoTHD30DvZZE4BayabuA94437zMftSnJR8pdPkzA
knGdjBZ/vXBM8ebrlM5ZmZu+s3N66VcsdbbuNrhtRgBgDNPXhqgoK9TEBiE65q03sca4sbdqGi6i
1ehIBzND5UOgJ6ohNWLRsVuEqaNn6yBdCLJVmhQjocL5hKaKwcWTtzCOAXU6QWApdCey4E3Vi2XG
UtwvE7bTGdlebirDXWsehpemrsYTcqJGsUsSbQRxj+5vJ/qWWq9lGfJmnw6g9rcvvKTnMUlyLNIM
rhKn4ogIKp2mGJP6VBvZ3VSNi/9gkVYYsAkWIzk8xVLAebg0IJSfy0po42Lw1ujrVdIa6pNtJ6Ub
uoMnp8vfZsNx58gyEZHXFlrTVaqEr8KuNW2MCAzCmKd7oyk/XGpaQBUE92rI4IH65G9RNvJT6oKs
pFTo8UpkQnA3uai+38rWmuPd3zJiClrPboAgAhNGZ+yaOA2hASNjNQ6itYnoUsg7/3yiNH8bXXHI
UQxFFRVvDbApRvVf17QgcOu2ygK1Ic91Pc663/uFJd95KgWrwtIXhItXEh9PZZUjEa+ZWYbbDDIn
qJgqA+enmHCf1tik/vyD/ZvPRVqgf9vuqBKVN6Pez10YDl5003BUtsl8vAO6F+59kZnTph+RxP75
oX5Ng/T+cQosx3JtV/CC+JfCOJKEUkelyDkZve+GdLn5PHV2sR3NaFXNvBvTxvvHQf9vrWSt5AT/
yVr5vel/XSn5v/9zpfTk3z3yHqULJcNuI2xMk//MhJRkQlr0PpqUmLHRYdX8n5VS/F1ALN6smz6/
H/IRLpZ/ujoNU/6dn9U0JYk3QhJh/B/5Os1bT8ZP+xd/3qHD3rdcSn0d1/qjO+enipa0Y8gm6GDY
ODtCfrJ9fMwom/WLzT/aiSgjuv50cv7NamnefKK/HtEFtSQGU9xuUkirX28ECRlMdiRH7OgHGg71
i6Q7UWyt0Hr7q9qnf/l2ngS19imKs6ibtTmRvx6rzhN4nry7fbv+1d0KRClUL/XhsvHBucNyJzd/
/u3sXytfPJvD8ASidcX3+ImIZf31iGNvRbkW7bgRu3k9bxCgIHtbLav06K3xOK39E2kBoX1MTvZu
pvopiVfdejzNO+fahNkVmdnpr4qffquw++dn4jqj6I/4bt++XQM//cZsur2rJGd8PN4+E6HMX6q1
uHdW1cHZk1b7l2fhDyTi59/4j7PwP0f8/Tem9H5EZ9uMG3eFxuc6HMptdIAN2SF2enDXINNhv6/+
4tz/VrT039/TcyAqTL7o7Y76+XtaJG/w+L19z3VzhmoUcKyXjObR8op4c4sHq9vSeLpFDXNJ7/6q
oeVfLuzbl3YDmgldbmjqjn672Hp30FNq8dMDtm+m5/bS7fvtss7ek6Pz+BeXmX+rHPntDNuCHU/y
lOebOr81n3S9GwuXbLdNZhiRn28gjKv5kjho254sRb8tCZhYK4pTNJX1+K0GOMq+epFXWkTLIdtk
35zbHANJ5JaTuPYOwES8JjKjwt+llxnwH/6VlEPC6Ab4ByKIYmMjG3f0viWL4RABONhOi3VBEKvE
uzyZhzcjqgJiv8pkBLdk15yJZF+qzDj5KQRgsiZ5zo5TorGoK1nhiaEVnbiDeRQgPm3ufxtbkcpX
gs6r+lKYKRNxWJGU6j6OTYWGdHSKDD4EKXSdfZBBmcw/Crcq5CdS+YAdINs0nQ4rJ/ac9ksry4ZY
bq10VVP2NLYqexhtzQB7P6leTPYrGXdaTJvATAz9qVIlpStJyrCAdNhIbgn9fp5ExYs5ikw9xkms
zMskNUDG2sHO7PqXhQj//so7fYyeWlFVvGdJ9TKLg8NCD4fajaqg7sM3ll6+uWws80ucj7Z3U3wC
il/msc71j6ol8eu+zyMT4Vlvx/Otc7uwXqrCmor4Lo+txUtCkaMJwTybJJbdkLYZTOwboinROGjP
DMYzo+vSfPZSM6Jfws3QRHyau4zgqQB2R7y4Hlka7+mtPj0LkwgT3knVSRpcCd9y2t28mAPNbLXv
lIdZYp/7YfqZXT06Y1q5J2+eLf+OiTyB7DCEG4M25Hw876KkilCikEhIvOKqK6fFfSRa0EbHUda3
SQqM4TsgimYmTWh1oBd+whag8S2RVHfugpY8F9SZpCmzZ3Sw5Vu3J7+n3sXR5Jqnkjo5471MyKRD
uq7d5KwybrJwCVrZX8hssXPU4Trr2a8IIyGMFZ3rA9E6Ezr6rMSsIjtk7pvUxl6KVmmKk1eRRP5E
hr+JG3ZVIHyxLotT5PrYYXHFOt4ZRccWTQBwiMoQUaZAdDsf4+XWWtkGia3OaUk4wLPRD4m5d526
Dz7agoSPN2npaXwhpkkzKJPE5N4PMQnv3lFpPfbTyratqT8vzqDHixnnk2jMVZ+ksXkUqbLlSRa9
mLmXfdAKlgAUhfEC6neYcB3nh8rODePOsQx6dOCIXPJghehQBBbKxZpdzSYFACw+5bw2M3eCudHK
G+O70WRL2Lawkc5dN8xOdgZlTZJ7Lo/OurNVafqfcdZYbJNRhzNyGXmMfpVVl+AuxxEYHUoIU3A6
LKk1VJwHkfzAezz3uCA1gTfnsfYb94WFsDP3eOGhgX1/4QyheBLqWlgUyKzbEuwilHXlkz8UBI31
mdA9075vNd/nQRaZFT1G2pz9L3ZQu+3JSnxlXCY+dHFul8pQWwBppdcL6q/kOHAt5dBeMdUHd3Nl
DuqYzuCp9/QpxQQG1Msyvi/N1Hikoc+9738ym7oY12TblXjrZ1RjIEpE86qVo+UiXrEpVaQIaH8x
t4ZyI/uCmWQuLrEcktpC4Vl1BMp4gxM0rxjlxw+fGEnrWI3kZstNKYXGHoUbT80F2dHezINFepbe
LZbHPb8SuEORFTgxTtHMtgjfJdheZe+yaszomzdGpfv9Buyq5NJZWFixsuFpKEmNSiYKPu4db2oa
A4ITIV9zI+2qNtfIErSvD4movXGLZK1Fvx10IyqZonNvcF8iguSH1WS8Cm4Y2IBGyfOGhneA5SfI
4Ij6ThdiiPESiW1KFkd10a2vxaOpeinOjS68bOOlI89Ow/RJfsB801e1y3OIiN1q7UelB/8spc+T
ZQXsbFQkVRK0RPqjW3t+cV5wb9q3Axm+vFJQUdgvbjE19B5OZiGvjeM5nl55ru0kz0U3ewE6eKPu
a4SIaRrJi8Sv1jyNqh7a9lIOvDKaTV4HqI72lJmU+kLZcF9h1ka22WxMjZAdg2OHc+ZzJIvE2Efw
6smTRL1AaIlh08V0uvnsEBytVNsDbIdcjAW1V7G2Znchg8CesaM040CGX+fkmS8eRh01ub3qY5HS
wTARZIYLclri5I5HN19vlTbLYrzzLARPmQJdBxvAfoBExNFApvPQFMV3kjtzzOoulVvEEfi5QxHi
irypMqN4qCaSwMQ9oQwEp6BGo+eCofHcs6G7FUcE49Wq3bHX7RP4QSTkuY0zj76PgPgwqnPyEYd1
MqP1T1dj0JbLDnDMil9Y2isfr7RLql9INELtnjhvsf+Wj/T3GCs5TDr+Mg1DgXpHinlMyjXLYtt/
JlfJkQkqPppFeIu0Y87rrdPeI8FvNyOH76j5EM2Ev340yiC1sO4IQznb+dSPzw2+uRlbM0D7KWKb
wQ01RWrQr2hVRm6kmYYnnDppIjLnO6/gdHjm6QG+UPHvUPEhp8IX3S6tEpI6w4p+knYnkOlKf+eS
v4GqzVCVPxS7zO+9Bgv31F/MMYtmBAedGm0jLPsATHgfM02w2cyeiwtv1dvWjLAxj/xSfWNiDuBr
an1zJrkeUQY4w4GEVbXhEzem9VfYxG0o+3Vog8Bj9XeBJVzfFL8N4nOC/UAEM55ERv36cdwsYXY0
1lTBrW9VqMleXZEZ7/QlCI2/4JV/x0VYTG7HdimDg42EqbwtLj8tAUlctso3mU5va1f/COzNc2rB
Or+i+Gy1bMqjgj/hyfEPXOB/bYf8DYywfeZTx7uVDrAJM1j+tu7VdQdPgdZ3Q7hgGGOKbgFZSaFa
2+YxJzzozwfjP2b8n0/xr4ez/jgNP31N1xplM7lsfAg/Du422+ScYxoIjV23Q8Jcvf1nxyM6zGOV
JZjJlGzzTvDbvqeK+L9IO7MmR5ElC/8izNiXV1ZJuWdWZlbVi6xWBAIkBAKJXz9fZM2dlgJd0d3z
0mVtZVauCCLcPdyPnwOuKMOe5XchQwR+8woNYaDGVZS9TL0uRY3oZHEjY7IOYTo0fWnyDQuHWAN9
kWNM7N/He/+aCeldkTPe0dr2xyOmJfMJ7Lc9p5RJuDh/t5Ls1noWYtBG0H3VvxdJ/3R9Oy8uENIh
1BbZSluVdlNZMwy7M9nNTL2zaNWCer5uQD4ff7aQ95nm2A7sWKr0SKs6BL8Y7+SR9nQM4OeOKZNt
mdxJoGaMrTzaTxmUzv/IoNS0r4uygsADg2ZCTqoi1hesF6uQORQzDcFqNRQjkEhFn3YJPaD//7Yv
bamrUChuxIKFLLX+WjNyFHQ3P8pb95aGW0wv4AFlR5UwM7FysbDRSTrZaemwqlkP3xNIs8hi3S4T
WUtGe4yGKDllSXKroy2WzuyyqsFa71lidStExMFkxvu/oWwtu9A/dnBnNuopNnxo0lY2xqZbHQlu
fMr2Vo2IGXQo7diYtbM2Snd3B1oTzCmgFDVV2RCncrSXnuMy/quDNJHrKSVEIa26AtBFacENrLhJ
eJIvjXD3G9YPJgkDJUT9YhWoU95brh39WfOJZV0KG4NiwOYpBEhjuw+1MlhHqwdRIlzCNVKGooqm
PE6WUi76gROrUqAEbH7cHhR2WnjVIZx/H949bBqLTbioKJVNOIVL5mxKrVQJLZVhG+nDqrt0iXIj
26smcHCCgp43yTrR7v19WH0zgjZx5hMWL10OUZHUXWqvTClJUXHNL8EFsq1m4jD4Wgean4fb79ps
nRQ+YORd2GZia2lLTyQhH9gd+Sw5BEYaBK5p66p0W0wL6qfOwnSHckOgRnzQcHdTer7tPzPBq4WA
P15WsRNQRziG1C+QG33OgyaCsgHJYcEnHl7fjQvbD/7HoUntgWwan27DTGvL5v56sO7sayhpJsKK
XI8Up/jMgnSKt3rV7hFk66MjfdBPZpSHdLeRC0O6uULB8kMiuUpULZqsvV5w/2eWpZNcVHvbGRws
U4Fm1MgNzIA/vnjBtowg4tjfbuL0oUMaefhiTwW7qX0Vf3+SCzHqD2CRUXhUNzt/gLU8Rw7oH346
ch+NHgLtR2r6ozJksyrdlStMoCLig2TyPW0icR0tQliwBTaM3tkYIAZfjVpbNa6gBHRMlYVANXUZ
pVoqP/3chBSpNJNOcLfFRD5n8qYM9WA963jO3tSJG255CyTbb9ZvdD9eKVyl79d3cOxhyYxpDwGA
cwB9jlwBcdLZwdMlfB0YX0hyslnNg8ChtpJ0ZFr9S/HUzK4bHcUTYdOh4QP7GEjWjy7Gyck4bIFG
pK34bNobAJY1I4Wp9v26jXG4dHWipG3y1jB03dVkr4ocntH1gzj6/RvDqW7tazeMZFBS5sWRBihm
VF8ZWpz6nCPfKtmVPqfSWGBB1moP+uVFHV4H5eux5a33Bd7A8Fis46551tLbSv9yML8inwx38t16
vciBkl3fAF048TNPK34IVTUCGehQw5Pu/oCujXjwscuhufA+q3f9r/wnqbRCF8p45ji7fgBNPzD9
oF2H3q9+1iyu/wS5AUbvV/wExyCaeDTDPkTuTz70buX0jrXkG7h3+aMW9ndMNMDaQIhZ+uYNo8b5
RNY3drW8gzzAnK5pkmJzYc+dTle66b4Ru887E40T3kQQk4quIqpew6yLvKSOtzw0mdSbWOvIUwjL
4rDZtFRt4+NznKyVYmq5GjIC2/CwetQDL854W3dMg7HPVkDjJ6wnrtH47kompbhybLfLSnHtQwQW
qYaue75/yqJlmN7agqzGB0nPnFgw2dYU/6x0sM5WKh0s3qG6kSJxw1ddJgBiCOEx1PABDK5ZsEum
7I28hbRKKY5U5do0Wnh9orTU/W17s1w9pwDKrn++8dejTkDfFHZj9A5pU56fmxoJDlginEMEoowO
1c/M/ed3waAOASKCiTK66vLTT2nBLdFSARNIf84MtvHxVzeDwCaGCoQ0OpiM/ReW5IJJ5/KxJpSq
pKuwatIKrBgGmwhisMcqLDiIz3CGhiocBVh0AVNNpHfjb4VYJK8EKi0u6Z28jXBF8OKjFcjE5U9Y
6f3tsFiR4Fz/Vhcu+bkVycUCvbNybQ0zYhd7KEHMmqQMWn8DmQhg1JJMEpxsfJyRvNIanLAtDvf5
4ceT8gxySJ5VwpeUOrtere33zFj+2dUsLBdlYiSs0Qi0O4CP4VSz9UIgA28PHsPVQYgLTy4dzV3j
Qe9RCIv1m1cE7bwkg9y9rwPjSNlu88hQGcLKyfWFjr/kuVXp1nkmtaXjFquK+Zalv47tUzoFvxef
6Xwrz01IB1ShBVU5KSaWRhW63uFGBUBWoLjX32vbN2gjoutLGldfuASqKUjYmKChRy+9PbaIXy0L
mohQR/Gwy2brxTqBYGgXmXGbKAh/ThyWcSpwZk+Tip6VodBW3W+HSFs/g0jw78Ht3kysabyJwgav
coecynPkqsB+z0AkJKDidKwekQxt0YUHrw4ENEgjJ6J0n8G99UPZ+Zuf1WKbTAahcTQ4/wHSZTzY
G6teQpoamU/gMf393erBDa1kPz/cHWdT/uXCZcCaZeDUeDpS0pUuw3bYHHc7tPNgGEsakrqFGRXh
OhkAniIwT8hrn7ZP/ezwZWKbL37KE7vSdVjRrDQOcBJHQGOBsJNCPpkBY3K/dhsGckUBD/glWs8x
hAr/wpM7YKPg0DE4wMC2JJ+zam0ww9ZKjbofQ8wQ/wvSLWSyt67no+Ptg/t2U//fWAWypOogyLgv
1CbO/Q4vZno3WqvyLjE+Q6JuxPukhRcyQHtS523uztYv+4njPI5ZjuN6POkMC7kB3iPnNssta915
0JUJKrTVY9+nE1dyyoA4zSdZWl0h44MouxrtyyxQ7ee2VycsyDggAh+BASUt0DgqmCehtnxqYuUs
U+UoTEBnzral0EQweh8yyPueRl4gCAsaX1AbRYBVguZlmU6G4fFpPf8J0mk9gCqwLFTBBcWu3xuW
n9pfdaq9DJ5O3IvRfnp0khhJFNdRNzRDypvyresdd1aq4X76N3JB9MVD6JvC/D7tAhgKvh9nbjBh
UwK5uTSRzmxKHkcDCU1rktXBU7TYJ+4cygt/P9dnUzFw/H6RLEkBY23WSwMlUVgaf/Rv25/QD4Ue
+D3RShL4vWDSvYmzcRYSzw2aUsRgCsvVNhtFxZnmn1ZbH3YBbvqHRSMQddbJWz6KH5JF6cZ5wwEE
NmIREXp6weGWRv0aHJa/SbZUlYV3yUmnolVUrKPp1H6cyUnWpeuYKzaU7i7HZ7vxt3PzrXw26U94
z+qcvDjonpQjv4BxrdfrR0h8t2vbLF1RCJW1EuonjQQyneHVZn1sxtPLu2jGoveI96RqL6f8Zdpo
B4dZhCg3mSdUqlA/fK7tb2X+1envoLqD0vHt+sLGzocGK8h4rqPlqliU7uMqp1KfosbH3fB+DOE+
WT6281VQhErgfROJ8fKm/aaHytx+Lt8nbIuAcL6rHuGCPMRhSFVDt/zc8cFbzIzawOF1dtHySfER
4gjd+epFCQoY3S2/mZex0k4eYTH9OrZrmJQ4RCVr9LJKDcU6oJ6h8bKihLVMOMF5yKwEXVhYjCk7
cobKOKVHAW/tKsmpagHG4n+vr//i8k9+hnDKJ6EFhin70BUb3JLXQY9ORRvNCRTBpuLL1HKlT0xS
lOvrI8stbrUYCagbdQ7rMkvaBmlo/fNF2bquAxayKKWpMng3t7SDZR05T4fevWN07Wtt7oGTDbfX
9+6Cp/XO7EgRawnvfaNu2TxlxozpwpoNs913+5YZs6B7hcF/Kohc+Fg2DQjX4BVgmCOgdGvCF5b3
rKsry5mjHH5Dzxdu9vXT9XWNG9oeWaoqSmAmE8ajdgea8vpxDdsL8ZHaqsDIDLgcbbb93oPEmted
v86QOAkggsK7e+FqkYbLySMzdvJnv0J+iOwZftqZBr9CNLT6b2hyLpOGITZ/E0DrcQ9B2MYvntvB
P7xmDDlG1zdhnLSLTXBUXrGiNMfQwfnNWC5b1ciQK4yMF/o5c3XB3QiaxIucuxpsaSiKY5vZhNFx
KBVGIUwACI9ivZyZ7KDu0g/df6ARdO/Cw4wy4AN0Q/7+AVWiqVWO05Jzg5L7g7Ks6s2DxWSp30dO
nD1libGoIkYtJ5LkS2f3ZGWjJMFqnMNWZzst7xDlg3u3tne/rH4zn9jBi3ZcdLeo3mrMS0ifzbD2
mtlp2GlDLc5/IDJMFKnDYQGJkQjLiQV+ayK5u3xhoIlhKoRH7eiNbq7QU+gNh4dWXN4fwbbdbJ46
6vZrphXUGARbf5vPRCbUfaGGlUxmYBe8q03i/h/78lVxGGaHQ4xFE0A/V/Fh1vpttH7U6XKn4dRq
L4RrzsyJNWmLD9XBcIvW/Xi9o6PjzIZbY+aGZljrfocCJ5Xy/WeGj8Pl8yqavJfj5F1Y50HtAEZh
Yk0cgJOI1TfbNWyBLXrCQRfWz/s7MZ5iP4juCJUsECmTCfWl3bUpwdAOsKFdGL3vdk7RHesPi9V8
87xP1ncA2QP0cb5O57YfwUlKSDDjuAAmiMuj9uDBKRFBgfeeDkhHWw19rQRHnNBwSbTQTbQXO7Fi
LYatnwq2+rJ84V27jKFbC3dJl6xm5qyfAa79NfXZR88z/OHJ77KkLH+LorrrZiYv6/w1zR8Gb6YA
JnaOEyXnS/f31Ix0uJjwh8OB6eQo9V52SzF4wXSC9XXCS1zys6dWxCc/OUQqwiRIYsNkX92un0tG
m+I6MX9qCaoQLc5PzLtct3gpmJ0aFD/oxGCmant3BVceQ1RdvCmMN01ZUc3bdo9wW9/svPUnhP6i
6zYvhjBuCOklbPYOI3XnRkvTSrP8z1Uh6Uq0uHsYZmUwgEfTAuU3+WS8nsqnLx6TE5tSQgknB8Qb
PQutbqEvXM/K54aanhfYLwMguOZRjxnqTSYbmOJYjG4NLWndoHiBH5T299gWXlbrmBXJQn2vfSCa
zNi8ma5sXXJAokfIDCAj0sTq813dH5dHBLEJmbXXfd4iD6ubU2FZF+mwvJwTG5502faKpuh9w3J2
8fBZqAx+3na+gEFQy6oTiLzCOAtuYRekHFM9I+oX8lpAMIg2Yc1g3PVzdOFKAn7RLYEmILjJ/RGG
8/ZWsYIOMkXzdMjenaMjFAT861YundYzM+IKnVwRLW/Kw77CDDXRzNfgmfWbO+++hiMvQXgQUVf3
fc0DSKviCcsXdhvLFO+YgzZg7JDuiWEXy0PLIBX5rpkAZqiRbqCGATkxyCKOLcB82u4d3n4ycovD
In3oM9PSdWlXPdNh4um7WjtwInTPRpkCxmcmKvGW7RBouZMtcg2RvBz5JWattwiSI6DZUH9DYSs0
i50+225MJ+y1tLvZro+zrNg+wqgx1RfQL1yxs58qdvHk+6iIM2gFeQGZlZvQog6Nx4I+VhVmkRJA
MPYEVNPPEm0Bhh0U1tRLddwIIaU7/UrS+TC2Jgx+SAXQwXUTJ85jN6zD5cPfLGpNfRjplrf9kaEm
yO04E+X9AXAb6lEK+as/3DR3sLSEJinW9n4TruN9sdbgW46nUuapFcteQIxx2IrBis1k3cQdP0IU
1ryv+ucjc0rJlNf5Lzfw/+6BJ8XeIV8aFmk5+LY3NynhLf7UBLAgh4dn474AY4fM6Eydmcb8+v27
7F/+MisFYyTQDqtuCdFv06GJU9kzmDmEmuvUNb8Q9E8PkIwtMfL+sN3XH89aLYZE6sZV/HVgPSFM
BF5xA7r4+frCxliHjyMLctqlyaXSBjm/MrrJ9yvAAXCIlk/0s38KpEPrHyDZpM4MfmU+dUv/y5n5
y6RUk2gg8EdYvcOL8mzVI2MGWT7jCrZfP5qzKUzmZcf5lzHJcRYZbE7rBmOOA3WmnbeftIP+Wmre
c6+Uv3gibKaCxOVv+JdFyV9WBvOlecWO9oEWH+ZQpfC8Ux/qOZQ9zKY7EyWeC7GeI/OXOcnnMRRc
azvFHKIjnFx+d1A/M2c5cS4veho6ZbTJQdJqH373xK82GZoM3hIbQKS54u0MuaRZm0zh1+SleJQy
KK2K+G3Rl5ffiIdj6TDzSHgFJwD3ysAgoq0Q4iaOvLispwHtwwzgUdgRGJsfrcYYuqWyLQBO/oEh
i5LJOilvqVST9k2tSZ4fd2Vr4tec7B1MV3AcHYXrAC5i3VYvSEUE1qKfkwd9n1iZfNiFLdBgFuhj
SoqWXJshP0Fzs2EDKyUeYmoli/IufxAgjvybt7DumltRFPImq5mjMuOHYSHAAy8DhQ25Io9q0xoB
w2GIvJmDtlfixd3s+CUnEwzr+XCHzsFkrJWfKx8mUVTnyDC1CzvM+b4yRbpHlA2TCCVs/CE0X5vf
xaduni0QHXgpvtGh78P0y3B3hJksur7RH7Qu8hH6AP9okHVo8NKcG++YDvJAyohEA9ARc0g7FMwD
hIs+4r0e5njs4puy2Mzzm53f0fBpA/WmCDYTJatLN+b0d0i+xto5faFAUxW1pKKCUHdd3l1fqhz5
xDafWpDcS2e1h9Rg1Bz13YdmPzN0AB0THkz8yGubKWVNUOHvTFOpVeTJ1eZGQ3E+dLRl8UVJC4u6
FMxaT/9iTRqUDpB6aC5kC+dfb91qkKm1sPTY2qfMvNkenvXh53UToyD3sW8nNqS46lilclxtOCHK
rJqjIgFUEgmgBbR0gBkmQ+rFc3BiTfz9iZOx7LW7QawMOZuomsN5JcY5irCbMV7/e3jbBavFNCRU
jnMfK9TphdGNh/JRfpJoEPTZatodCAr5I4qNN/s753k99xI1ZADweDN16UZFPdmgdNibQtsomwNH
cfD8FHBa+mpyxbPgECCtS7LLIEukUljK58p8yt0YF+/ByWqle8Acg57Cd0ljI1YeYCj+CWnlYn+H
Bs2XLHCSYkYaHjqv2Se+8vNmXkXlQ8q4p76oozzJF4xgRmIQJY3N2VSIGX98CnGqwGB5MBKBlj3/
+INhNaUGuWjkbD/V1fdVk/nXD/NFA8RJCv48sUdNnX44ws9YMPsOXi5g1BgiiolZnfHusoQTC5IL
aIeN40EtSdmdG79fvWTIxZfKl3++DIeOEeh42uMc2vN9aiq4LWoPI87y+2oNVBSR2X9uwRNlLMYm
7HGRnQnlYousxiHKjt82hxdrPwELkfMwT6UEoAsKNNo+YNKkQ9hsIAqx17W4cu1cmyFlFWvAB6YO
1KWv4ekmwCgLmD+0O+cbtYenYqcZbFStblEE2vnNIY+6tAiu79ZHVebc8bMc44NFiz4+s9PndvTC
3h4qezhwp9b3kCjFzdcOt1UGPWNwL82c5sBr2QZp7M0mLF860aeWpfNmIwV83Jd8KIBEKsM7zC2/
Lx8VSoAubawODeXZlAe5kCNpwNcZzGAexLBG3bpMzXNFsdhVrw6RnJ61DzwMIvhefrRvRwYbp77i
hczz3KAU5jakg0u9ZZGMRwl/2d44r4Ik68Bc0pSxCxt6tjjpbjmohECqssOWafqZ9qYUE5nO6KHK
2QdxTTYC1xPU0ro4tCchTi2cNQTNeDmb2krzXAdi5kFLhkUfInAxU0I7mjgk4wAnpr81KL65zTR0
pDXRYDaZ87LEjC3Kx7nvfBcmlbuPKRcxxTdVgb+0xjOLYpdP1rjuld2wE2scBqQXnCzarNJIdzZv
lkI9p+TNUFbwUOafINl8Og7OHay1JGYeAljqxJPvgg84+ynSdqc7QzEB2RwiZb1BLRp4dN3HRf7z
+h5PWZFCum01G6RBsbIzHpfqzbGdZYcJE6POJwfnbCWSl9lRu7SRNOTe7RkBNQEHRcyuHGbL231I
HRCQaaQtTJ3OK825h/6peZ8qoV5cJUOQgklAhwZV8qd9ue8QPeNyqK3jW/2vIzOB+3Qii77kXxg7
JamFPti2gZeeH54W4lRDa/Q+Mh6GmP7bzJ3vZtvf+9CI1vEyyN6vf7oLsejMnORdTIiI9hWEYcQi
MZ4tsF6i9DbZ2pyyI93CDKJlsnhmnVrGrZQUnEMVr2IzrN7KpIKExBcg82WENge9oimnffHwgPhy
merVgYPLr8zaUlZoA7h9pIFPRmkjI1ygQzerv7aP5RNMMf7huY2K+/pngT5eoM72/3gASpxfgjDl
F7BnnGSxQSdOAQKOrGgNvivTw0awud9TYjVD+0tLxUwLkHmaBthdOrAfRIcgk5g0kwMzQllQNA8K
jCK182rUu29w7qPG7KXfrp+hSyHKpSkrIK54d8uQ4rCbKXnmHoo/M5qbJ+Ff7QeDwmO+mGSolHEk
Yh9PbUn7uOrhvCsU/IDoyq9n8FDMUGQWU2vzf7MqUjSKZfAcAeg+/2IqoKtNueVqtKEaGCAP2hmd
Icqb6s3U9bh0O8T47H9MSREDxq8N4ZIN1OmxZ+a7s3xSV2+rUg+WytzIZkdzalJn/FpnBskC/QP7
JrFYkz4ZcoX7HKPciH4VKbs8qHflTDO20E1NllKFD5ESxDNb0idTO0QdYT4TBAlqkN6ImXYBgjYW
RrS9m5y4EIFgZA0AAT1TE3iTJYW8dQej33KHDAWzCB19NOSiq7kZZbSGzU8DU4e1AVcBIl83q+T6
iZmyLIXBXWX1rQOTTtTmw9Nhi/x4q+h3gBG/W/Yw83rv38QKgWf9z1LFDzrxKV4Ka39e2F20Xwxx
NiviMrA/tYsjzwl1hiN9v76+i2fmxJx0Zva1vkSw3mayMX9HrMlGLRN+cN88HiceYB8l4mvfUDox
GTRB2wYFCKKSFfd4Ssjf4uOtPps8LSKcXrEkMy8pdg8j5erwh4EFuOhM20FINATFDLGjKri+gfrE
DsrMEnm3bpUadm5uAhZn9hN6dRGjEPT6jNlhNtykv0QHhemRuA67qHjeLpAYD7tpqJFwXtfWLcX9
HcTgleGuxA5DNPGnssUM1hCg8j6jXxRO8nhMWZTc6brt1qvK4fR0n40f7qJJIBgLhsWuYLmijTuV
rl1Mw09uhy051SXieamTE/RFzcZC2dwvILo1qeOWP70FfnZ6ul38k9d2VfI92zxtqqIiyLOrb0OI
OCOzl2vGEBkwSwUCmQzu+pG6mC8ieCWEj0CVM0R77gM0OsdFrhI6GJyJYXG98Z61e5TkYrRD79J4
qlR9oSIqhlf/sicdnBJGtmy7xMkV8/reuk1pyZscm/pxu/iXT6lTa9KhcbLdzkh1Vtd9VqFD2Syy
KLtL7+rQSTZx9lA8TUXiUWta5BeIQdFGZZaUuon0CY+w7K5XBlFftJWc2Hr34iIWuCLoZu7t2Gz9
/mYqP72UqJ3alAJHqWrFkfyQ2qP3oncPqvnDK79PnJOxDR1ZKrJcpgMNx5CLTrsCWZeu/QjC2mf9
Nzg0nt4qYhq3DsTPud8eQHBOVrTFaTi/EOdWpZCR10hZ5hlphv3EpYg2CXqHcxo6H/Q5Uw/vEXAE
CPnZGqWwAe+zCZgba1YaVvPh9nhvAmrUQZCID2h9rZwQB3fjLMrwyBNnm/zLXyBo5Q3I9aBFOb+N
O7eBd9Fhl5sIscOf1ucNP6GKN/AViZqNmKW1b77soj7chOrNZuojX9xuumliJBEOodETddjuU1RC
eDym0U7wehM4s8yv3rRgE2bTzmfs79hwYH+MtYDHgUjjfLnltm91Un9BQCVaFsOtNcvjtRiBnFfP
AgM91T0Yp1hnBmVsqNmXVdHlfOGsNfwWEiQoPGt/l3bzZd38TjPLn7g246h1blByr0W7hG85xaCe
0C6IqwcFVKN3Zwr4713+OnWAxgkC5pjfo5zKO3FU3NZbVghNPU+2Jvdjx4sM93NZJ9cXJS7d6FJS
YWDmisFoR66IHfuB2Ztt1ker1Ss0nb65/6Gmvw7NY6PWgZItw+vmLoQMFnViTwrEpe3tVwD7/hCG
dZ+aBDIO332A9ZE5oynSx4tHkpo6EgYwAowYexi/MiEkIsXaLDuAIrdG9vv6ci4UE8Ry/rIgLuFJ
1o2HMfpVwfaVv4+Brj+V5YtAT28ZwwmVX6jFwN2pJR6LRIaemWsBjf8XYf/8R0iBEY11dQ0BLhfh
LbsX0Nc8zFDDC7pIDfUZ5IUTrZ2pbZW+oWO1y7Uq0gzNe7W192z5ZWJXL97sk12V4u5maRtDsyGv
MJPq0yrY3yHMM/fourq/NF88ACCpvm3CQ8QYOVSXaiygxXVcggj8F5W+882V4nEKRbKaLVnsanix
N6/79a3Z/bq+XuEZR3dQULwhBo2zlqlJiwPU0o39f3U3IYTQzP9G3e3idzuxIwVg77jc6f0qpey0
FhyBQ7gSQKYoTaz7vRKr8fBtd/fPuwhs34lNKSr0Xr8v91tsqg4U73nu15tmIu29dFqo49FEM6jI
Alg5v4OrRq96u8npOR1QV9J2PdPAvaegoEsG4CXldmjvs+XW+F8hnf9KmHvRl+E2qeCp4L85r+eG
7c4u7J3GK0ZdKPtAZDResLll8IYxlHgVTWWGl44JaH5GN6FDhU5FMucMdmMuj2tuxYZHhMt0Vn/T
VU9F/7PMGUgGStij2HT9aF5Mo06NSmdGV/tdhYoh/YsfzstmZhL5ymdoM0zAyt1MVEr1+bDzvQSk
9O65TfpJdoXR0KrI5E5/gnSEjP6YI/vGTyhuu3A392Lkz6jXilGnbqE/1uHqm5iXddlyL1SThngS
Xd+FC8/Hs5/wEQZO3Px2g8JfVXLExPPRYAhGexc44AEqmyrKoyoxHicsjmsR5xalXCPLD32Zb5QO
iw5QqFVQ31UzJzGibBrxOy6jntuSgljp7SiWV9jK5+msAuclWAKUZJol4OIJ1pg+hoDQJKuR/Pqh
25lL9BMIVPqd1W99Z7ln9rhAH/T3wSwRYNf8qqnC61s5dg9MO0MW+qHhxMC1dHxqty+sZbrh2him
j57YZvnVOX6qSf3XP65bGs3oe6hBnZhypAGK0rCKqsoxhUwZEkKMTjyBaeG5wdhoWH4pH3p/sqc5
duoC84R8Eng5FUUxKRjrTDXCGF6gT6Y95PtvWTeR4lwoKggeIACANE1BBcnAOJS0GzVfEwCbiGd3
FmwgRe58QY6FR+3u/sZDcZz4nluUQm5x6M22dUnbgOAFGRQ9gQcfSAHW91NHoLcC8z11/c3LFPR9
yq7kYHu97ptdxkqLeZrW/kb9fGh+VcPErNlFKyTagpcYsTH5nVTR1Ns0NYdk06z8Gvyd+imtZwby
stdP42icxxMETn8Zkt9HGQR/NmJDwmnxXLltqbM/Wzea78yyiOIw6puB+zlLTMhzv0VFpMwhOwu2
vw53VaJMVafFzT5Pcc5/i+TOeiQ13TbnlEJuvYcWqLlHn2EtSO13UfrJFQghv0iOk9WUC8Hj3LDk
21Jru90cjmyC92LfrR739P3LKF2YyC0Qv0S1yqDg+Hv/kIW96PYxKPsvUAe8r7iZvOQYroYmSMoT
Uqsv25rzrD8hYVl/M2KN8ZUsaX5AWlwHZTyVdF2IV+cWpRuklqgW9TscrcA5dD/bLYSSy1Boa1mB
sw+t1+PN1BT5pS98ukjp8mTl6rjrPEx2G54fFBoOgxke3KmDNAohNpSJgEY8ZuFIguTbY25Xhr2F
fp6ca/iCvifDqvT/fz0rzPuVgRW1kXEk/6IbMfmaHHtCbNsf1Bkm/N6jznG5Kuvjds0hFr2r/Gef
LOetKHfOlUWbTPvB0Y4Kc4JIi44t+a2MabWNLPNWG3bUO0A6TYnKc3w0qePrbmLkjiCrgHhFjNlC
XAH3wvnhbJmPX6qIkkTHYRv0DeJcx7nbH8LBmJR8GIUqCE4Zoob2BCkGxx4xZOQHhEyOmNp90I02
QaMzTiVQnlCuPex+Va+rCajzJYuOgKNZUI0yHik9DczBcUtNvFR5l6ebb9X65/XNG180luSQ+8OR
5wBgkivuznJQj6ZTinLGENf39dMGtQ7RtvGS7b0oaUxN94yyGcmg5M82ubM3mUWB4lPpoeGrl0Fh
GGhk7W7r5S6ylWzieFw4hGcLlHcQ0cu+Q0MeteImUJafmqMVCmm46/t48TudbKP4+5P8er3e9MUh
ZRvt9nuNnEVFj+S6hXEtn40DAamZH+wiI+iXunS3xtrCxC4+cn2XC6o0D4cb5VWNl36Fw1i//PNn
gw19s878horGKwTLUupp6EyK7IVN0T/QqIECc1kzteg96XFO7vQ35hVH7wahwCSs4p7AxcpjG1a5
VPp9wflwXqpPh5d0sZ0Bb/sBre5CmTr847MBZarJC1gFoozcgnQ2vEbrtcHgbIjDv5sbs+ZZTGWa
vrYQ7RGBUXefr3/GSyaFPCa6iB+0d9KO0hpB8G8JX9FGMV+2zjIse+9e7bL/nxk5deoO3mqZrhCo
REAdUvZfzm7vD/upAu+FxTAYBX6UYAazhQwDgiO9bXKV46GiAKciD1G1u6BeTsAsJ6zI85xbRL0N
VLf6aNsucvuhcR9aMq/rn2UM5Ldx5x61Kxd8EcSL0nfxhuNybTQF7dTfgjGnjNZP/uG9Qkfkfn0r
ALio0gkqEvv57/Av6nJ2iXVCy0dKjQ+WvbC7XO3q1GaJxa1tfYhCCPa5FZ0dusnThZixt8Ic54/8
HRwXBJvn3kpDUG+n6Du+22bprweS5s1U3WX80WjMkWsAK6YoD0niuQlPayy96mqSVXT8jt5vV3/U
GIa9/tWmjEhedyhQoFNrJIRU98auTX9rvVje7+s2Lvjd85WIH3Hi2pdat123PSvR6fq5wAtQrwyt
e6FlVZoBk1RPoiY+Octy6RudbqBIe07MdpaqDsOSb7RBDDWDmYYBlomVXTp1EKZYIN0YoxxFFG2T
WfuVkFQo95sE7Tf/WKax6gDp3aLz5nzql4PfpU9Wbvh5v442hx8TP0AcgrNHFTg+AD/8F71gQKJS
6lYfGOI/bPkBu9D4XENoO0ePIDLu8m/lpwqE6D9/VnwYRPUJ7CL5t+ywSm3z0YAnuKzIvK3Pghsi
jdaBd/Cbz3oseg3al3+zSIYKUH0heSSOnn9ItVjqaVGIRaahxxjZD48OvBIsl3P7Jb+HNAq6+vC6
zQv3wqI1RL0DGCo8edK+tinV+EbX9pGCzEmdZ35RpT7ooIkDdNEMoDTyAhggLPnz5ZnXGMtNyvDK
EU2g7OaoH/zy+HZ9LeOalPhmYAkBKTuCa1xyVq6DtnxW13uQizw+u1tev1E7S5+yu9bf/q7u6wf1
u11Oy1mJCzY6nIQDBF1MNDNkwKnS1VnW1JWwq31mxuqxpNF/5wUlTHXi1gMHfYcCfKI19YFVvGZW
qlcbu53pVRpm+8Dc+frbKuhfN68rzV8nylv+TQu2z87b9ut6DSPp8tv1vR7PkLLXwLVFqZEK5+i5
sQXxZ+73GK/2QfNW/DzeMXrf+5oWZK/23ISMZn+r+wX1Yu9n/hU810zwvk6TxYw7E/wQpopEX5KZ
yJEAloGG894Y+CHu1wPCDkV8+G7ObT99FHjuSaSBOELynp9ak/bc6i1tsy7W+4809/itfWS7P6it
i7AHTWK9CrJ3+1l9Nmd/gwj20jU6tS4dcCbAKlPb5VR2LN/zlc9evDnA1pe9NqEawzXd3TeCwy64
/q2nttiVar36wdvX+yNbvAuFPGQVHm5ELU1QYmWxO3WsLy4SQXg+JxP7IJLOvaCSdytzJdTqBWOe
eLsIoXrUzHwn0f17+/s0d9QYdynO0IlJ6atW7qbsS0enoPJg/u7v1q8g9IJ0609PO44x45Ip6RPW
w7ZM7X61jzpouhOBhnd/Hn8cwyLKHqZQI5eM2ZTjeLUw1Y52oeTddaPMcts5tnQ7lokZLefbSDwB
/04F54IPJC0WdRVm92Eyk9a1Hw7WtvJUKFt2nzNt8Jk8Iit9N5Tknx9G6KfoC4KHd+BakI6Hl2er
wjUPLQ1z1hTUSby7sZLIhal3KgkYQx7A+53aks6FoaEsC18kCqyL/bc8aMPs3uVACm755eOPjuEt
M94u6nl7v0smX9QXXA3TdpoGOwDvP0jXz+9B0630tZ7z8QA1dc1M8NHtvqt7UkoAHg+Ca7GeE2fi
9aOymO5fGRc+KMQEXEIGQmlreyIlPMkqV11RaqnH2psof/QeDvTl+rv+3pkJAF2Obk8R8uap3oVW
ZB3nM5GFLYPhTYtaGhcp8A/hADkEN4KYYoosbzx9acO6xuYA5icGjTrhtrOn0mzw8/LbPXRdyRaw
WfHezdJE+MJm3n8WjBh/g39tXJU6Nyy9JAplve7qvms/xiO6T873emHd5LEAStLn+KL83olJrJA8
fOLgi8sqhR5OPChGg4I3nXHp4Ntu5hppg2FK6899ojyb4fLl+IEpnGLCvuQ4oBixyGYwhLC6ZAsm
qrW3dv/XBwupVe09TURLtnyZnDcZtWT5kqe2pEu2gk40c5p9C6GdEZcRCg6xSB22wdR1vnSiXU4y
szqGGA+WXJSdQ2WS2Wyg533XMsrmQDSOx0047KupbyUuh/ytXKr3FsUOLrHspDJwg8amZU1mcnyj
zXyD2oYvbkUlmHyn4vOFiIkswl/WpB3sPacnRWJh/WIf5Sit+/XaX87rH+mn6t68RZL9MV9PasFc
SgtADasOaT3wshGHyXppVdoyY5HqIr1B2jz8sQ81xMPau342VT+64Azp8cFJSuWDuSQ5td8dGI5S
dh8bKoQwu9mwMON8Mel0pXcmXwu8CT6figTTjjx1z70eSBRnY/fYEZMK7bwIAbpEB7IBO97iTaZg
1zIZ6R97gj4SkTCb6qkUobu80wZbHJQdExHFl/2N8/LRtYu8qLYDO/cP36vKX96iEj1fUlbKYmux
ib1H/U4A7LIQIvPAeNgOvj45nCVdF/HTQBXbgg4AckKkSM+3wjZXu84xd22098j8hu9ZvfVV5WE/
1XWXm7cjQ5JHdczSPRhK3f4Pad+1HEeSLPsra/Nee0sLs7PnoURXS6AhKV7KQBAsLTNLfv31BGeH
jey2Ts6ZNdu15XCAqFSRkREe7u9g9wWkrPUC2v8xPFQH27Pv6H5h8p+Vq9wTSJ8m4FjxyGN61NCv
KKb65Tbaz4+BPh5QG+CjOKM3Lhxa5pVev2/q965ziLj8hggA72HP7HDXqxZBBaiasPDJxg41f1kX
Oyv8PXw4f1DPbHErSRqryfUYK1k+M274aa37DI2e4Xn2G70LnO87s8YtZ5Ik82LIlAUOLMBtD2nY
/XC2Mjw6cOgPgluR/bYTT3tmjTuwS53RTjGwXiSw72YIWRd+dByP0mFmFX6k24SlAO4ePrPIzs1J
YFSkRa1F8O6wyPRbWHONdZBX0ExdibAE77nks9HhBmYc++Be5asqSUn+3I3abbEZNuVNdRyO3UO0
VZ+qh/prtNFCZ1vjxe83cAhDmHoIF9GAav0wd+UKdG2+YLq5y/rn4H99EF8tIFJhLWqVs8sayAY8
zNSNEUIvEgoKAktcnPXTEpwPasLITQEu+nGaEREkRkxS5hnVLWPaA/e/5RaJG7+ZijuvWIQJnpVI
9orPxvG6ce5CPbPNXahz2Rnm0DVYYnJfLTsFGk6SKqhVnLs9BCLwrrg+FUTZZ9fngn8uxRKMRAcF
cU8K3ArZMuJPY21uJbdA8wZrKZigoL2qghQxJePClFfJDv0F3vUBn7uIjx/Dk9fpqjqBRwsfYz2Y
eOG0yCmgSxv0/yWob1vB0PnMFd6iCIxY962lWqj2a1wktjRKtFANLPwM9GzjXVXeg4Yb1BvANQzA
csepv7ywEFCcLzq71T6a5jEAxVhYctQY8E0KFtU8tHrq0mKTDV8EM8qc6oejyxniHPxUT2mn5xbB
/gWUE3w9q2lHXYBF6LP8yIjU1XuBxbOzyVnk3LyaR07ZVbBY7RG5vNdfjRCCIFtR1CKaQ87nDhad
UyNvAZKrIV9B6Cy7U4oKgNxrR3UpReNip+3aTHIOt+qWcUj7Bkt2sEuESdCRfCZ4hErAGsbHcWVt
u/vyUQY9u+jFwCcA+I3Kv4PmTukUvc1BUfsMbQwcCxX9RRoQTfaG4al6aKxYaKnsDtnv3KRnbohb
UM4Nmdk0xMbUd0HTB0r7NUuDwdRvyrxEk0fsFpruSS20w9GBQXByxzYP+w7qHZ3ppWYn8Pxn9yz3
LdyRnRe9V+M8htqkXXqNLrtt9Hh9/wpGy18tJusuoYraBQQqxEmaraYR5NCpEfwzM9y9YjgxaSIi
QdxcBTkTRLSr7wsRNQAKTojBrRyxuoTkwyD5pSG96cVSePok254Uq4YrRcQRjImvfPD71OBWp6ya
egHJqeTLjVdsDLoxO3cOWP8fwyhoy0bxing1xShLC6+OizsDZKRMDAQimvyTaWyrZnGYR2VPphKh
+6r2JI+i35imCEUANnRF+kNsOGce4cQk5xFmoDFAfQSPoIbdhmm9aaEUlitRauLiKp6Y4baKOVpA
oDh2F0xmfmvn2iZqpDtadH48l+H/YVf+MsVvfmpaYNhSCaitpgJqp7Ebyw92J0QGXVwrKIIChMHI
WPhyX4U9CcVxDbEypLehd8ow8GVoPvafy40U9rdiOZGLc3hikbsGzUjOFujFYHeg374sJXc2oYoZ
qJIqCGEu++oTS9z111ZoXDCZpWr//g6AMCXop76A3OCbfuyCfg8Arpfgykjcfi0eKJ+R/HkGT+yz
uT95F5QADo2JphMkBtEY6ms+Td0SilUmlPoo0qIsWcwUIYQxuWhRmWM9MTxDLy9XDZyG0SM2AMcg
NPlUe46nha36nh6Mb4U2zx5B7Do4GSx3Auus1VLbwMXIDj0rCcVbliBUfqOKweOazyaWO4Z92kdk
tGALG1ZZVXgrO56yTnzrXlkz9+aELDzOkHmSNj/ffEK6jIshyMlwOX+uNuWoND0+Acnwxx75Nfgc
ZU13LPkNgoMQ5Dhr8Cv9hnsVLS7n2TudRmlbNOigzmJXcxpIF7xcdz08bIWfXx41NZPKSWNl7pCK
UD6b23f5G0yv7gISsHjkkRFDCTeQYFw8Fb6RGJWWmBJawlmi7XG47QGoy0Pc/nsbtFRPv1HGvBhg
/FpEvqIBV9S0bY1wSm1Ye3xAJV/ZRb52376y9tHpLQGd4idRmf66A0TClDudEqG91kSQcWsUV87h
b3Xi1tG30cj96wt58Vb8a3woi3y0BO4ftW7zOA5I3j0UShUWXXdQ8noLwu1dJU+xmxeJ7EnS8Dcx
rdwOQmvQR8saHgRW0vaSb+SD7aqQJXbNWsQiw4752aV/Mjy2o07cHAEWsqkmBG5FNPgmqrO1hP82
r7NV3ihCtDP75HNrYBgCQQXSn3zmhVAIkQPryry5hUKt6eVf0TEO/g0VfcZV2K+vrx0PuP9zCv+y
xwcAtUELULPC3ujNnlO7LE1ngZo3/85UP8SI+/ME5LsH/2WQ25fVIuttUiBsy6Ax0t3+bDW23XGj
7kTPqMvvfcjU/zmZBrczC82anakuSJD/UEDsXpt4QeVhDHgMy2kXd8Mzqod+ts7Fl+Pl4/fLNLc1
41HO+6yE6dFzbiUIxyGlf2AcfKyzWl05zy0ySkICkMve7ZdVbq9SMmmNNMGqUxu+1GuuEbWC0y4a
GHfrS5Yx29JQI7DJiVu1oPczyn5HuvaLpreF4IEhGg933XeVSSxdhTE0iLszuWuLu+v7X718w/6a
Me6Sn6mh1mqOew6gVqDQUmCQPYAk9tJDjMQC8rqZb+2UnRSA7txB1ws2zb36YOE5BQ1y4AFxCWde
KUhUXXY5f30UT6UUSx2ZpzLFK6qy7vKqCeemC2u5+TrV1pNN9c31Sbh8Qf0yxy1pofXqFOcwZ2kg
UTJeEi1f6fbi/jMr3FqOpK76TgE1q5zpntl+HXXgtMZ/6M/49C3E/kYln/GaZ/0Aqkc845v0Tgml
eP3tvBbpk12cOhu9PUgYoz+Urw8aTZtXM3Of0I9wNfNWVR4SxN/XZ+7yM/uXFT5SqomlVHIGn6mH
uHMgEbSC32Qpy9HfZpUvg8xS7EsuHvQTo7yjzouOzjpz1J0RjtOu1R/K/nNNW+8fjo7z0mMNtI1t
18xV4mUIACVCXBZfy6svxh3r/86C39BtZ59/dtGeDI9z0LQhc1GDGxmAdlZRyLcR8Ow/85aie+ii
jzkxxXnlUgLD7MwGSKiseGPTZJ6cVD8AY3xWovpQl9VGtuYnwbRe9J0nVrlTnSdDDsq5roPObVmC
iYIAvJEBQURnr8eDJpgO9E0UTgiOg8Od8ZaQqGkSgstByp+UlB6sevyMDi6R1xbZ4bx21hZtTyju
BVbroyYyTqjS7MCmg/xP77+WeIU6B3TCHiHgNa8ZHMgMi0MhBiNcn2Rkoj4Gh0mzRHprwXUCbOIq
+ud0EFwF108hhH4+GlATOOZyzuJA6QBpbfCkj+I7dToq0f31/SIaCbd0BdqltVrDSNoKaNYyRSZI
5McEJvjyS59BD68lRhd0BvD6WJfm0/UxXN8WUGD5OFl4s2ZUamCgNneDsaHZXQNBm+s2Lt7Nfx0r
hS/kNEoy93ELG1K6uLm6c5SNAzYUJ/5cScnquq0L5THcytDrdlhLLJDenA+2+2FUSnshgXGLCt07
+0mK3D+r18dCPZQLbuqDMc4PL0i1KwmY1IMCkY6pTJ6mb2YldjProZm/zrkom8pjudnb44NBzgUP
Y0S6Qn53/MAigM9BQ5alRwrpZpDd8j3DQtBfNN6iaz5kjePAnXjzVhiZ8C2mZx/CneLUHCmVWUxr
3Bqvqmfs8y2CIZDWOzMk5IAoPIiy1xeOwoehcw4sxZLbVoFjLaNNoH+04rfrO+fCSTj9/XxiXm2i
dgJAoQ0kuHtJ61e9lbtDRcPrZvimNDZzgIAx1XpIo8rIzX08cQUxBs0E1yhec9qGsVdoRjA8ojcH
XcfZ83SXboDVvB8O6O7IhPXAS+t2al3jz3sDDnKDIERJNvoWQaWXBpPLEJH0maEhxSCTSznBDxa5
A2kpHR1SKrPqqh32YFjIHkoEmW2IHWv76u0IAfnia/wQfwJtB3aO+BMuPWo/fAJ3TCEpB1rbamAZ
AhnIFsbLvSDrm25ZZxLYwm7RJeQmASp1wuQZ+9VczPTBNHdgIWww5c7APMR+WYFHd23FYAebIMFu
ruQdKrHXd9eFQ/LBHHcsC2S1wbUKc4mcHS3a3i5lG1w3cSl7/8EGO0gn2R30Hi6GEVUkiMEZkbNW
kvzrquwhx0kAKjTR9u3G6Ju3A/hbITJUuJ24SzeNDClHjwmLYyZfBu1R/4J6/T77zJp8GfGBnATt
ETxBcH2xn7OCr+gEXwgwPkwA54mkWo0th8D3ZZrXbEpojwPXbrmv0kHyCte5e5cneIu/XZ934S5m
l9HJvFdVheWF1FcAFHX+onvy4rZeHaahcQdFdPh+9LW+gLBoQge3CNR5KQd1Omad28fFLBUS6eB9
pdr5MYO+1YtI2bnLiE63waF453fxS9YYN7OmHImq36Rqt/jXZ0Aw73zzVmsanUNmrQsc63XBlWa3
czhkiitnyvfrlt77964cW54zyY6XFp2NasvAU3t9m0HpDJQakERAxkMBiXEamI1LVpXtpUf6o4MC
X3SL90EIJ+JZj9c/hm2na9/COVBkxJJKNzToe2lJd1dCsgosjpGj39ZtIh3bLC51F1mOOvGu21XZ
mp4ZRv+GDhI7HUri3JqrlgNGbGVipRQFR7kHfbOxnj28OgNnBSgDy8xJuYs+su8qqDIUr/R/g+74
ogc9+QrOpSUG7SHhDAiLHiLH5IJ0xE8PI+ijf2ufX9xjJ9Y452YVndk0FNZwX+17PKWBGoyD7Bvj
cuzQZQSROwB4RY/AS3EdwLu/pprzatAegU8d4VO7VbMHqyOwkf0M4j4CBvLkRrlRb1ndA7KuXu82
4HQl2+JQr0UUzBdCoA9fwTm2YrKhzTYhBGqhH1PEoCoEkHgEBbNgY7Ede2Vj6ZwnM8xqQIlF/5lx
YqJYw/Q2fWqhcJ7uCzABj5sqB1jJ1WOXPtmfUtu1QBUh2N6CwfIqDOBel6xkxmABl/BU0LBAX73+
en2kl90m8HPQA0HHFchsMRMnPjtTAfnJkJsE/IFJPNRhs9agzciay4UqZxdn9Zets7pEDZclGxQv
H+Tx0nX61QpYJ4ONGoioynopB4ym3b/GxWsAWVYPZGmDrPkE3sNmpQYtZBDyIK/R1ZmA51W/XRiz
7BsL7ma/XnVPERYwA4C6Qy+A6Ea+6CFPvoa5kJNZru1lMGwwQgZxuVOmVTUcpzp2F32HDm7B3r3o
H05McT7R6avMKhXsGrwygzxLvS7Swi5/nhdRFxHza2eH5JclPqPtRIskx60JZc34qFSZC7oMwVgE
02ZxF0vhGFST+6kNqHIEqfNdkqKiNWxiOwlbuQsFR+HyeNAD5tiyDr4bzrkMRrQQlT3M5y2g7R5E
jUCZW4Iml7VHwK+JC9ds2c9n8JdFzs1Y+qKpWYWXBwWuk27Gp58qHWgSuBO39lx0J6Df+O/wuJPe
6JnW5xOMWSlIlQmeNyDHitPEvz6Nl2+KX3beo/OTvR7V/VQN7C3T+WbYAHDNmJ3bg+2ne/NoP6B0
DHzhfkDujnVBtjtQwCLTLXKel4qgcAB/DZfvhpnMIlXLHo7tv0UDZV2GP1PQVZDciYoGbPauLOX7
q+Bk1FlmO5Kiwt9kG8YaP6xTgKDErZSXskcfhsUd77TWC8UgGFYGDD8qn09q4xZudqMhn64cqegm
5NuZfyYDTqaRC266zIj6TsNrRg/trbbL0attu9larLR1+fVwYokLbGhnxYMTARWqh+lNV3rLY+Yz
6BEN2j3Z4CoGOBZdOmByFb2BLz8YT0xzwU2tJLrcqHDPLI6kx65yEVrkoMVDptHaWmBdUTwmL1oO
K4P1VoXa4/VDcznrcfIFnO8paWMUw9K16H/DxRiUTymhKzXemr4RakH1tTI9fUCXsiDEELi891v0
ZNcqyKvmDsu502bwWjySaksUYFz24b/OIed28onIUsPycHrYP8ue4tOHd2j+lm0lBoGYWpeJVoq6
egVDe+9JPhkaqWfTspMiDuaxcjzTaLdtNgtBkJdv279Gx8u26VJqR3IJK8zLJCUYKsFrHY0bxl47
rsxVQp4mEEigoizatJcKiKeewOA2batO1lg2uH4Z6klyy0BXV7m6Um4mTwqVQ+4bo6fYoNOeBNq7
l59dvzarxZ9UyEjmudm3WFLnlUn0yKZr7chb5HdoucWducnW9SrZRrvqRQmaMDmII6r3mb3icC1u
+PJCk2E28BHmAbIoeI6Qp+4bEq+BGdZBH6hBc5tunRta4TmWAWLu2xBJqrYalkUJapSNk4Phd16+
Ycot6G+yA/t+vr9+rIUzxR1reR7smOr4SGiZ7Psb+S02kIUyveKW7pRQXYH04kHbyPvS7w7RjY0u
8/7b3z0IeB2AWgXtQeBZvIA+akw5SUmKR3JUPyfL7Nb5l+uj5E8aZ4AP61HIHuOOGRikLQSqfKuN
/esW+MuVt8DFgTlK1pMCQmVcehFSouYGrY5rcccu76p4MyxcO3UZbUWMhSFtJEvxaHWEOoRbKo6r
DZ8iSURVdhag8Na4mxxUzVKW6Lh05JAlXgkTs2ywTxcPbAM4MyIKTN5V8fa4U6v2xgBpG8DCDejH
B301d8fWVpajPKnQtl0GEQyHjzc5eya3920jaelkwTVmVenVxbcsgUanLCilnnlBzgqfByvzgkj2
gpQbI5dlkeaCFIi+SZ+6AJe2FtAQEoLpd9GD7v0xcOp+eLvc6g1TSnVtYRkCaoSZkawiDXQoiX3T
WPLsyvK86pf8nmpR5Taq9pqnyW02pnvNoXttghAfqbYTHmhNHj9ePyuCaeedc9zY6K6hmBCzuZ/k
sIGo0CAwcYby5QbPk/iUVWxODqj8AuU2+Z7ujG+Vs+o+QZ9pVT/2Dy0SgZOLpPunfzQymzueDjhj
czyYMDK02+lREjQV0unSj+tWziJefnBcwGIPZVSqiVUFahc/mamCxA5R1mblDcmDrMk35kQ3TVut
u9r5LDB98YhC8YoVhg2U4LgRTkaZQaQCnrR7BbsgNA1lJvTJMuftPrsfN1mQ5G7hCYu27PeebeYT
u9xmzvTciewEj4rRi8LumAfDWgnjydXhaFnvM+NiYPXpAgRcmlvswdQkCEQvn+OTT2CXzInvpU6U
ZooBF0/9Zq+ouCPb0LlPvXbfAyXI+q9DeydWaz/LE72v9oldzisaPYgblApeWLtNUAAj91niqpnf
h+ClOtCtuTG/yBtUMNC5T5EiAsbB0w8UmN1sXa60QUhOcfH4nnwPF9aoI+1HdQacfM7ARqPma11t
7xolvr++1QRm+FyHYswUTAlwzlJSukveelO+IVIjuLcF+5lPBbS11LVmghCV2iRdKcWC19VkQFdx
SsA2HudVcH1Ul+/UX7PHl67jfnSKvh0qZP0cDdIyLNfngHHDspEb/x0RqfN5VKEyjuZr0CTLkIzj
IhNqyNK0qBkoHtJ13YDQN9kuEnEFwzo/nx+tsL8/ORy5BLW6aC5okD/bW4mCpk3ytDsb74q4dysU
jAX2zuOtj/Y4fzClTokOUNASsPYj+xkycWAeT7zuYaCusk5DE8nTEppED0PrjoBiCcyzs/7RHTHz
oEYGOMY2UK79ONwEAGR9cAia/ny6d6A66tWe/qUFK54EtRwv+ypu5WaZtmsmOfeTKZ1kgfIXDfT9
izI/k+Uz0Z8Lp3JLPN/G+ZtghGwEZ+ZM8LSgXPEu+P1xhI08qo4xYUHh7/YJtEEyP/GLXbmZwhSN
c8JoRWCPj5IiU811ncJe/LwgF05QB15u7AfA295VjmUR7x7fPg72GQ3t+KCXAoAWRLzs2JxsWKWJ
bStK3jdQhXxYjhyKFsoQHxa1Vb7DQfiZBI2rCXopRWGqfx8t1Y0yyM5cgvBllR1VwEUKP83dess6
yfqD+sT+UfvkBAjS1ozNK/6crc1dv1laN0KGcngTg2zPkjls9PgUsFnaNliGeKDOqCq1KvUA0FB/
WVVHJizX7QqAGLub0m88R5jsvHReTwzyB8bpC9uMaollrhmf+LDuVyMmW7SNLjm7UzPcIXHq0o66
Hqsa03ilQSZ7Xlwprj3B4bhsBmTscAHgB+Z96iA1RG3a980DvYgvfe5SkFcgocKKReWXLndt1sUi
dDsiu5yXnVW1bpI5+llZnfblOg7s0R3WYJH4wUrHEsKCnagodiEAYZsFxF5opAXxFo82R4FDSlug
NeAKEFuG2qoA7hVCXTugewG5wmruGGETwJvjHsHQBokVlPChAYP3Dn0TKT+c39gfvoZHpccm9N5o
izmw5nZlmLd40KRl5PXZl+uLfMnFn4yab9lTyjIBIyBGnc6FS9IXJxe5oEt35qkFbjWdrEqq1IQF
88AehtAG3+HSDMvj7+DqL2+dvxaR19Jry7JKFZDcBb3deIgDvIo+mzR2r0/aWfL/p2P5ZYY7gJMx
kDrTMSaW8nsvq4TAfrssRZzciaIA0ZjY35/48LTXU0PrQAFi09eO3kTGW178/QfPx+3GRbtlkVf9
XGDeGOabQf3QqrZj/Kz1Bqkx32GklL7ozrjw1vholctMzMrSQDDbQMIK8gv6s7J2gjwFMdoMPlMw
xRxsfE68Esl/ClePq/ZFiSPNWWmy1VtWdEPyd01OBklrv3ShqCAlHCX3jtWIXNda+dOdqf5wu6wj
n7rT1nxlo8xR9waZJsYq2KPnSbTTyYW82sdtk0N1kFYtljTbFMd5G6/7r4zls/qUb8yVedtvutA6
inlkLjzbP9rlIvFIz/IsjmEXnBWrEiS/+SZZN+FvIM0uBVO/PIvGv9LnpGtMlT0ZGV50Ydylksc4
jME15IH+EaqGAmcpWEro1n2cU9kslBgS7qyW2YD0Z08cUADVIZNtIoNrg/3XRSvpDkzvj9dXU7SY
nMMpsrFSxwJD7cE9Ujvg1DST2p3sTvOmTtoNi/J83eB1pwP08ceRZllWLYQ6oKnRfsz5LjMH15oE
SnIiG5zTSeZJgkYEGvCbudvXhhkuTn0nDfnqnw2F8zK0c0ppQUo5SKfSLaIvRdRA0GDzz4zwPiXX
JwdvJXRHVBC6eqzKB4UIyj3Ck8U5knoYlrJWMmyCZfjaJ2PqRVn8YGXG3ilySETZKzT/hrVSbhc5
X/+j8b1/28klhM4MnVQFisJVvaA5Lpmy+7lX2n3jtHZ43dSF5AHUrkFEDxL6d6ktbpypUcwkr3Hh
5c/1y3/1oEGyNfrW1vDKW9E9xPYZ/3Q5sWdynrKK5lbSG8xroUFUEDeRrq3QGfs0TrMocGCffmYK
nKAmAFYyUHycc1S7UtJjXWGg+g7MuBXUYOvQ8tK7/E2BPhW6Dp3QegEBNe6k2BtLgX2ReS4W06xq
RN4WM8vqN8ilbmagI8U1wTMwG4uPGPXpf4fJ+cmp1qqGZO8ryPIV5EB3rP8P1cgHUf/fWWmPt8W5
RjIlEmiUVQYwizpX8bWd5tf3hT+tSy9aOQGjcGbRC+BDwXBgF27yVdtc37JnWBv+Izh3mYN/1ixa
ZE1Z9WMq0Ugje8Njdlx8uXUnNz6kdzaKsjNaoCuA3Pr3S7+YkDMS4m3YeK9tMc6rzmoRJ3Ne/4xN
dfRPFLdMpC667RBtvDMOiko/l+7h09XmHGxLWjy+awzeum1fGMBP8iA5hVb8JZhyN78VPX8vBnCn
Bjln66RDbnYa2kvNO2XVrOItdcGZCSA/xK7EE3rpmjq1xrkjKa0Vu1Th2u3cHQ0XHcjRFpmwp/FL
8iP7ob8y7sbiTbSOAqt8+41sFQBOLLBKkoM82m7XEJf0wpeMYO003iHNGgFAM0Ij69LnXtqTDaQH
fGsmb7M5PWpd7xnL7FkVXt1jDsLrZPhW29DfWmZL9AIXjZhzTlJVAFrIsL61VAC2DuzPVAVmJsLF
XQqlTpaTb/tbpsaRbAOJfYkm6r05oxKvWgSwSQfajvuGUGypfpb/D/fnqVVucHEzKyZZUPR1iOUn
OT1QaXAj80+g5v/7IOpO/vd/8OfXGmFRGieU++P/HtLXrib1D/o/7Mf++tc+/tD/3jZv1QPt3t7o
4aXh/80PP4jf/6d9/4W+fPhDUNGUznf9Wzffv5G+oO9G4rea/Zu/+5f/env/LY9z8/afP17rHipx
+G1xWld//PlXm+//+QMSoic+mf3+P//y5qXEzz11fdy/zGc/8fZC6H/+kAzt3ywBaAFqpCKoAADj
j3+Nbz//yv63DllbSIXIKtMpdeBQq7qjCX5Mk/+NJjfUARlFP9jnWPcHqfuff2f8G/JK+EFkjCzZ
wv//47+jP/70xz8XBrPx55//VfXlsU4rSjAc5rNO3LaO34L/4MZEEgpaXHzqcCyUMbHHXHu/QTSk
nGrkhtNwYG3z+F+lY3gZUO+BWgVoTftu9Gyv/Mbw/ZprbURlQC4kYtS1MqYDM6aBN/uMJ7zUe6rl
dQq5dsN+IDZusAiP5a7zalvwCODHDUuqDnwo3vmQIoPoA+blJLCcZTnV0hbjtsBy6ueRmR6bUaJh
ElugxJWL7qFFGd3TbFUEauYuSjZGUACxVUdrJdMe+WiZJA0d4Wo0UEdlrT/IzWOXgTj2ZBdeWFc+
aD+zwh38yJq6zsmR8Y/m3jXnb3KJZlztYDS3RLJ8hdHIdJC2ygWPBc6ZnpnlIjBjbgoMHwtI6XwT
xdq+a2boq5sCPePLcwgRTWiNgTuOb/ypTTro+iipgaTPzoImfaWFMjW0d73r08g57ffhgDEaYjTQ
C7ggWTjUZG4cDGcGWBrCX7qERJGqF31o6G356JS1dCzBffR43ezZMUA5w4BYjIZ+GzxI+OGRtigz
BqoKukbzTLqSZJwA4CSr5PvfMgSvJENgh0m7MqF6YN4/7sU66+QmoWBzr5vCS4ZdRlD7X0IqCQJV
bluc2eF2o9RW2mT34HHPlzaI9BuwDAaqk/p/ezS6DBWJd1nVczmfZjSLDh4ExNNK7Vd17Uf6PYhI
3EIo3MktEBsPE+xEg7ThQNCGb/RzMsiQyPC4QakAeTnJrp5KayN/BgZcMCb9o39mlt6LA9AZcbRz
EYmiUEoagWoz0AGKyKLBswuRoB7/8GU2IE4IfSDcKNjnvFZg1YwNuNYWcGvMrvTK6JHG4bDMvgbQ
Q/8AMeY2pLpgXPxb7cwom+ITBzz1aaVoEowurzK4PjIoEdWvkAFbSb52/Nv74sP4uIdCrWeGZKfy
FKTL2p7W9fy5GPaqdXfdyvkeVyFxA50xC2L1EBvjzlIJ/pJ2aGMoGNWJG0mxm0Q3ubA1TWSFO0ma
MiKik5IlQG/l5wRbxm0T61VFsV5wg/Abz4EyN2TwdOwJE7ckvylq1FtpDvHnIG6B1SAFolXBFczX
SUFB98GExo1lKrM6lfGiCiQFtHjfUndaG4FWuqmH9P9qLVP372aneZM8m0ii6q0J6j80nh0Aunxm
agCgyw8givLQr5gyi7ljHQYiu5ixs3OsQn4AotbQVUdNk483Io1maLTLlkDqEiMLMyg/al7bp0MB
JkU5yp7GygI5SwzimW081c03nVASB6Vd6e096IkjIrtKo/QdcohERVuCTizPniAQ6+SDGYz2XGz0
vAWtqRFLDl1ZSinTbUf0WS/dCidAdUd7mA6NUaGmiT6gY0yt6jGNNHtb01L3l663gyif+89pBgVY
1FxlM95lcWr3L8S2LfTOtbrhNVKf3PdJXt+06ix9ywYNvEOklT4TcPfUIAxP4hfiUOWhoBjjTVkD
TrfWSav4jU7Nm7yzv0ujZUAvJB+Xp3bs7/t4CJZCcWMrXUXW7EvJ7GXJMLrEiSe0Mpv6sgWbR/q1
QUr1CR+sbVNrLINesYrQGmltet3Q6rY/6RIt1in737DJU+KsSVuS/qnqxhZIXhuEnY4vQVnuOWr7
KLpV274Dsg3qqV4xDsWnboq71h16xZDcnIFQXvSM4rlZDxlrWupptOlNKt+lOC16YBkW5qBYIIop
V+1XtdCNB3WozWM2avYKNd18V5kD1mvqFuOHVU4aaNYzne7yqUHNR5/A8VU7yVGbEaCNSa0EkjYa
+4Ko5h5SccYadK116TYxqOKa3ibEnbIEXqWVF4QjJZX32dzUm6mLbb/Xa2Wd5QMcNmDxQdYvzve4
mqqbWCqqH01TmtvKmco1kvmyV9fSAEoPSnyjn5Ob2qrytdbb6Wbo8yV19VbT1q1Eer9thmQ1z0W1
hwCDEpBsHoGpmmV75cz9vGshj+UT2tqeHs+S2yH5E8rKUjxSrUKeb2wyf3Hibg+RD7K4STaakivX
EsLBMp/D0tJUb1HjoXERDtdvy6CpvqHI2RQkqZIB1jQMMySLrB4cCZVhkOOQdvGoe1GpFIfSGKNb
J0/T23wy1d2sDRpkmM3qJm966a5NFchY95FRgvRotqYgn2jxomWaAVlVq2seYiumQZp3CnYSRbcy
tNDuDUOT78AFrm7wFLcLV+tI5GPfSJ+K2Or9Ro7GdS+j99htKCHbocn6713WwVpFqmOvddONnhb5
D1x8/b5M1fm5rLvOLwpa3DtDouB6M3t7x+hBQ7OS9VWaaw08XWtCWqUyNX/Cgn/R9VYNyzhJtnnd
qYafJlpJfDWqsBzwFpsiT0YPtXmyK7o5e170ovCHsjXWcGtToOcDUC9LGYV2Yqg73cizgzbH9mZq
m2rV6XYSFGUZ3RaFFXtDoxavirJM+ynq53VTSd139NMnu7pzRk+LqHMkRNPB5wdyQr3LwRpkpvbs
FY2pbwZwfobmrGo3lZWqXrcky2bS1eRuGUwkphC4385DI3+N+8YORimfbmpjhiT3IAOd03XVsNX0
VN+lZk4e50mLwEylYR9rkxR7dmnLlUvgTt1ZTtpbmyx9aNbyENjOvBwauxkPS64yooPZoKEmz9o+
xy7bqaNVhpOW65txbqpPcyGDFC1u4vg21TQpcQfbLraExPa67436UyNVyrrvRqXwimQpDkjFl+s8
QscSsl4a/FqOZtoX0qr0m9maSCxW04jvaqUOk4I7+BMBKcGuHDrTXTQyr9paAWeYOkNeZsRM13Jv
eSOu6sM4m+0jTZXkgTYpzd2ptek+koYpQHk2DQvsxEeL9r03ZIu2jYxGw0IQdZskurLKmq48TB0F
MU3b5kcnp8ZzBnd/nFuq7ooGZ22el8afZxsu2oS/yvs42mpWXm0dMlZba477yY1qx9mrNR1Wo5aZ
mx75Hd+2peiHTIvGTTUK9oA2azy9UuJHneD1rUz1OtaUzq/UtoSGdKz/f/a+YztyHdvyV3q9cbOa
BgSJYdOFj5AJ2QmXUlLSghYEzdf3pu6tSiVTrXhV47fWneXNRJCEOTjbXaU6LpRTKu0tVyvmN42Z
v6DktVcWNu3NWE/avhMVus1K0ZGzqOvUGyYl3GthNJzgPxbvGRusjUHSbl8WKpxpEZq1StJMfxqb
KPfRARkNh8QVEgfMUN8ZmJ2roo6J26l6uSJGV69re6SnvEtQHUwKDVdxq3UPciz5Jhz7JKhpfZWr
RueUjKuHno8/sk5tNmpdFj4y1YegKzU9cTNRK+soJv06iUrj1NhSOQ0AF4JYGHAHFYSecD1TbxM9
JKssmypXDKp0eTwoOO9C9bW3w9AVPeFekenUbcH4eqO5Uh0BIfUnhtbTHdH6ZhPVJbZFpvfr2tQK
ryhUthpzyR0lSckTgmvbvUxg3VHxstwItcl9c4y525iSuylB+gJy1GXQGnEvgsqczJUyCXFtsA5C
m3jg8wnbSAT3ViS6q+O0652GJ9PsSMiyTdnmDV5yOhQ4GOZmLo4HcP4w124UK+WnLBT0qbYUZW3r
DTtykav3vBigBazMbp4Ck5E6KGrKu9bIu9KzEsGecxipOAoWVOOGkuRnJUI1ENBmQro5H0sK9/Jo
rDtXYyX52ea2AQd7uzFTn9XIPgCF0yTcr8dRFw7rVBt8TlQAsZuBEwTw3KKTdDTVaN/7ZDI6b0wU
+0E1e1i49jSCN3pUltsSQu0rXqbj5JphkiUul2r9osBGz17JzKRoq5Sa1AKmSei6QjWzgxYuaG8C
3lbvKrczr9FyRraTFZlnOFx3W9QX5JQ1tQRyERkxeJ+JJT1O0aNyRj2qt5EdGWLD+zg0nAYgFBza
TbMYXSoGhOqhYR1jbweJ9N6KanV0Y1E01yC1m9tGoXrptHodncdYzyeXFZ0yOWTUGrDcdRUmxkVv
A1PNjbJa94YB3j3TrQS7QS3z1O1JO94gjIAdc5RxcPtosg53DIaV6Xasjc5mqiu4tVckA8m5UIse
Xm9xch2lYb6BJL80/Y6wEZ4HKW73uKyGMHgaTaSxwny3JpqHv6JCMxe3deROZaVC6ECVyQ5S1eaH
xoZnvCOFzuDdhjIUn1gOxWyyY5OnCvUL3HyKvgidscGhhiKp4lUw2UqxUlQLKQ0d6kXqhlYJDHzg
eXFu0xAVfifSyNzRpkpUN9OtRrg4dPJghJ3HDsVlpbySDgpOXwKrXY8Kx6nQjSmi2ERexK6WmCoi
c9LU6hxFTCjmY5Ju+mS0A4OVyVHvTWXLcjW7q3OdPsopxoRAe3TaD8poNg7DNN2hP2adhpFV3Esb
IKO1pHSlVglzy0pWvVvpbbctytYcnKQK2SqJJm7CsXFQLV8VU4Z9sSmLIWgLmx0NBAD6o6Kpwk1t
MbxrNZn2oVH1uESjjTkeJrvFlIGDiqmtM3WqG4zXYFORinAthQ0yAHdFsdwxMfB5hNZM8IpCr/4p
xz2B3WCjSxt3xKqZWXkl5j2hNnytrDKR2BJ0S25Voag7GhfFUUsGPfIMYfZOn7VYZgWlXeqgZ9He
p6iCFEcv8+g2bgoBmU5WI/qYsevCqvnG0Gmy1qIEjJ3QYt5Yg9neaBFd65NM3aI3i0DLcvOWYSdA
/Eaqiwfoh4sfU6aBXqvZkVONHQ/00sofiJaQm6nIJyGdRlPqbqOMQ9E6KiuZ9OsuSg5Ww7pTXmWw
SopRZgjMQqq32zIftHsSG3rhmHqUVPPkEk8Gg5tVZIX9w5Sb6Unhan1U+gYSETMVB9bmU+/BxVEF
vjxYkH1itcgbnC/UqY02jjHnG+01bMsJVg5KWd/EHWxb/rc1TtpcXlm+BUvOoBKTval6s3Pror7E
qFteqYEBoGixmY3uL6Loll6ZU1LouYWS2Kf1FDtDz/d6flmSvOBeo778bZTlFZeUY9IqIW6aOe32
MTHPZkt/YFrdanH40tnFiSg5d4wqPpeRvvq+B/LnLRe9DzRlKYjYiDZe0ncQCBNaVBS6X6Yxyla9
PpEi3RWx6pUczkjhZK/nuO3vB/2jj2DrBrJcdcvQZtIwWZJJSxhd1wMnug9ji5kX2TraA3exvzG4
rYGpBLuxS59yaZKIt4xYV9zmkbaKHi0zF41ursBbpupCHbjJTDWfw12TwaluE3gOz0qFD4vJVfaK
JPajfoHburSY+2PweaJ96p0hatWOW4HB4ZyxBrN10x5iL1wZ+zygXrmP1/oaPQzIQwBNXxtQYF96
/Bkd+YQa/fUDiE5t/AcMg85dqk8/YKqBV3IgKCB0zIRzXDC27UZfXwr3+7PZ9ZGdO/P7MZ3Q2v19
mDpJmrGjEXpQ0RlIimPWNyrkYN9Pnz97uRgEkb/o8xOGfPsFEqTQfAqHKjZ8Eh0sC52VFNFsxTN0
WJdangvQ+6+39mukpVB6kkms1TNqgZLyhrhwJvRaxXmFP8CTWDGvuSQxXq5GRgzEATOED1soB9A/
/v31xUbZ4BTAV0JJ6VcC2gPucOWul9QZxGtUXViHSxsNNNdmU1sNUerMQtj8R8v306ywI1WdOosb
MLGY6TcpgnzqQ3+YfQ+Jo1zb53x2AMSk7B90FJNv33/H5WRZjP5B2Pk0emkooaoYBRC9aBzWQ2WG
B3TiNHdsiQy+H2rJBMGTIqNsxkxtBKjD1XXxZpUsMlBkoDmK7KtzskNbGc1y+3Ve9P++MGE5mr1Y
bZY2oqCJFBNpdkhii3YiDdLCYT479B4FH/RGu+O3zJue/u2npLYGkM0EmmHPbe3f5w/yH9JOZ3jK
vwjL5s7epPfKCoWIEx4vxdz9+fl+G2y5DPNsiKpMqSy/Ug5xRx3R3pd/xxP9D03hv2b89//8kwfw
B0vh//L3Jnl9Kf7X7QsvXz6TFea/9zdXQaP2PzQCugEAWjSo8c3/xVXAkgYhgTGQBzHdYeWIjfif
XAUNf0QsIB9URfqqCrTqF1dBI/8wCRB2wBBQaJkM3vH//I1/Y9jfcRUWGzWDkGxmTNg43uYQ3yXA
EuHubEZRptzSoVwpqF1LBDrmgq0m8vDp7XyBni/m4l8jEfAuNFAzbJDofp/4FfrocgoT5barAOPA
CyhqN11VXjoP5mP60yk6D4MdyDJ1FRs0nmexvuysSWSvarCKPs37ZfJsIkIKnLKtPIIwF1wWcC2r
lo8RKT6RDsgPHuRLfayaWoNuqqw7N97oJgkC3ijocjuwFYPm5S/5g76rTyEyUP4bGu+vnhc1k07h
rYY5tGSh8qrgPcAOeSamY2/lufCGHb+W0OVZK5xJFvnvqLpmEGn5kj8PugCZNMKsXrNaeZ41rMT9
QBoRWj4LTMaHSzjPxyP8MRq2SkBnKBA1shhtUARRhaHJM5iYo2Odyl116NY2/JzLY7ZjP+ot32aH
cN1Nx+Ioj5dttL6YuiZFHTOnl1jA7xZzKq0TE14seMdFv6ubI5kaR790/H35HT+NMdcdn07afqhS
Na3xkJYOr+jkytIu0AWWiPRf8/TTCIuaLMy5JsuomuepFhheGvQpFsbs2IiJeYrv9JvvF/wXW8vn
t7aszGrWVbVi4oli86cKOL+L77NSuiUR6+8H+noF/nqypS8lr+280uZ3N1v+occHwSps1ZVnuYHV
Q5C4yqHdh46NHpobHi9mwH+5GD6NvpieMh8qAuhInvVVfT8kDjvBrQoZ3dOuww2CeOpjtpmtJuwA
9FmkEAKRcy+8gAuTZ3lx6hicVZMCP2HOso6fNFxTkE0+wOiBBMZ7uk0u3tWsj3vCH6vSBLICIFsD
r2axKAwS2XpbdPLcgRsewuGhSThs8yiwV/1ahy9Nk8AyoD+WuumT8UcecfT+UWuhARHhhtMRJ65s
F4YFPuWrgqWeKR9MKZ1MvdXLbNXSR5EbTtf9jOzQrVS+prkf21dtsWpY4hbI7pXWNqKqRyKQELQ7
axwOCRC9TLtOIsWN69ZN1KeM7ZQy9biE2r0YPCN/zqOf0voRI2g06yvPMu7G6YddWk4xvMGQwOtT
jA9mRtT0AVcxd0HTy16oIW/NsoPp9HsdmqWXaq8TfanQgGMxrhh9pnuoiFcjzOS7AsLIShzM5EUL
zbk5Db+jm1A9j+H9xJ/NcdNaV8q06WpAlMXoTGInrLuwXGn9prfQUmpuTLR7ZP1okdgxzOdEPVsS
2YClESg2DPRGQLnyipRvgBvWpbjV+F5DHxrpXLvEAA19QE57wzz1A3g4kDgK7NHqIcwBUA1y8Ci0
dRW+NRx8w/S2UONA2ggm5T36fLXbGddtcpv2miN0xE4Je5WHkO5Fyo05pQ4so36Y/Eq2D4Wt7adY
9UMjDAbAo7V4pS1aS5a2Mqtiq/Qq2py9y4dDXAJ90tZkUv3RfslltbVk6MXUaly9mTuVeMHcdPjU
ekLjno6mdBvFm1ZlV6NcFQNeXB4eJipv0nqTAKHNblJtnychnO5Kcw3+lW8m0SbCTzbyt9F8JXTc
5PaI5p/h2hJNTqNfC4MHbaaAFHEL1oBjKd0+AmKhaKlXq1mQxLhpd28VrR1YhzpVozmsNY+QnO9L
EE8AZ/KocFl1HiEn6Rnk5j1elSi2RB1cFiVuCk9wpUNHlNn71s6uzfE9ptQJI7bKLXnS+nCFGgEN
6n6V8cKXZbICC8CvKwBiwOO1strbpenUxNjG0vZ6BCjj6H6vrBejearUnW4pO6L+UMybIT4SqZ0Q
HwSxI9/kzHKspLlSWOYxwd0ifpC2gdc7eNp0n6nGUeutq8lQz0ObIV03Vz3cN+9CoK1IwPO1DiUS
iw99ddvlR8V4DksgbWrndBHCUvNNX6vbkpRbNGaCfpROgshRJTuLCnNj5PtYQavagpRZU/ww3MKs
0x1HAodHI5AFW/fAuolqrSBw86qydsq5UUunIO1DBwSEkN7pEVuP010XvmT1VkHuZyjzVVY9pfbT
aETuyJk/tLnLGu70sGO3kYpWhK+i0dHOv5la9IszE6RLy2nLF1D7V9J8b4b4MTUSVyaTHzd2oHW6
V+naqWYmFE5kLSO5onZ/3Y0hCjW5imsAxtG9htdOBb6sOe0yDFUOut/lP5oxgkadYcYgOhfGIP0U
b0q8OFpWjipUl7TPLfqvpP9RsmSl69ijBth7ZL0n9TFgteEMaCyDCusrcGuJkDLYhBzwj7mL0+hY
FNctrPRDPsLrBCF5/YsJZU04eu00OHlMfFkMhxzWf+BQiB4Zujm2WU7AnrhV83trgpWnTfd1lW/1
2HZUkA542W9lWhyYkR7rXq4ZlesihP4okziLMKsGfXIHsB0KY3JEbSGutsL/0PnAp0GUYY4+JFeC
wPgcCG4cXeMCcpNFKdp+aLf36PfGbhVpXlTHQZwVrkkfNS10SQJTLJW7an/digPhpxygro5EThPZ
sSPmStO7CLBxIuyTinWs1K2dv8RMXdVp6lrd6KSt9JqmdabWAKQvAIrvjfYtylEuqG8xskTxrd1J
vA8ISVcgvNEPxdQECQXqkcO3Cnd4kAWAw2D7xQxFJ9gfdWs/xoarDY2LhvcWdvdOnXXuvG/0YQwy
Su5GUEHAa/k49kNAkid9fFAZQkLothFvPWDunBKnYz8HCVEqOBXDiE0kGkH7T1wohIBbXKGZ4fRK
6U7Z2dBOo7WqQQbRjE097sS8Rz/p8FrgN9ZIvbo/N6QAXxiNBtCHYk19yCo0GGbuAQEypN1UAlFM
xRaEB6cF58jW549+6ofYJ7CoKofbOOzcoU0dHbNj4oeeaO4AOxVISkAheRTiPURt0aW+DT6AtGNQ
Y045YZtYQixkkUCrEy9OR7eSYldG5Wq08EXKMx7LkfqLMpaOgMfYJKinAvK0FfQL8qcEQ6uFhBE1
Nhqpu6XyNujbbLi2xI0BvQXXJmdQT7LMnE6FmcwwuVF9HuCjO9quUOB4bsMZWWxzLNIU0Uiibp1e
Vm6U3MT5IyeDo3Q/sxa/KgcboLfcvBv8Ei0gWgY22RMSuyoOXviibNQ2dbPBdFrg8aqAeqcLnTbV
n5S8dQAxgA5zrav7EZgQngG84gKTHQTSzAEn/iTAbpq6txaM33GoXZ6FwINNVwPeP2nkVjBtC55V
oKTROiuZU8U6kGjVHQGNsarZaPU5xKYSaZZfxJYDJhLUfSlIlv2uGhC2pLMAKsORRF4pFWeK0EZS
bG/M8sBqR4/mzAWE4QCs3I1p7HYxX6UT6Ft96ja57upmuiNQx8CLwJVj5ZMc/3xSeV3+pMbWXtVG
T8oDzloHclGvKQOZV27Xj8BLMasVfJnpscA7ZFHlxXil3fgTdynMoBhJxpu0gBpePKLzdijMcUXB
iyHGfTxuCc7MCW7mZmwERsx9TrCiI1CqbL5Pq8ibIt2zSzTi8W8VaZjhfJrpOw+2+An+G1zWU8BD
upZgky9BN0s9CqNAG74xpV0EQq28ocQhT38aiVilkLWOWKO9so9zy7F567ABbZV/NWC+aDEsQYu/
rjifatLFJQrrq00rO5Ln6B7G+/Cn0LxZJ68dJwQ55LhXBaH//ZAflM3vyuDFrQo4Fw9HLsXZkPae
KMqOc1hH058l31EbzBJY9VRKoFoEqHoVKBDRxV2/76tpo5XxKhyOEcXmvU9qxS/Y3irSl4q9ZYoI
wOVFNpHhXfi9c1n+ze9d2oclbFSUrlO7M30uNgVSJ+abIIxmD/kV+ALonldI/p2VKigHVrojVspT
v2Er4cbbS4DHpc/1cfH/dOctwzZvcVKgd4GQDwH97GwtJnZhMFsYayX84f+zm9KvGbJsaKuaAkbx
gBnSu8kRELsVwNAWT9vuyzMJ5g7NxSEXCMVyUn7oTT89ZRZOYRUpWYchcRpe8Wu6Kfej96FjXfcX
ze6+vud/esS5m/FpPDlGbZ9m7Uc/Cia+RTDs4LjnzQ7GPFA27O3CjJoBo+9m1KKxR23QgyiYe2d1
W5ytANZCNjLGwHe849vZaBGYZQA+wLZIXHafeZntXIK0tEs/4Y+7aGdJheIuSlZw/MetW8C/fXLF
UV1fCsG4OGkXe4xsOOO0w+fM96A3ebMfntwZR3C4fATwwani4jKZ/8U/XjD0Fyr6tDp4sPPTf/qg
DW/qkFqhOCO1fQVJu18fy+c4UJ/IeUCyrekSqGi2xaHblZc6K3+4ks7tVPpp7EVzI5vigeVDwc9N
a7gTjDEEvVJyFYXgmWhna3oFMdW3ZOl12X1BfxZ6+Th2iJavYu0sClzA0gblSrtVk+rYR3blNNZ9
opwbcFRMtbiWCbkOzWkrarJlFQgkApZtBHepMvWnKtlzlayzCRtCFe/AHqzcesyfQ63dDd30k0sz
SNTidsJ9RsSomxtQgvV1njXrHv9pj0r3ZufPVnfVmpsxKR0D+1y8Bsk/yGDN6XS29Wpj1jgg5Xui
JDAmZtFTQoYdPBeuh6J6DTvmaboN7ki7ichNlBkOj37EmrIqDG038fgKKLlv6+8QMAdxdZvmN/Vo
rPtOdST8VJUm8kDWdqIm92BO6jTFsap+MF33Iq7umu4d0tzMQFgLaizBkI2JW2pmR4ElyVXUlsLN
Se3wLNvYauPYIgFHfCYip+6UdqhKouesEa0DFto7UkPAYafrPu1xdYPn/GCDgVJpFxpN82H23Uxc
QHRmnOJKnKO5Pq8zbJz+bMeeBRd9AL5sqWHaGWjkUwpux+8zPqcp+KhZLc7icbYwKkcYwRN3QjaD
nTpi3a7kulnzPQrFq+EO/oX6OjpdXHZfbiq/fsTStstKimliBn4Eug9AElAzuioyRXF1WsWr7/fQ
/88y+9cDL9kWwMqzJKSVOA+PcxgC3cJgzx121s20Ku7n7bN5/7eV938t7V9jLpY2TJPYYE9Fd0as
jZ++laDGOtpzuQl3yUnfXWqTfj11fo22mDpqNTXSTvE20w1smmCxBTU82A0Xn+rLVuinrzb/+afN
MhvzBvox/eO0tV3bdKJ1EcDQa0tPIXP4GXDy6hJC8XUD+tOgiyPXVCPQ+DVNnOesC2td34wHyN5d
5R02QsN96YEiDkPReAMzmYueBl+fDr9e7OL4nYCqm3mK00E/jHAxg4ICXajiNNb1Mae1P+B6/v1k
/bKC/PSwi8M2q8YyN3RdnHFgbUg3ehm/6SyYGuPiYcjr7wf7upr5NNriuGV9GIU0ZvO8mfkdrRs9
M185zNmdmKRXlx5uyUL4qNaAhqJvQmFBay/ZVrpdT1YbJxxbHM4hK5jWc1pKgobVR3V4SZz95fN9
Hm/x+cCdFJkC7jqqQ9WdPAgrT3PC3mu5KfzsdMkv7YNesNzB4aEJgbypW4BIF8uw03CL7QyLn0OC
ix5v87Olitu2J6NrJ+aLRcJbNlC/CQs/UnUP0IoXFsKDE+Y2V+H/Bfoq+jU7i1aDk3JLD0xLuSFK
pTrmGDp9dU3NE82lA5vAIEtvgQA5MUP3RRNHmpNDVG7toXdZTdyxIkHe4rlluKHxcIHO9YeH6by7
fX7QxT6gRUQ32mLg58L6kSlIbKyEcKASOyAS1hV57w25XXkpSf1hrL04Yehvdm+iVg+deAJtdV/g
tTrJKDahnu2Nnq5MOa7KRDskZnef1tEjZRL9UXrdpug2ackj02FUVido56O19h+sgs9Ps9hgdJtb
5pTgs8Hu5wo7mge28JFuKr/c5L4o3Uvb6Ado/d08WUxLzpSqa1Kbn/NNtH4GxRyyKb41Htiuui1s
R3Ffja3hh490ba2w4dSOckVQ/L5nXne6na1bLh7H88z84xdhE6XUBCkCcPfvG3uncKlX88wV7M7W
dvZwY9bnwhZuOLF9aCMDpD20ar9GaqQTQVTVyvcLH2G58WkEpgYIQzRMg6lgFiw2PhuMbSQ8SOt2
MPUrBiaoVxn1bow0t83HNVzdPL0xbqkFL9FsrN2Q6Y9VKLca5f6g5KcmNyDW0ax1bCerj5/2Pxyc
/5r7E/9qAf3BwXHeG969vXwm38x/4W/yDSX/gIO4AZU3iFbU/JDb/m0Ugj8ClA82CqiWM/Vmbuv8
Tb4x9H+Ab6dSC3x3fG0QVv7FvcEfIfwQxBw4CWho2YBD+u9Qb36fT7P2DaiqRSnsqqlGTfxrv5Uq
dccVbKOiCQYNvopmtqpsAAyQwJACfvnYocwb+EF7MhuPkZ2tNY44E7Q/xQRnsVg7pFa2KhXEGIz3
cspcra3dYoBGL2MuBzIYtrZnK8q2inKPGW9EPDMQMYcazIk4eqiy5q7riiCsaRDF6VoDFFegE52W
wVBNnqAAx0IFSC3cO0T8EJHWG2jjTUBx4pQ7IdAKhRqrdIBMbJMabN1QOJzZFHt7MkaOySN4OhTp
GefQY8jkzRTHqz5RfDDbdxTeqrhJCY7NAv8OFD3ep0lw9dem8NmAZd6cfm0Vf77YxSEH8pGkUIE1
gagBXY2weqJXBH1xWZvB9yP9Xm3+OdLilKnqKosHaGgDpl8p+pPULvhxzcY4i0dBHhU2G7Ci4WdD
7MUA0BEVrZ72TWDDd0xNXW7fTlmQoagDNpGp50gHBlShW19nx/mOXOIGqVMvTU+IB3AbwX0D/nNN
Hm9bxfSofOgMOHZr9wMmTlyify4gE8TfT3GIzP+WqMc9M6FKhNGuZVwrI3gbJTI8wf0Px9KHOhaa
1dbpSOQ3RuFMSrYu0Po3EN1aJDujvViP/fmG8QI0nWGNgKcGv5/fF4mqofNR9bIJGgraGHDT4TWN
VJd1D10p15lWuII7xBrwjCFEGVAR6mGA4sb//kN/+R0+/YzF3s9nI5MxwndIWejA/wc4DoPoS0J+
ol+YU/NZ/vvs/f2JFxUvVGeSxdGAbcGY0F1XnRDKbqleeqIFs3ieu/M4OEgZxWYHpuHvbxbEhSoX
Gd5sq5/jytykaghdauooHA6v8UPD9lRDD41sG7W7mZRjWUq/nR5gMYI8ILxr1HxlCNj3RygvhTP8
fln886ctznrSdoNs065B39wEaG15WQxiB7oqRR350RyzSYHly+jmP/nIv97IYkNmyjCGlcRHrmnu
mbPyXgdJopJBHrYXLlFfT+tfQy22qMJMkgrJGk0A+Y7TzuGI/EJI4KURFjtH3DUq+DYYoR+fG+vc
dhe2pq9XBLPBZEYgAbqEv08fSHHsCraQTdBpJzG+ogMLmojpsPD1+4/y5XIANsWgB6E4cxfLAWJy
qOxbjFMD/GYSuv17dbr9fgw4cHy16BCDDXqfhuvYks3UmuDZq4g2DXiTYYfrg2rESZfYG31SPdg2
eIUNBtk0AV/ugTvvWrA5pihNsEneD6A2RZX1UzeTU9J3jt1UqdMpw50UHdpzCXBtLcH/aiNpNwvl
GmrNPR/u0kxdk7wIYi0DbSM+Acb0eJf5eWVCM/cWiT5QOyQcsOkorFe1flMI/r5VbXHb2mrxUUJQ
b4OdYoreJTmYCTA7eGvJHYATGJ8Ks3WQQeTVE4OwHL/fwuoGyKQoEOMlRRChq9pzUN6nahMOgxur
lhcmwmum+1rRtoZM15B6r0W/qirVh+j1qBfvCNLUyh9JY/00ibyn5nRrh8ONsFZCP/bJcN3l1s8U
PdNY6V2pNaCFqbexxItL453Ai2tjazeVjUfQako65hCu+nZlId/xqgE8p/TPDfgcCjFWEPWtympy
Kp65WXTUa+ZjilxxkR0hv9tn9VuHEmJaW9eifs0muIulH4/QF2YQApIelZsO6d70NZqeO/KARM5t
Xb6YCb8KhxzeXZ0Hk18PdhneVDVe2ae+YMwfBxr0bXqYBnvXDfqqj+/6ug4Q27Kl8KTk4Fh0tatO
6QG+DYEuyv08XZTkrU7mzm22snXlGp8HqGkKIWkI7a7pRaUJJoL+ZndgGdjhbT9EOahpVutEGm6W
un5A65ki9KE/GrLHlRmeCFa7GurbMM4dNu643npVnfid3ru6SncckkCYZqHaWqtgTvXz8ZDgaw/N
zIhywaN1urDxBlXB3Pih8NQbY+zjsKCr3wb8Twk0wU0xevYPwcBkiXo/YdoGtgwbK9qVWGWmFW/S
9MWAUFnr1QDvHOFkngSzQ/2rIsipmyrIbo4AX2eVqydoJUDSwEvuCcnOXJ5aE8gw9djYei3KPtH9
0GMf1g7g7RxLJGmoVyrYbVOtIAgsvikRAovcE2+AcFQx5GMaEZx+iGgAbXTKuFfCLLOJikBPYbTY
AScM9QOLpQcpamCW+bGxyAtsgZ4TMp0KWh7Lqb9pe3vPUcqq5BVS+S0cBR0LRajoXiHddXjR3Bvw
pgytO9hWO2UMRkL5Q4zv/Uw4gFibDAjktQoUQqOLKPdbAxB31KluzhovvuqSBtSDNw1kEkPgPNTA
DsLPtwS0y9GK9BTvoVppFJU0S46DorhaVjo6pM2wgErBloI5wr7Ks3Wjix2vSzfWq8MQFfBjSdxO
1327PEH9jl/gpFrqIPDyVGYt3gO4RSAnUSqDRImRZ3Wfm7g71HyN+zEmJOLYq+dwrK7CDvEFlAQl
1LINuFxCpAfbvu31EtJt04WQeCUHKIxNBNcojTMXk3rr0ii/Bhlv0/cgyozGJpuplU0RwJkBcE14
b5BmTVPq2Zj9ExvhnebzEQED9bBno3XKlRAlGlpBECw7FfiCkrcbZiHQZOTrafaUgVR7fsLMFre0
HVZSf5b9HGZ4a4I2io9T9ce2LK4Snmzigj/bsAJJRLMd2nCvj5qbRv1qUPZQf7s1GKft9JzqmWfg
K5jYrsXY+GAcuVhjoioDDQNpVRUQ3m9ImAfw7VkbYbdBEhOWsAxIx3zZzsRK5tvqFQpNz6gn3BUm
J1FAZOPpOlLAgej3hg2QhyApOLN2cRM9QDW1UjKx5zqIzcxp1auYdbsRgnuFgl4S7UFIvLZ0eTTq
Z3CPbppu2IC/UdmtZ4zoXmb5TIMNmjwHtWZTIG26zLOVge2uT4ejkqb36L+5qRbvGgryoMVhzZGt
O1N3QzPxdfDykva2ieT6+1NwkRaNsguXWthfWhRyU03V7MWR3mL/52lXomSYqu3/I+68diPHti37
K/0DvOCm5yvDh0ImQiaVeiEkpUTvPb/+Duqc20eishVd6IcG6qGAQolBt7nXWnOOGaJDNwIWA1R5
GX1sWYnXSUpJSJJbP+A9a6IlBM4VAJSLqJUve/ZKIB9uJP+hDI0zP+3b53n2y2bbbzOy0pgNWbk2
ElxhpXstu6Bew9HRq4eYe2lXybqu4+XPF+Tb1mN21NnWQ23CuhyqvJxkGwtbe6ibcKPBifr5KB+W
wS8b/ukwAjsm8EpySD6mC59GFr6JyVtWIk7OzB2jMba6xG67qW+AbADQNZdZb69E111PGwA8wGjb
NMcem4u2sB49bgXcy1wpUA5FiOkuFFSMug4ujdpa5sUOXcgIjXYPhIiisXaI2Fxmnonw9Y/u004Y
jF1nPNSnOrirBXpFG2VChZhWkFioUhJO8mAXEd0kBMuildDoaq1Ujd2JB74e+aKCGcJWVSTbwxXm
yBvNHNeW+hZE3o0vVTfTO2eI9kH3kkepIkJ59G7iyl7FdnLptuna9roH3xCAaFAP5spT6o0Ihk8G
bAA4T/06GcbbSpKXfttsU0TUQ2c8xrV3GilNZKXEqa8sYqqx3Azf+4INU2MxXy0WdRYtq4SNBh8S
NeSFRg34852bNe///cL8587NxTQsgW45wDXlsbySWRP98laT1lMbxxqtQ8s1Hh+aPdSFDWuva5/Z
GX/rH02un49mlIEpRTemx/fTc1MVVq+XGkeHhlIFzTrf+QQL6Yc6/beP8B/1F++yhH/mdOEvVOL/
O1rx5i2bOL/V/E9Nv+b1Ewj5379uavr9/wIVT1OF/3P38TaLsyRL/9euip/TP9XnLuT0P/6rCylM
+b8EJj/61rL43IMUuv5fiPA0GKE41vCPUeT+j/8PHDG3lsKc/0SbUp5kSv/DKhb0J6dlGlYxbehp
vfgnTch5DIoONU9B36HTWqHraX4TlzS1Dl4gMW/1AjJxB5dEYCGRiB3HSxAK17GNU1KxFVOwHqAR
jtT7OtqrCaBkz91Enrb6dAn/0rub62v+9YNUzLEyTkFGOLOnWhWJH2ZdZN7+T/iwGJfJIjc/FD34
Z55AcOTnXN3zsR/NEGyJ9PQVA0MkuMnZUUOCmYaykJRbpExO3OjsjMJNoWsXsu2vc7Sjlf3UBy5V
goXO1dz1WXPuxKemxn8+A8b0E6g+LRrC5oSq/VhsPr3OYzl0mgfl4lYlt5XSBMHK2Fj6xht7mb3/
8AzmCKoUD8yWYToazr49YsAvznyOPu7459+h4bODIokJW+GhBcn6dVkpuiJWVTePbtPEiu+C2ApW
Ydyh/cYCISU23JIqzfHyUH/JUUasY/9WF3x7u57tnxLYxZq+AHJHPfcADbotphtEL5ksLeMxYN+Q
19fWOJxhJH8U6N9+NVBw6nfVEvp8btsbHvsiP4pukV8qi3aXr9PbbMPslqgRsZD2CUoVTNbYBn9+
Xr/uTAxwtVytT8ed7ZnEGCaKHHHcdm3tJ6WB2DAp3pyTxMw2Cf8+zrSOyDwh02Py9a74emEMVVJE
t/1kSQoGPVi6+rDCl4DwGt6MU7UaXMROTZaeqf2KNCkjCFu5slM++e1gpAeBUYHeA44Pre7chezq
/R34F7YYRjdsY4wuOyN3ARv00a1S1O+dlL96UUSfGNPgonXLbJH3aFGa+jY36m1elHdV16JTL33c
T31y7foB/dAypGi1kQVkQkRrsmbqpe/LYmMV3Q2tF7EIFPoefVjuzFBWL5VBXuSNfUvZfUTFcDUy
lZXH5CHyfCRNlb7Xx7rfSkmRLlSZvJjcBCNTaCc75fmL1PTSz8d9lXNNmqkyCHnCstb/jWRg7zdW
u/B8KnZeeEThDbaTDkWPMzT6xk0CnGsqXYM2r5c62JVF7UmPkgQmrzFk9GOa+u530Z3J9VhkqV4B
wkkBwXlxuiEuR935YR2uGpc8P7r3yyIs7/vKd9esafe1O1Znloev7baP+z99EjTZBjuBYH12/z1R
4ybTivA2GKWNoMgag25daHCNKB9+fqRZ+WZLEQ81c04gBZjDoe6qs9UQXtZQYCnE9DVUwE9LgAg+
9tFlGeiA1ZkJhCHAsEoQXdXe2kZ826WdeWnG2kqr0NsX4Bu3wAfrDVDf0Mk071REArNR/RaobFc6
6+gXBjY779qqq6cgTK/1wH2XjOygVf59lERvgM9eCt2EqSPM6zRKVm0tXfuB9D401GYNTid9TBHu
5e4m0aNTNcAzkaqNNuoXdhtmq95MMaZ18Vvn0qwPJ46a6OJsRWlvOW2uv2guT0OPTwFfbEZbzX+A
Jds5ukWrt/WAkGGK34QWH8Ws0h4NaHWOEabbogL02ZTGvRWUf+I6v8rtPF1w34dF1cmt4/sMqHvp
iYLk5MPbH/z0rczKJ/p2lyNGsSraSa1728cZcFYton+UPo9muC7SdOOOXuEUnb70EzmCTxlfUve+
C728y92CHzTKB0tg0emq+negMJhPamyLanGj+sNWBRa36nLxe8w82kRNeciV+pB1FLuuggVHpq3v
0D3KuHfGk6Waz0D/MKembrFR63bL4/DLSkHYS3H34llDShiZ9m7Wyh8mlBe5ku7MXKrOFFhELMyf
NDYyfHVZsvnwTlPQr8uaBGFtsIh8PWYjS0mb94DSo848QHhrl1aMgcwK6afxvw6LFuSsY2t9gIFG
8Q6th1iUPhYBTLqEjTkxlIesAbBIbQgQpSuCy84t1YPZAs6T2qZaK7IVG+vQgMKJ2IVpQpATiBIa
Lkw2+jaHIZWKpQzx1BzKfFO0kYqRUfP7ZUucw8vACnZKSiM6Kh2pH0spEu1lHxSAEHuPMNyk9SAn
0Mrv3ci6locmPtR6qO+DUcnfBk0bG6waqnmtyW3xYMQq/dZa11dmVjeYfMxXXeTPZodxymWcu6+6
wIJ+huvG9qtjrdW/0iQpNlUkx6tA9SBc9p29NDBZLyqpaNdCluQNBBmi65r+IGl98+LKwQWzG7qA
WVcvk8lAOvLY7tQuAfxXj8lKU8p7K+yu3RoDadKF9BmRv65kORSwA+kR+ZWprEyDqBOrcZeuL+N8
4lev89F8tItSm+Q/Nctw8awFjb8OWW1BNjXpQSpLY2kW/d4fvPGYVtBP4yzKAU9iQLK6WFqxHw33
g2+XmDUraJ+aeKKWGpZKRByfGYh66Up+eymKYyUNNv6oGoieyMq7NIy9NR2+hpagNq7aQShrKTGi
xaCJt0SqM4IusOq43LRVJ1ptGQedtx9SrV/arkHAmua2a1l27Vvqe21TNont1FmQHCXFf+n8sqDn
rzb7JEnaI0aM/J9uGEzQNuqERoIhBNNntr3iu5UNWP3VI4dGCEmNvfG355kFs/EeH4zpOCZR34og
LFqRp43Lp+1kL1ocuyB1jpjiAxrRjrFvNi1L91L/lWyqNd/qYpefyObciFW4knbS3ZnPyHQmX7Zk
/AKm1kS5k6yisy/9+gvkTEvVji3NUQbMTOxvfe+PtnVhahkcWK9NBmLd5W6TAeNzJgsN5FJyi4ow
kVa22xlPgk7548+/aRp6fflJYNQUGGoqKg7G6XMgDrklhRFGvnlCeA4Cr/Cv3UDc/vNjwGaxVFWg
HwGF8fW008EKhTyYxknKWc+HXJwoN/Qz3+i/ncjng8xaU4UXJ+ijqc2gtNJN1JNnF+TszyfyrRSj
CjFUqiHgBkhkvpHnqjhSLC/RjVNubXSoEQcEKMtgk1MNqYvoBupuuui255Re05I/v0cqaTW6YaNR
ZEf49fq1ycjQm3iTE0HDi7bsnaTuUMGfu4Lf6xzOjp00vutJCEkmyNfjBJ2wrVGqjZMq9YoDG6fG
AIuQxi0LhDPKL9lgL2mbYhtEFRzTgNar2icrTzcPVcDW2c8aLNfxpV3390LvPDaYmuRYbUQTHEK2
I7zx+ecb8rcr8/kXz246Lv5QwgpsnHDXD5Zw8Jf2VMM/H+RbKTzddViDCGBJCqcanX2SM1jPPdRl
joJfacAfhoXuOtgMa5TvT832zNG+7WtnR5vVT2Y69n7VczT9OrkKf1eOWTtSuKgvXr27+rleWDLN
O4h75w78/VoaRNsjJQSZgxBijsHrFbjxZm9pJymVdhTBW3mM/0R59Prz+X0rD4Fj0FpBaiazFH9I
0D6vwnnfhp3CgOKkeMJdWkZ5CSYjhnYAPb6WXwtFLHm64sVAu/XnI//tBGlnCIsO05RrNfvOZHVo
d3XBCab6u929webXGfT8fIzvq9B0djZEXZkJPSq2r69QVPk62xSOoQWEuYca2rRzQonpmf66Gnw9
hPL1EHEjj2NXc4g2Aj9AbIba3WA73dB6cASDNFl5+fmc/n7d/nNOs+vmA8Qe+sDQTozQ1lXI7glH
W2Idfz7KrHXMq/XxYPznMNOl/fR5jouATwQVH4Ws498Nz8nRvbHuxiP7XOs13Pp7NzvzQMzGO/8+
pEkWKyjlKSRkOvNPhyzUrjViIPanJg3agz80ylaroYWMoq+WrjI2K9cfXrHzNU7USsNBiUJrZ0ad
e1eW4JYLQ7tCzMAGM1ce5TLcdLG8HoLIX5y5NNMt/XzLWfXx/KDP5p2ZostmwqRg7M1Ac0cM4mbf
OHgZiA67U3rcTJE0vOlGdiPok+zVobxtSdqQBu2tVmDs/vwz/vYcsFP4KIBlpnuz/ZOlu65bFaZ2
UjU2JZpwfFLLdLc/8wp9X/8M2sNERtHAt1Re1K83ZXDHnG2Ur53ghJNoLLHgrfsIfUZ65on7y4EU
m9XOAiXJxmR+PtWQKENCM/qUxBqA9uQ6FfFzKIxtZnnvP1+6b0UdCx3pFew6bf0DjPT1nFjQKi/u
B/VU5epBTWUkB5X1kphIC8hOPKpSd/r5gH9ZJDTZAqRMFgxCSW32zspSUHmGV6sn8CGDI6sJNG4X
lSmqU0ayzZqCbQDj06VnXqm/rH9fjjt7iTU3VyjyC/UU6OYVcKutOqSvP5+amJ72z28DC8WXY8ze
WiOO3UjojXrSBqhBBX0QxnP+Ew0hdDS60W6yQgRTW/iJGYO3zZPkXKTQX94EfsHkw+MbpkMl/Ho7
G9YIUSYpV/cpGRfySpBo6K0g2FBTXFeH5E+86rberzPn/Zcv5+ejflyXT6uVQt5FFLZcW6VFM0EI
vQXkpUkfAlE8VjznTtcDPQ9bqV+onqU6gV3qWwjx5p2dV5ehrb6pUOfBJVlkIGkmQoqchJHG2xna
uSjo7/2yj3v0v6/QfMsaKUnXW1aismVql0Ah7tTluDWW7jK6KN6SRbAwN1OlBcUlwa4bLb2lceYN
+PuT+J9fMK2pn65WYVWJ3qa5ejKK0EnHS0X/58vhl9sxe8UkQdQCoAMedUW8a3GHxEr2Np6iD+sz
N/5vDzxzsX8FeVLAzvblvV17jRaHrB5xol7neotSagxdZW/EUCPDLrhq5aR+Skcz3ipa5q2GsZVv
fv4R8wWFYQxrCaJeoYNw+VY8h6ka+bVs98fRKK/7USLrQ85uwgodTD2W8sr3uuHCSIV0Tu/8l6VT
42Ogs5AB/2QC8/U+WhqtmFbrlJNFnzE1oUgFVywX6+kUMaQufz7Nvy4ubOCUaYgxnfJscQGdXHnu
OCqnSsFSK7UvRHW8u3XwFkn9MjD4DJEEVFf6kyVl5yY20xMzX9hwZxDvRlebf5mdahY1hRKnrfLx
0vQ79cVd2otm6TolvLru4lxZ+fdznSjqk5icJKnZ8cxqFIliRhyvzpeeb25jZdyYekKqAi1/AC6y
XVylweBkw5mX828LKB9c1PuT8+7bbGokiwcNliFOwt2NmC1Sjee4Pffo/KVww0TChl9mBIaIx5i9
OEbf9J03FvKpVh9ENiw6shWwle+G/sqO1bseDQStNL6MxIAlkDrbdvfPHydDthgpf7CN2dh8fXoD
5oR5anU6eyZgIvkD/lM/bhxFxNeiEFtEbg4C65Xc9mce5LlfbdpO0z0G+kp7B2CuNVueEoWAMCLe
9FNgUDDGwSaw9edY9hZa2wunZDxUiQc32kSC7PaMuItqXFKvIbuWV4k/XkU1KCaoO76JdT80L1Ul
Wqdmt5aG31X7rhhvmastOpwv8Vg96L2cO0X/D+UkHxv0qdhB6UgU5vcZnw5asE7DQD/J7X2PsK0K
X7pUi5xAvkjcnUaUQuBDvOqLfRm+51K9qwfzzOr7l68uP4F8VIbRFl2Y2XUEjtL5rUG9WjMxy9xD
6CKk8S/Cwl944ByytnRS9+3nx+aDgDJbCXhsKXaY+BsywcFfHxu6fnoVjTZlpC2cVDGXfGYs8Eda
ajquX6EGQsqLFtNM3n33tQsCknHslRskoLagbCoIAmTvRLgZ9Wd5mQzaIje8hWGPLlCEQxmOZ8yl
f/nYfv69czKA1aU5OXmqdhpMyHzoSM/snwk8na+NpEaTRE2DYtrQ4vz8ekW8yKx1KAhcEVX7k3Qd
E51a6VFeVL/zBFW65re7ghQP0BFip+amvZU7gieisb1sB81YKGE5OIisUEAGY7xo0p6yTaG7rnmj
6thFcCTg7D5xk72MPtyOxzfy2d68ULqUWuBillGcYj3/ZYzla+IpyUtSW9MbZD6EMey0Xqbo8wNj
QIZHQyy2dtj0rKWc22+xP/xJVffRzvGV1S27ISHhf0+LR2vEga83b4nV3zRCoHnMoYGlWN3wmd7U
RYMqTWVSA/FLwD+zN03EjEyzSAwKjGt+/BYm9qWRtbtKid6hZr2Q2nlNKsrCSOvXyIhL/mJ2TVd0
k7recWSUU7bNXVk0b3A615762iXWoRb+xk6DvQiUrVmOv7pAebOIOhmEVu1KpFwX2hCJa6KwWB+a
1NrUhY7dzTP/+JaytBv7FHoQwwr/0vIb6J8EN4a6966XxbWkDCtfqTdC0o52IpK1m9prQdSkE8ZE
dJjp0i4j9HuIJFAskkWlOXyUCeVrfDTltr43e/kYu8VrmEkH1M43pl+vZWIG80a8JmO4SyxRohk3
lmPd3BZkdwURFwaBqaNqxoUSuzd1Vgv+aLeLfflaMYlcckd9P4T5jZ/yZEj9umewb2fmDfYACof0
tk3iZhEZ+n1UVjeVh89drxh1mm0JuifwDfwQSrPQUx2iXOTfQzfxeacieSfSzFsXcG/hASbQhXrr
lx6AUEn95Ij47dnMvZrNd7rRTL4AsB8Kp+zsiZfaHEZDOzQ+OkLT6y5EjsDZQPALdNReBC0ao9ZE
9O5LD7JMY1ZVQg/CjPtHC7IbkDL7MLGSZWvIkROS4mZGwbaT+z3SJaa41kseKkdb6Ps0H18IewJo
rgX7MBv3Wp3tCrNZq3q/c6N0Sm/zTtKENuv6rFrIpW2tQpexk2Ept70GqrYcht/W6N6pTW4eszDc
Sl1D+Ecm37g6UZoEcmZ7DZ1fZJYPxI3uo6IDtNYQT9kGVrgIMkTzmpJA/7KpPBt4qLet6PaS6vbL
TtUgZ/arNBvvQqFqm7yw1L2uJ/1K0vVTSzCxZpXHMhZPbFNeZLV5ayvlt1ZY9yBn/FUV6PkiEWq+
CET/3EX1QCoiyWuyWSPLEWF50GO3vYzGUT0S3WjszbFtQCyWDP1UfVG5RTYJJaG9+hmiBqvOLiCn
kxs2NGcWsznbZFJJMtqFgA4PQiBrmq3uldaVBLukPTH3Df1kyakWbAUAQ00UB30hbwHULn7+onzf
vk+KWbj57CppenzsFj5VQ8z2jS5jDnosO9K+tHYbVu8m2vOkKx2lCW4CWf7z8xHnnwRO8vMRP3AE
n45oDX5cNkXeH/UWX2C2a8S52PT5JnI6Ap9HfVLG0dSdazIs269h06bDUQZREF0o+mupn6l6/nYS
nw9hfP3qxEodFYSbDcdM3urs0xJ5XP18meblzfwkZt810xdeKo3JcBwY32b5RoM+WLo92gbiMKBW
/ny0v14ydoMK5T3dtXmPX1Pywq17bzi6TbIiufKpMKyDXZVnnHDzw1Cp0l+nYGORps8/T5Y3mWmP
aCvVk1eIjUgFg2syg9h8/Hw2c8oMrbTJAEuxNLU3LZzrX28PQ/m05buunIzI7Ve2FrVby8aTOxjY
aviUC9vfpMQ1jmEJ6kJSjuxSskNATONCDQz2cTGSgkjzC9Ae5mMglcHSKHzpErDEufr5uxyP38qv
1afpg0zsxazY6lO7kIdMpY69THftrr1usgVBoCvcD/fJoTpgSFu1ZBPgK9mduUzf6kp0sahKZCbP
BEEQGfD1MsH3rbvOUCmDBOBHZVBRIU3ksIgjq2zcay8HaqL3FXKFNFiN+IfaKdQ0DbynXK/OZbBM
L82Xza1N38SSCe8iQUrGyf315wxTBey2xXBKfSTrIMJsx2BzUY3dmT7dfNGjwERLIwwiEoibt+fn
7XV9KVRJ6k8dzUgtDtYC79ygjWykYiJtlK0UnGX/zU9uatWrFHzatDDp+Ea+npzWaTJuMlU7Ej6x
iR6IvlgAPkKzsip3OoPTCRRC4uxSvhu25p2/1dEaRGt7qVycI5ac+yWztSv0wrT0CtM4tta9hP2w
UtjAJQ9n18hvVfb8lGdLWNXBW63CzDp2+3xXX3v7Zu3djSvFmSBP52Y234bUs1nIh3z703elT+vR
TD0ZwdzB2ARbuCfhVV47zT1bqWIDKXxt+cvxnmgT/Hm4BMn8Rae2iM98UP961p9mMnN/bIR/rGgE
wr30UDxPVCTUGg57JG8BJ3x57p359iH6OgH6mGR9Ousg7dmnZyZnjbvQKP2V14dnVtNvX6LZIWaL
aVRLA+p+g4zGDPeYVW7V2t8V8HiJM72pfePMqsS6M1sH5s/N9Pp+Oic51H3Ci2P/pEiZvyTHtdxm
Q/ucx1h1lMT+Hcfl/RBaS+HJG49620nT4EEt5QdL+OwDW4oiNT/IigKG3+8ORVCxz/QgEKRjJS+q
Pv8lhPKrb/wUg5lrOW5ksMxpJkjsIHhOh+4i9qz7NKm3I5TkWI3uK/BvsLOza5kYHoOUXKPK1llS
3FpaeNnpyWvqE6juxv1q9NpTGfhPIOCF03vab1+y3kMluwKNvDLtkILBJIodjdWl7lrPrVJeCrtd
Gx0GYjFukwYip1qAB0Nu7EDWvrFt4hmKrv9lB8qmDYOnzhLXKHaIqx7FsRvsGIdkCuQi0IiGZxwq
ZW+guyAmh9KKr82RMwS4oV1YMp1oIwHCQCp7QsB1dSgJ3F4ncZZu7Q5fLamiIT+vOtqav8n08AWN
Ifm9BX2VvoR8kQrSS+uyvSFy/iUp/GPVVNuuU/bIqzzg+CD640K7am00Zf0UNDzIv0NVuR5K/0Jk
2Sv2QnZ8Cb4Awp62Qa2n2FaZOQQtdY/Rjd1lLvrxFwnXAlFiczdgEC1UsyJDgL1pUPdHK2n2pWJf
lZl1EdbSS+3F7+4E3/CIEDcq01iwL/McGF1g2S3r3SsT1PijtCoN1H8xCpXaTa/DTrlIovrEk3KZ
NxHDUqsGFW4U4ugHxUNZeOky0vg7aHqxTjLftTtxaxk4DamltqIoozXyuOemzq87iWrcSr2b0kIb
K2fPHXmskWZ5S4Zoaz8jqsAKegDdieIt1EpBkO4DlwmxQ61KEx8rdAhKEqcZpKtGLyFwR8O1b7e/
XGs6nDoyG0mj8RK7e+MIP8RlUtb3hNTCbXUFUackBIMMg9VZWQBucuUVXvdF4CGXHKuE1I5CEFFA
E+Qxzw0M8T6JtsWIOU3pAZPr3aWZRSDeTV92kES+1Rg1Wx+cum0gYmdrAhWXAHPPLvjhvcC6Pr6n
do9FrGbWQHQ4bROs+8SWYCeTteHWVPhq5zXBvrpEboWqEW48qr/MEnV837nWMnGlBA2b1BDyTLav
l/i5o/bMe6rGyhxXZY492vWxaGJajqHfTgZcd9MO5kmpPErrxKfQTY3rsWtfvI6GVmhlwRIWXQ6/
ZqxpSbeHPHNRyMrRW1Tgldf6Htyn6SWremjIcA2RRvQsBcSEK/Yi1cNyGddhdlBazIKdF7ynQM/W
OanxCwHzdCfskMe8EVcBt7dsycFTApU+Wps9Y9Jr9m5UvQhR+gu9bowHJc/1hWv0b6FlBMvKpC6v
SIB86FqiI0Upv7lFiF+HLPSFGDv/UGGsXVtxvGmUHmQZBgl+knclJR0MW+ShIkyeRFkrEMWTB9lL
3wMrwZ/eE2HiWY+cQrIVgahgDQ3oQMNkXNm0sIkujq4sCco/bax7cilguJpEPKQYdkDBAOzQCJ11
eoLsYa8WhiMmJFtvFg9RaAinaeOTa4MLrXKY9ApEXWp9e3SiQjroqnplh9m29oP7wcTLUGHSlczg
6Fb9Y0KzBRJBuYd1/gSD7F4f4omhrmskqZjlhZyMpxwLILkKW1sK5TX579XC9EsKG0PxiTySLktC
eRq7fmo8Ex9lie138K8MWXruuvKuJcqDt5kTID2dxp3XIl0OQtB5I12kwiLUZti4sdKvqLU9x46q
vS3qQ5Tn8aKyxy2247vMlnfIDn+lId7H0LQZn5mvY2C9Fb78uzLyKaT9T90SBaFG9m9/KK6HoX/3
Gwkheiph2HR31WA1WKNrfZkPpDUUVb2nSwUSXLL1hWJDOdLdXxIFIip1f8NduvQiFzX+IJPrM5nE
UG4QbaO+qJL/NA7hs8I4YhHTqG4sHuLe8+gih+mbGKV7NCc3Flxc+o570Wi3Rm5DulHzkxxj6y1U
SPiVzfC0yd7jSHpyQ43Ybi4djoNd2atrDASEitRBvwjj6rIcB65Yv9Q9cRGkPgES0AxS27gNS9YA
WW253Pjm1dK4Co1IWUfNcCkjDyBkIyeDqMZA2SfYhIR52/bqo13avtNKyUXh4bBIpOyCftnJ02n/
JGlFZmpmorPnoRz8TdAV960V/lZwMphhSlNP7d7LsIFk4HsnTx1jJ83sjRHKF2jgs0VfF9dxPT5q
gHRotA4vRS+/gtR4QIF5MU2s1aK7GkPlMrJUMkYS+y1K63U0eo9WkZ2YGG6LuArvpnVjQVdlFxgZ
fDm9vwhsA1l3El60CmYsub5PtMFb1EH52kXdRZ0ZhhOEBgkfKN2IW7fpS47u7zjM3rxcuiUI/dWX
ca6OdfoqKZbE6mNnjmwg/Cys8DItci5AeCWT6eDgGbm1KvmVUmrb1h6tpCyk/aqlAZZxA/CxGVPw
kaXuYQUO+KRPeT/qgmgGAxX/gL8cVXqrlkevZsvaJcWNkowICqohWGotGyMixhe2KGgX5gp7lvxB
9TrI+R5h64Gi08vT977l7spYZtrddmRIhSqpKZniLqqquxiK8qjWAKPkRDxWVgi3Q8+vFCkISSwx
b+MSZSkv7jLLUrHt1fagtzBDaqtrcUqn4BCIXsFAMKysHr1TZxCFUXZd4WhaexMrvDGiap6lpl9Y
HqiFWNzGgg0kTJe+Uo8iLS9tLx4JvY2u5GI4SmV0EbFZMhJisoWQr5NOe8L2ScBOeykMcaVY5ZPk
gbKCQPTHGIN9kY8XnfC2ZRitm0r7Retn1cJzWugBA7wMVAiIN/1QFclzLQ9PkUZqBejnp8r1STsY
gnWjGteq7u2I5bjz3PLgJf2V3JNiHBo7qQ8QfaskjBiVG7MLC/etl0RY96xrzdVXlsIjJI8kmCgy
JK3mlBrmXRylW3a4FsFb8a7uwxNZPkcS4n/ZRrrEGh7h+eq3aQvvk07+fWkWNxW6ItSsIchvyLct
ObmqGe+bsEsXcVnulDrejkHS0g33gTDEYNRLYIlVlTuSqJJFlEhvVTtudVu+s4L21RPVHhfO2nSH
G9F2vzEd5AQqQQbxjeS1tb124cfto1JUmP4s5USwC6PkmKibyig2Jd8th6x1FTt8vZAL8Z7J7ZKZ
ylrS7SshDXAkB+1gNKq6oHX47sbafRIre1jCjwzLyNMRMU9DWu2Q+t7XiX9hDPGzOeQGtjBpXJXA
wJ3cald2OLxomJ3quvolbG1F1vVdlzDIL6pjaTabImvfVeDljY47fMgO+jAeu0A8pUZ1EqH7ngzK
NcQ9k2QWlkxsLztIIg9xTYs6G+UXm3nlEBp7X4Y2kTQBsCKsaSs1lbK1Wfeqk8p8N850VOYNrn8V
oYrGSMoQGkGTX0sXwT4qAeURnIoY32lvdSDkcjfc0ixBd4PCfdW17E1zN7WWWpGWyy4I6UCNzNip
ssCYg/DF0kHtgLWnPvfrzlRy8x5EV5Y8QAVDF0J2CC2yr83H/sBYamUvKmD0jlGwMDjVjgV5p/4+
c2nmYpVZfS7P2g5x6KtshGmAxDv33/bPKczXX5lnCsipHv3cRpofaHYPOknTaObr2lHBNsKCv/VI
5dC25w4zbyLNDzOrUnE6532ce/rRVLSVp8k3tRo7hcnuX+0vdYlSJA7+X3sLsw6ZJHtC8qbhV7Uy
H1UCrgVi84+AjPV5XPbZjspUp3+qwwu+0byHo3zM9T+jjW00zS5ZLu9KKSm3eWzsFaBYBeSl3Cth
N8l3XeS/T0DoVvWWnvJc+5pT1tlN5xKKw+e0HC4lYEo/P1dnnum5F5yIkhRJQyYfXUEcXo83NSiW
ouIuuEeNWuTno515tj58IJ8uydhif/K6wDgCJGXYJ6l7C0mh6YaLrA/wn0uLPM3vWcrP3Hn1XJ9n
1j70pF7KR78yjmP836R9127jSNftExFgDrckRSUHypbjDWG728ypmKr49GfRjfONVCJEdP8DDDBA
93i7InftvQKezXkQq+8JZShSg7TpBGUKXctO8gOQzWTQptwYJXJ066JjxPC5gESxdCsF8Vve6UeV
kidZUNfoguKvJWAvgncEZiGq3i1ElFIzHjcjgAAj2MrgQqJoIDZa7uRgcbi9HDwRM2VA+RID4BQW
gaTOdn0wLBUpLy5SRUIjANbxxvQfOq/mWcqkNQDKpweKoo9Y4cX7YaKPeX01LyaVC8JNaqoYotj3
UGOTE1S3RuO9StKFUvPlIeJicNdeXmRNl+fo6U2ex5JX+OJt8063WCfYoQQulGU0CN+HMHPzc5dt
6he2tHdmR4mUWIJrNVo8PJy5HMe6gsJyf6iN9FsGVRnN5XDhFHLLNUFRdGCJACg2QTAV1enyPzkX
dRSQSIc8lo8aANBBTxlL1pG1ur5cfFvnIgp3/Y0KNJcMraQ+JNtc9kEf2VN6qH+D8LnXDjXSzy3b
pvDPYSDG/AJ643r4pTFy1yGc6Uq9BW3WH5SDPrwxctTE1+shuNL8xQC5hkzLLK1Htkf9Eh3pvI0/
DXStiAIpoQi1j+uxuG1xEWv685Ml6wc5ztRuHACWrPYCG2FFtmSkvDQc7nwFcooDlmPGwvzbIG8A
3jhR+dLGz/8wEpCTALqe2Ds8jZAoeMdHFJsvILFdB/eEHa4H4L4xf6bqJAD3qU+jTg6UrKU+1cS3
SBq/FQM2mzqDUiVkn0Cpj56uB5zdaicBp8/QydpIoErGQUioXzXKa1HUT2oZPCequLkeZnZ9/hdG
5XVta9oPQ6Rj4gbpLWxju2km5b8DHAyux7k+f+jKng8nRHnWonTAuY2f0tGwFbF1O+upDL4sqV/4
Us5OnQxSqYl6JaDR3NQp4qiUtRACOVU/C9EbyV6i8uH6cLgk4M92wF2qAzUBwWUeX6DFVc5qQxp8
Syh2DUtuhLj1RRRZ7TFSQ6/QQwA3S5JAcrou/uXUnsSelvRkZ2QNBJtNcIF9Uhn3cRs+BvESrXF+
Bv8bHpc/yykjUEgwic9GKHaW6U2FdA4gy7+DBl7MIneomnhQU6ung29kR6DuvlSrWdKLmx2JAlq1
rJsQTeBxzATo3xJagdTvow8pm2QkgMgrlxSRZk+RCkyqiK4LBKem3+JkSUQqVcpYUOrjxbCmYXqr
ZJOb5NC8pK30eH3rLcXill+pWWhVgUz9pvKT7jHAV0EMnwc87f8hDgDgUCwGDgmiV+djsmqpyqxA
HvyCSrDsfNNgz9koz1awcJRmx3MShxsPE8iQkqqmfoxCtAihSoAtnR4ARa2mCxcDT+r7s+FOYnH7
upRRJQ3HuPFhC64fJE9caRvtU/rMHbLX3kcnuxsgYeKhT7RW/2WvA6RqyZMIEko559OJxlmO+kc3
+FH8BtkWHX7A19dr9mM+yZ+BGGcBxsMFyMCygFAYDpMubZgo29j5CxF4ivuf6TsJIZ+PoYQCRtcG
JfF7z3itfmVu5ELpdgWZo1/ETt3l9+diROU84qAWYdQKmDXtMXxIYWlUuPmTeUy32k7YmXtxv2Qu
NntfnAyRS4lqKKmDoISUqFIg3C9C7BeN2Pb5X5YKag8qUD+mcnG0hCBjg8SojwZqQh5NYekTMT+K
/wJwZ2qgLJFqwDb9sb4lgJhGD3TpCzi73YCsU6DEKUIYgNtuITHBEGn6Ab7N/ljB8Q3aA/8wSxON
DnsZeBmekx1AY8Giozb4Y9q5HQx7h3ohKeFlP/5s6JMQ3GoHZaCogoIQkuClH8xwzXV2A80sFeau
wqp2O5ikD1ADhyia4qA2e0i9JTu02Xk8+RW4a5ZY44AiUowNBycQaByZ1tv1afxBvZwUw34GCRKr
DorUDx6SO0MFZHTw2EeuosEYUG48+CZWHgUmhTrwhFTRhbVjyPitBBde6gux50Z3Gpub4MrSG7Fl
xYAbA3LqEEhsnOE3FYF0AiNdt1WgxKE95wi/rsedDQv0H7amglcvzxOOo8jQYzEifm7o60SrdioA
69dDzE/rfzEM7r2bZqOKnyzUP9Nagbe4aQ4DGmweKqmusZNVJ9jT2+p2acPMnW2IkP3/sfEZDURq
xwitHHyXjU2BqrpROYP8tDC4uXQdUq0w2wEVS4Pex/m9K7eCLqR9M/jNqtqmwcpcq6sYfsdStS4B
ybOjTXYAMO1WXfYk5IrEf7YremIQFJEVFYSO89CgSPd9LtaDj9bJtrsN3NbW4HBc3i+pBM5ukpNA
XPZJGinTaRrgfhFuxSKzA2iaLEzj9CMujt5JCO4lQrQRxm0NPl/CpoFvJCQSYPWb1hDdW0WfzRf8
MR2ICSV2CGX9t/hzIfrcIwXvxP8/k7w0QC516QhsPjKCg+lM+iSq0z/C5aCBb31hJ57pNi5zjdhh
zVp/id2lqtPsTj2Jz30igObROwFCxb4EemrxooGYA+k7d2GUU9JxZY5/6MYnuTfET4HHr5D3BLfB
2nyOV2Cd2h0wnLa+Cf/PY+Iu0ypT+xFtcOJLBrAc4FSbfW0bzV/qXv05BMi8IfcGgCrO4PkhSEQt
y8TMhHoHyFmAMOTwo0gZBPYp+vGVXAF3FdyxlG6MIlriA8zfbP8F17ibbbQSw+gKnMDWte4BNyrv
8hXs6kHiuMNZhOmp8iFDAX/1lwXfP4Oexjs1ziTwuc4HnZdMbkCfRdw+uukgYe4A5HFT66G+cC5n
jyXcKgE6QYkA+fh5oFqr1Fwmcu8b6Y2oyjcMXfoCGmOUujKOgzAsiUPNngSURiFjrGigXvInIbHE
FJ4PAyw58i3k+O4iQXQ6Kf6HN4Y6kcFRMgctmucjgv4VpXGG62ZIWicUNZd0bwunbdrf/Gmb1MAA
WIdOGaof51OXDLCugdwtbmcVX4bKi7wAzkc2ivSO6uUTWPnh/xhxusZPzjcDDIMBHIBb5LHDDdpB
VUt863fAKq6yFbQJnevx5pZKBUgbjYdJv0HilqompgolX6H3+ypdD1XqK+B2RLXwL8+10zjTtXYy
rD4rklAajd4v1G9VeG+Mhdx29q17GoBbqa7XSkhXwWOg9aAq7KWrvHkPdWcEEPqmXdGVtFI3qXbf
AS8nOb2xWrJDn5/ISRIN+Hq0wbnTPHkCUpnqvS+Fz5opALgC/bMlnZa5TxyYHlDtkyFMZvGtv7Ls
yioOsDkmo+T00G6Yh3Htl1KFuRoFiiBQqQNBA8hg7sKI4rEZIPKKTdG+UjJ6WtD6UR2/xdZSJWlu
1k4jcS+3okjEUAsZALbjcKOi20pHgEJgZb702Zw7yKeBuOWhFWvMTBt6ZHiSByIkbEHyXbizHG0t
7CQgpTxjIeR0UPmr4zQil28ZgFenWUx7vwLrSxuYAwTE9vrh5XHjP58QgESmSxBJK7bF+amSixLg
TwMLlcGPDMCtLUwbXX2rSy5dtRPQ4F/GdBKPGxOrrVGGtHjv6/XodBAlqqLHhSFNF87FtFmWocDg
fRK54M5xqrastIqy9/9kcBkKIOPaWpdecSt412PNnSZYh/0v1LSCJ3dSBb/WFiZova+uQ/jG4/7z
VG9ZbfPnDr02JO44QSWd9GJT974iqZ4VAxXEwIUtGsgghPDhAINUt8Ht30GiAL+B0K8LUV24Hmc3
48lQuXMWwJdTJxJ+BSnHQ5Q8GaBcXZ/MuQi6CCMDsM7RRf5hrZ9MppSaDZqVae9rQ7oVQ+VVrRa/
xgsxdC5TYyyWcgpqmw8E5kQXHeCgptox8FQ2+9WukgeglPsQjOSFsc2miCeD4xMaIe1IA4Bej3u3
COxKts3vfJd48lvsiF/VCANpu3XgnAWtvvU/TKuEHjb4sQYE5bkTTlNdLswi6n2ZGSs9qE0H0EKy
uh7k57vB71A0sf8XhTvXBumltpQRBSBN8QMyvSvyqQK65xi7PyQe2MhdDzl38YNnp0/poQglUX5c
OtPbAjRcfzDLX5UOKb1GjZ+AFF8qq/2kaBdjU0B/Qw1BRcePO30MzIvRzK3O14egt/Neem8JLItQ
339uRONZt4JfGQtXpj6pDbDqgxX6MRaA9jRRcaChuEppu9HUDNzs+qGJ5Ht9rN+sXEXjtazXkgiX
KIHc5QkECcwxu2FNeyPV5joHasUhavemauQFdhi/w9R6SRP87UQZiTNAnJzUcWj3Uf6eB3q5B6pH
tKMG9hWhBAZDJja9zdIOmxwoZbP1iCrlK1Czsw2D9PVKqrPUjcvJ2NQsD3nf31GROtowrpt22AoE
plnSILwnMdk3XfhKqRTZphDdAMJ8x4TiaJQCvNCgZ7orA+jbsLKw3Daq9NUYxHi0p8ZtWYh3TAoP
VQwt5+urP4trwKJrsFCGJgwosudXr6DTvGaB3v1cvUDvgrvmd19YBVdFuWVizLE9xLA84ZjvgbL+
++hT9oSHF3pYOvwszqMThQ2a2uLiFzb6odhKbgZJLvF3cQ87jz28+zqUP2W3fgTfZ7+Y4M8UfEAA
w2MMBi44APyJBhRfCrpU6Hyhjrw2jA+UjhC8IM1BGAdPGyRPJTDVZcUIqkjtLwx9Ghp3GlAgxGcV
ClYaDE24z2smktisYkx86zWr0Qs33QHPmRe4Im07V/bAqnHb22GzlFHyaK4pU0Fc/AO2K2aed2gX
RQqfm0jqfPNdemWrFjBde1jnt8pm3LKn9n64C4kDE7E1iokHyQGlYF+6oovH94o9Vu/6htz1d/U9
7DLJeqnEOPd2gLkNZEIMdE2nK+l8P8SjFkSgBXdIDpnpVOqKuuC2TErYb/G683LfgODDx7AloDMu
pVQ/yTS/IqfBuZdR2w4iy1GBQMKTf1ibDhSPLb23Hs115ZXrbJ98G72bwl57j8TBzY9w4HKDB+Uo
r/WF9/T8PEyax7B1gMMLDyvR2iRI+h6LlN3QV7IFtQvFstvoXroTbssjAWrdET35JneLdb25vjFn
Pu3gr8PZBkRh6P3zwsJ6kJGoy3osQblSw9iBlIz7f4vAp0AQmaIgx3W+XE0au2AAN0u7fHYCAThD
yxW9B0AluNPV9ok8krbtANcSv417ANlX4zY+CKvAg0Syo30o34DXO9YiKXbuJYAiCDKEKTw8d7kt
HDGjNNsBkbOb4mh5dJ86cGB/IHbuCYtVwbk+5Vk0bs/Kciw2MZRm/OCp+4ZDm5O4kSf64BR8j6va
i3b/UCs7C8hNbE2yFuoTCJhLDH4YkWNner4gOjclOfxBNCZ1MgOEdUwlFwPumywCqGL0dbnP7TZp
Yiek+Zcc5PCYrvpfdR3sg5YtvOFmHiEGanMGOuVALKICen730KrTRUhGjX5vblMDPKYMfAVYKCka
vFjfofCjZoe/PwinEbnFE7uqC1gYjX6tvOkgZkXkH171GBPMCqFTNnH/ua97XnRZawZW65fwmDdF
Afa8eHUsjWM6sPx6nUThXwNDqrfACAeij7NoZ8kbyGWYsicIki7lCzPJKrTm9elcQ34NwhHna1RJ
agqcrNriii7AxUQ/MV+rv8CWTJ0KcAD5Rimd0IvFhbhLYbmsfMjztpfibPTVUbnLitobOuE+oEtC
j7xC6c+32ZQBsYJlHFSleEUcoSJmgUxz9NM0u9PCeo0mQ+7qBYO7dafBr1AZPls5gWIf6COlajy3
ovYaZrJpA+f+GRZyDxrPsEksMLCoxTZlMT6AtlQ6JB4/8rZZI48JF3RVZq8gyMIhhxThBwAU5Pma
hL0YidV0bjQ7CFaji4bdQUArEtYVoLApDnFgBeNcPzmzOw4KkeBhQdgc2+E8plZAHjkNcHJyeEAn
wpEqUI1Vj3X0dj3O3McQxTdI04jQfr6Q81G7NDaSMR19QcGjcsyGd+irLoxldnPhRwMWL6PnyT/A
DHEoxBzqhn5SZjvS9EdFrO9Vpdr+w1BOwnB7mGmEGSIMjX2zhohZKG90cVjYCrOzdRKC2wlwFE0Y
SbETUiCqYuVOFJ6uj+GnjHZx0/wXgcd6m2WZypFaIoIgHHWDApdDoUQokeTB6oCfGmHrIEr1rVi2
+7GhKwg/UwfMo9Zt0CSBx5LkAfEPHqySP5vBv9y28GmE7A8yNnQquC+IWLQJzSRx9Ks8ccbkqMm7
lC6khnO7xVJ1pIWQGMLXipvjKhPSWoNsGq6iexByY+UrSoyFHTmbw5wEMbnyThLr6O4PCEJf1W/t
JkRrU3zUXzt/khFZytVmR4T21ARhnCgX05+f1KsghT1Keo41zQ3RVawBglZfmX5zfefMbE24vKDC
MKnKApHCLY3eKEGZJbjBTRi4D6O0Metmqdm2FIP7nCddoBZDgsuiUeqViNL20B6vj2ImMTobBZcY
ab0pVySnoz9Uzxa8tLMi3arta9kQO4Min6m9X483c83C2lPGgcNNq118j8Dygbq+iVkL4zh2+lIZ
wBstjnDKUZwIhfvr0WY2AjQ04XQKdLMMNw7uUhdAdrWKUKO+AHZguenEbzgTLcSYm8EJlQtUkqEq
KDycb7a6JJXc0QTkVA161djeJey4ZEchNzmT0OV+/vshIZ9EojIBZ9BePg8nVAWechFuhBrtLrEq
3Ioadl6mSwd2+jncvQizAB0JHl5uUPblNkYUdxBLqMC5Vddwvu/W+ZP4iBpU7UyCR8bSRp9bKOTf
WGYYFUxQp/NRyRAyiGH2Qfyu/CWZkPYWb8Zwic86GwSnFe+AaVD8tRDqZtpn0MrwMyC2uhbuj8hj
5Gopk5iruKKPgikzYTOD4i53/aQRIMBwdmh8VUkgQiCwDaNK7WJRNQcenV+QRdYdEzkfKhaeNUC2
FmABJ9T0GyUEVPP6fpmpb6O3jWtdBkoWZWBekQ0qA3UXhHGNVBo+Rw5FAzXfKC+17hh37S66yxo7
f6Pv6eOSINvldCOwiaAYl3bZNW0HC8rUAHj7pAcjB0oG8JRdApfMVYBNCxp/KDtBgg+Ii/ONk7dV
j2dCyny51QCrVIyXssuSVWiqj50QHOU0T1a6UBjbugXVvTGDV6nTvM60DqzpIG0iQVJFHKRkR7Qc
noO9rH0yRV6VqZUderTnniQxCrZD3ZRP8TCaIEZq2zGFzyAkdQawD6HWUteM7lHkgSyEYULipA1+
CUV1C+WDzM1ITiDMam0ls97AlPC7i3vdIUrmS60YrEHNf0xNtGyCAooNowjlktR4C6xiVRXKbRFE
Xhmyh5REH12oFnZDYpQuJfW5anPwrOGF3pTKLqsySH0DxCBo0AjpSb2G2sNzE0aBWwwV1FWU8Kgw
5VdtkSfFMNwmpS5UTUeUtqVPgwjMIfJ420CHamHrzW0AaHPj8wiJZ4BTuG++Jmi1TBhuXwtGXpGZ
AxKvoqv4fX2DL0XhdoACfQ81l4rGV+DZCaa0bYmaF1rGwud+yoLO70MUb08GI59vtCESUEFoAuob
7fBpxMJbVLaQtxBDDzJYd4EQ3wFf/Dxq1ev14U2fj8u4k7AhagiqzvMxlFCTo7CYkG+CZpeNn6RQ
JOpHqBI9CdHfs+gwSChMmtNrEcB+7uZSxTzrRxWwJamGHklvbShdEhq/TAAQAr5yKEXiVrgQiMxJ
n4WVBfaZRZBepAmsdXpHFx+TfiGzucydzgNxC9YGIrOEicSJx1brUAlsbyv8ur44s3vvZDDcZ0vr
604bTYX4FN6FLHtW08Ttan11PcrSSKY/P0lnAzkY1YaAcGa2DyI7ht3S13c+gCFhl6EVCQOM8wAx
aeI8UgC2EtpNl3ym6hLZdCkAtxYigwCa3AHoq2gPVls/wG76cH2O5lfivyFwK6FLMXS6UwZYmgrj
YuGt103cpQu519IwuIXQmJiUSQweUU6LDSuimzb6hw2FVsWPRygOO4+QiAvDaKIQnI1xMl4X0Cqz
tibepH8/WadRuHGoeQf7QwmTFZNw1RfNoxLBUUVaX4/yc1vwVxdgDxBkRuqhQ5D5fFsJkZ7VQVgi
DINKqOokkg1wRL4WfQo5CduEiGQKkRCATt3rkefuaiSRyPKguwouN5eSj6XWVEQZQOhY9/CunKxW
m+2yN/vcVQazT3y+ge9GX4UbX1oFFAouOfFxphwKD0NUCXPyRtFfvj6euX13EojH5xdmX9JMr0A9
iD90HT7bS8SKudODF5mO17KhoE7NnZ6obZoSOhiDT5VfLdDApQLNqGihzjC7KpaumsrkNIk21Pl2
YG1aQi5Zp75Egu+kiPawCX4QlOET/lySrYzdc0tH0y7lRb2J2YU6iczt9wJwJFQC4D/Qqmy0rREb
MehEiAQ1264Ub/92sfD5hP8tHEkmzQe+nFKDrzHmTc4gJvpA6G89+rz+8y/XCj8fjjITpwDrxePC
oA2JznsaMT8XIaUNV3MJD0G9Xkre5p61p2GmPz/56NAhH0S8AZtpGFbfr4BTWYeaZeNjAbENPB6s
ePsvA5s2IDIdVG6mgZ9EFBLYnTURWChGQR7ypLqHqOfjOJCFbXh5mExA0cGlAYcWq8O3gjIzg2Jm
kzE/HmPPhHfbWIULiKzLuTvLFXnl+zCLAXesYupjLzgQpUcyDh1ys2hW8IwLt3soVv71oJCxabB7
gHEiYG8XRQg1a1mVB5VvyiB+pvpRyK2lW+jn48Pf52gkKEAWwDYKbdDzBZLlAapg7QBTiRsoINzX
H119pzsxHOGMQ6/b/Upaq0dpXULmuz7KN/oGyshraQnlMDe5p7/FdNhPtglsTaKshjaWjyKLeRsd
Ez/eFJ70IjxEn3Loil/WOtlAGfmx2eQL1eiZ0MiKVYiOAFMNawMuT7JUhRRodwHooMWlTVta4UVt
KHbewFaiMuXGLSo5x9HQFj5oP1Ly3NSfReYSKFUqNKvS8s43mu5OSpsneHnsDYiEJW25Q/f0pqjC
yh5YvqNpMzhGF4EVnMPyiAzlStKCwlbFVrMVq4Gnrhz3bp2pD1Em6o4SAJXUtLofV/UTFteLa8i4
FQVxgqZ6NRodGKlMdE29Cu24LV8LsX1rFQP9sR7lres3AG8IhCIdPgCoBKN0AkfKCyZmP0YmdEDR
XISlPTrs6kr83fvjxvSjr6F3J5qPth5uhl/6C0SB3vTP7hd9Et6W0gd5dp1Pfg1utpM0wwcxBjBa
XeNjGKfb5o7dAbPhUk8BVcaF+G3mTU4Wqi179Y31nRAHAkoBXP46CEsh09ll68Wy0uXFdT453Pcz
rRozLlv8VpNejOpAydCH626KvtiUSdWPKNcuWblbM19O+GpCwF5DD3GqOJ4fNjHtOsvMtdbXuw5K
edDMA3QOgoipVYDy2Gm/equ4Gzu6y2L9C+K71BNBfQHKg6LJiGKLWqrMrlRhdLQsf9K7ULOr0nxX
Bkm0Ibkq230j3YymepO3Ze2lkZk5YVdbu5SNr8GYbzMdyrZJKu5GSOhBR7t3JEOI7aHrIXEc5uij
y62nRuOL2kpPQtfcNw19Hioc/Sj9pkx8ZvDegYuvDmknMsIwJw/viEh114oNaQf3iC+tJDCc712r
zz+pnq/TRICGtgUH90FUvFbPHkkNsWIqQHVQpIkf6VDHTCT0owsmxDgctegQaMPbcmF8kJDdCyrR
HC0A7K4NG1upBdiLR6N6EOMezi1F2MNkJ4aUGM3zdRXVN7CxhVtZ0IZbKDqLLg0F4V7tpMwGdl6D
Vw99r6SCuoke7FkaqQ4JMwYpVwk0zcz4EFCItKsggumRPqCyFzSFW5PwPhvEpXR+2vX8HQS6jAYA
hYUCAc9pKtQyp0ZmtkBSNc8TqFq4S53eGVx2lBdBZZdZDj7SMEAVUVAHdIKnKTA4t4no9rd+Ilrw
T2ox5WiP/7p+38zt7smDF+QYHT0CfkRZKBm0FUjni5W50+oO+t7pVyxFHpUWWxGzsYDNQ1cbn2cY
rJ+fpFRKI4sNuMFzwfDS5LkM9x2u5a5WFr4Vc9cEGv3/CzRdbiffx4YCc1KGCNSjsm128PwLF0ph
c2tzGoF79xBSt8EQIEIgbaxiV+Qb0i0k0bOzBSijaaB2PCn2nw8CksUdy6iBvWZBZamH9SfEN/U7
wfqn2fovEP+0amQ21qmKL06hdF5TB04cdn9fmoCn5/SYRx8FL2F+5ZnAYNyLc0MhlW/Flt2ruzw5
Xt/KM48ruJXinob1L47MBSxHTnSjiovWZ5D4gai/dAgo2faqvrXU6pNV9TYh2gFqoS/X48o/2nXc
tXAa+QKqU4ZGlFV5C+A+3WtWL28oMX7LKYGF62DYQqfeGkm0pTKE3DPc2LRKDulYwtVv7FJHLAD0
p4kOOViWD7torOBjEWq/VHkYt0pH7wqm3RFLAbUePmd9Vxq2qvVrHKRuA2dP6HVr2T5He8GqUI4P
uy9RsaAFaiA6xMzTCMjTnLAviJvuC4hhOKYAQ7KeKaZtGfRDBOIGsJ/sUWN5AkH64rdVJqltVDg2
qsgGO9XK7ybO3qKhDeCeAxdyBuuArIn3eQIgWddIWFJT/UCh88uKIIYX6JAPb/Ijbdl6KIs1etF+
PAR3CaU72C7s9FIEzFNIVmVmPJlq9JVV4rGF1v9qCNlTn9JHIhd7MZEBME/ZAY4mKzWKoMndqZtI
bzfgK96brPyQmmAdGtkhVsRXMFBHRx9afAMIgDGSAcc35SbN212Tt55m5MdMmjwch+S5hyAb8lPr
Sx/FTT/gc9L1Sr/KIFltQ/vZjzvtGOTl776nmS0rxRv0Fp4GYMpX2WjutVZf6WO10hJ4RpSRhk9g
GMNmoriPoShN5faOxMODmZbrKIdHiixvgwIYIzrWo037sL0RlbSBeDYEhfK6BTC6Vg75CEnEsAuf
2qJbi0OySisZguPQG7HLBO4OkIsrmnxYtVUMWfgaGdagvLKCeEmijY4hj7s2rj5hweYqXfS7h1Wu
2YEw3enGbyUC5FaW17WsEAeS3U8mtMadekRKAoFq6Hs38gF2ix8yHY40M33Rwu9k5uat0I5uBLc1
ZxQz2Q5qulHLdAPd+d4WAvMgV+mjYYWvhaEfq658qwzzK6mhTIncYBuNQPTGxE97AfTbEjrVYHFR
WzLqb7NU74VCe2y6Srttu8B0YOv2KWfpeyuMcEvVwttBCVAUqwYgSSVq4aPPfltmdQRU/za3dEca
gp2SieBnVcYRn/6vUk1fLDF22qBeq2r2G2gWyYGk+5qV5l3GNHI3FKh00Kz7IG12G8XKutTUGyWP
oWVN4FhQGOJ3q1jbsi1/oZwN6YCySXYCIV4RqwEak9CNH3LwRTq2Nui4LWPyGJW5o9L6s2TDIzzy
KldKitzpJ+tgzSyeCYTyo7L6RFv8tyE3TqcNa1NixzRQRZgwIHFJEuOlJsmvyIp3slw/q4qwN5Xx
qBQ0dioJgrpDc+gtYd+zft3IzWsUjLBzE1PNS/X6d4ynkiOVVgt9E/2pt5LEHs00dgl+d7eW1cHR
iKZ4RKMQW4EIvmFaxToMhtZB/69yUWhgN4HMsp2Riu+4bAg0mjT9To2rN4DcE1cN1cxt1ByZK57x
dptZr9cvzZmvG65MQ0YSNVXb+KxasJjVizquzKLbqZDQDgh8Lh+E5O8Vw9A0ghvehHkFZZs3DkuZ
VlCliPGOqb/0Es7dCdSh+iUo4/T94j8A0GkCth7MAyD9ubKAlMXwpm8MtKasD0N7DgQ8ScKHvv8s
cS1dnzjey3l6IMrAs8FwDW0qQDq4WLUh0FzNoXoFHP2NtBFWX5OzFLldwiTP9PDPA01LeJJFtWUP
yTAjQqCb9KGEV/AuXU+5rtiu2JE4bL8Ekp9JqibiiDXhUJVLOJHWZSUVhYAg4W0dWYBhMhFtKYsW
ZnAmO0QYY6KcTTBoviafdQC0aaFFfHlESz6P37SyWch35nY30h0dfSRrIl5wuZvVDYUGPxM03nC5
FdoKQiv4nMFwRfeu74aFQD+b5WSNzFGw0jIbCGiJwMJL7zJuDqv+RilsIaWe2+ET7h/oUOzyC4Rc
XkhEsyiBBo8QwRUhyx9KpuJZB7UV/E/3YJTVCxHndgNkglHmRQcDIBJuDuOaJRk8LIlPSnnblM2N
AVIuIAMLM6jMTaGBBg2WSkHnl0f5KHlj9spI0cA0ha+k0xVvLEOUE4TmKUvIFwvHj1qKd2FWHgbZ
fJGVYNcqwmcvsZ2OdsEwwGQGflq2ZkRrBt+WpPswu9YbYwmGUuFtFoauXFZP5jDAUoJUN6M43JKU
rEMJnrmB8pW1oewmsi7tRz1KPIXpGwWmrT6F9sNC8Y7b+X+eEZhQlJZQJL0QlVNhFNHkYLo/wInA
182NlAULRVi+4XURgqsbpWSQ+8mLHc72wwqi3VBrl99+bg1X3whujX8Xq0Lcq/wiJlcVEhsF+OwC
w2rAbJrYbnSvbw2HOpCjX8uGff3Icc+Mi2jTJJ8cuQReF6kCbuPDRKsuPHOrrKMNWS8BOPkKHOKY
uDp+Wngqqk48iy+kpCtaAnl9YVN/hx+Sp6D6Bxq3ZtfOVHhrV3nuiR6E/23piEoEdHJwPpzG7x7J
7+FzqQ72IxJ18o27+H24RzUFykiqEwiWy3p/W8FOJFHaLVT5bxlcYZhRPILc6sK4CjYj2W8y9MeO
ZPtYTrdlTbYKkZwCHtxRZO3wlbbNahv2jZ3CQ03qxY0oNPuYgqA6VHs57x3KOicvcVQ6R0ghAK08
tZK1SYN0J7DgUwm0nS4p7tgZ8JTO9oWZTGki8PgbCHVGtsIg9FbXkAzql7b35eKfLwp3KfXZSFNN
rLWDpbdwrGFbVZWdQCRenY67GOSuKNI2eq8/q4XpMyWAz3j3HqjjNq2bdaYmaySAtzpl8NXuu9bN
kyVlY56Nzy8TL/fTQAUMHZZKOKjrHEo/dJM68RZPXyg6/rVnrmxCyw+5iGmAFm/ypEezzQlM6mT1
ECavRHgZlI/rJ+3yujr/+dxdQsZKUeC6gckmt6byAu/zhaM8c1udR+BujqgCy0KLLQP+zD3sOxww
yzBfgEZqK90G9RiAY9vaLh7tqWTMHaWzieOuEF2q68rUS+EQbcUdWxleabeevq5QAYAkZvZorZT1
0DndjbYWXe2jWi+V92e2McAMINQBb4qrhV85qBcRgQAifmipvIbMrjPC/aqkBJ6xt4y0jqBrqwjG
gtfXk8shpq15FpVbT4EVtMETbDz0FKg+q3yokvAT8lS/i6yF1gbM493rAZeGyS2vLlSJkTdscigJ
N+kuXqdbaSUuFmp5AsXFwLj1BKZTL5NRUuHiIXkNwKSr+L10/h9pV9YcKc5lfxERgMT2ypJ7po3T
W/mFcLmqQOwCIZZfP4eamGmbzHBOf/PQ3Q8dYSVarq7uPQt8YIbdLO0xX3nQdYaG/W1i5LUz8nkl
F68BLU4GoUN5GUPz52ZbQ/rRj3zLG1cwBUJv4QgdyBv585LIcPG5c0b16QacWkOtGwQGnBrVwyqC
V57htoXu0MPte/BaQPuya+Zd9Wm0dISBnVLjC+P32WOXbGJ4croQ2wtKoFk33++YJe/q4tsWt1wy
ZlLUdoSYc0ZDpHKLDV9nR/VXy9ziHjppfvm7+HljzPlvLsPB5zVcXCr11AquScMK648+0HwQyt7I
RnupdnHAvGIL9y60b1zydJvxtURGLz93eVtUCTR2bC2G2+wWtnyPmp8FWeicqF8cUHjaDRgzXt1q
5S4y+4tB5/D4aUWNoTcpUkQbNVAFjxaYA0azpckt+MaNcGMswk3CsjFKhGqFcQensyjUZe5Ltp2a
fBPrTzfW8MY5XEIqMtrwgVEtgllx8jgLALQgDc/dUQ0PZr9Z5+tb0mbL9/nFNC6ijsocnER9jEI0
FA/2rrmbVWA7H61YbNPYv3lZzljlb7apsQw1E9FboiGzADUffk/DRlubYCKK9S0jpptftggwBILX
o+Fkyt94Gu1MyLDKFyuwIBxqq258M4pe25BgXQA6CWoEREoX9wQsLntKCklDVFaA0L63GRxN2/P3
W+TWIIvlgvTAOJZ6R8MOjnUWS7woxeSlN554V4Pz529ZrBKTNuwzODWQ/4ktanjctX3raH5AaGLf
7sWP/99HLVaqmJyORnpnhJJkfm6exuIH5cqNC2epIfF3p3/+psUV0JusgRk4TjJd11vFrXbWpjva
2+nF3tqoqmxnOZNmduO+T56IC0s4t7prjrcFzK/lE59/x+JyoEypmkjid9jdQWp/2nXBa9ShXcZ8
K34i0w0M1Tx5ywP3ebjFvcALFaD3GO5utumzNHajvvBijW+NqVp9v4xL6ezlDF+Iy8LdLok0R0Es
scNB96Ndv+ZeHLhs3a5eBq94nN4Nj+7nN/yt9zsagJcfCkEOkJwhVmNASnCxZx2ZO13LjSkkUZEH
orJ+KgQub6yDfcAAqypIYYqgJ3TjFOy9hhCih4bED7DvJygKyYesQHM8yuJ2zXR1ja7MGxB2oFsQ
Z4S+8UTX2sRATZsoVFcBuk0rGFZDzSvIbfXQiul3Xkd3aqV7MEUOqkpp3aobgzIGlBWoht80AmiB
i7FYNazd0xaqQdawZpZ+lC0LSZ9poFvAfICj6pCaJxGnb4pITtIW+7oqnpTU2FtTfU6EuUKTde2U
xb3DU99Ry9dsGqHGYB47uE2aeuGrvD5lkq64EfulpgVWGh9baRzT1rofDXyt3utnVM5/wDHgQUbN
DwGnujznpde2RbVKLSWZ35WPVVuikxED7d98yDrZsFggL62dFzoUMOgD2/HY1+UfGKwNbq6RYw3v
E5ebdtBRNEggB4DSP03gXUj+pGP7ClNIP6YNSg6q9pImHEaPpNlJ3bo3iDjAveRRK9W3FM02s68/
0qZ8hAbQHRquoMpDkrUrVw1Qu/HYnSlP132TAo5F15nanLJoqDdVRcb12FcPveHcDVq+U+VQeYVu
brOh3MLQqPAnoTgwu60lul3898CMFS53eE234PDL1jr3RvaetPp7RxhajeTHxEt9BeUJy+2VLGxT
+xE3ZetGan1HiLhnRhno+fSqauMBPFmYyavFs0PhGJFMO6V2drAyf4yrZgXk86keHfhwtxi2dKjf
9touivp92zb5ig8duGSgjq4UbfJzWFoSiAC5rFNRomHOqi3Shx7qwjSigWO0cAFVjBNrqgGgVS1M
DXCmKU0PhYVMK4UPAzGenDK/g+VIDKYzVLmTdsVJ0rnl4EA+NypC9HOoD8TIB52a2k9y7T4pEwb7
VuclZVESiEyDloGtwpmTot0p7bMCS3g3HZJ8hzYYbPvUfFfEyrMhnR0E+TsUS6ThqTQxvS6eXpJa
X8emsqdQdx4i+VyX7N6p9NWUZefGiAXaQfy5ou2pcJof1UTPcV47bqIYqjeyLOxa+7cqYdPZwQQ8
7cqjhbZlLyXEkDL7aDuQpiFJ/F4x9qOOs7c05h9EHbgL4+wXNdG7IE7UwZeqsY7a6DeCRbkl8IYd
O2tji3oLB/C1PQ2gbSX6duwiZw2laKDTcvoG3+4f5qitG2Xgd3AKRRomMsCV8m430WlP4DxxwO82
3VE1O9eKx7emNMxNrmpJA99fB2ujdaUn2xIKqlnFPSYb3bN6mMtwp10PKoENtpAeCkA0gBJNgNrB
zyor0RKPe3Rl8UtjLh70NHvvqFphNmC/NFTqluhin09Z4o1FWb2U0/iRDeYTnoznUrKHZNLX6E4H
YDh7omUntR02aSqOecV9FmmPiZ6sOH1ozcKHRdKdZowHi9FHybRti6q0z6Fx4LeCTH7q9ECSc69L
pxUUQ9ptQ/UXhVvHLCqPQGyeJqH7SVwHnVXjbS92Tl7/iKv0eRjj7ZCNftQlm9Qu1uNYC4DbzEen
sR6zxllbXf5stlDms+Eqq3YphKviaQ1426E0rA9KBrxzUzi9TE6suwIkOPgOWm9jlWh3zAa8Epem
XFPBoI0wHmkmQoN0T4Uy4LFanRVFUMRPmAhkHEBDdC03Ue1sLE7OmawV2BTbAVML4uoAvHp6pm1k
23/EpGZ3diJg8UAkNPrttF2NbVJ5kLlS3T7V9ulo/EgH5uMobXpQIOGym+36tqpOMGpv/EYxy/tO
lHLbqxkF3Jrdi7w85iDmur2uk5O0BC5c2nKvnXJrq0X2M/gPmdvYyjOLFAB9RXFIjIi7QtPOY6mB
Y1WfHdFtUxPHurD4cw4GxnooKYTOePzS9MxwVZCjpCNg3q01HnHqY2zHjlvqSusBu2ZAJnOAMaOG
o+20Xe3JBEp+pOjjQGUM+ojEPE3SCguw+8w4e3J4bu3BvLxTGU/Bi5+RJQZAiU6hA3hRPVDVrtwe
wAfXGowT78fOj/N5jdKy++V0YnRBWQXQoALAUDfks+VMu6yYI6fQd5VSAhSR5nd8TOi2V1juJQ7k
Sq3OhwsKd/mgKK46MrjbSnA7C6L6cYwrqmyVjeiVe8PR/IhpiqvYkB0jM84RNlv+lGDzZ3CKkOCK
pfj/Xi+E5mkgqbpNOhzqJi82MQQNXabKu3KQHiAMuYsMoXSr0ex8qnNYgkbocFOrSkKeiN+4Hg3f
HiQQD8qZk/E4pIKg+AtL4Iqg5DM1Ek1+vQFcMq53dcY/BBvTDVgaw4OhTapbxmYdxBJu8qyKjVWU
W9WeFU68n+JyWKWKslfi7APonLOc5EuupCNEWZpqFVlQxswqZxfJfOdUmRGMbbRJ6gI271EWpMkQ
u7GZEU+RrQisBlSjNmeaD/Ugw2MCQQ2GmytCo33ZSepC/T33y656d+rqIVPZo+gr4U9mfyfbxvas
Vum9nNjQ+0/SD7NHCgSLcM2FNzLskye+4bBsXNkUgkSxpYp1F/XdOrfBkJxpLRFczNYW11O4FmdA
BsmtjCbhx9JqAGqmciXF8Nyi1oKfoRjgZjsEajdD8cIc1ng0R8ogcEPCPvyki+heiafDNLJDA5hC
0vSv8BUFgTiCRqPDut9sLED2bk0d+pPq2cKdpqgJkH693niayVHsG2CaQDRoqU5The1hr+CDdpJG
4ttWCiciZt+z1NqowjrGrTg6lAdWr3lFph+Apyg8hbFj5JDcExaU/ZTKJ6jF8xirCjD6vhw5ZCL1
c2HZz4im4egU2zG1twkXAaEI6cRk5QpI3I0hu1OhCZ8T9tIp8RNj4txYJbzScYJdh6Y/cQ/cqV3l
2yLdoFq6iQYRCC2DAbV6lJ26k0Tb1aOyN1J21u0KjtnafZxqh6qWq9bghyoH9VJ22jMagYcqU+Eh
Z4VqjruJFnLylQHuybW+SlugCDUbsSLKXqFAccdbo/Ya+NV7WQkponSydLeJJugQ5D0kDZN+Vwi4
xQ7lg1p1pV8hf3Zpooe4Gko3MwFtR8RQAIPJGzAQ7HFv2xFetZLszUi1AqqNXgxWvNfw4uBg4xwZ
AcDE0CpQ5IsSgZpFUFBE5X0AW9W1tOix13ogdDQlrJgxuLHIqN+DKuBXiWi27diPewgLpQC35WyV
6cSFG4k71vFW6ZQ960f5o6U1IF1l5Lw7iXI3mBGqWw6BNZgiWtjKw/pML1Xg4ZCiyDF7gujN1smg
VdA0IHLUJGnWSZ/oPh2irYMnZ4ErCDD/fl33uIFlBV96qxrfBh3CzZZawglnipAPc8CcBmwo3ONj
79VGbv3q8gizCvgXAzpoQtxXhgbAq/KX1MTTGKv7uO7aQO17+9Arzq/ISWJfWAnOrF5oXp4rjwkp
Rh8NOsDAoUJqG/EalXa4tyugqpMefPqBvuepdNUIiq8KLgE35cVGifV1UbSbvsc8iawPHQWy1npM
cCj7TPGcRPyKmXZMh+yxTscHuFL+6FK5yp0kGIS2Zl261ql8gm/976HP1zgFmMIxfm0pGn5Rtco7
wl9UhUuAhARfqUw781z5DYgAwa9o7lKd7FhpnPQWhUxBNkRLV3Uf31cMN4XTTL9h9JwEGfCKcVSG
9kR2XQnFRseGM2tj3tGaPnZwQE9S1U+7+pwqQF6LxH7VUiFc2UVP3DGf7LRbJSQGdx+Y6LK5y3B6
hIIXD802/VQ92noSMNrlLqzv/GboTjjyW0KF5Zlk2pa12LLYSV3cKHtbZa+pylZtk2xpkawh+ykg
HTu+T62NvtukzWZH9E1P5VNOC7+arKfcTP/gjbKziuQAlnfuJpZ6J4Zqr6vpMZpvLoCfdmJEDzPV
j2VpokSHZRnNZlPgpeK07S7vE9tlRh3QFHlVn6ELZAdFZuxpZLYuUppXK1beBo7Ui5vWeorNkAIu
V1fyFJlR0KbtvpR16wGqi6TbUV1D7fAcSjzQ7tZmzAfcdNFHqmBjskJ7VJHVNhlLXJ6XgCBWwnP0
HvIHsXyTcUYhSdZWHp4aq8aOXpRU7NQh861aC4syeQFwYVUXFL/fkG7iuKltPEFeHE/JRtvAcPQ1
1xS8/9BTFaL44dgW9jYcLcfRJzQ+QnH/MU2SnSO7c2JOmmdBvdfVC6jqZhPM2bpkb4wIhH0bAQ7q
KGlTQ86l0nbmZFf+9zWIK9WOL0WARSlJiQgaVvNcmrL2+yFew9HoUCe4jmHD/v1QV0pxX4Za1JNi
vLPNjtYWoI8HXj5wOBONH98P8Rc1vSjefBljUSsC900dKby9EZDLd0dB77IW6g+j5abLs7xwnRag
V0exttIUQRXnj3UTN66pCN2jGvvRlPkOYcWnlfViC7JWcWHpNL/DpQfuR5FtyloyNydohWQ515AS
dH4bs1VuijNTEHksE4OkSBNBWUHSXPDn2qhexUQiNxsQ3Nj4nFbRY0KrUw+3Xc/pNN1TNdzoeo2Y
oMabGPUVT1HqrTW075HaWmsBKJ1rEiUJ2sEBGYRVpu3xvn0vre4M0eHnOIteSKztuejvNDlOfq8n
lms19eB1dv+qt8M+biBjl073pGEf5cDPkxxNDwUIxStsIwvGMhLb75cCefhlfQm2l+hTg94/YykW
9SVtihOnQO06NIrhPQcY+lfs2B+Y3h2wN8oDDGp2VqVzd2iVQ62PDzQCq0iqM10bYaorEWYio7c3
HROPnS5PvUky8Fu6555LVMksc9OaEuJstThkejwGUaq+0l6usbxuO+ffdt2v1HFItni8vKnDeO5N
HeSYZM0muhKZejfl+Snjw3Zqu53Q8fTohb6vO3rncOvBhF5+bNenpovWiU6ecNXtZVcckW+/kbYa
vSErQ7VO360OyiwqfEuN4dBn+Wbg0RbZ1haC+yvgVvYEctd9DNC2Ap6Q33V836jtWw2LSaOSsLlt
t4WVApUxFxoSft+V03s+e3fSvPyYIlVFQlTuWKet4r7ZNkI7ZLJ5G8bKm6hs/LqREGcbTrKp3wsV
kdeaOHerYgRWd5g+qFLiLaggguq1eRoqcsfLyvRUztP71rZ/taJ71WRC1qWNRjgoWRuh9PtINdHO
SPsuYCnptlqHaofdGodEFT+pZkvk/dpRSZyQOVpysirH8MxsgsP8rHUDLzRs7FyvggxxHSkGyrUx
7TYoD/1MJgf6HvZ0V9XF/ZhNxwxSdg6NQOOaNk09nSBRvVHzHHcOKkcixw2syENaQloGdYeuGMJa
6i+JgsseU5O4tYrHpplv68h8GJnc1Jj3pInCztQB/FDVTRKj2UXXWJ9T2oW0KzcySSBAjICQVsm+
7e3c17geuUM2PEE7fFzXVYKaVWT/7nsAcamuHPOyhsy5lt8ZRbsn3FqbXAEHQH21RqSHtIPVaice
bc2o3ZJPp7FjHJmjCVswk74aih1UIDM6JbC/PQTUB7X73abOA6p3lTtl+rnOnE0+cVD7SArNHgDJ
JxPpvpGdM6PFGyoD3VqN2lXqoPXjaNusIa/QOHpvRX1n9aQN0ih6j7V5iSAJ5rIIRP2e5KlrOaJZ
TTV/q0vnTHv4G2QNsgBZIw/KRwiyA8WYuCweD7FhNBve5aVbZ+y3bqDsXSfTWo2VDU6w3zC567Ds
AcX+HwV95m0OZLkZt56gw69MGzfExGs/riZzn+vNtEua6rHSlTdhFCYep4Bej7m6UfLsJByYbWll
ot93BE7FAgacXpbkUPm1ml96p8fIrkcWVJHK3U6vnglYLB6lLDApKnjR7D0c9+C/ZuY07YwGOknJ
dE5Titjr4IkySHQGaAqqXjKZPvCNL3UJMgivkq1omzfaDUcyanthl0+1ZZ1QbSndMqn0PUuiwxyy
3JZ2KxzjFeD6z61RaCsN227zfXC8uHWJBn0q0wboVicEMRKh81MvFmGxbzOzHMNc2Y0zLl0DvU5F
KhYPN3oMS1F8AIW+DrW4EXk+RgJ2x2NIRihC6V3+TnnVe3C61TxIcWRI/1D075QGeEnZeAhPH7Wq
4O1PbFQBuszcCmJ2m34st9H8BhTwx/QZJ38abIYbGcLFtOjQSDMBIsM2Bl1tqZqnTlPsmKiYhEPW
P6smOUMNe42H+ioaUZv9fgmuYQ5mMDKArlRzoNC36IfnaTUoogbVZcZMNo9wddpYD8yDEpZnw5kR
0rO3Rrx1IZKvqy4KKEPGtvjvEflfQ7jM40exqdZzz1plLhThPedePf0fcOVXsq8vt/GiESqHbFIr
atCQIJrAw3SnBzOiUaaehrIykB35Rh5vN3nnP/slISPAYhPIzuLfwM0v6WE6WpVJk8QD0EcvCSrb
ww2+3sVnff37SxJY47AYHBO7D9Oycpusd1XzNwzHbuyVi5VbjLLYK3gicDvSkyEkmltuUSwfj3Go
/2JHKEkG3bZ+13bALnvmPoGbmnFLxOgCUrEYfQGpkIU+FQaYzUikUHLrW0nBJcp/dgL1tpKN0LQZ
s1tWKtfQVV/2y+JhYGSdFOk4muFk2QGaix8K1ECTPk0DYOy9HuI6qhXvZZz/6Tr1odAhzhG3lleo
yIpBBUZxBsX6CQ/wf+nLPDdNZ09Hw5p9FSB2slgL2SoOV8yahil7KNAjsxNgPRrzxmG9WPHFKIs5
r6WWpk7jOGh+27v/UfK5zTb+y7j5cj7ANIWkA3i5IAMbxFkkySk8DbvO5DQcgc8laMoQru7BnltH
SbXJ88R1EvmQSgWPxzdIi3goZCBst8+Jkbyinrqq0ezQuh8kr4KKG2AQQYYOj9rv9//VX0koCCKG
Bt2XC7Q+XNsavWHKGBoyvZ8cHc8RDgwRRYuwcpWs3qjx41CyR+4cqxqVXbqdNDsYIzy1U9WrIxzL
InqMDBnIhK6r6Rekk5obK3bzRy4iHAQxoTKWmzQUq3xrfWSb9mgFKnj9x+y34+UuP/Dc61ejX626
DTiLVeTd0uq7iEZYzc/ztFhNE44TI9wyTbAjwzhq3M55mmC58v1qLLlI8wn4MsriaMItNjLUKrHC
EjSuXjX2fQSVz6iJlQDaGBbIocpdZaK51EirRUHaOH//A+jlPY3EBThWC1QyFWpXy/QFiKs40c0x
lFV+7q3kCHana/WOG+Elq2RPef6q56MLColv2U98Yn7Bf43pa5UW67JJ/KiPV3pUrsuauzETngYN
ySw9cEfxUrgVSCUPRxY9Gw2csUw8hv6IMT+ZMO9gNfwMHOe+H9Fv6aMNWL8uidojEVANYXzrFO/o
vvjIQ/2aF+d4UFxGJUa/JW9/udBfZ2CRVVmZw4kBCnCodpNr2B8EFq/jTYnwW/M8B6lPaWKTwZXL
GTMrNN/y7ZTMyEhrn/qzn1GGqQ3V1fA8rOubvilL8X7ssM+fB1zD14EBboCOPOiUYadVTYB6p+mZ
+qSGsNKyfKNSR7QqedhONQMCpJQhstwDKLnQoqDqIR2KY6ugR6PJTMAUBYoW+oyMz7M/iaxC1qsN
uifyJ1GqG/oAF/NFQNNDf9oEywZCB8urAYU3B7jccQxboFHSrDU90aAdVRPwgptbEs+XmY1KQJBC
pIK8uApLisUcoQo/pjofQyCx3HF4EfnH98fsYo8RDADOHGRMIRx1YRNbDXwwRFMjc0d/uEssSL7T
rQZcwX8wDIEaBe5TigRw8R2qQezGNDGM0QaW9sCcOwJHhv9gDMwSsEYoFoNi83Wu2qkYWBs1Y0jp
XlbHWDtw64bRyiV8cZ6uT2PoX8dI6sERrVOMYO7QHQOAWGyi1YyPRtU8iG9KvV9dfjRToOMFM4UL
PmPr2ExA03kMOUSC7EdYnd24z64tP6YKNnbYZbOG8tfvyW2p1XaLOatb2MQJ+cKktY5FcgPudu07
YHCOW92mOKZL4cc2kf3AoCIeOsOIxtDotumPf7/4IM3OOQ5MbPG2+/oh7awlHsVYGNHnQcqbxyLt
fBlFT98Pc/VD/hlmKajBW0UHiIoMIe3zR2qO57JiN/bY1SEcvBdxKJBsLZ/tlZoA82/YGELkXtmi
WMO0G6u+1DpDDgiJ2llHA/nKHMQWd6thFMyUAmPM5JjZNbxa0536rgc5XFilB6Qx2CllINbjBgiD
nepnq1sc5CthFKcUdiR4g0NLcBkR8pYn4GZOQxgDBVjGAxBNG8PMVnlzI15fPjLwsRD1gY42uKbq
hTKjNRA9jVGZDe0jaoq77qS8TIpXHetNtu39bjueyW/7Z7/nN/C6F9k9PIhBTTdMOArhcC3JyBlH
lg1frTFMQVH57+x+ZhPemshLiCXGsWd1cFulINjZizMcJS0v6lr0YUGsR9HFdwlFN9cRxs+8pJuu
F8daqZ4hCLZBuftMGuU/CLyzlS9cfOHna5Mlejxrs3HohdaHzSRjlwPH6tqpfojq4dZIV84G9qwG
lb5ZoglJ4ddTrtjY1uh14JQDr5P1qhuVtwwPrg8x+3Hj4UculIx0ZkH3HiJUYd82Hpr6eHms/3UM
mQ/e/46wSOtyGHnGdomPsJrUN9XBBc7/PxiBgJ4Oqx9A35chpEi6BL+8HcNOOTfRPe1ucSWvHF4D
NTTsGSwFsEaLLcc7i3XUwtaWK3M3HapddWxeprVy/OtWvo9X0cnyyfZffxU+RzORN8JK4UKQtixR
hnBGDKoBo2f0ylpayfn7Ia7Fis9jLOM7mmRcmnoygusxrGAfvirvhnQ10z3yfbbtDgDh7CdQMO6S
f78pYMukz6YUyPMgffp1Z+uNZQyN5qD1gAqdA9OxnD1//21XNvaXERbbjgihMzi5DuFYog9k/szJ
jXh3dfKwPIiwELZCKFgkeXasAH07YmOzZ+0VwCy0M43INfYsKNYOhPzQihD8RIIEmdItFfEriQz8
eP8Ze96xn14xA8RWpNrOeWwaeYbCfEiX+3lu+t9P4tVh8FSB2SNMNvDfr8PETUcTgF5wcUJrB3fK
EbVHWF/cEou9cnWYkJH/32EWaWYJdXfBG2QztVpCThy4y8QE3AKkoE3fas9Fq/0iJagCuGLkjY04
b4MvtaLZ2VVD3Rv+NQYotItXGS1VA/JGFuqAEgiY2bWU/eiA3xlHxR8JZCG6399P6SWtZTHiYk4F
AIZGpUQS9yR2DDnMFWMLOYj9KsPbvLhrK/j5+xZTK9BNc4oaxyAnzw58dOsP+5bw3iWpZfFFi/BY
QRscOGWMAZPJgHom9DTJnkPKyc9XStAExm4Ac7t1wOoHLmCThui/ji5wTL9uhZW//e/L5YTkOmSp
ocazTLOGuO0a2XEs5504DAdrlb6yIMLbvvPhkdE/6v5tCvK1VxL20D+DLg4j8LW9oqmFDNvWCWtT
+WkM3Dp0ypEU90OV7jQuVK9gxJeFs9Jy8VKmQ6iW5S09h2t7GXkutrHpwOpnGVTloE5KBQOTEDVm
z2le9SEUsC1BKTmXD3H/5/uNPH/VYqpxHULb2cTJgVTxYtUhvm11LK2H0NTboOreZpF+I4NmAQoU
34902VZCXQxNLGSVSGwNbfnaMfvJ1Iy8GUJukHXeQ4BscqzxfjSL+2hMt3peo+dSb9GW25M6hwJb
Xbi1RZSj1YBWEaMB//0PunKo8HtgRw1Rl7nVuMjLVKcGp4NFfRiBTAtwHbhptiuHW82tK1cYtH3Q
5UEJAYy+JZkoMbLUsYANDO0o35t69zY4ya/vv+RyyyBdIjZyPJQQYC+4uIfNqJaqAshDOMjXwm53
oCQEzpBDEaPwKtvCxdndWszLycOQuC9x8aMmBjOjr3cKQ6WVVbRrkNS6zgcAS+vJjQCxdWvUdn0Q
4A55EK+GW4nu1WHx8pr1ca5UfmaCadcWUxNWyn1dhi3MRyGFe+O+nKfr65nAt8F8D7I0GOVCjQDt
5kFXJr0JJ60JWoiGw+UnfhsdflJHW3hcz73v1+/6V/0z4CK8o2JM7UormzBWNxzSs7YK25zUvJGK
XgmrcH6AoQBMCyFJbi9THVCyulqz6uYvjfXnX2p+5UWHfjUE5ira12Askh/ff9lleJlvZOwUuJDD
W2bZ5CyiTKGW0AAHkvYuKVDU7l86bkOmhN1YtCtz+HmkZbuzhZhgBNe8MpzGHkZMrN7S3LonSRF8
/0XXZtFArqujAgkRN/Q0vu58WmlOmqRG8bcMYe/ktkV/HAhgDzcFbsb/EyH4MoZoJvpLkHgHRBTi
JvPHf0oUFRrFdd5pSK0a1SX5kUBa799/lmnitkXnAu45yIW/DpHA7i0pOYYQvvTrX/I+92dHSOml
p/LB3Ogv5fpmEJkvl8VB+zLm4sq1cZRl3umoFJbWKe8LcLQs+YrAsjZks+oUoEsIMD13BdwL3byR
H1pUnSDwsm0ZqZwbh1C7sldNzC3uJpzEy/chzWx96NRpnoEGCnMA4u8605MgsTeBDEYfgCY9KO5u
STxcGRa6eSgnGRoKBBfmB4pOa27OuYRjZW485h5ve1fXn/rJuRG0rxwR20T1Cv+gfIpC1tclzhql
VmRSDmFVPRfOIYofYHh3Yxtd2ak2XoToZsAMA+5cizEqDkymWls9JrF4z2Kof6Rn+1GOwI7EXrVi
PiTRb9Wsrn4XDF0s0zFgf72sWQFGwRqrdXqA2H7ydE+nU2O8fP9dl30fgIXwiIfW4exZflHgbAhE
tirwAkI+g+81ETurmonUVXWm71Jm0C1lqCg0x0irXxOuQvPUim0fUXFPJR9WHOC6VRqjeALwQLmJ
DNSUZSETtydWDwaTCmNgSFZNEBn//pdfnZxPP3zOHT6FjqIe5AT+kQBHvDxToMYDzckA8eMgKn4/
0tWlB43KREEPPAtrkUpK1re8S8w2tHo06+UzNGJvjHAVsgURQ3SxMCOXCk+0sEE5AEwwnM7kbvDL
e3ut+SACQ2QLvbRyw7YgKrxrQay5wAq8ZDd2wbXYb5sghUO+E7nyRQnatAGDhtRpH5qQuX/QPf03
z9zKy9bRxsw94vFfjZe/qbdSyCtFCuy+WZwU5T0UyJbxH36EjoRACVJVywMXNHuwOk/zUaLw4AU+
wsIpUEL7tbpH4e9mBevqBpqjBXQWERaXuocZhUgEzzC2Zv80ocQcWanL5Z/v987VQVA7QA6LAIVq
5ddd2jdK35mF0Yd49gHkKYAZavsHo0rfvx9Hu5IqoxPyz0BzNP50HCDNrwC9K0WYH/J7Y4UmwlvX
+cMMcDsk/0Xaly23zTPbPhGrQIDjLTVLtkXPdm5YduJwnsEBePq9mL/OiURxi9v5v68qN6lKC2Cj
0ejutdYDW2Eop7g3PiGAfOhncqGJtPLM9ChxEHlpFr1AaEyUW1p+CCV4RD0KD+xqqdZkTkBu6jo7
Mzc6+Jlfqo1XwFejHaQKXLrg4arc2KAgxsynU+7CtzpegJZl7p03GQZOdnj0rAIHNa/BQY1l1uhn
HQx97hMOV8goa8DC8D/yIOQp42us9oogruKoQgJGAOZ12LY6aKhK5L8whTRTHpy6nAcFvoHcmqJh
MVpMZ1U5wDJedc9AgxCYeN6IL9FFt7E902ycOgAnhuxRBasKg9rMCQwlegm2aEBvJQilrO+3TlXk
jwhfyGDRxRo/AZoC1EaWNOt7uz3U4qnDKHHK8plMasoDTDCcY4gUtyUb5wAgEGU8o6jk04GyQHsS
8bcZm3AbD4NhUKOwJxQ4vS7roFqm9YB6Ri7Kjsc0wti1FZXP18PF5EpO7IyihUJiv7Q9tBzrqoG6
Se3fqaW1uW5j8suf2BiFhYD3JctjjCFXOUrQcbBMbLYJ/W7335kZhQMRpDTJIr+4t4tjYj8ZzZse
zgyDzq1kdFgy5GbMAy/Cvdq/2oDztM++OtdMm4rfJ1/eGp2TwISSVtkNDQG1vkeh6qiXib5UWACe
soBDJUTGq3SABV3fvWlHGMSjCQoD6HOfXxuW2ca0q4ZSXJPd00Tf5VH/eN3E9O79NUHPTQRqJzCS
jg+kaF+hhQ46OSrhHGnW3DpGORrr9Ix4ArNGmaIsjPCXH9HVf7eM4RecXLAdyzjosmqQEyMx6cLf
mqUsem1mr+aWMezliZEIdLcstLz+vvcjjOL/BnJsfX0Zk4EfIwfIM9G5xTzfuYU0VqVCPZ7fR6DQ
L+yfJDrE9Eth6YydSX/+a2fsz6ZEQUaLMZsBBNsA4jDSlVYDqxlzu14qOVhlrcws19Ae/JfD+qcF
jxKzpY5TStUQFE8mLNALMWofIxHqJVS05sAEk+tD5ggBCzahLcxaYDYtSFneR6x3uBJsuH6bVv6i
l08a8g97VlH+kjpquBtOLI7PkR1UlgEYGqpc8Z0FsrYeKt2b6BGq2wu5Lz4KR67YKj9uiw3rnO+3
9JCfY62Yvka6bI9V/9quzTNC0U4UPUArHYZh/G5ftjMfb8L/h4mCYWwXc8ds7J0JN1lTUXSVSSkc
IDI7fQ79OhGN0O5HeZyBYB3pwsj/md16dd6V+b1Nf+cA4jPjIOXcgN1YXA5+j4K4MYymoQuK580o
rEa4+JKw6VEbL217iSr5e9ebr31K11q5NgNQFns+wOs5uwW7zg9g8/dIyG6NyvCcylA+8lrVoLme
odMYZOAc6Ot1I/oV1SCHRYxffQAcXGII34Ggl5i5ESYCBArQqHMgRmBKbHx+Kq9WLL/F+ZFEW5W9
5aCZALqeD4PMxWxj8NhRwntmavgpJ9FONDwBzUmT35emcshz0DcW2a7TVeC6gLHwgcd9ixo3o2Sf
WvSm8tSl6eVvgD1CpwYDNhZ4BSwaOjSotbWdlQRCMfSVg2xjEBG1K8OJwVkTdtZDqWTZOjRb0Ouk
ARB7/BhUyrH5g5O870j72oI7pRLd0sB1K4ziUKCI3FJA2TWHgR8mBgNQQtt1lQDh5/HCqSiYJKIY
NFCgcDOVj6gtUdrLITNrrmoGGrPaes5twKvxecCz/VD3PxM/OELtY9UkdJOLufRhyq3B/w9Q04Ac
QRZ8vpXM7yGXAWDMfegjHoDWwE9NCNnZy+u3B3Skxt9MQydxmI1APwbDauMuHiByJfgUM+rGNcgd
vJL8Mjx1rVnBfaeaKysRO6shPQRRmj1QDncSSgYR/kKLMRlex1wsPJN/eGl8yGS7g/Q7nojRyiP2
ivfkE4/0H2kCkZ7aN2+6xHw37KBYJmBQAL9Y8aZ03o0PHRdVeGtC8vcwoY9aQsB3QsD3kIEQfOii
YhKcqHRJDP+mCuKNNMWhkoAKSRAXxCU0PPzcd3RMnTtZG7cO7qdy0TeAlZQ1PcQ52PcEZo1C5Q6U
pmswSqwr8Bo5eSBvrLRdKyAjQM78SYMKbGvFc+Jph8AGEVVXAqEaZ8GtJ4sfzFOOhRlld5o+qOa2
xUEttR20do+eQZ7SNsNvRl9/oVvhse27Vdj5+75NvSXwya+Awh2Y6O4zmSlQ0Kw/oK/xA7/aDVW+
0VKo+mkASErM3JDaX0oKxG1RQ0PJZgpdFZq91lTa4o7Vd4YHhjJf6htO+zcSm4UTGM1dB8Idtap1
QMXJbckztwL8cin0YFfGdrOsSnmAJikYEuz+AEe/7bVmIOixF3YGTpwsBpjWl8UBxcCHkGC6SI+W
PFa2TW7/joGfZaqy6aW6K0r9wJIu2g0FNEdPlC04/H4GebIME/RIK8t/h5xOuKgSyBaig+OtBASb
RUs3KL9KcOWYR2qjY2uk2m2valAPN6NPQAAWRIcaREHBE9aDB4kNSH8/b3/0Ct3y2H/KQvXJ8g2U
aNMIdrn8xAQW6DPA8dHSlC0snX9ENrsnIsoBPlfx9cHcwlrliIbmZzhg6EvEmYHAJl9qVevvNIa8
xTKeA3BzAIsPkElQblJN5wsU+g/cD3eWARYyO+6KRdBAlgbYVVNoe8YAbQCR4ZOmWO95V7yXkt3J
vnftVoLYK8VgoACdk2iHc6LcGhzzc54GbgqNQr+qjz5ST35V0PTNPQ/tOeIbTsPEmhF+S0NtDWc+
BiJ4g7jSD5Ja21KJbhQW3mDgAmgBg/8o6/qXqnXhAgBhx6r8eqkTbx/m6S4odFT/LYtDA5IsIpId
zdjakqIFNBaSFX4/hF1gvpRyRzwJoIW2Yp3XzuSIl8Mmo2AyerspSm4CV9pRd+jNQBoWAr/5AlJi
N9mq2+bb67FrLnKNbn7ZhU1nhwZ1ze7V6G4N69h0M+nLRSXsfD3jYgcNM4UpLaOuigaxpXggRwKb
R3+f6iYSjTkJ25kF2aMkw8CMPdp1Jnav0ZdJh3mSNl/UyVx35SIhGC1qdLX0IipyoQvq+uQ2aIDd
19867VNUM0+fi4R6ZGb0vkIfsCXtn8/T2s8a0wEgSwq+Aa/kslAjC8qMurLSQZ6yuO4Wk98MYhMm
wwglitGj5fmaDeBf0cAtKlBCqD0uDVAJESA+SwHJAIiVzdyhFznusNATg6OF9lwvSavA6aNywJ5z
xBQiQ38mjZtb1uA8J7mV7FWwp/We6nbKIyKx02WfpoT6mISSdTA3vXBZx/+zJgyyo56I5H1cRkit
QMHjLqduDQaAolQ+ZZDvpKiTBTATJe6ikO9DSuM9ZuS+7KQxnbDumGNnfr5Aa/Aj0VrNCQNykzdg
VMzE3Cjp5FGBQBkYGTCSfQEzV7iuRR7059wi8X+FstiyEqDKMvu47kuTR+XEzCieSSgQ0iBVCHgu
+NYS4CxOwALaQ7642Fy3NLUgleLix2zA0D4ZBTPLa7RIs1LqGp2/Y3q8aELQGHbqTMyc+rAYhEED
kkDlFUJog5uduFFVhDJHtkegTZY8dXf8WGqO8e7deFuy5nf9hm7pp/+Yv367EKoN8r9/7Y52MtSE
VTAK2lXwQaC4hwseozfd3Nmf2MUzK6NdzAuTM7WFlU5Kp25q0Ps+FWSuVDBx4E+tjG8FBiKFRLFg
pfGztfD6VT83xD65DmC3MecHdRibjmKYDq4ETaoRuDE7C1jKg7RaMBx9u1Y4fJMTK6PAlWdRU/kQ
UXaBQl5JGtxD4nIGbjO3kOHvT9zNzAq87CA47UpqOypodE2VOC3IOb99es5WMnp4Wlmjtin4sV2J
sRM/AGBYBsAuz80nT+U3Z3ZGp6ePSwyP6zFxa+l9Ca3A3LVvPqlyCIY1eDhl+EYrdakKlJMhQ1U4
TROsWBJ+Xl/upAMOlaoh/GHya+QeoJOEqFqCQ2yJFsyvd2UyQ8lAp7/bXwtj15DSqPx8OEhoXQ3a
Ov5KT1HpdcofjKORxW4gIY+5ffGG7jz/UD/KR7HVHrL8BhXnmZg1+VtMC1O/xMTUyXi1TFImwKBD
EDo8TPmwFty0YbfwKdLtf9jXE0ujVetEacBALeBGxI7A7azteGjNfLuJKwXr+Lua0YngUCdPOc+I
m4XPvf2zyn9W5Vf7bYWp4WijRQ3UEjUxazkKhHqh1K3WRsTts3pTDmyxXmR+u0d3boSNWhxdCs3J
RrOIC01IsMMnEB3jGsiCElv/djlkZGqUGmPcqUNk93ARN+mqVdIN6DbRng6W1x1guIXOClh/zGD2
CLxSeFTZo23rwORZSR9xJAB1xCLh3U5m2k2Qer+FjQur9dObom3z77ZUz6yiGnMeJGslzXMObSC3
7Iu9ghSvAN2hqigzi7ucax7s2KhxDWQV1gXcuaUUpBt1iegFwWNMFEA9FtkacA4QgXNQrFtA8kjb
zKkeTTk86o9MBwQaheYxSU9qpYyXgWK6HG/1XgGsv/a3PRUbGYiZJvhwPsefDxkUWrnoHVM2zlpR
rAnRmqqIC5paUGs/VdHv6/5xiQbEFuI0WbiaYQKEOOefKiSg/9FpS9yOBLep7ulOruTg0IjKF/Bv
vddlsUd//rOT1m2otr9Y0M9N/01u58kvGMUoVBs89CPwEZvkFaw5eMbfmAqqEuosuGE4Uxe7qQEl
A9YfDP6NxxdSq9JFUHrSbW1jL6rwM9XyfYU28LIEE7sT19ET5hsgA40yRc2sWy8rjbl7aHD9i9+g
AxOOX0EwDDjabyPWlEJEmnTrVbHLwMIPpaVykd7Gq2BdrKoXlGCX4DRbB4fsHggPb3X9e088umD5
r/nRZvdxajQNoE8u94NDoxkvppXtjJp9+Nz6AOz1x3Vzk98WGRCKvij7XgDSA4gNxCrrpKvG7b3o
TOEo4fDGM8OjTpOZF8cfX73Y27/WxuE751zvYw/WInDvORoUD1sHLNT35Q77vP8/yJ9N7iY6lBq6
TtBRHdMtdG1Q9V6qDgYzF3KcDEQY4TPfg6xxA1g5HozrfgMB8d1cCLocihyOLejahplLDRMyo0u3
BXZdMYKOuND5AHFw9CQhdzrItMgHcBwdo8yxVwPPQOnKxLHW1cZ2TXf2QA3OerHhlkV1E6V2jIGO
bpfYKCDIUzDTlTUoIDw76Zw0TslABg8ON6MfJgQ1eLWvsEUB5iaHgfUis+wvLsEkrbdxNePef47w
+BchO8Azn2AeErjP83Amo0j66IFISAU73sZYYPDyS3nAlNIy3oULE3uCJpWTP4aP2T0msIgzNzA4
5RKnP2D0LGz9zlPCTEClRYm3ProGUVxlGCmq1nltH7S+ef/+CaODtDTA6uDKGLNYZCTThN9bwtXJ
TQ/xND+5S+wOIkFscd3Q5MLgbJjEGkDb4zlBtWhyYJ1xuERHF6E011rzFoZPinkovJfrpqaiBsXQ
JcCtaPJhJPz8IyqwniuM4yPaR62Eg1f9AmOhqxyccNctTd2vgNBg1AAZ0pAinVsKja7tC1sRrtJu
LAwgAqg8s20Y7544JNTU0JRGZYcCkHFuQ9VR+jc6uKTmeysojXyoSf8VpJAWzTv+084Y1IAKkBsG
CtvreoNOlXistWSDa/cZUMc91DPArQ/9yLr1F7G01oXsXpI83vigxYds6a8qYNuoiG4taM87vCYv
gnAOhfEQ7O9dtVKq9hOk688h2oILYYZ3gVq8xkp7Bxr6u97zO4DBKg/81RzyJz35UVsg3LAj/kmy
8hGgBbyO+uajyrpHYdjLgKtHNdbWDVRvZYRjnoCYu/Xy+zQOoWyDrgCjr4WO9heKoWrZfImofK1r
CKpYeUoOUdLcQbzgJdbAs+mp1aGgcl0ze0UVJtBAAD+VoRaqY1QtZEuq1Gl04w5UIHc2TX9XlXkH
dGsBZpt029llB2LSvdXqUKrqlFXf82ghavLe2ynIBPIHtIcx+F5qT6Qv3gje7buItvYmNuU7KeJb
YLcPKWu2JuMftEaPrisptGWsB02B1CpmxSHEAWLPOAefqp8bTx6IChZGrt/apfzpZ3p404ONsmf6
2m+gnGC26G3pGjSR4qqA1gUFO0aTVCufKw+hqn6Bkdhyqrp8hJd8+np0Z1blTmiadCwoTTpWYB0z
6Flc9+/LsWncE6fONxy1k3KFYapK2HE4eAkxLce6rXbpKr1VVtZTvbZ/1LvyKF713XWjg0NfxOAT
hx/F4JzoQjGQV7phXN+mivLYtv4Kcizr62Ym1zbAZTSMCml4Go4OllW2WZ17DAfL8t4aD5qxutLG
TuSxZxbZz3FqRU5rJOUS5LevQSbArx8D2EnMZK3X9keSQStM1cOv6z9ravWYFNfA8g9OOtyN5ztu
CWIFfYPgFUG9AuwsCwgUtdnDdSOX4xv4riDgAV5IG9iLxiWETq2F1FNfulQmblqIV8weQOugZnSn
16Z6A1qARzR1c7DBtLeA00JeEKxXEDE1+4PCyd5WvGiTiNRahxG0EJDeFI6VoFmJueV02daa59Sq
91NPdlGkxKvrv34q6qIECG5BZC4Dy9P5FgWeripQFtFdqiDXt7vHOtTymcg+mQzaABIaANdqKA6P
vLCGbqSVlqnuCsFfPEM7UtZnR9JX2ZoUfrFOynhlax3bEYibrVJDqw+GUh6gq7GFoMrr9RX/SevH
Z+L0e43ybtWMQYytFtLt12xNPuJ9dRDvA2odSnWoVy/5iiytLT2YS2BpNhBQfK5u7V/Xf8TUtoNw
xcSJUVGPH5dQkroPCVPwG5IAyZF4FHMq3VP3Nm6lgRdq4G0ag2E55B4kCXTpmm20TcDR00F0y4Ey
xKrl5szL+BJOMJyAE2OjRCsu1b61YqwmbMHynOmgv2/yrt1bcdSvOiN7TYj25YNRv4fsEOTWIGvN
G1osPWhSpI1cDb2ehIEfEHfsL4vr72EZzATCya+OlsSAq0Cx76L6oqOCkKRwUTcuIc/BiwZ0N618
ZRyFpaht2YJwWjhmIErHq9ltFbX1Ws34HVfIGy3AKEIwdMESV5Tlc0q0ba0WYMmWLaS2ZLFOQ54v
kNm8RqRLX677yiWGAdsLeLGGVhlaK+p4zq3KWr2xG+SVzV4/ZpDaLNbNrb+HhsC2r5zkDpIih3qb
z3zVqVwJhFwMgzsq0D7jakRUG1aZ1Lnhqqq+lbp8R8TeVGG6o4G2N2vMKoXFTDCaymtPTY5OJgdq
m9LcFm4c/faQSrD2p50/WlJdx58zezp1AFHLsQcAMMpG4/pDAA4NRVE04fovypFpi2YTrMkO4lvZ
R/oEmY9N8KXNUO8ML7Bx3Dk1OQq1JOpSsy57w8Uy92UOll7VMzeBzV+7mGxqEeylZd0CUybn4u/k
pzxZ7CiJx1ywiRkSbrhRQvmqBqBoVWnkAWzsAE8lVno0gd2/K3URrlFP+xBxtrEt5RCw7gUgJGVd
Qf9hpYaEglSzTD5pyH50UW0+XP8ml7e1hQLiQNE4gLtAn3Z+FRlZBuqJEG1XRYcqQA9QIFQJCj5T
Bpm2YuMcAd6uYnz03EpYCupXsdK4oOZaKplXQEUgPXhl9m07OLQnez7y5ZRDBi5Va8O1vdva/zKM
hya+v75hk8cFpA3YLDA3gKPvfCl4pKgY3IMPp4K++K2+12yoiwbJJu7iH4GFCbPr9i63DkvC9Q0G
dgsMC+NrPMPsFEQ34EZNC0HyIFv4loGxpZm4Mx3uTsyMbpO8NFhiFEhJCMi7V02VklUDHdnMUUEW
vTNS1Yc2XwnlNY8AlQ2S4ciywm1RRMirI3vjxzkIXeMj2Ogh4KT2/cwuTN2sAF2hhA+4sm6O36k0
Awc9D6XuemRjpRj1zKsFhcYSSzfXt3sybTq1RM+/r2HxAKxsEsd2B4q/VbxqSif8MhcSlJVd5tDP
OQjxVJxA589AWRZse6h0nxsMQ+YFslQR8tP6FRqPD7WKOXUV6l0YHaxs/dUsjLnLbaoIO5SsBkp/
NJXGlxtk09SYqwnuZQ0VoBjC0elepjdPYQO2l9hyNBY7JlRD/mFvQRYyjI+jEY758fOlKnoCakE5
1GqO9Uu8lVs0sbbpTbfEu34ZHudqvZOjEXiHaUh//8PXeW4v69XGhPircKF68lLcqOtwyx+TNcZD
oajsGEffpTd02x3UmZoUm/qmp4ZHTgQajE4E4fA6SW0oRhfgPA0g6QmN7MjRjbxbm5EqF13RoN3M
gkcN2dkCZeKNyNW1EdeffRk8SwnW3raA4pQwB9FGdcWgByIbSFE21R6IHSgTGPxoQpRyEYXsDv0L
aFaJXyCdctuI/ir6eG2S+ANz/Gso26aOgfHoBFJqWWu+KqFxZ1DRrb/9hYfr5G+gHwXgMhbKQMeB
rp6i+EsIuP3OoAbtdARKFcKsEiiCAfjfMXUJ2JS+KFMldWgb9rtYh6pWqyVypt9w+SWsAaUwRGpg
5zEsf+4CvChSwE1iw+U8TxakDNxUx2xRo65CG04OWL3pGPq3WVWQPJoaSoU40nihj2d/IEALgD5B
0BZG9djR5qC2cDhQNj9d3+/h14+zmxM747kVklCJ2hBFQqUe++CJQhn0uoH/5Qj9/5VcXHfxcBPa
uO60Dfup2MBGO5nLwdEhD/GiX0ANL9iWaxDPB/tyO2N7iHzXVjc6RTXAiV2bhYbbpxEEaBS05goU
1WwmIWWktJBATw5tZx0t6AW2mr3EUP0v1pN6mQT+TGIxuw+jKA2RrFiH0Knhdvv8pf6I3ot1QBf9
q3/b7sHhZO9rt9pzzF5/qe71bZhKAExIweNYUdA+j30J/EckamxhuEAPoLr5mGJgtYc3/VdWxp5U
9F6v6THTMSjxywoPHd9ZGAm/bmPqEkc1Dg9BjHICoDDk6qe1uDysMLPg6S5cGpKlD3YcLzGL6yCh
uW5o+mv9tTRuhPWtnoIiA3kgvec37U7fsq26BVODmjr93tzYe3D13lbP9s6ckwWZ/FrALEFHCITB
GMg7X2MNjYAQmr04+TqELisAzwrAWfRyZisn0xQT1NAmYM4g9xrvpeX5OSmGq9S4LXbdptwEmN2B
6MhH5BSLcDm3rKlAg/6eCSQ6mpjany76yafzBCtiKbGhedyB9rxApVyFGtn1zza1d2jjABsDeDUm
QIfU+8QIpv2rPC+R5GEUZOOhFmSyjdpZ/2JlwFYaoDmGBPDoJFtRWKal3WApSeH6dbtnVg76FmWG
RnnqnYDIj0vHRrcIQM7zxZSmFvXU4KgfBHxbhvcMfYNmaEv2UIAn1fL61k16/NBdoVArwW03Bv8p
glrQL+t1VznwNyoctPQfyLP8DJ/tD4TL9Kl0yyN9TZ7V3YzlqSiNiw6MbDZTMX468viwqCMSpI3A
YFmg7P1tuU/W1tJgy9jfRNv+C5Q1c2NKl5c6aPFBv2/jYQTiuTEAjhiJ4bW+KjAtl21LAnVYzf8t
SgK5Lvsn4AqGQ/tu5oU06ZzI0sFOrSNvHjtnBaxYYEBK3U3iZ624YfwhmZPw+MOWO77wBg7i/2dj
WPfJAfDVKghoUaB3qlmPgWnytar6n53uN8tEVt4t0+p1XqCdCtLWCJIyeb7QG9TASF6KZcNT6BgX
OnNkKxcF0CIvuuAMcZxDJLq1f7RK39/GiXLwqljfJZqROpJ2nxy6ho6U+Ff9CrIoZg6KVMWG+lZY
x2hRsxsw+Hzgn/0swuy95npzbKDo6QR1VC2FRu+gUvZERLoyUnlTi3ije8kdhu5WSc5ubGhnyrDa
hHqw6UO+rSNxKO0I0KIGaKgqrtGQg0L10qqLCIAn8YyuJ5gnlRwdg2JJA5RqTdo6sU6DRWkWq76G
VEEVHyqQ8zpaVRRbjGRC8LgL7XWok2omA7k8wzhROo6UhgcLhmZG75UmJGqclQpz61xdNdDxjG8j
A5Lr2jtN3q4fo0v3gil0qsDshj9AYnT+6ZUKQkE285hL9fBYS+2QgAod6iV8JixNBIrBEOTccD+B
82bcWy458piGm72Lgv9nw+wdL7x7K86OacUDp+X6oWZQn2RyLbkOQceeAioWZ0szbvZoNySLokmK
tcnRINEt4c1sw+Q9c3ICRlFTw/OBl9xHsgMdKfZofVv2AIk5kHGoSKM7BRKX0RdFV7Rv0GlFmYM/
xN1tEb/mc2TflyjwkQ16/il5oldBAQ0RtByblbXvnzLVUbljLeHaoL/xjsE2WxEnXKrdAupdK5R0
Pq8702R2gLFAFaR9AzHZBcN8QFpoRmKZhQjIQkC3/EY1C+hjRt6KS5z+LozuNbPYySpYh3ikLDsR
H6Sh/TIqvrj+Yy49G1t+8luGrPA0qJVWHTY1MmdgmddKKzeA164RzmYeetNm/vbURl+2YviuVW5i
1/lDoz8WuTurmXHhnAPHNNJWikEuTb2gX2RFCra3Um+Qv3aAJOblD033ZpZxkSP/sYGe3dA+Qo18
lANhNCCRViUaF7OHEM7ald4xqp9zas6EtovtGtmxzr+KCQkC3/ZJ46q+fVf5XuPgAb7piDpXERi8
/exOGwwhb8S2YcQSpZhzQ2kY96qAtDnSg24ll9kyOfKtvjHWEer9zb+s6q8xfTR3m0NbtaF2B2hk
eQ9Bk0VQuW0yc7guLoVhQdDYQqYKEiMUzs8XRKUZeIlZNa6mhFCR7x6p7PpVLrvuDvRGS6tQwGz0
zSMEk3hNILujFDpj45Q1J5nShxjTcKEbf5S+58o+cEWfzTybpnwCjo25MYz14pE2OkJ+TFiTWWXj
UrGFVoBjaaBbE1/X1zJ1iJA/YfB/GFwAIfP59hkdcME+CeDg5bvqaQ5i00wuPLmMPxPDhjnBydin
4I0TtcndvP0p+BLQ8AVXfl5fxZQNQLuQ8GJq6pINsLYqC410zl0/AeIXOrl6scj1OfW8qb1CqBly
DwQEdMfO9yqLbN1PVewVRUl9EP9dWqr/+/pKptwZSpFIOjEkD/LM0XPIa7ugaj27drluOGmEUobu
r1U9XZHslxC/rhub2jaETxBSAy8BptPRgoiM7UJrzNoFt/YiC36UFUZEi39xgKFWglcQaK/BXXu+
bUGmpdyQWg3knblQ+EFV3oRHZ87k1Lc5NTK61rLKsy3O1dptmhgyDc0NMbwZqNWcidFdwFJWS5Fi
HUgD1zQMD5bUZ9LBya8P7QIMGho2mKdHX7/Hq6YjYV+7NUmPJM23fte9QZsH0PxWCx1B0AH6Bxc4
sTgs+iQdaFtugA2MwN/at5y81dVtY8/1XifdDAQ1A9QOyfR4DsM2geBlfVW7vR4sslBZQp10Fc6h
mKauahv1HIQxwDvBC3i+EjOM0z5P8tqNmjBcajbo2w2jekHFwlwrEUaJrm/cpTcgicJkLf7AICU6
N+fmIlZ7ShRFMCfzvUkC6nA8SmeStWkjGKnCZWOjtDhyuQGVpfiRV7m9+GrA45Eqc+RPlx6HFSCU
AWqBKuBFu0sUtsxFa1UoWSdQRsX5Fx+suWNNscRxer6+Z5eOAGMYRkMQwBe60MSMOyFsC3HZlW0F
fpJ+Y1QArcffLsOj1HhqZpRMFQXYMBDDwaPSm7umVh1Qs3w7FpybGDmboDUXmUkrN6nlupHWogRt
3/XNmvr2UKEA/fQgpIZqzrmDBaHBKrDawwQtfhYiX4DR7tt4POzUQEuDtxcaRRdlyyaVcdjSBjtF
Nbwk6VI3spkMeuqb4w1tggxY/2PkfBmaiMso8nnlhgwDbiZZ+OoXLeXm+mZd6r1iJUAfwM7Ano3n
3LkZUzEx3apI7nrFIQcPDohHtrK+E/LRkKCI0siWE7a1m3TmhE4tb0gHhmkAcPyM8+lchFYqtIYD
qnws/WJfY3Yq8Mnu+vImrSCzAZkqhCouht152OHfBp7EjQpjhTkUO/rFlPJflqKhEIF+O0Ak+sjh
UnSvTFNk3LVK6DX0oSMBvy3q539Zyl8rowvHrDs/roKEu7WmObWX74X/kjCyum5lKqwNz5uBIxnU
EeNSUVHmpSL8mLtM3BXBXVJkC7O6yeoXAK6W101NfpsTU/Tc83wep0qV+NylkDY3zBvaHfwinZmb
mjMy+jZChiKpDBjRlaOn2WjN7hOwBF5fyeUNiiEA6K2hGIUcGuR15ytBtTONeOLVrhXbv2ovWCXK
HW0BN82suf7WEILPn6GDrg345FQgJvHf6PbUwjLqVI/VbmzkgAb4GxaSgXoI0yoW3zcVv9WVaMYn
JpaHiR2CCDH0gy6evgkSaz2QuLHVasfzty4Herxzsdxv76KKUQ4LG0n/4KHOd7EzGsYjLa5c3gcr
jsKwnr6legV2rrdvGQJgEIkBMNtApgyF/jECJgSfexV1oXRTcDHoQlukGZiz1Bs+Ny42uokuDI1y
a69TIchgRcC/CLY3Iv5Uym+W8y9MjBIdXHVJV9sI3yK2X2Vr3nKlf1a6eC5cj3zgws4oNaBJU2qJ
DztdRJ1Sf+XdTa35GDmYJaif3jQbylUqriV1nLoZCuQVmpxI1/tqVuCH/wDjWb8lj9HHgPhimlPc
mjORaEyK/2d1wB2gnAxQ5TDRfu56UVmneMsT7oYvWbWUa7EC4uwot3xLdmzToV8NlNsG2iSLxF/U
B2X9fYfUBwAywyA0mERHQUozK4N4YY+hclat1JwdoDS95MDiSE35fd3UEIpO4sd/Vnpiatj9k2cL
Cau06immrbXNoDgUb9gm2NLtrDjplL+Asg8ZK9h+IRo/XhKGRntmSqDMxNHaBAvVod0uWGpLWywo
dQLp5NDABNf+NzOzPwvE3DFar5g9RoY+MhwS9GUaFaJYimesS0JAfdHOtNCmPHRAhACSYEP5ahzu
00jkhay03iX+W+jZa06D7fWvNLq1/rMIvPkoGuNoI4+7KL5v16zu0YsMG7qoROykADBp6kxcv1wH
2sYDTRGSI5QYxow7diiDwE8s7vbgL3BKQEBBaZjNGJk4W7CCg4xWxaCONi76URvDVIGhSRROAcnu
Ekdf1z9STMqZi2BN3z1/KZbQU/4RlE4TOOZXeJw73qOcBruJX4BvBTomMGNgnu3c51WtreqwotK1
8mBjacmN1bSdU2vRgQHQE7Ds6/rXG7ctLgyOMhvhe7IsOxjUNmCh/G2v/X24ID/tjbqKl9nz3Pou
vWVYH9Zlo+GKat7oDiBRzewcFMFu0nrvTM9WYBF8sss5gepJMyZeVQBAUlS+hr8/CR1m19TAnQAV
0kfPamMcB0atLIpnYuGclSGwnFgResNqCOBIVwGUkntPvQEBttl5sDGi4z+f6GQxoz0L9V5vixpx
0ABhzbL8H9K+rclRXOn2FxHB/fIK2C67bnbdq1+I7p4qQEIChEDArz+L3vubdtGEOTP7bc/uiEpL
SiWpzJVryYRv8oRAppGPJAZZExJ4XpshGRWSK/1nVwNGq9o9eJgj6WoHU8/c0B2HaqOI9UhyYTxq
DUkjHMWmqdE8djn+vQf9p1H3TXTZv9a2aPYtzlvNA8MoDqJwbtwe8179J+ErBbU1G7OUlmSsK5lH
5DEbgm3rZxuMUAIA2qyc9mII+n0Mc+7urjM7UQgEB1N7rCsVj8zbXN6sxcvv2ZgLQJcD9Biz74GN
hkZCA4XLX2ssGhI8ZLOu6cGnWYLEwC/2NJMr34f5QON/neu3zdlHFvktIHwNDmg4dGUo9u2p4CFo
Ia7EproDYZYeske1OrH+56cdYQAgRh3aQXjvznvCgjeNIadPrkJNrW+SR3CyphuMLT1Xov9QrYyM
jj933RoF9Zy95ddyIQHuoE4NOhVU3L5e2daspdOADBcR3gTp/pZeF/dZ7D4VYVdH4pBtgtj8Z8+6
XyZBF+OjgGiBSmg+TZCRjLelg8zaLD8ccm9XJxszH5c9Z06p8h8jePjgMQJEuzv/CjfElDqdWjyd
8O5ZQTDEbJUPbVXflmOZR8yr3m0DSnkQ631yvfw206o16alfCL+v+ZoP0UuUmgD6nVTOZ/dQp7Uq
WYdwmPIxSvM3iDhviZ+EvV1EEPmJy+CBAvdSgDfYGfYGVVGtVOTVKHi8JsCe2KUdjcK7bpt2U4oT
/jMcXLpTkEjBMPeuzH60Slz5GGMyqlB59EqrxP7yPi6FkrMlzEGMyuk0geml4WiArTnozLCrHs2i
XrGyFEnOrcw+8hhyczGdgwFpDrRNGdRtmNdrQ1hrK5l9132A3UVj4eFIGeDD4P2tDRmpfuUdvGwl
QIUcmAfUrmdH3mKQyTIYx3WqXwr5OGRYir2yW4s2MI8D2VpM7v5RvSaWJ4ta4P7U5VHrXwLttVMr
Oez0FfrDc89MzIJgxwG8bQNUCWqzGzHgT+8Rcou4MMBAV2SgSa5o0YCVeE16dNqeS3anpZ8lEC1z
WAKaO7wflXUjjE8iMZnZvAphhRL5HzVlRIfPf+HiZ2udJS2k02pHKdjsu2sHH2XnhrMVr5j+xKVl
zRKW1FOVUzkYbwQBBshZvLBnPcBMedS0azWmRVMQadNRywJxxzxjD5gmOegkhiMUhvcFsc1QpMVt
zVqGuiM4oy/v3eLFPbM285OUVyVUttBLdXzQfk1K8iGTlfoXORNW8/eaZl6hQNzPTMDPjxkbNpZ7
29blVlMrnYfFW3VmZOYGjRr1Qis0QOht/clPmg2IE75n2hryd23HZq5QuBx8zI2OgMrAdYjOpm0/
/4szmV7R0K8Ay+4c9Fuooc8yUQ9HYn/qGr7pgb1y6otb9duCPUO4gG/Ib6yxGI6BJ6OyZKHqSJzQ
t8vrWLYyTYdhFQEI2L7GglxI4Xk+RaXPcONAblVNYr1Yg7UsJkDThAwglih4oAfw1QyahHZr5Dnm
wVpQSYcF4CYnDniQn4VDGaob9dQ8ZjQ0H/756s7Nzt4BKe3AYBpgdXrz4tp3XvVhmt8vm1gKBecm
Zt8i3e0xO96jtUHbMiLjTel2x3K09xVvN5ctrW3i/CnQewyZlSUw9NX7VxUFU79dA606QqpAUe/Z
KcvXIbEiVWpxyvVTxguomttd6Dnli+hHd8VBl1duAfk+YfHQgP96poIk2ggnHY6izbZJ+c1zgXfv
Do5aASstvU+QOCPDmwYSTH22w0GLAr6qE+QtlIDw/ENJCEXoBkRv7lN9TVhw6T6AbBZh0EIuiT7C
10XVeTIOrupQkEYBBDPOIZW3GpjHLh/lmhXzqxWeOyQ3HFjhzRttvnnmE1CTl00sns7ZQmZPjlIN
buqiHn1kDLM3OgnLsosG+mCbz5cNLR7PmaHZ18nhnie4XaJGhtndTca9R4/0d0jYa0wt+jE0UHh8
2eJSdIeojwleOBtA6nl3wmO2NB2GWbg+7Xcd8w9eVT9eNjGfkv71sjm3MftQmSDQgKItUnIR05fu
Jr32QHg3DYFhUGUz4K16hfGbVb7Nxb08W9ksTBIJ3rG0htVxAK0Inor+6IJ2qgh1EFVRttI/X9zH
SXAVBc4JFjR56VkeKOvKKX2jxEyhGtqICRC0DOkaO82iH3qAT6LwBljjPFXquD60g9sg8sudJ4Dw
70gE2EFs6/9wFPM/R3ZmaeaIReePiaVhOQkXb7bUnvyg2DLlraVjayuabZvJZAKhKIY8kzgYYciB
PG2TPfhni43U691lR1z0CEzcoHkO4jZnDj1yWqN2eg+LIhXUUvI3Qzahi/+ZZ3ejtSZisfie/4UP
BJwOMMF59EtHCEs3JZYmJg2QN7Xrr8adfGnv1xkllx4/k9w8sKETTnBeWk/qvq1UCb8YPLp1euix
SINDGIVdlWPzRLvmzXOsfxETz23O0gF00kdQm1EwOnTfR+fKDpzY9O61YG1qaeliITDZULoHC8Yf
ggClLSB4ZCB1GxpMzqQsEmsyv0sfEBe9sF+zKmi0zHzQ6wKH9zXcgmqvefXQ2C4qdS+XXW/JzwEP
Q1YIEAqOaGaDMkvnqUUG4EVZXIl7Csa61MSItyNWPoeL7QAXSkhgJZnoLOe9MMGKVPc5NqxmG74v
dWjPdNfehom4ZJB0pzGUwpqry8ubT2/8ihfnRmfxgmhjx+3a6o/mLr0qLMxDhUke0Y226SJoOhVF
iPGriG2L22pH0Z27rm7XfsMcW/Tf32BD7tNEtwyDv19DcNoywylQ/z7mZn1VeL0T1mh3hY2WvOR+
D+AfnchaWvlK2+JBluAVXdmERVe1//4B89ITY0WZqhaHTPZtdmu9FdqhysBac3BA2YQZvwYNUB3S
SAHUqsJExNanFdyB3LYorponEtKtv7n8i5YCHhAU/7cj1iwBK4iVUhR40DrsnjvnxjZfM/TTi+K6
WEN2L/r3maVZEpa5FPhx5O/HLnvQCxoOqrmShYhYugYPWd5kwOAAI8Zk7fwbmHmVV+iT1lSulV3I
QPDkKGslY1mzMfPmErMQlQOs+pEPadh5bwH9cflgFlMizAr8vYpZPCBW5rXcwH3JX+gdP1o35Yke
GFTp7Xs/LJ/0J/d1uF4bOl0+pN9Gp38/y1EwkGZL3ivUyDiozXIE7fxO88mhW22DrK5vlnyBKkUz
8xbrGw7VPjmk13QD/qYIWfPWfdMOZUzjJFrTVln8DJ5t6uyTFHDNhOqiC7BQNr5SoXZ6duyUtW1r
J2yTZpvzp8vHuHi/gOSYnuKItO5slZXR1Wlb4yUO5a3S3JOyjjKOQuq72fTxZVOTQ8wLctCp+dvU
bG1FChL+EuNHR8x8hk7NoyqYRipXHH8+5/ifGIosAugrNK9RY/jqInrLkl6fvrb91j2IvyBvceKP
2X2+a7flHlKVh+4W0/n/H8F7CkV/ru+34ZlvjlL3m1Y3+6MTdnF+VX5jUH9l+2FPDtlKqr68lb9N
zU4tMfoaD4OmPzKtgbYBi2UqI6dbwzAteuPZVs5OjOeiCBiEr4/VNL9e1mGtv9nda1N8Y+2rPaxh
0Jev3Jm92eev12WCCQEcXQdAEYpCYPqbNEq0jR27+PZam2JTurt860f/xjP/3s55bQ10wkOHnAmh
zHmqvRvmPci1eLx8z36bmH3HvASYaGnUmEzoum0uwMxTYAjU7CKjH+KuX6mRLEb/3xtpz75lbChH
Og5afXSM7KbAho4aeb68Z8u5ypkN6+s9Sz2R1XU/rcgwTwM1D5UYt0bnvnogSe7NpAtNzTgGPWgw
8tx8u2x96TuAShPELzDqMfUbvxovBzs3mIGXSSkfcuek599c8lB1K9ds0QpA0NAsQNP0D9pClNds
YUwMB1LvwxZgHI+7W9ORsU1Ol9ezdKF/veiA/Pk17Pd1PYMiBtdHifmovgYHWP7u2eUpayE79G/s
TPQJ6DujUzY7NOp2OijHcKPBXm+EyvZ3UjhQpS0a7X+0NEtAII8pWdYicSv6LPZZH46tH3O9+hdX
F+nA3wuaOYItNADLIKd3tE12SPtGRr6TNWFf/kN241+flXNDs+iOrmDdj00KWg+zj2wwptuiCvFk
/TfbhvcvZoDRrHfnULnRSgLIQcFMHvT7LO8eDJPd96AHuOwHS5498W7/xwwmpr76GzMJtP+06ek7
vue9fRjld4Dcof+hHi4bWnRsECb+YjtG+jw7HwqOOXARg3XAArMlpGJ3Zs13mp7uLptZCHgOKlaY
ZMRcLgZ+Zn5dp76qiIIbUGYXeCG50Kbla22LhU2bkOQWMnYoxwBt+HXToP1r2tRDRighu22nQRFC
LDrG2PGPVDf/ISfO5G+Ob7nQuEAag4GPmTHKC6kJA9mEQh2979ywysE+O+gr/ra4pjMzs0882gCB
YlCFPmqm2OgtCVODXLnud4etOYK1dEbn2zcz1WZJq2l5oI4gJvmrSHweWX3RQ+ONIa8GUXyUOvKh
yunbkDUA/BDnp5B53LfwmzpFtTXJLGi0qZtc31XSO5h1fZUi5LesHKO6aQA4dvWdTMujnuFxajbp
gRj6wZT03jXNB78m735L/qo0/uxbyXcq+3ctLQ4dhb5y3r5oqPNHhvDbkLcq6jPS7XkGSIhCN6/w
QKas63bkUIFHLjP2Y6sOmP3cDwndW7S+VZZ3DWzoX7mNkp+RDPdM51fETc0IZZImpEm+rT1rr1HC
IqX6F26bBweA32gAoioqaJ6HLS92ejBeV4Tum7G5DgKQ/XG2Awfst24MwJ4gYkNvtn7b3yceJJ8d
Sk7KHhSw1lAO7UGkkjnZjaYm7Woi7rLCPXgepD5HcZ2b7gZMZv0m0XrwxJvVQ6+Cu0JCl8EjKqSi
v3e7YKP8GlOT04d70ij5i1fW1jLkXVrjgdf3G9/iu7JWp96CBrBWbOqsu6WZtSlzCAF2I7Boxvfe
MvZWl+zLpN46mnrTLLXtQDgOfUIssz1RnBz0I/WwD6ofqqeR4Nle0QaMMSWYYww8CPJrzUi3YAl8
syjZ60220YV9m1fayaIgsIeQOumSbZLj7Fq+pX63aTDpzUFomdE6NBRgd/j9PmgFRQnyacRqEZpF
fui6FsUqCFIbLHbFk8+a2LXLm861XpmoQ5DL3VEGvpkSGODQtNpd4YoohaiLsr24x+0DwDwsXT+S
EjwopnOytfqOgZutz51Qr/0rlM4iDyxPpWXFzFaRtJyNhOK25zYbE4jAPO+voaJ45fu4ao111Yrh
TuRkX/YfBibu7dqNKru7TqQR5uSlFdBDKpJNnjWodll1lCAJ0YOkivUsQQnxthKQh27bUOANYHWY
3zZOGWGxbv6QpIrcJNgJok/+h8/uGFYjjfuyejbcR0sYYeLkdwamrozxXaTmBtMqYTfuW8feoN17
7agkxtvntrWNuIEgeo2CT5+mmxIVqcBScQsd+KJqoWeZHxyzhMIChLOK4HGQZFMS+ViBdtkhkZmi
XVHfStMIITobJXZ2U/L3gmRRVWoPhECbpgUPvzOGmOjd9J6+M5PgKEcrIjzdN/Kt0T8MlBk7hYpM
HedlEnVoTVRIVorgtst/Dtp3h35AFTisahbWDGdRgwVQvFHjdhiuTUwhKMhz61wPefGDBR++vXGh
ET7UGx8V5TSLK9uJXP5Q+aAYh5L6jdXfJO6VSZ0oUdl1wjSQEYGiU3zLyzvbKsF7uNGtEy0PJvbV
EE3cB6Eabyp1Xft7VT0HECjujJORQ+wziK305GNMxoPUhf9XLgHfzuxN6RgbRxnPSauuG+6EhNmx
8kDSnlWRXt11wV+p+CkpGJLSDxPKOXUAH/4p7aupNaNDCyb22wNzrj1jm2hRXT/REfSM7JYbuwav
JZczKM4+dcMht2M7f5DaZ+U9AXE/8jysyKNnvbcFiQjI4ov+qeo3jgXIbnBTsIPB3/Mi3w71p4D4
iZ9VYV1ZsesnGyiQp2AoBQmjJq7N5L7obzGCSCGlPeYEzr9V8mloXhPj2aueRv5MhxsvR49KTkLC
3zqK6+3AUZNwGA7cBWXUrjWeafZiZI8BJM/w06Xbgr+qjOrR3jrJTVpEA7gmOY/73o0kxbgwqcPK
+DSEis2uChO2Je0D1F9CiLxtQKYdVU7cop7W4+GIeXfwS6WhOWJEX9UgGkR0gqaKZdAHRS3Iur8Y
tX5KVLpJSxk6xZ3srwUE7yeidZWwTen97AbzeujsOiwAdU7yLna8ChxWgNymYEdyv4G5NzKKdl/J
t1q7l7SNRu+OFGBsbXayvdUwbqZJsQ24imwIvEcsYyevkE95l+x66I/b3DiB4O+jKusdZaqOiwaS
LMS6z9L+Ohgg2uHVxnVKkZ0B3PaeOOWdNNq3kiDI2U3Ot8Rk204HT2xGCUTtJ8UB2bAfetfVIWRW
flh8uFZGkUPr0/FDpuH/BoM+4kRXXwcKTWzwGLhhF/Bnx1bXroKYN9TuK9t7YdS/G3UwP9dd/jHa
mJWTmNzldgfQY7avR++FDwmGnV33JsmAzsXARFS042Ek5UuQeydSBSxyyn5vWfSHbo04MKcIWatM
zGC3D05ebjLb2hcaj6hPHHwYUL2wxBrt8HLCEXgoHk+UEHMCTdlVDCKFvDmicRH6QCTUz5ezzoVH
PRLCvw3MuTOV4jLpfSRPBaZNCv4kBwwA8xfNHMFDZ6+8dBYztallikIdKPDm1E7I1nsONA2ebsN9
lyOgI1XRCkh6BXl8eVnLlrBr6EGYHgqDX/NcbWgrLci6/gh5pAdvaCCE3u8Kw9oovr9s6Rff9Kxm
hiwX4zTgg0H6Puc28HWVplLhHRJ4mQeSrN3YSb63VK3F+Do1kQMAUmjmaMe0fevF0H1IQsMt7/DV
1w6DNLywSc1rRzjllddCw4DgG49PN5I0V7sSFrI15Wqfuke/ZzJlYWqr286tTz3IlkKOdlrYSj7E
pPOK0JLQo2rsqtjYhI+x3ZAXMdGUaMyJuTBeErOIxXSRZeK/gzfXuqpyt3h2lV9uex0k1rwAjVoC
wHgF+2yA4FItWBVZeVuGcnDzKwzDJpHliG1Cai8s/RJZEGMcuGLP3AYCdM2VRHOlSfNjS/mLSPq/
ClmgHWoDF9XUIGUjrP2ZV96tPVofeEAg0ylGFnYpCPuqrEBmMIy7gFg7YLTfBi2xdmOSlCDZwwc/
pwJEuRr9uHyCi75y9n6YlezazGryoh77Y6u/D8Wr7+YHlz50+PRctrN41X7bmTemNARggmlEFFf5
fWf8ZM6d1N+L9D5DDLlsaeHFev7wmnecJAi6TNWgTG0lzzncxLGuVfv5v9kwv94wC4SqLYRG8Oqy
XjAIEFbWSWNrUPjlo/l9t2ZGCgvOPKSYussrEZHkp0aMuM8A5v2nUgX/fauCmmCKTbjJMyfAsC51
cUfhBOVRdfcp+Sbpz8s7tjQigmP524Y7q1jUhqiJRAoMNrmwfrG2BppMdpjENlJLyD0mIFmPybf2
x5rg5PIu/rY7K9yWXZCWKKT0R4qkURdaSFweNkTFalx7IePQ/4yFvy3Nzovj+6ppfobSjwmBhTI5
4WV8RZxuZVBp8at4tpGz6J4RVGQHD25B/HbXB9odCLtW5nnW9mz6CWddujQHDzckVSd/+EumfOPK
A+tfMvHtsk8s3tSp+ovZ/qklOP37mRnpc+n5WdsfU9O6s6sOSbG3c0SzUkxfMzOt9sxMaTILMR4b
1mJuxATZzwAsYOasoW3WzMwKPibyVL2ViAkm/2itKgSOMwSFWXh5zxaP5mzPZkUY5Skh9H6Kbuqa
sqNQdtQPz8o3V6LodOX/cOYzO7OQoLUQHAR+AfEaMhqQFkRGHmrtB58eBONTDmZMjX2/vLRFx/4/
k9ALmUWIUvqJxIenP9Z5u4XyzC3BrMZlExfPCCZmwaDVNU9YCo6d5NZtYMpDrYAm1/txxeXWljIP
BaDn5UUDX4Ba5C1AP1sXlHaXl2JMf+OPEwJ781Rf9CZh069unboeyUkzxYG9lcXdfrzGE+qz/8SY
+Wsar+E4luA1YJP5bW52i2xWj0THAMvRTIwWRYRqn9f9e9Z0rwaTIJdF4TvkRNw4WnqwFTrrbNxQ
Qra9jTkU4agqtBRedtbQv7d1f1dbOqo46BbiOZMGK5dkcfvPfuvsKlIzt8E1WcF5IaCmgu+DveKq
SzPeKFYjZvk6KDX+gEGqrEo1WZHmF6tAdx/oYetGNfTwVJjeNnGwG24mnJP/oF4rtUmMzdoI9K9i
9R/Hf/YLZjEaAFBk9l2G4PkyfAKICQaj2/rW8cLh3ThBYkS+yLvxVn+tZaivQSYXr9GZ7ZnrZXWb
EaJsMDVBECoDTZvvfA4os6x4+GKsOzMzczkjTxiYDzVxtG/Vp/7ivgzWNv/m7/Vj9Sm+N1bcPoqP
rA/XhH3W7M7cR+egU8mGsYIayzP3D3qKWop+Q8GKcXmBa9s4i+W2z3SvpogSGX3umkfUy8TaC3f6
E5e8ZBbGjYyU0IU31VEfvNBK3kr1ngZl7KA0FCTHUjP+BRT+/GL86jqffWwDZZSFaO3qmOnZTUAG
M9Is/ZOIaoVWbWnv0ChCbQgNV/A2zc6I6KxrXPQAjlr9JLsPlgI/+3j5eJaiyLmJ2fEEicZ1SA/j
e2TrWThSq4tK0NSuePnaQmYnRM3Wa/QRUJDe+SQod3Xl46qI58pKfsX2s0PJ0VTpIK+pjrUxfvdH
0sXGgHL75e1aWAgImjC1a4MJHwyr1tfvkS4D0MtToOKA0UZTSEScg+qd/Ysm3hczs7iXNQ4nvoZL
07BPTCWHhboZ4jxbW81CDPhiZlrt2ZZ5et463EB47QKIDY15qCfNjsiXXKv2l/dtzdIsyqUDhikH
Pn2sgA0Nqn2QVhuPitAKsviypQU3+LKm2Z0RQTtmCUe+nQ3Zlg2gwUFz6LKJNSeY3ZmicphllAwV
NZBZDIUMS5Sqqb6Gc11byezSdI3MA1tHFuwnd3gWgwpsTf18dirIyUB2i643aBQsvI/nEOa0bMsx
cPP+hL5RM97L4t62fw7/mNV+ZmXmzKbgaT30iTp1pYGOKQ0zqYHk7Oc/OpT/rMXWwUOpTx3p+Tur
qPmAsRBY8dGKplkeSy2JKHTM/jczM0fue0gRsS5QJy155qq80jUSkuwfSzBPW3a2mJkTM9TT25r6
6uROw7PtFSErLjz9gbNP5n93ywJUHiQ+f2pHVK1QZttit1g1glXiqbEwp6kNUy0dPbTkn93JX9Zs
JPAgkphUY/9AjNu9IdyqAcbR+tHUe+p6K2F5XniBBTyvAcaHL4OdCmzUXyNZz+mYEsH708TzRd3Q
uwd47Sq/TbbkJTg1T+WWHJyVmPbnHk5P+gnUA9ooQDhnNr3R6QpNZLg9/NpqHisjwKP72lBWOORi
c9ntZinOtD4QB+gYawVxBPAws0gNrkPCueOLkzuWt70ajzJI7nPPePeBWPHL/FiVoKa5bHMW5v6w
OXP1FpqwRjO5OgYt4iT/MMxmUwxrpatZlJusgOAZVOVYHmjE5yxpY6U1gwXNwJNSGLbS/Y2n+Y+X
F7JmYhaAWt2n6Pj7/JS4fWShzdL4aw64sFcTTfUE75mEcedDSJoYg7JrYEJqNBTqp5Het/7T5WX8
EiD+emmnrcJzzITgmvkHYyPeIqA/tgZx0tA/Zln+2HntT59X16IqPljOYlWXjy1zfwyjlGj41ju3
7re6Le+r3jPj1nCuwUzbhGkxYgSXglql6b0H0ZfvLc+N+PKvXdoRcJxAbcSaiKHnQ9qBo3lu2gpx
ssb8gPZJLGl6oxlrVbz5I/WX/5zbmXmptBJIcLe1OMnY2PofIxqlN/QE3ZDI26m4AqzlKKN8m314
N/nj6uttuuPzIzm3PgvULXg7qZbCOrlxd92TEaYbZ1PelHs9FrC6Zm/Jk8HIA3q6SYgHnKFfw5yJ
0rKTQGPplAjfi5u23BPuss3lk1szMttRvUoNR1gwotLPrrpOh4fLf3/RM0CujOl9aDmAi+DrIohW
qqAEddsJ7hG5qokavOyztVnihegMDZSJ6AJ4PnwaZlUw2STKlkqrT6nOQ68HxgJcOZSWIeFi60P1
8/KiFi8nqChAuYe5QBOky19XRYGMGmziw/VG9Zroxjcns4EHB1rDd0GLQuhEG9Bb1cbpk+JKM4m9
TS3GQyHTE7X0DrNwvgi5TXaSWMVV3/A7JAG3GpowGCPCiE+FQkh0+UcvngRkr0ERj8fMH6OT1HAy
Rp2An0bUP3ViRg26ff5aZjb5yx935MyK+XVnnIIFUPXJxGmQRQgM4dbwHiXa9Q7UmS+vZ14u/E8w
AGs26D7xSMPY5FdTsg9KozZVe5rkXIYX8UjiLuwiFZM0lLu1Sbil7XOgcIjdQ6UN8lJfrVWO1aC6
YfITNdi+66o4CcROW8MkLm3fuZXpup4/0poeQ90qK0+1DWSX8daDSqXWbwJ7pWy8kGIgh4GuCijV
FnixyMCkVvCEAQwEerNUBydr0RIrzgyvDa2+vLMKi0egqs+2l09tKd6cG57Fm7R0WDrWSX0iPqjG
CrEd9GLFxKJjnNuYOYYOMl0idQZU3p4+eFfJfpqz0aHsXEVaTFaulbG2lbMHIuj2Lb9L2vZUooQY
Yma5DkvuR22CNnpRPqeadrRatgf8IgshLfBdT73IG3WgiCA6PNqA7dbPknqvkEKu+5XO2lJcPN+J
2avSVG6gWfXQnoZW3dQALkhlgQz80TfYiTfDysYvXpHfTuXN2h0deHNyj9XtKSuyWJUnlt1AlSS+
7EDWr4mAeYg5W5Q3C/YDz/AoS6b0PwVJkygSXBRwOdQusqSQZzXKG6bUgggyFSjZ1BAO8JTZ7AJG
XghN3jvwqN01RX6VER246RGvYQ59u6QXe3B/v9saUNR+4QF5RYAtbJQBqlsvf60EvdWTNv0pVJsC
4ASIGrCwB60fXyyju2KSgv6jESGt+u9u2geRRjC269Bt4AoWj22V7tsUuAuTFJ8So6KdZ1yB3OZk
euId0Oo7IIRPLlO7rsqLyAUcuABsFirceK1rXGENOtlRl01aFfg6yBs+Dhjp9w9OMUaFDd5wACRJ
1f0kHv4GzTeuNgIhI3Y9tNbsRL1omvZXm5c31E02vNHeWODcdgbgiKIiV36p3dngPQA51TctCHY8
SH7aQRp7QRF11nCfKcVCsCKBAlXKfGP3Tr1hkJX+YYpCC6VMKHS/vQ74lsaILAuVEpb2e2PIwB+o
Mv3ez4vqpSlbsa3ansTCUM5N1kPrjZYK51SLCNKZdEMdkF77SS1CR9FnxwXIBkwaxYZQmX53fILJ
MkyrDGFLtGLvub4dtWBpCDG5SsN0VFkMcj+oxlvkZ1PaH34r61vDyuX3cvASN7L8hGytpumvNcAd
wtQth72u2c0BqLMqrn29wdAmmGICo0Yg1DVt4wvp4MEsfza2lwNom/4AVcUn7Wl2k+dd9zpoWbfr
zTLYFhlE0Y0g1/aJP3SRh1wkcsux2/dZJx555ga7xq38Y1kloowGFOKimmDDbYt115ZPgk1t0+66
1ToZ0iKrYmcoXgpCTm7qbI2RvoySQys8MdwdmJrTq2EYoJlpNpB2GYb8w1HM/Qnv+KtEsfrg0enb
2/RAvmb5TVnZOfSomzbsBiy7TBSLhRWge6WPD52fgzmwKLcm5c6WSX28Elz/4XKz2gyZpYEiz5Bb
S4d/WEUK3J+o8y0j6h6kx5iiQjdqkypypwalg1isHSMOUmXcl7SIGecPiRzsuHEhQ5IW+fcGqJUi
B3oWsjQ/SBYk26byYlP4QyQ5sJStp/2EGMhLElS3qV3eG1I+OKMH2XkKlU8z10xwzXk0xOWFLlTl
PhPHYhEd7VuukGIYhaVQmVNQidC0nSE0A4HYcaKejNclxpkAk+WR7qX4e50rQuBD0NJusUbIUApA
nmweGrniUVaRA2Q2gDHmKJC4lf6aDxhChYiYH8JV30Qltxrk6lKZv+naNHvD3D6GKPeVjQsZUrA2
QH2n67dWOd7xoDpUZm6FDvYdcFL8jUGVVlg3ho7KFViCfEfe23r17usG2hgJ+CeTLr/Nudq0eX8n
HTOu3DoNPeLRCNnvCw3AY6uJV1+QXdDbD4WuPfosf+pHib6B95mZybcy7568gp4CDm1TSxubDRuT
amfj9ECsKNtoQAjZVjUm4aA/0e54j9kH1xuwKyR/MgzgpR37ZXBBh1tl/ZXH/c++Vp+BWdi7fqi1
sNepFjtcaSEz+B1QzT+nQbQi0+XWG9MsSuoh2TuusCNAoPXY7lCw6N00jUatqEOz8ir4IHJdc3ip
FGNxU7N9Cwko7Bl6YSkkK/LE/DaY+snLzPdSa+gGUm1aiMt1QjgE4Lg5Vkas8a0jC/CzJs1rr4sH
ahBThsTjdUxNwJcKowY4Hi3y/0falS03jiPbL2IEuJOvXCVZlk3L+wuivJEgCYL7gq+/h30jZmyV
woqZ6e637moIIJBIZJ4llAzLZze0CEVvb2bszdYuna2iQ27TnJkGcQWCrZLV1bUjHfumruUY2jzv
UCbX1Z1LzSwgWkYl2iZme1yGqnlhbaF3vuU0GfZKwSClX8Phq3HvciBkxeA0Lw2YO8d5qAog+Ebc
wgsMbQuUqGvAGTeOneoxyAb8tTJzFewKVbknitBvxmF03qXTVJGTVnngTKwP5obrQK1gLUk9ilig
8u25DdD0ogNLCkpvcjdNivQGjd1BQ4RdaP+fudohAY+6CcyS8ARWT/JSsky850NZJSl3IumoW+zr
ewgJxL9f7v88nE7u9h/jrL/jW/6bpZmJfwyetNj0mxJNMBUWEL6llrjdpNzLzD1UjB27Trm103yv
LkvYSutTzumFvO5Movrjl5wkqs0wVt1IdA5kZv4q10LSLC+1/M5OF9psKMsCpIYqz0l+JqEMW8mC
gjXjE18GYHqkPriPvgR+rHhfNpfk5s5N6tt4p6aUC1PRysyHPEkL4Xf2nXLZDX594J1+we9DnGRn
vc6zWnRFkSxCuxsbuHlmElLxfYaqUOd0T3irw8KZAktuDQi4KfiRJjdiE9XiC3vpQmJunzxFS6B7
BZucMVkqjrM5PShaEaTLzUSW0Cx7lDdJgFrSbsTbcWp2NjVfWwGZGnltoseXiU+kYp8VyCu//64z
R+n70+u0eq1P09IhteyTpilAzEHb2gDWAYqq/9swJycWzw23J8LpE+rkfttW4HWBidFdMk46Zcj/
8wpHPQEoJ3gYw7bv5HtTusjc6fGgGyPjS4866SlPxQ5lDp9tyXEMU3+eN9XDf6g38M+wa4a3lsdU
WNCdPMczVqduX5djUuDbKt3s2SvvIvu8sIhnHlAm+JsGGma6C273STxCfpKzihciWerWAU9L2XWz
ZYWZxZ6HZvzDnPJAuDxqU6qh7KAfQbTqfTs1HhsTOR2DXPPckK9Usgcbdk+zKhK9sz5rE+nk1Kc3
ekFyUFyhPa2bdajP2QMZ5PVULm8zZUmdZ1HZj21QVvkcS5Y2/pLTTxSROBztizGYUOr1kIF02LR5
5hVVEWupXQVpDjkgloJqVrt50gseDrSYPcZt6IDqxh+no4lIi9eyrO/xn0bCktsZP8VHgFh2SllD
ZajSXCT7pX4hrJ4NeQ7oHfCqWPuQfwHWZgUZ5ShRRN1Ofwy/xI0f5HB9R8TDay313QAQ+d+/4hpF
T0PS9yFPAkEzLFItHdImLcRWR8vwnfSptvJ9lvlZ/15OO7wngt+HPLNvMD2UbUHkBBD09FQsfWp2
PB+bBAACjw5vpv0K91Svsy2PXNI3PBVFW8+CrcKMdzXmXT06To4g6dOcLK7bJKYno36L99/mfQiq
u8tFsLNDofgFAgs6EyABnwylG0umaflavtmaUX+ThoW/fjtlVyaX/GfOLeH3oU6+2gTn3AZzbhLX
AsgOBuXcUMH6yfC40rCvh+PvX+zc1EzIJUOyDOjdtVn6M/VoSVuoyrhUycLkEIK+c4XMPGqr4Woh
2rsujAW5FkqLK3fcm+r6TzqS999/w5kb68dPOCklVepIc3RSeNKn82YROvcKJOpephd/kJkteESV
4Wj2/7EPKnREUZ3X0XGE6wBebj9nTiZ1gdeBzZPM3mZFGhMdophO/F/M7dsgp58TOuI0hXFkIoh4
pzNIwtOaN3OuHAmDFns5aztX9BdAVWcSHgiC6DqyRNTqQQT4ObWKzqYq2hRF7zy/7SdzVboDNeX3
qa2p4El8gXGCbgFEh6vCPO14V3lqZVB+Apmui2UzIj8u8IKmV0Pd/hefCl6SkLqDpjMuvtPoqS1G
uajMypNRV31lHEPi8mA08wvh68xGhJCWBTc89Dlt/PVz2UZtJtMiiyqp2iZw7dybtTsFjQ0yNlFX
3ljy7fcVPHsrAGVlG/9o5qun96w9T4XIMqdOStTWvcyXHt2OSINB0tO82k8vekydiS4/0vuT/IED
lj1pwPYk6JFWIE+acMwEYb+vJhRhEkqypwszPLOkeA9BwxpThKHpqeyEZuAAuK3TJP17elBurK/u
0L6oG5jUhMa7vYN42PxFAm2jBBeBtevROtmfP4Y+ecrorHI6Ba6QiXVdbdONulH88grcyLD1le3F
0S5N9GTvGA7L3IpjtBF3UbalMWTRNnmkhFagxtLXItz3IZTbg0sXxrlNhHnaIP3A5NBG0/Fk13I2
SZ3hxqhRIt2ihld5wPiTo9iDxO/3192be6G+rp1f2n8NeUoCE3WHRl6G+xATNT3I0gd50BOvjHDZ
Dw/Otr0yQ7Z1E9XXAt7FVaxuoSSRxRc211pZ/+sLo7MHeqQBG/hTEVadN4y7ZYeuG/RRPRNunF0x
eYM4Gri1uOMcyFinni5i4OMuhIrzq/7vsU+r/lqZW1nRLkh1MvPPSD6b7qnhhY/A64O96y2t+uCM
5l2hOAghZTSIZ3ZJ4vzcIwSe9AADoa2JROhU7B6qa46W5fjybTCFZsQghZxF6tUqd4ZfEAy3/cN0
dbHzs8aIv1f9X6OeinSJYs5JW67nCvxr6pbbtrrSsqRXhY/ykU8VHugmkv7Bw00XNh0c4C+2Q87E
se8zP9U4Lx27MlOtQudbhbxH43h9DYWD3kxQPWL0AosKcr4Xpryeh2/1mdFUp1ojHFOu6Af4CK0n
exkJXkZMMdHbH+J+zO9MdfnjLvSpcjLTH6QdZpSDttqxcatqMnRZdZTzcMir8qVyGfQLZ77NzfRo
yOWo60s0ZsMB1faHOjUftGEBxA/9dq/T1MJDWkj8ri8PTGdaoEK8OyQp9EVqbTSQLelQQWrgBgZK
jBHAKH1ruzIRQobjJEtvcvEtRpMvXqYoCRgPZtAurho0dotrR2UQnEihHGr2X1NZ3hd2A0s9FAMj
NKAh4UPHzrPbBpXgrAtAOXwr7PmgGPZeWQjQhyLNIM8KzQCjR7wrgAeAcW2/Q8mugO8zewKtP4Jw
O1odQ3O0SuPA6fBcSvcA4BnMnlzoHhAn019y4YSGWrg+8qOQE2U/9+prPxeOlzNQ5GFV/Da24LqP
tn6Yp3oHBmC1WWjWhovZ3mhWcz/o06fdandz027JQEKYctwv1Bx93EFXleocRae8K+7wDljgbVYv
W1A/92qn36NvoHr1mH8Mdn7T9vWjaqX7rJyiDqoTFjP3eZsCcF/FDFT8MM/b20ynN4VpgZxRGfeZ
0oZpL25mJ4VciWSIRuh5MoFfrXTT2zhYV1AF7DyHkiuXzlunUT/yTqu9dCI3RTXfSItEDp0mtFrg
iNI5005BT0NReGJoAq+nabihpAS5uhl93UiDjjIY5+YQm8iYuF6o/ZwKsoEW4d4S/ezbi1FHv0fa
M/nkj+N2kjakXK+lTvo2cUUV6y3U44ft/zbC+gu+nTDhdnAtr2AcCh05k8A2sn7+fQDtXMf6xyRO
kmIxMWZ0llsn1HSlZ4kGdNWqupLu0vjwFd2LxsJpa4wtKghx1RYbZ7J56Er6aLn2/WIo0FYAEMxD
qxUt7crYVdg822IZPo01r2+G6QtulB+8Th8taqDQaHAI9LZmFY0KtbdF4wwoUUBevUZ3LGTp0hzB
fFjDFu5G2bbPmouHTtb0t2DLPDp1tgc1CEoznTjM2nBl9+ShA/UK0jnFlSE1NBuLnvt9zq2dWnLu
6329c0BT33RNsxWiqMDmWQyoaRd3uQXVFrdoRuB4zSu1lgs69kN9Pc7uh7Fo8WTIL3XpH4tpuaaV
G1i1AXvLJSwYSephCVyRhpqCuiHqzVVTXbstv6n7jIaLgsbE3I7hosur3Mz+zEzfWjN6/dOo7om+
hPVifw1mce9i5UyBmp9pl1tLA6JzLo+VocZEAhMkRf6BJPRhLPMN7HojNc/2hUsf0wmCIX3b3lRZ
DyMDqC0oJQJLpkOepVjMeMiG+2WV/qEdrJryUo8HM7/NsYMgvUQSWE1bnmnOH4BHarFckHAS8Yq3
xAzPMf6SNjQh9vicpiSoUlA8eaVcL4XcUG0QgdTSQwMldC9v53eLVKD2C+gZ6QiGXlqX1yZw/bWS
w8dDb8oQrdet5lTbYcHuhRoFZlubW8KN29oSr7QeiFeTdNe0XTRUGjBRhfhM+fiJrQKZmALqtkv+
qFJz37ZgiA9QLjCcOlDHDM3nGh0q6BXd0RzNrG7gcdmoO3Ukr2OpHY12+RCi81EgiR3oyXl6ClVu
TrBTXJpvpc2FN7Il7KV2gJaXhk2sfkLc/aFqrChjXZwyk/mNXjyQTto+ikWBAUOyoIUrlFdNEBcq
FDVebLKDh/tzV2YvakE+MpPVHsn0K0o7NRgp4DS9A4SVEMpt3ZfQu1nwUdopg+4DAbu1gmr3kr1Z
Y7Z4lSjfKiGiLlXifm4letLslvTzvh7rL2k4L3R2X2o4nPoIqVt17q6h2v7U6dwNf48J53J2oNhQ
1QFAFwzAk8wZ945aaRCnSPhY31HqPNUFtnSJJn/e3XExbBalvpA3nouk34Y8pVUNC+31wUbKOgxw
WF/GEcvhppeMDc9NzDKBN4ZsCKq3p08CW7P7UTMoJmYpV0MJkajWVWzfEeqVYRdxDkOpQGboS/6+
nmcqjrCA1tZUHA9octrXKZ2KORTubHgDOTt9w2O2NSJjcwmTZpyZnuMA0Y/eIBibf2HtZynQ4+hQ
3qjZ3Ht0Ka4zFehCXZJ33RpTyCAt9ynnrWd0UCcoVGGCk1EiJimQkTA0PfX4OIeLbANqdVvZiihD
8oK2Yqy0NVyLjcTV5zeX8IdsQr/dYTlc1tNyr5mdBVU6JLtqCTF8G1hkn7XUB+vrqFlWpBsW2rCa
+TaUygGt8I+8dV+qtrseqbtHBfEmY/RmZrA51IxZC6wCbYPc7jYQtESPdxVK+/17XHogGCdPYLep
OZOOUid9JB6tL3Vvb/A8iCEv/dg+urvlqG2mjXoBZHc2WYbVLsoZq9fCqQQkaWYN3Au04RWIlqm5
ddWu6AUFLFzIHsET6fc5njtQ0If512jrv/+WOHBbowMDuiGB3lEASXLP5eJS/n/2nfltjJPMwVIz
NbUFkhMjFgdc55t3M1ZibdNdGOjSyp18Lsj50bl2XJGAcnF0O3rFiANR4trM/Iq3l3bHOTiv/X3p
TksWMKuzzL6tky4czIgk7ID+pOjwiA/Ue/VK8atNFyjJ4sZ144/iSg37VxZdrJycLSZ8W931tH/7
gpXaG0U90jqpl36r9/A1EPCNrERcDwf0/Pvqketa1NbKoVdW+dpMXLgG1s/314MWjxkTfyN8nYat
nED6WYUObzK2pmcgo4G8F6x2lwvDnC8Z/Huc0zZ0na1oI6esk0Yie+gXuDd3QkAwku+HJu1DQSTa
otOMjngJtTCNWYjY/IlTCN9XZXohOFyY9anprtMsqavmZp60aDRUKfEgtYo0lFw4n5eGOXk6N1qt
tTOcLBNot4TwLkzMCoqb3Lrwfjif3X9b3JMnCkVZF61FTMe5pgk/FJsilJtcRTs2vTbD/JEEPGCO
R96GTf/yewg6VeD+pxOlfxv7JAb10IdBpxFlXNObwvRK3xQxIC6HywHibNnj20DrYn87Kss0THiD
ricWDuau/lb3AwrTSiDIEvDx6/dpnY2sNtyDLR3tIbScfw42Z/rc243AsbDEjQFAe2f8N4V9Gyau
/xrj5OxbFMpwEoJZCQTnfdV6FWoVqtklzarzJ+/bMCeJHrOh3YtekMDmcG+qW9UDGHMDkcopgOZd
WMUXa2RnI7mzts414C1wO/1cO3Ab+7IaHZGQxacxZAzj8o0lWbCWRQGn8+vX/JWGl6gz57YHEAm2
CnXfNTM6+WKTWPiYmXabEAPsUzeLpPjU2saHojocy95/3x5nDjaUsWHvvBIS0S45OXB6aQMuiaIT
LqstsPs+WDDBWr/4fZS/FxLdA7R4NeRPFloXJ1NyOr2kdMo1CHk2apwX5Ra0dxkIbdQ9KA5d+nDn
hoMMAThd8OFYeZw/v1vaEIBUlFlF99W9Gtr5rePw4JVDAsvs/0zTHkEDPh8udLrW6i34qSd70jTG
ISuRTCflpAdVqX0Mhrsruvx2Li8QYc9OCobMsIQ0zTV6/JxUzdH5BS1QBRCA4dkI5Vj7tUkVqEYk
v3+sv/cfXOtsG5gYdCFW1NzPgTicJx2z5njc9LDt6XaN81wWpmc6EIcpLr2kToVTsIA/R1un/S0Y
Vupc4reAY6VsZKRH/YfY5RFUeyO2nQI1lK/GhgWlLza/T/LMTQOyFUTBMU/dcuzT5QTkwrJlVwJX
EdRb/pjd21F15LHim6/WvZnoX6tgTNf5S2yFvw+9bomficrPkU9mXKcpQ3UdI4/tVtipX04MXotX
dhlLzq50xkJ1uLBLz7COMSbELomlqwTd5JMT0QNiiNIKVrlttzC+6g58NzoRzIXetWjasg9jjzfP
5F2SKfp7z/4c9uRKXYjaNELJ26SrP4UEY4ve6S2aS2it/L6mf4cxDITmJBTrwWqDnOfPXdQUdj1W
VYqBdBJQ4ConaDaP/CJt69I4J98uT/Ma6sfrOoLD2W4tf2kgmtdFloeG0W4Oe7+OxdPvc/v7nfxz
bifB01AmRbdqtOlY/ZjyR6ucH41m05ItcFuhqZWX2oJ/v5MwHuKmpsFcCEfk5NZTq8kpkYK1SRNC
Pyoa4hHAo+qfy7Z7JlG+KYJpQ/Y8SiNx5XDv0vk4v1m//YCTZFPrTKOeJH5AGxg7SBMGGD3dFX6B
RYdfXZUoQXZdXFjlM69s3PEAzxiwJCDQazqZNrEZHwBAEyh7jAFOydbcmE8rRmj/BK126uU7N/j4
/cueoQRjTAOICJg2g3t0mr0vZj4y4cgmIXHxqApvAdB8uzwwIAIP/W58pMdhD6vSTXfTHLPEuLsw
/Lnd/H34k4UGW8gdIGe2ZrxjsPZ/AQHZZEGBvuMUOBtxTC8yzs5FBMfSEIwAa8FT7eS+1DnqvWTC
KkMdAA0ZX0gUXqC+bOCG+X12ZyYHYBm4564BpXjj1PGB5lO/jJxViYsSOCPobVWzHlUGvaSx9HeG
bSEpBVEOxe/VMffkfObNVFBL60WiDUZSEb5j4hK26q9Vg0b+WihDMmOYLrKWn+GNQMC3bmcgZxpO
y2DRwWXpHc3TMhXi4yL4feHU/0fC/biiMB5uR2RqkPbA9XhyFpa+HTXdYEXC1zIbxHf2vGBTrKYq
THNXuC+EUtZqpH2HJsjsdXBj8rDUt7YwXtquAA0qvddydL2atPiA+usN8E0QHrbNL+J2YQEXIH9W
8w+qjqCnKMFCB4gJa3PsTJDdyBXPItBKE7kOzOH8MFltlJbT7QJ2jF+2QL1M/XGsySY1wWEZ9Wjs
C8hwA6DiazK7o0A17OE42HsN9KE80tc3tK53WmE4YZMjHxTTrRSj42vcuOu4A5IURDm8xu0hyg8m
+8aiJIb5NjrvdRvnrqijuU1f9MZBD4E0f1pt2sCKAk3JzpP5NWhIoLTdujCpbSt4nUKy3PW4ZXMP
mmyx1rN9sbSw1pjx/Bfk4LZl62lLF2mkfR/c4ojGyTV12UHTsy8GeCnEUN0xgPtKiFWJJrs9VLlG
PFr3E/qs8kVn+b07wfy0TW8tvVvJyToQRmO9zR0KCo52R+G6Wo/LQYOPaQDh641lF0mndr5NsPep
OT/wioV0QLGfZenR1IujDTbRKljiI2nmHhkghVxW805dYQ/UuHfhMxfglSfX9rLl5wbEBZtsMbxc
dOU2V/nH0LM8gpH46DWNqgZFpw9RveTVQTY5tMCA2PeoVUKzvsxDRWRdlKOLO09aHrpkUAJADMAN
ARdKKMyMdVo63oiSqkcqcaNT+g5fU8PnlXOlVXL03W5uPECghD+0Sr6tgVjfWA34ea5ZghpngqhV
lndiqjkKUMVyBFiMc8+2+/1cQP/ItvHFCnVTrd2cvCt2bJqvAXhl4Ty7t5Ypn925hxB95sBEoB5G
v3OJEsnchHmDObkeFK+LaDbRzZGNi453f6uJ/HXKDEQzFeQf1V6lcHTAL/VqO5fyBkbuQAHg492W
Yw8RLjDwPbFY2hXRWyUsFTLFaCSX2H1LFc02XQX8KbQ/UBfwlJTfuosiUaGW5NY1xyWmmvuZWnrr
0xQaeKrQ97KEdWM3Dq8TITul0d9AN4RFQ4Z8QXH7oHfAfSyt/i6j1rVlvFddn/u9De8t6cSscUGd
W4qIOtBjpczsdsUESw+zQWPBGZbBq43mfh7tQ6fr7wBeX1mdHZbSpmCAAX1WMZGHfVfj2w6AC6tu
fcjEMoQjwQK5awfGgqo6OpsHJ8tvx9S5Q58NIlSUj4GxwB2nq7p3xXQe2IReZ9NrxAfPFzofVRa1
3apRUoFFqNjysYRTDZngX6LP+dME3/Wm1N/tYbF91lcfhFJUjae822YW3A6cCormcoLvhWLQt7Sq
tkyx/0ADw9hUSrYB2HIMYQ+ZgXoJRxqepnd1ie5WL9REWST6g2n5lRbVO6sbkMIEBO+hoQNrkuVl
dCU6S7kT5NlUARsA3q6Zmi+Ewgp7EXXt4b1zmGEC5JnjuLWBuofUvOHbins7zP22b91dSuFBUi0j
oo6RoaiOyKTrE1TWK731RA0/WuFK7D3jRu/gO9Iw9qmwIg2kC9E7RZQPTGGf6KxN/oAsLmCGuwdF
JQDLKYOSbnY316L2QLz8A3DqjTON+z4tNmUPzu6EJZ7M62Im7rZ16mNa5I9ClR/KBJGegm9mh11L
ILK8MbM/oW0cV7z+A9PCL7Nriyjn+k7RRR9WvQZ2JUfk0ofGN8r0qgZOH6z7mNrij7LS6bocv8EE
aEZk6BY4wtk2FSwuhmaDKPmEHxSUaz/TTK0QHTD7uh/wf2p59mRSYFF0dXwTerFd2OhGQ8lHz4Dx
jpfOSliNOoP9QBWoVoH2132J/QdrUQRRse8gU2E304EX/BPIDgvkavhGqKDShD0os8AFzG2IK80N
83RyfDYi+jc0czxqN7BjGZcnZ8ohyGWX5V6a+b6ZS76RUPxotfJoIziFOSXC73XAhVIVlZJMBi1z
XwqjiUvgo/zeQhuedQ9i7q7a3uC4FeXOKCAn1jkKfJbyyOkLVMHFThbsHnzOZxC/o5aWaVyxSb9S
Bvo84mKxGFf9qkazBdTFPGBqVR6VLoe/HHMdT1lqsPBArsRU4MylZZ+umw4eUgEAzefppTPR9B0M
Cv90I8OHMoqHXocRkdqRIzeBilnkIW9KGFvTHvI62XHSBUMwrx+MkUdmNn3MWqqHw9L7lik6XD6D
7fecbljNQybzp0IjkU4Q6xw2PzDY0KEwNUfuMj5PWeXitJcVAh55dnsFkRwNvb4k7/ZS2N7YO7B6
XbTtCKOiTIBP20AGD3gAmLo0nYTRVA2FVpbZs4/r5KPWp9pTiPPQI4h5s041r5VL7inFaNw2YFxv
asW86VxcGO7IUK6QdsIsMIXpgEJ15zaxZs5hm2mBPWX3SgfTPCYELKh0JXYGZa8I5AltNd3TOb/S
ubPtXXM/pnAL6bPsoarqh0rWB6uYo24uaIQr7Gqss9hl5DVnsJpMyaLiUgPOfRS2jR/fgCODWMws
xdeLjMPSTnvhE3njix7Iqo9h7aHpyq4yxB0si+O2TWO3M/bShfGAmPoAUeyVa869KJ0Ju9LeumZ1
PYzKhq9sK8tFtBOjetS07ErSCjnY3KzWVLeWNr6CfAhnHNguBzpb3ltL3yMBbzzIu2wHiyt+qphe
SmHu1E3K0zB1Mph67KbUym8HZblxej0xBEuc1Hkm+hhwOR/bormrONjVtFdjdWgenLwBD7bhkQQV
wcP5wKFVzC9tyQhch+SdqjplQBRQ0ubJ2Y2VcmW6bUQa7CTgVjJ488Cz59HlzGeDuqVdD9yFDOmM
ooeSfqmz3Cpc7M0pfZB1FYwwhMtsIEvy5dg7bgC5xHjQ34as2CIBve1za2OVKuzOAMwCHiOWRr0b
6KsKpaFZ0jtDZrHVy4fO6DfDrMQS95U+kzA1XvpiPAzD4BMTD1gdeBZYPRkjhbjgI7iOfwx6TzrN
11gbV7i8B6VGkmvB2ULGA1F3A2RuaxTvNcJ8AMGuFHzdTDo3uIgDgz41wNlZDrjmqBvz7k5Z4F3D
8kBk1sfEMxxN6IO3qRNWdR9Dc2ZTUgCMpzl0W+o5xVcG952GfvEc3Ni525cmKHYVsIhi9ow1C4ey
w1iOu7lPoW/w0VkT/NUxf5WGMDwPYbXml50WFTT1G6gRjEbmzwDCiNo5GC73jMGefKuoIEDrwDXJ
7LaV6SKqNnG2gDHNjjrMiqaS4+jryCGedeAcM+oRq34nAFKsSiCkAQyaa4Guqh4ePCCp04jk8rFy
yc3SA4k4wc3MhKWbu2wIJRER6aZGgCoM3ZMTfa3tFBhEGQFoELgW1gDgpKq5XcpnJc02gKAeVfNO
IoviCwju1hClQh9AYU0s+wDYAK42HvZ2dY023CpN5LeNua9zCi4BoI5Nlu100hwrZLJIjuJ6YkEj
SWgVmq8qbM9Ud/GIaPfIho8o/R9cDa5wYPn3dRFYEGeu7VU5A9m2CpYQYgX6+3srtT11bDZixcsM
8xWBMOA0pb4+WveZdMPSXMGCcKX1ZL1c2xQWTwrCGAMNe5w+ZQm2kXjmUOrI1mMNRyTKVQShOuZk
hlyCHU0m3vuuHbjGiwp5WxXM/LLjgU07fx5xOUy4cfjnkPLE7doNbYhvkCHQ4N8C7s+7rgEMUdxo
HUw0Z7jMQAwbN9UACTmKF1OxLcY+NgTMlOa62+j8sHqr4MNBeU2dvC7jEUpnnr1ANtuZEoo/mA3C
z635ndQd6O0AmNYFussyYoArlghPbd48E20BhhWyLChXWLPi92pSzWlsszlAjrTptCps9dQ36ZOb
sQ3jML1p+0CbLc9trQP6AWh2zQFv2WEZ4KoOnqs/Qaogr6sr8Hl8ghNZG30ImYGXDqxB30T4hBbF
ls3aVssssA7GjSGgzzv176OUG9daXXwsvHCsQHbFRmMNJNCXjT2CeqhTr7GLt9TqQ9QKX/Wu3wkG
YRLabifjbWnpZjaQA5r2cbbeBsEPijmFpTH7i0CJj5TphhSu5/SqrxKIis8scmEQlWV5sKTWBqoh
z7boPogONF437ziutLZUwgk6JUXXLF5dOV42lrCqwQmyj22q+7PSxm76CNgx2ET2CO2Nd1UQBFry
DjPgrxzKsB5qAvscf8RKi5tSQudhTDe8a3fW8lgB2ZpVqE7rxp1WZ7u0hRp3V0bwzY5VC5G7Hq5r
+BsOeYG6Mj+OokY6M+8lSYMa0c2BHDpQeXg732FBPb11Izk+s1GBKTrfVw4JK8H2is7CqcWjH7rl
vLRwulXoLcCMXhFhpcEebIRyAGLptmvnZ812Irue9K3rmFOUGwZEGJQHqWjvlokSXgMZB7+X4k+m
4PSMsrwXkKTBA719r1fC0UKTuZzecx24WHsij1KjV7NlPKCgcD9PMIkAE92McMVyKB8A+aMA+uRZ
1NFCFe4LwJGj3JCXGwsuD8iLYSvfqlsYJ+x01tyYo3yqO/Eh3e56lhxYHxUOYVC+0AkNWJXnG9XC
DbxoZqKVyk6rUycqJuMFSG8YFQ5pnLmQJaROwhWKN1oGrFeqwrlEimFv2ijbKQ5/KDPo6nDW/kFV
bz8IHKnBQcI+dC6ic4HjtkquhAUMwOBthg3pzuuONZZEQFXdU03liJztZrEsPE/4ndHDi6yfpmAm
1mtqlI9pC0IRWnkvPWgImQ7oaKEUGzuVsdYqDTzW5peW4+aRdfY+inzvOminKMM1yeAPafd6LHP3
oYU7VGD39lNnTLU/ddYbZb0R07RefCi8X3VSGVHW0AJhlpvamUQw5v9H2nntxo0tbfuKCDCH02ZH
xW5FyyeEPLKZc+bV/w+9/29PiyKasPfRAGNA1Ysr1ap6Q/ML0yXjOnDKZ8FTXvrEfOuEBoiVIL87
rnblJvp1U6mbRFKvwdaSnRvKNyhxwk2qlpsOQfrWqa/jSL1BROipS5u95IJ+rEVcmiK6IFbFLotO
Radu8UC7r1IErxRWtNucIpMDx62LdvMPJ+dRxM8QpJy+8YX8tWqcK8R0hZWUa09BmdxWnrUve65r
xe3H6pRqIRiDuFIneAerq6+doHkjKca2r1f+CXT/PessZ52E+X7wW5iKZuvuC7+8i+LyNonqfzqd
zKMp8jdX1Vo7T4yXNk2Du7THulQS2DS9WJXrYXAohBT9vVUmKYwCfQ/sPiZHd+h3pNmrK8dc/X76
Xa/z96jWnxU9D9a1VwqrNlBfuTNvq678B+Aq3pOmf1CGsLjSOEnhaaqHVlKbreUKhyJAvxfcwC2q
gNQ1OpjjnSEckgGLK0XtfiSZABBO7knKkKDZFYOKgXf2Ta2znWn1pySGa6eX3nMXG+kG1OA3ilB3
WHtJ7qopNfMhqtFiKlgHa6tNv6l9pK9FTF43lqO/Jk4Q7PpS+KDEpNlu22procfUQA3dkj3Hsy/o
DIw60xhvRJwXhrDmWaLJuM7H4TEW9WtJCcnJHefQ0V8Owuwq56VXDDIPJEz81krScV/l+Ic1zhGp
BT28ShXxrtG1eynr350QGaVieHdqxbAtt7yTpH4P7fPDainSo2xy2wVdRM4kXpllZm3dPHTACna1
3UbyjRmbOzkcTsbgW9SoepxTS5lFXgJJsrx6hb/ObZCyABK//xFhFauKOmKcfn03YAy7aSTtey0W
v8y4ePAaIeXgj6BJ9kNkYzE0Hos8C1vfCn5cLsN+KSuPNVggrXwntAm+eLlBkffVvHODk1gYv1Kv
+DHoS3JkX0rkhPitZUstXgfnMP77We+1UdtYyEzTP+XSmw/KxhPqg9k6C4X4r7iNMQwqC3A/QRN+
obbpXuVjJuOG9HO6tWqX9kio83fqKj/EW38rPF3+cGO9fVq8Pgs3pbX5fW1C95TQCQF3FqchfsMD
Mkk8Gkc1gvz9crTZb0iDAWbrSBCeajkEqZxbsiX4J7kXD6LTUBkUXsTWf/jfwoyr5WyqUiul1GNY
/gkU9KssNQ/t0NuGGWwuh5lbdDoYTpryLDlwx5MwtaG4YPQYzUA2qPftC4pz1UKQrxqH44Lgq8AC
5kDXpmruQSsgUKP6I8pLvvL3OV13/Ubbietq56+XetBf2qe0MAxLVtFbB9IMFOPzkDIlyxwus+AU
GebGbai6OsJ1FSDuneLehnjkTZ4sqjiOf3SyBoFP0GdHeAPR6SksJHa8MBIaX4Ch5NoeNXkd2dTE
usqlx06oHnTUKquBJoBK8VBewJ/ODJheIrAUEaAIpO7JgD1FqqUKCAqKfD7HoFg512JpbUpRQmoD
qOJqiHC91MtmfXntzOwEhX6RSLndGCExE4xBk1KM75GBP3nkQsjfNQfPEn+iZrkE+J9bPwoscoNp
BfT0BbuBqXmiycIY6dC+qBv3qlphbwDWErY1HRj78rhm9gTRDLrhHMSUIifjKsSgLIAshadO/eEK
t3X/cfnvz52PXCkGZzAMayDxkwlT5UAIjQrgYWu7d94RzTxIztoGI8P/cKqXBjRzQBJIHGVhwCzB
0Pu8I7CxVjTgyP5JUQD2a69BYOGt+9B45UoG1X55dEvBxtV6dnCZhVHA2Qh8vNWvIvJ+PVcRu/uQ
4ZkKygJmfWYFIiuAhiAlGlGEkT+JFehmkmqSf4qTmlqMt3GL4kXlrXV5SLMTdh5nMqa+lZTAZe+e
xFD+FasFmjpemaJT+C2WHQX7i+49HarrmppoXtNzqwPzuxGIN7Vqbhd+ykxnGMVoIPqiCHDhiyKN
1SGlGSkFivEo16/cJBv2FDg/vKHqNpIz+DspcJp7v6Gyqga8l+jRyLDGJOtWE5Nkk+mNuVNSlLsy
+p8b33KrP7+4VJ6pyLxIoqbJyjhnZ/OfF52IyGLkn3y1uaorquFuQo1fXdDKmJt6wCqWbtJKRprn
yyYtxTpyBe+USbw6HzWhXRnq48LHnjkJ1PMg47+fjaV1RDGLEOU8odpn7oxt9uht9XWxaTbxUUKQ
wF+WP5g5zD+FnHy+MqF7lkAXPjUoLyjfyjvcu0c0jGHX1CvHDOqQH0aomr8I1ZgfLUo5IhcoKLnJ
bkrK1OqMEAXgtomuhVj4p9bqbGErfcHCYbaBT69ssHTFryi8odUKEQN7H3POQd8apfSLQDdiYh5K
170SguAm9JKnJqeWd3kuZ9fLKPWNsIoJSmRy5kY0TOBWienJgJvceuYaKUY7q7WF8c1N3yh5Yml4
iugc8p9XTJw4oWw5poAzbXglt7h7ywYsQKu/dprmx1XuWm+XxzX3QUdrB5SH2Q3ckZ8Duo2T57Kj
CkdZeOxp0+ttS28RTVpoSzSF3J7iXJDsLwf9nRZO0h3eKCT4mH6ATpkquwySDyqiUoSjpQ7bzh1W
SuUgAe4hi6q5vq3pP/OOUqUWVrzUsB2s0JGlf7l3HeGGi+8piGTbkovvWSIe4szZy6GE9u9wgK16
5+gJZVjxFDXlD1kO3yw/BYcqLZwf0kzGhl8BvuYqmSn2L5ONlltBwjmlO/g3yrQ0SSp8W9lV7+KT
v126gGcvEA1EOVYi5L+qMQlWJAnOPIqfnsJfFqiTtYyyFnniY/tGO1bbWNjbJ6sl/cS5paHxUuFF
KVqaPmV0SYKFqUXauicpqKmsdiu5dtcJaVNhlDYotHWBb3yd6gtb4CuwbjTUEUfMl6ZyU1nj7zo7
NftUpRTYGN7oPHHqd9pKvzKunYNxG95mm+ods+GVvF/SU5nb32TfFIPArcgkbp+DJprnqbWUh6cg
bDcCRm5eNGx0CpSXV/7sTJ7HGe/ns8GBijJp6UCX1VYJcjHKGvmEtWBjo2ynH/LeOFyONz+skRqg
kL/pv1fxWbi4gYOrV4Tzpdu4pAANVN8Jg4VRzUYhJSU5HNG0U/gXzfBs8AzPPcGUtPtCXWmDserE
pfLDXO6CBc1/w8ifvx20/YziSiwcm47ybQCtvtplorhVi259+bONp970fMIJD29CmSMRFsznSAjH
BJFUhs6xrn07BrgEzGWddDQeHXwQsJK7HG7u5jTYZLLGo1PlGfY5HGefmFRRGZ7kugnWPLnuBENb
YtwtBZmsvL6UFSepivDk4h1Ya2K+7txuafPOnRnnI5lcJ56rCR7mJOGp7SyIzq5/l5jBUzggJedX
wymj12ZZ8aPT5enCBT2/s3QVWjcShAZWMp8/YqNDCw7yUDi6iYptrGnc+c9a9SI0ylGVqp9DL+u7
PB8ObtjdSiLyV5ZHCzWsxKX61cxu4DmLJorMbmCelM8/pBQdnWJuYh2d8OB19XYALWgO6cIxOTOd
n6KM/362s4e+4v6MeWVqQ1atssC6gdWcrP94YXLuKxK7gCQB2bzPQVTfUHzsXcLToCqB7WnNXi6W
ZEdnlsyYASBGCKdofDF/juEkQlAVMrLAtVX9UKilb0o3gFiUWPImxqt2VZTRa6bQ5JTjJSunmY9I
bMQ5R/4KbIDJmslFI6LqO4CTVXnIZmI+2CiSLPikj39kcph8CjJ5/amIWAQ0TZwjMIcVCq7Pfeft
BU3ZxblFirNEe5sdEzBNk2Hh4TatX7WdYFbkyeP3bOKNqiDCbfjpn5/48KQsEQrYWCqbLoxUb6yC
JM455tITUNsYE4RykXIzbpQvH+4syOS8F8JqiByNIJSFqkHdBkK1B4O3DgN9VWnu1kG3v9LqTaWq
j2iUADY11kbyF5n/+BxVRrVM3orGZH0mGCTz/4vglEjFs6Lp6pqGDne2Jbxe3mwz58anQJPhlsDx
Ao8/fZLU6E2XzSs1V/FYkZYKnLNxKOZQR0VP+Es1LC6CGjQHBc5mrDuUdOSliiaekTgLC/8rMWMs
G1Ff4WHEow1C3+et7WNUiWIyLQkDv/k9tKlN+lztwSB3dnmj2elavMbqfOFgnMsfUfyBjAZXi5L0
9Knm6CKq05Qxjh7gvV4w7bSmZgzssncarC6o69NgQyVwFVY1GjfovgAe0pM92IYNpyEyVN6fCsrz
HRTYfpbBSws24+SYUXslIBuiworLyV5ztGunEPdlmf9NGMomENQQs/ySteSq7AEFUpnYJtj2XnvK
dP8RuPfj5XU6c8CM7N2xPWNSjJ+WTsLBqRKp1f1TINCPFjqffE8RN5eDfGVXj9/sLMr4K87uN5EO
vmE27IYu6LXHcGjuWh+Zm87Sv6UJNhmqVh/DWjU2eY9xRTA05vryL1ga5riNzn5Am5dmJbdUPT2/
xQMHeE6SwM+/HGSuNG1As6bbYMAKgZH2OYroBXmcpiItNVXYaf1Pp3oaup+ep6yt6CcYp7a+s2i1
++ibVO0SS3/mZiLLleTxAUvlf9q9MUNVjnLk2k6yAveid7XEpg1vYuhBR7n1Xi3oGAsDnvuqqqpC
E6OBSAtsPPPPvmpSiWI35B1bQaSdrFjXgqUvEWxmzx0Dji2obIMralpeUBFTY9+3PmaC/3Saaitq
ZBdivOvDZpU0D4b+WIFzHEEUqvAoWO/oAK+FMN3kprV0GI3jmdxhFHJgE/FbOLN/M7rOxit7zdA5
gmseATaspTV2QlgIcf4Nm2pnHYPbxdNv5gPTXLRQHKc6wbU1+cBSVUqdHiXUz3FZaA55uIt/ZsjV
H/R7Bwq6vG+EX0tPi68PM6rbJnaxEj0k8wsVLnKswdSrWj/SDDyaFjgUt2rqTYrSrB2JzQLh8Ov9
RbWF9+z4UqfNMk1w2EuSUNWlctTMvY+7r2S9DlW0u7wxv37GMQi6wLQdLZKpyZHdYe41gHJWjj56
irIP/TVUFgjac+MwoYGj2UxW8SWxaFyhx2O3Vo9ybm4BBe5yZ8frZmEgvz/H5xVIvR+OooaDwFhR
nJxjKLF3QpzLxtF5Hkl76ialJtzmq/SnYIsf8D5ADt41v/Tt2EzVH3Rp4y65sX9N8T//hMnTE605
17d6avp6X9tRJG/jUU6ss0XR2+fmvVt5GwcK0eUZ/MoUHxsdZwOfTGHuFXUpiDHVd3SAhVfgXqg7
3WV7Z6/s+nW6Tk7+tr7uVMihlyN/LeKOgfEypituIYAwOdObJKUG0iEJ6UVUXTrq/Oprjj9mW74V
UWs3OOddDjhzWRKRwvhvV1psKSZDLQQ98uqEpll0UxzqW/PgHowrjDUXjSFnZ5KiJ5bU2PQiI/T5
+G7xumoEKUQ+Jm+fYA3tUy9VV7VFWcnMwL5ajQhY1LqFJVosDHLmkOFVQ0WQWwGggTw52Do5ybxI
9f2TMXogyS9qAjg0r6/CP1ayGteNPqqZ4VVufME0dLVRBjRu/JPaSnu84PyV2wT7WtJfqdgv7M5x
Yr5sTsqIEB5ZLdL0OpRdvYkLF2RD29XdrrGArVo4ya31QX2Bioapk+c+LSyWuZg6cgXQT0UYzFOX
Wgd6jJT3fMjxhog+Slv7Mez1N+UO7tOOW2md7oFj+d5q6ZqYSXbwS6Z9wkkEMVKZ1rmaLqnpHePI
Y2BZddfu4l22L61Vu7V2KezwfKHNMLMPWScMkXqyTo93sg+9QMZcpKBZJBqw+xGPW7uZcuDB8KRK
ynewad+gr/3FMpVRTvj9LOZhPJWValKrza1SN4/YXl5VUBgt6zVskp0JEvzyRM7cH+eRtJGXf5Za
5Argd9hbZDlVepuVoQodXPkWd/DoLgea2XmfAk2+o6YKve8htXQssnLbkEf5nQdbBWFQ7Bkvh5of
E90GmpgSzdnJJnfMLiswnvBP1iBvWtc9VKW/Eto/dkog6aXl9d8w4+1/9unUuuixLsR1Jmz1taCK
yBQvgGrmjmSSPrYYiCCkTqbroPf7Tiso0hzVRt+12hMQ95VcQMDUfNyYMrjBJW/fovkw8nzhUJn9
iCgSjM9AvKinCVLjN4Gs/t7g8bBxXdTxzAqx1BYI8V/M1lkg+fNnjHCGlwU01E7pYB3waNx0iTTi
LBfGM1PaZbo49xG2RHGIG+BzHFIHeRCw+EHQkO7kNt6MgEDLRgXrRt/3+0Xlv5nkD+w5kpAcUhQm
p13Y0OnwpwyS4OQI8luq5vcCbXXMTrHu6oqUsgXqWyhfC7/cyriPMhVB9Eh9htgDE5cXzl1oFEvZ
zOycnv2kSRGxxkoS06eQxndrrODmruXIseUiXNh/s1sdf2lgEdwQ5hR9UZdG2ZqhZB4ztbUHicZm
X0K/M9aZ8np57cxG4gU4At4UymaT2pBTm4UrpmxBZJ5w6PZXkepunP5nU0fr/ynSVLO/otaP3JgJ
oiRprsM+OMDKeNG99qGSvIUbh8I4S3FyoeOBpFJXM1HB/JJt92o/ym/Koxx4BgnVyeBkRd2rgK9e
5jfSdT6gpa0D9xxETMll61g28qgNHZS3sZggCd1CltsBEGiuIkwIoWcEayWzrlGIhzPYBQgIKMbN
0LQ10nrBYIPWuR60KFxx1v3kqAHfLPsfUj4kW8/Jfui+jEBCi0yIYBq7QVdetLbu4c+J30Or3EkI
KVBbKJ1VXdX9yqr7Q28KvT0e8knnPeRwhfK6tNvQOriZeDMoxVrGCmgkejfrJnatrYlAvt0Mwo82
CZ6tTL9yABfBoNUPlaA/u0r9S3YsEQ3A6imWHMfGFLvax52JEyuI8dhDK9iP9PcUd2hYa3lr+6aQ
wrORe5hA8b6GngGhsxr2biaPFCyknTrLvKlH9eVEMVqUmc2jjs+tZpBFWaVrB7wbbR8dZ8xN60fX
qW89QXaQwCoDu6yHZ2yG3e1gGPftqAvr0xUtfempKeU3OW8ffMl4C2JnG+XGs14P33VsBqIcviBS
Au8U2DAQR4gWf4s82GeW+C3rzW5VYHMHB1ncCn75EdaaszHUuLA1Xh/oGADedPX4l+6byakWNGEX
FPKT6CRYEJfWNwTl31BSW1iJM0ke1Qbq/xKdDZKucZ2e3XB1jCNzmmoewNxEpuhhwruMwptEd7+D
MAu3vZSqC1feXLplyjLgn9+t02mpIzUBWTYouh0biw59g1Shcevko0fBKVGUrVw8Xt7XX9VwuMXP
AsqTBKhSEwzzat075aSzOCYM3dqq8ECVJfLXAirayjeMTUdRYqP56aOuDvdoeOBZkECPkCzEEiqT
LLcePprSStahqD+aOi7OGbJvf3FTnv/USQolGXWeW7mhH32npV/RYvmL53D556X98YtoKpV9DEIo
LXyedT1DtQRjL+/kayIAVw/t9ReDDOqvPvy/Ycaz/WxxBUUG3wra3LFai1gSr7yPBmkrcGbBGml6
oAzo0teHatc84xu7KB07V9HA9kQzaNsBW7KmtRmdWVONLNWP0iN0/mO8L3fBvX+bvBruSl1Xm/wm
ehiRsP59uw9fhYPw5wUorGdQu1GoC9FnmKQjqoyIQ6oWyjFqQ3zOo291HB3CKvy4/JnnbkgT/Is2
VtV4xYxb/OwrIwWDTJnhm8ca70wHEGSvHrAj3pS4b1+ONHtp6VTTrDFhpeL1OVIuDYUpoeF/jBuI
ds2dro3NkYULfz4IBSyNbtBYVfscpMm1uMuUhK9mIkKjFTZNGmQjFmshl+MwnkmcBgS76sXKMd9Y
j6Lt7yNsioSNYZdrVMGPri3ulx62syERVSY5peAEGvpzSOoEZi+iNXCssRXJOxuwOazfJenembI2
u5sekkSBl6x0KlzvwMrWYUIobDtDWsd33aG6T7bpbsyEo5f84Css+j8HRn0K+vudc7YKcbhKu1of
lOMgVDyVDobcX9X+kobU3Fq36K4CHB31U38P/SxKlFZc4XXOE3MAEoXljtiGMBuTbS7KC8i92VAS
8lggohRTnIKV6h6OqtLxFSM1tAethiD2PXUgrPdL/bi5CxElMYMaICaSX5ANspgE2RBkRErfnIE0
osTGjpcBni2Qjg9Cr/95RZlW/L8BJ++xOK6Roghbln6TbsrE2Ki4glmh8jfnP8ACfeyvaryQJidT
NZSuGWIPA4hN11ai7T6Im3DTXa9GH9yH8tbaaDt16+DYsXE2f35UITJKXc4SdfML8CAHXJSI8PqO
fhtTyskaG5n+3YBG5sJL6LfL9zSTP480+ZhA4Kv/gNrKADeMqsUQSc4xBNfqZI/MkX9VS/5Lb4kf
oar9dKFewiV/dAQFMbNCQnJgSWdxtqJgKVRAUdcfcaCTa8eV0pqTmlPaO+hX7W28w+KYA63aLYEG
556/54HGfz/bjE1R5wo4T+XIC0Cw3I1XLOGK5g7M8wiTAzPV+v9/kundW4rue6Z8U6olO4zfxL2v
M/jvB5ukKcxfmAwa+68qm22uCb8ajVUZhU++O7y3qoYeCAJIRZu9x5b+0pauumqbpNsGvXT0xD7Y
q2r0IaAu0WvSXVjr2i4KHfjSQ/dUoqgmtOq9mKCvIRQQdqvgCnmRa2GINqlUYoiGdIysd/rCY1ae
Pb4UUjtyAhUjzkkmaXQNwJtQlo86VlH2kFjpWvO1t9ZMiQn2meKAclME7Z1U8S5zm63WoiwP+RQg
iO1ZIdpH2r3TIEagOCWq28mr6yrYzujKvZarkB/78JBaWm4j77JNoiZZp0Lz/jeb+N8xTLaW2xYp
NAJJPRqesHfE7iUVq3glq+XCC2HuEWSdfavJjrF8P8MQSVGPvphjyyZtLUdZpxIKklX1TP9tAX8x
MzV0JccsgKrbVyx9EoRKnAmhflTTao8W2Y3VoSxEh89HailZzMLHrzRZ3p/CjdfP2TY1q6pAfsTl
vbVN7/xr6draxC1ZjnOvbLIdDOzLkzZzKnBj8rjgTYnY67SPiGoGtnI1u8ap1Z+62GwcX11IrGeg
OyNO+d8Ykx2rpYoaKFGnHAEMVd56WCdvEmDiNZK5ykpdmSvdW2OOxcu6tf8iiRslRolOsXGsMn7+
nBDEYATlinzM2/fc5x2RPtbVku7w7AgBWgCAIBQdwsnVSRdI8dI0U4/ui/JPA785xpvl4QEFHWt8
Nx2phV0vzdzMNgDT/m/MyUJx9Cxyq6RkG7gA9kEyh+WTKf7oycMd/8+zK0CctHl0yFsSnbTPX1H0
m8hxJcaXxOV9kjsH39FRk6quGzFcYO/N5cPEIoWDRALoXJ18y8oXcJ1RBmbsV7sJ4xVyavImQI42
0VbO/bDRRpbTkG4XMRbjE2K682SAd6N/FAn/tN3qWgYAX6WUj86tu2+fQ6jpg93cof65sOfkr5vu
N8aBYizvXZKeyed0O6hyAmsGlglSRS1dgyceNNtqj567/lS39phxoT+UHqhK7wNALbZ8C73w1jgu
7Y+vpxsYYBFBfs0EEMHy/TyzTptmYgZv46iYeGq06D0Z/SrGzko1jYXcay4U1xFkDKT8yNMnEyvF
eWTVVqEdTffW1FE1QQipKe68WlwI9DUPQfCfrfibBEidbPIm9XVXEjuW8jEacjKDeiWhuqKUCzjI
mSjjw1oebcd1YEmT4QyIpTkeZ+oxrSM8NPV7apMHrXL+OPuHeYf51wj8pSkzfWAH6dD4eskEhajo
9K1+Z8baS+Smp8v3wPhrPy/+kbM9Kv2S+gMFmKwDI2SDtwYScoIbrbs8sOP2tnRUJL+p3eoLUIqv
638MZvJ8QnpuNCT5vOiyXLdaj8fhMSuoFFRu+y1Jy7fLA5rZZJ+DjD/i7CLNZA1/OzEmo+te3ZKu
UgusMcQlBCs/Bb9IeswUT6X1qEoL3PU+roMNHGy0SxGHdaub2vJ3nYSorvCWJpJtoJ6k5xUYqH9i
HyHPqM4XHmCzX0WF1CPz1uM/k1NBS4y0kgOHq9jRX2jw7S10SxZifH288lHw8qKVAXoTlfzPH8Ud
klSQWFBH2fXscngLvR4nAFijXWbHKGUK6dLTbnZh/RvRnBRuPI3WeVxb2jHw3ztXWiGvidJzhAIc
mkbozFye9a9nzKfxTU/WMgYeHYmtdpSC2M5poGBit4qrk9q8XA40O1kjFo+iLKObtrRTTY4pZGja
URBM4MgoM+pL+OL5Fcy5jIoCSg5ocXyeLKmkAtXkTX+sDZy5tRjXzUIIvRVvaGh7KO6iLIUAUOii
sUoBv9kIOZLIjiHAQB6lUc2mG5D1UUs2tPbhh5q2Imd4qqT2jsc+5Hvjo/X6Hw5sTXq06L3X6M1d
/kxzsw8LHztrk/4BvYvPQ4Aen+SZgUpna92FCqyPiDaUnOLN91z5fzEl57Em74+ukc0CoVf1qBV8
j6izU8tfWF5zs34eYjIjQT8oARmgelS65LoL030SLJlffb1WWMFnkz7+hLNjK4lzU0GQmwu5+mYg
MOZgGGeF/1yelqUgk9M+8VwvjHWOmqDyf1mDutNDcz+0+q//Lcy4W8/G4mWNl1Vuoh9hQGxiM3xI
nea57IeFFtXcrIgkMIAiLOq008KVqKVxUQZcJ+iSY8Rdk8csSbnMfrDf2CowQIBwJxNvcJyIcKY4
V3Ar8JLQTtG2lfxq4XgeP8iXWxi6JQnFCJWZYjwkHFQ9q060o5ErthTmawE+OgZRqxIA5+W5mQ/F
9wK9LAHamtwEWZVlMXwi/YhC2bYIOJQH7kJk0/Di3F0ONXcIUAX+v1D65ArQgpbHMhnoMemiTasg
CK191+p3etI2ctwLJ87suNC9AQGPZhaEvc9rzqRSCgCV/dOb5aYBBJTK4V0tp+syyn9cHtfsojgL
NVneTV+h8V71Gnz3UXTwo0MPtkIF+W+igFnG/AG/pymY0K0yUWtRxT+KbrNuld72RGFFpXIhzOwk
sYX+L8zk3GlMta9QpdaPOQ+PAOH5HLlzo7/JsLLoTG/7N4PC8xXyMt2PqadaJ0d66ImefqRDZWOI
vhaMcuNI/cKgZhcDDykYuKA2vpjLtloex0pfUxOUQtQFfxT5q2z+iBD3vjyc+TggPinhjhjMyWaq
CqUrgWngD+09gCZYFaphB/5VEy1xO2bzN4iw/wlkTNtggY78rFhzcIs6O1V48RrVlnPVzvJqnQeB
HQzRwtN/bpFLaH+MbC+409MHol7TMI0RWj3CT7rOyvalMoUnozQWikRzy+88zGQvaYPfdIYpaEfK
1NtCD+3KzVZR+BpL0cbwf16ervkx4RVN9WeEyo4/5uxe6umMNm1GpTIRUecUsFO3RDsLlpoNc/cS
vK3/hplUaMxCKJPaJX9re3+T1ojdZ4pVLyy92SAAt+m+0qL8Yggn4zmeO/Aoj1FMzSCU7oCNv1z+
XDMlGdg2ZzEmk4O0vIvMNPbn3T/at+rJQvKmE1fqm/pU/HKP5lYCLD6sh4UX3NymOo86maUwTBo1
r2LeKmX8vdP0ez8SHuU2Rcz2zxuVDPDfNHX6LMLzoaIl0qr4qWQozSfoA2R5oNlCVXyLHWXh+Tu7
/P6NNn0SKXlbIRJLWtQb2UOklm+jF4XopLvL0wZuYSadGMueyK1T/2QKP6/zwEGjtJTZVJpfPrWG
eBOY4aGLu20l1o/4NKDKX9W3IXagvac8s/s+0CLdCw1atH2+aYryJcwp0fLI+C6b3aYLMb8QS+na
c8LrSmx/+Br0FqGL146Zy+tAlR+lGCyxauyctHuIgZvJjfC97sNjnjSbNFRe08a9knBeQGUkeHGd
BseV4cH1zLsg9jeJK2+zRlFWmureiz6a8woy4o5UPUswn7p67CE3O0N3VVvwOF0Hf51JzU1mNQdZ
r3G8SR4F5KJ7r9wMQNGUzr3BHO0qGqI9ytD+Sk9pDLle8z2jQKo1qMKHqNEbtfocqAiv1EW+a63s
tUyCeBNH+RU8BNv1C96qwXCA7vIglUD5NAR7d21NASsuDCRvM+uXg2/MKlV0kGoU89Dffi769kp2
u5s+zx9LcaBnUBebStH/ERwDZxvpKRZMGX317i6L6zs16Na6P+zVsuM80rJrsUfWOe4su2vV2yRr
H7SxTdVmu1wvwXKI3bVkdCWyhe6V04g7I8BXKcmT96aP7wwZCWPT8vdtga8ChiGHQMyQJheQc21r
uwyGPZYt8GbNAakwv3msM/2nSEMwrodbCTMlzxpedcn/IbYG3wI5+7p7HCqpRkUI3dfcK7NV70HM
htx0KozhxvSHm9T3PzwlagGr9+k2w/8DhFw4rHgZkh2Ft32m44JQl/0K0ettOXocWElw1VnZTe/r
2UpVsNnt8XXwhXBXecF3BSVhvXRuragIVkbjXbd1h2lOHcNjrNAs9sAYrhBS/qdKog+vqp/zXhvF
2rNkU6bVqgqsXZ8WCLGb+rdGrbaOJn83ishWQxVjSYMXXJ0dvCp8d9tsW7WD7QJNF+I+XImpeZvI
1mMTS/dtEb9w8j72DNHr8r0u53vJwuNE5pho/eAq7pxdZwUHfzC+Gxq2aZp2CyrtHi3fY6KSCSj4
xsZNu+/i/NEv5XQVC/GT7sU7QwxsuUNH2O9jeO9xvhNjCBsVZgFB1H8EevaEpCWDifdghDdymV63
mfeWys5zJhbvTNStM7iHuPMf6l7fNYVwYwwVuMP42qFI7/lYSoy2naLxmlf9jWL6e074N91FV7uU
4y1N9qOQ+nccdrsUcVtDVGH715jyWHgpFG392IjlDZrtt6mj/5M35WNY4FeDv8JeGbT3SihvagwL
gJ9f65XwitGvgiZwj2C8KB3kEE5/7BzqcVJkqbv2Mv+2DJO7QgUpMajWt0Q1XlAuxkxHHE0NIi++
Tay8WBeI21CvzQI7z1QT0W0ZQUfdO/RJ/JEbzTrt5JvIj3Za3W0aQb2Sm+TW74wrs6kOkZDtK9XC
pUcssOcdCvovdXfFrO6CSnmKvM4YlZ0PbdM86OBl+6R8NQMq/Dp+YW24jj3jUc/6Y1UL4hq4tH8V
iFw1GXha2y3yUxEWSM7LG1dTmFiHgYfilW824HB1532IRHSN85gXaOqvhcLai1ry4Pjesx+J97XX
Y7vR+MfIcPd+VaNVWfmPdVrdBHV3SKzwoPXSMyDXjVb4N7HY3GpK+VI7irQe3ByXBrV/r6LhlNTm
dxUTBit2lZWQNSc11G8bhYTJi7MXUXQOQ40pUqIN9UIuPZuhnV0m8ufLRDedtnZlEg3fFLfNkEAL
6/F69trHIu02Q7BU+J4BBI6X8r+31+TNXaOq7iVupR4DSceXQEWYshq/Lxr3hwYJ9w0Q8G9JBQlI
KqXHvpZuoOixWlwHYF3ZPJhD/UtDo2Mld2AARHfABEVX8GMorV9eCpqYHsxfFOvPf/KYrJ0llm7p
eXFvmN3RTx7lSMF/5kQlbnv5Xp/Ni0b6CdKnfJ7/R9qXNceNK83+IkaQ4P7KpVctbMmSbL8wbI8N
7gu489d/SZ07NgUxGteaM2/HEaoGWCgUqioz+SFghMmK2QO6R12H6KmlfkyLi+rDgwVVouXVwlcj
oIT52xCX9ikTLcx0NsYAB/5AUexo0t41QD8ftt9nBfIFuVf2gsVtTELgq6+MclkfxiPAeY1CZCC1
bvoMAZL0mZysk+JlXrSLXUN15WN8a0ERxB1dxSWetoNj/A/nansisNlrivRuDzC0AOYhAM6Acnv7
RaVCIkpN0LuWteFuTCt6aGrNdOI5/yIhIaZ6BXE7equMhQrZIeifyVCxuv69N9PF1U/gPkNVaBCh
o7hIZxpOAKhYP2eS+okUC/LFzZfEyg6384XdhGPbGCqwTSmSJ7Yr61DwmNzA/ODrYhsXMDvKwTx+
Sm3zWKGjrgaDUblp0fh1lDwrkX2xsx8QRZLqQw/xeM9T6VNtVN+vb+TmwfljnIfWoTpOiknRx6C1
nuLpMETGMURiUVDBKrc38pXPEhyqhB+ZT5UWRIiqOQZZo7oRZaVTGcKy0KYR1DyB1kX9BD3rt45p
Soi8BcW4tKRE3iISlENu4Pp+bTreygQXzVKpKxX8D1WNRN5l+PNN/MBIerhuZft1uTLDHTE5igoz
NNQxIPso0Nz6UrvRfepW/vgLertO5NuDI2rBb+6eAXoOYILRAOcJOvSiAe/PjLflPL7E9DGJP19f
1OZlufr73GWZ1RBCynX8/UQCrjmcq3tJTn52dRxYveL9f5ARb36rlUHOHRJr1pIkRkRqP3eZkz8M
d/oLMiG4XfFsOdVDdQISJ7zTj9fXKdpHzkXwg3JpbtkUQPup7VPoQZn+f7PAeQckfJqMQi8i6EoI
QadQ89DVUVR333woY7YFfW8QA4KL8O1hSoaklweWosABjAPq7emNOsuWNxlJ4cthbvuhTMddoUJX
8vrqNkPSyjDnJyWUnVSqSWNQGo0POrmjHkKFq2LQYgpLW2Bs20f+rJLzkYyUjdRNmRZYeu4O8SMu
Lh9MXO71JW1bAQ0MpuYRHHiAgwEacwopUbTh5Duq4Fk9/bJjwZCQyMbyPVd5FmmnOe8rrEQmX2Iz
sOqLYgpMbH4ZoEBA34NrClM6b02EKuYZtVIZgwgdnzp71lEImaNLkwkixXb4Wxni1gIOOdPs9GwK
0LWgIJWADs1IoTcyACmtBVJu3RgtlBvN+WudQCZ07FLdS+bpMNb1pzQzTqOE4foPfMLVT1oSw9X2
llZS6jXDlIBedSdjBtQiV3cYZfrryUokA6ZugeQCkGm0At6aoUbUZRnYWjDJa7khNGtUqfO6MWhA
7PORBYGJU4H0A9pC3IKqsh1ktYNPjgn05+onfYihMCZ6IW15JZBy6NWj4Ib8hnOZDMkTxgIAd4CQ
kFdJaBSyu7wRNDtf8W98Rrq2wvmLGXeFSnpZD8A54jV30neIaiWWIwfKpTwCogf1A+IxVzqSQ4aF
OkIc9RKT3v0AMOyDExZDcmDvePvZbDlr0zxV0ClS+7Md0e9Uz1GaMWxX6kBrHabR13zoFz3lT7nK
DrkCNVEtk0STa1tXLGYSf/8MLi2eZbBIFtWooxdfu21Mv2sUFfyKpZEvQVmwb6kgImx+3pVB7vNi
LHeypgQZlw2tWUtDngoogy/FbSo4fluXKnhYMBmFaXoM5XFxGigMpvYWWnG00S9tmz0YxrC/fiA2
JlZRPcKcEcAeUKuxeBI/YB7GaWgQdZJjf5QUF+KHQfqEgqNbfQN1F6bOnXonHe3uct3w9ib+tmtz
vWDZavuZqggtEAI7MNT1uoKdpkoVhJZN58BpB5oEeTggcJyPxmaREaPE8gyGIiw7l5LtgfhsUaeC
IookiC9bl8USXP6fOb7DPc5ROcYGxo4k5ZcM9HLZ3Zrql4qIesHbdnAhEdCtLCPVb5c1dlPZVqGC
jnNU/srGeqfFKsq7+f2gjqJ7aYm+7465/scWd76Mcnl3GBWOeXyr1bIXoTqrYULurLc3GBOwdFRa
tW8UqiHXPWTT+1d2uWNGEnBbA2uPc61grB/VnfwjIzaYRv+9i1wEhbg8YdLydIJwvUsghzEz5ipg
/7++kE1XXxCecMEF/8YdY2VkBUCR9RSwGJxtufapKu3DCPzUB8wsgRitew2TI9wtSkLIVlo55hwN
SLfZrVqCDtzy5s78yHMQ89G/DXG5ak0GMuUQGwKar0bfpvQlpv2wZxHGfXPbjAUea5rwch4KE2Ul
lBRVRL+8wHGNcr8fTFfLRfJTm+VF5AK/7XDL6ZkMUcwBU0OQlfbCfbePPE0HbNABO2L4D+hM1T0y
Epc4iU93UNQFYYJ51AQFw80DjckYVPGgzPKOVEwtpaKMdByyVJfdpL0wSGYO8Eo7+sgTB9PK9jJD
jJ01uWNVNZjrKSrM+/Rh65D5aY6AzcnvQxrMEPEsPgCJQGNkwWKCTBikW3wyBBYNfWhibG/jGycW
TLfzAewT524HFXfqIj/xDKiPOyJRhS3vQTEEgA+QJIK2nltmXpk2Y9mIgUOgtdShvWu7YZfNIqGZ
zSxs4YOCfCY4Pt9RppW13Ya5gYxyycKs0+RDg/OcAi/Zv1if7K/1TfstOTC3eJrQKPspwipsuc3a
Ohebh8i0hnoZ1ikn3U+7wikh/avrGPkUiXpsXaRrS9x+zhWRZtvERQpmEE3yZUM6gPG7cI3GuitD
XREE/83Ph+EtdZkVBZyGC2ZDbGRmaffLa3++nQwopeSkPmas/+vhfXjnyg53+JF1mVpV1+gtsC+k
hSpbdTZb60OLWeoJZAHw8tz1ZlGkdmmiJjNnX6XpR9d9Luqnvw/+oEJB1cIGOSEGE98mBLpdMK21
UWpUaeeZGBhMh8dGEekBKsuNyOcCSBIxNI45ZMPmg0coVVBvrBK8UU8AqN8Md/1jehoPxXf1dnb1
k+pDHeVWL930XlSo2/R0zIlhhQvlGz9ArOQ2mZWy0IJmMrw6vii5sqfkAYqYH/hYyN/khVx2eY1y
jo6UA8w/cYxi54IaB8EJgVQ5khGBma31rM1wuQcdTatA+wNg7jZElTvyh9DG4PVjVlBB+rGVR2ky
4j0Q3cDe85GQoSmICUlYklIZXX/0JeWHv3e+haxlIcBeHip8goNpJG2wbPRGql+s+9XNmM4RjSVu
rmJlY/n3dSmikqWSoeUS9N34jcblDctywUZthTjwfoDgFjkhyO+5t0IFSAzrTQUbJd/k7Y+u1ZtT
VarPUR6eSZyGuw/s2h9zKvcCGlnWZqxACySun/NZ2dtKDrN/zywGvZ2VFS6QqtUwdJkJxF40vtQN
hIhzG60IIScz2QgMGkIp2nJg6NV5TmY5t61KpyicVgXZTabmmMMvc6KeUt+wFHAFTP7MhT+3P9Xs
qOQf8D90PsDEgPocMGXckZ3AO4keKXZST0ArVUq7sBnOsfKBEIsMBicF3F8I4pyVtLPNPCsUEgxZ
CK1taCGPuWMU9QfSeAOhB/SFmMd+V1WpzUymoZ1gJjG96dLEIWbi1MOv6763dZoMtIwNpCxQ9OGf
JMSeWU5GtPgM9tNAg9Vu2w9499oCd17bjhE2lDhMJkqHU1zuFT07V5OIDHHrzK7NcPde12pJxExc
C204eyWUpOP4LsK4TRM2jpUUx+vbtpntrc0tUX0VhYgM6dgsx77Jp+ZOr47KIQcdRntKj3Gg7VpI
/iVP8U470M/9LX0UNaGXxfC379o654E2tlK1B4KmqW054NJ0Oox7mb0suJo2nQMqnIumA3DR/BBz
mA3EHCP0mbsifjSj4VxmYB+9vpNbSwEZjIp0CNOq0EV6u5GYwgOmZWlTgW4JEKYOzCmJI5NWENI3
zUBlzMDotwL+XT6kWx1qyBgIDzQWgwKm3UnjU83M/fXFbBbRcLPiFQA8L147nBcSlNA0KUf0S266
X+bn9NClTnnbnsNdfqxiV9uNe3IezpHA7pbzLwzp2EAbxOy8FBEGmnPMVoZgoOnpD6v5qqm+DC5a
vHoQdwUxdvFs3vfWtrjzXMUTlO1ndFrytgXxGirNswNcmhP3ImiiuuV/IEzGgASejOD34HxjSvMs
IqyFm88TpOh6izmJlgdDrZObkDQPXVhUTl/qP+phwKiaMgeSLQ/7yJByr1DnAkXgypdJ7TUzCHIw
oFQ7Rq/fSL3S7Dq9fNSzKnfsJNIPCVhmmjy+ael0LmTlh1VWIWgb08fEBgC7VnBV1pg7a6wkeiyN
OD0URfPjuu9seSjqNbqN7wcdPt510rxg+aiAXMrEjCM05tuHLrtcN7G1n2sTXNCSWrNhVZbiepxa
39LpbRrSX9dNbK1i/cnI2+OsqXNK+yUM6/ETSUpXNiW3U79dN7I5NLK2wuWZxGi7pqM4zWRv7dPD
cFs+sTPzZ1fxlafprAlcfmvf1uY4lweouzaVDqe6zgCuCH9Q5fH6gjavE9CJ4JYH5deievB22wzQ
3GlpEoEp5TE7Vsf6TvVqdzyTwDrGT9WB+TLulH50gfUMXWnnXTe/HbZW5rkF9rTL87hEoK8+176M
kdxPbdC42aOaO2giNaiDYer6jBFsUQVxM5jgQQIou4J5Kl4UjBY2k9sebywFQxFmE7kTCIy1bB+J
otbmJwTAGS8QXAHvqkBmblBzgmhOYJHb1L616c/rW7j99xc6GHCAodrEfUB5TLWwqfC2aupfxhww
XeAh238f18oytI94yN34uHcHUFnjxsfbx1ESlFtibXd9CZtHF0IG/5rgHqLqIFngBlyuyOmekRYK
8XdN9OW6ja2yAfSRftvgruGkLgjJWywDnLxOJqOFfEIx7WjmtTMU2alVRJrwmzfjH4P822ruYlti
HdrmaDJ9l8b6k6xCB0NrDwRYQ41ZguqtYA/5UvWIM2QN0HwLVO0fo+zcZOrAazN413fxtd/37g5e
5mDBAoH6BE8RpmSValgTBj7TX8bF2vc34xEz/PuydHT/IfrRgHE/XEizMenqGWe2L271QPTW3/RI
xCrNwFMPHUPucu4mW5fUGhmwVU8Ong5OSz7ikCsL/F2SguaqRVk3oN33HKyjffWLxAKH3PxgCxgd
fKqgJeSHOtKy1rp6zvDB5hc6V06lfxnjH9c/1+bIqLkywp0sorZl1VMEhzZ/am0J7MGxT6KXatRu
JApxIpQb+1lGJhM5pdw4162LVsgduTaf61hdqguYNXPSyHRNyJ0aVPCtlr/yziN/L1F9B0OsMDqt
dPBILWVO3/2kWA+eXXh+HZToGLHPbUj86wsTbCvIK95ems3ctKpVwAPDfK+HkjMuCGzM3rcgxA3V
n0N/IePg2MjbokIS7Oq29//rN2ijvLVdY3hvUlLY7i3FVRNMo38EkvjHaVRefg0axTahE5wmNB5Z
8ljlJxWzFNe38LpvoPr9dhXABC0j9Zhlprr5DIrlzkEm7tV9JErlRdu1/JD1c7mTh35ESTcYKs3V
2wdzFqSEopUsicbKQJnXVVKB8jPQ5E+1djbBKzI0o2C7tldhgpEFmGiQ53OrUMoxJB3mhgJwIt+G
KQvmUASD3hz+Wjjl/7XBLaQwqRQNHRYC0r6d4ern7HEuD5bH/OghOpMDGNEy/N/H646weS+vrHLp
RQUdW93CyG3QGOHONGyH5r/KmbroWLt1Px+NWcRyu6yDDxjrtwhnEXx9NOlqqgKVb+6GOdkbSnc2
0/gO+GJBbNryjbUpLvwWtpG3igyNrxLsJ2byuTc/J/3h+gZu27CAiIaiEL4f5xpxGgFtYVWo4eq1
r+udEytBSVX3v1nhnAOTRcOYlQluK7t1THoGxa0bElHjY8vNUfT5vRbu08xWnVRG2I6BZrU7nXXu
nAuy2c320doE90kiVE4pRlcQD9x5Z53GT0kg3Zu7+YA0IvP0S/Rg7djtJDvJbS0Yl9vgV4X0Nkjd
FqU+Azc+tzwwzCm9tQTWdgzPzJ6Iq42h7qntALVQ9ZSG5NTnoO3tYqBLpefrX3DrnrTAo4MO3Suq
hTMeSklVjhLYsWdciU3iyfXXsq+dsbBB6Hmp5dyjuWgeZHu3V0b53VaprpEcmX363DwrkKbZDbdz
7WOm1Ol2+ml87o5G6DT3qTcchOq+y4reHfSVcS7/CHPVGCo8yoLsxppAW+KAoEB+qp/o1/RWOzYe
AMNgJ3pODC86icLa5qmE2jparaDKAFf+21thTE25lgp8asJ+GErlUPVZApPx9U+6GclWRrjdLVhn
qy2GnwOzk58jczx3BvHyif1MykIQyTbIiuG7K1vcZpYFwJpQ0IDveui+u9Wuipx0H7udN/vWgT11
B9FggWALXysXq4u1BjVG1xtsScLzI14dO8iw7stm3l/fxG0v+f2l+DZ/HQ82nXskCCaRdlZFvGiq
UMNjXtyf5EoRxFHRPhIufRuHvunTCE6JUwjW1m/Dfj5Lbu8y00vuUDw9Q35EEHcEbsLPcOa6Kpk9
iOKCKQNWFDWdGmX76LmzRd3LzTmmlZO8soitPlkVxTbUrJGLz/fWrf1o7SUHVMGPR8D0PaT/+Xl0
Mc6p+AR8co5dOSKahtdj9e7IQ1QJ5DHoKGs8pot1+TxLE+LNcDLv25tlPKA8Kef+ALgu/RQ9LGVw
DM6/MFEvfdNZ0cfSrdcXKY/Ny9VQloDZUwOA1CEGnemf7b+X3sAJXJlYPvNqc4vIapJ6efbWduZV
+mEikBbBbNj147DpLMtsBXoiaCbwHeguUc0pbVWCHKJ1izn/1LN2X5idl8WW4HW6uWd/TPEVEh2Q
YZrVGLLX2uSoFrVXq4nfIyG7viKRGe6xhr5FjrpWMwYmvSNs8lIguyZNcK43o8hqLdyxlutoBos1
AMJSdDPqxFFqEBpQQCR7PAeKyL++pG0/X5lT3/qClTU1avlYU3eCQp61X4q2kfzQn01XBcmEo/rT
Y3Qpv2PqXpCvbz4TXodv/ucgr62TlRuqIWR4kA4CGuFP/qI33JUuPVlHZa+41JWg/HqIhLOJm4nh
ar3LN14ZBW0zSe2RYBZrrH42NejohljA+iNyE+549XluJVVqkKBpU2dKOrcDPqPIMsH5EplZHGm1
EoPqZTiNKPsw5CRWnzptpfimJVjMhhAmgsVqw7jUwMympJ4tfCVyaX7RA7S6wFqMsuDo517ki/AP
os/DJQeanTTjOODp2IV03+v5sQQnx3WXF+ybxo2qNNDSQOJejwGFlrEB3dKFG1VXUv+6mdfi4bsb
5M/G8dK6ZdfHVVbhZC3apc1dxHytROHKg+gK6BlmNFSHQ57uo0fr2OwGj7q67jHNSZ6yE90RGSQn
rhQ+j2QHqJZFb9iT7YmwPYIQrXGxJiqmrNXDJUSb2IJwD8IYp2c/IiLIG0RbzgUZ5F9SNBOGCjao
PCf6M2afYkMk9SEysrjW6jzEGmmjSsLDsk9kX62SXSPR+wI8ode/q+hA8EwFca3OVcYqAKFVTHAv
GSwaxycSaM6YHqC8gaeQSOVC9J24iCJDt06J2hbvj0R5pnrvEwDz7TyiToLbTnA+RMa4uBKiotFE
cYNxmpxBi494wBu7TdY4pRAVITLFxZbYouZcgvQaogdfI8x5dl3vDDZxSqHamOBW5dM5K7elOUx7
TDbnAH50hR9Nyu2wjGpM82NjVgJ2A8HCeFB+mfYjGjYY8OsGelwEOSuQ4wzSt0pIp7vkHFeiDN99
jGUCOOpS6JBP+k5/UYpbggmB1G++KudF4GzaEa+/ze/Nwc8yCO2AN9idXkR8yIKwrXOBRK+plKD4
hl5vOJ0tWYamYCO4iEQmuBhC7FIGbTAecXEYQ+iRneuRPV8/2ou7XdtLLoJAWQxqUZVMgrxpnSLc
4RnH7MiVUGdQksiR4w/l+n+uCB50KJWFNOpWjaPWgR8MuozEfioxHn59WYLAqC/OugqMcm+CzrnF
hYfuieLK+Q0AtijXxKKJruVuvrZ9XOAom9SyihJZeHIM99WuPyyFmez0sSzcxhjoq8ouD/JLpYZ0
qo7lDNPXbI52dVXu1OLlI3v22wiP6Mstpip1IyGHsz4bEB4lxjO0CgUfZtul/xjh3hM1nYwyinFj
dS3kCRQMfzQi1YDNBhOg3v/uls2dzKJMEzklmJeZNNmhoXxkI9ga0FV6yQrIew1fUuNmmGwvykX5
qWh13IFlCkbmphGrs82f4B4E1Tfx/ttH4s5rX7FaU2qEhNn+PvYBhbhxAuDbdSOv8MN3bo0JVjB9
A7WKEtzb4yPFtaHHQCQE4c/pRE7Nt8lNHekTeBtO1Q5yfW6s7MjgGHi3tP7syzfjXX4/nbuDIcgo
tx9Mq1/CXZflDLWEmmFEDhzADHKWXQH+IOovnEEIUyVBDsm+Us94uL4Dm/ED0haKDEVU9Iw4N80j
8FBPIczOUeJLtPL1ASIik3y4bmbzzlyZ4Tx1LinpDBmp/4B+ssUQb2XDV+uHWf0A5BkUM7/Xwzmm
Rmmt4QLB3CuYExXrBzVBVDgJrqvNhAOs2kuhXF1EX956TVNEQzum8Bo9g1AyDQ+anoLPPvETEJpO
ofuRvfvXms63rmcFQJIY6t4QCoxBf3lJqtaBMv0sEqPfDPG/V/VuMh79hJRZOd40VBsfokQ/6p0F
OQIVXHIQ+r5v4y9R8QuT0oLlbXvgn+VxrkFYOBcgjEPKjYLjQs2pZROCpQA+df2TYQiK+2TA0CQW
RXycpgPR0UMcRozGfwXTskNLWxC7NqPjaie52GVbM/gZc5R5wCj1OCTT3ghB5nndK0Tbtvz76uJH
ky2V+gIHVy+bPQuTI8uTGcRx6fj33wfkEPilmMKXjXcAt0qqi0oxqiGYaqS6NbtLJ+1zHOORcn1B
G5sGIjpovgN9JgNMxx2quIiYXtJiCJpqdlrrjjIR5n3TAs7sooMJpAkPsTeyFLQ8ejoETGYORGoc
hX27voaNJBNawLiPF/EL6KNy1wkGFMpyVuY+aObCaScFz1QJTwTVz2npzJ21n8JWEIu2inxo10GP
EWTh+I/X9ciiWTLB2yQH0Q39Vs730j04H331EB4NL1Q8A+2K+/65C8g5EjyENlwQ6s5A0oAxDEVr
Hq+VWzTtJCL1ENo+ggXVTZOv6Tz717d066OZwP8SiKIRUK9zB3cqpqisCriFAf7wqB8xLyPSMtze
Qhtzf6AchrgVD3vsRjtLM7WEY3iDr7mRa9BHUChFO9PtfdXNmd+kLorb8tkMRG2XrVbPIp2D5ENe
Bmv5ObUImGM706OllIRWT/RlfIz98YX8M2K+e2EJpK4tnI3b+nJrm1zMpfmUyUqMJ2wJQfQaHH00
A5GPCISyceljZRriBjbVBgjzbYiKayi/m8UENCkonO4iRdIcXSr/kfoec4CGJeCw27aG443hdAJW
ey4gdnUSQl4LxV+IHEA9EgX1tjlM2VPXpPvrLrm9e38s8W8uadTmsi2UgBaNE6KOXpWPVingA9ny
e5hAh2rJ7zWV8/tRBdXJHENUzoTulGv0dQDygs8fWMjKxvIbVndIkbRSrrTIY4wC7XVmgif2p2rK
ghO8uV0rK9yHKcdxmXIdBgAi2fdMDv3BTF1riATfX2SG+ypzBqaRXmYkyKT8SY3Hnayl95XKPhD0
1t+Fc+q0aWrTAownyEhQGCZQHS+jaFh705VXO8a/BeK6apMOzebUgFS43APdi0GXEIDYOBEk5iI3
427dMZGnBnc+eEFHEAdPuvyjjEXELMuWcI8s0Ln/dmW+KG+TKTOSDql+yGZnLJlf2Oea3qUV8/Oq
FaQr2wvCnQT5ORBUGNyCptQGQR1WFPTpgzJBKryTd9dPzaYFTNDbmHRYcgnOA2S7SUc9ioaAzk+G
NTqSuAwtMsE7gJqb5tgi5xp34X7AmNshd8dL4y0sNrvUwxTF1/z79VVtYVYwdPRnWdzG0WnoK4XA
JvOUXWb4BYo8vYuZowfwbnSPAAwKvtSmlwOjT4D2XkhnuAgnt6TBGGSI9AECji0p3UEqXRYdbbMQ
WNrCjyjocy1CSCD5A1LwbaDLFaPTY2gkB1HpjLvRSw9h6WYeSj9HaOkZjuJOjwDPxztJ4CtbDQXF
0heIPkCyoCvngp9K5RKpzWtqMXqvlMAg9N+PrrTPThZKGoKVbu7pytzy76uIPlLLmK2EDQHRu8jR
tPl+SCroyRVlULSRKDfbPNi6gbc6Zk2B++C+YJebdTPo2YCh6uwzrZJzXA/gjs+Oid08dWF1ue6i
mxF+ZW45NavFhek4mADXD0Eehg+zzO6tBpzexA6963aW0/UuXhnEMi0DapgIJZydaZardDT7IJTu
Kkr2htV4ehvIao1J6n8gkCKoWWyedqRHwNRBDEznp0LwMJ2sVMuxjcWzAcavSRGphWztHDgP8OZB
LkaAPn+7ojbuk7KP8ViME+KM1u2co5LQCB4/V41gwp7rvSYFenLDAJBWaN+Zdgc7n9vh0/VPI7LB
fZo4L4kO4uqljtQf8fV3KOmf7doWXPJbjv17v7AULj+uLbtS6ywCcZTBDkP23I3hSZdRfYtsLy5E
xE5bh3ZtjTtGVT02WTVgKqjrLc+GmO5kNp5aQJU5FT51ll/O+/baFneGtDHutGHh2DAyuhszy2mg
o6mpFfTB1RKznSp+QHmjqcmOluUZAw6PbYU77r99xeUrrw5y1IEp31BR0dLNh7bq9omEMctBRD23
dazWS+VjYdTU/2Mhb7Gnjp0Z98pEBK9v0afjcgHTaPA0HTQlgH4vALwXxYgPZhR7WiTiGdoaC0ZB
wTYx2Y+38DvWNNZDiVLTwRM1FdYpiVDhBA9LJVUejTLP0EKnhJYgA/UpE+GDNjcSFKFQv11ecfxT
pAFj/wB1zjHQGwj5hj2q0d0HXjsgpvptgnPLaKyqnsUqikxGdRrb+QxkjGBOYatboqxtcF5H5A6S
FFGl4KE9+OoNXtkH0592qq+9NIKserOisLbF+R5jYTtN4AEKBplVbkeNe1WevBGChUNuH+pWPmW5
7g1G61ZVcbRHSBTU+Iwpm2oHaka7uEkOKqu90uyerp890cfkPDaWUeRltFUCYEjcKLVdIgsySZEF
LnlNEzCudyUZ0Ip6MjJ2KwG3fn0Nm7fAylv460yycq0P8aKUOwgb9ellMPMn+0NPvdVH5N8tmWZE
tJaVIYgrjK1htLhOBz9sBZDMzbvmz2L4UaJFsaJlFVRKNGIfEhqMDNymurlfFGVYJfj6r4PD7+L/
yhp3s1X2CBRwh0PQ+KMn+xkmvsJPIEqou3tZdfrzoiC/UPI2lUe8am89JKUDboNcFZyQzcC5+h3c
nddUbYk2EBLVXkNwjqBG1VPLi3M0K4W8uxvuQmTAnkH5pCL34bk1xshG/X3Ag63WTijImwDljz+u
e+SGz69N8K4CAZCkR9gegqImu0QDoaoOfIXg2twqFb6xwmU/FZMGhjY8SuT+4Btu7FvgtgvUveyx
U3IBGsX2wLXy9ytTETcNBGeAUXgCniSNoQhGE5A1D2bsmBH5VY2NwCu3PhC4TUEiBHEDtNS4dZWm
KYFXUokvlvLFZntJuoml/fVl4C+9z3yWpBSvMdQH8V7hAl9jxRRFKDW+YGyncxpV7nd9L1E837XR
hcZB4vV1uHBtS2CErspoUWVL3do0cDhy68dYlwYgTREK0HLjxlNym5GidSxgKYaw+EIG41CnVeUk
lf5ChuZ7XSiSbzKQK5rtz3wev+fUnlwbJCvFBKZrs78PIzDKAHT4KIOZGQjluHbScgYb0ICHxlDp
6F82zYD5YGhltSqwsbp2louM+UCigcORSrd2SB9JpQIVCQHtyrQ0z06lG0VhkxNF5WPeKX5W918K
OsgOwaUNnGk8ek0+KRfLDk80BYmmpc0HtBUaJ0Kou2RFPZ6lSeueJVXCOZkZ5Llpy9xYb5irkv7r
nNYv4PcLUomd2sJ+pGMeu0yXwJklQU2tVbTPUTVBdR74AU8K1dCJIF7nMJY8WWFya/Zol5qR8dxA
+ClVsnNoVndVot5pKHbiDpQxctdI4CNW5ZeoYP+QSNvRPJ5dMzFrp5aWWkRTo1rZlv6gWwPChgKd
trAIPUNtJi+n9bM1kaNS0fAiUSnoGahXzFAa/InGl9ZWb2pdDsDPWPjXPWwjBLzxL+7ai8uYpXWR
wr9yzcXT0gsj0UD3RtAEZxkEaHWw5NkqjwxDUTOvBktOLkaJaVP5ZpY1R4EYWyy6kzbOigaqHgWo
IEUGxyt3wc7NmFrRmCSX2TYwdlZkzpCmj1otieYRlz/EXUdgDTdQQECJBMzs3KGEtLJkp7qaXAYl
/NwpZueGTZPiJMaxU014nqhTHDpWDYlVY9JFfdqt6swb8/w3m8HJNasU5jHGO3uNS33La3byrtzF
OxHSbHNTV2vlN7Usw7CfpgSPhAYwT8mrYskFwF8QsLfM4GJd6iSgpkDL4+3jKiVDBgomLbmMZv2P
pldeorhd04uEipet4b/c2gy3dVbWg0sRCMGL2UMacZqU77GUgf54sEYvqZpLOoaJpyWxCM22tTwb
xIdQ6oDA3ztyO7CT2h3E46xAAz9gOvfOmAC007789WHWIKOhYoVoYeHqe7uJGZVGii51fEF2th+L
6AnIkIfrJrbeCOAuU6FfpYCW5R21g96S1s5bycRtviCp6331nVo+hkkcy4kOxEl30yH0wRDQmQIX
2TQNtQcQ2sg6evr8bKJa5G1ZxpEV1P68Y8c6dazn7L59Kc55t7dnkB3HnuUbpms9iE7B1pmz17b5
pxFYkNWYGfEFeMv9Aqk1/fJGcZkDaKmwxrzhpbYNsQ68W5HJY5vffsdRwjBB0dnxBZKrDwPYsZzR
nsaDwabcVZQ0OkpQo7OlSZDTbzipbYNsR9YQQ5eE463Zic2tVhCKWzIfHwbJ2AGz7OpWIShTbdQE
UMwGvTnBvBPea/xUSxjTeO4mFl8abRe3X4fsJR5OjRUo5FtME6+WoKopyHRfmYLeHnyUekE9uhDi
EXAycfFlUIzZpEmdXBjSEA+ypZbbjlPlGFnJnuTWPvSTikzeGkLXGBqoO6JC7DCrCVhY0l0rhwlu
YmPwkkStfSubJ1Cmk+pUaLkKqVYgbvMkc9POBBqW1OZRTYufTamcQb7002a61ynNzVzZP8aUfp0L
jQEZU4MkTbGeijZLz0zLalfr1Nhvs7rekwSM1nN2i8EPV5Hyxm8J0BZaZvo95gDOZq/0O80IzbPc
V7FnG1W3I6OMZktElCML5dmzx8l0RnNQ3CRqRM2qjYMIQi1dsZc4ja4UP0IxTxqbSBcjeb8UN72n
P46lI/sNGj7sME6u9C15bo4Ys/0pQpkvX4n7im8Mc+FbnXQoCUMr9SL1kUdixWEgtlLt0teL2MkS
gaO+z43eLpO7+qw2zcDg1caX2O6+JeX/kXZlu3Hj2vaLBFDURL1qqNFllyt27ORFcGxHlChR8/j1
dym497RLFqybPg000EAa2UWK3NzD2mulqWNY/RoU+nN0BCPoskAjBKnyJ6QI9F06HiQIwER0yCv6
ag6Kr9tZCAHf3Pvady/tnmVhPB8vw9Tema8nsWzI3EKPoSg5ZMy1TcSkl8fW1raCzcDildb2Qm/O
AMbnP/bmM5A1i1o0HVULwgx0U8kOUqsR9ahCb1szcHtzOFVGhexCm3IIpqGGlKk1BouM+wEErSuv
x0INwSBTd2QanwVkZd6voFXRZhYbo3u+p2DXrqHH0t5pIAIJ9rZfZDhKTuGNbrPXj7Z0KeD2W+O8
9gk+u9jrHzF7RszatI0EQmfnTGJcmYeu3tlOigzk6y+9aAb0thQclWgdznnT1M4YUos09nkEY2b1
WED/N/17jifgESe+cICQAaWap7+lqAqbKTmowpt+k0H7t+3svZ2v4TsXXl489iZmj9FjojhMs1cp
kW2l0QYBh7Izt8am2DJv4v3U/mgbrM3lL51ZPE04HyrVoQ00n8rBpRvjLsfOGc64mTqfarRBcO31
frzLpBN6dC2s+ZxMwJgxEYczkHx/QhACQ8WFmDIwEwlkWkhPQONPgcBzxX4qxmsZVOilt+7XB2Rp
nUA3oDYOimIDsKVZ8QJaJgKwahXdGxv4dLWLntU4PEYg9NTbU955ierKl0Eqg4NB5nOJgigpi3Hl
mC6UhnARJxAeNQkDG/zMI5myM3tmg65mKm7XLXRvhvfY48SpndaP3gyM5u2sNcjmwuUAlyxSDegy
4Z+5G+xamQpN00FaCDkazk4F+x1gYO7rDV5w6xRfFb1RCgjq56QXwnxlDPDjuVLMXRunO73OLjFN
91abr/jZRVMMPRZUCQGHn29iBv2lvBoqium4b0OhXqQ4cK75EB/ffr2mhfcQQmC6BVoT8MZ+ongh
LeRvxqSD1AgUY0rgQ0078r82sfBtKCRLoJVlqVBrmdO16rgIsmmhZhKNL7ogZ1vae7UyVk7/wpWj
CHOhfozdAhRmlieZvNSgBs/4vcC0077hNneiit1FpHrliYKCci1+lVyzzkkXZP9mhR9sT5v8oYuY
J7Thlo5HWIrHoAO+FsxudbsSuSxu4wcj059/MBKi88usAAvQSOEGpdi0ltjY4RrkYOn+UtSnISSN
LOUzBLU1oe8qVCQqGQfXh6ie4oE6sr80zAZ1O2ThO3VrBXjei171sqHYgHDQbeN6C/7IleRlgY4H
BVI4bBOsNHgn5v2+LFSVsIh67aylBBPUnaF5RCk0pxiMLa/TZ2nENxgpeiS2crHL/J40kDzKmz2W
ddeYGn6StbPj5mSr1a9x7C5/f7AB0UUOCekD0NvP/G2lSSBJhwLoO6jo5RADNfntaP8br/PRCr3+
7pWQUahasEJocqns6ns/sGOZ0wdFD/dfL2jJGYDUabpAUOv+BJPNRJ1VMoPX0Sr4a8njH1W1psC+
ELBOzNuorgOIi1Bmdk97a9BI2sMG0e41q74Hx/3OkOHOMhEjV9nf0+khJkbqi5NsETB1zb4RqxSM
PyQAlvaNdcbw6DctU1eOwcKuodxqIywGLzGO68yEAFluPY0LnhXtt+Q/Su35r78Kpoj+fBG4z0/A
rWyUlgb+DHoOLOkBjKc5XdGsMl9N+z5Lw8D5SybVE1x/Mq9/mlVsh6aBVZReeZNeMGzuj0fh6ni0
qze6WxuvXAoBtYm828J83hQwzHatlVlh5QlWNYUJ5Ls4Zm7gtS4qPpVTb1fb4Ave88rc7BYFXR+1
Ud3QczxsSugz3vONrjkpIHdv4jHc9z7YDwpf8djg/Yuv92Gds/Netmml102N00FLf2ily5SHry0s
ecmrtU0H9MPLoKWm2aCZSs/DoUlAWSa9VHei3mmyTQ1IYedlgAo55Mky3XCT+Ws6bHQhWJlacgxc
y8BkfI740kQpMSZNQbVFB7/W/XzPflelk98EW3Ecvut+4tW76lW7j1+GCM8ymMza34GKBm+Uo7i4
draWvvVEYgZ6QR15xp9Ryw/7EVtdrooI+9GzxB3i7+2Q+n2+ptbxedVgSTMQPOGpxMDEPNpOaBoi
pkoRDeb21gbRxE7vKtDZqMUPrtqr9ZnpPlzfT6QTeGOm9ici6z/1mw+LImEU54xiUXzEaKT5FETP
DHytqv4Yh88ye+1iNGEr6XZV6399vj77N/SL0a5Gmgb7nyCrMiWqxJiRBr2vk5KDv1Ws6et9/mBX
Fv4UFz+szS61oOwj3JFcQLIyQBoYN5s4+/tR4WszM5fDzVpTStQEz0WRbwpjhEyhzd++3qyFU0E1
E4SFmLtSASaelvphKSV+QW6ZGIROwco2WKpD0Tjl5g8R/Pja0EKchr/rg6Xpl3ywNJhJlQZVrJ1V
DQPBQfdKGnbbMik81AgLL5Yk8dATPg4i8TC0FXnDKI86KwAT79PRGXi/Mti4QM2PXwR3jiCV2Bg+
m+1vkolRG1tMsw/Q9Qt+qxQFROFnp6FzK7SJgeAune5O38HL+i1AA9BeXslmlg7StPcoCIMX9lO8
qFHAb6C1BoKIPL9naHs6gd7cItpYm3lc+swgLDIZRM+mTz1LcpHigtWDYamFkTkKtMdL8W0sfjdi
Lfr7nNZgUIihIYk5QTiZT+HSqOZgLy/Vc7IPd9qx3g0bfUOPaxu3uB4bHBFogaK8Z80+XVeKsoQg
hQpgyo8MpyMdmUMHdAoa8ddpDBb0wdLsIW6j0KC5gNssItt0qk5CbiRD1wntnq8vyNqSZg+v3pk5
D20YCnJ2aPXnMXkcumaXJyuY6QU4x/WKZs9vMGD4BiJ8BOWl1isfFMcEoxgQ/TZ6WQ5kr15L1463
a6/u4sH4sI8zRwPeFz0LUks969tw12xrKF/Yh3I1cFq8UR/MzLxMq/WjlVkKYKUm80v0UKGh7mhi
XEFdLnqzj8diShs+eLNWRV6XZ5gdHQ7sAMWDBmQDqh+5gBShBd4Vvuz89abc0tP20eqs9yAaWqtg
kcaITl0Cb3OnJyux+9r2zfwEU3gPfkfcK7UZYkdqcnCTvvG5YUrnvzrubIZ5bweGPBFV3TMpI+EV
MnuRTH2fwEUO42rkfm3tz7DrLBz5eI3n0Q9khgqzEKBu7lzlTjmaW+JLHIxjeG+ETvpceWQjnukT
uP7c3/xPExk115UfsbK5bOZK8PomJEPZ9xzIs2bcGOnw/yDmWLzemGMB0GWqvUOP+vpkorGXBHhq
VfDNQL/sWGz7Y3iycLdvAFlyND/fqudsTaMNxXb8tfMNNqDGy8D1iNhrDnzRolgNeIGjqTYBc4qs
uxmspnGGUdyyvL9XcypcydBMtAruD0qsOn3borsb/LKbfGcYCuBORr8Jm+Z7YtE7PnQdqjghCBSC
wgHTMHP6APiyIQW63wLFckAwnM2bN5Izy7c5Jp8GfarVcrGJNKRHaV8igtAfYj12x9raCta/GS20
n02waZlRtwN9yfdODy5pD5WLRmHPkRTfTLN66JIKs050rL3eRszF1Pa9jEMI2NDwmyTpg9pGr3oE
uuMGsndSlyA5qVtzA+4HL07Le6UQpjNazX1lluRUp9YlTvtnxpJNO6gHYkyC7jhwrRa6baMyR1ZQ
b6iT5KC1tZ8MEblN4rjcKGzIHBDQgSRURpfA7N1gzA+sTJ71GoOg0nLGpH1jgqDmlTyXJabM8pbt
ObUyp4rMX0HLTprIcqebrtQ4JndGrW2GRv6kXHqN1hkOLZv7IoJEtAk0j8ty9SFAyIlVg+8uHGrV
GzIoGiNXzJ3IHEo0A9iwU1rL9hIkh24akuqcslZx1TL6FkJ0eqOh1+yUiSCb0VTdIuxuy9J+q5u+
9b6+z0unHOkSorc/PN9Ap16fcltRiIjNDNmMb4IXZXCSFpzJxdZ2u01ZuPElvwV2ju7WSGIXXmnU
91A0x2TnQnEjBBeRPYQSvHajgWF36LqaQJ1UtyNpV+KBBV+PbBCKdojb0J+YeyylK+LYUjArW47v
bUGxwHTz9SZOb9Tsyl5ZmPmjhBp1ZQSYaFEZQPSYyGZ9tUvax7aEXh/7FyHolbWZX0LrCUDVwcbs
N0QilNGxe7mJmeLb/0Led8qjddBhTGrMn6fQWCN7whFJjeZvTjvMH1U7K1hjQFrevX+szHbP7AvC
SqgenYUqd5ZSnMJAeFzU26E1bjNlTZZkzdxs+/SSx2E5HTyzS51Cf+JQJg0FNMhj4apDuPJULR6+
CS2JIB4woHlaqDaxLTAijLSwNo7mYF9UPXv6+vQtvIZIz/8xMYvUJIpbMelV0MrVmdsLwxE5xrUR
13xtZm0l075+CNRI2g0JpSGK3jQ45sb4oCYQ/vvaxhR2fbpIgKJNIvT4d97qzlJVpp05TZ0XagzQ
2bNRbGrMJIjgzSRPRb+m0b3khIwP9qY1f1hTUneKLKevY/PHMSVu13VoWFKvsZLd1ytbPHUfLE0f
8YMlWxXUlsAin2v8p5NkBvwQRVBY8exRVkHpoC3+9yEocCgggpkIUtCNnnl2bigmaQdE8Lns9uC8
8YLeAk55jNaYuJfWBrYLHO9Jtwwlo+u1QR8C8UGAjGTUVTdJXhrVPslC3wWCuYjv/4WzRWwEWDDG
wCxMq15bK9ScFcrkbKvk0ILlNTZTpycPqelX4Rp9yNLV+mhrdj6anoLJYdIqC7oXoJWAbjmmbC2A
XxgNh0r6hxXNz4YGWvGEY0XJzf8OaENIfd9sku+dB37sXeyap/+H6sRCIgmzFvjTgRhAP2Z2oWst
g2MqUd7r3N6jbuWK+wAMWD4IPqtT+mj5lUc3ya5/lzlwJ+4anePS3ftofvIFH26EXo4dyjbY21bX
DnE0AB1fci9LAfA2KXodX9+/pThn6m7CIgHMBYjIa3NVgKFSu+xR6PAbHxUq3WXQ8gBX8sb0uo2E
PkS6Kd24d8gaedrCIdKAQrEpEJKQLtVnB5YxQAv0ICdnYVgbphheqjRupVorHmZhP6/MzM5qbmZR
mxadelasnSmVY6w+og3nc5aspexrB2fmWCyZRmoG1MW5BTVE8qbpLgpH40P2M93qXrTXDhpE/TyB
iPmufQ9XWaWngzF/JEDZYEAQE5uJiaDrL9lwPSt6UpOz3l24DToPCXCP/txZ70UGKWG1W1nvwvfD
xDrk2gHnwdszH3nI8fCFpAywsSNEq/lTjaKEKpp/ESjY4CI2dMSoYJmanZI8yrnMSKyeU1U/5lp4
oFz565lFjN4b6I2AGwaIiXmnb9QwnZ/WjXq2BHPG2ICs3igv4BFae8aXHgTcMFAyoHugQw/z+gup
6tjUfYmIOwyrfWzKjd6Yt1QCg5dGXqQmj1/f7aXI5KO52cm3+9rIuZpB0mKwH7lSg9jctNOV77O2
ppn/yFL4UW0iAy3rQHMiYvuhIo5iUHII+MWbrk0vX69q4T6D1hE+C6BxS4XruN5E0IBLOowayKs1
5YgxqTupCX2jJUri5kEbrPjHxUNuG+idQZQE2PjZJ7MS6D9HKUMaCP3ehKVggDCdIii9rxe1+Kk+
mJl9KotX3IgwiXMOk9YTOIb2WlV2eSEYzyAUy0Dj7Hrb+qRDg0OBbAE4zXc6hgb1rD/23Zpo6gJs
GpcJp/v/7Eyf7+PzlY+jLjV0HAofPE8+dC3euy0aL/sMThCJM3wgyFx4463d4qVuizElZAyAUIrx
k5n/s4uu4iH47uF++033Pfhdn7sX4UMYDGLI9K78Hjx3lQcqVc++aY5refvCPfhofV5uzPFmp02D
Y5kDY2uMVnTQQ3Vv5mYOWry+d9WMRX//sl2ZnPUowOs3+csIi8vOSs4cxbAQif0gMt9+fToXzs6V
IXr9TYPeNosuRXMHhQsUroSLhMerq7UMdCngu7Izu2x2jFqaHuILGt/qZqvi+Ag/PHT9NsTj2fvj
i/pebvnPtV7PwuW7Mju7fIjdmwhzFWjT6aE3hKmrrL5iC+gOcMj8czjnYVYrUk0Jeiwt7fJ9lqHT
w9Hd8jBjZjm5Ir53tXGLaXyvocUl6Mk7znEGgaWqWHHXfyjhZ1HC1Q+Z30/06IwKYONz8Jjr30Xy
mtDwmNL6nauFZ6n5FlqEgWPZ4jUtlOe6LC+0DO0dNYtdlIZ+LrQDUHdbGSn7oa+flNH62afBHoKF
UI+p8GSWpbpF1QKpNrW/0yDt3XbUdrURcw8KdpVXGe1NZSunRsYHpaoP0IosnaQqN0bCbisFZU2t
3RgdLq2t4EU23mwhNiDs/t0AwLuRUyGEmOyHMo4TBYPwEhYYroHb70irzP67kz+n8c41latxYUOp
I85/5cR4DcJkmlzJ/v6ZMW1NA5bBmGaT6Czob9pmLDE8YIC6Trp199Y3F0zh/pdGZg4yyVvaYuTK
OFeDvsubswRwUZLB/9pZLB11NIDxjw58BMOk3rW3YDyyInVSDY5VjGtrpzi9oyUqMJZ02PigsdsY
aNC04yCbjv0I3NZf21+4zaiRgE/ARCsaqnCzVWJ0rxzGGApiBvsVBr91Kla2cSEAgVoxYC6AzoMq
YK6nXlS85WIAXzGKq27Gn8cCjWiI6VXVGvvQwptyZWl2KgbAPSHkW4ML1IyO3My9ihoeNbZJcNd0
v/9+24AUIEAg2kAqzHXBm7HXxqYA1zNl+QGKuB7J10gSlr7MRxMzP0tSqsd2DG6hAgW5oHzu05XO
88I7BfW2f9Yw/fmH2GPMaUDNmuANbtDVaL5T8qaz1VdqbRkzD4qsh44ksVGy8oxXO3Iqx65QIXNe
az89KyaiGzN219jjlo7Cx6VNf/5haRiJa6rAwKHTGu6qgXCq/GcYfQMu2Sv7tSu8tsLZucvDKMh6
M+3PY/QSKG8DmA/+u8M2u6NVFqMP1XZ4cTEtX5jyVz+GD1+bWAABIsoFChmVMCipGfPRnbE0LUXG
OND9JpK+prkMbZzf1Lc30QH0D27pk+ei2kdvCOjTzZp00MLsybV5ev3BKOKIHIz6k8qa9TzN8lJf
3QVvIIr0YFBs1uLPPyC+2cN+td6Z2y27XtZsAGZs1EPQJjY2wvu8j51hCMtTj57iNmMhSDBa+1Dp
9QFzG55Ug11YxIBgBvwmSKx3TOZcupaANaIM1RMYq/ST1ffP3Fb2SSJ3XMlvatnvU1KER5GCgGLl
my2f8n++2cxDsL5ogyBpsYbO2BaZfVDNzLPSpvbsVE29vq3uCxWixWpAAd4EZ3GConFe67e9oA91
lrhdrnkRwPNOHq7RlCw4FxRybYDuMWCLNvTMuQRQglJSwD3PHHBwjMZW/JcSvH+9AQtPC3ohoMIE
ugmArTmjy6BqHKKecPjIcbeYSXLMwfJSIIJsc00tfGGrr0zNtroPdIZ0CcVVZfim9tRp2x5w89zh
InZovKahsbaw2eYxW7RNYyZg0lbKfUyRBlbHQmggNfn19Q4uuK6rZc2cc5mGQ0Rt0Z95AvI8aECg
9/+1BUwC4erObhpSdajggA4HCDFz5ovLpkZ4UzIMYVhEvEdNoaNngXimyLtvCrD8jhirW8xRVwAn
5FuiiVOjCHDDDJY72vY5aHUIiaW3Ie0uTdoErghF/RDGQAWmY7iLtHaX0vCsFU3qkDKpMfGMfjkd
y008TI0KUWqHCE7PIaMFGgARbwxN33Wa8GJz4E5XDvZG6uwBEyR+MbQI2wFxBPLLz+3ksefyXFC2
zSLTz4L2oJHgPYNudheUuzYgl1C7cFncQNHNISIqvMDA2HNZZD9AEuvVRnhbl+pr2wwHQZKXTG1P
vIkTD+2v0AMtyV1vlDecWO2NGtsbKxKdG6jIYQYVTYIqVH/2YIF2eUYOFi0eG0P4FlQlUr3xTS7u
tN560Qv9ngi0i3Oq3MlgVB1LTRuvsWPmtB1Ic8Z4p4924cSk+ZFn2p0u2GsCCb/OGHfQL/ulGeFJ
Zt1dYnfQKiD8rJV97+isyzxVVpuQ5BfTHG4rUd2KoH1uKBL1LnxiMT3oldiVlBwhWla6GE+2PUt0
LwVG2h0V5P6gI0JIXuhiG1ep5piYeJcphvlGdLIHJDqbMaXbYIx/Kna+kYN8Ea16w+v2HvSUYP8f
h00jyU9zEGCFGY23ulRAHGRGNzowH1uoL96AlO5IYxBVDWPglDW4JRqWIVROsn1qmA/RRBOkpujO
okGgO5wZboLRnsTmp76OTkxofhmnv/oyyJ2BxO+s6X4KOWou6IoTHEX7okUEZwj1CVUBKENiDigE
Z41nKKBpg25yaUPbJiZA8WTDI7Gy1sl0ZDp1i/NTZunNIKO9aArhxgJ5lw22K6DSQr8a46c66yOU
xbQSaC4I9ObFd0VSZHGk9Qad7tHGPg2jcuKkceM0AQCHnzRe/5JsgBA9g8dp4ksy9NKDSO5GDdir
jMdX9CVe7N5615php2eEgnqAnECT5JvF6Eva74G/xxRWc6A24Y6t5K/NoB1G2oC6xXywY/LNboO7
Kq5GJxqIX5qZP6QckaFd7DSlPmYN/TEO0IeMitEzjOZ+UJXGDyTfY9L3UY2NpzggjRPG4Hsqkw4D
+Dl7GYmWgWyqg/p8yLgz4gI5XRU/jnGOtzYPH1kr30gYTvxRDfgC0lF6A2tqP2/GwhsInv8qPEge
KI5MAQ0bpp+XJfGB8XRDxvi30o43tFDulczedRk/IJ3ZCaG+5YEmnSSQHgYoTkWT30veUKdpq7vB
ko+oIbReXtBtnYqbpLa8rk62kC+4L5Pw1prGPIIAArPpxazphYf9ibaBh79y10Dw2WnT9nfZQlIh
QfG7b8dvY1lXzlihZqYiTg/7ox50W1uvQQEhNuBfRS8K6cgQNa80x5nc9bH5CpnexzIe70DyjX6A
kf7oG/2BKEDBUYGZmSjctC2etEAO21BQ3HASHkGxVzgYWoscMpAtSuO/gKa+ABZ0CaPiubDEXgzR
6KWZ9DqVnRJpnrJCnmmf7XkV+Won9mk/6YQl/DbvpZOJYj8OwzboyIbXEyOVWscOqrupk1LjUYSq
Q5rqVwBiDmcsO2tX6Nk2GTDvrANntaNcqF5fF/c5/HQimLyrA8Atg/Bi5m3qWC3ou/oWXDppqQEP
HLYb0aAWLPT+oal55NoM5LpKTH4koz46JOn2tV72Xl8w0zXIiAZ3yasjs7SLXcnGtwt6a3JF3SUk
eosSzUcFU+JOiWpTpG0D6jM6OCQ1BKBh2nMGMlOXNRlzTZG+pVrxG/W/LViJmWNJXnlFMR4UgsZP
PvBLkYb81BZxdWzJ9AUM6+eQyQsKhmzfsDR5yUseOmM6HW2lQEamuDTTL3aaEbeeQGtAiDG9uC9q
zI02apQ5gcWTSeHjpGfGDyUctpVAM6uFWwmpGL0wB6hN69ptGUbgy5C64pqQnPehLXlfKk3pFCG9
GcAsBoaRn8JoLrzrNgoB6VpbqmKrlukvm0CPrdfUeAusQelZyWh7IEqQN501JC5p5LCpWgtBHgD3
DpM9etylAnoMMjwJwt5VIy6AWNF6N9GzdygHkoPGMtMtB2UbVNEhCPIjBQm3kxEwT2CcGOdNvZRg
IoPm63AKsuQbnmUNhbkBMbT1kgbWJi4EztVoea0m36O+vFGM7jHn9l2vRSgThjdM67ZRAj3yGKIg
bXrbUfROwz7YcKLtOM3ZcwdGuGwwL/CQp9TA2U+UhxB0MIa07lgvb1SmbIzU1rwO3EkQFAPAbajT
2tebdAf8DdZngnUlU4EvapPqPg4koJZGp7hxFj5itvfNLrGmJI9PhV01p4yIwqkzsKyUPHnjjHxX
TfGz7ROw4xktEBz2JeH9dxsEcWDw4vh/RWfuzdSI0fUt91ooT9CEeEgZUPU8fmyLEJWNIbiNNaB0
OwAXTO1U67mftOVNl+TbxgC9nG4fUp0/1ioI3wIdGiIKHkcaYD2KLHYYN9jQcBCOGap+34wGdMJB
gQ52qMEJSOv3kX1KVDN0DB6dCCDCG1lboMWztEe0VBMHBC3g20xQUpQU+UksD5x0Tx3jR2Mo9mDg
gPZ4UsNJjDt7KHZQK/LHVtt1RQLaZFJsUMPZZDp56oPiRxWo33mmxBjQ5eld0pDM6Uhyj/Go761u
JY5C09iltNuWKjuEY4Q7krWaTxLtoScEmOim8EurvyiBdVfq4a+C8i3mTA59PnhDmwBf2XljAJ8j
WryDrXFJsuIGM5dPXV7/VuL0xrAqN474W6m2+0hEe6hJ74whxLsYs8TjFXtTSL1PJbTm2rFBWG7k
bsGqfa2MvpkOd0rTfMts5ahH7c/EFNtEg34VQ/RRJXTbIl2STLhU1/2KjwfoQ23xLoJCjVo3tAGJ
YI1XXXJyE8bde1gBpczlVkvz3JeZ/YIhltDLMo5pce2EHMjNAblE575zYsvosDcR/GSUPIgGNGk5
cLGQcavO9ighGtNrPk0s3UE6KZ1qVI0LlQGGjzXrpQnITZyH4PobkqNSTxSKnO0JcFKOESMU4+AK
bMzomzaqrVvJ+tmGVjNaDfdIhZ5yVPncyIpfgxi9pLS6tAKFxDADYwKr8CQTPCBDPeyTtoe1RPuN
p5Fv7d4kTsqFhN5meGxVggCvd3MRvSRF+UCVMffqNH1IJdlxsDHlmRAewAi+Jo3WSQ37gsf1AQzS
b6PoBgDhMSk46sZwUSYitbSyj2OOXmAfgSKuDgXDCx89ml2Dtn8sG0+MUYbID1WaLu1rzwSW6k6d
koK4yq1TLHBGINwauUiKKojvBtE5NCAg1/cEk58MEbHd0idu8uoOGLZdy+r7Hlk7yfvfeoeNyOJj
Owa7rE8Anm+yM61NFRyTBnWTEHha2rLOTdBucAoaRjgknblpa4jDZUbf70EAOSl9sN6pSGc6NAXT
pTEOJ6Ul9gFw/HADUp1vYN/UnY5CKotlCblLUoQaNV+trk+FpK8yqVmhKQI8mYdU6c7AET/qWncO
SH0gws4cHVxUlswxQti6JvwhYk4QlZhd9N4wM3MgCnVGuwv5QDOeg6wERDr5Q8Fzo3DTzxNyqFXw
rYLruXMGpdlqIL8H2FmNvMK0N1kd/AQqZccEJvdw91Inrqt7Kysx5Nt2d2EQTKTk1cbKqr1VmptA
QyLJxsHPOTKIiqJxz3qBOx+9BWYHCaCC7bU86xGq8xtIRt1LmZ9VMezsioK+VwQXkJvwI7PHaAeW
UHmwG5BfcfCQgpSzyFbgDJ9zbVDXgfcE3BVTlXquqEHSdOBNapMzSe0tSX6YAoFJlbggV11JhRdI
zmBqUloE4AzYoXl3HDDyeszroDmLIGEeD+h7wYNfUVF2finChyRVGydtOuJYJX/IGnOFFORzSQbm
0ZfHZBtU8DCof11jS9XADHJba86sSmsH6uBPJpTBQQC1xqi40NO4tjSr5gVlEUMNDOpxoxqceWXs
u1rbZnbvo2J12yWKP2KOHwMEwLQTyHdBm7T6WSIT/br0sLxehrkLE5AmcHJerzcGm0hQGAo52/Sm
rPm+BA0s0bdfG1E/D1pMa/3HyqyEogJe0ePRazHfAd5NR35T3Nd0X2zEneV9bepzDQqWdKqBzwJA
DgzzXa9nNOo86qCmgJGO/mSqEinB65iovizULU9WuDM+V21gDGD+aWgX9HhzBplyiCVSHHs6LPle
V4f7ROnfvl7P0vcBd8wf5kYVkLrZeSRcL4IuxnUYDMONtGNn6a6BSsrXVpZGja7qT7PquRK3Ke+L
FLTkmHSjiDs5vMpD955uC6/1axcRcC88cRffx4/2A/eRd2R30bf4tIbg+7ylqIf+UwizZiNW9Yhy
ZVdCHy+tXiPxC79pZalrBmYbqhZCGVpQ6Z6B7PEjRRMOjuba3MCCF7texuxyj4VtcVZz/Wxp46bh
QImjBIv0RVUQZIM7h9Q2UqwI2YUZyu+WDFab8l8/g3M3KhMF40rwrue+PRrGjWncyLXW2BK24upb
TVv9oYHUWXVmQvlUR9eKuBOqVX7rFZdvItfaan72rfnG75vj2gn5fCOmrTUn9BRmTMASdW01QmHQ
MDhKpUUM+FR7kKjRW+P91xdi6ZSAUle1kH1SCrjGtZG0aPEkG6N6Fu0vosltXmb7ry18flIBGP+P
BfzXtQXw+415wir1XGJ4vQwfFVD71elhXGXwxN8zj4c+2pmdd+jnsASsx905S7tnJax+Gla2RWTx
9PVy/iDPP9nR4HM1Mkl8zYmIDTtMeNBiULCl1osVtG+0JO8Nb14gZrxnI9guWWm5asqxWk3LnSax
H9FaeVNLY5sNGaZQrQ4suNoYHkeeDS4mb/aqoReoiYUbU9GfpK05VpG95H2JcjiyLNdWmLg1hl4c
x7C6LbkFdtuwv+VcHT0wqEb/Q9p3LUfOI80+ESNoQfCWpq0MW25GumGMpfegffqT1H92h4K4jd35
rhWhahCFQqEqK9MOKxTWrq9zoweIAXH9XccMCdEnSorGmAdzoFDB6nfhYeFd076EKbBo7a69kU7N
Kd9FF4hCW266E91t75fxx28M2wbuakzwWAvz3UefmZOctFoOSayFwBpFb0cC9rjB/Jhu4znqyt+1
aW+UO1Gj+POJ+2iWS6mjMmyppMmQwFPIZJNgOMt19qi0veA63Urd4ToqaAvBNPkJNMu6xIT8YQzl
BlQWzKR71RJ2LMri3BDpTreaZ1OCjO/1/dw86Cub3NrCeQSp3Qw1LoOAkido7nIWfbtuYqtvC8pX
sBYtYGAkJ9y2FZDxNVkMGyBocPWXAjPWO8mDDIHdPDDTqfYiR9lc1Mogt6g5CoqWRItSW/kbDxMn
w6yNYE2be7UywQVIjKpmFCMbUGezz4MHyMI47O6177kDim5HceLXLnbJId0Fd2g0CWwvOdzHYwAO
HJBaoqEJZDrwOB+PgRmMUC8f8T0XVROIMACKHoGFh3kQCoCkgxudhNRGW9EaMG4weCM3MUGA99Gk
1snxkGYwaT2O2W4Gjq601WdsIyg32t7WDDu4Z9CeP0tCUuutzbQAFaQg9AI+iB/UCvRJaUu0vfA4
/VbpT4UuOHWbS1v9/8X+6hYfQygu55hb8lmIRgKqoqT6FoTnROwzm5Z0qHFC1AAvSR4PFEhKBqEG
dKMWEof0oBygyj5LTrlHE9OZvQBDubfxY/tdFL82v+DKLrfCvBmULgvxBWdMumnsuRoy97pLfrYA
1jOQIsomSLKhE8p5pJaOegNu7s7vk8SBhPpNBl7X6ybeQWYfvf6jDS6lVHIyk9aaOp9J46PeYhg8
l/bJGLm9PH/t8AvsXk58oLT3QDrKe5VJOuq5+bmqILeRqncSCSG5UdSPKV5IwIEOftIJJz5FH4J7
fkHzF9M5tdL5bdrfWk17p8dMRDH0OfTgQwB+s7AF4GDwTzyUGAecU72DrAfeIKH0Akack94U+7qv
DhFF0VqXRCF8a12qCri+DLJEE4Wcj4cEmFESY4C3g+vG35KfxBkMgEIcTJkDvewZDtoNJbV1Yajb
tvvO4oeE9xP9etNhEKbIEtW3xp2FdvpX/VTtSgdKEha62Jf0KXTE8+Iio9z1kVbpMssYLW9OFXgR
0l3GtBQhR5cLgndnDDov/ITvK+MuEEmPC7TwU3QRjzFCgeUNO7IT85RtPFIoAIiA2UDcwVy0Fz7u
XCMRFGJ1yEFNJ9OmFAx0joV6tRvtZB/DaNQ1ij1z1HP9RTteP7EbaRPQokAGISE2MA/P+Uwp0XqO
kVz46QCJRUj7pA+ZIhp6/hxTsTzcS2CZQn0FIywfl4exCaWYx6XeMap7AK+8UNdQQQoOc97978On
H20tfrO6KfSwyUFtOMy+KoOnI6l3zaR8CbPqZCnVtxqzcNe/30be9H7d4sLFs2IZVP5oL0CtOOkw
8uAr1XgGnYY3G+NXsyLwfkBYvUjqjHOQLoI/McoEZi5rLiF4gbYlBhvLilrfr/+gDSp0qoCIbqEE
Q7D/pEaShmGQFHk1+cSs7JzcFXpy3829PUTMxj36MkXFgY6PFUaGFDmxG5Drj2NmB2gKZ7H0Mky/
huqLiozF1HYs1F0AJ2w03y7Xf+aG3334ldzx1YaMSd1SMhrwaaD7AbSF6Uyx4V43s+F5H8xwu4Oh
qbk3wOXh69ObXgDOAbTQhMZxo4jmwbbKh3AAHarROEWIv1z21Sah/H8UQlP/DZD+ty6GhHM3uT1D
y89oUZwPDprVQ8c6PmZoKF1f6JKec5EK6ZGGkgPaFIpmcOdYDgF/SdPa8NGtfgQbtydpELxiez3A
CHGYOdetbe3e2hp3zTdt3XWT0hCQqWoXorZuOSd3eVcIKvrbizL1ZdYSo2jvZ291lrWkr8ggA7iv
dpiQnXNbGWd7qA0nAY9NIiIf3PIVov6xxkUOAG3mpExjLErCpxtuotB0C6jQdhoTeOX25/tjiXOV
agQsLOpr4ue9aYfGo4FhKRn45uubJPp6y3pXX69ujGgAXgNfL8VRb0InyO6IOu9iE5C96H8X5QNf
8PJuRMRZQg/ngDWy/zSeiYE5O7+tn83k1/XVbH6z1f/nXK4jlZFUMnanQcpIUJth5cuAQuV1K5vf
DAwQYM3XMVDHA1HlWGGToqeGzwZ1hwLAfZ+fimnyytKwS9SH/pk1zuPkttVngA2Ib+VQZJ1BbG18
qxsLbdDvo1CLZPlnfIQA7zqoibE86Lpwl3CH+f5onCTNV9TmZla1fcVM7/p6NmMgmmJIeWUkMcp7
BX/lcmY3JPM0ViCRD5P2xuiUAK9O8J2xOOjtqY5qJ9WWCYsqc6ROqdBLV0HMXgvCxpargMFIA409
pZ/RxFXVWHGXQ75UC7PHuUDhXGfxqe90wSD4VncM6RrKu5hhgr/wNZMyngeIoCQTaiajO7upBwiK
5YyOtM931qshSNU2NhA5vaqipAw0NjTTP57nTAvNEH1q3Zdj/S4nhi0NpeBW3ni1rE3woi6ROanF
HKFY3muAsACNOUCNkoEEQVWdcgArRC5Inza2SkUVDW0pMFrTT6oDOQaa+ygqYJAV+4Tp+3EKvXDo
dtcdc9sMlAfwIDPQHl+O/cov68C0+jLNIFTdfQMyxwa5ljdVooC7uUHYmX9Z4XIaowrrti5Q9LfY
iQEpr1UiTY2N8ITP9ccC5wKhBTgonsu6nyxjf8CwWSjxGKFsB0TaFb2IWmWrlquCjAsiRtqiGcbP
kvQ10ydqwuUkkHMuiik7eDgwfZGbOsyLfQxJAqN3EFV7NrdrZZaL9YPWD10h9Zo/M3ZsKsOFuN4t
QOd/43wrM1xEzBTorKo52k+s+crKrwRgh6QSxKKtp92HT8jF+EGJkyGWYETeyyfra3vXPyrnwAVC
9Ovk4qpEt9I6iopJW4+AD1aXL7xyeN0qUi1N0v/reqWHDmOIhb00AWzzIbwJj62bH4s7yCEd0vvh
YB7JQ4zh05/XT91GQoXeg0kxWoeoAqjVxx/RlLGRDCxGF1PF0KPxGDYXmtyF1dfrZjYPxcoMf+ys
eU7DeZm7rOXnugayTe3HnTrOe6uud1Y0u9ftbR1z1NEMEFmgYv5pIEaTwdbUpBjiAjuYrUq3sUh8
aWtBawNc4qZMQK93aqX7AwbsFGiuqVnn6HLhFWx2jF5wrWzt0toat0tqQyPdGkrdz0NIv4MurMqx
qm9sFvVERYa4fQI5SC23DLMwivY9SopjyZ6jVtuFdS/wO9EGcVEyytOwRsd69CeQS7YkwEzF+boL
CJZicX3RUjVCU8Gouj9q4MkElaPeHzEN7tXJXzxgITX0b2ezuLRaKzsJdCYYugxk6S7KAIutguaW
gbRSBdL6+qq2wu7aFhd2oVWnTikSR7/rv6kxRi3bwyz/xWFd2+BiLgBiM9DZI77cbNwAG+jqcnYr
H6fSOGp9IsIvbe4TGGc0C3VYUIRx1rJWkZIyWeYtpTsjfP1Bukcmmo/b8jZwVloQYjPQFeT1K1hT
qhAvjQjgUegi6VFxoT35C48GMSZqC9Aw+Sw4lQWoNVMFD4W4GU5JrlzCchC49FbQWfhDwKO2POL4
Mb8kSNqh6QfiS7qE+au2jBwrNiS3bdoHANKPE8pJ3v/ub6h6QmfufXPeJztXl1RDQdQbZKhZ0PIX
Rp4AbiR2U3cCr95aGOaCLJngXQfeOy4aIL2EmlXe6T41MG1G4tzGSN6PxrB6R686yYPE+v/OR4y+
Hyq5mISF6ARk9D5efGqtlVTL8C5I5sJRoFmtzeZLxF6uf76NhQEEiEYO7ljIQfAFJwyV62EMpWqf
WWh2W8CxT7UHPqcjalSxoxYiZRiRveWwrbYrM4axrJRk9KvZsi2gaeWB2nJ1P2ag8gBS9frqNoIR
VHeh6kroQgzBs6SVOWWYmIlHP9VepQoakpiGG/rf141sLmllZDnbqyUlxlSOQ4eIF4HFw1QeQay8
70rpMDWvTfntui3Rgpa/r2zJU0KnZMSMb1CBwg+TNxLFjNkoepSKzHC7xHJiKhLo/UDqMjoMAPoB
hMStXAjevhtR78P2LF92tZoUhNvNCKYqvxuCr3kUgYVnmQD9Z5+MyxjUNiBKOOCyaGaojbCLSkbU
Rl6vGxH5ABcfzB6oformqB9J4QFgexssUt5kRh4N35pORDEg2B6DyxxMa5TA6D1rflkF36JExVTO
BHkcXfTiXbaZq/as94cvx8FIOkhKq/s1hinM4q0xY880XlNVVMsUGeKSBrygoAwwqsi+1WBvVdgn
1QCbYXGqkEH8o53iw2qeSLNRaHjFR1aLWnBkYL61HDtbH4FHTsKbdhR5ubrt5osu1cKcChXGj24O
Sik0WyOoERTKuIOqzohROWU8VO34NoGbwilpRncdRj3tXim90dLvy9Y4N5WMfZWqHdoNYIYfwr2l
6m99S0Y7NuTfk8XAA55Hl17rLrEZVvtmarIdiVT/+gdbzsdnJ/j3r6ecsw3g92taGdTx8kz2SmSG
Xt2qkxMNGWZZpRjCXqliOFXWFYLgLfhsfFcxmOWmLc1G8Y0II445S+8l/X/XWgTgC6+v/781POl/
PZJWH+MJgijtIRkiB6TlKIP870jcj1a4qzwz44IWCmgYrSl+Mrs2tCG79HZ9m7bheivIHOdlihxi
QqIE2EHfl3fkZbrtbrXZHaKD1uzzfe/0aN4HE2hdMGR2LIQcK5tHmFg4qhDjU6FT/dHJsVUag8cC
a5EqtwBhFmOyr0EjENDd9YVuuQUI8gCLRT9dBTrioyEag+aY9cC4dJZ1KeXwB47Q8W9MgLsA6B2M
SvHZeKWACb2OAc8b6Nca4LxJJOm9uVkgQMKowMIx+en5P3QlpqwVgMrIbTu4gze73d5SnPEc3yoP
1m1wn/rsjpzZL8kvBTm60Payk6tbNyN9GjaWIvtx1x1JO/8ItcmNcuMw5vE9QHQ3kdZh2n5+tiTt
1NbUD5PonM6dW2KEfYKmfDbNMub5MSgySoVIhXtze5FiL8zP4Frk47Med3MpDzVAWlJGMHIqx3aj
9yICjw2+Q+QVeG0hlYeaM9oMHz9CbapEshYE5oABQSd+sHaYH3xMb5sDhIUbjNY5qdO55u/piFEq
vyl3IszE9jYA1YcEH81/FEa5X5BCRDov8AvAexA59V1/lG+Te9CARl/I4+zUuQNKAkf+nv2yfgoh
VsuFygd1PCvQ5KWgGfvUdGgCo1Mb/X35gyeBhQk0zccFzV548vfAu36ctgBdAPJai4AzknDMq3xc
KkqXqWkBv+Ab92jU65fmWOxA6/sUuAYGDW/Jz+RF3TFHn90qteN79UFgf4mvn1YLGnF0FUErBs/6
aF+SIVdiWeGCZG6OrT08d7pN3MbTUF53movlYwb4usn3JtV/NmnyoPdQj9UhJUAAJqEHKG+b2RqU
FMG+d8xsVPX7k4XxgTIEJHABVmJM3s3ecuZIrqhgtoUtAdfrvxZv8oCuSZqA7h8WP1sQXdqu24Mi
pTvmN5ijdHJ3+g4ZXMHil5SAX7yhaDi88DHIv3MhukZEncxkgSE+ao/gE2q+YjoXFIb0NNyml/KX
5aj3Zr4fpl0YueYJY7e30f76b1i29NpP4IKc2jSdzCqAoeT0pEy/M+h0JrdA0RnTC2DtjgYxt+sG
N7/zetHcY6adegn6vQjpg6Pslj4elub0h26n7vJd9iwJrsGtviEQGn8+Mveu6aYm0XILH3mByGPW
zJm/GB6BRBg9TIfycH11W++btTHuBPV5J6nW++JArKJUEO6Sh72BYZ+pKU96LqoSbF0CK3P8A4dY
g4nhKOxeWJym8tI3Inp8kQEuIhn5oqpIEBGCSvMSk0FYcNb+Aiu73qF3NtHVRdvERWBmhtL7fV7Y
0fijEVbDRcvgEktDq0F3vIC1axL9GHPzuTZ7kWNvPTbXe7H8htUqqr4zK6NFJCtANxodmgrMEeAl
ve5fG4pt9MO34kLG1KZmLE/wZno7vcQHePMhd2IneKyPeBY9i8HmAo82uAARsnGKMm3BBrdd48u9
ITvFaDxaEfuZxAnY0aBIIphAFe0WFyEU0lmRYWK3kiz8UUXpN6tMBVFh+dWfwx4GZlCvJkBnc5+x
AjuBPrQwYaqqHQaRG6sgy60w868/X98xkSXu+0ENUa2m5YKjbXJUO/o9mtrnDGwYkLfyrptafvS1
RXHfrcWodqiq8A29UbxQy1K7k63dHOQ/r9vZXBKwWyiOI1PAZPZHTwebVZiAZWLwG+23CVQjBuZ2
aVKC8Cl6vG5pO3ivTHHB2yxBd20u+VdyJBRaXdDHDlzr2+hMLnicprNIF2P7dloZ5AL4WDeNGmqI
qP1OP403+cW40+38KO3ByvFf2BN8yvf0exU0oimfjBScvH4m3ylNta/y/KiV5KCDoOX6p9w6xxA0
BVYMCBBgFjmPL6vemKsRCyMg0QDPoA2GOVAynkwlRClFVJPYWtfaGuf1CUaBSrAo974ZG6CWMzGR
86XqtYfQoIJg8e5tvNevTXHeGKCLKhe61eN+L47kt5Q77T705NdwtIOb+qa76SCkPqqYOxKlFlvn
bW2Zc04KilZUqwbZb5onZumuMt5q4EW5vm9bsBDIXvzZOM4jCWR0y0bDp6y9yTFiu3uIkTL1eHX1
30Cx4lSOWOVjC0ixNkq4YlYxxnoC5sbBr76Ou/Quep2PGegxIb+o3pc3igNap+FxOIjKw6LN5F9A
3cSImS1J+PhDuq/vKHVzaMabnmJivSAXcau3JnXn29gVTchtDGiD0fnPdybqx6iW0aoqwEwG9LKc
vGh9oHvGmAM/B08Gf2l3GBQTTOrzQ4MIcReWYy6qNywGrjgyPwwFppVMTXJ889ZTwP3hNvfLWMei
A5R3nnoQEdKLHItwCYs5SGZmWYgIqFIO0FBILyB+jJ/15eXlgNTjCR9ZsoXfecm1Pi+TQmQT0of0
07gshAeziGIKwkcZsXfDA3vEae096aU+9pchddBeE8yz/YeV/jHJba0ejlRF9MEwVgNGtaFQHGtu
7nPVOlplfw/ZyAn0+OZDVut7aKqEuDZbxVYI+8HS2dZICUbEUQSk2czkQGdiaQAXyou8zUd/i3Q0
DcoigIDxY3HE/P9z7NXmTfdjxt2m3Pa/ytmFPOX1YLKVWVGMSCpAi1JMoXCXQKNKXW10de83avM0
gObAlQNx0W55FPA7jFLNUnaEHcABPq7M0spQpT0cGWLpIDq7i2Zp12k3RowBbTRIwvguNl7ooS8e
rq9u85OuDXO3DoTZs0lTESqbXedpu/lonKHKm9+aTugPN8YzhtswvnTd6LJN1xbLXT/9hDPUB6R/
58nQDv1h2EWH/+K0bkWH9dq4y0a3giJus/foMHjZa3yheDbnx+nYP4MVVeAnwi/JOWdr5k1BW1ib
70Hf5dAXBeLaplfeGL8Np0H5RRQWtu7SP8vT+TqQOfWolTMdb8Aqc7WZPjUl2ydqKAgFm/WmtR3u
QVvSgY3lsjDDBtEa6FZ/TpfmBhx8br5PvhAJOUN5SwDYo5BP7vflY3EKd5V73WdEi+XiUdNOViUP
+BFWeDeBHaqWwV8QFd51K1s52HqpSyBe5ZZwzEgN6YRPCu7ToCshhH0pm3NsCgiStoPKv4472NA/
2mlZSkJjwLMjwzhpTyonk35dX8kW1F1bL2X5oKulaFUKLYQ5xN0c9y4o7DQHL3FlpyQde5lNtbCT
jLCbGdVTTH6BeEfKdZCpJiJG+c3Xwfp3cAGm6xTNAvczvIf+0NrarsmXGBMyBRSSsxcT2Nw42RtJ
iC6k7PRGYg9A+F3/FNfDDfi7P36JNofcKFiZBh9x1VSfS5BMDlPrdNJtBl3pGSM7cSOCWm/en+tl
c7EnVGLWWkuRsPWCPSgWW4j3vS2sLsOuU231JrnQwAFjpDBFEbkwF4aWhaa9HPQYsqd7pbfTc3Wf
3Uf38SXd58f2SRrdFlymZ1FmL1rxe7K4criWma0SR7hJ+h09zTfKE96dfnzLTtZevykfm1+DkMVG
EHP190OwsmlAYECadNwk407bZT+MQ3qJb2OH2JPLLjNxCkcUdIXL5AIRCMZJScv3SyV80B3m56fo
fsk5B7d96h8Sr3BEClqCLX0/YqtV4gFoBWy5L5UEBHho9zduDze3tbg/12UuiPdbr96V575/85W1
fNJCWrQ4sEosOyMeMOP4nQ24OiGynrDX62dTEAjfv/bKGEKgXiSUzv4gv43FCyCegsMv3C8u/qBN
pUd1hf1S3wwo0R1BVukER+2OPlILFe2lRvFfPAZFH5GPOXM1aJL8fvzDgzWgA4gh18QNnsaTGtuF
VzmS4UTgHUZkYLYoFxFclu/9wdVXhRpNDIkLbGGGOdrobh7ewun39Y0TLZALM2VYSV2emTh58Rtk
7XGbUEeihUsnDRCop39kjC/5gIUOEjhqK4NuLHjUxsZWyz0hBsg680sxiNiJBF+PZ0aJygKk85Bk
8iXrO0A8bgw6cQYu6+trEjnm+4jEapNCPHTmfAkk0Y2OfFH2ABF5bA663bnRQ+hgCF2YMW7WClZn
m59/AyyglNgyx9+4I0h0qOE2kgNG0eixt5cn7NKynKNDAFqmnUgwdLnx/nPWD4TFx2tYqjAIXcRY
r2E+G9YhAuEtkEfuoP8CAr5pRc1+0d3AP9x0RjBeMb7fR+UdMMK7/iC1trIHIOGsn0MXPBOiVpbI
c7hYk5ajBVEUnLsJs8DMgMLgL9kU9X9FRrjQkka6koOaf/A19MhCDQiDOQTjrVCAeLnIru0Xl8GY
s14D/mf0PridnlRIj+wki037qYp/Q9Atc8EQ/WQ22jmYtde0zRInK+kh66p/lirzU4Wt2c+RrCAl
D5vhjoYd5himg+AoCoIZP1YIoEptNBXFiQeT/3F0+ye8g2W73BsepAFaT93RXXWKvO6LJohsgs3k
B9gsbQqmYUIl1gyzI5npfQWK/cwUsRmIXgMan7VA8iMuCA5+v5s8pKPhiaIeOu00r6bCHHTzUgfF
AMhCKFFMviIZViwhTYlFjc2rId9aqQA2KPr/3GIUYK/rZumwMrxHKXubZ1Gs2g7OqyVwD8HKkDtL
TWBC37PjAL5o5D67Cs9Ot7wZQeU563Z6b73KIjjfpj+s7HJBMmmSto3NGf5QqV4HbKI5/MwNdf83
Dq+A3BXUP2ht8IeKLFjvHiPIflP0dp3eMhadc8Zu+ondxg27XzRvQit9m9PCq0vJHeP5B+taT+o0
KNvEmLqYusvQzKLftVkG+/O7+INo1SF0KQJQR08RRB9GtORqdkjV5JkN5gOxSge8+b+HdISOxA8S
hq7gs2wm2ivzXKUj6BpSpEkw+/KJnpqj6iU7G/djbJPH3tM8kOrbo0//Jt9eGeW82RgUtTAzMDHN
Q3aKc/1sEOi6FDX7GVfqhUazINptu9i/956fOYpZFNbjhLJRFbqp2R/kNDmZevRw/VuKrHCOTDRI
ZKArj2do/trUrzMLj3KmCHKo7UDwZynLj1inUKXc53kVz8gLQevUa7u+EizjPwSCPya4K53JkAdp
ItyC0P061nfyrXZAsSsBxqtzZTepnOY524uG6jZ7SaCr+Nf51Lg7nk20HkOjmf061ffowUAIVj9H
KvudSKbdkuymoswfKciygGHUmvBrEZAHGvYvkAh0ixmdLiKiVNnsK69/E5cPgAif0GYASRIq/sCb
xRet8sDY47RHKM8kQvpF0VnkHhgxnTAYlSazXyDIKwEKtxA80cG0b4qCvcCSzjXulqdaC2nfHjS1
5AFAkQMZ5WemRZdAs75cPxUCh+XRv5oMUao+wjds0LVJptTt5H9ogYsmJr5SpGc4d12VH8lYebR9
+mdr4K5GK6Zzo48a6jx18hRl+o0yE0GIEn2m5e+rcy0RKM/0CUKUNgGdU/0s8QK7vohNkO7Km3kc
YaEqETAZ6ux3SfWit6D5KhgmuNJq2kkQ2pjiCqpl9fduBo1P1wMSUpfuNLPzNMfuqBAI0Uz3tDIP
Rqjs0M3Y5UN9BIi5F3Q4RV+CCz/EADVfOY64kVBNdIBkyh3FyIQcAIJ7V+fiDSTANDKBLMQPpClx
ZDPYgQHoUkpAS5ntIZeDQ5GHP7IcdeLMfETGn7h9J6PJocX7aaI/zKw9QvP3Jg+zgxIsIpZKC16/
4KbRLccywGiBW+eXKVdfizi+kxlQ4WnMdLeXB8shWV/ZkqZGzlSVgMQYFNpDLIICU/0riRoI88SP
HQTJOgWqUxq9z0HBMWWgb9Egmyelh3Sq+nMuKS8dpvzsWsr33dDP+2ZMIq8Yc8nRMXFth2127ORh
RwcTqntxCaJh9M29MYgMRFBGnW7MThict1s1/9bT8gurRy8BFMnOwh4SP2O8H+IE+nHD3WxlDAId
eCTL+g3alX6xdIFpB3mBsDhOTDqatXpTT8MhsKoT0pd7Wqq7MWhfuoE+xr381qepHxsTFNXGXZXI
91XIJkdjfejKYEByJy14bRrpd03Z16GvQNFlHSRW3iSa/mbU+i1mc1RM6lT1aeqGXY+Bnz6pBtCl
TVD0M/ZqCWGcmd7JSnVOtfqUtRB+0jHKNZgyql5q5OZhDTHc9BAWmdfMxamFYkKhWPcJKx9kmmEq
PUp9o66fmwacTNWo2hYkgGJV8XqmHvNEc4IULf58+gppmEXU8MJMKbGzqIQIXj9/VRMMoiQaygrT
8KY32q5SDajcdSdQQp+Vcj6Sjh3i3nhMe/WICcdzrNN7ptGbtjW9HgxDxkS9rtMdaLUmthQZzDZH
k9pGZXjQqDpSIxFc9IJ8ReduN9Ip0IJskUrEM2ZT0xe8B3c6pE2uhx2RFe5SgzwfSaYebIZhD+UG
UGzbY5T97uqkFGRGAkM8ypXJVM8DA3eaCTxGxdKjxNpbtRIlYIKrk5/i6+tYBZkh7jMpAIXX2IKH
Z7J1NIyHVhAIt8s5f1IiHvFK8pRKcQtS1AHIixpI+31whBTOjn7Vd7INRM+9iKRk2YxPBZCVRe6i
I0afEx1dVtDlDLbevTYz5HvMJ8pSp7ZOkX4qOxHh1va1hLatBbJGk1DCZbTZVIBCoUFZVT7FB0v1
ItWpbwNff80B5m9djHhdAtsAXekENcwnCP2K+hvvmgafVr36BdyNY5jRWCgGaLhyS31pOuiugewJ
nLcVVJPwkoSWTrwIQEH+tmKZMzZV59WkfShk6pmxflPPuXYiiWE8Qkx8dlJi3SlFeId5XL8uQLoG
YFbw1JOhgiwYPaS1otsBg+oh9MDdjlinQhvZLu4M3KpE1+3ZwmVAagjstdUIDTsTbMdxlp0SGiiQ
cxteLPDXOOgwQkKymR7ZXN+ZU3mGbsRFS0PJhhTjbdtXhdP1GMnUpSn3hiIE6RbYe4lJElfL6b6A
6K0uVd+L2cKEThRDeygn5z49D9QATaZRqxfQYobu1LDEnapM96IsriD4jrUXfRo4uEkar87USwvx
064sk9t8rO4gnDLb5pSIWI+Wy/jaDnGXNSsw4JUuIy+JkT9QhZ3VZnirrfhkQvaxV3C9/UXQWnkE
HxohWVhoMapjDWpFIHCzG9K5li5IXLdfWgu/uwmAkwEQzMekTwlzOrchSi6GPXjmrgudqN0vtNad
2x6Nl+GxLKCs64oappshbGWWzzWbYQjTEYkgMSe3xf1VdDkoqy6A3fxN8FctSjSwfGmEn5YppoyW
htVBqwjqeCPDNZ8bTwrTBZFyM2VcmeFeAFZpdJUaoH2hz5insJ5AXSJYyHY1EdwOFogPwKVHuGuM
xSWTahNZaZGVdq5leyibH83IeoF+LVTUS7uLioe6j76gtWcTefauO+TmCiEerwGWq2HOkTsARlKw
DBrBuNw68qWxxnujaHbXTWzenysTnM8rTArnSgZVtUTID9ZmL+Ok/K6DTOD0m863MsN9SHmaepJ2
Izq7FK/O1iGsORMt8CpFpI4t+Gb8IzcpAqOmOi6zNIYq8ninyf3fpBwYDZCJZYDCnaf7KIdJiXPa
9n6rQOeoQf5mRY5MX69vzOY6Vla460nqosGw0hTeDbByw77MlvEP18F5Vxp2U10qpeynEIuqwOzR
agCuiJi7t/OZ1UI4D8uCkTVyZAKfc4nlA4a6zsBg7zEoBOa/GxDzATovxK9uevXKJudu6hRW4CJA
BKJqvhu0R5Y0yNREBcZNp/5jhZ/qjwkb83FOgL7uvgdB4QwzZIchgN5CCPEfOQM/xs8mo6BQz1N8
WnQ7RfkexCL+x821GDJQt9QClRqv2We1c6NOFg7o2IPOSg7Np5hMoRsA33OARIGIpHbT3MI0SaiC
h+P7HbkqfPRWaYZQfYd3tyDeTQzPBLdlnZ/1QjACsHmMVoa4Y4TUTUW6jmNkMDOzmcm+z0UmuIhE
i+EOEoagKn3Oc9kvS1TQ09Gt1V9JpTvxKAKUilbDnSUwaMWQRsczhLaB4ZSxvKim/tXbjerwAoKI
/XmsG4IJclZUsj/mNzO7k+g57gSNrc3ziSewCXYAQI757H8kEeRqswkmRvlcaV1q97Fx35vlX5Dj
QAnl33a43YcAdzXGEbCBNA1uaWzsitYQ3NGipXCbH9CsKKgKExIBt6KCQd3+ZkQwuB4ARFa4jWdW
rA9SCSuTUTmjclfMoYuT+c+McFFTmmiY1gnt/A4daDOsLz1qrI7CxHO+W2U4ANshkw2FGlyky3JX
xx+0+0YFdkXZz47siGlmh9nGfjhWTryjgv1Zvgz/iFib4lyAMFR4xkX/g6blK+lzJN0dve9petFq
5cwm9tqkxffrH3Lzdbs2yjkFDadcHiWor9A3COp65hnNlL382px1t3U9aodOdsoOjRPu0FgVlfm3
ggSSVcRVDDYrUOn8+HHR41danC7ZVwYwVVa917QiBcjNgZi1DS73xiQziawSrtJS2UnQxgvBoSXJ
36UGusbz05TUiE6QOrD+IiuCyB7SLg2EC6D8+bg2bZKrOZAihFpQqc81AVv7XwTztQXOX1KqzBKV
JBSi5dRTdSBKlSwGdBms7SAvFrw4Fz/45JwgZQWjAr6myZejMR4AxRsCYxr7EmQzMLo/tOHeGHo7
UmqBra1bytIJai0KWaY8tI+fTlfbeoa7oP1avuJgukxJ7VnNvbISrWorWCE1BoMNIM9E5xkMUTmX
YmOEvhEhOfDPP2jW2/r88/oZ2/x0KyPcPnVtVbJGZ4vsjGzP4UsmW046FV6IBKxMREv6/BIkoPmw
QO6IrB9yYjJnLmNBZpVNA5yENMSHNEtBOVWMaIug0oKaGf0ut4F+k6H6eNLL+BsDKUNRiPAgEKzc
cpj/R9qXLUeKc90+EREggQS3DDmnnXba5eGGcLmqGMQoJsHT/4v6/nM+G2c4T/e56Yju6qidEtKW
tPcaPox6kVhGqAFZWoOpRe26g2hd9kOLrLWEsWXiWAHY+H9kwoH1ni3TE6PcOw50w6Om3URC3sZR
tUtYt2aTfoymAeqy1QgcjhYH+I7Q9CvPRqPdWq1xLm1964hxnZkzhtwim2mSu1HBVT6Mo8fUUjCW
nnxp1Tei0Lyhz3ZWZ91UcMSAi0J+n6PoxDXFAJYElmQY3HrId6OIAmiCg7kkojMHIPbQJwzlWn6b
DKm+LVkdJLVxbw32qwVXdGKPPuo/dyxN4d6cTr/gy/WkCoJSGrh29riyYz54cSzuxciFa/V8pZJu
z2YhLauNjtFo/xzH6s4etB4VW6kHQuuBus+ddtVa5aYgzoOuqZ91CIvoTINGGmSyjqrM/2h13a8z
luswKQEkCv8PUsJjV4HwCEkxu9V9oQArr+jWymGvNMGaNZ6edAMgFlvTOaJrgEpngL1XpH2fxjF0
mcNqLy6TYuV07eiG2Pa+pcFJvdPVCtWRlz4WB3jXVG6RK3SG4ikYEzNQGj5SXpBnR8R3cdne1lN5
bCSqjDB1l3HM1j18JWAzD73WPpIA/enTbqqrbTW0t7jMH4veeOuTbMuN4YjMCd5Knei+yo3X3KJe
nKnKGwttD7eCIDak6aIz0bqDlDdTAUWTqc7ygBRF5lkK8uZxaAWQ0/RDkaBBUWqPaTGrvxXV2dSg
9RyZdgV3iyrIS/6ktfaTrkEaH9XMB1yH7I1BjG2awOpSEqiatvpd6OAILkDLLSYBiT+0R1r1rPhw
jtN4rTXD79KqXoWjHtDx0V3LVnu7UC91a88e9AcIwrXw+86DUM9/OzmsBXQNSz0n5RYObrC+rtHj
ohDp1erUdVDHcUuzBwXFUCeqkgedpkeuw3uDyRxtEIe7Oa/vsjqx3K4cHoxJpF468JtsKDY6HV5y
Xr6lyurdifP7wdHGIGLDeyQNsMbaQXPZlD8abXeIM+08Kvu2UHbjUliwuU3f4clBg6zXDlWo7ccK
+jxGj5JvqkPv1OHJ2RaJnOOv8jo+DpgwqiUQ07O1167RdmPW/nQ4POAtqMO1DVyCWsZGL6sBhMBr
PbdJ4cmieCa5Zfu1UY4BIXTwZM0Tt+yr1B2pM0G4HZLjg4nSS9Xqtygm/Ez7DsdMhZ9ISnIE39Dx
RieRftm2w0pylCWNEF6JPTXOjikidMp03c16fmK2tm1lA0SaZsCyqOpXejTcJW3nQQl9l5Zw4UzN
2zCh7yiqgSDfJC9Kb9dw/31MtPQRmwLV1UIpt+dwNOqmdvCSAUy1FJ9DTTqo+1n6GFnqobDlQQ1A
XOTt3pDFeMh7MXqyacFpGeS9FiaJZ4z6c+a0p8ywY/iqRKeYtcSXTf+jZwX1qgnpOQwlUlERennY
bSD68BAm4gh2wZ5J02vS4kblzQRzvHQHK/C1CGNoV03mW9WbMDhP1rwRj0Mynac4W5Eob7wSAoFQ
7Bsbt27s+4IkISA/CtmEKc8p8nWJ5qIKae8RCQ2sUMLmSeteYRIFGQldCQCRSsPvnfqBpPJmVMld
P9jIkToLt6KsDrGEFkxZNr+IUSdu0s8OA0xb9yPNXLiLQwZFR48hKh91VRpu2JsozjstbtCFxrd1
VI9uExfZTu+j0E1TmG1aDZob8FP8WdeDPxqZHkBKoPPrUr+LxPRsppqXmcZzyhnZOMpErwVtbq8e
zd96DOFu5jS1p+fJQeh1FSjdaFeR6HB1LXvTzVA8XXGnvYWbw4FWleFmqYLdVcqeylDBtbR2ooC3
0UYmOUqojK0J6ch2Qn/7VKt6m+jqRyrQc9CtaOuMFB9q6NDm7WrlZcm0IyQ/xYOZoVLd3LDCvMcA
e2/oQPtW+W9cyXwtgdZgB7WElUPEbwApxFrMMqgyvKsruY/6Indj1o1bHg03Duh00PMAjl+lk/UG
Gb54B/lX+GsM2Nwoj/gtvNNwDzPboBz4bwvi8y4Q+TUcu6qXRlitpxSKSTEEm0C9Nkr4OoEIDU4w
bLrs4WelkZtc8p9VzOH3V3YUte98WAnirK12NvJuJq+Q1R+ILZO1nZW/4BvxZDTpozXMIpqkOSch
vc2TetWZovf40PxI2/A3KOWTO6bYhYBHdJ5Tjy+k1yDSHI6bVhLDHfW4XQvZPhoC6cBKNWg41OV2
gmamaxEFXQxdQptOvaSm2keVQd3Smn603Ir9jNNw1Wr2LyHZa1/Wa5YV5b6EVNEz8rWzEpyplWnC
Crpx7mMbIMFxXsQMbhQ7y7Ibr6XC9FRj4xGQwfUULtsD3GbAPHMrZR6dAntA6zPikhrp2m7VOTKr
fWaZIxYyex0bHUnS4K/oTcAOKRLncqpCV88SEK9RdsduG7dT0j5klg7wSbuzY/VssOZAnOwuNNUx
YUAGDPOiMGjqiq5C6iyHR2bVh2jM3qRWqKNt95pnTcUL4K7HTta/TF3pXlv049y0E0HIrX2V6WsZ
Q227FcW6icMzQTIPqDXgBhRCWwFoRd3t2+Qcld06KuU5JvbgmwXTPcOWN4VRH2JSHouuPJEp2gpr
LDyKV+C6CGHaEplhjmmIwT6u+A9imxBrcFLDM80oA/kyPJXEfuhE5axqAyx36jzGCalBF5icFREc
UhwJXTUqeQdebAM5zjUQKH8iYuyAalhxE8CNLu3PfUM3AlbLbj4WO9GGwPGCtqqNxSbPDT9Ks9sh
F5siym9HHu7k2K5jPQOoPtMHN47aNzC+/YkJXCS1I23tzK2d8IwHzR7mDW9Z0h/irtgOuHeMpHTc
3oqRQodXXYb7fIDviTXWXkTpsSY4Egum3loDEnW2FejDuBF4GnZWcmPEqY9OpU9Gy8+iZOVUFNqA
1jEtgfsA/x7ZR64MmereoOItNMshwGPWUHVktTyyASd5z62VwcKdHZLnOrMPUqtvWMhvcD7v81o+
D+DGQ/B1U0VT7ktSrzNeHoeGnRrZNq6ixkuiTXtDczRXpkicXU8jd+ra29HqzRtUK065KaGozfCR
4s4GArp4MIlxK3v2oBl0RQgaxrJf8RQUJ6udDq1qQzw64juRppj/dsvbcFfROtASZ2OME/IFdFs0
E8QXK/rTR2Cg4qalAqeIYbgKZ5UYVg/CCm8o6R5Tjh4wbe4GTvZWT3YMnCBPk907AD8raUD8L8oY
klLTrrQpPUJ2Ah7pIp9wBU6PVRreF92Ee01VHapIe6JCL1xtys9lpVa5kY/IdCUk+/i4BcbgmDLY
W5mkQ+kqE8+M14e+qjhcPKtt11YElkPxbdroq9rS0ONOi1uahPsmUS/ccG7asYG8o4Y2srDbp7wb
35qsfBRTdNdmzVNdlsptC9tYh313rBzjBxp0e6tRNXhT+YaX3aZP6vWkOdLLJnmM9PBXr43nxJBn
LVWPFOAeZJHbKrb2hMJuO8XLBQ+vQBFxdNoY9o0wEUpm03ZiFftSV79wxfhlKPYA97MVXl/3VSNW
fVq+xLKFpGrJPJs0mYd/e2oaa5cn7I2N9JbSPKBc7ElVPjTEeeGsuGNFKPzSTILSbFe91uRBK6c/
Tmb+Ae30wYxBeYHkVQCb7psqD1dN3G6GTElvgLVb28U1EELjzQDv9RkbFHNA67WezGZvXWB000Fz
9BV0HoP5hEtisSUZWbdtQr1JE3sGGdEpszLYKzcPelQgg1vc5wUINhrBxTAXzi2p28Nom7/jaNzl
Mt7HNRK9wYvNRIrfxAErB3r+77HQBjcz+G02RQMOKeiahbb9FptAW8gW17lUZvvKTtb1YD13VkNc
lOO31MIXzSYLFsFUD0xL3tusBn2vimIXcMJrhPeL0s4fywWL2uYkMo0UnQVEEu8Nd0iMAhLJvePR
aBZOd2iM/9bkWzLVTlBG494ejJMUfQbMlB7QqT5rRbeeSvO9z0pkzF4dFQD1CWM1rDYrAC2gRZrL
JHItwJLWeoHK0feliIuVFQuySXNVBbKri7opuht2FfayO6Us9oAlXOvO44Qnmd4MV8rA89/0pV70
30hLtFNVm92kZhtcc53f0w3bDqvxkF03ML9Yn2VoADCdmhCRXZTZjCYcaCnQAqgoOycOXgY4fdKk
CNKWPgwJuQtBlWg7uDMm6SO09K/JE1ysIKHvrRMdVWLIwXyuVRV9pxzUonUgPwovC/nBLCExNMp/
U+v7EGaupH4oQ+syp1EcYTorJ4Wdy8MMguxVUIZR8P0K+Vo+QjsFlqD/d0CLCTVxMbIbXhonxSPX
gPd7XugnJ4wTtwKaMtLjrcyYP1jZJoeuUSe6a8jXvyrcX5bOh1+wKGBNPSsbOWnGyYgmNPgKcBE1
AaW0ptqMqaavZrMjN8mzvQLA08tN674M+3Sr94ntU606skkGkTUxt5BwfVeUH6fO0F2hR08iHrFC
KkkD3tDOhXHNWeYSM1qb0e040sovK/zlXTadlcp7z0nlXcrsG8VI6bGonwKz7F6wOX/ALMjPdWc9
peFGhyUyrBnoebRimI5GRNvrBoA5OtcKrxRG6UrVFL6ZKGOFkkvi2wWMXgWtbikrcMxrJg86HKR+
XIz3ObPvYGv6XA7xY4Zep1uG5m2f9X7d1+uhyPfwktr3JPkh1bRjTLyJBOJ1cRYdQRwK4IEu0RON
Ohco4cCQI/I7AMvuYGDv8ebGUbh0UkvsaJhnnp0PfsXGs5aF0OK1dz0ExkxpYRJkUAlo1nIc6rX1
psXxq23kBzxQbop4WkFHAVpkxhY3UqCSS7meywVtbK64Gg5cR/Z1JtzCRWSBcgmeFoWl+FA52woH
Dx4fpl+SbmU68c8QpTLf1qmHC98BHP5d5OBUqxrke2t8KTQnoBl9Kjv+ZqM7grZr/iMxaeIhzZ9S
juqANh1Eawe0rO5EYe6aMdp0TfqgWSBgEs042AkYESk+m6lOmTXuiIoaL9flY5XT96qHhZA2qOxg
5KLy2WCgQMvqNH8kcTjegM48K56KZ4CjccQNIF7lNMSaH9i+wKqrHPIrp7Hyi56A9hnC+xCY2cey
Na21yibhWaRPAxrjD81QrjVpbBjl9+2Eu/o0bUeYHiiZ/NSt8J0X1oBr8aj2wklSIHcn6UcQ6YYd
FSbG6uLS7Tvy1PXdeuDZc4oFtM4IvFS+3/wX+jHocpkQ8WUo8qPj9TnLcDW32yl6FtVUoLCVrit0
Fb4PceEEQgiO7Y3pg2/5Il+OysCTLGQohkvpNYNYhUnjUSqCTl0pu1/q/HwKtciZvYpFPYQQMiAd
dW0UC/KZAoxqkGkfbTAVp8oH1gfl3+TKNF4cI5QvdIdBNgqS35+nsclRbetqpzspvfYM3fS00Amm
RHo5fJ2/n056oWkIYXO8TCg+HNRrFic67J07AnAHzh9thVVU4KENxGRZJb3XWLXjRaCUGUOIVlf0
i02TtYHWX76xrGRNzDHAe75bJZF1m9S9CPqiq3zUE98dUsdel6ofRXGXxLLf87Gy1pmIf6gWEJhJ
HVQM7UWUXrEVa64Hw2hSryuSzu84IG6c1NuuqBu/TsdbJsd4Re0I9boON+Dvx/9lqudmB1odlNm6
aepL3Fkj7FDLOQreiXPqUS6ay+5JhtphO8XXrn9fjvpFY2WxO/pW78D5QmNlgm17NbV+GArs6i74
F0P60L9ZrB6dN1pGR4TJnPyurLs15Hh9XoZ3pdOevw/1dYsshrS40OYotA9x3gwnQR7sqHYTSGiK
5E8c9Vsib5n9AEIUwELXJOIvzSSazg6DMSmk45bNRKURHiUKYWWpAKQZAVYs/9gsuTKTX9IZM0zd
ogRyiJBkh2Lc531od3af6CIeTlyRXyyLSs8ees3/fg6vBVncVtohBwcf5gInKDi53HpFZ+vKVfrC
GscwoJsD32D4JH/pkhcWLhv9TL1qZeXWPYT8UL/V3GTi24501ZVwlwf033Dk86y1NFcs6YEthmE9
HI0cvMqzmInN99N2YQmYOgC3JjwZoNO/3LipWduocwASG6LXUbaoHseF24TXtK6+pMd5CcCDB/MG
aOwXi7oh0jQOtxxIFZCdmpKdJkofEtoQaDA9szN8Q13B8VwLuFgOGeQ0Rtgz9adCwIizyL3UeW3Q
JR/RvYCbDpig+pUU+KW9zEDpx7EMdxSOc3WJ/DVNp6mAHcIe7t7q5AzNadx8XvXpFw64/79QfEHL
7G3ettpsxpLonad4c6aTcMcI8prwPZim8Qoi7sLCnyEAMBiEARSQxYtMCJ9n/J0p9u/olNsMuP8W
V+mU9tlrqDfi6fsF+dW2Yp5HnCN/kxLlS6AfZW3I6wqSTiB3+QjEdv1Dsq/v1AaA0GJlBbOGKfXM
fdvddptrqtcXdt2n6It1k45g0owJopvqrRhfx/TKvevCfvv09y/msu66FMckSNMGKhe9OUwAgQuX
9fjH9/N4cSAmrNThYshm0NTn9FFpWT62PQX/KJ9QZRq5j3bKVaWeL8/++WN9iDL/ig/vYceIWnsS
c/o4jkG1UptwU29Td5b6usY5ujagxSlCB0unsgdvizUo/3VmuSqTMFv981lDIRL1A8fEpC1PRDMp
YbPlAD+vl3BGjLkRiEYzrwS5tJ/gBsrorAHiwNvy86RpJMsJiQAHj+V4sK06gvmVLn2AIe71Trf9
74d0acV9jLY4R8QkpcPiHHhWo/SnELxHk6w52gr/Igz0bKnD4fGDk+TzoKZwmGQtADTltnCd/JiV
qduN1670lxYBR2awLBigwdNmEaWD/1o7ZQJYfVQ47/RyEj4d1NUwF+cMVlc4qmDd+sV81oZoD8/A
QDhR9p6p2NUFMJTi5z+fMRueAXB1tI2vwvfAgNLOkkDETQVgFoXjKoN49jWfzEtDgdkVOrF/xYGX
wMkpNxNUrfDQi53RtZyHFt8lIf8w2zD05XG9cwjMbLEEsNw+f33aCo109SBPJAX9FjrHGgpV30/X
khbwnxgzHA0WVbrO+CIBpNzJW5WW8jTsiq21am/pvkdBs/bbAL3ue/lovFyJOK+mDxWw/0ScsVNY
bhTv8MVGBaBQhlqVSxRP7TV64NDJegeBIxh96Lj619xuF2v7P9Hmehs6xBRFzEW0AQiwgreoqDjm
TPBFwemaPtaFCKaF6igOVbz6naV8mwHBanReNYlu1a5OUEK69o3++sIvZuxThEWyiSyYVzYpIqTb
3s/vh/VstgSWmunqFmBc/gSFUxe6NQd9pa2bk1qjQpbeiXPIXaBa0NxEd+8l/2cbbZ7YTz9qkTRK
nWdTVczD1gHcMp21A1gaOuJXEu1SmuRvHAZbMXgVg6cAZ+/PmyAEbBgwEiVPcTVt5TCmbl4+DONb
WwsPzFX0cO8l7oJTd6+Afy2VgSddFWT2Hm0bL6ziK1fgxc7/8nPm1fDhbKbKLHVCsCen+JDGIIFs
hLpSJL60oD6OeLElGWNcRUOLDQK0AayLXV5dibDoX3wZxHyWfhiEIZ18MBxEwD+ObAQoooLagijf
IUh8GCmwJpZ01dXH11IO8G9cMBkA3aCUYacs7mnxmEgjQRH3L6e6PbW3zeOE6s2eB9FBeTDwWJfJ
anz6f5AIW1b+/xMaGRsFQNuEg9hiGZnW5JAWtau/UHcAsYA8CpjbbLOdZl7leF6YXwvHKWMQyZ4b
DovE3XWVgyYfqU9lkT+rAjip+A9pE98EMylu7FVq1LBLuHZZuLBu8IxgwGPDBHR+eH7+qnOjhtGi
qk/ZMK0quwmc7Jpi1YXV/ynEsqRiA3BU1EV96qJjxV7j7kDNK/JUlza8heIiDqTZgvOLn2QENGPp
iLwGJb3dxmiq36IZf5scm9WILhs5DGfSug6AEusrB9PFwX0IvNgVXKZZMVkZ5u8Qn/QffJMoCEAE
eJm5fdBtB7j67YcncPO/jzt/lkV2/zTexWfTdKvVrVJgsVgvRCpPNLfwBfIpXQ3lNcGzi0vkwxAX
3w8iX7LJzLQ+5QYU+XLgEwBA+344l2bRQK0SlyOAMQAn/bwKodJXalGa4MCNCje00p0D3N519uel
kRgof/D5FsHIUm3TQNOBNqVZnyoz3RjAuQCp+C8+DE4dE8Vn8AK+kBwaWeXKKsv6NMjwkKDrOaQA
Glmgr9kVUMRv38/bxQHN5r0G4RaoUosEBdeuNlMjtpacI6g3WT5+H2DxQJozoGXAPJFQ+D7MJvKf
PwywIGSIi6g+NQxy6EAIFhrAWpPhxte04C9GwhCAJkDV+ktdSquZrulSq6AYxtwpfAj5D4fdZEly
ZaktJcL+DgnXLspn01Eo1cxr8cM5xuumSvtoKk/6Or8Z1tnZuddP9I7u7JW+MZ0r4S58IcfmjP5d
D5ANWERD2yCJq8YcTuVg/CFh66DzSa5kvwu7x7HR7wcZBQoIMLv5PKK6A3ylqkKoRzOB7uPwW6Ax
bOfXNAC/hKFgslvUofMZhSfZIoyuxXi+Znl5ikNIkLZ6cTsVIDIMU3P+ftFdCoRCCTQ5YUFsf3FQ
cdI0n4gixSk2f4/OYQB/v+RX7KL/fuZPGRS3e4LrPR6vMMJF6f3zpBVVmAOmmRcnfqsyz7mt38ob
jr70QT0DG7nKg9oDGPUAdcPw2c0f2HsI5hcUsa8+Nr4uyFlqgeD4JTBUw0N6sYkZpALi1qQZNJbB
p9iIHdsCgNL55kquQ2/6Z/RNgEJQOScGGvlIgniaL6KZFSs7p5P5KYEESZI2a7OhfmRc8+a58A0/
hZn3xYdd1rbl0IVNk59oIXeVwkHV5Jus6a8URC+FARURawT+Z8ge859/CAOYWp6PsIc5USBE3ZZU
IdRvoqcyBbXl+0X5JT9RYAZNSLwYUHPA91ocUQMBZBoXKXEC4cITJjAD4RCYTeW2oJ98H+rCoJgJ
AQ4HbRq0hJdP+AQ2dTyfJoH+/I8eyl+FcxZXYS1XgixVTBXEybpC6uLUV7dA8FL1JqwrFdaLUwbK
FZyPHczcsuBR0r50HDmKU6e/1soJBvrTzt+Yee0Sdi3O/OcfFkEktVyP0dc6TQoaOgTacN2LhjdC
bF1JTNcCLTIgjZSThi0GFJMfWeYA0nc30VNlbP/590eNH97YUL6FesliUecSrfncZOmpLv8YoMMZ
3QEKRlcW2YWxoNqFjwJGIU73v2+fD5OGYnUUliANn7IRKkPVY4TiZxyrIDO14PvhXI4ERzA8M9Bd
XR5PNreEVYZOCmsT7jtAFaum9CzZubreXjltL4aCZf3s9kyB6Ft8oCbPIwq18fSkV9YbM6BXJyf7
qSiHMzcBf/oX4/oQbHEv7kVRDI4Vpqe2t59DR/tTlInvhOYZKKfsSqwLuxVFPTwLgWzAHdleZG0x
iHAig5WeaASpL/TqQImybtqqef9+TH97OotjkeMwAmwCWc7BFH7eS22qJ4IVdQoJFliTsMLofE0k
T+lgPUFZYGNxQJnAOr3TZy28nHklAEteJLjwCW3+ANBcBYUQV1bQpdEz08CdHdVZfNv5zz+sVa6D
x0aLIT1VAt4wEHqM2vZV9UC/fz/6y3FwK7QNohO2LBsRKHOhKNemcM4r3zuQEJsMMHzYPF+5sH25
FFKcFECo/J84i8NRjXbGrFjia6pmVUhzrYri5V8MBZgltE8YxfG42AnWUIiosPP0pKWvFXk3wwx4
+WtFxkvbjX0IstgBOZ2Z8nGFcZiNK20ZxLnpDfltWV577y5xGfO1Ba9DlH/noja0xxfXNUMzytQc
RXrKqmIdGeCFKoPrXtPn8MwswXWrx1zzWTIwlPq0zp/6+h82JP/3J+AHWM5fINNiFRIJMg1InSnU
WJMN9o5P4v7H91/t0sLguGLA5YrhibIUpc8mLSohwZWcbPmHst5Nxmv7e96/y/39MQL5vJUSghej
kIgAO/pkk61iP1wxx6UecQvcNr8fzsVsMtdfgTbhFNi2RTZRfaTVoiXpaQr5Gqrxt2N5JuMOTDnQ
11tQ4rp3K7SD2uwPaMYeYC0J+TRZ+mI0Vlw6//yyyD/+msXYSxo51lDp6amJjkASjdb74Dx8P+IL
GcSGMyIgWGgozpe35fQmRgu+eXxqAXToBFkZIEa11TUNh/mv+fwVDWbzGcdhcxAzl7uh1yatB+Fu
Pnpiv4WuONEjV2spiDu6H2dX0tWlaDjnUF3D88T8ovjSQoo97ciIXJLZYD7Bgm38iVcEREyeTevu
+wn8ugNw5cHDhBkAOaBdvlgx3GobdC6Q6ok8qe5UdtcKNHOiWEwd0ghBawcCDegnLU7SVjgWyP/I
WRb6A74Vm6+10QHzCL6Fn066fQtZ2DWol+8Fj+iV/fB1deD84kAJocCLu721SGLSskctpUhilhOC
GG8BAGhmqyItf34/iRfjoHWOmgB6ICj9f16FE0MPUxvS9ORY3QY4xmNcxWtJwsfvw/y1aPoyl+ia
4uFqoWpN59/x4Vzu6RCSIkIcq2XnLrUqv5qGvRYCGT6JI1N1UJkAW8IxhJJ6X3L7Ebs+BkBSV0Fu
OaiNVtO0SkWOJ4JtrmJRXEl3lyYCVQs8DVHhtlFX+vwD05QnSdyHyYlmzuhpTvEKWNAUAFqwujIV
89+0nAoK5Cq6eSYqJEtkXQaW/1DGTgLTomJbnUDn36hN7atAvWXoUF6DYCz9LnEYGZyicGHYgA0T
rKfPIxsYRKpIlqSnPBxtOLVDQCDhuBBBEupFiGwXpsBPTzYXcKOobmhjNT6PDT/tYOcX23jBVOx3
KNtXMqOppfNzAp0JCgDRszEMzEtKIkAZa0wfGnly8/1cXfwoNmodqI86qCwufnoiojJEUSY5GdAW
McS9ZkBe1b5S30HN9cIXAaAO3Rsbep9fVNF0CQ5MqY846UatdKc+uWM0Sle8Sxq3jbSTNvYolsss
qPUWSNKwcCdpAVVe1vdRNRAog5ebmoNdmDvJS1R1kZ/wBh3h8Q3dIl9LUx8StKlLTVDaoXv+CDPv
h7A20QobpNeBtabFdHCrif9Mp+FY6XYFemhXuLlKbsKpujfSSnfrrPZDxjkI4CBdAKaiuXUKIHEb
J2+J4pOXGsAL8caSHkRmn5IJOgJlWZ0r0e2HhG2y2NznoPBA3dovtRxs6UaHG28Pf20F0rcSQDZz
tcNvelG8f6hIv+lqPIv6WnuOW+MXNdB5jgR8iWkPaQcKnojccAkXxGR8hizGz6EAfQJ59F4X4wrf
8lX20QHCndGuZ81OShRrqd6+95HReeDIPGSTsQ3BoYvG3ivzAYzxcY+n10MEDYhwGv+QLK68gc+N
pr686Uw2vXZx9KwyyBaHJiQFOrXLjAje9bgHQAgBrJtq+g3yihNwVh0MdDicSTuxJHzosnZfajUE
3if0rkB//dMMzkF03Ubm/X1CZRukjopB5IT19ZjvQqlw9TBs9L4JPQJCcRxDA1d99iRC0BkqSv70
FlCkpmA/MoaWf1vXNw1vz6JtAs5D6UZ8eulGBVBA3vSe0HR8wEG8gSCx1+GJ/FaRcISSfOTs9Yb8
cGo8OSFvQQMhrGtPlQv1S2BVLEKQ4FGSxS38cwJooW6cgVqHu3fC1KGqCfOzGoAfuw0PuiTUo0W2
YgKqHWRg7wQn2znjzR5Qnsprcb0SaQ6rinBCK7PfhUN4jGmzY0a+iibnbkqrVcXozTD0MGBKKMQY
7OKa+dmFox4jAMMO6Yuj6L84PShAzybkEtIT2tXgvtQw6LhWHryUJj/FmF8wH06oLIkmE486pMnR
/BnpybuwBxLYfSMgx8HOY1nlvxq0A7wyhtdhKkZzV01QqYcoCpxei7gAQGOwd0Ym6oBAbeYJ+biZ
Je7FzhhbOO3oSeLmoWKnTsX2MXSit++TpfHX9erzyYJUyVDLwOsfzbElEI7nkWpNp0+B+bQhslFb
N3VS/bLz8JftdHs9UnfjAPYnZHD+KB6/VFN2bnO6wR9Sr00hvoxBjGYaQALmsaRmkE74v0du/Ypb
LJxOynZmhp57C/4Vteh+TDT/DRKWs68SWnkViw8hE/dtPJp+NoDBANENC04IDGkhA7G4n6DEX2um
DVgW38dDau1IPvb31SwwE8sqc0thCjcJJzxnfjWGeeQyOU0J7Bb0cMpQQIh2ERKj24ZWGSRF9BrG
/8PemW03jl1p+lW8fNV9ARcJDgB6lX2BkZQoiZpDcYOlESMxgyDw9P0dKDIpIWjRma7ldlVnMoMC
MZ15n73/PRGyckSQGOZyc5OmHCRalhrIgL7u44tvIeadyUW5Tt16ZlRZfVZMJbvyi7Nqkzzuxtur
XdShhlXnF5lCkIE6I1vaNiHMjTTKGOSMDaDxV228JXUTsQFw+5pvFT1pA00PPEg07N/GHMVNudwW
07VcJuklhiTXWaJFBuQzNNA0L/JRtBzNyos8aclooIarrpamejCPL4sSQzVFU5wMKd+sq3pEVIPo
NCMYxHRczo0wqS+aXL1gIHJnE2wqMy1L+nQ7vpvwZquoCFaMH9emGj9mo9Y3pHJ7Llfyos66S19G
W9VgbtWQbiaX1NVcIhgYzgNPaZ2xrAPvelQ1VyQcImgAnKBetl2KZ//8MXLdWgdjOuZCe2A/Z4eV
MWfCfF1VhhqFTmr8dFzBivgZAajOZ9WqmR5Bkg+Sig9FiOsflrFGEFMpUjykgl3b6loWk0LDPZZM
8FghA3q0lRQ/lYgCsM5L8hUlkTGXj7l5/Gw5xxb+sa8G9KiesmFvt36IMUtn14/KYneqGHhVOlOy
3EF7zWMhFPsMnZ/Jx+cSB7KAXERo7aaUSKi49oTQAOeRFRDQy4xO0jPlavJd5Ncjxw+pRPTUjmFc
LXlRHmH5DgABn2sxQIryoPKCeUotcmtnxzcYEemeNV1GqxoTcn8RW83pb4yZLjjkT1093CCjrUr8
KKbldguE7p/vYDO74kWpj6AKh6SgjwUNQwlHGI/K5KZjTE+mKGu+7TS9Wo1Ngh2cyg8QVfUaw6iE
gC96gfrwmCRwZNYObRWLMkqEKXu4nm/ideptz3dB5Xy9B4lJOZxCqCUnY9S+6AvUwRTyqthzt27r
r3ezaCURwWwcLENNOk2T6EhJh0iJguM40DNeSrOhu2Wu5a6U4x23rtKLun3Q8ucsP7KhHhAL4DZA
0WHwMAH4yalB205KRGd/DQSxmnvx98KNzqJu+iZV2YU7iy4ltziCaRzQ8PYmGhMMk4gT+ZOZeay5
kTwNO38tu9KNP5sSzKJI2RnGldONx8uGkD9WOt5OiJ+E94EbFKfKaEsgmE1wRPl7aCSxfVCw9gLH
wUDlMx1V1VTxpU3tr6cakUeUeLNWd819141PCc10pKyDYznBfgQ1poDdBrMGHj8YN/6OsaycoLyN
q1V1DJg6NPdxm0UrAgiNPc+giGKaTxJy6/lIkhsVoa57mY3c3658gP8CqodFBbz52fS4IQSr4oJh
ojIwi2prjKNveR0cMREVVf28xkQpCmYVU6b/Tx6yFQ5mXrABmyxKgma4WYyz/ly7pxMvyNPrgZQo
r1+v6p/HR2ZRC/coTN+FS9HnueBBksOoRNPTaq4xyonDFX4X8Wi+LuVQuyZTlvRMwRcXNvZzKYpM
jJc2LGHyJzXW4dVMNaoiffIC/zWrWnLiSBPz6xIPtesjvzzYajQvdzWwvXANu2/Mgod0jldHERlf
l/Lz1GO8MEvF4kYYHQ41jV7dSDM/itE0zraL3XZzlkyiu6+L+JlSUQTKLvALaCHGDZ+7rpx1QT0i
nddakWqiOU3V2HAJ5+PWwZubEa28y7pVEVpfF/ozhWBWENZ7imsH+PJkMF5q6yIjeEm4JlAe4SYm
J+CLJ3NC65Vl8u3rog5snJSF5dpYBaJTQM4+NxBZARO/GX3YGHNndtFYspHY/rUI2nSCdoIYl7qH
B+mb+jRTrPT+69IPDeDHwkVHfGApMzVqRtuUwgnNZCSBj/PjEdj80EScjHGxBGjGKHUIZc9z3/Va
VwrWAUGbdtplAraQeceAgIOlYMSE+xeEFizgczsUX9kk0lgN1hs1PZdi7SbysWyX8ZL+Hf21L2c6
8HTcTZXM21RKsM7bmEiyhJMM0yNz7+CQkBRGaDVG2AEO5oM38+ZxTUjGda5+y+W7sDnCqR18P3zM
ZKLiQKkOBZVdQFQ28tehQ2yDEwShJSHMzK976eBofChCVOHDrJoWMy+RYcfWWbWz1To01FFhbebH
3EcOUtUPtHsAoW5niZaMJygx3Mb39CDIre1mdK2g0Bu7Bkr4I2N/gIFhpX6g4gPNWSRleC6VKMZL
a2cSd9PwLO0qs8gQdNYsjpm/HGyc0BiyGwJuDW1Ot2PSMYRjSNAMpfUuneo5CfW0LSEJZ/lFtz2m
pDxS3DAuExn1duNGTSGzvmRNx1MzIjhj0smG2512xRHu8+D82Ldt6HBYJuApZUNh8iR80uYNeCRs
n5ptb37HPPxQzmDAtrUrl56GhUESjUiLWOs1Mck9mJevizm0RQllB1Y9UJ6fPIThaomtoUFE64aM
o90u19NmRqhD/yp3ccV3BcRYSMdUeIen44diB7RbJulIogk9mkizJ6YjRveRQ2w6J7UlfK+PLOqD
5fWzH3NR4MqhnqvGMV9Kk3GwrlDuVOss0QmiTcqvsbEJ9dFi8vB1r/7szSCsUgXP9KO8QftG8BPY
Qk+Ddeu6pD5v5YxkoEBAnXampQnxuiNHwfzIwITvsQjbpadsHvOQANpT+XWcKg9tO35NWi860g+H
Ju8UXZ9gtvHIHTrhRU0oz/I5GhXZu0m3y8K7nG5fv276sSIG83ZGOm6NoFJsAaPv3c7TJ1FjTI4t
DkGEh7z2FL0Qru2wvT+7AcRKps29Bs1QkOhtPiPV1BFfqYPNIPYA2wxaXoSgz9tA1s27RPPoqUi+
LOJLrb2I06uve6o3OB22AqNXGAssBTE4GHBq82wWhlkcoXGUy1CvZjuioKMrUom/p8+DcqVIJGmt
WsBH8FiHWgZ2pjVmJHcP01F9ooxqUse70zc5KUxJUpdEWF9lUnHhZZvLPJDKI6Ti4KRGXwHPBdSP
Ydlgz3IT8vc2rYTs6XiLPLeVp/JMcHm1mZ2ziXVnxU7X1jggWkc66hCBx99D9JQ2JizQoOBRXE2L
WEGWLpMwX7RqsSy3KpHA1CXx2k7U3fQpmu3WxCptdWnnLcbRxpZc3IUITGFlxEglZC/xsKLRaV6T
U51chju9jaPa8Ov5JZ4eAMf5BJd7hZyQ/mY0NrBJnpnETiiXaR0cUWseYs8JLqkIsy7hMDMY9E6p
miImvu66kjIs01z5LQwJNZpFl17q33/dcYcmMVYmFDXGVgLM4PMkrrKWIG1VHazTKTq8TXAxCys0
CckRbFe8ZjiPcdoai+hQAhsR1fjAMpWpRlDpchSsR6RD0KONTxTZyF0S4XC20Nr0UQIr0cM5QVLj
4EgMwUMtFC7fiFlYYzA7Phed1KOqmDdbWjh37ZA0xfpsHN3umvxYRJJDw4ZfOUZh/IfWftCVHTG+
iskEvQdBPWo9a5PvvqQ9B974abKNjhCGQ3syVGeOzx0eDj8ZZcwqVKjSnOnebUenO2Vz1cVZY+Sz
zt5mtRE2pAuY79ojW8PBBkJDSFIywpthyLp3s0lYRyV2T1JBkh4Jq3ivdpCPiUN/LMDXwaLwoUdK
VQSgNljOxJ6VyUCFdFqiDitaoj4Sypkwd7o3OTIzD+0TqDOgrVgUI5UMRm0aleNq3jI91IKw//LG
mCvHrLCPFDHEjmeaJBP1qQrW3oyJp45PGin/HXvRh1YM9wk32cTdVi7Z7ZSlFq+C3bft+Igkf6wV
g107D0U4bZdWzDbeeVfPryZZsfyaGB3cPj42YzDs2rRzI7IyYcpT650dJGZihqa7DIxMwRDDGjud
MbczZ1qdHxujgxNOQBTEU5vMADM/U4l4h/0xSUgoOSNdxcTfmH7WnMETO5KXFfrX7Ty0WWGs8mth
YnV/oIYE8p7ls2nOaLkdOr7dw1Qt5ibJPGLT2/mXRaH8xtxC6EkwSIMoTbGwRuAaWhIVhKOajzH/
WdckxmjkhFC78m0iq5fNLjzSuIP09kNRYh59aFxTJ9i6kY1gvUtCPAB2ZoApiu8ni6/78FAxKsHF
Z5AinEmH7Hq1yxjH7QQKMcuu5jsyfQe7duW387uvyzlAaZUxXkHCaRHd59D5SCaJhZuMFZ/85ROj
7G49cmGrFT6S2wBTKtKmb0bmP1eimKofOnCj1mDB5QxMHYNrKY7wqMJyd9di4yKZnZLBmIyOEMED
nSlsCAW7IZyfhjbxahlkpdIC46OC10vpSiWc/mYaG1837MAa+1TKYGYgsMxSz6WUUJoa8zbVyRJh
1t5aPZaa9WBz2BVxSiKkAGzh5x501Z0XekGJKmY7N/08cjZla6Wb9vJ3tEfDXB0BA4x4yFkotU8q
J+TgNcG9l0pW3BBunXj7W9vHGuG3ryqs24SHlWjVT+5CTTDRdoWyoUlJhgi4tTdKZcWQ+q+bdKjn
cIvAUAeOELO9ARks3ZrYMl3kryeS/Eg+6oy8caT0aKLfQSXwvyByERaCuIQPcVO3TQlyToaktUcO
khAF6jZsbL89hvsc0MXLlCPcF9DOCS3V56kwIyj9WC4CH510bXVmc15Fhos5/Mwpl5VRSsbxyFkH
qDuu4ViGgy7KIt7j5yKLvPB3bd162CSe78obj0xfxfiE9Oy6ljx+PVy9ZmXAVwNzErVaJD77WX2A
m+J2ugMFICDY2CYfFQHBFEc2ydP4iw76P553/8d7Tdfvby3/9p/8fk5h+wPPrwY//3YWPBdpmb5V
/yke+/W2zw/97SJ7Ta6r4vW1OnvMhnd+epD3/yjffKweP/2wkoqN4bJ+Ldqr1xIzv74Qairu/Ecv
/um1f8tNm73+9c/PaZ1U4m1ekCZ//nFp+fLXP08gVP/x8fU/rp0/bnhMT+vta/WnZRk/Ji/Dx14f
y+qvf579RZAA8gMSQAQ5Hb3rn//UvIor478QDEr4syCUTrAaFuxlkhaV/9c/S7PpX5DqR0S0EN6m
bDJcK9P6/dr8LxP8oglXhmU3CxEl7i8V/DRS+5H7E9ng1yQoq0rq08cM3M8TDNGR8RCK8TZBlYV5
2WBdd36SZgSNJwmGS7bqjdZKJ9M2x8O7UBTppP/qT7ZErz7tj/pz7/fsf/cns18fGclpZwad1+kf
XrZ/z/61w5d9uH3/yh1A448K7YvYl63lYWfucrHl9jfuy9nfsz/3fs+gOfvL/dG874G+rGHZuaQR
el0Utn9m0JyDz/X37G/sy39/96EmDapXpx0p9bSaTEKHhmHw2r5iB5v5oXf7m/oHB+X3JWRa1ZpB
KP9o5aH7+nPDaTCo3r6LDhV3qNqDgvv3TYpwpud1NFtWBHxdFeIr1/xs5U76tHXSSX++P4WwH1V6
q40wFu4P+7MlewrpXkiP0z+szrOY/DriFf3X++/+UtuABYAkPX64Z19g/97+kf25LM+xVPRYK7/W
a3/b/t73900abaJPfq3Ivt7bVOlic387qXulvh7vrWjGXTuyP9RTlBo3EzLp7NvSV2DQRf0bEy+e
vpe6L6A/en/4vYj+wb75s8R7er8ymof0JqBNRx4Z0V2y+qOx/a8Ple5/79vdd3jfzv2Febgj7Rox
AxdFXpG2vpUqe5xPvMv+K53Fc2tcbVOiEQT++7lKkopF0c1Hen9LfwGSuT3ttO56/+h8Po5IvEVq
ul/f1h/hJYV4MVXOS6/8UUoTjW49eZqcfrhVZW405JtaEKuWNF0Bc8MkedPIen+JeCfesJ3tb/Ox
sX9uJNXFUp23yYdiR/5stCon0Wp/2ybdbdeb0tq3qr+Wq6StU4gQuz8vNfWrHIbxSX9Df35ajEgc
SLRXp29Cf85t5MCalK1m7gupC7d2yL5CeLNfu6DOR+UJCWGe+6fen6+nCq5vzXu370velasyUuL1
/kyWdGcqZqmr9z5pSUmjz3dFtNy/P5kRr78q239oEKcJHk/dr3X7PIh9sTjURRfIGh96sz8vBjFo
KuW8L7lvxpeDuG/DfiD35yYM7IeB7C/0A4lrxD8ykAlCspieBEYMPEMM4kbV2rN9r/w6iPsy1bma
GD4z2+lv63vhNw1iW8e4IxehZ3hiAEt/a+/f3r/ziwHsr/e394MYjrpouV8P+0F8L6BfhelulH6Y
XP0q7Aewf03/8OcBTOQktOZhkFrxeOsvRgXuRphnJrfbZqIsiTSSG/1PskiRT7vbED1DXI3iPDyP
E+Wh/0WkyWZdae5J/0vejuNr8OL3O1t3m9xuskXZ4cUSVFl6OyUC8bzoppf9JdChy5nckuNKvDev
4lCfhhvi0onnZjmkAdhw9v5mcikrBukt1EV/NSynviVPpdjpnx2reW37u0C2+qtNPPEXO0KMvLfH
C7c/2tNfbbVC/dCenSYFfXswokxu+/a4W++0f69SZe/t6a/1p35pT/9DtEcV7el/STv1cvK5PXPR
nv5i3x6trWYnfU+U2IYZVbBTF/1Vd9z61ki0B3uz6B0x/02c/k264f8h8/6J6f/HhAHnNRV8dDl8
1b+hHCC8y/6+HGCkz2n5p/91+voa46Dwv38IBOVHiUC84F0i0OZ/0QiDidskyg5sOIQR5rtEwBV0
EThL4+JOQI7+yi8SwRhxAYdizGJEpC+FdNZ7iWAs/6V3oUGEnSu46QJE/QaJYOg4R+AHlBRgFhgt
gfwBCn4WUv1pN0nyfDd1SFuhn5nfU/2CXHpGpKf6Eyi7/rxW9dfXsX6znprr9f1Dod/6+tvtCVGG
9TtFv9D008uXUOe3Zx5B3CYCB9oLK6Abg7oJSO4DAJbF/lZpds3USanbd4zVqU9q5DqVJGu9QbRb
HVSRk3heOYVOLWTTeiQLmagjCZM5OFKl3krtqyoNZPoyq0kiLNFdYzuni0iIqQf609OYeoneSsyL
p1K/QTTR1xsjN149/fVqw6VXzbgf6SeP5+e3b/ki1TV9o18mVDEwff06svl6eHD128S4i43YGum3
rf72T1ZeHlh1/VtVvocev+j5YUimHYlByT5Hz9895foTM0Cnp7+LQfjWGhv9G/m3+dxF+oui35HA
Vr9rdfFpOBwZ32UjYHRI/G1u9dX96n6nk9eBUSNzkS5fO/f3iX6vGPf393P96lklREKmz4xzZjuj
xmgwuRX9CTNMhluMHcElMfB/i427u7frtw/k5IfU/lFKH1qgDOd97+XxYd7LowIGtKKp7tnoJK71
ixn5sE+nmj4/fcHiZXREzXy0vAFMWs3xearFOiN9sGzB6Wjn4T2JLt1ndaMLT7nXY0Gcjo7mAAL+
7zyao/nXZGwY4QmbtyibTRnObzc7pk9k8Sc1Sv0pND2CMhPcRI+Mq/U6htheXb2+bnUm49WO06/9
1+vrFYk7jbXP7a+q6ZqvkiHe8PoIkfCtl5fTRr/2zEvNhKLcvYRE9mh013h5afQXXESN00g/fXkp
zNNaf+HE3QSbKW5/u2z16zdBzd+OKdGOzijRJR9m8H/BjCJaxJFuHuxk4zLbtGnBLBbr/YIdS+wM
4vO6XaR0WGgHbBuS/h3/QFPRVXaVFN8dQYtT3XUaq7O/icOeos/0l5n+HbqRQ2g6c2R8U3hraeHx
y180Fta3kSEOIEZ3L7UgP4LmjAyFV76TolSfGk8XkdXp9w+Z3pgrB+NQghhrzmb50BkPc93VV6r+
XHE90VXoUaJn+qqyVJ37OwjQKtG5siKXNO5EO4uz54ikxsM5J8XdpNizZydTWzZTW4YgnQTm22Vs
XOPieH75Qq3woIRSHYtYd7yrBxvzH139u7v6KPEYMBz/A4jHMbZvGKzwX8D2HeOSh44S/0ou+Rit
7V3KP9Daf5Zb6MNS/cyICYusCc4Oijqw/5hsgoLMtoIRGxmyARt2kxsb44ZsqYIVLuGyOHElGKWN
lSxhvDq4po3xul6NjQIK94ghj37rciTIU2xc1jo70xvRFeCC8fc1r69vuevk6K7Uh0H7quYDPmc7
mc7j8Yaa5/rY/D4W/FzukHqLj6guNmdmaN+IZmBkbIm/v3zYTZ6g9JF++XZ3B3d5UXIv+hPDO5OM
Z4c9+1T8er16bPXIHC3eBOfpmfwRvHxliHCyJ1zS72jn7bWvR/Ztwy1w/5dv7MCkINavb7E16RnL
I+rpvzN79yM2YLbCqRR6mcLO2DJcY9qZOhvr5uni9dU1O11f9+3lNELLek4k83OPCpMKnU9gv136
Qpx68UyY3Yl+d/fy8nLMIOBoDYU6+sMc/tfX8KcIMz+Y8n0nDliaDqxqRLYdISiPjOBKYb9XsE1q
2fEFI3EqfgpBRPwUjMEZ3IMGbyEYiBHOTuL6t3cxW9xC2hlTNiY2MWjMVK9xlP4umI+c0x0nZJ6d
O4JPSYWQw7X3j78W94DOGmIcr65gGh9UGIlMf3h0daTz7V1nPZzDKjxojgqHwNXGTJfiDNf187l+
r3J3Z6j6PStR/P9wnunWmPwqGRdYpNxyD59CYG5DcCQP2snDueRIzu15Ynwt6UzEivtqRQ54NrJI
yqlExgzHnxqVq+8mRKQhp73RpIYUGols8BMdxHyuk8eEzCavpGDeGIWj4bSxNdvrfNmqOuE9fKpb
GtIc61191hmjlWwncGTHrAiO1nfA+Py/ru/xWTtgH/6Ytf/ArD22j2gDHOV/yj5ybOcf2jn9++z8
Yln+TGY0FRMjCDixNj9vL+NuVGZNV08djZjvqt4tXA3wpyG36zEHzT4H5FdFDfbaLN/51SSnqNPK
1HqWohNgJVvDRQ5eieiP9wMbxFNnlvqV00tynT6zn8T2i7z/+rpO9MfbQsiAQEw6cGYPaSn8yoyT
Qn9dizx/rf4C08C+DEz41uhvL18T5t4O9KtmDDbk2XZKWEapmjoTvTEKM1wF5wjIeANODd8YmxIQ
sWxxtJoaI/4mZn02W0QWwdHgnMgWvrDHp6GZOp7lWb6IO2puiHzS4f/RmNB5UnmNjdaMr8jFtJog
0xLBCp4jvuqsAtxtZhQGGesvCqMyZHDd2ApM1yBeioFvmzE6IQixKYFhwJM4R/2/RoeBhP1sGez0
JJKQC7+m7URstApzQpHiQwA5emJr14AApVWZY7uzd+bElo3iRvSIbEWL6HROXyRmbtRnuePbIanL
JANLMzswdgZhSYwpE29n5OZUl7A/U03PCu3QJHsNfzdnmrXlPtFNY2NER6EDpGMKvknZxbc42pjx
gnmwMSt+Rqb4Jz44/Jxpfa+4hsonNOaWOPp6YvRr/KuJMdixlWkazOuC+d2etMZ3EoqbguX5zrFg
dWQDAeBJcM18dcC0QN9rAFeciAWiJdCYTr94mtmC306FlDAGb2ktwdKMWQCevgXXqCy4lofzR8GR
nN9Wxi3/wYSKr1C/fbx9RH5gajiJ8SaZDSyzsn55ufu6oX+H2O1nwWCrj3OCCpesA5gw0TKB6RC4
j38bnRDO9ghWb6aDCn2/SY318zoyHPC752eCQhn3sb6+2oIjCwDn5DoxwJJ6cPryDQZrPTYQAEIL
UeFInY8OzmC3/x87OD0W+EFe+HcYnPExutLPuA+V/v+KrpDw4NAejQs4GS1BFuTZgOpK08rt/DSb
OjVUtjBHUN/SKq2tLSguJrtQ29ra3O3snT11GigwYOwJ4dPMqr9v6ohVuUMe6+z0MVmO7bGtnnTI
WGNzZou9amMRC8sKTcnaLpSr7UJQ5jkUeG5q/A2M6iRgi9pCe1t7ywY14rs2+XzrkI0kpzY3y51R
mlurM2bOyB5bnqkRwgu3ZCJahMvGkq5bI1yRPdluOJtBqQWqK4QtKEJpguqfh2zjt48TA7lLfFR2
g5XzujHUtYCoryJnfTU1ySbG5wpVp7PjYKrvTubQDZRT6+fAiIV6AL6htVfQVQ7Wq3vA5Ec4hUWM
4hZ4AsbDFuQJzuHl9E4QH9BqRb/E+dWY6QAuL6L73kQNrwX6z/WG6xEHvXQfnhihFdmeHTsbs2Sv
au3aJs8ZPeeb5W1OD83tjZmhaXAt1VDYhr+mvr32+2eW7cN0GOwzxTZUE78hWv5E/2ULzi31rDHE
cNfW7BkPNzNjmOdOfRcva2tiT42JOTH9/ntiCgl5btRObG6ssVkaU9gSYj3bvr2BK8HBxuoWnoUJ
uLnjr2fBq5zAutilkzvjJ7EpC3YmscWUSR3/WjxHOnOe86zgMmAy5U5o5meCxwnt8ZN4w3gR2jnP
++bGkawNG7yEgnF7unHEXe93lq/ijpSPb4tv7yS2g5PxInf4S4kBuYhKZ0O9AyuxYzs3Yr4jahZZ
G3KhUifaKJiM2K6pQWinlNNzWA5c1hkZN2jP7tS3vZPQ7BapqI8t/lJPWpJylyi5/3fhkzt6wxnJ
kM63i40hkcxOshQWhGIFRsBfloRVAQ+IxSAYl9ouzRG8x8iMbkQ2UYIeG629s2ac6SwcVGzYlped
5bEYVYfR6Rfxzq5MsVhnfMZm7SSMimAlIysxd3ZuERYBfiV2UjO2UjM1q/POGpmJwYK2ZMbPW3Tm
3JG5f8TSci3CmgoeERYpvJoZY5ZnZBL8dR3Y6NKtFF7ZkWCGMPPRMwpujJHjWu0idqiWRZZAEy7K
qWzh5UL9ptRTsHe4+ToaBvOqkVuKSTbtK8GnVrS8tTtaGMJR+WcuEz6wC361C1Rti8AWbd9ZFWek
pXoVOoFZwZe6AlSBmSssshEakhHakqFwZmQLRCY3J4bHEZWxZTu2NOZ1bsXLApKSORXp1iuLkJXw
vxu4O7g8WrazydLRM+Az+lYQwrE9gwkVT5ZWBquqWqrlWqJGjUkIOkelZ2k0nLPoBpWeo120UXtQ
GIma1aSYrVnQwnQ5NzPLvY6MFEXVyK4szdIghyLtO2wnrXHpgY6xbkzF2dzIdm3mJlKUvVlGN7V5
e76aQo2e1w7Ebme8izKr+9xca4azFeYQwmIDk1CYRKjNRj/dAH2doXT7AXx994RWCyqH/pPwtoBQ
qORx2bdRkj0CUd3exhb2Eei4EiM23tC9X6LhTIzr2/NH2ELwVKHcdC3Ocy0xSgxTsFGB8gmdHmCZ
0JpinCGqkHPwDrJpcHSiNjCQ2qIwBfomZi1TZqGtPRvyRr/mbD+tRd8zS2b0ZbkImQNEBr1PmQGE
bOac6J+C9cFo2Rq91dJL+VJxcMI3kGqMhA1NjFjKSDWEBpR4Ju5nUGiwjYjZxNzfsIZySG7Fqhox
Vdl66PHOiG404c7hJE7ILD2XzRmnxZLMKaYhFgaTzApZQIEd2LzYSK1IRxPMmYSPBy0XQ18bhJ1j
+EWlcQ3mZdIRL2tZERv1TxKCiFE8mZB+kXxdn4Vt8puNFCIKiE16a5PuAWpNxBpbPmP2gkDXHIs1
J6JrJGya3lWyVGGyVce9G0HFZatCaQolvI0uMZH+Qa8AqheCMsf2O63eLYQiXOopFAbga7wmTQVB
S2zkkyvVjByxqc9XzTqz6JoT1t1lYGjWnNGodM8hHbujstFqhsZvDRx/zvzXLPGka24X1b2g3+Ke
jeFzbovgFrAW+s25P1YMz1H6I7Zr1rVGXaCO/fizam0sm1mXMqMuROgQchSYnp04DUQoPhNK+nqR
OLMHlyGpmHd4wvGR6YFqpcLMiDWdmbVeLlRrbs0YMkHAQitdlqzX0gzQFBd8hMCoOIUR2KR0NmbM
kQAKiHRM39ewSeyTdj8RuCbGIV4Kelsz5yLYk+nFxBGQP6G/mFKJ5cMVOA3mAq719na7et04V+t7
oQi47g2VhH7i+g1SBadBhZhFYqqrvEzMNJeKkl1vWS/Ebz7Mw35xWKFR9OQV4nREIB06dr3j8vvp
NgTjJJmoKaRaZGFt9DGzv7GCs2AH+cs6fW5VyMuduZGwtNodi3Z32BjsQ9EDn7J6mgRuO6FoofiX
9Cdhn+ZjX4TJgbDPENIuqjChXUEaniwCoTZC5SRMPwQ5stb3YwOZFj7sWlirZQbGRiiBbm+vU3Mj
TMICdsBLNPkJBh13cG1fM1l9YJIvVqo20OQl01aa7WRWajUxWkWvIWKdPvGsiqjwRL3xTVnSiWA8
QlcxNiSce2hgo09lfRcaeWqQGHY0MWJsKsiUGBol+35kTEujwvBgfmyYRV2+qusQwotcQjRv6Wuf
VCvOjJTlbIR2eKec1Mtcs8uL+ulI7/Thmb4qcgDlNcWWzIqiSCFtqDDOkd7rv+5ao7f4g1sWCrHM
ZN85xfCs4XvybnLTYBdG1GIxJVJjuROgR86GkzL8Ahe5kWBNJQ5B0FAkCtUpU8WzUKICiux0l1Ow
/y6SydYQ2kW21dU9JK1CXsBCDUYUsOEVm6BXoIeYk+v183MvIdyvOZzqBDSBKnHetZPFeo6FJA8W
bOjuSjMwOYFaLdNVuXoYo+MBbekVPey87L1IJEID9Pwc8+v5GSSSR2PdeTh5ewO4uGbTpb2S+RJg
Q9SbE204UbOHtgaNJrS1fXp3ys6yqoUV0p0rNLyAaFDBu8K8g+vQBRdIp7E7M6mB9NAqckX04OUd
/dn3M2+ubL64wxPL4NjkPzq8A4jzj+H97zS8R7eFIZzwX7ctHDbI+LAtDETX8T9Nqo5uREOsMoi0
iMTrv2iXMfgTeuOG8H1YxyrQIaEsFluSsDWE0nR6CO/z7LDUBTZ7j2khSLSO6IixnDBKE/hkYArj
2cvQQe//AmqBtSBL/43dKrTQPXxNbY82YcA1xv9+TTjG+WqjgV7wD84XyOgPzvf3cr5Hlow2+jdn
P4n5dYin+4DxDXZgt56SbVRNUbEgEQomS1i8lJjCuJe7H6CvC8IhnzT9ldk315nYOGqaI6u1XMd1
RkYLikRsILA57LC28EdCiNOsyPCWtT25nF83wBQdYnWAkC7k39iIndyWSXwg4Kod4tMWgAZBiCdz
hEcP0G0CCNDZyXILmjwBIAMM464aSXvE22R7ZMoLDyELT7JFhVhenLdwaio4aWfIWH8JVFjtpe1j
CR5ImHOkzwakfpqpQbbdCZ7dFkA5iWp6oHyLYlIA4O+S9a4HzXffBCAuULj0nF6zvYVsoXkzi5uZ
PUbeHJO3AIT03DtV+F0tkb4xmV5MEULFhTOh6J2tMhsmtr4FijSTC2yorRJoUoCRJcBkYkcntYOM
A6AaXba3tVNcx+iCS2eMnbu4DzjTGZ+mDmAr8GoIjIpgBOzqg8NHjrBrFyK44GyFiL09KSy+DQEy
lowHbtvm/HpyJkZJ3BXwT7Eq4nEG3D3VM6u0AwcknzeKcRfXR2sNpFqAnQJoFfx1D6MC/ZLivQcM
JEoT5Qr4wAO1Qoi2pnYFGt4yrnD6PT4i5FfNHJ2OgWL8u8bmLoH+80yzpmYk8wB6deJrouPyrmoR
ABxoCOYbZkeCw0gMvIeQf9/cF+gOiFfKk4CmvF9Ix6GjAgmFAlr8JkBCATAGZmYWDCPgCIPrO+UT
MjXAnXyJlmEh4IPYCZ3xUgUyqNE6tIBJSNYMvZgEhSmWkLAkq8yZLhaQmA4xszhHYy3uQpvCCmAN
OMSZXySAUAKQQJJHuuk/vG0O7CD478Ks+zk++QH9VkCCzHKwppa0M7rMo8qKcJ34EgjU0WNRcMmU
9ZTvDohVYFhCfbKj02qBZ1kdKgWNJk7g/0VxLphnLLBIkBIB26FGMCbrzb1rzJausQH1mveTZOMI
3Cbop4gYAvHm1hZLsaGzM2AIAWQJPFMgmuBjC4l3Kg8kJ1z6LP3+Y8cnW9BlMv2Ai76rdlpbcVo7
Z2h2TC+BHm2Nxp6cNKh43GuyRIpJdY6SfikU9WLC9mhQj533qnumpVAezc5Vc8I/gaNHt+5SuoKR
Ot3cEir+VGDw6Alscb8E/oRkx9RE/2DjjLQYgWaDa4Nqu7RvZ42tuS2sIcRkAGFfCNxGDFEI8iqD
yEKCeIcEOraxGsc3Ymq1YVpVOuedCeRIoD+J+GeIqVzeqwx8recMqkAZAyZ55WyACMXEAqGm78RI
TK/8Hq8Wqpz8XowEKLjji3tuBCmTbsS94qwK9imOZ8vQka8EUv6Oh86ZQptT7gZ4/OeJ3oA5/IPo
/UH0/iB6fxC9/85Er/cK/Al93DPHQxOXCfk9Pa3BHkJYndWomAWPlJvPgsXRDJRZEnyHUMUmkG6h
FJLPZqZ2JAxcHw/qq1oMZIzRKI82GmH5qQXuqDDc5BSDx0hWkwvBflbwHCgTUDEG2APMDB+biIxN
QoF/xloQs/cJCkp84OCVhLrmnetTzaDHMjW23MiRl4Lnm50JtddUh1sHu99aM6fpt3ih3lBhKnCC
QwEqlMS9aha2AcUI5oBfwxATEgodYrDJS/HDVnQ+QH3TkbohmDh2/tLp+FpojgUvhIUHpgdbW9ik
TC6mZ6NLGI2VEFoYG7iucBnCUItjsR2Kntmh73jfMAVnJngy8ReFjlGeCBZIcHjhSog+ynVheo/J
6v+yd2bLrSNJk36XuacZwZ23iR3gvkq6oWklwR3cyaf/P4e6bU6zykpjU13df7exVNKRSBBIJDIj
Iz08wuXAW++TF73GVenfA586OE6pK4dw51jtKTCpmqRTHW2rv31KXaudCxT71RpfDyafW6cebJ2r
/01a3D0VuqLQFDjHYkScyZs0IdSQLI9fKP+QMFzj8rQYaeMw47WTN3lZN/LRPJw08SPbOuL7SLgt
ocgX3Gu4DEt+PtLr+p6+Jq8VNh9HAukKL+n76Nb7umsF14/ZOfZfFb9CM4rsNbIvfVRdsxqtG2IJ
FKJqf9lQzrM+hCv7pYwV7WCW4TYx+Qjah1k3lvS7TiBqQa05C+lJCKHfp9TdKOSlGxUT6PC0cwr0
Z635943RgblUbV8J5SoYqy9dWkfrd0JlYT3lhusW+nln0inojmXju7MmL7r5BVQeegpObKgWHd1t
gzNFBeiQatGN7eqNQCebrtGNhkNa4J0Tra10T860pauVYAsVol3jjF+uVqzo/YovNunET17Vaxev
+HTm3AqXaie6/tt59NfJKXFdpauWOMeuQfi0q3OxeeZ3y4MwYVff1aYa59yF27AUHRy1oUarBArS
mmjilyIOKUJVUrxRL1s0oOYrJpsRmNzqE1IPo2048SmDExTswigJyl7CBjEJtH9M7boHoZrsWIKW
RbaX00Dh26U341prXp0PKEZYi67s1ivRLizC0Nn09q95NwlOYRJMoGcdwpuzCFYuWe2cZBsWbO1Q
dXbtR7UZzRMVzrPLP4Ql9B90MXFBbg5SVpwX8m14Fc7ZOvDvDZ6ISF/IBtMsCLrOHsViD50t3tQb
u8HEv0EbmgYXZ9VatHbhhYN1qi39VH3ahuuBGqGbvji7sBIV7P3oSodwMuq8eovexeFUmEJd9fu2
a3Rm3t20CvbF2Q62g/rTLuSjX1yOx6GfuXfLOzXUu8Itzm7eRjbTTUe7AiCt5W1aOint+Kh9HcJi
gU14wV52lp1JxJ/0eBIcwrJ3Glj0TN6tevtWGRxk0zuE+rtA72y92kjbdv1VBsCw4NeU+VQefo04
Nmgzwx06voh3g6QqZLi1M4WsfEUgHGrULTz7ReCAorP1yjyOo7/1qvG1uYmgGvHb2qmPizE7e3/T
XbjnoYhO2v1+04vmDtQqSEtTRCbR3GZz3S2+iR21iBaRPgRE0N109+xzVgIF2JAXiebzXsaWsoKE
XZIVfB8pttPSu8WCGFI4S2ToZZt58chFP5u6iyj19/5pZo7N1ctCpK2Mcb23z/6ZS3G7yMOao1/k
zrktriQW2J7zCAhAzyMdziFXWcENXIJEfD+Jkm6RFaoYbNtL7kskg5R7m0OUEiFKI3oL9UZNT23R
q9iAIVdBXy7cYmDRMXsOt0gzX7cXEd3FKYowusS5usWCIsQ4093qaYjfldIu3bMI8+qPtacnoqez
h9+T9RIMenHBaBKf0XX2vvhoZ18AFYT77H6IKrtqOvqeXV1VR1JSPwDCCiYheX4wJo5+NYBpxWuc
ZQxXbbxuTyP18N6uAuugba4W0CXz7MZrI9QsYYV9s98WTOsSoM8t6OkEe0YGD0ingu+/4NbUeJoU
a2Cp8WVPfSV06MIwtujPVTPpztqngMA8IhDaRm/jxOcL1GQXLNh6VyE8CeOptI9evaktvuUevSob
4auzz4gOVWgKi/BAYPMElCAI4OyRSe8U3XkrL9gZXO7iUtw/LECnKuCN1FkiRXTAS/HE4xcHbBZu
WSHmoQz5kc2rVmixFYTU1FlUi21IVmy1T6AdJWL5FXyag/j4tEOYoSCHG0AGCKBoWXwqzagZnCck
HaG/9YUKogHCFvmIr1IISsAUQgUtaD1Hz/L3gA1npyy+TiSST9XeclbOHOyEAuHPoe2OdzQly02b
9GNwtrHwtKJsi0wjLs/WOQe7IXQ6IIM6tMIZvZEDm7RENHIL3tmT1yS8CkzNKQEaiKjCtPRhcIL6
CO+RyzABLBEraBXnGsUMJCjjSZZZffBWwDd3kM/0/sY7C8LBNwMvFeUEQhv0wgzIEJ/2QELHwV5H
unv1pLy0IrHfibsPptzvzhYb7xwUWcNFQWHUeC96OHseiwAufeV9/VzF+jvfyhwl3hcvcAa4JVwn
4QbfL/QWtfmNQBLuk9ZUYNFW6Uvw21AYlXIs8niSSZbEeqXdBz6qEy39srMJjkAUWvELXLCMo8Sq
zwiZZK+CrIUzn0FB2Vz4WDwk8pF3JBrIxd7SNYB6dAfJGUE+2IAklSPlV0LBYrAmtnm/8JgOgiH9
RVhl2Ox4xHoI4FVwJpcuwifCdUDCcqjw0iQm09GdRRUeB0KJWfdTxQPoBvAHjI5Rju4Qfi9UsYyH
e4BkVCTlo8xdEtUvkx6ygEtGEjFzwR62+L1OV2/BjJZuzTv5axAw8kLCAjVtGNTelpNX4jnYmyDs
tZ8PEoDPqZdrJF79eY1jnbm7rSOMwxVHk1viLRjue+fsleJzH44jFz/TPF2JFjNMSMVwJzHYklvl
m1ve0QXCSq3WtKFxwup+xr6JziA8UJQ1EktrYJpK40nauTCBoXYeL5v6G7oiT0huriA9ubwJdKqE
RtIcb+fPIrHZ5s1FP6Eb14BkAv8odQKjrcaNzZkjavQGuyBKk2Yj6UMa0b4+v4BoVwoqwTzI5nQI
bVVES/pvwwgq0x1cD2BdhLVlKN65fDYgNKifFa71zXVSS9eMcV0fMFP2w9e58+xVoEyS4j11wHCD
M19qp65POhPdeYQ0CEPR3zLHV87aLTBevyHTPQjr1Tnx8HZN3qGgxzWmi3ko30CpHtrSv45zINWQ
RP0t96NPl7B9Ow1S7NYeZvgqPDNXlWZ1pTXfWUS6Wx1b8RB9Nvv2kk9MNc85uwSZl8MpRDH13xT2
ESg2x8IyZOjChvcqbaIbDNstA2YupiGQZL5xGi06ShYvYnmu2OKpXQU+Lfuqc5I6W+IwQKoQ9U7Q
9RhAGf0YW4SUQyWUXRJJb2Vv41JHkRtBpFW31ilz7pVXCETlxaK0ZQfPWJIrr2gULIe0gyMg7IOZ
MqKqtrDXjM3Hcq2FO2HTmOBvWJnHAPdUnGy2n5UOAvRuuTd9mREOwBj6wqVBpRmRdZaYFH5gHdal
FbE5hSO98rUtHWsqlBjPR74Tvqi24i4a1VZpC5PmEpxiYbsHfgPEZ+hdAzqQgQSWGy0JCrEx9tLw
hInag1cjYSG+HluCmt2dsAMo4EomHtF2+nfp5rwKU0yrTgni7XVcYBzMoy1mY8eImSMcviPRa9G+
wsFJ+FzCuNuy8+YvLj3BZKq8D5EFLF4RKzFlrGXgL/Ph6hWhaH/f3nJUciohREmekuBpyON0kojk
kCBlxFgJ2bO7JxL5MFNtWXp12RloP2lM/U9CHShyVMIaPZ8brsKpvWFwqxlTBlQpEG/5b4+QCXF2
WKIYUHC7s0DLvj1zr7EGGwYgm647HwSbnMAbJr3g1WD+nknCwKAzHMC/MXArBm3ZPjYKhG+uDHkF
9rYE4GZBzi/7RWzxKhSTmQWBhXY6KGHvyCyMsgALS1geNnfO3zeQkOEzMg6VIP3AlGYTNAcltsK+
s8zmWLlzR/sa615qdi6EC87zPXBV0vk49yIEgGH4Kg6hturuxH6XjZdRqdD279ZP7WsYRTter8R6
dMrV4yHSM3UnC1SsMaQy2Ng1+hxiMBdTMl8eDkaJOVtCMF0nPdA9DDFmOGbWlwlVMaAqN55jwDLf
mWs8jsw/KnDjuaaSKhXuuDq1d6wKmIoialX7ndAa/USboz1s0m+ecgGO+cSUiYhoul/s7ejoJLyr
0+6Z0menSLhOsYZDthYsgG1kyzUgDlnQbv+MK+NtuUzVz3Xrfj3K+bOg4KwYoGKv62amGAo5E5sO
WS0sE6RB4jaS40CURBkNVfzQQ79kw4DFuVx0L8xfDcI6JUZkLJZUOdDTtuSE4AZyBlxRCw/2EhyY
aTgirkzoDTfhgmXI4WrgQ+NyyMO+NuuZh5xkuRgpriy7zVBZI5UssRU1QXxuPV8mOo6Unq2yCy5M
fDl+Gr/fziHuJ90/wSXCyrCJ0E5HuSJa7GQLFMw8MsoORl64Uj1zvFL1Tzy6VSj3j4hTU4lE6j99
US6QHQtcfvYG04icWQ+LEihkKX8Cs6gIEc8ij9tb4TlMueuVy4TFRs0ycK1GpIrPYMMEnd3sTSNl
KmtfxUaG3+rYP+09NgRMCZ/yysZX+q5yS7RjnGE5Zxy7t8uNOTsw+p5WkEvCHkNZJ8XgRu/JOYWL
3ZxjvmF/MubVO1psbhh/zdWU3IYLG0RC4iaHky+3dhOSQqT+4F4WWOslO/9JJFt85TjOiRGqYZ01
tnC31fvkcxSwrgrP3vy9R7i3X6E/U7JDtNzCdHbSWI7AMWaRsHuiXi+xoJofCjgqfixbraSfHAOV
B5jNDtHqce6If8597Q72MJXXDNB8MKPxitCuWZVvkDCf5yw/eEyYV76h0S+4xNUpy3GnbVpADyyu
OA44+md42pyQKS27No9YwrPjYWwzhpi+oxtP8pi5rFlc9IvcEiJ+ByzimgtrnLGJYdJvMPvKe5Zd
U1b0FK2jeWw1N4y+7ymt8U32CP2KK4NxP2VwFwFhNhEao9ZwjUuTV1s5ao35uI10bpx02r3CJZgH
ZfvymneqXyc2JmVG48TsyVa44m6ixUyYHlNPX5/s6SD5TntjnGJm2FpMaJnmGazxeCafLpDvewiU
V8SmSVAJM2rJ1pntM3M2ZWTP8I/PbNFy7iZaBGtS8oQpXSYU4mH6MeyI5KPGUddFXJLkAiUcVXGi
J+HJRnuJxKtFREU3LUXkPDFL1t62v3I3XeUQ6WvJ/BZ1AQY9J5zzvYdPv2b3q02rFjWNbdmCtbP1
yLdi1EFTcGoR2UX4ppYnFEel3kCr6FGgQLYNUzYOV84+98TOX+O41BhW8hI0t248jykjlCZT5qeC
1SyyQOeN6o9oXBxDtmT0APaBnbjIB7KPGsPZzgJTzlOixg47DObBgnnDUtyou8WWNoVXL2EFg8DO
aqqNjqytggAW9k3jYNZjdeR5aYO5yez50Zm0lbp4bCxbdVZbefzfcHo12prc186cw6JWMmLAuKEx
jgaOLngwY0jOH67zsB7WO+wX/pZHIHfjwpolH1+xfQHxV6capeGNOyuy79EmVvQJtvCsyu+pU2hP
G5rME2g5e0zabG6SuODW6UFwC/Y7c+VXMDbmwAaCjjYgGQITzk1BCOwSOFJYljUQA2WWZYmlgnWc
a0sIF2AemGCJ55QX1gUSVg0EOECuB45IeE3rgQUec4innyLmQJfmqeOdgWpIzDWLobMYnh2E8wAN
5j35LnO5r76crhwrFvF35uoE+oci8gIocHuwmvI0hZNcsM1yWEU1WYNsgtP1Tg4BD7DLW4YRInEe
5cAMJz5hEly8EuNw05S3pEyR7zWG9ZVhrnVMXixbVmfyLNRLfUPlLABkYYzluOyBLbIV0rMS+i9W
zzfUC9aZmElUeL2wkK3A7lR9AeWDvpg3gGcSVx9mbBilFvKKUiA39mZY4BFqf1DiNrVcaanfsd/U
4Cz6m1ALLT4nm0wl11k8YpkWpZVhTugS+fzLHg4WRmyS7cAPvE6sZsD5GL4WblehjXuBWzzjMVNj
G6xTqT43ll1hrFce4dU9gLzuqRQ2pe1aPHHdmagCpBgeLItw1nmoEJV4sJglHoGwIrVWNp0KQAxK
i4djYY5Bg2R8WaJAmLJqChnuwRnluepzNadMepDWhYRu1oPLkP+ISr5cZ29bmDF1f0q6XgLUyoOj
6wXIlhhEetwpi5VGt8wKPDNfD+6SAXklO/c07eXdtCWAuhIhjoxxOoLC77lzDVmGAJDbgT3MgQF2
eWUa6neGi4Yvw56hw1bZ32Myv10H9Rc20qviGrAcM/xqDQGZN+IYxB7AqmkZSD8GEeNAaSebel07
vI6paSsThaSCOhbM4+8FjQfMVPYo4YSUGzuCn58aysoSu4PtAsDeBRRTVkZWLoONGJ/yZP/+DeTk
p42qj5fFa/KDAOm8JSActTwSCjHjnmfJkrjxiSmx9mnNke/MRkQb7adKoNzNCxtcVrnGqVW0EUdi
3ZqyBpZ5p+he2B9ps8ra6Gk9nLsnLNbGme1YDA96yrGWVL6dc6gtBbQZ0ka1cxciqJ1rkVPJXMnV
ZifJqn4YahEX4jCLSnk2cDPyLNlOsoknPa4N00Z7kbbgMVG/vvM82VITXt0HuUGW0pRtpModbd8B
FBwxlsRf+mYyTflt1qzy6gQggryujn6vZT2Lb2CngbhNe36mQa5BKtQ+S4TgEuRKfCcUkmLpFEPx
z/R3SoRzy7saIVvt9BgFemcfb8ZqUkqWxdwuteZAZOWQnCxcFHaE3KEclyUuyIYSKrgEzNiVdwJ6
on/AofxtV/vTfR80im2HArekG7nKoF3Bk9J2kt0KOyfru/PYzwrYO7NbY1cEzLKJjz/k9/xUcCYj
u/5SHOG/qODMD8WJKneZCn+iONH/Q3T7LjfhEd1+RLcf0W2V53hEt/8Do9sq5fKIbj+i24/oNq7m
I7qtwOojuv2Ibj+i24/o9iO6/YhuP6Lbj+j2I7oNOVW800d0+xHdfkS3H9HtR3T7Ed1+RLcf0e1H
dPsR3X5Et/850e2fVGEqd1V7/peqwpRVZPM32eBFivOTAS1B87vc6Nz2lpvnZ0eUbFXskdpydfP0
XddyZV6aeuXkZPLcyJ/VJVq2RxTP71BPEh1TqYlRkPLgtsYN5E+hqb2+SmSOms7I1v5xHvePLb0r
LfXva+lPRVhrd0Pj31mE9ceq/BVVaf2FpfGoyv+oyv+oyv+oyv+oyv/vrsr/k7xO5a5+9kNe579Z
XufH0pv3VW4epTf/T1XUyN84v78UZLpzKf/TSyH9WIDqjpf61xSgsn5vy1GvVWvVilXJF/PVu15f
lAuLtF5cqx7Qlfoqe/LeKioCkeU+Talt+Mcbh0JVtQTvH/OvF7y77aR2ma2nOypebakxRJ0d0kBV
0UlpF0Uq/6jIaqxyPldKW1hU0DlDwpeCyZZSMirikicrpUC6wpbcFnJRAhUTUa6LqmzsqeyBmghi
ZEWnSlER5amI6k+eFPlvWXFV+PnKNpKqU4JC1YrkTvSqKKxScwphlXIPqv6lrEtlBpK/ouwnX6pC
Rd+C8q4EUWX8ZLmnWYEE8fWVNKp8yS2fr9qzYB4vySwjtwyqvMpmkCVGnpPqL6iwECVpaHlCpRol
wFMaiSKiZZjsB0/lNFYxak3tCtkneerxqLyoCkmoXoNS9Wsk4G1IHodjbhfiHS2aBUcn1yyT9XSi
1IVyE2smhbRPRkCWV6fs3zlZBLvsvYSsWqVYKFtzZh/J7irC+SOlgooKYqNn+XZmTW4baX6w1lee
cnkr5N+iF+qt+qp6qQIAytU7B5u4RpnU73JReVvaSiqcmowo+JDpTF1Id6GwLG0jsweI8EAfoWkF
Q/ZA2agNlSypa+mKxf+cVRYmbadOjkyFeheIMBxJKlCVzD87Au842o8R+BiB/9QR+KPNvYMk/qzN
pbbe79nceqlaqln5ar12jytdrVz5MFth5J2nkfLvVa4sH1WolHXzqmgZxBTvoZJbtS21WacqTQPp
qWJvPnhhhA7r09PVbj69SPrQS43XbPLDab94AFEXp+l5b23vxSOvsNlukuNFrlfFfvPevJc2b5FW
Kt0V9BH8UNl9F2mvKEeuh1ZeKCU9JFlQR5CgDwUlKOuEkJnSGKWqkEShftziG4fIypMrTc0lkvBM
e1CM26o/PXgboOxyM+t2anMxrum98c8gcbNLhz0zKB9MOAgHUzfE7pteOCNntIeO0NSE/mfO/uwp
0Rt1Ib55rfc5IWsSRUF7Gl1iWkslLsO5lghDrs1mof+XM7NfuPWpqbaSz9rWlOZm+1ZemWlq6sj2
UixjZSZzk6MjU9qGSM2kwz895cjOvXBlh5Io8hGMkJTbhX/Jm8vUfH3/0zfms0euYtj7VD7jZ939
DBGPMMY3KFgu7EKHFLwe2lEd9GtO9rv5JIW3R7vDE4f0TroctxGq503N+fTDus21w7DTo7/J15QG
zve/vRWp/71B75PTIYqpvpjSmJAUPb+3qdjTrZcsTEKKP6PlrThedNOuRe56tccNWjFVx19uY5bQ
zy2JfTV3Sg0yTP3n/mJ24JHt1bAU5kOE7wKldqYIwzUT97qh7JZS4hGRjG8xOchBYW4W1BQqcxC5
9xQyIMmsXeos32rPtbnZNBdTO6XyECl8G/vcupzsNcUBKmaO+ueaezFLFHm+SFj0jhuz25lNZ+ff
UjM9Govef6mChF72pnQy5VEl2LTzaJqRgHwx24XDYfv+ZWFKC3udRMXh8WPTOTcKJ+pj7Gh2BQj1
yNp9jmrD28caYQ+KtvQOc3PlWd+c6tquoFx8cCbUUCHXmHIC1DrY20gknmek2N3s1zwyHytqXhyp
QlTrLYfpwt7PzGFh9u9zo1R0BMfN4mpuF3OYk3C3nNnnAQVplAVW72ztjUXC4dr1Z1/n/so5zkzy
fnopzExxeHs5vFxekvfkqYQ6+Lvus/y5NFTDGPaHNgW5hxc/zyWGSndvRS3kzltlO4qGEdWK3Nep
HbWmdiuaGPeZL9sOukvb+RiNiiYmd5nCnAgEOc6ouXWQPAlinBCD6B+vxE7sBBgHNIUQNaWdo9HR
ppJnjPydHTtNdFFkQppxk48E8QeZ3kiaqIrK1XD9/s62je22bNvuO3E3jrvOyHEwMs2Xl+bbm9cL
BwOv3Xx5a75gXV5eQLrrZuK/XN1m3s7blegFvUASVrFTf6+riYJUM1NHklzs6Ewj4jKFRSkfZp70
y8Hj3aPBnMVSbFWVTwlOnaOC/yRd1jLySbqZ0VNM6UnElvQi5+FYhBTLMoIrFSqNyvzBmXSVgs+b
vKv35bpxBQkt6bwcrv8lyTmq2XSLupWumdhxbqB0xu5H9+Or+1EnO/Lrq5uPr6a/8vooktkBKvTU
wqq8zYy9aqsiTRAgYoY0FDpmV7Nq05F+/6tPhyYOw+xqZlHOCboqP94Nzob/u2fKauWc7ropYULe
RFdm6Z/NstmVmP055oCvbpUP8Yu+rmbq8A6VsbpTJwh4LtThsCNGxAfiUkH8FMfOKAh4+KMf9Ax/
XpzudiCPxemxOD0Wp8fi9FicHovTX704FX5PDajOhqlWyvPDysCsX+OxpdtmWjolFLGm+PQVPKZE
oZw5/rNqnCRUi1KVljK15lhnqW5Qdv4Yq7AqQsN+g5b93wbU7iTPFml5WdisZyV/2rokZvFab59r
9hU1Y4CUpTmU7NOg9nr5mKD6PCyk5ngx/MxRLw64Jtr263mTUp3w5u9qpviWRCtwrIlj8epw9Tnt
Hqh9iYdP+ZxhrlWsmkOcDPNnw2/8XHyegmX+b39QiO9SNcWVOc/NZWqObGxeCx0K3B3N7mrqr+Uq
MuyV5xs7n2htDu4qrFJLYnCLCnUdkBTM9cmK8hRYec3V7Nvr8ePMXooNX8meLG3wq+4EAct3KprU
zbSTruwCKqgLc/ikHiJFb/3z16qXmsrSJL1FapfKhiri60Z6NVU8/HbBP3Nh6uB8Tb+qMzOpOjm8
5K/Zxky/tu/r9+37bm7OU/1f3JpKK40T4DKcb+rO96ycOcaLkzdbuFVcpCFfJTNHHvpt2i+AHlJO
q71ob6k3FBTeeH1PNbq1KX7SvDze18ws3s8f/DZv/vHD/2nw1e60AXb/8sF3x0Z4DL7/nsFX/Z24
QN0qlItW2bKK1Wr9jop0vRVuh+NSOmhgRTlzotK5ageW4x3b4eG6v29SVhxZpU8qk7lL87loZqXE
KSB2HO6HKJZFiaFaEvXNLXR4p9JCpXYvlZhuNqbEr3i3pnDsuaF+yokCWKosQ6EYlXgZsiny2UjP
ult/szbz7i41bExzjZTawn88x368zfvNx3/mbRZrelx360jdKhasWjVfsUrl4l14enk81PabG2on
eb/KNlbCD5WuVMxmg4pfRrQPc+vto028j9DOeKo0d16+u/k6vHMc6tPBlXFwIIYxynkfaVB8lhIY
ahjU3Fmw9a0NVbemO3G7o6VtdSruNcrbTY+6WSrgRU0oib8vqOJEZSjqLlHEGPGvA1CWID0BgJ83
apzdiLts3c9dXCqa0gCt+cHnpjlxVLsWiM6nlGrVPRFFqAAdEC+g3BKlDmsfwFtL9JXz3vu3xDwV
v4N1jG4dp6OONXDSe6fcNKtGp+ZU3bILFJandrTqxFHv0qBwdzB5quBVeZlsZ/6uU7tq0liPEy5I
hfJetaXF3vLz4Xj+dYiO3pgyyxE38k5BtorTeD4741ZNIs43e9wBUKP02diKNhQJXlPeyx/zzp5L
NcZbwkGvQ+QQ+UgxWsp7yHubcA040+92BTocvDKy6rFgjb37JEwi/ri0F0Ax37UUDw5oywfQw8kT
nkEsxv4Q4LDiUzuWxBWSGk/x0TSJKYHzKtICtltuZ1CIc2nPGjFqIATbqHbmzcJzdHpKv647s0XP
1r5Gc4q3o14iEIVQTkTlJO/SKeD+zBvXqNjWRdU+1R6f2KA/Rb4W5qP1XPYn7Zp5Db4kNp3vJg7g
Wt6YFPnblFtX+cH8k/tMiXlCOyd3Ez6rQBs1IyNKezfp6ByYJEW0/CtgBLUjgSx+ij2WfseZ+odJ
cGfTivOFdTvvmQSOA5L9sqXWf/MFx8F5AlcG93V5Snun1n62JaNign6f2lnUyXWC+Go/BU4wnJvg
jw3QzzPzzgI9ZuZjZkrj4L9qZhZ/Wp7uSAHb421WsTQzywC60gPCtDQ9KvsSxiHAhEQPei5Op4qi
thU970PXijAe1MVzbecHQPJHK3EXHv7XWIkflu+7iOHukKaHyy7rHxn7SbPaPrvNHPzv1H6xKIZY
V3eFxn19vTZsykuyRmlJnHYaoO3dH7rox8d1pxf5Vz6uom79Dzyb0t0O+S/umt8Tp69b5UqhWINU
U/wmhv2CGOwrx/ppkSxK/lpF8fNsrW1CXyXH+qKgLMv0zcmdf3Bis/Dtb7rgl2ve7dP2p9lyfjtz
zaenvN1uT+HvPD8P+/0fHnvhd8LI/3Bvd07keZ7u8/ndXHuCy/vq4tTby0Ga2GUKNBM+TZwlDBS8
x6qZB0UkOoqDBQopN0gd6cQsL85x/9ON/9SguwX9n9HZP3bC3Xr9l3fCjw26s53T3aWWpBueyuZm
Fr3Z2UymEHvq3qxjUXPSTjf4tTuSQxJ73d1GaXtHCK1kV1MzGVbDP/Zmyj89kDvbWVlVF4XkwkhU
dK3eztvT4ESoMTEXR8peVIAeVWEbVb2S6w0GJ/xl1djfhyrDvUVn5tzYttb8Nhzm/GXLstetrRkj
HY5/vzMFE8g5zDkff7LVd9b1f0erf5z1d0b4r5r1hTsD+1eOr99TtP/VAmWQ2S/WtTybVurlFeOL
fc3EVKL9S5jPwSsp1c126V5+tKy/g//+w/XuLOufvd7vrmWVSrlUqYI6F7LF5Zfb28DRyRdywM3n
FLG1DSyJ1/3RzJrrHwxnQfPwNyvGLxe6s+Tr/aKS7BJsRr0I+wObkUfCY2LON5Pu7ApqSCd7ilxE
4gAsnwxdnH+6II+Qdo7gtSdTWpvqpbl+XcJ8cDYLmIl/PCMLuv4fte/OsE9Xy3x9vqJ9V7aOYQ49
9K/14DTYtZNuOty1a9Q4rgWFp23r9lVrn99OTSoaN5P2D634qZfuTP2/upd+Gi13hv//f7T89DTu
rPpf8zQq5Yw0/9tRoZlRRVe2XL2z08vrsXpdH9OSvwCEABgRucMZwbqAndBtxqNRqbmPRk1CEuKr
6OWmg2wV5IVRM46fnBFird+0EF7kY+J8jJ6OtsMRUBy6pWYAm6PpkH0JjSPOKG8bA8XNc5pQT5re
i+qHi+imPyHBgSIclxyA900+Zl2Hiq+S8ZT3Lbgri94WiUpUQ5/WKJKiBOsdINwlrXRE1XPKg1+F
oQD2VEDlqqYUVY0IwWsoTM5M+I1X6oLfALyIr1LyCZ/wVaThK+C6K2vsCFLO5CXlREBE8PVSF87J
6QluEZK2K5POJKwLZ+UcQYF5mjcKvgWIc46WDUn2IYDr8fY+Eh44pd6/v31aNup9AMLmBCwK6Kjc
LhNe2aDWCgDIBbQ5m4ezUFDR5KVsZuH0dYm2rgCpxejkWQhvNSRLm7oTxGMlxToPa81rlH4hAveS
s0zeL7evKKwumdX+YlRs8xDOaN8uG3ivVTNDILQ2s6e9TWpb9P4rwaivpHdoLAeLVvlpGqwHFtXt
EQNtYJtCcJxFcAlVCP5mVhFEQ8QQ5045QDcSGqK0OIsNqTMiwnn0LkgG5lf27dy5Dvf+Fe2Hrbev
2LUVVcoRuGgi3RJTAd45jMNkOAmh8yFB4L6YzmcPQl4Pmh4QlQlh10Fo9EN4i2y6Qth64ckKK7t4
kkPakcLrFwQn5pKtoL7/8HVI5W8wy6IdzagUHvVfC4kZJh4hIzMUJ2raB/mGWo0GFW5O67lD8fwm
/L6j846qzfMkhDMZ+P7rK+Gm8Zky5MS3pEJ1DLqQfyjZHlWepB0gQag8IkiTGDyP3R8cQaT8Oit7
N84BYC6N/76ykxSMPjE5UwDWT8xgY0OKc8dj7iWluyzehULvT82yL5ogUiCmTPV9aXVKXm7r5oYn
lBsTTq6+Wdifz43oasAhN0CCS2KhX3CJ7FarMZESBCUk947rAhOjH4fCIofBhsp5Z+JlVYJy41lq
Pq70RPT8TkTQRH3AaH/+eYbztP38QoLOWb7soMi5glL3nhC6Dbhr0tyhQJCHOOfXOosmd2ivmpeD
IazpJhfopbN+cQOZcJYh0O91V4nRw/6HFOy+1eRmL8T5psQJ+4SdF+0himRIFqCXpK+ZcwhQGTLP
LvG9/rR9DtK3K+5n9C0HsjWvPDOpR0qU5mzWNpXqiVHAu+oAX7aeT3bZTfzCHIGdT79zQ6rhczJg
4Jm3pii3T+0LI6uH6Eo39a0YVmW0454YsLMnlAqamxcSBAz8xQCCK7ISn2vIiShOrCHWbcO6GYSo
QI2noNZbEGoJn0gy6/x+RPbPslv9mCzxkwNYfwzErl8S5qT+fn/bnJkKw2zuDpESc4YlwGjG5PD5
6gmF6+ihFsLluBSux4WtmXhTv2SeX0E9EwfVkk6izli+zF8kzyiRxZlxZ/E13Jn0hPe+BNUHUn/L
2Sf0R0/miNYF0PfzzUUvJy/mWkwg1R6WRzm/9bwcjcmY4GMV05EUgjodHXOn5z5LOwwRAgkQwFOU
GGifyCyyIdIRkvRP2kdmBy23C6IpFgGlgndF3gC9nS0TaMIX2ga8tUNa43kVVpCKOpGmsUe4jOA0
Hg3TIIKD7HRoQIpeXy2em+d6d1xsFZ5PgVJCDmNpaljGMnUvjdKoGBRjCdAiN2umKF/s4gq5CidC
CDn2+Su2+bMrJ9+Em8Zz3de+BrLlHAj8ynfUaj3XNIK5Y1LzoyFKASjs7VAT0KA6Q+SD0jc3pVgR
sVImIAj0/Dwmsz8TAkJycBNKj22LIibSnA4hN18qbIqaFNFLmrWuHic/PjXG45v/Pvbp0vdM9an3
ySO42GNpDRV9TaKleR+Py9n+6oKyyMQMoz7qf3x5/XPDhT4cDMK98UK/ocoCe4fYxo6vOcpGjvPW
bEJvPJo00BoMAfKDHafLZGhJOlUye7su4+uV/252NFw5KONYNpJwW+PCTR4OZyZ4bbk+fdYI0frF
Bi09+NhwmXkwsJjhEnNvTud9SUulk7GwO43L140togUaf3ZaUnslo2Vca485ZHwxfuP9few+j8eN
YsR28f1gOu9bumiN4cZmT5lXb5kQL9TvSfg5c04GJNF/N+aTK2LSe8xR2/fNgMkKL5xlBAoqk5Xv
G6RwWrey32X+CURBsR4MpJr2XrfHMKWRTOYKvR66L5DKRQ9BJjhaIbmMkHITjxohb33dkD7b2Njb
TE2YPKs5h2ekdw4ZSMPxZD55dw3dHZG0rs7FimT3uHu74elZNFo2pjbozgnOfHT7W0VJtGgEfQQs
bcwoCncsNVHBgdK7hYYhswPfnpOgFmwG7bbiHlDgRUTv9abu54k+X9i++8y16/yb9xikJSbleMzc
qdHjVhQwjiVyMVXkltgVR4w7n++dteGjxHf4PMJnmDEo+iQSXfh3wCbfaigTYIEE2bptxXuuOWC5
9F7y9kvJfUMV2uTRvz52Vwgn10lHuoV1b282EdridUk1fm1ADfR7+43uVgYB8m+coMiKxEmQAkHU
LxdivJd2H+k7kWfhR2OXsU5MurUbdT+ORJG60vJEYoz1EQFhJD3pouHEBJGYr2LV7vwoamEDXTvq
f8B89ukly6nHSVxF6uhtwNKYIzlhQFTbLNz2hRQFlkSEvfdG+WUW3yKzF1lW0RaiE3jM7XPvDeml
l9QOfQZPL+PVuwPLQGLGe3HfJOI8k8lvkpEW8TgapgXd1na+aAwgCGLNZhra9TBrPg/1FRNCl3fI
A7hgwDQyFy/Kilh7eDooviW8IoMlaZ8jEjd6dTAjJ+L2bbloO2vj95pPC08Bk3zptQdMCOJf7bc9
itsvPDfyNgYS7h4oO+JtxeLf7hlKirw3Gm+DEFmad/+ZyUx4tw2aySRhZM3Rw14hfUTeBE6DXAmm
CfkUNCrhCJpiwnJw41nCqOGuz7T3TfJUyIRxK/Sw7xqN7YnNWpPIkUGYUSuArKY/2KOxrXuTuvey
LzqBD5F8Jl4A5OmZu2/ndaxLk+H4BCkZC/RDfazpKBPDRA4HEPPt8HMwQAcpzqEGVEIOy+L40N8i
bjgm+0EJJmrTCrHBo1+OAa74QoXIDPZZ3+qZz+zBFAEgHZcgaKih8LbuWGhT1blVvUjzDqZk/OxR
kdPxSbZHapeDt7P/P+ydaXPi2rKm/8qJ/bk5V/Nw454T0ZIQQsxg7Cp/IeyyAYEGNAHi1/eT7NN9
a3tXbJ/o/tQRLpcxk9aktXJl5sp831dh1BJ2tp4343bK7ienxE9s9tfxzPPchUptDH6GfBguUwQW
CxiWIbRlmNeYNDfUKnZLBIhAUKL0Tq49Nk76CKc6E5DBn9De2XAmbZELH/C1zR6YJfKcCQyRF9kx
r9zAyYxnNbP197fCGd+UO8a3ZdRo9I594OFhyYXeTBIoUUboIMMpXyTDhhP8gASdu5QreJS7ySdD
rhf9+2H2ClUYwyIVUOErjw+vpf8Kf5YH2yEVouGEtI0nMsSzB5okT+7ffMjJ5SEXgEQW/oc0Qk45
ENfLd+7LcLh8IDsIbZxpeZUkm2H4QCrSs+U/h6QRzF7DUBJuJCEI6jp/+MT5PLTOtT9EmLKS5kwX
0oyiJVrs4J1AL+bujcGHxY5W6cF1SGEl5MqbgRCPvT4w+XsLSC4f0CabR8mTEcYrSeiBwFVSiEQ2
HMXmgP/u6sGDxqPkK7FBHFmHjBs37tlUvBamsN+J5Eu6y/tJ/CBaN1I02hFXQ3fZGBla7A1W0Vri
KCC/XLCaoxm8egz1q+G7oZwBvT4cwmXiz9E1RVAKfVUqMoF+SFqUzmBjCTFNj1HJVOUje4T8hRRO
RMUpdEeWb47skYvUFuawW0CfX1xsBJdp6cTIqhS+P0nM2nMPH8SsksVYs7sJ/Z/8yN52n6k0rCY5
Vz5HAIpcgrsTOfXejNhjpP/LbCLbjsH0j6CtTL3LnbddaPamLycMiEUvcCabSbt9JJsBTldUtB3q
lBvn/ZfN6DrY342eywyLB9Kq8k1IAqv4d5tnw5ISbuQnie4Y9u7TH+EKubA39mJujjf69k0PX1nC
hJWQ60S79zMYF/vj8Rh1f9onQ2Z6ICDjhXSr2WxW8vDw/j4YeFXmvaMrDNlJmeP3ab5kXspS4G4x
S7lj4RBms/urB2SVyGOWIrP4YSargmnwwGxdUorcqOPkHL0P0Xu8fr8fk5jjk7QjUm3KPjbtx/FL
F8Q0BBuSyAMSosTUW69M35+iX/ahZtbYrqcEKMR94J6mU4p58egBxWBwxtOX6TTur2PF2ypo/Ysk
XMVTrvPe50tEEp0SKYXGx4V+TJ/ZZVbsgX02oOm0I+0KfsVyGKv9y/BlSrpQh3YqDXHCQySUYOUD
b94e2UwvwX76ZKJvtMTcWLCUEXVDbjUW1YlgU/Y7OyRDKRZp2oxOEarZo4SNPSVzCGcx4sK527fm
CNqJzVYpio8wQc5b0pCvPtnDTJyHCsPn9PANaR9MZPIRNrSHnNUJqghbEIVOYlBERUxpQX9aj3N6
1yAJMaFGkkvI4iRKTfRLijsE3WQPO6vycsY/UCyFCRHTizUjppmk/NWDFgHb826BM9DhtDEwLQYK
1JXVmLyvOwnncUQE7pwMs6E6fmb/jFy6SXUsi9vQIAmSpc39boP+nMmfeOaom4otzeYUQNr4okGI
KduuHlIGxIZK/9lB1AhH5iwNnidOnEQ8tSR3nX3n8P021F5Y9ozDLbiOT7hC5PvFUvLi8/lx2fVd
9pEkSmA0FEXD2pbTru/gwGnu46eQ499jYZ8eEDt80qPUckp5EN0JCd9zx3Gy2J3noQxI1ref0GIm
aciidynxQgZ+92KGm9gOS0Z0eAv232+MiIsvppxOqDFWaEO23AzM8EIHCUdGmeLsJ9bgaISOcNwh
TkUcG2hOJauEvDyfasJXnZRKvnt6Ux4lEUwPZs5jyb0rIXl0YsNHeAXD6zidi5KCmlgNnXgXQTEM
p58VH87go92C8/g6Lmq8GxmD4cQTs0B+l9P992rYEMRoyu4yQyiSk+499DyhyW0eNP/13k7Uz5kG
Y+KN5uZzfdzj3uwi+hZsFgyzh1wNj9FrC6+pwUiED+jSovWLH2S5Y6Kzw/WkO4UntzQf4jG0w+fj
UsW0Yfa8nocyn66woBqxAkWjMxihk8Zr4ZGtvDhY4JkU356gMXxL50LC2SGTrxBcAvhGiyezywSZ
hHWfLJ/5juzguxgtAHWhm9TepO0fiQo7rRPCKVEeyYIDTqFgPCbk+R4GI9ub6AArNOPezBk4g7Zv
e13/mYS5BSIibohmR/714Y32x7fYxgQwCk/4tbFMkQuH6RmPvHciW0PztPGGUE6O6SDH7tsIYOHy
xCePT0B4qYu5jsSwwox0SgOJkb1VXjI3sQfr4fXxtIzjXRh/xz4fDMb76dW/78CDcMa4IsTL4YsO
ee9q318Eb/gMAcQz8JLeWIgNwyd+2fTsbRbZYxNMcDEubuzxDMZpTDSbjQEBuMIiHWYEqEn+X+G9
yrYm+tvr8H38vT9fcu/QN4gqjzV/JiJgiD8FPQKJzrbfPXLruIN1/7EKJcgNKvl0QHNof+QHAPJV
Q9ksN2xM/Cj9+vHSl1Y9z5heO94yaKTtPeKjIwNvNDoMz1z1bXE3Tq7TdT2EVXPoxtcXyQBlNBlP
N7Zj2c2+XwW+T9wH+PyOQTnDjMawHghTeSY0grhEKr8McR8mECuvCtTlQ1+cIoTRyjfhZlQCClY8
IB0afx3jB3r8ZnG7N4v9nMzJe67j4jLC8UnIHVq0OMzFIW569ox5RVBflA+00QHwihME7s1g8ySt
bBbsU8Ihny5PSzw/01I4ePHRxH7nbUlvJFyYLZCBnTTj8z4w4nS4m+KLJ9VxP3GmdkDq4Ur4EnGL
sL/V8IvWw17c0V72HwW/TSVbkUwn3W+m9qOA656WaVQtLdyWMXgXc7xJ4244vWDm4ijCMSA8qw5e
oKk/Iie0wQ8vyngytb0e/ujhLezN7B9ERdLPbfwiZizE43Fv8V37occ3GFeJ/LsSyIxZ87LW++I3
OnkHKkBdfHqSPYXbQQotgZuDMWnbPf+H8Gz/wH7Gw8nlY0JTcfnp0x8bsoYt7+n7y/fVehEdBiv8
OvGL0C2XQ3db3mNCbRPfmECKjPuraCVMmItV/GKFeDiyoB/5j6PdtGP2gZDhY+zvwu3ew66N/Kns
10/7JV4f2WGLseGZC1Qdw/PF1nWEPdIni/O40p4YxVP8woJkc3Y8En1lyjAxQjQbrvvOEpb5cQxX
ixZUD2xp7C7liSa33ptgkXwj2YTpcOD3myCyyHmE2NMje9jy9BR8q8YTdO3JJHo7DTjFuK10zx+Z
nBoEb7hvV5s+HcExMRoJvEwT2IQKE6c6IVlYjvIRKtz2qbjqROvbrmDVxBslFPbXvtwAezA2Ucvw
H04TYr+4OX6kTQBBYb3XyC2ZWZjqHKpQZTbac9JAjg6+kXu0+EVyWiHbDN4Wi9WKNYDTdoor5Tgc
E3mAjoalHLwifHxQWoQTXKaShUKJ3rNqcDTC84osJDFXToW+ccrz7dVAFiv4zYGgYTeq2IzY+x6S
0XWsh5NyWnrFspieH0BV4QOXbeu+myYjkRAYiLDQGhj9pzlxW8vr0OLQwkDlaAe9p3bQPZsjd7R5
VEBQKGI9OEbmme3nvBLqXJFbNRWzR/fTeT29jY3HDqVKFHbhbGY/8s/s4ecH1JA9tSTR3nceVXz3
rxRIT3tPMDyHYkEr5AkNGghP+6cTCnpx9dVXE9rrJxUfJzTRa7L24wdxN59m9ZoTV998wmIBdMHx
sudywNaZr06cXgTl8zHG0zDJ4jRod3wNmya6woELMS9bLH5t+wk+8n6+UkftmvFeCZCC/iS2REoK
QfcuRhA01gwEtgLIAGK7iM0AzTIc4oL1ULNPHxR8avcXOEvEsKkwWtMQs2Yi1oY5KuJXkbnARmAx
PVz32P61Z0PTfF65aBaYp7H7WoBcIFtkS/kmZMgFra72jFDpkzEltaWh+6pjGr0Wz9LE9v2ColhM
RGssJzp+rSROw9bwbAU77cjzksG5omb6dmRGp/A8l36IRoOJFJujZgWLelgvLoPTrFzkgT2iXXzS
TtLGbyfduuVecxLFL3dkBihP3HttJwzpgv7hfxZBmvXPe5zQ7Fs0jQkhLqc8yOJmViykOndUP5dk
W3TrC7bYdYiRx7XFQsZpd2JyZQvgKnQcBENIr/FJYpxmz2Kx5WHD2X3UyXzIqb3pMbjGups0tDa7
O0euqzw4z2y0YOEMvz1gEdvhZXphRgFo9B39aZ4jYKbn4Q1a7nGxNEN21GaIyha009llmj88c3w6
44QUQ3oimiXfMHwzRBVqWAfY6Gr8msXlczpE8xkFDoLIc08AXQwsrxhz77CWCtAr2Jhlc1ZBcvBK
dKscX4cJIAWk5OFxAUDI6zW6etZB/rvT3aSHPdpE2Jr487UeHrOd4Z1fbXxHkSPa+BzIA9yZ37rg
OGcv9tnQvOT7EWuyN6imSlChyOC6ZjMADAmPczN1Y4czvXZohFZY83hDSmG+EG41rB+uj5cVS8A3
wpPXDndwLtdDtjQlEKZkBDv7aMqxhhIcIrF40kgJerEbW6HG7tYNT0v5lokAUlCZDtE+elEh/ta8
lxs+etqxPb0QBvVYB0/mRMXYqfpP2fgSHh7Fjv5OK2VXa8dmLNzgwC6xRaj0pAtctswdGoaI/ry/
XmsjcRnP17Ih0PQ5piW7LozEPobiOgKewV+tQYzASap5QEWsuXa6AgsA23Tlr8rZic0K8Y6pKFqh
4lHOSk6RxCyvKGfFpWTIAXBRzjBDfYpD1Mtp54H+VH7Nu9Ick5NINBmoqtcYnX6U9lFiONahUDYP
uYIHOeAkOyjM8dIe+uKGFkU0XxQwex/RIQquP/nngTFqJpo4C/y1Fp2OXr4w0F2aQYmugeyKy9V5
oHFmJWVYfCLP11ZkjIzIevqdwvkYnKUICqz3nvPKRyMtKtgGzpNiZYAacn13npoJbZazG9IBrxPF
0yLRjbLQeWUr5dKSXQwVRjZbaQQ4DlTU0HRxP5/Xm9djYFBHyljfcTmEp7yBOZpeqt75uQhpD/zd
/A6awXnCHk6XZWMkPWqBTxTMLwMNMo3PKGwkUHHL1taIlwOHS84DGZHrxIjOXA4N+CKnIsBGGD0F
dSDtS+WnuAjlm+1MxfAQpYvChQacvzJTrOi8lJsl3xRy8SxwRk7EzebE7Xh3AVijdXNXRqmG9p0W
lc9xohgPWlCGBOfQMp0ZzxwLOAeTQtT+eerAVi7IZCnOF550Qyt8kXfkfdl306iYN/55KdzY4uqo
WBCoXWgI/lTox68DhpWXeB1kqWEg4BHSgpivM/+mnHugteE13vlrnZpPjIWGm0L31zd5+NeFxVyj
q7LbU8fGQw+a+t91nCoBjezHWDk7mLnF22H6ontwtslhFm9+54jRCqesyP40m0/7fvMy7j99b4On
bIhn8QZKHCc14/kYznqcUOQWjZ/0wfxpjodnzK83xkGTEwnwMmWRsWRk7M7MDenOOubI0+/HHgYA
p+f4d6YD0oM84rjbAFeGOP8590MkoczRxhf/pWLpjXl8WXMutOZf41MM3qIKfJcCjZxXaIH8zwI6
H3NrAYbhUeMv/5jbHa/kB48Xi1DW5e8P8l3eAipGyuCUGCQZK+KgcM3TFesfy0O0Sb4dxfywzhl3
Tmbv02l1lw6wwqOy3gXDitmzEk74Y4A+BY4JC0cgT1Y82fqr1f2rK8rhOSV2fEqRd0tpy/Le9yO+
2LEWItHHZDExD1kU8ZbKkROreLXyA20kIgj0Eq6liVQt36FAWQLWK/gqXPG7JFr7NN5f8wn+MSTb
GjGGcJSnCCym6H34+LqA5ax4n6dcwzgiqfgjUkJkGNJSPrmPUxQXAWUiT2X5S4kxSxJrjMEBxIVe
+/TMB14lChbRCLgVTPRgK5gt2wilPQr8xSJaRNHC5zCWpxwGLS7e6H7CtQju4QWLYNNPEZVkSnIZ
/93AmaYD0iZd+QIpeNHiTWz5jf8mptbbQurav9uBOY/aSAjmwX3hKP2heI2iIPADvK1vHOFSEZfz
1+c9aZI8Bx+GJtEEaQV6NK9R6N8oBgVecjXlw2DBiyjarmgVby4I/1jwT4IhpJkjyhpt+eiN+iiA
X/nDc7pKXTsxCIMtz6RDwZYP+N2Q2CGNi6I3fkeCbkMxKPTRNljxTrCVntE/KUUga3pDqRBrY5AO
eC2RKPcG0AjiM7ZbchMpi6GUny0JZjmWs7RvsZKwArBzMF+70bbHBM0H+YRIY+zf1XYrIcfbPXdR
jlpzvxsB2EOsjpy18lX+Yt9vT/6Wdy/RKh9seSuhD9xXubgnB5KrKAG1J+ITqUTcAQtqFuQfebGl
BKoChYcR2O5yj+w5zjWpy1vJnMd5u5VreYG1uIrkkJeVwIynXkEOYmYJPBCnZpy/H7HkWC/3dues
HJ4cwy13Z7vF/8sRKdPvhMkfRatK/uxl8Z6u/v55Yw7KXs+LJk61YiRWDBKNwD212NIvWk4PxQyl
VmnwvTM0q0fsAq+x4PJBvED15tmKS2Qgtj6nlwL6RN2gHL0S70AzGcbcPw0uLOkoY3VGbE54dVnU
4ZXU+/gYVphf2axanzjpnFnkgLLzYXWY9DC9+kSBzKp3SQ/OJ9ypJzIqTu+ClCXxUCBUMrIy/nvv
DnzEPWcM6Pl2wZ326VUS8rCgOwv6dx/n7fZ+6sgI8648yO3micwsJMr9Zccc527LbYm2jCulcNMx
32WIObTgMBJbWu4GDYm2xwBxht2JLhDF6xS1I7aiaC2CA3El6JzoRTnSA0mDoBMhJSXLPY58maej
xWILxiZTeYHriam/OEyiLQtOZAUwTcwxPhIgqS0GuywGFvAbwRiyjN9y/zAR6YAXxx9tKUAKKXEA
sjhHLE47WIze+Iv4CLgI8AXijAOflS6LW1a1lBchKqRElomzpKJNv5X2UH46GL294SuQi5E/csnb
ludbBMp99bfeVkTcopYLkBBvo7fDAOeEVDt6Aw4LgcBhr6Bg8bqOjCVooFOJY5Cu8IdyAune2wjc
KV4GUTB6a8W/EASj0Sc5AP9GdOmHePqv6NKv6NKv6NKv6NLgK7r04Su69Cu69Cu69Cu69Cu69G57
f0WXcmLyFV36FV36FV36FV0qx4Zf0aVf0aVf0aVf0aVf0aVf0aVf0aVf0aVf0aVf0aVf0aVf0aVf
0aX1/2/RpXmovX8Fl34Fl34Fl34Fl34Fl34Fl34Fl34FlxLuJbGYX8GlX8GlX8GlX8GlX8GluyL/
W95m8yLJm/ofv5nqr5BkdVVxTNtWFNeyPkC1mknvWhdHSx8IIWzNr/w00PBYA8mshWQH2E/J+ifv
P677h7EJal8NuKBJJLxE/O/XdnDwTzDMyXutD3MLWAwXMAgUMBxc8jp14BpcoFyy/v6bTjboZQpW
RN/oK6SYCkTCYX4BSiAftjCbOH7rn0N+gvRejuAyyPcE54WMS1CDTPI1JY9RMiXNkSRYZnLuR17m
sd+sTsDGkIRILmNOtqMapcFpBZKhz7NQH5mvB04I5RNSGAFUAksKgDAwpsJdXKxJmIzUaA/qDmBU
gKQlsfqaSBl3MCjJOtWj4zPE0gAa7HNh5AZBrBiAFCdvUMy9gNd0BSl4RObfM++GfFFeQCq+3vX3
K5BHwHB0AuAh7SmcQ2vQ1Sip5wMWGbh9G8weDbQcKIaGwkckeEqJL4xEUE+PE98KQEADdg42ID8f
5VECngxE0MFtYAQKbNbGCuK/2PB0MhQhnA6FBrAGXq/p6wt9APs1z8tAfwb9nnIt+I7k2W58JiWo
8a4LwzMCqPPGtmSRG4E5gQqHQihmoMPmXcGVc/nBV4FTsbwj8IUXmC7kp+mbi7PvPp/6x7FU8oMj
KKqlUJurSCineoCJeFaP3cEVjDwllJ8LoCzajy6sx+W4A6uhIF+RHKhIcrHKsCCtKwtg4wq10bmE
XLiLemAM5IPUP9x/azLnbbI9emSPCKEw+REDdyjPdiHvDndkTwjNMACAAfH4BOCTCyDUw4E7vIx6
Q0ln2IX7Z8kQkG+5PZIELlTiDvPJZZS+SyGHZ7lQ3nOY8RAM+Q640kJ7VDNj3VUNoIOgYiisD0kn
T0kBbwLBZxCyIjMgVx4oznuTaR4EYiHpFKMLcf3S6CTszaX5wIqymu41+640L9pP2qh9IjGGNBp3
2I7SQRsdJu536SDtmLpD1t/6QtvS9aZvsx4d31i60o17yQf5C7qmPk8HG8rcQIAlIKOStt97MLm6
N+zN97EALexmh4GsYuHW/mus6s9FzAeQ5i8R8yVivkTMl4j590WM6oiW8kf8dRcKXFOxLNsxXFv/
QEh6Mw6H9Orq2sA6gxVzHh12UVKNHG2WZcOmCizSIvNVmpMPbOw8Q4muTWTpI+t29jrQAsp9nAPB
A0I0cGH74AR97i1SgOuw4soJjbZvGX0HOIxTUNar82Gg9wa9TVSBHmGTKj4+5EevSPp7K7QPcZUP
9ct4Yw0v+/6m9c00sEjCvo5Ot2FShJtzlHQPWQVKibsoN2O1Hu5BxS6Azy62p2rhkHzvjMze+qTN
lWRy3H/rdaO0HYJfcfXUS+juptruwThGaRqeq6hXDg1lsFEGZyNIrcDO+8Z+0FmT/BrudqEJOVUV
ZE8aOGck++vh4drXSf69DRIbAgcS2truvWMLND1GpmgDs4guh1F7+GEdde9WDg63SQ1Q0iHsimFz
HKggJLTf0962IyE8u+y9K5pbFzRUcwtbcLS0gb5Z5NnJ67Rvm91K3QzVh3w/N3qPBpnUh4GRvxaH
bXqZp9LEx91x2jjf+a9Z/XMVmvnotJsUydo1wtQeFfVE6UZJNjbStXEb6enAvPUrdVKpw3ao2yPt
PHB3D001TZzlTY9b0h9vfXugdtDmaROrprbJ+RpZzdAgv55EvYPfXAemOlJ6o54x7bJFcvjeGcNs
8wkZ0eez8QNHxNds/JqN/6+z8T9+XP9z917MfxeC9T//i9c/ilNXJbt98+HlP/9nWzfVS5q85H/z
2ur9pf1bsf3bqnlpkrpJftT/JYX9n4v/+ceXlPWvugDlevnDi37eJE23aN+rbvlet2lzbwWtkm/+
ux/+7f1eykN3ev/Hbz+KNm+ktF1S5L/966Ph2z9+U3WYP/7j5/L/9eH0JeO6EZQwr3TnT5e8v9TN
P37rqabyd9UVE1ezdMtWHfg5Lu/ykWq5fzc11TI1jUfbtcitzIuq2f/jN+PvluvqquvormHbpu6y
qdRFKx/1VPXvhmEZumsbumKorqv99r8b94db8t+36GcrXPtAY2Lqhsq+BZG7CRGuq9jy+Y+XZZLv
sNnV/2EZLVxGdQYSiF57Ny2LCrc8+90pcbxaOWIUpnkvLJtG8XW3gxShOf4wFAParG5T+0qrvxyv
6awqgT3ogTBXaWlkXI0sTOpL2me65OH55ty85nbM+2q9N4Y/jfW/uvNz8z/6EGi+ZmrwMbMBG4Zj
GR92367a6G6dqodVpWC4Ho1plsG9Vrj2c5IdATBrAOI5d93sdHTnjVkOckv3z9fe9lYdwNQ41BZg
R1eQGZNufuzp108MkI88fDRPt1VNNxXFcA1Fcz6kzx5dTatVW+ktKwVYzRukG2Rs63VV+Yl9zPzc
3Seec6kmaXvSw9s1AQ7reAMA8nyEfehkmrNemT2pbg70QqI8F1a6DzRbO0fHJqu87ghCWNn74Vg3
T0saJzyX+9v6fIBf+tAWXmYd6qDKlDLsWd17uztj1SdK6uu9DeB56vnBdlzHP+3j426umBX4/8Vn
/Ve1D9xnMgCuwgBI71kE7ofpdekuu5vlNs6y7hWjjatd0XKyOFGSV6uHcdj2DmP23yw7gu1n7XCd
HEia3h90r1PzV73r2p3X3txxgXF5ZOtv7QpEx+bxfM22RllsPEUvQks/DRy7HDo34DkqUBiryynM
NtmyOpxHO2UXVy0YoKcfVyuNb5eR0TaB2Q036XqnAb1U6YObrQbJeW1ZoEOd035z+3HVN4M82Udu
AvCR0Qyr61RtTe+8x9NymhfnrXrtnpzDpGt6vn4EaDLrBte0DG+nSWZn3q54zLtLsLNBJ6uejett
Xp0N4F0Prm9eQf3amHFSADqDPpTq762Du2gPYrKtbdMcKGzkQaDkN9u/OHbUFQlAfofrRD1/3+0O
z/qp9hQXr0H2kGSDWw1H1XETHpj69VkBkapB+zABzinWyakdFmo1qm1nUSRlbOqp19MBIM1RaM61
Z7kQTFtdsK82nr3ZR3Z6nV1SdZWWRb91rEDT7eB0A0DUrcZXWJN1KDWa+f6ke/tLOrtee4D6d+ph
bB2y+SfLWv+gVTNvDKi+HM1SFFVXTOvDuk703NpcktJdajpoXdcS+M8biIzJy23/w923EKibVxi3
XHTJk7c/5YN9e94ExzadH50awqAeWGL2xWVyNGnP7yrjpWden7uDrvnHgwF1uwOC2LEFjBHsU1V9
Lq3Ocxrc2kYG90q9q78naNipUfl69VC1m+Cw6YJbC2SVcwirzPCbzSHMeuf+SVlfN83Ouzjg5PVO
z5uEG5lMTBOYzGLapICnN+l7mj1bx53nGpPbKR/mzvCcQMtilcemr25uIetgcqkMsKG0Xt92ns4X
RK3jJGBB2BYsf9nFq53TyU9dN/dSrIJy3016+ei238e6+qzYGrCfRpDb2fC438W9g/Fg9SYbtQc6
ZAXlgbp50JN6bmfF1HTTqq901ouyB/K2hNXHgVfhsJ+Uuf10NjL/UIAtdDkOlOY2c5tL4SWl3nlX
o6y8YqclgWqWaXBpp51yDHdlMs9v+put1KODdgTC+9D5mWPvuVPPeaFOzuCZnU+Li1uO7bTXzdyz
nvt1ujem583WNRlu5Ta5GWl4Kq7445p8bLnZ4nhkJdcH+ETYY4pa9dIKNGQoGsuW5DtVXVz0bpga
+2FdXb3NJRtsjg/6SQk/mYQf/NPMQdNkG3Ysx1FMm1d/3BrLQjWdvV5oS62yJq5dholyCdLs4COE
Go9tybML0DDyDpiKHrZcU2PgXRPP0vYTwwD/ttsF5+vGQ2/qf9I0qfono/NPTfvgOq+1k2PpbqYt
TyXAyla1MsrmXde1YHc8+Ie68ioVGvRdHnYWSCGmd7l0nqICXLy/zjql+oQTTv2zlDdZqIptKCgr
okz8caRys00M+7TXlrtEfd+r4cUCgbB3CZhfz5kNz6kDtvkRwD14/ILyVIQ3Vfc/GZI/KzKGo0Mu
61i2aaNSfbhbjnNTtV2qOsu7B//tPE8EkPTqb74BrJWE9idsfL/os+GYqk6HbUtXNOXD1m4eUZvS
1LGXdX//4MRMVD9/NYAVbZbVoI7+und/vt9/qEz9QDdpG7a5qWvXXhbFNm00Jt9Er57/ug5N7tLH
SeVoJq4MxYFLTv2wV7e3ojLOXaUvHc3wNHW9O2aD/Hzrm/tyccrz4UbZPzcZdzZNRptSm52Mctoa
o1J/qwsVYblJh+fmAIqnbQ83bR7r17bvbtL/m7n/czM/mLitpmeHg1Lq3Oj8oV3qJQQeLscMpg2q
YBqlz6C8vF8Wfz04UuifxkY3HdXgqEpD7f7jDE+zosguNmNjqYdB0ZkoIZ+osuYvFpHp/HcV2od7
nCFQm33vRBX69+50/qbtLuDnnu0BO+2TopU/stbup7t06NbXH0ftFFSt42u73PIaU/+WZ4NjBiul
k8buVfmx2VxfWZTTk3tdFtfu3U6jk86JwUEN3bTzTBUi7BR1IAH88nIIDafFX4F60l2yZa0cYlXf
xMXlMNCaLEiUx1Z/04zDXMnd5+acDc26nhfHcXlTX05K85TqTYcWsl+4N9Duy7Fz3QVXe7/661ug
/lknMP8wQB+kzDk9VRvtWOvL2tn42bHybm3j12357cCxhl312XCg7mw982ZGblV4tQUm7qX1N/q8
Kt+6W/GZyPnzqvxjg+SO/mQ7mRX2jXpmUlyyfsKZ2NAQ3oRAB0zRilQw5Id5/8RJSO+TnelX9bqK
qri2qWrMyA+T8VCkplZaurZUTm+l/i2ze75bjP96tH814X+q46PEuZhGltiqqS3VFCzZZpUon0lQ
41cT/ucqPtzPY3LWMgvrYWlohXex4bRip9pZB/+4A9w1vcIWqCSe4Wr9Mx60vNHD9HYOnD12ag08
YHpd7huOoxog3QyAVa9AN5/gvaj1yDRzHK+TjdIN8jaf7s7qUr8CQW9fzn5tdf4m+76/df30slKy
SXKCFrCBqwH/LVakd2miQ69ldiVlFeSl8txLik9k2C9F7c9d/zBzOitXumttaEtTfcuK1rdMyNc4
xNPSpeJWnqMeW0+xXp0znEvmMjGtwSGFdukIOGHtTI8aAMuatrb2ia81p0Ga1d93aTP56xmgfjLN
Pu4Hh+q4K42CKXAYYrycOSOcC6A+h8bVyIDNoggv5mwHl+gn9f56XohDxDBdJK6066dl5ZpdL2mV
VlumzsVXr623U+ywSacW56HOZZJbeT+toXXTVbTyEpxO0/hku/2lqHExP9gGHVXXjA8rrNKNNlMq
mrBZg7APGcuyHuz6zoM1O0NfuVldgoLD4OQz7nbhav24y/xUrflhC9g0lZ03B6otsvntNFVUoGjt
xzSZI6bb9vyJCnNXif6qug8L0KmqwkldqjsdbvM8xfpNkklP/6btmye9gaMngx5C23hZcx7sOt0/
aCCio8Bvepa/MbP3k6mEzfk8UmuYybJjYO3AK63WJScSZu/G1LVLL2uvnywe9Rei6Q/a5ofFc3PM
vN4ZR22JEyTaGbZ/qKp5U1b9Bo+/vulc79gVHJC8b2xleOupvn5SQ4xYv2EGfTJXf2Ej/KEtH3Sm
NLfMQtmg+VrKokl28FWp4zJ3PKd+sc/63MkBgN5UfbXHuUwxOxza16MxZL4NTxny6lpxSGJ+oo3/
cng0w3ZxuOB0ND+ceVtaL82rwlaX6eHmnZVndb/9pNPSqQ/zxlJ+qkGm8U8LtLmVaS/BW7JU4vbl
shRFG2qMCcEV4NZDUzT96/o+69CHxXg01CNONDpU2t9y4yWv959JHJnof9Eh68O621nmLdu1prqs
dkQbdbAb3mBdsZq1c8gDDRA8z9yDv+hCP6CVAzcZ/HUHfyVufh7Qj96OTV46p8LZqKi0zuAWdNMr
JGIAdTNBMChUAlGy1f75sw34LsD/qtsfFtK+sFz1dmVge5GyJfwEujqbYJoLaNw4KAm2+qSbMox/
Vd+HxXLs7ZqTWzJvsOG2x03qZfr/Iu3LdiPHlW2/SAApaqBeJeXotNNOl13Di1CjSFHzRElff5Zq
n3srLScs7HvRaDRQBXQkKTIiGLHWivuUWYh07GhZmOXGu0CpZwPFjxXLN0LZmw2ej9jVie1Slbk5
geU2zL6L07QVvzpMf8QopgANVqeApDLZ22vO4UbC+sbqIpBN1WTUovboZTzyXXOp8EQE2kr7vARK
Socm5pxSiJjroFtZ74048sbw/MOul8vFpKuO00tGy1McWwejOHL66I4/LG4EVSJW+o5r9hYuR5Vw
RpmCvVEdx+llsoCgSl8jq/HbEd4hrtcy75sniVHHsYD58diyrDxSZY/9ROilUXpftHP5f2dNKNxh
enJnQSm5G1Fhh6J40a181JvO6Mry4iQVEyqGTU3hKszqkLr9sWV65evdjClXJhbHppbCaG3LpBcz
F58iJw5dlWyNJNu5SXeJI7rifd6bc2wL7R/iAcNgWmSRBciq4Xbbj/h4bXd2UXqW1ReKWhE3zZ3w
zJW3y42kAyEJqE90Q6hjoi/y9mzaTsKa0avpJUnG0NVG2JjtVmjvTmj3VXBnbwzWjo3DbohQ9M2L
kza/teLsjmZQZtmXtmf+gOJt1OzTuv1EO/QtjCQY3c7v4Uoyu3xt8qhc+SR/nztvXdebX73MzOSk
qCuiDu8I6r3Q+nNtJTsxfptQ5k1xnUlS+hMFijRz/uvg99bw4uskU+INTgzDMsHAdu75QypX/PL7
2/vWhLn4InY3oJCp6cUmr2mRBJ3jnSfrXFnkVTEM6a1WDhy9adCklKLdiLhtL+JAq6g5NE2GcBdB
Ulh8brzpe51VD6XAUGrTPZYtnmn252Eu+zv6NQeGphusgHdGoIeNV/b3pfOlQMfn4yjx/mpjH65+
1uJq5zJR8Zgm9CIm+0FH087DxLKPTdy6a9cmFldbGDEaYlQilTHVC53Qv8o5/PEvr6/OdeQ+fmxt
vkrvDi36u0gCObZ6mVakhtWNuRvDV2mM9CuAPU2S82RjUzOya4gRdAbS09p4/djs32LYO7u2SVAy
J6ZpOYtV6sbMXU0icqkcjHpQzSFOp8Dh6akElGhIyUnGedAyYINGGTD3qUAxCw3yozFmW7f6IaMx
qMpzQdLXtphW7tPtm3z14xaxseWaDbni5MJdtXXZFDqAhif5xqMYCE9RWh2rP6qsQ692VvblRq8d
B+zK9Hw6rsLymKeilKi/XrRVHklRhjGGcnm5OrTZKU6qjQYIqTHZMWn7UCX5o0uzXUYepxwlzojt
AR0SLub2FNnJyfKgopjfKTCozjCC3Nh//A3nT/T+E3KEBMsCxGAZFPo8rluvJ+Rie8eKW89Vhdno
Il0JBjcy0HlH/plZuB7Xmp+fBiUXp9DbmL6wKd/Uhv2VRHnQo02XuOzQucM+teLQ0U2Yl7+6sl65
lDfv/dWPWLijskYFYDQnHNe6fazsKSzMtYbNfKjebadjAq1goWtqz1CP6y8PYMLAiICJNsGsnTQ+
sSY5IQDiRRivePMbz2Ncd4asiHELIXZ5+4ZhzIu07ggaE3hemphQVO0A9Q8GqPNfRiity220ko/d
Wt61yfnvrw42LVJCmNmTi0v/5LK7G/JfCff2hrdSlLxRknq7tsUNYnGdd9NsKBo2csLswxEDmZLQ
C3qwMKC57pcYf1Lk/lr/5Zbfvl7gHNGuFujUfZb3UUMudYv5KezcF+5jDxif22IgX/r947t3Kzxe
G1scljSpsy5XWGSSJKjvke9ZhiFJhIXt0H5NXcyyRPv/Y5M3XqBvNtZdvIBlbtSDAwDBZfJ880/9
aPwo7gUeoOqEcismv/w2tyZGJqw+CVdOjrtIb7o2tRnXsNtsFHrTO3mXYLK3wsgY1C98GgDsEGOm
KagDKwt+/4J4u+CF5yFdG2UWGcjFbPu7mgvfKBOALsSTbe7FyICZ+RrLdjsV42XF8s2zBHgDesqe
DejVYsklysqyq2py6bruk1U2dwUeLvX4yJHZ6s4+5Ia9G/r43krTz8ikNzR/1BMgPq6gj4a7m3q0
UPOV1IfORpcOil/9qOV2ULfgbloiNMlD6rzag/wcjckBe4guy5esHsOI2qFgosBVW0lTbvlfPkM9
gJXjgHEtzrsUjYy5meHsUXFKKEaMTE8f7/mKhWX2brrKdMokJRdLn5MhA7Tq88cGboXLqyXYi29q
TmiAuigZX7RAZjMlD6LWQAwNK372pmf4t1N/W4hXbihvVWR2RUIugJz4UeRuNOn9Ni23LSTX2on7
Hdp1H69sbesWwdEzu4z3k0K6lGF+FbBpEV9JNW7eh6tFzb/galFjx1OSO1hUASSYkvuCXSZA8kqa
751o5ZyvrWaRmXYELfuC4zv1vA2s6D7L7ZVk4mZKc30UFrGQ2VIPtMGGgbH4yd0O+3kItw4nzLNS
mLSSrBwJc21J8/ZebV9Vc9YmVCK1KI29p/tHr8O8QpkHZgKmgfGg3BqFtSbMzKfcmMJceZ6fVhgu
OaBy3usWmbnMAlLiMV6rQ2dapzHrfyYFQd/F6bZd3mHqX9dN24/P1Q38BJwHdwhzkaVw/hfZefW7
0WMfPKeZfzcYl+0ndFCfQCNwA3dnhmTftuGKvZuRxnPwJrEIEHR/W3JX9hw2qokJe7rQcw8maN75
c9269ScBomLkm5hWwx4JZsF8bPemZ7gyu3Csg0qrqK6t6VJqD1SNo5vdReXas/IvJvmd//aAKMYL
BeBgai58aOY5LR1imKnUgVmZr3IglKw/nTFuYiTMePx1vnClz+RXk2IMuNQn3WZBCljZxkjxb8mP
WVeFeSuCXH3FIT7n4JAoeV/pKN5xiatJstcysf3JAhaxVLt4enGafTMOTpB1J2Vbv4Vo7zrpvRSs
eo7IwRDG/eiVe6er9qywtlmXvBKH7y3iPABWg4mQhsZ4cBR2qgkINpECt6QnF0yV56kxp6CenvsK
RVqG8fI2e1E9akXJENgNbf2kKZ770bmMIgoapba0yb+Z7be+MQ8ijQOhv6W599ilGcCBVUCM9C5j
3+txDGL+PW7NDQFAtiafq6bbALKyV3TwW8MNKvEp7x7HbAA6IgOmLv+GFrhflBKIKifTd0nW7dzm
VAIJQ7z8k4HqY6uMo12wXUIPKXCAscbIwbG5a8hPUXwyuezCMYqBFbWB4UXbxLc91Z7auKmCiOgW
Xd/uFeiS3E/4rpeAANKsePG0cSf7LGxY5HsGwYy70rW3Gdp0PjeHP6Nxb7pDde4pk+FE0zM3BhIA
dbFvGIvCjFuDb9rRkzUZn/vaXvE47x8Yc82GW44JCDr1XHfhcXReSXC+7fqi29RXTbsf6tTHd9+T
xgj7Kt5bPA89eTDcx9H90QHHR2LyMwFd6L+8WvPv8JA0UId7DrBYbz3fNKg8J8ZYXzqe79l0aoQd
9KW54tDnm/MmM1pYWYQnO8kcOZGpvvAYs0xZs8mqBmVGG0O0wTvuv7rReNevdyxmv/CR2UWkGt2S
lYLpGmEk2unBz02Qt2d4GQkHzAtsgrWM+F0cWaxzEbeAzLOivMNuChnvcgsMLQyT/fiDvUfrL2ws
Tk6XO25T1gw27D+W0z+UI2ZvdhgNOPyKwfWyJaZK1vbnOMLM0ToKc/pg4vJ7nrthf4GoGO6s5Obj
H/Vu3ZbjEFAgUJcBCwN0grenyOpqKYGrni4tbvoA7DDr/3sgheMCfGkDNwcGiLsENCQZ43k8gXyi
AwA65CXe118xBxkzVPcVyOiO2JUP7c5dyXXe31NYuza7+KJJZ9ieEDBbh3ojMYkZegJ45yDmdUDK
eZUvn9mKzRuYHoc7YDuiuE/QVljSSYrUIckQOd1FisL2zQm08jLbOxo44zgF/tN8ckCIG50TQ+er
8qKdBb5fr50zyfMnWzunMo22o4EiiWP127HB8DMrCgXHS9/oMc1aOEFBvsip2nbpND9PThpY5Xhy
Qz4+ZtKAu4+AlTa2vUHOhlnsSH7owRnw4p99nH5RnXvJVPSYGc5qfnEj0mPpkLEAAJag9rJ4AyST
o+xJ2d2lMB7aGkSNXgLAP90XBViY3aXuu6ciN30rbvxEnm3D8HbGcBcPzktaP5WO63MPhAaDgV8Z
VTHG7OL/FZhj+yS86A+NJEGJcnoyTMk3jIFBYvfc8N0YU2k52+is+ubJ70Tf9U4RcC+3/ChnSKMq
wM8M19xWSQ98hyIYG5zVwy5p3AOPpfC7GKXErGDPjiMwLVHgjyoXOHinEKEa6xMpj6JKfMZBprHu
8pLfO0a8sfrq3vF0kJIp8JptZBmhm7ih6TgHEEvy4kdb5uAUoIpa8oM34MN3zqeirsiMzPdTHb+S
qQg7c3oUg32XldAXAEZDJGezty5JuqtBRSmN/DAUOUhGGMYeOQpwf3mUPQ2Z8T2OyJPGRmU0PrmA
/w2YK5xZoI6gX8Etdw9c406Ul1iD8jDkkJ9If0fxEHIgHGvh7YV3kOUkfWWrr30LpAuRQ+E7io/o
Hk6btug2RZn9UdwFKQYPBdKHWqiwIOWdmeaoMrleFgwcyF8bM7/j9JvOmz8e+KxliwHCZfUaZU6Q
07nSZxuIfvSUe0XYFNOO8h96QmpBh8+ZZ95FbvbqAkzOrXxD+peMs/uEf3er6aSEOpQ6B2vW9TbU
A1tJERO8VzdSQKtlXZjGo7cRfZdtWlYB3S0q6+DG7c6opRFMDL2wnjY/WabaIANgK8/Zw9SXd6yJ
N/2Qrtx7+50XXXj2RYGsHZNJTCWtL2NlhpZTfm+n32aN+d6xty0kflHfqQC4ol0ee492dZFUhHna
hi0tNm7xk8fQa7FGsHBo6AL1VI8PTgKpCyQvGduN+tjb6kiA6eyQmvXTl2him0yJsK6bsOySoOov
RuH6hlX5dg7gEQfU1QCJptsxgUM4cGSF/R54+BYj1eXo95a9i4AIMou7no+7wjW23FRBx8CYAkEn
k8nKc+edc8D+wDuAZgdQjgWq3dsoo8u+QS/VrS8q6bZ5b2xi1Ly6sVmJsHMAXWYNHCBi8K1QWH9H
tyIemgHNgGTF4LhKdBfJ8mGy++eyi7ed+ePjyPkXkfzGmkdNMvO6THSPgb5fJGAuU3WZtoV+Eq2b
ov+JIoSZl/egnBzBXHypUjD/homjLOFgDnkV/9QFP5Q8+VqX4xAKt9wTT2+8sbsv3fopFewgrfFQ
xc7x4x+6ePp5gBC6pmehjE9tB5WGRSDMMtMtVElRbW+/uAPI9eMPVzO/HLu1ILCoKr6ztEhwKEO/
rS/IeM7oECSJ3iRgqnDvHOlHXkucYAwUlRLUvGjF8o3K0JvgM6eTV6/bEphgBFwEn8aMtoWuPk2d
E1jOgfQ0qPPmwRmylbLNrZIxdwmzGaAmczFzsdas51PqjLS7tCwoT4D7AdDTBJMPvrtvfgGgtju1
gXHEhPrdx5/zna+xHA46DsChM8aNL0mVpZXU0hIWADwcBWJzz9RqOfzWPUL2xIGIALkU/dO325my
PKsUa5qLTAefqy6Ykpeh+1oYr3NpyoqfU+cXfDs4mMNDZahzmv6cnJ+sqA+8ae+pTlc+7/urBv9h
uZziKOOusWUDSeXKRL2kbGZuxvMooVpkdyGRnRt4abNNqfUAFYoHUiDQGz/jBJyxEY8F0Ycyil9K
TjaJ/Kl5vSuT+AuJq4eamHLF97z7LHMIABuG4Lu4oCgvzgMDT1KMKsFPrH9w9aiaVRDGfIjf+JuF
hUWQ8dA0zzSY5Rdrh+ANsD2kp8QDx3R7AobPWlPrb83knTlnPtk4ZvB0C5/tsaFhPY2bizeNkMQQ
gUbwUbhfJSoMKY/D2LgrVB54Y3KPw1HH7NFA/hHDrXj5I4nzlwm0q4aWW2Zb25aiDNgOWzpesrrc
Rz0KIhULPTU8ZaI4auNXRlcc9K1TDGLW/13AwinUzWiUox3VF3tAjjemYVvrF3CZwrSOX1uRrByA
9631+ftc2VvEA9G1I0BGBp7KbXZIDHEEt/AzkRFerF+86lfesAfLyL/IpliJrjff6LgcHrhYM0Vn
/vsr7zcKQVNmOPWlGuDqqLcDqXLXaeXLkb4OEYTHRvISDfHagucNvDohHrTrKEpuloVryfHP4siX
Q8WsSjjqsUuMwBBDuWmt9LVsxkebt9KXhHAQt09ggIP4W0w+TdvouSJ67YF5K+xQFFFRkPHgIma5
gDfrVyB+i3Qyzg1BqjwBN8WHk+OeChAFzLzYouK11Zhi7tnDShT4m7hcb8Hf2Dq/dxBXZw+18JRF
mmCqtBDTOY+/j559dm35EteIAn0VJGO2QenT1zFqq3Z+9FLxUsRky6s8iNMfdna0+lfa/0g0Rc3o
V6L7B6kbZ6VetfBL/4nJV79wEf1HwD10kkfj2Yqeo3TyDeWunYPFRftfEwy+F1R3BIzFwbd0zSYa
2eMZL+4XO/nWaLRnQHHs1WuVmKFOT0X9TMqnvKiCDuCmNo79nB0svDwmTgIoU6yciMWFePeD5j25
uhAM/NAsqSzoHtRia+WfndS7T+VvnjXB4D4XbNMNeuUkLAv672wuTkKZijHxlDeeY3tbGndDvYmZ
4TfAcHWVDlFAnuqvchy2RZ2gYPz/bX7xmQ2AbRvPhnno4W0E1BpRQ0ATFbUOuql33Vp0+FtdfH/w
/33zxd2PcLdb7sJeG+LlGkBsCeT7cAjG0PTb39HGXAEu3T7G/+wtgl9vDQbNO3c8a4hI1c33ZFjL
Xuf/w0crWnjRfizcGsn+eGaDvScQdcq8X3HXB0CtBcTZJKJbuZlre7jE3YM7kTLZ4d4MjfbjBLqP
2T6O6zABGCrqAeMoXxNXPDFIR7mz+IhDQqJXT858Oz9Y9xImh75pnHIDDgKaiRvAXzfMnRUp0RRC
1f8+Dchq3Ljlr02wlf/XXzhzXLm6nm0FMGne4ezIDoRB+a2Y5KbL+31WfpvABuNttKMMm44Cz8ep
89oldRaeqo5ypO0UloGx3bK92Dp614TzmSW++5h1K4F5xTE6Cz9UK3CrTI2XVyw/d84IvF0R0PxB
IQMw4j8fr23l+C5zdko6V7sNG8+T0GGURVuz437ElG93JgiZDP/1Nh+bXD3AC6fDO5qUg8bRAR7Y
l8ZrXfTovUqfmJ/yvN1IAPnS8W40o+M0xpsMOmOTMMOVH7HiGZaJtxWT0SUTvulobcfUh1rcX6JB
1OyGQFzYRmI3IFX6sVXr5q3596i2F96iqiyVDWocz8Kmn4Vb1NsS9T7RpceBtwenEpEfT1DKtXNf
8m5jOP0PRbwvLjO/0aR66QqgpmWztwH+DTthbTWTgbKsXSbMnQu9gNzSft/+JDWYfuhIKKfeCcPY
eAZKPEW9092jA+kO2f+KtQiMKQGCEtoTrns/uvGpzZ7l9NNTYOvVP9O+WfnuN3f839qXfsulZV45
sYljXb72KVrt0VqrZM3CIqNz7L6waIfd1ZHnC/tLldGVD7hEo/4nXl8tYuGEip6bRZIhRxjbn5pB
cxhtVd6eKgsIrGkCnO4g3JOEyAuvUHI0ko2o2CZKMj9B9kKryG+zX7X4k0W/JX2I06e6/EmsciXq
3Uxkrn7kwl91VTrZbEBBhaltm2toaeQ4cPUGbb+dKuLAjuWXppxWcpm13Z///so/R4Qlkcud8axK
UOiqVwX41cfX56azulrXIllqyx75YY8TJNM/jba3fOp8LuKwUeMmmn5VZbtyZG97/iuL8y+6WpOT
SgGZFpwoKAcjX8nPo57RD4Gxq3dWEfLg4wXOC3gXVK/MLdyDQr1CpBoLhFBk1d9H5kPV/784fHDg
8eRjM3VlsYcVVAcUgUbUORq+6eTV6JMQnY4gthDM0mFrVnplTbePxT+DC2/PJiNBmt+PZzvt/aZp
t1qtudXb76mrRS3Syq42G+CHYANt9r1Wn71WBTT5SrznNvo6DpsyjsOsT9GsGLfTeJHqPpcpFDR/
0BJUjeFLw89dpjlaFCifa7Vyim5/1X87sDhEZVzaIhUDdoD+cNokaNx7zxErnulW0sDmuiKaaCao
gIs7b7a6MWTUILPuP4uqC42s3oxm7I/4wAglax/1XTJmg+ZN8XKlwBLwdy9YNzbNXqA3fHbRUWRI
EnyPJ/sxITQoaH/MehvKqFq9lLJ7zowxME15sJWIQsd102BM43AiqfTjEQVAQDUo+0J5+3lS6tdU
F/u2t59bSBSp3Plsd6kGlANwlq74oSVB6aiAUmrU2L5bW8Ggss0A/S+85o+j1Ghats4QeE5R7uoc
ChtVnj0oiVbFxzeVv9sAXCA0DKCgZ0JKD6iOt56hamIUWqUsnkck+p5LA94UD14B4a140O6+rmT8
0HVZtBGk8UDQEUEN4mbbQB52zIIuEXAjlIKC9SCMPyZkyxyk8DW1NiNF6gHSTo9+mmqmPWoIOyzd
Z1WDdi59Eq7tS0uHVgHPriClNnn3fdpC8qBCGwbyrMhIufFlMgG2cJLQriB+JZ87o7uUlvXbJulF
RsD+1BEw4Fa+Za7cDBbgNFbyDGQOFAvao2jInhb3vXHX02irIv1duBYUk4CBc2Lfhn6UPZqhU41h
0UEvsLCRE4/kTsfCn5wsAOImoFZ2zMAIqOfeKKnVTiXxucolnpc2MOdOFbMdSiBkx0FL+/jTzA7l
jRNFt8KcFfSY6XIT8sJvv0zcubGYIo9d0Nk4xR7YwZO5q6c2FGpcoXCyd87tra0lRjZuADQq0tS6
NL28a73xT2RHLKgbgANTVh1Nx/oz516cRsynloliVuUeklbfOz2adF7/BGEDv1DFd8Mqf+XEfuY0
PY2yeTKs/pNd8FNMDIgVuzqE3OS9MNQ+zvD66bx24w10w4oeommWFZhORTYamLRtQRO6EnbfpRPz
Im1wJ1ErxKFeFmqk19pxLgx2SdwphFjRNjJz9LaznWWMT255pNFnxxpWWAvvnObC6CKb6Fg1jZkQ
1mVslO9F1UmWn+K2X6H9/y02vjssV2ubf8ZVgOfx2PJUM3ZpmySk8pfBqx8l6qCqab9mbOyC2GAP
A6mPqRFvRxsHWvcO3BbEoz2zfXTMHpUq9sdOzFfa0nvorBy8etgCIguithU/jSSXfm4AFVRIa6uS
50raoRFhkgNQfx3zoVyJlpfaDgw62OVDoZuD6mgwufne5NuiQc28dX3VJ5CT+aGFBcW4r32mTxJE
PijrhbYZH0pi7LQExqqJL2UG6R7vVVQPtgE9wxqzPFb7Km/TMJDibOLNnSSwZOB8cCje7lnU5FUb
K6NEKzY+JvbvEbBJ2j6m5egb+mB4zUoncqGH+X8M8rlrOpNf+SK2NSUTQL3G1QUOCpzWX4Uz7r1S
vIxa7NXEz0PMoHDD/Rh3RStjb9Zfy7oIoOB3LC19mfpzHaM2UV6mek8HjLHgD8nEdx+7nZuu4Ook
LfIcmkeOJJG0ILhgQORkM8i1Ft7alViEHJnIqEpnC7k8kQE0bswqqZrp8vE6brrPq3UsshVSgo6V
TLF1QSE+zOMHl0QHtEMODeQIP7a0tp7FOTJ4X04lFE0vpqm2iYcmtq1OVq9XnPQS0gWE7xv/tXx4
5tC8AXKHAyEfT1DiIQg/qvtkcA20kLNLHcz98H4Pqvtc0ccMyOaq1NBEA2k261c1Oucn6Af+Zlk2
I5ORpgQaYxejYsFgfNWzaCPXIZKg0xg5EP4tAy9mQQyIbtU5Tx/v+MoZXZbQegXK+JjDqVr2eF/Y
P71ePX5s4V0a+nevXcdCcohcdAnZ6KUhOekRfHNkgpq4ANRDQoYNh7hrtg7/9LG1ZYf3fz/tP3OL
57iLTAdSyi7UzUixadA0czzziMLOhuf1RrrEZwPfaMXCHs9e6PtCVR7jeRLIMBX3lf0wKoDEiLfp
nLCq1ZZptfISv32Z/v2+hecyesHqPjKxHZG8AJ3kK6RfBGOUInn4eCuWZKR3W7EImFUUGY0GFupS
MggfCHuvmOMLiLkKo/eVQjDAhACoSuxEHoEwvFrVu32y/y11EUnbdCCNpS12cfNzB/6bqo4s/lPn
3gO1o01n/LJAwxVTsZM02n+89rVdXrjeuCpY5kUwnZJHMXl3LiDWSQxmcuKFH1tacin/s8seUiqT
o3f5DlJQTFNtIfEdoCxAhG+NxQ8vkQeAVY+jaQ+fOq/+Wphqp3XfPnKNYmJM96aWgMJN8qGRxinO
o7WnH3t/6TzInnOAZYnrgQq2CAwVNYHjcsz6zHWEkRPAybSNI4FFFjsDTUygePu5nXixKmNX5PwO
k8XuhOi9h9bIVegW0SNx5C7rrRegVlAuahy2NUf+bRwrkAYMuz8AT574Ap1RyIpVeF3hrrAoUGWV
hOCs76OkATqvB1mDtiXd5CnU0HmZ/kYbuwPzs/xlKDTSU/pftrDxNTy8dbFiMALhwP9uzFX21ufS
TBnry0sq5XcIkwUV6Xc8aVDLSMAeqs3Q5ckfQtyVA/c2A4LAD9C6xAVW10E/AqisxYZnllMMOWXt
pTfRsIOq59DQAEC2Xxwq4X2pAOaja5yy97WohdFFYMYJUEC3D9EFiaZfjNM9MqXQczCnKnLBOSEh
BaxRDSZenNyXungugKf8+Pjf8Ldg5eChQh3KPI8vMQNNpUz8aVZcwJV2IDsEStBohMrJNrTKMiCV
TchbwxEFrVkSf8hsP2H9wRr6bYOk2ibti20VuxoyWYGg44vTOWRbj/wpzujKT32bXMw546xBTNDZ
N0GPgerj2yTVU9qOu7QDugFKAR3flOUfNzJW3MFbx/PeyOKToLlI7B4TEi4aF6UfbN+qsmCMU79i
Lx/vPEBB7zIH0DWAqWFIg4nrLM+caUGl2Cic8mIZ1Y5p6ru8uh8m+3NT8nxTeOKn7Lz7rM7U1hnG
Yi8MF4KeqEe4xvAYFbibhig3ZJpUqGqF5o6uu1PikRO4ONHJRdHR1t4eL+tqUw72WSvLL4YeEE9h
vwj0IJreOnjTMRUa0nEDZGV4QOzkzmqfDYHCmykf7ZJ8q7vpEEEvfKoByKYgXNjOvdEcOLg6rUru
pxgEoRJ6FgMqM8MIuRy+U1X5YKGgIfNmSwsDsMsBtQUIPsU8LNMq7D1yTIbGL9vhTpcQjevxfBbV
5HfaO0w8v580g2/RL3kst31Gj6UJ1UcMupH5tKudcjw09ousniuvDqmXHjPMpcmgfFN67Huf9Hsg
wve2U+zLGAp8fXoiXnZJBgzuGZvnfqhBLXahFjsPPIijNLC7PavN+5l+3PGnsiEPhYeanp75Y1nU
4zHWVehk/UTwOLSJDAeUgHq0suz6ldunEiI70Kd/FOw3BIHR2cOUvqgMG4JKnSGy+45iekTRYCCg
cB5p46Ckk1YvZuE8FBLdeKgFK0Bwnc+Fae9yTCHCq2MP2bpP5jwxiZR718U0BEPuDXO6g8Levhn1
NjG+qiLdFVl6lpPzlLqYKmHW8jH1jBxzDamz5VHa+EZuJDtFQcUFicCBEiDKCqNpoDIhktBRIGGB
xLByf5aiNrMjfXOolxcIKS5k+XGoyRES8NMXM8CgyC2aKVGLiYkA64X5EZr104v1I78Xu5U7NadE
b5NxMA+IY7qYDeBAXWnxALHdtokgoVZdyi6AqAimF2zjjRMyB0MOh026MUJrv0YwWUo5/V3ylVFv
LixexSxjqruG56K6pCcIL27pSV1oWD6P9+IMWjKGNGZfyNf0HIXRdghMDFQEryDqtwJFzf/2/QU8
KLS4rdmZg3WyrOuAqNdPfYVfoqs+rDFKkbfOppZr0qTzLr7Z5YWZ+StcLRgkVkm6Aa93axfvGZi9
ejuDS9Zex4uzBGeMxAciIRbq35gbAjjlWztua3pdbSTFZYw/RSi6TbY4TrnY26W9pzFg79H4I4vy
Y8+8Z9Dnw0g33xv0IPOBfwfdxB/1N9cgvtXqlfrFAuf//pctTvmIZCS3OKKmmboPWSsebXgGPyoh
G5En/0PaeTXXjTRp+hchAt7cAgfH0h5a6QZBtSR47/Hr9wG/mW0Sh0HM7F4oOtRUsIBCVVZW5mv4
8DrivEUxQlb4i0SkHXUFoj/hBsGvvTUEWxNBIEmdnjxNP0w+zpANgKj8ZpCCrQVVIzPnejdFIiNw
p+K5qYNdqer3jfeclNERAxCSv+hWtVpXRt9EDDZ9+lj0mpMUzzHWEP19adxnzS/BAOI1VK1TocaP
kQYUMu5PrUEJrIYVpFfHETGtyYSRoFnOVBKhV7bj54VyeZoutqNc5Wk3IQ5y9p+5DCc2jK87JbOL
25lzPO0oPxdu58pb2ouhZI/79GXlAeYV8u9K/e8HMMgkJTL8C2j+AE041aS6Oov3rTtcUTvTr5MH
E2j25GgOY1ZIsz4k18VurYO1NvJij/RxlwsQG6rzANu20O9xWLiuwgPODwizdL9X3nO+FV+8JzQE
ejcAai4wun6mllVVMBqVD1fZZBt6gG6xV47DLntai7Kfg+x/JtUAZ6mwJSV8DhZf1Rj0mCS8rM4F
TRI/gTXv/Vh5n6/SsA9DvENsP0QYZEZDhZOVXA9X4v6teZBzB+FhrHC9h+E5Oumn6IgY9pqKwMWb
zQEHjoSMXpcCN2hx49WsPkHLpsnPlYp+eZRuNH+/8mZzfeDTl1oMsbjZpoYMysNiiBll1d4Y0TZ0
LWx5R0SdHISCZyPa74dce6lFFEXvnpwHhNW5EcJzV0AzFYbH74f4nMn+VzjE/wGDGpYE6OfPgboG
+ZpaaZdTKXgdsqOXPGIK9P0QF/vpfd7+HWIxb53c+Gbu8RYQe7ZF+gSONqgjWzBzt9fXiA/vCiIX
X4mNBH+TsHGhxSJzjenreSG0wsPg/eUm5PZDftNClRKs2wQn5Ab7F6n0HZ/WoJlOp7wBYTSipAHT
zj9PylsQllhu0R1Ld2XX73wPjr9eXWdQvMxsPJaiDxtVjt7SDL117te2mJp7L6C/W4GW7/NdFAa9
bcgpzacY3B9iQDptBBp8vXU9iuLWmGpX9i3XKH/FQ2/nUibtUiNINxHVDCck7QfobOBt1JjtVqyy
/4dlhSo90uBsVFw/54X+YYsWVV8JdWVlZO81WpTDVVX2a/CQBbDsPwsL8TUZX3QTRbglmbRNskEY
ynkQGmW1312HTX+fxj8TNdsYjeGM8SlL05+WH9qFeQ57DzavuUYqer+ILVeDBbgCGTFFQcFmsYO6
Maq8MjazM75Fr9wF++diG2wGD9sxO3mpMc02Q7tyuBHxkdcOkkWB6r/m4MPoi1xjEClFyD6jN/CX
8zMy7Mpm2McwOFHsMI7lXeQyrLhS51y0w9+HRZCEShK7Wr9suupopQ7hoOZnkKmxXflXffA0Jye5
9KyWVyXdGPACkCtvgzi3B1QatApaq2I6Q6e5PpZqpgclRRk2UUg2YwQWOpJz/bJRZJr/mAwMag1h
V/fLTVvn8iaSjrGZtDtfH+W9FSXSoc8kwRGLZmtaIzhy8yCHBdWrqPgzmlBP5KgGo6rUThQAGJB8
V6NU5abCwbLibYq8YxbGx95KN15BpSqBj+X5GIfQ5GoDWy5mXgIsdDrcRj3dx1UAbbaO+JsVTHt5
yP8ZyupZ7/FiKLz0LpCy6yj3VdRDoFFPDebzuvSX5PW5zMVrP6Ktl1YZDXipb2rcV9v+Sp/oBIcN
nk0Niautd5RLgtwdQad8HxoXYJn/fKoZb89wMtWri0KCpkwzIp8Vov/qPB9DLmRcRLWhuQ/VaTAj
2xKbTSuJeGDlzQ2C6NdNKNyEsrYXFIxwAwWMen9M5Ox5FMQ3qxKpeViTrbSquZISviuZfdpLGj0/
FTtHVUGr4pIe3kix3OBQdE5DTPB6eeMluHYljwb2vCA+nKLVNllgbWTS5kx4zjH7hS6k2nhgEONy
ydpbo9ef2gn9Kl8a4kNEBZqKp4CL/WSxIKubSjgn0ynNbhr1dwReuklwAWwwO+MrUF2EdHzjy+qu
zFFsmfCqmnAfK/6a+bARongjNqdQLJAmKR69pj8r+Kl1Ee7DFr5jDU7FJuosYXA7FPWhw+2qp1Zn
y41+H9btPb2eZzpgd2KXoVBbjjQn2T20bzvXTEtXGyZXjVKI1MlDhrBQGP+yUDczmvZxjKh4WDk7
Y7XKuJZLLTCU4ZQnQ9iQrhkP0eOwGQ7F7YzT9zYlDm12/hicmuvxtAZ8uwzdlOs+pnCLRg7CnXVj
4K1ASjog5T7+8bj/e7eKK+7Vk79duyxepCCL4RbHUV1KamvmZIxtex5w9WuGp2T14rs2yJxqfTjz
kDbIJo9M+zxUj6r/V2ljGxXe73fzRbq2eJFFLtUKdSEEMp/LywVodqgBP38/wKKvRLhYjLBIpaaq
DJpAfF8Q+lHZR7dAkxzTlp7l/Zpg5AJd+99jQZClxI7TyzKjNn0t8mo5r8gS3hpEt+yyaN0iMo9a
F74qTe56XuzgLmfnFRrSlqBsG1R0pmrkaqYUJ9WAO2ukjqLgwe09+Wr/mgG8yigDO57pP42hJK7c
7RdV+fdHnvMa2i4a/rIXpNd+7OEH1jxy7ZbPRNJ4sKOXdlNfUbGMt2ZqryXoX6wqoE0SkZsPM6cY
n1dVh5pElQV+Rdf8Bwkbtpk/5Wzl3jEnCcuwi+gXrU8d/NTFnU0vlBST3TQ555Nge+Nj16R8AtnG
D4Dyo+R645p85xfLDNuNf4dc3uF6PMpJ2RlyvunIz+2OwqxDX5xltrb5F12M+ZsxFm81T58MAW+x
aaqg6cRO4FQpc/WXIeW0273wyjAnTovugLZwSeP0HnuJvWzUra2P8XmKmq0ceMpVkwPPG8UfXdi/
Yqy1QaPjzegnJEpiJV9ZXIta4X8elM3AqqJCN/vmff7WtNiHUAuHBHgZcEHkC/O8PojCKweGSwsl
aWbHR6BJT5KMfL/4CMfZgbkYNt6Nb1h7Uy73Q4tydR7ctka3sQBieiKKlJL6a/BEGwL87vtocRmO
2AsfHniRfWqj50li0idntQoB3OiOGJXb74f4YsfNY1B8QgrdwiV48fWQB1V8zkYmxa0TO9wDkXys
N5MzuciBrC6WL9+I1FbT0YcgYVpsN8KJ1Y55RQYSTE7RzYopbysvtDbE/PMP50SfZ6Vv0TChQKps
Tf82EDbIyDjpFTcFz27bk49d5SpT+/Kewi6AHP9/32wxj2IsC6hGlMlZs0VHku2iABeDYPQ+/WO4
CLBtMFE15BM6NGFkYxbsfv/aymcE7fvi5srMZZBClIS64GJxq1Gg9oVZxAQya1+l0I7QGGmN5OS3
iHL2DfW+mMq0qyFfl3j/GEHgKhG6d8hhCAHuvZ515ZVcHMzsvvVju/GRM0oEF1NR2TY1N62QThIg
OaPqNvQHT0btTWKEGKnlJsRtzkxWzuKFhPt/vRGldFFDx4ngvMidMmsmWo/4Jjf9KfBhFGuS9Nap
3W99MgoM2vpjPKGBI/mNRJaIxlJd26EV07m1ouNYTttKT4eN70HFSmBlumppxBhWrx3pX+Hp3nl0
eIDQxkXk/vOCU3uNehzS7fMOelZ37THYNZvikOIJGe+UM5VdLJbpgOSb5ily/0cCnF+cMJ8eYbHm
1UgIUy9SeQThZYpKrub5PcIS3BeDc8A9QolEJw5eRkR6cDazdTT+DJ++YYbsZTS9jJR1AgMSaavZ
jRzbSoFID2hnUi6nKPdtl5xjqz61erOJ6lc1zDffL97LLFnk8WnHAruYdRsWX9oI5VJsU53HL6eb
0ttHhryRcE1Xov9li+x9Uc0seTYKKhFs2MU2tfoShSxPT896Y77ISUJ7cLyuJ4Dl1kmfjy6EPPr2
hzRBYTgUXoZOgQFJLHGgbQOBau8m806oo7/fT8BlnQHZ4Y+PtUgL42nsfCEx03MvXHUaIkq/B91F
IdMWy5Mvd04hYFHEcZT6iu1h4hWiSfaI2cfKY8wTvchU5s8ggn7B04ZZ+ryUOymwUtNX03NhYXuo
80XSwt/kdYSJ5+zmXrmUncHG34+DZPvDmhb/V+sATIxiIVOPetCSTSOg0z/RnU3Pk3gXWvVGNJ7J
FJxM9J3vX3RtoMV0W7gvqE1IZ3rA6wrMR6cZWK4HjrImi/DFQIB7/8XaLjZmDeIXrVKagop6NjrT
aSU4AaK+QQRt5XL/1QH0aajFym7yeDDkuf3K7fqNo9x4jSsnJgiZm/7Ouh8onT0OT+VvwKEracoX
101Sh7miAFFAkiEKfF42SuuhMWupxXu2OW3ov+3Ng2rDDnIrp9jlaxDU+fctlinjmTolDBGr4KXW
RDAY6HbJQKZ1zI+8QvmRBb86iT0xAKsKVacL5LvWQ2m2N93Uyo+6jHSZKdtSUKS2mqYvlBm3Yrya
S1223ERuLioVUxOtJ8NczEMmer04NXnBSWD9o++619HFpd0EL7gp0mt8t1AWplKN1221G3B4c9fq
lfNyWk7MxwdYJIzoWCvoEvEA8tCCF/UdGCcrW2dtiEUDqim0sTGUBJBYLtpiW9PPnFaOg5Uhlj19
sTXDqTMy3oIylQnALwB+8n0A+CrgEmFmwRBd5da3ZGobhWfkGUULlmxAYaZGNkpp7JRPhOy/Mz7o
lEmSlan7IlOQTMxXZGRrNcZcoqi0NPJHoaV3H2rFMTQetek5pTk6vtBrhx5eulNW4ZGM7R0ahJvU
2MuR8Byl9anAy16djtT1XEUINkKev6iejH0bMtnIIL2tTM5lR3N+TrIZlbIBUnGLjCaOcw1bGKLW
AG7aF81NHBg/gu5328Lzm4LXANPXyPinFTGcF4KHlNLhyhNcxk2egAPAwAZcNSmrfo4ocVh4Yx4w
UzI10mqwnFLFYTuuB9tXRYg6EcSnfBvl6rOF1XHXmwCQ2nwncx3rsJ2ue+VJNdY6U18sGgRu5jIB
OTRQSWux9oM0yzthfqreGTYdlZFN6aR/rDcCu+KYJ4qUTtzYxgqwZGVYS1xgXIw6V0svItxF6Y8+
j37HMlFsiA5agn4limcDtkFWBBBf6dFenI5h9senXoJjRxA2K8fM5d78OAUsj88fZpSHWI8rpiDS
pE1ePEmQBle+/Ver799Zphz0eQj6EKXWCl5xzr0XoKpbTrWthDvGQNMlTIOTXHVw7rnOJJk9mdcx
jNTvn2DtHRfLn/tNUNUzQaauf4nhq0rT4fsBvlrdH99wfoAPV9S45LaUeLxhaPrHOHuzwr+T0LpY
134/znzkfz4OPn+sRUoQDZ0lyBkLB2D/yZNKW02GfRPJa19snpDvxlmkU4IgNFPRM8445DtPAqSc
/yj930IKrkTGyWqn67GdUbANaICox8bP1xpmKw+wOHhp/OrNJFicGDQhTeqTYWnutObURN1GQjDP
L1Zm9ouyCVMLX3W2UwJ1twyRlFPRPh0MSFDDNjECvOBhmiA5n+vcrp6NUHdKXXrOhXt8Px7VZlpL
gb78tHTHucSQrovLfagI0tTDwgD3Ztm6gdQ5mhuQMmZ3T7bKbFujTG79O922++/X1IL/M9+g5jf/
d+TF9tTbeNSjjJFb6VilTnlERX4D/zaLDsHfudBRbqtdXazsydVhF5tSynrDUzvWmGX5D150h8Ck
HXThzxnIOQnmLtSyg1ERfSu6SnXlqFqzrVThEGbWSh3x63j8YQYW21ftQMyFPTPQwJNzhGQ7Zw+J
aQebEJBlIx7oSM9wx3Qt+H6RaDP3CBzOkHG+wLLIU0m5KtdzaKSD2j9P4MU3wTZ0GlcT97N8jrBZ
Q+V8uc4+jLjIKM2o9aVGZdrV6h8pfjTVv+uFni/D4YcxFsdqzJ0ijir2UqtttaTaV8NJQ3KlkDAH
Ef7UeERkXrJXq2BXDyq5ER50ZuGEofijV6dTK64duJcIw3mJ//tA6uLAbdum56dzOAkbp0b9JCGK
5eJLM3mnJCH3GeiTKgZsyXIrFRNC0hZK1ty1QrwepBYb0CRzs7o9ynVxsMTyGEu3OkpAknGOhZ2l
ZFsyFiCS2owxETdNj4SmCkMNvSVffq1jHCCa7EovD/ChndI3tprHLTiJ4SdUduI9QAxwwRJr+Agr
OuwAJIrNUkUIoH32pButfgvEn6YW7BAotYsyfeCq/7QSBS5DvmKg9Qd3FW9HUbIWe2DItc4HFjrv
gdnKJHbN/j13FnbjId5gv/bj+wEvr3wUiFD2JBUkIcSu5fORqVhhm3gqjSFo3oAfopcs0I+ToTFp
wtnTlLVws7LulyUpyp3QtFvWfYQxMyrOFDidaQN+snwC9XMtTjdV6FS2fFpzGv/6ZPmw+BbxFcXP
qlIaFl90EKqNsvGPoTMi0L8BPOb4qxt8/lAXZ/eH4RZxNZ7CWPQ8hgvkaItnPY4mu+8/nbSyv9XF
WvGB4SvjHLrln3PiTHE86m00fUjirzo3RqSpsCmYU6G018ric+j47u3mz/wh04LIFgeYAZBpVdLO
l6yruvybjJNTh/nWKBgPeTNf0H6tvPHa6lkkREGDxJkavr8xSPjRrc/K3oKrcZrPx+5vcZNuEHJY
u/1/0fD9HLcWaVCch3UY+7xtZtFmyHLHMn1kKEbeekBF/toyHmSYZ8j27duI6kxg3FBm3XXG76m5
qyvfKXrvqtO5800/4w5CZzFs4G/YFZLyKzN0GT8+P+ryXEFqWCwMHrXaEPVFdLdcHtepN621G55R
X1/tkKxurMUx0yQ9AvA5K91Xa1eSDDx5xp08PkjYUNRavhnH/NY0bnX/h88Elen9yitfhrBPr7xU
txitvorjhldmIERaAzc2TqLUIUWwl8TwjL6HQ5uDg+V3KL6mnPCl2ex9gdyyBMuky7bcraTN7/nC
cnsQwCW8a4jlF+68/uCFSAbzSNJwCqEWd/7g5FXsilm60+KU2uhRT16svL2i9YTcv25PPfYdirqV
h9uwEu+TMHucJr2ktObdKRV01OBPNFg0XCY7t657oFmRSaJWQNJN0QyB/Bigs5BK0cy1f/YV8Gvi
qD5q0QQCoazvcJE7fz/vX+3Fj++4iKeDLsYJvk0UC/ncqSkidyw+wFT/fpQvazsfh1nEUcooNIHm
1Cw5eJUt/g1Uh+8p2fkZcFu6D90A/9NxS1WSUE4tkrtRemfu/yfV2K/2FkL+gHaBBIsXKtiNlU+R
NlG+iQtzO8g4Z6jKZvTzXVdq4rbsvD9TodzWpgGxUtyHhW6bKSlsrW27SPlbiR7/ja8auaNJpG67
sbRBMQORfsYrGx8UyDOCo2hHQc1m6yXwIYUTxbc5yiKBOrgDOgpd/EPvOuwz5MERVXmrJLedjpl1
mv0xc+R8hoBf2dol0E7H7w6eoF2HKbtfuy8LddNSie8mcH9yvvH+ai9RU/6OmmJj6Nk2qUtbjpJz
EiE8Eam/c0u95QgTwPdOdOohn0MkHqbillTpHurfvvaupYQWsM/DAu7VOXq6+i5A/Aijt8EProsh
/JH62a5SO07Y9g/9iSsZpLZGu6UL+kMRWfYUpgiI/CIZ2ooSVm2B+VuWm9dG1l6bVP8zWOPWirxT
2cJXTZpbsUddWPF9pOFHrIV6UTuIvY/uik+Zzys8x8tzlAmbDUy2tIDfmYGSG6T8UZXLo1ncihMP
O3mbcDLhI+4xlAdS6NnGhINCUb+Zof478qOj6N8AHdxHaeCIknmD/QZyDLfIo6CWQ3t3rIME7Ojv
7xf6Zb4AtEyRufoCzyZiLM6YEL33zO9ggiIK5Wgw0/W12uzlhkXJGTFr/INJL1nDn89sTS/zTErj
+jzSuZT4zq3Kpc86fP8el5nB51EWYWGkPlvmMK3PnUTNN2aPFigFC8kD5nFyrLqY0mxbQV4JRl/N
HhigmSMnk8QuPfIMNEHTekA+vu0NKJiNTSb//XvNB+fnkM57wQVgArkJmcvCNmXCLk4Gvz4Hium2
peW0sXioJB8R7ldSbCdb0x358pU+DLjIdUA3xXiPBfU5R+JfT7mNx6tQ9C+XhKHPPF2Qthct9tZM
Zb8A/XlG0ixzsmKMaE4qKC/6O0hgTldGzoBQkwCk1cj6V7MSbUrqO18LrvpKvB3HNUe2L16awqQk
4ms/21svv+OYpwbuSQJFkKLZR3q2F9WV9fkFWoljeb7wIDnFn6Xdgt9o8UA6RxXS1ae9tFVue9MZ
36TQliB1ym4IukD7KVV23jn5I5fUMXBvno4cz6ssFpBAF6sKdhMFB/YZ/YQLlHOjFHpTNVy/2rR4
0wxgeboRFvglyi0W29CBhH4zDgMUjd4LdpqkA5OSPExhmypzgTEdzfosp8OT0f5uS6r3sZXtYkEm
U+0pofglpBKhGW6ICQYtZh3fCD9/NgLIqgg93QRh8iOrO1ftJsVB8vWZTjkaaE13k47ItWtnhAq2
gVcj9docWmHglOqQLmyAOZRZtkGvMDl6VqY7tGZAO3bqbYLWZSsON7EmOUmm/o0875RilIi5D+d0
Sy2P/LxADjksFJDJWEOaCWBygfOkh0iXq1BcU/++Cco/aquhQCf2r0Hpn9O+itwcqHFjWVgk4+gk
hYPmcmFFxNPURE4VnCWrsnBMZZxcdJP+aQdoK6qU7321/NPFQg4up/6B26n5liox8rn14O8q+M20
PvQEd8z2FzQqGkFdhIWPFWfXTVScEk37M3jDj6zqj5IKT6JA0Nku0enORjRqFUW066J+zIE46Fbg
tOavHPFNcMIylKQMcHypbb4PRJcMUtQMaeMbNCz02aVgkRENahPFQ4QPW+/MiWNoy2+lM0GeKFzz
1tqh2LYtnnGguF13pF0Ikb0XKT+NPe/fD/e+saIgzDJqz7qJ8wL6RGmr/0Qh6RmxrVOtoqBYlIDR
Jz6QpVU77Nn+jFbi8vc7dSj/1GNVufIUuI3/dz4btOGhTnJHHf/R1BDrrptMvq3DWSKr2InhdF+b
vsgtqYdrEe+rEcZn2B5DoYERI4k72Rf/JtRNYbTXmyTvOZWtcis23S5u8xdda09xC2vChDdtQWho
8n/EAA/A2twM0hQ6dTZmiN8WLaUf+VBzbNoq6IxoCO+9yqioRq1qY13e2GfBv39RsYvpq+W+DpMY
VCyOrnYeUEzG303Na8fqxe33y+Qyspgi2QQ2vAbyDhd2UVR7Sh9L0+ncbatDse327bY8rDsRXr7R
52EWb9Q3npZaTTWd/Xxy0iw+BoJ5lLN6E63ZUcy/6fMB/Hmk+Sz7sPSsKvCGkUh11jXh0DVXbd2s
FaDn3OTzEJ931mKIMg/zQR7YWdlVfpNtvcM/YPrOwAqd9a30Vc0ZDd35DGJJkFMs0jG5qY0+l/BY
ml1As82EobPtP2WnEd65uPfU3VrJ+TKDoZz4YcBFZhZAcZUgJbXntD7H1e8swsYkadTT6GkunGa7
WOOFflU3+TTiIlKJXDAAHmtzpMrtn+XZ3HmOYk9bkCR3VE64G+9oqYyv6uvkdvced/RV9utX1YlP
z7BYoK3fJ5gV8gzqLntU3XQ3l/X7q7mq729a+/tN91UL49NoixWETkVaZh2jaTb4cNTaLYkuTufo
tuLkfFiskO/XCOGXO/3zd10kin0SD/4QKMxynTtife2NB0PI7LTvbDbjTq+jXajHzvdv+uWg1MOh
oWusqfeD4uNujKosTmtWb9a/kJA8BclDV4Wv0QQZX1A3FvZ8VHpXoKvvpMTlBsXGFYa2icQMfz7H
ACyARr/OrJZ7S3s/0K/2VPFvDg/P1Zscx14q920ABt4McZRQk/vCRwg7UzSCviVzLebgGI062Bti
eJVLKslCXeGgHogoAeX/0IDfSw2CvbS+WoiYlfcriqztQG5Tx4/k/NsBzn/03FqRg4YxKB1r01b1
qc8OkRpcxVGyL9LilQrfcZCNfVdH29LSULsnE8Mzsx1FLkRge6fU2niZ5yYtdQotvu/9YqfJ8j4r
IkTo8m0VVsd65GBP4qpwmR+0cWtEWfM/iLjangmaeBaRSn4JibUpur9mYbz6Asr45IlgQV3NDHHA
iwCTVCnELinfVAOiEdnd90vgMiCz7nSkLMD8S7RrFwFMyWT8K8ewO+f4WoyaZGvKmvekNP+Oiw/+
YYxFzIriDExOxBjqzjyWR3QRER+ZnPxu/ST7OiB/GGsRrdq+zcZEZKzokFK6GW1jO+0Nd74JyBvN
iVzsVtcgKPPv/O79FtHJ6j0EQ/x5DgGVuyRGs0eJfogVGp6INImb6Cg8/v99tsUewq3Sj9sy6M7x
0B0tLHXLfk12+qvOBAkqiB4MkS1qDYtiRplpU2EU+NcaOZmANeGc0UkHrzyPk+8IlMqHsd+1I8pA
pv6UColrwNpLI/kgmz80AZEqRVmJV5eLVab0bSGaAfKKGssczz7Eq1ijJhL6gMnD8Jj0zVH2vJXg
tDLCEl1nlE0lSyPC1XK4N4eBV1tjp0vvpezPy+XTWywBml5epb0XQippFej6auu9ZlU3IQDSVLba
63zLdkSKCBjlTVLKxr0kU+KKIr3ZWp0Rb/MCba1pALtoVW3gaEV7LQrGs69mD0aTvsVlhqdHYxd9
km0N4Z0Ymm/78SY1qbJVmnyasJYK89tUE29lNZAhJg+/xOwJiOxzJT6JYixuJ7G4sUz4igMkuETO
bxKEirSo/a3E3pnc+9ekGdtmerH4lclQ3csphvLlcbIelLq9MiPs7ZEqlyN920Y62oi9nXFL9NPr
TIBkiqSf0FLzrGxNqF0jLTDue/SoJJaeuRW6xDGScWNZo23qrY2DydZTEsxKaUkgUSCFGAHXw0/E
ns6yr2CO0d4kYvarbXZihyr6tZzmm5T0z8y89qCajUx4t1C+1mlJj94ttKubPAvePF15RYDihLMR
oketam1yHE8mUyp/xgGqXpHla7Ynt92uGazJyZQUQhNaQBttKuk5Nohj1cV1pWu2CTO2D8CVCJkr
iKKdpuFbmafbbGpfUh1eOFDT2Y7DI6An/a1i3hQhRsoS6q/8HxxJN+J0KsduYxbhLqgehO5KBZNr
tDWHU7DxgxS+jGQ3rYBWTscsTjCxKJgm3X3oeQ+04g9BXe0H664e1aMWeG7dyLpTqMLKWfFO1vi8
cj9n74skJY2Czs+gi5/9sv1HVUoP9Z/4ScHh201NVKPaZoocwPDtUarrgsNbGxErgacMB/xPMqKL
1B+LifcJ8+IsiOpVgGHjlNWU0iPbKIrHaWgfreQGoyBHfyhSfFtugrayMTK9KuRuL1qFLRhbQdP2
Kld7q5HuZav/DX+HCp6pHxNpDNkQCIzp7CyxafvrPJXg36ShR1fT+lmOFs1qcfB2XYrmLpTJoMV6
MxZeBqV/xC5nM4Wj29QUPHmE0NQ2on6rQAbppqeaZNdHajtICegjJg8FuOkgcgiSbtCkKFSbz5r0
Y0DdotBfLXpX/9uQ/zlsLE7RIgxxawoIGwUOCAo1pJb+0fdDXN4DPw8xH3Qf4mswtr4uZnJyrlBU
TCbjWlVrOyjzUwQX5Puh1gLt/PMPQ0m5P6RpQKBtOKOH4ZzX/5+RfHFCGknSyn7GAGWk2yKJXivL
K22ttelabAcziFAFndmBSibu8+6+0K39KPzwUW/6frLmZ/287/guGgrHJpBOxH8WJzEAQUT3Nc49
6KHuRE7Z6cJuXmjfD/PlN/kwzKLtLFeoMnLZY4WhtZpgQ1qsiah+OWMfRlgc4FIwDWWmMsIY6juz
rA7JLBdTH704O3z/Ll9kL5/mTF/AlBAzqvxEVSD5Ts1zSlXVUyXS8Ku0fIhDDtq2ddMRF0ihdATk
MGQ9YM8/dXTBomC4q7s1sMXK5C4bN1ECydToWY/CEO78vtyEerLy/VZmV19EiLKRzLIRWSayiN7H
eCPP0hNF56AWv7J7JWv+XYslaRK1536DKlvon37evyH2uoKATslZDgAeZ5LTMYH04OKtrE8vtXnK
zfxGkOS7OBiQgkYoPzlF5UHBRMRS+ZfinyLJXTRe6UceFTPZNsZV6WuyM6aDiU2QZSJIMYsURRlF
WnawCPtekYLbRhSdKo+usYFAUD3J7iRg3Pm0C0vaklnXPUFwtOsBnaF+J2rjL5Rrh72WCvc5t0Sl
Dl9k0pl6tO4iWf8RQ2/Kerm2cVp4Vfw/nUo6i/aSrWviq+xdtdVwh3y21Oh3ESrHKaLGiQ99lJtn
6lNPpmZteH64q6ufQ/KASbGd5Ce1AHjIv5ZjlFykwLYsrtN1uJuAZMcaRBtZdYPiTyA8Vn1/0KvX
HKlar3Z07d5Imn0y/KI9/dj4D3kdOnKu7vX+Jqx/BZn6MikPoRGdwrrz7QkpXHRUTKcRym0kV/ta
ep36XQRvOJygMB5gj6vUxfHial41z3jxgWXaCU3JetSuLO5FoXFUQeBos8RyXrmtSRE2/DO15sY3
joKF14x2HXjS3upru5Iei1i8lodkp2rTvVEkd7X6oA7D1qt2fhdcTa3/txnCE1D719Qf8YLT3AG1
+dSXD4qPMO7Y/IqwqnGkKnVTUTlKWXDW+n/yZp+O5T9qcTsKEA2L2PbS7qaVtaekrEjbkuCUQqKx
ekA6XKSRJbERkEEE9cGqkrsIEdPNqKjXYSRnyF55r2p2lSVuPpJ2Zi1F7J0F8XdbZKlvy17CHdc3
bUt9MyWIWOVdo0ivRmecg1GCoy5Hf4MK7R2W5psiv+pttoPy4H4fmS4DAeRSKLUzSQJBvCWCn3sW
4nttP6J4Vjtj1G7yRl8JBJdDyLN1JXZBOhpV0vsl+cPh2uMVBAB0QiSsdHIaGENfrhx976y1i/1P
ZVozdUSxLyCHsl4VrAOGqHq0iFvLa49Jsi9n6Suk1hS5OYjh4wTWtwt1d0zNt9r6U+nPSnDDqiYz
ZA9Z+2Foba/1Yfek18hlvueAz0mMIrgytK5Kz8qW9Ek+FjnWPytf4YszlTmikgLDCenfpXWPWsqd
VHYhuFrMD/uhdK2w2AeddwT1s089OlzC5P1NAYimHRmrqGNFlIWNKyc4mCk/wkq2LXJEr0LSsIYp
HpZunP4f0r6jO3LkzPav6PQeGpiAmzPSAj4zmYa+yA0Oi0UGvAsgYH79u6D6qZJgDjGSNn26isWM
DCDMZ64x7oSw88X0EDdvsGxyWjS7suy2F+5UaCWn2bFXsK2L2kuFTVu9SwMqIeyVp3taH0XZAJy1
2dEQQozY+WPauG0J7ASMKU11JZS/dD2C3wXvBGAVdID0F6EebRsdCKqxvBm8wWnvcuk4txd0m1jG
q2JLhhM11gDnuVU65MW1CbFhos0lJ/JB1T9bm6WqNTXWP+TCoEDQRoA6JvmPaPpAh2teeqzII2G2
mK+87wtFKLRH0WmDEx06uF+dhXIpyxMdHWPzlgazAWe8b9wo4L6wXkD+ejmiNT2Ll5ugh82CGp8v
x5ImXKmgWH8DT2VvctJd4qAL+qRsay+6jlYC3QtSABgNvQcRhYALVRGSjfJkqBjNrEE1cJXchjw6
xMduwaTdGK+JlXtQcS3RGrdFDixpecvWCBdfC8n4CmeA58WEiRZLGY+betZWDgrs7b2yoy45Ub/z
BL/1+0cdYmN2FCRu5q8Jws3R7+ej6HNWuoiOSdwj7yzaCTKSSCVkwSMMFquNGhRJ53X1WtH868Hx
ebhFlExkvUzrtJ9uCKwfyrrDQQa3vWplvX7dJp9HWUTKQ60JOhPQ+ZPATw4fs+Ll+/PvAiMa4Alo
MsNTQMP/LAu/Q1IbEuiqIw4ACIchjPjgSzhwtUPlDvh8D1bOVuyoJxM4fGdl8A9f4eU7U3F7aKIC
PzuwBT/vkLYyOxgVZuONpgl3g6q5BlQVEklyJa6c1L54bDrsGO0AQTJonyuHKYp+inp7E7fGLuVG
AaWz8inT42sRAS/q1sC1GbH6MjVNiLpdAFd1V8jv8uI0JC8NgrwY+mkdwLpmBP2aHwpSaBvC9G4q
ZjD7A4kAZmnu2CjQaNzDZUrnxKvhlpMW8r3ARdQfUq9u5NFpRzFQRAilpaUBLYY6YDVwXuJoK7iq
mm4Tjo+1yK5ChKTaGL5ljebp4R5y514Jt+yoiawacpkNI9dkaE5jHXlNi0YPATREbV/0LrZaabTM
fGfCqDBE+8XgYIkp/X2rHbtwHzf3aZe5jUkcEXIkbVJcmRF0+Nvnbio9GoLhbaSnUoD7ZHOfm+AG
t2gftKgf0e5I1BxJqrJTpSDvsg2TQ2Q5P0SNH+GlkloTVfZ972py/aRVmVtMpZsKKE8xcEtJ12wN
6X2o3jXE7kbK7BrQxiYPEd8+CNmryvkuEViQST8raMpMUupkML7pytGZFRLTTLAi1IhiDj8xhPRx
tYUsIVpMLzW6OrHO3a6q3R6iaCGsmRPzZ2riVoA89JQgbuxhPdiBzJjH1ij9yMcnjSobTXqcptuW
c2fCeWd0W95rDzqehKXkW2hDAmSqhoFcqY+FNuIKLt80uQykKlNtNXn4fjVfOhBwp+BSASJJ/kLH
BbKHm+2AgC6uT0ah20yWrclUVyKuCxyvz3HjolOTKwBwqYSPN2W1E5j2oo3SzSioxxh6hGPplRm1
YpCq+m6vh0kDHOfoG0O07Sfh1/fz/dqC/vxFFod9ixowYAmYr0kPJX+iyX2IaE3U3oQ8sgqqrbRX
Lp2EGpBVijoznkEMXxwVisTLpIeVKtPR+Mufo+r++/lcuECBiSFwqEUbDF4rS9kTDQaIKKb24k24
rw8GsbBNgQjyADFFy7d3oNlnbvPN7NMddY7mKpvvx/+atn8efpFKA6zYTwPF8BovHLl60jWY18ov
VbwS8116kLN+jCjPxgCoJ31+kEM0sjrpmHgDdS8XUl+oe7rfz+TSTtBndX/DgNTPF4UUgQFyqUPm
4UYb4NlJnmM48ej9Gpr88jx+jzJHX2cRZKGQCg6RrYjsUQVxZPKYvGa2sjbE4lGpKlTpKrkTb2IC
X69w0yqF8/2juiAMN7/137OYv8LZLKLGUNRx4CJ4fRaLbMNHy8Ez7ZRtx1+pzfapr93KHkT+HHrE
ydoDTrwSYlzax+ffYH6bZ98ga6aUxvM3SJE5k00IHBrtnypMlY8+L26+n/AFVMXnCS+W+QSrVio0
WBwQROjfIxR+HMHq72eKJiEuCHqw83XWtcfWXuUiOqRwBJZbBbMcSO5k+Qjmxcr+vZBLfZ7ZIiI0
GymH/9WAmaGuqFqAzfEr08s880D9V9VnwhaUHRvw9JUXeIFW8XngxdGoUKaoNcPceps7+S7aEH9w
sI4cHpi7ue1dbh5jn+A0sVSQhmZF4ZVlfAGZ8+krLNO5XJuECp4T4o3st1e6R7cQOt4A+2eDg/pv
0PEwmKob0CaRZqGQxYoNGy3NKx0PmhHVloD3jNfUVS7UNT4PsVilYRrCpBUi5tDgw55UYPEMgZqT
eQPTZAsRjZODm+DXV4YH82VHvyrfI38McEhEe3YEBdX5N4Cin7/QYv3OrJokxjcCP7Aorf49ZlZx
QuvQzn3mUbTI4D13ixqCq7iVj0ByZdfOZfJloH7+yBdru0RpJlWaSbxpsueYvwkoXAOYbbcINdMp
Re1RdxW4EE1StTbyxWvx7GUvFndRD0qizBNvqYuXkY4W2XaH/plui0CJ7AQB9xSInowzY3VVf0Ws
fHroy1UddQmBVDVWQZmOj3IZ+wNTnUmdDpQd8vQmCk17rI88Txy5JyuB3sq8lUWcl+bJkA8U8ybG
uNVRFo3Fk5GFO+RxK47Elw+u349YWdykihpFqtpjmsot93rAVvIt81FtgsxPeUdP/7dNfHF+GtxA
IDAHx6Vl5SkihaJMBQYdiXikonwCuPA66mAB1psra+ji2Q/ZSdOAqBDM2RaPss/beqgFHE6i/mMI
wVrSxZXzb16EX7bH2QiLJ4iOrKaOBgKFwkDuNV5RlVscDsyAP1gq3l+BmDVDw/77Xbk2r0V4Emph
2kcjzn11eKQc4ncR/w9HmL/BWWzQlaAtFsAz3wjRTxUO7yh6/mdTWBzl8aiYQ9rgKC9DYavoDvB/
a0Dgi9Ho2btZHOVRrcSF0mEOxFc99AJEiFcJT5GnOSNOjQaKUeZV+5b5ay40Fxf42biLE5tIDTQq
KKYm1rJNYJEnTJbJHiNpDQv8IVT8dfVBLQslHKhmLVMjDY2QRmoRCeuofHH5NiwkdwDixACcooip
FUanUUs3yrimc3Z5iv8cWF80V5mpTWUVNhhYhN+tEIQ0RNMk3HNYhny/TtZGWmzhLlaBTjSQtDAU
pKNeAzgKbnj5VTq+fj/Q5Z38e0qLncyURIY5Vi3eUDnz4S27AQrbKrGrE3pFObwWwMTusrXO/oWy
tAGFGnQGCQF6nCwti6pEnGCRmEg3ShpvS8wxHIHj4rjd5P7azB/UIf9RTTmwrUAaTdLt95P+X4af
cXMQFUfrabFWpYi1dKxK6YYPjxktNzJT7rAC71VF7eAToDhsBJ0MpDUYYtW1ZBVocX7/FS6dZQYU
EuGtCltRJLufT5phqAzoOHMJvqrM0WG5AODs2llzKYiBo4ykoNgIys1yn6g9PHCyEPWSThiDqFfe
WgFpfqjAPqSQSGondX2KuK8Vtc3EeNePaF/2+7zVwI5qnDoc7JYp10ZU2xL7ISSjI1O0uTI1KNGb
GQr8GJICYt3e9eYAOJh6xRA2DkVxBY/OB0NOgjSM0IzNGLKCkLlNPneX+E4c9Lc+kV67RscNvxbE
XErvzia93KN5P0J2nPfSDYF2nsFU0OndSk3tmAAEAfVlia4qO6w85w+LjbNbg3RVNqYGnjP3YGkW
8IBYhSVs5WANTHHhaJdg6ITWyqxPqC8ZhlNLI04GVMf1VHtCYoloULdztVu5Qi6szfNhlmFgonIF
fWV0Fmid+EWxK1M1WFn9a0MszrdCm0SZiQzdBJMdjEazh0GxoxTNuFmLmkN/PCB1Ke85j08TE1/r
ljcW3C2AqCTGHTze401FZig7hRIQ7GbiGm5+DZYhcEQup+KRAxg86Hd1pW0IRTlhLHpgKMVrMVcb
J6qgHggbjh9R2P1omIRSap7AJlWDXpWgCqMbNUBfirGnlhp8cAgEshvP1F8o9H8pzK1M/PXKA/ka
UCE0hH+xNlvjoTfw+TjoBbXr4UqDYirLN4wwD4fjyolzKez9NMYip1GB1ou5IY8fLchusOrUSW7n
dKqHCaj60l5n2zGYgSEr59BH329xX8MuScdlrYEa+0VOviSDVDBUxG90sFbcXPY1u7gFekTwABRn
ToHjaJU7c2mBnY+5iILEKO8ntQ7HmxYKaGP90NDQ/f6VXdqM5yMsXlmRyGZd1JhVpjKPRZiasAeN
e+WtXbifPz275UubUgIssYFnJzukd8EHki0slntW7WL5kVPFlWudrkzt4sOToBgP4Wd4UH8AYs8O
tLIUQJRU6XQzJM/S9ATX2n/j0Z19/jz+2ecPvJM4Nuh4E6nCvo6HgCZogkDN4D8bZn6DZ8Mkap0b
8JCfborkpazvRwbJBPn++zHWHtVinRGRqHWGOPQmgaSHZr6LtFyZxYVQUFLOHtZinSmZqOdZjFnk
wnSVQZhDEEHDKR9gYOR8P5dLtUrouwLbM0s2A/y2OJUpHMaJGiUTXDsqx4SBdNhfxdTPy1emVdsh
Mhqb5VBpifkzWOFAdmWAKgtws5akG8rXlj7Csc+nIlFnrVlZ0lVDRhprLsGDYYkeKHwnm6M4kJOQ
tmUQk7bwCh2coTA+9sQ8Jhx6g4o2hR4j4ESbZX6d1lCs0YUJjnQSvUKmuo0i2EplOdAlvVwD/BjR
1p0adqvVIm4MNtzlLSxQa0imSUgsLDHkUM8QIIhUgFFFS3n09QwkZaYcgWepLd0IJ1sI8zrgxdi7
LM1vx5wFGu9uofv/mOtKum0njhZV+t6DtG6LBIeQOKhb1cgmqBFIphWVNTwSsqMRloMFjHMJxGAf
yOrUW0OmPWI9zBZb6GGCmPwKvN++ZkpuCQNHY7iGalMjm84oDQZ4VuM1hD60qDyBuPbaarkndRrx
Oyq6DKQRVxsZmr1h8wMSYorN0dAD4YBXQWiCq5AnYM8PrWXCLxAOvu+ZUBO7kuXnURnfoiS81uAL
fhUWmV9pNQDmSTkG4mA+xKl8m2W9H/bxvTZmk4Wu/Q7xJmjIDcJ1NrTcoQkWayi/RIXoSmjV6QP3
Qy29HqBeErs92DTUYGCwPUjGL0nZTEbl6g0/xTXMCJLuANEzMOM1V5WJrwvKLi1zF4SRyYWR+mbQ
hGuWZtctVJOtKev2TdM/9hIA+Wm4byLdjmJU6NLnQs9c3qbAQ8C5NyMOqyrI5MJ0qwX1LrHg+O7R
aNyNXeXWlWQDVr+dUglWfj+ktARojoHqLTpyBj07KAVNAy5mrb9LBRUwqdEdOxuaTHchfrOpEgDr
gevSSyDw4JdQQPEny7g9mEPQx+1VUeUuVFKsOkOjAZENijSOCdJHI7LnmvS2jpDE7Pds1lQy5UND
mMP5qyaf+q7HnVwAyB+UOTzZifHcisRrcVx2ChrJAmCKXXFoWphbqLCfDyVfEx/HqbEE0uyjHp4j
zLhv21+M6L5Uxk9CDSDwIHUWUBDiqOC7C+ZmZNCJ5JOdYn+MiPcyOQUyAMIdOaCOAugKVL1uGnj4
hcSl3QaGrUGT7E20uCXQv4x211S1ZxbExtpyeCHD41gCS50+DvKvKYxcxDOQ5Rh2ODB9RfsBoyLX
NFRfyIC0AOSSgFgyCi9JqeN0ORQCfrkrI6cUfzZxYsvgsVUUzFsJdkUhDwRQhiLsBENGy5+JOxyM
SV95WZ5aHGKr6dQFZpleT1BZrSEsMEV+njxj1wihZCftaAEyDMee6qpE7z3Nm/skNS1oszhtU1li
8hRGLw017XBoLKmiu2QMHVqBEMt6CCJJ12pB3BB6JqOyawavJypUdWo3gzSQLmFzvBbFBw0JpJcr
SNEn2CXFcNN0x6KBswQpHabc1oD5leMV78FmMlt0rnVf635RGnkJ70HanCUMu6tmMI59VlkG8nB0
qngJrErZunVkXFVl7kvivQH3moFWrpSGt1xqPA2wnxnSy/rA7FgOo8N9EaNmrpCDIo4BVNrtNpYd
VuLQmoJKhFtKegXHL6tUOxsUphbGlRH0YRjORTgnepMWgrNEfmah4AuScpMoG14rm0KoHVjMejKp
vVFOQTShdt/jhI58uQOYoqlswlqLwRdCTUM7n1P63NNz1Sdkj/Z5VHllXzgk1a8KPIK23ksVsDBj
7o79MekHP4uem9bY5sAXQY3jyOrCmmEXcg9chG4D3pAm912LOnwbB0ouXMHw1iLFIZuOsdBtFa5d
KzG8Brpnc0pgc8mCqVb2cS9Zk/4ogRvWkMQfq2eIrz9V04jdEFY/Q565FLn+IO3y9D6UQhw0BkSs
3lHUdCLxUAm7SL8fS+TN5C6cBdpkYsn03kjgHbsdi4cGDwnlEoi/PpvDHphKJ4qI3xq3tS7YUvYr
7VGfmmpof7li+SMWHmP4dYp65pGydiR8LrQ+30wFMTkv7swJAV4MgAppnmFcTS1teoKfi92hB6Aj
2IQYaiCCwhWVsifM+i8S2FZMdQXa4FEJ29jgD1FTPRomtYZEdYyabGU1gfXNryyM7AbctFJQblqw
xlKWPUagEdPpRck3okIhRUZ7+LeeEiHcj8amGfhBNFPYxGkHHpmb0twNpLAJKl9ie11QuBYMOC1L
uT+UlQKpGTxeR+/2sKWHv1AObAZQL5DtJ+SZ5/F9GVfXavJTBMw95eRn2xK3r8YHlkOtfMiNH9l0
6owa+hscuLZ+2qiokIzZrxj6FybtvKah3lTGQWzIQa/mjpQTGIdLh1hq6F5VwBxnWWbasZLaSqUH
WoZUMclxH5JjVKkvctG3qFFLpZdNAwHiEvzrvsftUsGeW8dSSYTmSQmhos77q4jl1FEa/VdeE1iU
S9iT8KvMy/eC7EUD+lxtu2mIiXsRRpemuYsz+dqEhYDDBgWNsybBDCrcTloOfFM4xs+aGkZeWjVw
0zN4uK8MA4Vz9PVt2ShgLBxPGoiFEGnXSAg3zkh/FwyGoolaJjYcgyGM1oXQkYkhAYtkFn2xTIjd
RJieY9qGblP3+qPc5u8lxDX8MVFnuWGW3HZDd9/QSPTVMDbWYkb5QowGIj0KsajjmYBifg6yC1Op
4MdSdMeayjdkiJ00PvGw9eiobytJtyL2alQAl4gcuHpgmsa1PGyRIX0EiedfYBG0NgyotxJiuEfi
0yDfGpveM7fibi1nWQbH/xgHfUd9DsblL5oXkda00ITAONzTj+ZxcnDhAK3m0A2uWtnLXBF616t5
7LLT/GXY+fmfJTFIYwmNQGg9JptmAzUyv90RqwWEN0UHcHWSi3Tmy2jK59EMuakgOYDRZglfGLDK
Lt3iIHdmwshBdiI3eVsr518K8mdfIdEU4T77hd2M8MGg+WhCIa96gKIdNi2x5TX1hWUN4s+J/XOU
JcN5MlsoiY14e4P5oiNG6xXR4eqpaO7gh7BTi2sCBDsl7TaVYRMuHg1h1bX64k75PdElAXqAo56E
El4HDqzsCHnh1+gm1/WBZUjtw3vwnnMF0tIDoKiw9uvkcqUOc+ndmmAtwWVvJrYv4dmqDiO0QakB
iRQrS88eZeX5+/xxbYD552dLNazDqG6HCBzn+IogPDbov2pi+/Eaz+ewSOkNEjFtCBFMoUvsqwIw
JxjUmXK2AYvPGmA9owMc0XJtz9QXVin2ND6RfFjB5i37B//4GrDhRnEEGGKUST7P1BCVXJaqtjum
TWN3NQkMDe6QKbmGQYo7Ds0hpzsRATnqlOjfQ/Hz+wd96cgzobimIDFGP1mdf372oPukEEw+jjhz
83cNIVosx1ua/9CTx3L60bE7VexWoO4XX+3vEZe0wooZzQDiS3dUoUEgFbFDlWFtUl8OAnRXDIgU
oiGCOen6YlYj/KKSpqTpSRfYj86gFDwuBofwHt7ikGn+mRJODq0OfW9ZVo9Gx0CgL9O3MEG3Ck/h
eQr5Yxn+Ika4bRGa9QWzSedN7U9DFQIyjvYw4m+G2hEG8R0iqeB6iJtKkpHzFHZUCHY8i7RmIEfo
AdVMJJ2PBaMOJcoR1uPPsjGBs1TsSCHCn1oMgEBydDhooXxnl9pDIT5phepPYLyPQmubueS2IfdS
PiBlDJ2BUpeBzg73YANdk2jIbWbilwXUrrnip3r4SMf8ddSyX8lY7QAkCORJuuMSBHIryHxJKYhc
quxJFPIMA7hkEs1AHKLaNWcxwjgBBIeSPRGVEzvpwltjmqHUvHon+bFmECALlcMgGtYIVn9ApnQ7
lIm066BV4KLu0lhpEt2ncTQ4qlisMDUuvtfZIQKrFVHCknKU9E0G8XbYM+jjoSqfNdCHcMF8vyOW
MGGQarB4fg+yDEPqLlT5GAnJSYCzu689sD3E0X9GD/IrTO8DMUAxZ7VHu2g1fRlzEXkIA3wTsSnS
Uy/HOyMrvRaMU1McnKY8hC11WqXeNLIAY1jtYTTSnREBAS5N205sejdSIWGFZsBNnUGutZIOtRGd
NMOAlAiSUtTmB7CqCBRqzYLdxSjs2yxTdybyAsgfInlvoASgpkIwqiGqWvIunKyw/qmB1VXnCuiP
0jbj0X0rvXLEsgiQvJz9UvunmfvUIg/o2ZGBwZYD6U8kpy/ZdT4Ub+jJ3lQotDh5wdsToiCQV5QY
qlMTgvVYTA4JBAKsoo32XVq/SnoLeR59ypC5ZD2SmuxN5ikCZmGz8nbXnvQiCJIEoQdzDUuIckAY
qqMKQ3oe1R44biqy+YBp12EuvKrmmzpel9m2zR8k0WsLnwCTzznKMuz6+6+0sqiXqGJVAqkT7f/k
lJsHlfe2ksDVLVyDwRlzvHXWOvmyxBZXai4zMkkcy3oojB8h9i9cUaHkALYuhBYMoUJuZ25L+BHU
IRByXevmoeklUOEcaWHHqkH9SRkb6HdzujEyTbf0IX5OFaQOlLHt1EW3YYW1oWnyYytel12zacyn
GNyl1q9pF2hs8jtxxwfZLoRfYvEm8b2UA4if/FAA8WnDd5nu2uxdCSWQIaHbRSGRAoo+3STiUyKB
3Gu0mz7uAsTOllZhIRZZkMuV3XEsdGiXVoa6b4nhtNW41QYAglu52wlZf4I1tsc7AHy4Hrmo/Zwk
Nr6MSfOSg+QwhN0ezUJm1UN2X4xyICrVz4kZQQwAuxlOpZXN+u3GZPVDsU0zFJIGc6WHsUShfnk1
ixgANGeNJ6qZnFpP80W33PaDDQ3UyIP2rIvAA9a4e5QsQCaiTr+td2RX2GtQ2AurEFZ1UA7WP2zZ
ljiGMdRbIOhxZZrFcVT4R3WA0HElcJQvrMJPwyyaUP0gqw3XYxx0tuRBjGy2sTUP3J5szQZ6+4Dy
hR1axXa2mhF9FIAAi/FX9abmRsdiL3z6Fov4AO+16juI/eJb1LMrdeaFT/Xgt1bnhFZjwUgXJXMb
2oPXLPh+s3+N91TlfGhjkeSGKZNYKCd4zkjcN8yPjlnlKj6A6oGQuGsZ0ZdgazHa4l6ZTDZx6LSl
Mwc/1QWnyaizMqEvucjHEJBOBjZERgy7WLzgSWQDlNHSU+ukh1nrD/J7+R7oDr90ps7R1w7wBURi
3iwg3WqzvDXiZW0ZA1S9SXFRaOlJ5jJYaRSW0XW6SZSTCL+6QYeSkP5csE0idSszvfgsfw+8jAuI
2aOI1sz0sO5Vh15uqq7BbJaUwuXc1MXrGsNpAroTc2tR+fIkr3COsJtCzRP/hWm6gtqOpYlWC38g
fw3t8rUq8fnBqoubUWwSbeKSjgfrZ3fgVIR+5Q2POuhm8JemJxhaZNv1qsTFc+fsqc4HxlkCQqVh
DIV4HjUa3Az6QQl7iES2cu6svbv552ejCBmhDYdB90muEygQgtzF//XQ9HxZqottkA2Qp04irA5Z
F+0K2Fy0h/J/1RfpywJZ9IjTlBRjrmMexI9CS3Th8zs3HsBQULaEA9oHee5/lZv8ZdBF23iUFT3n
GgZlbvqCsD63x3u4qUALDTpU9zUWJgA1gxUeR4fdohUGbPfKGbO2SBa3RkiLjkFxOT1lm3aD8il1
YyCsB/x3AukFKGsfrgT/1tl5tjIXlwR6MxpMgjFoXD+o6jOl9yuzWlmUy0yYZaICRVIsmVnVsVBc
ZvNguIZ+TnYAN8BRYV5U/KuWRX++TBPVR4ghAdC9eJk8IxECNxM3wr7dSAHd957mwWfKXZnc5WP6
9ziLVxbpRVdRHePoR1wKlhTIp1nSNz2uFRrn1/DlLtd/D7R4TRFy2rI2MdBctJWCNlB9DOOtXtzz
F/5mnA862tkRkqlIlWUYPmEXwKajseEHCJ4QONblfWxXDxkyQyRW7iBY1V5bcdK5lJPidPnnJJdw
irRFnkbRODmJW4S/jaNt9V3k8cptrcY1/QQlImutGr466OJCEOCSMcgE6xPgjGozu9FGqIf94nNQ
6o5BHe76xzVc9P9yC/2e6eI+GKVSEPXi47ApX9SrDEwstMkeQg8AAJCiimfq0cf/bK3Ki9uBYgEx
keDp5g+DAzGmbfGI/rabH9eCF3mBwMHuIzr8JWZJclAlYGvx+R6S9DwaeNnyE2HSu9T2d5WagOSp
bkGQh2nZFKO5igwM2TVUkSKnHiYoCVDJQSX21MnKSRGgw6ZMuWzxtj42Q44mqm4LiXGC19JoRQY9
GFUaw6GlzIHKq1Wk8M2f5ef/eh3+m76Vp38sevb3/8GfX8tqbGIatYs//n0fvzYlK9/b/5l/7Z//
7PMv/f1YvRW3bfP21u5fquW//PSL+Pw/x3de2pdPf3CLNm7H6+6tGW/eWJe1H4Pgm87/8v/6w7+8
fXzK3Vi9/e2P17Ir2vnTaFwWf/z5o82vv/0xxzz/df7xf/7s8JLj1w5l00ZvTfGX/UsTvxQvf9mw
7KX4xZaf8PbC2r/9AWDtX0WEpwSY9A+iXf/2j78mf4UavaKhKgmitKRiiRTzB//tD1n8K4Jb2GWh
HGxAT3gmLrGym38kkb/OuC0dnTETbh2Srv3x/7/mp/f1+/39pejyUxkXLcO0Ph9lki6iv4bhTaDl
Ieey1I7Q0hR13zRTjgla0woQKGBLQcTKdM6ezp/Dng+DK+XrQDDjMHT4mKiAGS9RxhDcmqAgaIrH
tI5dQ0HXvIbS5OwfZBdwyTLKPQRLLZrmbtkAv2NWL6bKLA6gyWhIx9nJo4IqUN1llq7JrqT/hJbH
CIi/1h9jvXbmKgbPSnSVADuJq8oZYLExKS/SkNzJneJxbfBYUV3pEP1s5yxakE86mqOR0PlFFKYb
QaO/dAh2ZGruN1JmmWkXDDQ9pmX7KKP+TuphP9Ys6OIkt+RS2+QUhgiJABqsdBWOHbQTUscQ5KtC
h8EbeiFao7qwinWk9ClLRQtuDrSf4FXS3pcS3Y7lwOEPAplPNE/DMnFhfgW4T/YTdQsgchLwePvq
OqvgfEVk3tkRkHFjNDwNBjnFjSE4Pe+2otC6SYHHpcdMAfYk3fVpuDMQa/a5epU0krgrBuh+deKv
quxcBuk3vYcObeyaUr6JNGGbaNqGm9OhAhJN0Z65GWZ2JkytBb80J5ch6lMDo4A6Xhg9STJsqib2
IOYElmrMz0V+UlKoyQlkz+v7CHWjJqscZRB9lm2naMNyDQgFw0Hz34MsOVQUsk0uqUdondpZXNmD
3NudpNwDSrNROsizVRsMaRcGAGVhZLVaFWR6+SQmEYg4O+CM3TIC8oyIBxEoDTOFc0UhIx2qYfz8
yDm7mooSqgZp4lLhJyyLAQOGn2adAM+A9o2RHefWmG5IFknueT3AXIsFuqLeSHO7vIwBHJu243Rb
9OaVwnXv+x2wqDPMGw1ajYoym9uAQ7fcaETsp6aGwcWxmx2/xNvEiJ1RuB41COAno//9YBd2Na4X
DVh+9LChSrMIhAq1qkySm8qRpkCe3Qzdu4IK6/djLEn3HzPCIYTmvIk9bX7Ud86ioERH1ZkbqXI0
nsPrwSEPFTBOm9QVXDiaeKPiTi/FAetJuTZ9aKD46VpUvsyRv3yDxWUta23a5iEc5rinIEGegiix
4m28h2CM1V2VV/oWIuXX/a7T1+Y+H83nIeCfQ4M7DVE4+MotXydUWAwVxtzykSsJnHhTezISkAv4
pmtelbb0qv6dixFoKrHTy+yQivqBIplnE/RjxPKqjEqcJhHq9YYHgekAXqhemxV2n44Bz7rruNXu
s171DcgJiv3dgO5GpwhbE0WiUoQaIx6u2dqjEu9SM7pRankDXEtlZSrUbGGeosHqVJKba6r3HgxW
7pJGsCDRCAzgO9GyQAmFTQqdtZRvZ5mbUNZdU9x0PdyClcSTgOUawW5A6OVmjFvAbJ/AjYOufgH/
pJOKPZYCNNbWxDMICuftbFtjKp7UJ7s6+RnDI6ZKtwm5l4oDqaRtlYYneD35mhJDpC60WFfYwLg/
M2U7hb0HsyBLy39KGrMGo4SSkGSx1tNNiG8l4PurpU/Y61AW9qBIjhajYxCB/1/ybdPh6M7Lq7wH
ODIj0L3ekgGtWjPQ9Ze+biB32cCVKRDF3plwlOXGqYX0nYobJ22uwgnYes52YZ3j1jFtoVJ9GeBQ
CP88dK2O4kolO1T6f9yd13LcWJaunwgd8OYWLi2Z9EY3CJGS4L3H088HVcUMmdRRztyeiDZVrehK
mI291/rXb1R7Ek5KPwBCs9OZJC4HyDeFnueLa0+rvda6aRtJuw3IOoCQ62tLsG3MwMuPFda/s4qh
huxaFQCuHh2ipfU75m5FNbpZMHllJ3O+1cG70uqewUCvA6xujEElCUp+yTgpozp322y5xpjA7tQX
M44OpMpyUC6VN6T9D20lnCpttDEkyHRjudjLlN30ZXCIJulWVkkxkXshcfSRIOe2eykW8kfHDM+2
vnUnmZSIGu89pbfLRtsJZXBkOLmbyfuWsRIORIVRwLjPBdMrpRdL3Ksz9CR8HywluCutW3qg41w0
W3Xst1GZPXSMRruIiHL9PQ2OS9xtF0HyLDm9ieBHhfXLauKkDscyfIXj1M5EVqOPnrOD0Wr7QtM3
saFpeE0LXlGjjQHqz0Z5H6XttF3CQIfrQ5znRFqjB3Z8WlZvl0LjdkYvYI7kFmNF6BaOoD3BLnAv
rXcIbT7eXLdVCpdySO+GIVBtKZ99Eeqg2VdXaabeTwvNjNm894lYOtGYePUkvQTd5IVE1gbC8lCY
QMMpBOG/76DnXjn/biKr/YKJ8auunTXgtWxmU6uwg6qb2cu9yBeZkRymAxi0m79wQOE0EfsKyPQb
iZFJd6Eo+9ORZCnE3BGCaMI+Wk+RDxt4BbE2H/JCOVkpOIr8AsMV5++rvKjdjpLqws0qZ13zerf8
ik6ViSbpq3BwFlsU3svQneKluxu1dh+ymGiD3Gp9s7loJxoftKTcdASYd736OE2WVw+ThyP0YbQG
tofaQRHnqkt5WwftQcgbzuvhMIiJL0rkwM1hbJuwY83ooV8aPxGTb8rKDFaCrVQOx5m5uxxUiGub
fdlWN3pV4Ybfvas6PjHTSDRZBUebSWOCVDsWn2qzvepqbBUz5V2JhZ0w861UZINTPQr+YNWHtMDY
a3jU0mFTmATER8YOWu2+1gTJNhMZG8rqFMpFjZ5ReqoDbVcPzbVkGo9KVt6PodVs2qq40y3hSLYc
/mycDsTCFV4vY72WZdkvE2qPYy3frTC7XrrkrUliyWeW6sYDk7lmNm9wUt9a8uiqRXnMZin3ByM7
aCUObZP2NLf7bMqcMLNmvICxx0F9UWqkrGqS28jVvi4IVSVTV15WTUCsO0PcP7R0kyIMhWh2mS+j
h5+cMM3cSUwcTe82WHyiyr/PzKeiyvaJNWH4qd9pckkIi05tU8vVcznAdRXzDUlnN2QCuJUpE6ZI
2KomBE9j1HyHsOFA/XdHzbgzZKxrdIzlTYbsquY2QebmSuFZWP9KVr79+zpca4IP2M0/q5BGBJ9S
0URpdbbo5TYIuiqaOpzoF7x9r/vl6e8/cM6t++cXYCTIlq5gm30ukDWHYhyCqulO5tVwXFPVKy+6
XmdJ6f8izen3TOXsfvAxp08kJVLGe/DsfhihlUagmMtJCtRdo9gie7heNveg6Yxqt2PSHQeyb5fS
ciWzLDf4im0xb5fmvTkeA0KZ9vSnJzIe3JhPKw8EL1mTXuvsiR4nSe4TYd7TYPljeKNLChv1CBW4
Cv0xwchVEafdNLp6O/2MsCdeovAp6EYouarXIPapZmU7MWaS4KRQ4+v0FX9/1n94mZ9ufq3SPuxg
kqmUoo6VyInkHbtI7q3o/u8/cM7w42UCa5kU7TJ9Bf86Q2n6Qq3GSZCt0xpftbhwvd8s573cMXTe
W7tLFa3y9YZgshAPo/FKFR1Hj883VKoEBcaU9adaa71QNw/LAJWmI1VYSijKMt8gJKEm6zjNnhLj
hxYfxe6pSIebiviFAn/DGt2jmd0jUL8aSqZvYs12Ie0ycn7NEAfBJDoUurmpJDKatcpZ1ha8Wvap
wDFDokb40FzKPJPOJaLrM1w/ByzMVIv4mvNjLq2EQNTz0jp1QWDrwatCJrEUM/iXcZE+pth0x/gO
joQZVvC/gqHxw9jCXPtnOMoIU9jnpgdLDamajlodOuUS4FEeu0o57vLZOLawmSyNjI8Wmn2CeKMo
pPfVJ6Q3E4fIcQ9Om91i9mNgMN6kW5jir0o+vrfwNtOQalh5HltpY8bbfBqv6wn7Rn2N04JFqd1U
2lMdZRwfV8miwbeC/EHDPo/w5IOfAYz0oDhF+kZCp5cZrVNJg9sk1SZlbD5jDNlFppOTeDJUxi4p
dG/EHbO1jB0a963ctXdaLwmuktV2UGJwHpjf5ap9G8twE5mwygTsNoz+pquMuyEfrzWrd1tDO3b9
YQLkHXFAhgMd1e1Ba2OvHUtfw9sxhmSWyLikz+1mmKadhQW8Fl/rMUGuBV11/K0zoq1qNJsleC7W
jA/jexewmcenkoiyWH2pkmpPMul1khBVVN39/Yv6Pf36vGHRlYq4EygWfr4gn5+XuEyV0ShSFt7g
Oy9V5maJsZ4q4rUqOIrj/ITS3kEi4EbLIZ7xKqXyarBPNdpjZuR2MPZw89ERiIDrqkFkZOh1mMiz
iuxYIfgnrR3sdYGxfurtbVqcVNw86uFBl381aeRA67OTYl6DTwzeNWZtnX4dTaFnCFukva40QALN
FReHTTuYGMZknWOa39oYB+5XXcEWrFRsM5qdUB6vDLG5VXDlu/CAvuwBEi4WfKCahV6e6uwM9tba
sahKlUH9It8VOeqYzkFs/ksZm306kAGM630QPRvBQxFfh3Hm9MvbIDwkWmibQXFIUg1fLa6+NP1E
OITZfWTeFfSB5XILYx+68CGiWWtnhE4tEd6V3Zf9Nsl2lvw9QLlg/pLNO8M6qMbVjPnCgpXsWI6c
6hMbSYxUKLLT+LQutHkiwDZV3SbaTeVNoCLwKVaSWEqmxnJRaK794bEoeOwSVoCOQsQL+vO6YdXo
mSLI2U1FbHYu/tCoPISieTf1WnKMUXDFuX+r9cKdg5c5ECkfXucGkVUa1G6Z914yqjvkm3uFjkFN
nmb5GClvoZHak9E7CmtCJp6pHiw7L74bHRBZfMqTAgmihqrzPddv0uKbSFJufzBELGO70Q3Gwetm
6ECrWzIUjrH62dT5rsB8IC9x0g/nb1FrQaiSD0Muu4Epvayil2aW9rmqXCo7viASkon9OA9Gk01J
k86/K2jRspTkIrGym1HwZK/eCE6BesxyafR+yW7i6dfkEMJlueSg9LXiOfvps2PY7DGwbIelvBn8
wRW9DCSGZKp7a4OPrq9eGoCtL/rTBsKvYVah000oIkDyWdcE7ChXy2iWN0tvxwyhIyf/1m3rF8Dr
xctdYXeRH/6b8XT+k6akw8qmUVO/SIaTxkoFQVILxGjxiI4AFWD4Y8TQAqEgIh190d022Zci4Jes
2015lObo2GUqkRLbsnsaheFKFm4idJV6EpM4HbhLdRvLp0YoHXYRW8xDD9maNHMixg1pfmaPwDWz
9sh5fnRN8qB3rMJZv+9ZX0mF4qvCmntQAGRNc5fntObbLsw9WTS+acW0y2ZMoBSqgerQJixlUAWh
hY6s36GL8uXgvqpqZ5R2Kr7AUjIck+wVOA8MICC8o3cE2oOiv1KZ2FpXpXYzJzs9uYYBuaZolg3g
5XIjktJB+EpQd0etLX11kl9rSfsuKtdxSTbFbaqO69NZOFtA4ud8m+T6j9DciXL50Cayr8WswypS
PWFYvDAi3aMQbnWrPRlLbRFbYRAsbVROLR3iMfKr6q5JFq9Metsc91r92NQLooZfY/MAd3Rbyr+K
tLONAZSqJyYrfmpJSxC5gkQjQRBD7kjF6iPqinurmv0q7/1cKnaLJXlGFtkMJzjoHjli5Pa5VE+1
dNUVj4uBK3QxuIHGlIEE5dmc/FwX92JrOkHwOkXGthOanZ7lb/OouCZBGqLxpAr1rV6Mp6CUdyOq
1UQmhi039yY0a7k8LVgBERQKkCXCJS+Pwc5MqYqUTLkaxE0JkDmo3LkJlzaM7gWlsIv0TWhCt+37
vbZQPcB3bAnzrFZh96Dic7v4WaJeOITOuWmSITEOwnhW0RVsp758ZGYqSxQQasOUWfONZwASex2m
1/fhRSPKtab9/HHxU6t4BI8SUxTPN/ahy4yqSJaGjavZAUFulY1AWEJ/ofH7khX4zz19+KH1hPnQ
LQiQPQU64AYX9sgvUX6O83vKCEkjPKhrXqYJ7umAkeoUHTX9CRr0M5cLfAvBZcQXXe93SmSRT4qf
CRLdCsK9BWA5g8t2cBPVcPRFgMIMVRN8B8q8g1UN9kzeKelupM5hdF6Zr7Fo3tRR4UjGYy9CnzHB
KEvY/QFeD8d+rB9ieXCqJnF+h6QKpKt+s7AyX1byau+Dqrb1jzK7XmMjS9M85Sp+AdiCm8EPkWjT
dH4Z8ObTje9JbXpkprBSZU8Z520/zMjmaLfVBh+sbl9ZBlLuF5Uvb1U0N99C1ODTPOxiwbiqVByW
UhJVZ3oC63XU/RYgOG0wa0pFT2jRSyqBP4jwH7r3bvxWZE+V8CLOx2hBI9MmW7rEfay9D+0wO9Ly
opRk8v2YFd3TS+tpgk+boJBQZWZ/VXwVFYjU0WeJauqq+c8pjN0M6DjYlErha3QoJlhk3ujsgKE3
h+pj0Q/7MVVcKapxuJo8UZ3trliORLVASscPKoz4urpgy3jgmmoHVKfYR3VzZQE959VCpu3TUB71
6noRnlQwkMgo/Vj/AcZow7x3asPXGpDEzNhYc+78vb67tNzP6t9eFZjZS6zClaTSb9KNsom2/4ts
kK/1gEWUti5LuszXJSlnx2Sha3VCok97o9wXO/TeMfRaQt1dxoG7dIcrgb3mR+je//3uaJhXfE+S
tC/uYH0HwldaZgM9a6XgWF7nqf7lu/vNsPy0acgiE2uGTlQ8uo5+8vO3PBlzACQuDTd1TPqAfhfM
RzG4z83XKtWOFXwpeU2W7JkdYuQwotZfjrRZ+BaG6a1ghE/xbIDMKzdL0h56hsxx1zwGc+Whp3PS
FcJo7xE1GxoHg3Rbj7/CMd+aFmzSzM7nlo/9acjekulxrFMSm1AvDN+ionFIY98I5RN5BEx5Hpbw
VJnKTan/XLTntn1fZNlPk0tBg19hZJ6Fghcb5DuCOr9kQEM2XHqUOQPl13QM7wHEHUhB22kr7jpP
dIW7FIac7JeYX19iip7z1Znzf/7ts9KvzoXGJLJ3uGmQdsIieAi381XoaYy5DoMjXPE4bgM722b7
ftv55WElc/99xUlfcGWwhVWmg6UQYfXmObxQTk2URCV0gBbL/MrsPCPQ/RCYgpxUBY5+8sief+rl
+2E5TeXotOFwHMXaTUZ9m5XWRggCvyA3U2dHvHBp8vnRtl6aLst4SlpQouWzVRqSkbAEgTLexFbF
PtgfM+k6MMZdHET3MWmoOJZ972fV6/TkVu6i69SKL3yPv6ewnz8UOgLGztD7iD3Etu/zh5KZkTFo
hAvf1BVGEQGXgQU/vgWW0biWwu6v1adUOmQig5lqvFrE4FdiVHYgaWR8DJ7KuGjCb8+ELGjHeBjm
C7OtJXfroboKpeXCyzxnRbGeSFHClMdkHGExlTh7YtFsKDlb13QDJ4N3V25EEAqpGUGviPfNf5SE
WuBNcgqywO4iZa/Lt0J3o2fPzN/2cibt8Xw4dJFmZ/1zqAh4Tvh10Pzk+9+lIRDLgIp06qIfF170
H9bgp8te//xDaRGaua6okj7dJLtyO/lWaZNkBSNwwCfBMX8ztjFX2WRX/+2v/C8F6uafd3nGuTr7
2/9fKVg8xf83Bcspy/SPtCv+X//QrgTW+38UmUJQ1s2VD2HyR/9QrwSauf8ASppwI/DJ/Idg9S/3
SjD/Q6YDjAYSGSVd0RjN/Tf5SpCl/1BBIitXVZm8Hx2e0/+BfaV+BjXA7IF3RBVTZctQCTw5JwHy
j08p5Fv5lm0pd80FpIm0JUfTdqAoTpX4Axwb9TEzTqF6G4SOYVAt2co1BeuvpTmqs6+sMtFYeIwU
fKangwbbxcq26LQaDiJOm72Emk/dZTCI7Ei2wVytH0rvzv2Bg8hwBeXmw0v4dzV+ZHrJ61L/nw3n
9y3hPsrXK1LQyxgbfP4U1hi4CW0ReAk2OgtiLx/g0asGthd/GujkoGqPXHd5WE3Wo5/ZaMtHJvqu
9rpItoRJzX02ucDSnBh/vzTtT5e2piSRe8IxyV98vrShD2QdJoZ+s+SnrNkxYhaXnWldy817Z75F
YW8bxk6h2KT2toX0m1pd5/Mj6eUd1Xfl92vk0KDYoHME7dwM+Vp9hidce6XyptoS4s5muWZ05Wgy
FJlJeMltmbQ1zWNbfuuLityJnZU9pd2VFvq6CthdvUrGoS4ELzMJU5bZY7PB/i3vsKNl30m+lniX
9F2/j53zV/TxOZw3QrFeNEGp6hQM5feesQYO8G4E8clf5uM8PkSA6KOB0n6veSSFkjSGsbMXugLh
fgZLcldmt/LitqQ6XaLFng0L/lk+H6/trDxWSguQLuLaiuSo10+rOX+s0X/WrlbEdgmBzCYWtdhC
76ouCl+U9Z/+tydzVs6EjVqqXciv15WDCBT9fR1SM+5G08v0q3K6BRHUsOrI1y1d2kjp3rRsxmYu
Oala7PYYrqGGll2iokJH+YnxkfRDC12iMhtUs1e0hWXttReZ0p97ivWhgTlK7CMUGiYVx9nYSKiY
pzYZzjt4cPWr3NzublIcaOyaqBNAckK1mb1uUlzop5AsCfyigDyw2fr7B3ZGyPr3OmSoqXzflGTn
OWjBZLXEOnIdoYGvpJu9Rvg/rTFogXw9BA5mLbezC8kmRpoS+6x4s7xQ7/x24v38BnkUpsw0lC2a
NLSzR6Fpk9br6NKJ8UAKnWKmNuAlFbbvjfkm9BJ9ZLn+gZKSOdGngL6ao/dvDbL+fHhDM2oyNrWO
6vhgddfW8EOMvqVh76ZdbQtl46qRucPG9tis9IKWedUe3yv91GCVgwvS8mMh+HzeElpvQ5ZEjt2S
/op5sW3+nL8r7yW2Rfo38c6sJv67qm/j51B+lKI9TEd4gJPgKftS+1EI13O0gX9qolq1jmnxkEV7
A6VBecGS9zfD4/xhISbgccEyZiBzVm0FRF+F+EzysALPxJ0Q/DS3tWfq98jPNQdwnCgKKFq73MfB
LX+Tn+X34hf6In8CvbDLt+gSJ+X3dOPTJTH0BNdlAdHWyZyLn/doq5p6aXWgu5saL8gPsnYooaaa
j4F1bTQ7uboJLHhuwkmXNxCJQBFSHMYpCuXq2FkLRPenqtmU5jGExxzPew3CWSQcZMaBRuMI8k7L
Non1rNZuaJ3G+bpOjnJxCnu0yRARXrViYxWba87e9CXBBVngU4EuJ3uzssKO0p2ZXWnFXVPckc77
949nrSo+7z10zLhuyFC+1zzP80pdg346tMkk3RUvS+/I4q44BocZ0SuHSOYgA7wVXgA6EAV/MxB7
QdqDdYg0sHZmHDwdmE7ZnlStq8EH8SgeCiT936G+RTclD+w7+I32iy6nI0xGePj7pZ/NZvjuzy79
y4Gi9oHeq+l956fIsPBCVp3QgsWjHkVMLcVr1cn8lRdaXKdX2ehji4FfY/OKBTyJtRAKu0Nnq++4
0KYv05P+kEB2Q8Uy4kPpwE3Sybu0R5/I9sFWdVzBw0PV/AC5W3QmesQ6k5C36bHYfGuuh6sRqxYU
xJu/3+NZl/3vPVI48GpWdONc9KPGSx5WAIH4cVewLbGzd1SA4NTlbIDdl+JnNGl422GqAbILbGsX
G2F3qeE+IyR8vYx1FX3oNNpSmoXF5DJkWNYUHHa6bR0T3qujbMze6W+aq4tn8pfjZX29H279rG6y
ZsEYwziS75JddmN+V54DNtdDt7gTdiQ0OOvYBT+I7nGkAV+De6LhwraufEazvt722QqrevYQfEwl
LqGi80OD1OOIeb34Cu6KHbQ/Zrv6cwR2PvHvgpxYB+rmiIQ8ET1VwBLAj1MPAVPgWo7W+EN0qxtb
aTkJUe4q9THyyvGXHDDvC+568hT/vniML5Xn2RM8q2q0KeqSeuLbZuBiZE6ePgvpsWXlOtEJdqZM
XjtkhO5kkcYp6Xuuvxds5YpH+2uG+AaSdZPsdbADpw3cosAn0RUHrNxQxMPKYqiP9auTbQJUZ6Nn
vEPDim77H2tOlomJxNHXR8zuWLJ2c2f6uJ0qT+s+sGL5qMiaK2jDxQPfrHUiyn3BEgavcgDCVHYU
xsSAyL+3jfr570/ljBH49aWeVVtqpSpEyirS3aj6qbzB/dKfWhdlQA0DwBHD/VS5Qeopz6Zg5y9K
Q8DArrfWc7KMPM1BFxnua0TfXP1MtqDoR4f1phitYIEK6Xu1+PGFcUOL8fcrP+O+f73ys1NqghYU
K2Ut31XYMDjBZhgctXQGAWovGaMw7FrkHZZXZs46BC1SzwBpUULFh84JFfsSarL+3OdD8/MHui6/
D5tC1xRTwIEn3a0spdUECMtVDGN+wF4on3Rcite4xQ0zi84rC3c1WlAnnNJtZaNle4Udm8pjeWAt
Xdg0z+DBr8/prBqLB6EoBUwT72nt1NxLoMFBLl9ntp3ll07gNs/42812qL/lO8ZsBaC03Dp0rkF9
sbq/9NbOIwgGZejSwhQ5pijaEX7jh6azedgjFg9uxZlj2BULCXaw5Ko9FXzqGpgLrq6xbnWpWFYv
bGmrxOvjS5sriVxYQiTuOyLA6H3deWv96J2EQpDZJRJgkOrQJjFE/dlWvrxsVk9nWF6JLcp+5Dbb
xlv7f2abfKMPpDMfpzXRxSaGp8T6liBE7G1t5TtKqgi/AHqU1/o5oAJQLnwNX8v+z7vbefSVlUWd
ZeRSej/S2dv5d7Q8rbNsTXfK3IqCciO7iPkf09QRtxelqRcOp/PxYbeooz6Do9wP7xUT573lK/Do
K7dFCH8YDszNneY7rLfV4xiiq6sQwXzRue3Suzw7nmIxUgJIZOk9IGvdHlXDgSZpfuOCZMrQbbsZ
k12L3XDmtG/Dq3G/5oPxPw7essM6DDPkmdeF6amLck1+4u+YMaQexi84cCnsJAyNd+O39qdwjfaW
ad8mze3hpGzL7+PT9LBK/w1YvjEDf8OOBx76MdEftXZjqE6JoVjrdvdVYbep3bxq2Qk9XEHaJyGG
xo2m7kAtWuyhqmfF9GVmUqhPf40vjNWOieVl1lFiopZHN032pIUEuGk24RY+tlh2Gh0S415k+wtf
jOJXUR506zQt227ZNmDI3YpjxB3OtnZeP4vfim6DH4AGD+Exuq1NmARey4F7Y95Nr+i+/r5F/7km
/Z+i5Xer/2FPVHutDIuSdYGDkJi5ZeMz0sPEB0Mn/uNFfcJZJzpV2+4gl74Z3+ij0zyLN9E1miGw
Dv3utdq2CdxVV1A3SNwiySuvcEtvXzh8SIUuXew3SKDHN5OOOnCMI9whGrwl8ZZpo1ZeVTq9uiWF
pAAuki7c3u9W+i9b/u+C6cPtQU6ILKRP6X3j9x6emuDhQ3wHRNLmHjX4uDgG+kPr0MKDvPqti6Lm
dsxTucoOHWyvx9JmUq1o0Lns5FnbdNcwH3krk+6Mpyhc316xOHXuJEjybhHLXNg1/rwbI4AWYS3/
pnV93v+GGvFehkrlrvX0BlUPAh+n28WWl0/QayinA8lVHPMgGG5xl4T28ojTyU4o/L8vlK+I07p7
fbiO8yqE+LRGirkOWC8M6VXHOIDbmXRXdB6ZkxTe4pmHeWu8quKFt3imq//3fPzw22d1RJ9E2RKu
TYV8O6zNXXsHRVO5M8ivsIOX/obuYnvpUJa+gFxnN3xWLVSoJM1pbSEGf54x/ncWV/XSfe5kB+R6
kAlw0bj9Xwzq/rhJfrjZs2IAfn+rZv0g88KF6VmKNhkzkgRxvUAkzlPPy0bkAh3Tw661u+DJ8vs0
/fK9/M+Pn1u1asok5TJOyuBC8+iuVFB4xS6gyve1A0WTJbR4SQtbcaClGq9gXVK/9fVLG1yRZZDt
8IUzwvvAmdGDWMNWTx7gNUzhPgdcyq9UeXthVf6xpPtwvWfVAahMkGFQJ911rgndtLUXV34kUkt3
VFwfvMDCsM8WNmimMVLfVBcrXOVPJeWH35c/f529LIqJpfCyQBAZUPYbUtMepPlako8G0UUAFN+1
Q8zmh67AcrFFp0tobpfxMYOmpbjq4aLrxvqLf3uD6xV/2PGmPDTNOBjS+/ZXtytv45/yD1DNdbxW
ePNWu4THXPpMrLMzvcn6ScVVM7tfGo80AsnXsYPQd8Zj1NnLNaNtrC+6q0tf59chxeev83d8yYfb
TJgTJeUypvfhU/4EW1AiChfWyqF7h8Un3cvXxRF8x/AlO3LJVHujGfy2vGTHZjdfSdvkXr8JfOkw
HbXtGl0s3i97ZV88CZ0/D9s23Kuu3DvBe13a7XF6MoibOLY/ktvZ9EXDJvYClU98Ynb69vf1bF5a
z2e77FCKSVNZvL3wCSVlGVwPPSaAV91L+h2j+SbzO2IvKB5Nh2iMaB84gi/u+ZNJ9Hve8auFnbFF
b+NnsOjNG9qsRcCpfxdNvh7/1LqDHjx1wqGUD53gCE79wqlePNcwOSqbZdIBwjbJtjB/n3svQWmL
UPre69fhsWJIbJuWT4yDxZnutJVX9td1ex/pz7nsiNrOggEGm2Igl8ZPRb8Vn1X86jHifZpf2hCd
vA2dhhIXtLD3jaN8Wxt2folM8HU2cbYwzs6KGpZBaA15dp9CFMz55EnvILd3vi/mg2FtdMoZVwqc
ij3qRwWzCtlVhpDvNe3QbnkLevtiyx9CgWrf694h82GMNoRo4Jww0i1UrlhuazLDm8MoPv797Z/R
Cb+cc9bZkaPAETEHnbef7II9Su0DrVZ4pHthBIin7d9/Tf1sOPT1184OmqqpTcFU+HIny9box525
utYi9EnBo4D2JAt2LQOvTt/LxXFtPz0cugdpk0lbQdwl6U5fL2z4GcKbCe77yh5s6Vq1TZtYrENt
+Z1K8IDfICTlCAFvwHz/7zfw28PnfKuD5L7CjHC4MPv4vNVhSduI/SwDBVs2jGr4a5tQ3g6xa7ws
TBSuJWUrv2a/yh2I6Zw/IqQbvmnCE1KS1wtX8qdH+fFKzl4cHtD90BcgC6NDjZn7S3I08aXE2g+M
A+Ngcgd2Oh+T4qj+iHUVPfP95Vrxj+Drx8s4e6ND1EUBxD6yADbxNkFciTW+5YvDrsO1XtgsV1Ap
1S02EyynitkWBOLL8ex/OhI/XMTvZfdhZ26BfIoU8h5HMoZ4N+1Gpz9Xb0YmvvKBMJRivgig/BEk
+Pib54deKHUotXvKfAtYzu5/5d+pBdRbfFAYKmLZYivvssPUpnCV+WjusJv31Nf5PfDLqwyEJXWC
7Qg+ltn1SzO66ET9aS/CGrAw6hF27JZOd9ewdaQuk40ff189f2xSPl792RFa5WhuAqtL71MK/O9o
9Oll47sWfC9yYyeGfogt/ilnxLrmX/nVNmUa4wxvs+mNCfE6G/lk3sc/wpF5nZ0RWeJoRKyAm4pQ
XPfsWmAdGHxBm57f8kviwq+jRDbcj1d/BtrWYST12cSzp5dHAA5bdf6FaJRREncSMq4n7XDaaRJy
Xd+4Nl/FdFNfmTAA0qt4Uz8S4oJG6ZCclh3Gy+XPDY7HHoi0l98nFn+ZvYmniT4Li4CIUzg5zMfx
Ybyn/0oxc0EuvwKZJp6LBW1me1IqHxqWF97X+h6DiaVzYezrd6SnKeBUl8v1P1TMsox1uogyHBop
ZI7Pm1AeYnUjRoF431EmzwUOVG7Z+tFgkxMF0X72xOw6uBlaJ4BpHG0jv2GI0/wKlSNuwmqE8Mbm
X6Hoz2j1JocETrE9ROnlb2T9+D/vlp8v9GyVEQY0mFXJhTL6XoEVocME4BDhkTFskmFTXkftLiwP
VbjBY8cYiEwhfxSt4CDb2vw+J9djV9pBAHrSInNmdoterz8qy74Or0XBnVKvwPNhyoBzITj3dqX5
oxg55jvEYqcEVtmGhE3pnKlZh8c1AqDCEWdmp8VDPlz4pP6AtX2+2bNF2QytrPUDNwtjKNlNuMc4
yKV/ps5Y7zrjlkmBO7vSlbiNmsK+2LOvXcffHvVZFVdrCDD7mF9PZy9NdyU7itfqPhK+UV8rCyif
s9PlrlzfksGb6bbiZJo9PK4rt9IvwW5fXjwaWaIvYHBZOGJhpPZ5hVqmoBd5L0b3WGBiSALWFW/N
pxgHGqhHdoNd+j4G8+EDqfZj5RqY1V14Hb/pBJ8eyNklnJ3Uep0YbdxwCWP5wwLI+AXUIjwnbvwT
N5VOfBvUk+Bgmx6b24hhzLux2Mk79k+KTZYACamSuo+8WN2pEb4r15r58+87sPnHWujjJnb2xoxY
VBqyJKi8yofMulqkI5kFJNMxO/FcQyWysNsH3+bhu4l7f7+x7jFmJ/crUY55ug3KJ6ljt7EZHsXf
oUnFEoBd48oaPK5Tt2ra1lmD9CILHiKK7AG3cFjtCABV0OjZsju+DZCohyS57vxgAx13E4d7Eb9n
v7yumHBLPlMBpqUuz01qd1KLJtRtiE4wFR+Ms76edvkeVxOcQO67N8gk6T5wB6c4CW/LLjtZh6V1
rYP0HN6aN9WhvwpDx9d86W28rk7TLvYI0xmVjfhdSu7K6gB4etVvgk1ynJCQYiXii17kwIsXCIEi
xsseE9vczd+GY3zIdrhucUQGh2rDxO5NvZY35kbC+jC8jR9rYL3CnkpX2pJ1hwkqIIITPqZ7NJPF
jbJFGfW6PBvPsuUk7+Y+etW/D1BKbAXgbbK1Y3+1PLflsboZr3pk2pzT5cZ66+6xpRof470Ci7oN
HQFJ9EO6NY1D3JLyFePScSXI7oKpC099tWJx8vV/sUGO+6t4q3X/Rdp5LbetZe32iVAFEPkWmSAp
MSjfsCRZQk4kiPT0/4C7TrVN+5gnXPTubnlbXERYa875Jat5rNN7vrW0Ou90iUVpW5Vh/EdhJzZc
df1DfNS9JJx7RXkd0Vq+aiGNrUtL1b1UhoOBsnAgcS/SvHwLzJ29MxPj1Ds/gWhVoAeeI6xbZ4PR
EMpPS16LNvlB9mQZmsW6GLCaqis29jA9L7qPy37xhECp2l/uzlzny7656+ErlC5q5tW0Gt25ywOH
KTkoWu/83g9OJ23zV1NeY31/ovSVTF+xzzuAj2E8dLFLDRqfHmpzWRZeVlMKZUvcwKxmJMfyJXci
F4oAYZfWcVm8oxEzmEmr3kIMTPQljxc4/hZ+LtsinFbmHbt6tMtCrbLl2Cp/MCzFds3GfwgXsUcS
01wWSs9tDUED39mKQoEjLVz01nE9rMSlvL/4IP8iHARLkVZc1ueiDJIntXUu9uAlQeaev4bnaBPt
lFf9TaNzBHIDjePNl3Vbqy2z9Ra9jfIPox2Q3xa7iJRSAn460P6no+zaT0myoHS2n8IaAWdQb1SI
Zg/Ed2yV9029zJfEEEjL5J02Jyl8yqzz85wR/vgYu6ZDWoTIApHf7UAmGysKNDd1gYU20tP4sHgA
W5KmuTbUXjB1QLXklI/KqnrNvKOLfWnsMPlpvk+RG6+HIRReG2BpiTpbWDL6xjwFQT4+I0GawcDx
snY1bahVynqfBwP3AHYjdP/zSit2Y7B4hiFXX5wIoytRsindYtVJ7tuvC9jCZ3n+kqVAiwXHEAmC
eFO1GdtWqXiob/OQIJ5OhaPvC4TyLZXV+Dx23hlLqJT5KAaaBa29RYYoCAvoxPG94kwk0Hj0KJXH
LMjPzvm9a+7b/qV8hZIlbvqnniy3wCAzutkUO6N3eZRF8PXR75aUD+l9hvUMYwR8g5x+n2q+sVWD
bonIl2aZl6a0tIUnk147rSGyROa6La1ox8+it76f68EKzEVRRH+EdeAVmFMQBJM5E9yEvn/tzgc5
ve/YG7L6/cSLUbOd8rucRBhgupTfPGLCHVIyYiutaYfly0W2kFTIG+GN6MQNGXLpcQtZoYj2iBJV
dXX6ZlKNb1cCIWIRAlDou+rhqH8czyyGSBob2TF5jNszfiSMfgrhcYH5GAYoQ8O7x9TnzOy9ZRnH
QzLhP4OOMj9INqZkkt/mVhcPKNTedWGrgzC/YJnnF1vjGZtE5pATRL+JMPPlZdbN8CZ1QF8vQojs
0oqMD7XAT2nVIASLF76A5CoPc8om0mZVB7jhZLjaDDtZlw96EDVHsfnzxt/n1bOa2NUWLv8icZuZ
xcTOhyBgapwRY56d8G0+GeSxALloaPIdoWY7As+9rDv1fNcL7/q3uZN9uSdn08rMQPsky8G8k/05
P4Gl81nGQ7TT9+NW+WFePMCg2T8Xm5ZesluAkdPkShA9KSBo8OYfB1niINk8Bkko2F3YueyvXvmo
9jaPYHGIHzHhWHxgjR6RocOmuRIHIyifsKvYErzJh2aOxFsh2TmJDucLaVyuQlkAATHGiYNfsslq
J3+r4wBGIv31IQ0XVWB0CKgQgAYL4gHO7PCA5JA4kaldLFwVj3elhtRAdFISNTgOyPsLOv4cWXJP
BRImnzAt7/CP0o74IMbWZXs+LHj9dvAwERHq78lndZ8YM3EnkvZDvgKTGz9kcmkbrN+wcsMHw1Vq
hxAZ0mOLaYXdW6fZQs8d61kQcnNGwBf334WL+melOTdfyGdm2QxlzVVtF2Ns1pxruCFiKMeuwsZc
YbeGF1qG6yOjz8RwqdzJRqp6N/UGNaBgKLq1gFdBJXtVllnq6cBQgI5kcKV3Yh4xlkXNqyz2Wb7G
xpKgRSY49smCKzPQX7qnL3S5rfiyEPclxpUVbeX3JK2IrQUQnf09bwBgP8n9v9WOP/vL/37Fq9Js
jMw6IdZZ2jP0rJejCf/SUkWHkMqzxvyQ93M/ChjuY5Zdukq2IqY3C2Ugm2HaJ+BCeiil90V212Kx
drbMDR4DLRLQJXkuDhgB99PRf2AQHdscJwwMpENyyMD+EP74hDRLVgvBp644k/qHsxyI+QY6LlLi
QlhJkUOFJD1mXoOpSblXyhvU07/y2H69v1eFs4w7pVqUirQ3Y0u/r5fsxHbsUTrkmLmjyHRvMee0
+Yn5x+X+qcX4ZXxzKlItn8Y6O+gHDZqtFefeBTgX6hGM6d28AimINVd8Qhm4SwJzJa+aXdfCK7NJ
3o6t/it5m8fu2e74evpgF1e8Y2eLr8cfRy8/2sgEj+HiAijOQIrx4Xf7JHE3YGnRACNxEFe1EGgI
BBjTCCsszrDQEF6Pe8PWNjKKMOfW8/VXJOGXS3zdHqn0iXEjNAAmLjYrALmljbHfZdeV1rTUjxjk
WeJj/6VOzimzJdGK3rKwshldYM9jqzNP1MGBXtxGa4nNMA3yHoK7lT5hpatj476bZxm1H+Gq8yoz
EsWbGxIBFTp054AiIDx9NZA4YXsDtp2Q3NkJZWkUZM//3iqwy7txZ69epKwRzYqI2uyQjK60VJvl
sbyTcFT45h+D07/rH+i0O6x6Zwkb3iSYPaLLt5TwZzGOpdBlr4B24+2o2fm0LvY8jIOFzS0Ze2RP
24WPFHpjcu8oyVsXyw8MVkjDOKPrfOy5FKv8U35uHnGljVzNiZ9aN9mWLm50jNwGF8ZTACKgL/Eh
ykeb3Ets/fN99jBiKHBX0wtNgQCR8uLU7+ILzOQH42Ue0WUe9Y25rbaphXsjYaiclVxiubLT0cG8
G+fvp+E95ohjEFVuROQbF6cyCU92TSgXtDIL60J+t+Y1/IqZGSdg22V3KrZQlry8cRfmSfAfrxc9
OB5ZQFR/0Jdl8dwJcgtDs3UaYYuBm3UibE8rsJBcRRSKPtFQFyc2GM/ktuiUtYzJ+RHNy+MtCO2v
yJ3xy1KuBkJKfJyT7sV5aH1RKdgAOl7MIbawEo0qMrIxpC1gxVVeygxVLwf7liDjSnX5HwTi1xVc
nV6i2IqnU88AP/o2NgJD/KWZvipIgspN4QuTZT5C/XnSNW9IAk2wCdyumVnbUAmZDzALdW7cnD8m
JfNR88sVuXpDLhJpXu2R9SibdPROn2Ltc25jlVTYQxPK8N7c07cJlWThkNaleBRdwPA3zvS/v6e/
rOJqz48NvYm0soSqBW3XKbdEG7uTaKmrxk8eM1vfwdb9WWctnk8gyxoF323puPTX3eKXVVxBGlJT
Kv0R0/ODtinXEdwsxraf008SMz5r/r+v/N834V8+bb4zv5w6jagKyoV87wP2HZAMSit7Sia3nDhY
OZOXk+zkDU24+NS9Zk8wQMan6YFmIj1kbBSDC+tgJ+xwQp8YhmjrstyqvVPkb1K0KeK98qlJjjpt
cKuuXsbUObmjo62iQzyE9MMG0PDJzmLvnG2m2hLWnOWIJ0zcMHU3AsS+NQz76wn73+/6k/Hzy3c9
00FMl4kre/ImpjC5h1FSS0EiB0ir8dgOE2bgFwerVwB77KCrZ+KHIU/hWHyLEvuT9vf7dsScVGYs
SJIZOmLzanp9FvJ6bHtROohsfIVzMZhMeqejr5qtM75VUOvi7qDgoucd6baU9DNhsv5WjayQ0Qpt
EKAwmzeTVOvYWoa4bmGJ5hP76sJWkxFNFY6VR86RW1T3v/CRfl/51e6FY43aExkvHaQDBnI0K2cv
7WxGV77uykxN7Ij/B10dLvGtfUv78934/bOv9q1sITRq3Y7SAcez5kjxnK5lGGMiPvayGcSic45m
pvaRGaFbm7BQC3zl53uKzUBkU0IwUhxtrcDtmFOOwVj5gFHaGW5cbKWeosJG3ODXcF4bC/R1Tkdr
FC9HY32iI2kWz5fkLblszuyN+csYhRfCL5EX1HR3HKL4TwMSresCjn9DuNKCuYW0b8R1POxubVX/
m5ugENGhmlgW/qzdf3mUufxExRYNF8Jl1MIMaIwZSLA7DwHmXx5fRLtvh+AMgEOndjMyZ77Hfz69
//34+T798vGFUKZdN/TSzKh19crC860KhwCLb+zvbNS9NIG3nXgW8wb8r4+9emmKOBX1pBwkIB9I
pA/N3tCYS55qV33OHkkKgM0+3LWjJb/p/uQydhysM8v5wFZACKj78kflltvXrSVdvQ2EFDXVWeVK
qIf8QXsv8Gl4pywj6sq0SxSaPGQnZF+NQyts6Dep9X9RZc1vxH/vxNUbYUQlGX1qJcFcQHhy5JnL
kQbPrWi+cLk8IpVvx+zBSd4iGLsc8QL9vCNBNKblRPyHSx3V41JixA31/rxsqxUO1dXZFT26b55u
n8wGTd8p5kPXIXlbVionxebS+LfAir+g6L9/l6sqoDSnEc/kidvbLnzN1z0G0kQHjU5Du2ejZK1x
wDLxZL7TLCX3FC91aRlK+99H4s1366oMSARRqS9HbimSdKbszOiYFh5hAtqX1D078d1sTsNoYiYT
oDHq/38//6oAKJssl4oTTznuxkAezLWxgvSZciOgstKj3eiBYalPaXhi/3m98eVvPc9X9YASp6PQ
KbUEZlXx8DqZm7CAwbzYpunM4vFpMwBeIjc4Jl5TLZmt1Na/1/AX5u1vz8FP4PuX3eXUVniyJTwH
uu5jqq90jpn4436RBkzz1pfdDM9XkKJH7ogzGT+FELdD1aQ/uSUsgzeL7BvSx3Bc+H2Ty0blmMpj
yqtNiX65AzsJ5lyw6mbW0l9otr9/0tWDrw+lVlVxLB0wwx4RJpR++Xr2Z0Fiou31k8dbi9H6zar7
z5bo94+9etC7KWuUwZgR9BfMcbyzP+FI18jPWbeTudZ+t59jXMvoR6S/VhUTNu9WGfSXkvv3JVw9
6xLxMp16iuYdXTcREWRwxYGbahKlCpr5kfRYTCw5ZAcUYZkn6es2WhIyDaMk08JJ+Px/efR+uedX
j79WFYx9ZEGkBYgCkxmmbRQfxGaQ0gsJ8OXS7VoRFJnBqsLANHYv2cO5CuYnNNaCf6/lLwqB367N
9WsgXya161OKHV17HFqfFNZYRjbmKdmsDmJgNj4BwGWms0jCNMN62de+6OHM4bsClURth10+O30V
QDUcyuXxQXnIsFIMj8qn8BZ/1AgAIpS4lZMylrA1uIx3ee7jawZZSd8VP5TLgfE7Q5EurZ1WeTYa
v41CCB2oCIrG//e3/UtL+vu3vSIUi4XcDMfzfOXNUBwZOKIEm01q8iogdqAv18R+qxcM8d3L6E3M
fyCVoGm/3OWjf06JzLB69f9+CPj7mq7KnNyMEnVo2AEynfejcDHBzyLANmpcKOiLdhUJN4W8f+nI
fv/QqyLnVB2lo9lzIZosPANuKAYzq3y0siwonkhVuiS7RbUS3dJLVIxcM6sgjZQ6fxup2xa+jit/
Hy2jJoHagURl2vK3NLqoSCXdAeFIQaEfBME9vzJw5VtBk3EgrfqXsPHy0R1OXn8OW56HyD5QsbT+
yBwWjzTc1pn33Lrpf99icX5VSB+DSHj1XSf9gsGwxA6ULtad0w/gkh1cL08KTgEmktnlRc6WeFEr
/QpMkluevsGtumW8Yvy1rcCV4X8t46qIk8pUzo4nLrlKaA1MFSxqbH2ctal8ZMn4RT+5sNwrEllP
sAvsuLbOmDhfVE/BZwFUmbBBGwSXlkFauPjgmP030VtxsUt0jy2NiZhkC7J/4uUl29tpwZ+DEdYU
c4XEPl5I8woGZr3O1Nik8qh3PzWmsRM9oivHuWyY0Q1izbPqDafgdrEx8jWjkIE4NIyiWys/GA4+
1Mtmeb6feneRE8M7Wp2wP6nP+YTq/pbl7J/ODNr8kP73il2fjbk8DYwO4DRhH4meriB9xpUeoBng
5A5a72Dtm4MPHu+1i00Bx+7EnjK5yqqAkAQz4VG4qdjR/lq7/LKoq2N0HBqhO7UsSgwv78YXgWVn
W1x233AhJs+ot0a3PueBAFz4AfVKMW0QuegxWg62ZoK1HZdIag4MWgdn1D4BIFUxkM/eJAbDe/SQ
bQoIW5YBx8BUf/BtnofA+CHjUS8/6GdvqL61NiQZDHkyr41FHyq5o25dbBH9CvgZhN6v5gS8Vi7p
AxRocQ83dtBbL9PVcZ5XTaYvZp7Z3JRNMMDFJTSI03EJKAzMThZmlD9yH7Bh6h38acQAE+jO+fcq
/k4A++UmXJ3o5SnLKJpYBapB806whh9T65YQH9i8963lPl9o2OdQzttKqfmh+6M9/IUReHWE9Hla
JORniIdxIJiI5KI8jDgZXBLzXBlkUgUsvDial3nGsL5Vyvxlqssr8cunXx0WuHuNuT7x6WQEChGs
kLa2ZBoYxzzZZMWDVJi+asuM6B1EDDeu+p++JFdEr6vL3qunUaZ3ig9VGhoACdx8gq3YuDo7L4Gx
f5o7Tbiff6NIOGlL9XwKZHHmPLS2lI0ACpUlHw1PNyKvTjDY6wwipsCAh12OlMCA6bCIkUDoGC2l
PtBBorg9xhcxnh0DJsuJRPhNG5zo/ZUjUtrRLc3thE2+CKJvZTZYwuiVk6tPKH0L7N4TzyRX5ehI
7JYo2iqmWaqN4/vXid65ynHOuHgRrpjklGCk1BMI5QmAXeTPq1i3bsQyKKkYF8m9vpVLWyX6lZkZ
XILsRw+uDyS5HrO349lHAHGpH04iAsldRfqsfGcM4TG9E1Qf61Y+ZnRTn4HvS7E/MUaB5mQgoMIN
pGPQRodnhlrkYgGiPJ3tHksq5sDkwsAOHh3FINXAndBlQJcVvht1rZ02NS1ja5+G5UK9L2HZ3l+Q
9+dc3WLan3rREkDuheZtxJ2rp696MrSdlK5O8Y8u/awvVF4tgiEobXWcAQm/GNmmi5/+/bT8TIn9
7UW5eliuqtycqqY2KliBebIuCge1lAxtNHJQoI6wS5jzQ4zLRTLrjst+OyDCo92LnrARF8Cii+3c
jYDI3ljVn4fK78v6ibn/0veVVQ4woejxYaGseuUl7w8KzIBpG+WHElHowH9STr2LX0fwHkgiW7dL
bClWg7pu6cvh2JSfl8lPX6TO1wsba6ys2Sfy6twHbeJJqY3YG1YKoKGwm/O1PGVlbmFDRffgg4t1
sZXD03u5J8hxAgZiIsv+SKcJVKasIjBrXJI5SwENa0wTSM1oSdpY1uHxeZBXl4RBt10mthDzMbPV
yqVAd3B2OQVPR1cXHyTy1GhncCxGrItQl1BN+U7nl+aGN+quznAIWDO1I16ufPghKQBQ+MfSfRtg
/aOfk9N0OtKIsYHbmmJVqI7moR/D8+C862G4TW4Hje5Ov58kB5ng4Oho9Q34VLpfjK+no0d0g5XR
ySTTIyBhaWxwfwIflInpJO+i6MHesYDzIexhJC2ve19+VtqLCwmNzFqLDQNLqdiLkGo36LQgATHE
X+L2t8JrehidoxddUAAGmeCzO3TVU7Y8r4+QraHz5458so54t2N0uYA95YATnODnwF5TcY6CmBtt
Gnl9FEIakUhG72NpsX8yX6AEHQV7UezaLyggA94Vlbbpjwt7pApTLiReRd/4tYuqj9O6P51HR401
qH9fp3p9imJryKDhz9XQsCMpqsSGBLBv+hRXJFwxQicro23vT/nHacDAILUuMG8q+X6Kn85hdquh
+HOAefWEX50RpMCSh6pIMWPbZCIGcZmdtmclJO7OnhhB6y4ZytxII+wXT0aL75AwwGR5Mplz9ATD
Qn9wJZ5zMYMMIK3j9O6msPMq4gdo8GqJVyV5LTdx1GdKDCA0fGalS/Botde9fsNZVn1pxjpRnRrc
/MFYq2/xnY7DmDpYw09yyobMJXDddH96mrnn5PA5qWpfjnZ1Y6/4yQ34xw6mXpV6SiInJtm4i31B
DYxL4OBQ6n1B6veNbsOgc+J9r13SC9MMoupSPjsLGjjlQCsvQX03LvfRGwD6mG4bEqb8FN4WclXV
U4tn01il8TJxFpIrJ9KqUfwuf8dUSysChhSf4h4/p5vE9T86EPKVDby1sKVWF7jCXdVuemZqrdAh
QOtmRRUkhNBEiTja6XZ2GCwegdek0b58DrTqLmEKYGkzMHXD40u9rqAkBbq6qpDsPIc7L4y5xPxl
B470STsOVa0gvSZ1RLGVRx0/QDxbfmhY1uKoABvTU18gcWkunAXO0LH0x+5RPN5p6E1F4omXpzqE
CJblWEwESORLTDzxxT0tO8xvz2sz2ghZwNghd0rkocPyjC7K5GgneNnlTJEf2IVQcggu1FBCpXos
RhIPxEb5uKnYnR/lXx+i6297VS/qyIeHPm6Ufb6edRnjBqc1ZPXqploaAaE9t9rdKytojZiu3y/v
1eufj0NqXvJK2WffRu6j2UG0fLQY4mi2vEIySafIAXVPAii+RuRgrhY3ZOZ/0JquV3D1dotxamaL
ihXgwvYiDk7pxWBY9bcaZjUOBrXf3Hik8K2+cZWvmmvtnPQRpEhlX7UJRnc/4uRtmiYyR8GV2xhj
rqezsJ2UL0PeZUVwQjseB1W9R5Jp56cTaZia26pgFQlW/YAXg6oHbcNkrviI+gAt7ZemkNNng9hB
ZpLclNBoG3LvfwyksADtHo8rcycAA2KQuLgHHjozYCwcEWY+RBptc0GcKweEK1aio45hh96MGsE3
2lWef+ZjSDCklaj3g+EWjEUy25gzZ93j8T4TNgYz+lH/qPQgO7ujcZ+Jqy72GoCSzjWh6WYkn3ly
7grSw6lcLYa7UvElxaf+TKulkHgcpfJlNSZBJFIjOPpH7ClO+WSyJUkhhuDJtFIxzpse5PypwT/w
QhHQRd9k2tptnzualNuL7vPfhdjtW3bV3Q/yFJ/ihKekRT8zE4gmLwUzHVda5WNpKBvhoN0T4CCd
7WwMj4tVMSzlYifkL6J8qDIuB5oRRxLxd/HiaoWBUlY/Ngjh0nWt+E23GSPMI+/bakkmb41J28nr
srA5bqrTJq5c7p6AY0m+7MVAm5aKeXeK3dOn2i3lMeSGCPLzWC4zmZwEX9YC+OcwS8eFXTEz7zYE
HpdsPlPQu7XsmErQNN4ouEbhJ/DdDO8IIV7x22RrXDyx8SMYy5MryDtcfeH9r+C71baYBiIKTdQf
lDooj5WgxXKkzP0s9hUY/qYdH20VD5VojQWgAEuEAaTDj+saamBTBT32K7LfECSBtX1rjZDQbjXa
t96rqyPQrGSjXSQ/9+p8S1GQuQ0H4OLHQoIR4DdLStRtNToSENn2xgNyfVqxi8xZVybBsCZuqj8p
LL8cE/E0polW5/95PvBORMiPGQ3azYJAJWl549PmDeJqm/7t0672LEkwBQYbpbI/fpUMCB3BOh1i
L2e8QmvnzO79hVdX3o1PnRvmf33q1baVNVLTZ3Bx9peaxLagS9eqvmQA37tEfKFcjTj+BjdFXqGf
sNjtNtT21o01/OUW//bNr97DY0945DFbKHuClBg7nm3pg34arr4hri4vk528grs3rnrcH2/5Eyl/
ORx/++yrx0uuFL0dS+4xRqcttORQE5eV7JtniA6+otEbkhUmDptFsith/x1tEZ/p0RZRvVhk5mJt
SoHLCBOJO5K/hdON7vQt27NQdvTh/3VUX7VD1JsZIgzQXlRb+qpxOIilG3dSvx4LXj+tV7VVNUyp
RN+g7JU3LKj676qcb+GWhBjhOSH5vUcjM2tqIFBOq/y+bsKz4ZrN85x9I+CUUHuGAAPHWvzQwKAM
H46kke9H3YcwhDFN7knDW42bgRQSCHXMicch6OHYBHNm26ErVjV6A6yuNsXygmPqrGJhrIDcT3eH
8t0olmOxbIu9RDwT1TM8E2L9ZACPsElntKcR/YRWqbSTDyn9KBRCYpZkTvYLwiU/pMVzmtyiNNy6
81ejpJromlItMmUvZF5SOO269rqV9IZZmv6W7jvUMsr+3w+6fOsWXQ0kpqLqp0oqqBHwga53VXk3
eER2Y3mFYMpJjYC40fG4VdIlMo2LL3ko9YAJhXfhzTjE4jJpQ0COJNkbKKFQIPl0AnakP53G+/qd
BnR1y3NUvbEFXnPJGjJt0ovM9sDCGO3ZlRT0DA1ytFx+jMWWiqmDO9HWqWifUSG6kkdoX60H+N2+
T44aTAGVJpA652S+kyn2VLvLHUH0pdwx+lVNUvwj5+NPAppytMtHfcAThIbZaWIXXAJ1IHNtezza
aer++3b8QcS4emN++j/8sr+P+aIuJD1V9jJsX7xTZ/9IAZUFXSisJ9XuP+N9ZC9Sj+FfOntMl299
YB5vbPx/gMPXy5jvwS/LiPpLBhbGFpSajMycFN73i4CgOPUEu+LAQ8vXrFqMn+3qhaEZvlCFg/gt
soSbUl7xJ/3+z/OAc88gx0XH0Pz3xXTNpPWDWcUHSNslsp4Fc037qCKAXDzSr2AN83Ray/c4P4d9
eC6c7qVc1kthZnh3OHYwd/GUHQIRl8Yq/0HcXvXUrY87o3B1CfSOaU21x8MH9Wc+/+sDJ43gFu8y
RAwc/9EtDqjvci71wtKBGbyz6un31TuLQHWo+DSmkj/6wuG0/AkNuu2L9Fkue1tC6JfsqaXCqnD0
yJUFgLYRfU8wVj9G3Zmi9xw/kfuyDTOkgDiZ+afl0e08LTSQGfQB+A1obCH5i81on5at1zq8hgjF
dtW3GVy+SaHzhk/lDmfAMN2i3uVPd30omSTWPBcrLsmSLW9Z7ROIcfeX795Vds2K5azSpb4eXkom
BKFOKIm+NOENPuGYTMi2U7y/dJ50bzDU3enr+lMJLxNA28Wl5JWQMbzHa2wH62YToxFen5+QrrFf
9yrPSHly+tLHZf58l+wnD1a5PWE9MUN7ruoZ/iJEPYi37GiXXWOlS0NDTYuHQIhXT0haKP9EX/GS
aYgAXe5GuPCZL9xld+kyRtF6VzwZoUybjuAV+0QRKXeHRqSFQXpykr3+SY5FuyTY1Ca58EHxEY8C
JlZPkzPepZifQl4K+SXwa5/Sh9OsdEAeOz2oAWP79MU0g/ZHCsBo5U7sYJlf2wt8Eac18YpFDhLs
A7L1X/gFQWHPwosxA8FB4c4ykDThg+eBQXqQmjDbSw7eRJNhJauGbXSGoVRptuhSYb2i+tRXwh3s
6nUVyrPhDO1Id4AEEhAZFVZvKI4LrKL90w+85/0KwH2DPlXmhFR61M7C3oQxQn5V8XbZpQf+6DW/
Lz9AIwtfWmkQ8x7R3DeNxUjT6NzksfpStiRQMpkhZiNxZ0HN0cEwGLuW2WitQ9XIH+sdHSnT0Lti
pwYZ8XWPUWZpy2JTHrDDN/hkAbDRlslUlezii19eH5qv4cyt9E78pKJGahaetp3V1XJqY5vIz0zJ
ZmQGD0KGLisgLAJOcIiFnNndH/JlWx4MNHi75kuXeLlx8GUoaJ35XaQzPxqKw/xfwNaDrtL0hufi
rQgS98TfBcuLAnlvHu3pWbIQEKfYBomYfbPxoxDNiZu3o7dodZ4vPN+8Vu9HMGJ1Y7ROlTlFCIPh
0cCcl/8e7H1KD/tYB91HhSUj+pt4lsFDvV+qyhI76yZ9irsz4g5IAbKbo7Ky6+9aDrIuWEgrNd+U
3RbTAby9d0b8hCKmMp4m3nVuAnHE3QcnIwLyKApn0nMUucdXtP8ujfO5t+MPbuX4g6GuGd3TGTOs
9aZQQ7I46xdnhya9vNPPyGfd5iV9Grf5e/zUg2yg7YwEqxIgL9uqSLJWoFxcDVozVwLe3DfDjMsr
pZC4xa4Qv4XzvUnEiq/7wnctbA2ns6uliFPYXMlrjoJnHMLpDbM7r/HQOPtzONjgMhpZz5wE3DCX
cFogGBPUQCfJ2L4LTXdOMmXBwLiEvM5TSDJc4Atwg3unfRIf1HAWNadBgQeDN65hUEPhy7z8kb9l
tXuUTnvc9Jxkq9K+Za9thGnIhwQW75KkLUjLsvXUME1spKMiQWXtF/Jk3Dn426qLbavc65iX7s/a
8gxvCZPIzidMYw93AO0LybaR1ywjvnJrD49IQDWcb14rxT6yY2zyx24BbnwqAkI8O6w9ePFDdWsU
tvodbcdl8qOuXAIZAJb1bDmYdvMD1C3sSld+Z9CNx9PZYNhx/Dw/ZJ/9snySR5z0u7v6TkHerDts
opt4pTNBnnNAFtihYNYmWuZb/q6HuVurTnVAMml4J0jTzL8Ve27i0PH0D3lj13cn/7g3cchNw+kR
Cq1WOxod7wmoTVk1SwUPBhqwk42XNYw8bK3XMMLRgmPSdhjeZ+vR3C9dFcUZnfFgBRUK1WiN5nV2
MfW05+iz3eNT6sZfdAbNWvNqu9zIF64irsYWyQ7YtkP5iA4kDUCCYPzffWG0j5E2em+UoM/jkiAE
47m+I1cLyffo6xeny93Fc+UJuKTyNFAWeJgIUbpbwD02yuCgOpwfCm/mDB432mPCprAXg0hiI54t
Ro9uvFzctXyWhjlr81Eh+t4Mmxk95n/tpEeSGh31QY2CBff96GAHXd7BBw1jiN4E8MRfxX3Eg4TX
bpDcx+F8FfgLTv+c3A934LPuGCJ0aDkVlX3z0T1elmXYfpnLc8gc1a03NbAksSgHUwaPmI2Smw+y
zuKvWZAbWXjUGKTbANQRo72f4Y1ZDmoTFBhyhaen3E13PYYUdu1En4wxy13uR0/6st7kbHo4Dz9c
7heryyp7Bq18VHHk7wP5sX1sSGBpXKEP+MvSa3HPZMWtPvBwQmhGfsMjhdU5zDf1Jr0zPBOTGj5C
e0sOp/B8X/FMvDIsweqg3igrEaygtPCZOT90HOBHh897hgGd1MuFsIoBr2KkdssLzp6SDVJvfAhb
IUjZX2kPv0b88XBQeubNStiJOf0yl1HdqXdLmJDIj1IUwDy4cw38XuP9atjSZx1WhxInjPlgbu5P
G0SMAJk7cjQncTVdbgxS5b9MygmuVPWFJhuqqV+Xg0MjtY22EKlNoIPNEVIsInsysRRZzi4PnB5O
gZRg3mnYJlLakeLxstGxmP6KXIHQEpQwtNJIZkmEru7/D+irfxke/LbCq+n2WSf6eSiUxW4udprS
kbDfc3LvqLCWYQ/7ywbml/K7edR2o3+4dXGuCncu11Qp/bTYzQ4ZlIrMB9B0fnB7YXKODm+68Wwu
b45LFn/pXH/7yvOf/9IwFMZo1N2oLnbzq8UrgjjAkK0e5jtmqe3I4DLAirhGMAKYT7aBAz3jriUB
jPCRZDlW7gjl2fSZyc9GFyYnj0ICaocI0JompMgORQklFhJLTjK8YuZTCw+pFpzzlXKpe5hrAM2Z
aPhTR1MeYpS58w+o/i4vdTNbITHJJfLnBJ2wbTcXjO/DmTxQ4uc0eymEi5QjUPUZKuIoEmECIW/A
sIkp45OArNUsgEiiGi9qGsqnVYaL/kytMdbz6akscrf5H9LOa7ltLevWT4QqAETiLRGZxKBASTco
SZYBgsgZfPrzQX2qt0y7ja6/b3bVtmUhrzXnmCP40KTB1U1cZVKrXbclMi3WvcpJRIddRJfWUPj7
MkDEXXmNsmvqO6Kl46FhpoUtVHGapKaMvftN4/TLQ7kB0rpa7mQj46Fk4su1P8XaZ5w8RM7FzLEM
NGvVCWcvfWHK17vRBF7LPAEXsckJ22+yOprJX07jBkuLBDlpherrc/BpIV/G6ho5t4LOIbXPDnqz
iY/gD7DlLwe8AdCiJCmiy1mTD/GSDkD4mIEujYNc3TD11df2N/nhGfofPnpQu3+61JuPXlIylIOx
Oj+WlnA/6x0dpTfOG9jDsh3gwRqz4xh33YH/LbjZB38rHqonzVVecT01Hos3fUEr+NA74RLT62qw
keZ3VHBjs4at5xvE4wxO9GvvpEtAdYEwycFulwg0rcHUn0O3M9PQxuZb/Yg32MsPdgBVVZ2ZxU99
D3ib0c3J9FMNdfFTtCT5dgUcjx39U2NfnrSVumO6iNgdDsPgnGlk6CUpssn0vHhFuVDIEnluYWbO
T/ylIC3iys5LbAW8qLSicln95JSLxFV3yqviQpFuVsFdmsHC4z+ze1gu0nP7rLnkdNiDGxBSg7T9
jraJKlnYaHAByCcAVvAgW/tv4UMAguSAgISlFy6vz9wrGvk34kxou/VsB1+GMT4N/gNAwGyOKAUU
QDSDtbHSF8w0LCgYjmzWGxWmkonP3iJYE8edFy815ufBQl41d9DJn9kVU7tlrITRUcFPctX21Uf9
3ju9NdoLCYvhZ7qHjnU5znyk7IvyQXzDJ17DheOuexIDHKoxqcoRE2NAKeLpf1Sd/h4bTjOt7TnU
bobFUOaDhbECrsJf3yK1CtcTSwXZaceOn7yJZed21C0fcJxSq/6BkkiFSOMvqkMKIaO8w5iUH+9e
R3ndlR+/LrNVvi+bRaBZdNv4YdERI+GfldtzRsKxSUuc7sNn2iDVa7ZpbhEpCNYqbhkE0q7/nG2q
V9WpN4qZ+k76I6GT4YadDVbuYrsToJRqM8cwLGRN0BDEx+iHuC3BW9BZHTCGWTIQ8jS+ZM0dbPlR
px2/LN7DPXfrs8YvAcrlCS7qUy6bzd3Me683LMivmIixVppALjWGOZmZkycWoQK/l/ARBGxxZfsC
gY90hmTF75OMhf5OvgU5g/SqM0cxr2tc+T3KGltZjdmR9bu/Gu0Z+Adb1Yt44NEDQIVrLCOLYyow
EOnHF+F+bHlDJ38vYFTMkZ9CdAMEeMPC6b3pF/EHbXnPP8dW6DXdnftt/MHSbtGEG3iY0hlWPRLx
GlGyusE59z07SKd5/JzAQiNwg0q8HRMZ0H2K1KP8qtGS6qied1rr6dJjTN+NbLqjisv8z+tlq/jH
PD/ljVNFbiqhAnNKTGYavGHKdVqtMV8SLoujZhnLrLWZdfWnsnDpiYU7uB+wtFHdDfDBHP/HQHPJ
gBbmTF6c8rWQWsQdg+6/svvQEZ9790rwubbyu9X8zQ/xL18YGzE1g81lQ5eJveYuMkw/wGmou2/V
tUTwZbqDFi2TzxCLC/oQcUZqyJrWJu0eRWEVlNv4sow1B3/g84tES5XSdQg/Ma4s7yji4+tiJu3Q
9uc6dMTF7LHYqz9JeSbh8snnFzLSsSlNyXX/pK9SvPZT09yiXOXYdSY5adnWQDep9VQDDBG3or8c
6qUIsxZTMZZQvpl8TV2QkZ93OeZ8o6pNpOLFd8/JhnA2FH+1bs5ZKJlvE5miAU1qXrhWiDI4xk+Y
w9rl57BUaK8DdaOoT4K8Lbrn2fVR5ldj+7JNmYIyWSZTfnQ2Ii/Ixi5lhwblrv2sIVHZsW28z59k
TzzhZdVhSY2fVnQAlHXg3xCcnpC3kuFgpZF0bQYvKXNx4SHdEqx4xxCDnedynx+Ud2lLE2Ws8d2R
scc6g1UzrjWhjz5Q7NwbRxwaltEqXc0ocOdLuvhFSSdFyWj/5D3b8HAdvH+h0p3vDW/849wkXoU2
H6IjWW8lW0y5ktGjMvHBHngJg58AKQJ/8NWiH8CUI7Dku8NjSqzFxcrhRHrZw6j0SV3pZfD8U+iN
Mht9+di753vqfv49aQ97iJ4rAcaeTEMZ2tG2XNFyIVaiAV51WIxBMRcXslPShc2ERbNTIMkjIVyH
r/Mn0jA4zSsMdA1rTQpwZXNxtGN4UF/KrX8K7hH1b2WvdvlHCGD8k3+kmaGN1Ecsv8DGN7THriNy
72c29ZW4oNPeY1ILDZVbdN1yw53rDgzXJSqqdOGc+Sd6yPIrZ6ZZSxC4cLDhIsHy3vNHodnFrvDQ
82nxOwn+wtrfijY6jt3NTiQyl7d7yUhpvteOEJ5ohnd4fm/U3VOx69bYlLHr7KJHPh9MvYUH+U7Y
Y6Nt+q9zT136x3NkCkvV+nt1Q0bx72XdL5XGTT1VUGRE8TmfH7VXDivdB6mrQrdi0V6xq38aj/kn
COtozqhtMYQP5c/o8pr6u4gK2g+26E/x5Fzjoned49J1l8kvhYoy4Cda3dAH9oWf2Ji5sAp9ljGH
eqVUPtnwjZ/suAymwE29nFE7r2TJfqavU9WONo0dMSzLNKfFhV3aquUhDd08e73Klpivu95jTMPB
2UwaN2Y7yszyhX2qH0Udre8MlcNK/4jsFB+Oul3NZIvYSdZ8ZPUIjju36Y5YaH7IwY4gMBGUKF8H
dYltx5dTxQNbOg8BRU5qDY+lMjrworXtf4Qf6nv9Y4b/NR0tdApLfcdU8nxgQW9YsVjoNFpjNyzY
k9mIz2sKfhw4WQhadp0crhqmb35B2KvZ43YDYeRqyhij28ojRxsulqFx4Jm4ABnNX6pPdgbcvB4w
ayzvYcFGzWI5wHBCn74G5jVVO90NPzH/xYgfC6qHyKoeY9Xrczas8mrF9SmeH2rNnZN/6OOnIzDO
PGPgvgKvwv0M9cIiftJeUp5v5Po/MIjKxlEW/9XwWkQjA42cja2x4tYpiAiuFgYLwHWRs/UTlRiZ
yfP13e9d+aWuwPPqE6cd4/dwKN9BQdl4Zq+X18ujvLwoi/7YeiPN9KFWtwHRirT8LO/3PZjRu/o6
ZJsQZygyILbRKb/HV1Lmx98iurvn5jnp7FG6ly6lu0FyZMgmdrdns8I1jfERv4Khrv6oPMTWwKm/
AAwTs5qfPiQ44E54YsIf++uZb+Jcvu0CLzxpum38YNEW4LxnLP08EK/CfYtv23BUxhM+A8sFZBD5
I0aWRyqSOsZgpJTWEl6kS5od8LVQc6rWLDEggkaC6gfXPt4Jlr4zljx2XTgYOigQwXnpwrtKeOxf
DZg3kQMRShBfB39JuufrHDUXLpGpNQfUA4I7pseMEDXRTB4S6+yQAfomiFuJqRJgLuxXcJWW1Vw7
leKOUzIWbwNefLXDbpOd7Sjfo825mPGrVi+vmqk/GR/UfTgzYuDOJ1o4xL3CcC+8WkWPi+UWsZKr
7AWhS5548WDl7Dyb7AEuP1jzu0pIjgitxtTZFGGVmyVv6bv+VL8FJheK8RsErotmx6/z3OGYbHo9
WDsTUpMiAiQxckB9VG7PHN6OWThtDAVoWcau2PILz/cdsVOmmFsXdMEeUJoSvZAlVm/55WcnY2OU
nliPRShBgql3XnyxZu0uxi+CpSnz/AovQiwVqfn7A5BUJduA7Sl+D5we+SvVfXbv2+R0jtwKaK6D
y4ahmufCujgq7zPeU59BedLCl5ngld0yNDa+iiKAXDTNp4JHRZtUcJJwd+b75YYxVAhWs4cw2l+3
g4fHkcx9lhdQjqErCyzrf1+cpT+P0//pAm8m+GJ0mclDFoX3I/6C0QksrhrrdWo+4OsRqBzBcXky
uWc+tSfcjPF1X9HlLhcCDMQXxEoXdH+qE2CrGL/6FL3YCrb1NvfJ0lgX6r0qHocLUWydp0Plwj+y
p/gM+lV82WboPdJNui7tIDHnj/qWif5R2UH4uVI/zVqLwisBO6BZ+6EeSnzBwA6WVIIryW2Q3bhU
CPIiTgjBXqXpmn9XDwiMTXEHKV85P4ZXysK3YbYZSV+Y17y1h3ODiwXTe6hq1hxqO/HC6SbONm3k
Vh363prVzPZLeRGd9zWrBzz+boUNBtsU1TkPfaMTBRI6ZUIbJLiB4k481Imba9y09lGWNJKUBCPj
gBdNtq8eaILTPgUwrQl5mMDwfhPh/2v4/u936Esz+Q1L0/KkudQyh2sR2jPhNHWMWzmoAKDUMP8O
t8Z9ZxErgstL/NxTO04hR38Ajr5XGMYNmte10TyPLiG8HbcePXrszgm9/4Ph0u2V3gBUYj7rDT3k
SnECZ0haoc0cJ0ojLoRKbYKN9JurwO3RbuomtYql6yXhqqJlu2ncxG0cXijA9Knb9yfE65f7dwtA
nQv5PFNIzx7dUro3zcTX++UjW2ajF8kUt1m7VR/eXtcNy0oRSrlIDK4rJ7zSBPHhfbka3qV2AjYf
Zvep+BQ1HnF/AQD9KwVAvihUkx0yl9xq82Xmsb3c96+XF+0Zp1O7hyBDhKQzA61A7oPdsklo7H08
7r12tj/v/V1vN8vhQaB4wgjPiSgMV2j7CJtYkRq0H61B4Rk3E9qDqdXVuF1dL9n8rI2p5OGSL2N8
YXDjU2d8GV83FwdQFAL9m+GMAsu/LwLyH/A9TYJzORM1faZrX/jft6+yCctSTxLAVBYBTEb9e2eW
oQw2ubNKvu59109W9T3GP06Urdtgqw/s4aFdU5WNIas1VoBejB8xIfPtw8S5/eEN+OXcbt6Apun7
s4Bu+KC8lhuy8RAQGpvqkdk5wOdRN3W3cGj4esImmCPWC+kzdacUDH966X85iZuH04UIQ5QZMO/4
MeeKmTu9N1oXJsBmOzrQiQfyJ+baL8e72fJ8Rei6QuSixXRtxJZcLpKfaB2giKqkPXW2bwFcseeO
CROahaXfkTJycY0X6NQiZyFFTk5AC/QLaA9nbhFZ4f126JwypqeUJ6h98rhH3GLx316fW30H+VaN
WKczBjO1G0JWoY3AXLIya32lMp1DX0VynBWidHS6jbSNBw8AhbY3uJ9SkCsTb8tv21ksiZdK4EH1
FJFJtTlXmypaxerxrKCbA+cLGVtBWNF2peJlnVf0Lo1E7dtptoIUIeR2aDWdJ2JGY4mFxfxmRrhY
9pLMXcyURXIyUcklZvrqy3ZSePGBSeiV3N6pffIPtdb3F+B2n7zEaNGSgC9yVF3nnJnhAqU3+ldW
o2Glja1rbo0FsKeb6VMCzQVTdF781lTjpV5AxFqk5ROMITe02ykmnzEfN8nbJ/5tTqmMVcW3BWM2
L8skVcUKExt5hdlpuOlWaj1GmeHHXhAmglJX2wbvsBYJ6WYO9nBFgcQA8+LINC/q4vwTN44Kv0W4
h2+05NqjJFCPmwP69rwi+wBkfF54BfOUXrIMulQlNzu4YyWjMXsuWhfjXiTjHIWgBprKPAJiGPN5
mq7D5XSuFzT1zSqFYnxZKK/aIdrEmkdcHCLIzRUjLTLDfw7H4Gl8OUoPhlgxmPT4/IqRzHtA4NEA
aDNl20JGUwDrXXCEgaZ3wwXNPvJnI4JPsIgRSqT0SyZu9OgSNBvhWPPFjod/FmAhDpN3Ua2jR3Up
YTeCFbNdMKaHC7bFBuLF2ELDfS8jICxBWBRrXtvYESDCNu8oZrWjtNcxjy2sJmIoDmNyPYJMs8ae
4SNnSlAd3tWZlaBmmVkGia3ORXFw2vCkT0bvnGqZbq4vzLyr1LvgupEs5vS1Zs6inTmwYC/RqoB1
wviMWCkuWsO09km4J09G2eJTCEm2fk43cMtKhFUEmC2jfXCcB29NtFRW8130AOhguCUhJ5Wt6BZx
Cf6hsaHsMTRYUkzG8yV/fEXana/b0ePYM7hoeTEvLV9282qLD/PLiIXLI3yB0cUM29lq0TZ2UTvX
B+X6eMVpWDnk1NC4QlZuimbH+GH0BGa4cbiPuBGbFnLTsKyAui6o4J/msDj9xZXRh37CniwHwrS0
PfDEe17a3WdwUI+aYV/117mB5haghHktOfELPV/lcAZkp9lel+UusvoZgR6jh71vKXsYX/CYZu+Q
uMYcjotbMuaGL2cQjguli4a/rczSwOH0fX4HWk4gnXB3PvD7g1XVPUS76IMhx3u8S7aaCnkMc5XR
2tBs1xDG+hNjUtB+WF042m5DcOyQReW9KRZjIMY4UUxPPhSi+wtrz9LYYEm3TgsqmdQZ7sa/xhWT
iBOgfFha/DYwzDvjoTwVmLSxEgimvwfu9i1m9KhrriduwziJgAYW7fJ7iHyXldgte2XJmWsq80T0
vyiIztA6IArjNY5BOJIchgBITgw7RrjkR+uIdtsFW8jwUrXPB6216+tHggF8+zXPJsQA8GyHgXfq
P8jis05wGQ6fsAGbgGGAeIy/jnux2vdwZwTL8yHeEXxPkgkwTGHrZ2fm5fuvfK+OC9JJekNWdj1d
RhN6E3NduziM/IfQ4VmBYKcLdrwZxiaPgOkPzArMs8KFJavLIdsKdyG+3iNfAsJfOnfI8DyMTtdY
HG8TJizVXXHwi8eWLgQcobVJAVA8I7IL97KG2wDZ9bJPtuUJL49XQPtuUYPySKAultyjOnB9wRXv
eb+gG1ZEkYWny2d+ql5qW10lS9/Tj5A27gJojaZmYXh2xiL5DYAcc8sxnrjYBCwL2AN/XDBNRnps
nz/heSyjd9yWA1irDLTLJ0RrebnoV2eGfjsSE1KSxtW7YAtDgGCOxG5XCdPXaJE88x/pEN9dV7kd
n+LII5FGJtphQWObltTNrFoIrk1MgOZbmWXtMt/G1abhK1OxjCHlEyrpM7yBfpX6ew0qHwjQHQgK
H43iYJanBcxv9DvudbYg5AeJUqV7krSaRatkxuqYm+gWrukPncW49C7BW1oxyfX3KooeskYy5hVq
dVQqvFyG1xqBNtsXE3N2jViwUXLGTHir4VTmn/L5OGve5fl7G3uZ/iOCCbWIEbQVtZcrhxQsC1eV
/mf4VkCXuIMaCVAfPMzEnR8dz/WyI+UguIskL00J+Bnjq4sxI4ZodNntrs5cfDVgPkMOy9xWdiuY
ggG5D14GJyy0OuZUhvp5Fk9xuymHRwTkbY3BBOgQd2SR312eY6wAZlZvWJDc9E+NlLd6ORLKCODy
ZKfaxV6KUZLmaFenrhbiw0CS4Gv3AAhVYWm5jIDVLGQJL93m+sh8SF6sAIzqA6w+E66g7JWry44/
gWn3qjFN2sZewLyXRkCmhQTOw0Tx4xKO7CbmNY8kRb9q6wK272vN0OMgn5jA7DCrZCgAvQkQa1iT
cLzs7uvHwTNOEJwwOhRxLshGY82zVZ3CBWErZrRVL7Z/J3vpo/yuHMvH9JE5gcrAwzj00VOr7nPh
GIEF8idexBgi9UpYdeyCWoQqLGCI0qxRnQyRqQzH5hQeCEjpLgf1B7YE5O/R0gseSEgN0y23FdZW
F4luGK3HHmvLHAZHqMspASjTVtEnxG1cbqp8padmr9wZs2WHiGEpONGWuEPgtCR5brtFQXgp8Szb
QHWvMGXhR/WunjnNekbSOsMOxhyn/HGub7KUEb//c/ZCohwD/M1lp1sFju5MMA2z/ShdwZpv5GQB
CgQKgXsFORLKdlifT+HjNV+oDNfExd97nN+c+uhyv5M6tJv2Ir60uSCLMJvqjxErEB95TQXAAqx4
75K9soYA+b8e8qbDyLP8Gs8SOgyZoZWD11K94wsxP1hJyA8CCYIEOekvO2Iefykb9ZterrjIoex3
/djLof1kxJ6NRNzjFX7nqOy/7KYsZf+EN32/s/rNncXmPIiDkjpacUvVRuTbYvIxi50c1siGlw6u
VokKoDv1OqHxdFSwawn2GUu9iWc8xV67ueGar+tnxK9jj12VH1jQQIiHKPZG8ip2E/3T6FU/DdfM
/tSbfavUb3szQZS7cyRJ8iGJlnOJEfrhX2jU7L31PhoLY4ydqjDzWjA5qWVTv2J28BG+zV2FIBeK
qRUxDmjuLnwYgZOc/n5Tph7Pb+1a49dRIg/jTZGcdhk77ai/XKXnhyuFuWAXm6sNUTVwDpHmGUjE
MJU1nCSbsuSbeDFv261zHvmzXOfFJPKB68Vr64mG1eoPzKQYdligL/9F1uTUUW+gyEy5Gmo9b3g2
PxloQpi/Y1cOF1d9Ec8erzhH/1SZ3u4JaAksaUkcUzzyAxnYMdvTs1UqvAC40Pl9gYpNfXU0ZZme
PRbz1KUFmnhWfwBOv39Kxng133q+szRr8kot5ANT2WPTbl6hnVJ5yW8y3PKXEunAWEjPGkc6+Q/R
G0z6AhLeVhV3i6YCoxiTNc7ZCupAKkyc25+kZb+c2w38KV7nodLV7XhucmjiZmFV/ZLaHmMb4sjA
aQ5j9KrOqDwASARU/pyCbP4IEX3/0G5w0abQtKYrR5zKHcGzqzmOWHtv9poDJKamwFDQ+vsTkSa6
cONmOW3PBfXM+G23zmi21C6aLSoXk0IKg6H6LnHmTJMnbrWsTB31ZkmdqcIsaDWdXnVURXr97IiD
Fly5kozBzgrPNonNhWhGpd1TaUdmDzDIM4kd/ae4YeAYeiRSQkxZkFO5FGKcfs3Uq9ejyAVHN+MN
8hbzbF6fenkJnKa4wz4ofzh78qO6YfRGVEQyBilgZyuQ1pCZjMlrMsjfBIpUBDJveNBB0ZEuYw4r
zJ1KszNwXAOpg0tGCOFOJGKW/Wrekskyv/ezTyJelaf2vtheHocI7qbVXO4KKHDsA6rlRz8uEA2Y
mpO+7NP57QpiB3QzozT3WCvK5dzJ72cbYopEaddJSwMpXcJSWZrpXn47qwcRNQrjWfFL/9UVTgU1
aAVRAWQXQwO7wFhtgcYPR8fwXvU4kyVF9HN2IsAcNkPFdaxJJtTIvQtQDn9Ez/6qkpbzZ8I/+UFe
NJKEG6zpkg0mS7qwK888dSfJTTh2RngInzPS3Y8pQAElmYobxnpuHAkMnbl17bXS3SW1ztTHhiWT
SQmcaBs95I9lBwmhfe8ohtO9DgayuDLfpDvaKz86/VGONgO9Qs7GUfOddfHjrH2vjI8cswKGg59t
T2jXA64/C2H+nNWHvju2JOIO4TrWmX9j35Y8BllszeNFmpFQu2sCfN2MhSTSp/rv8fk5Lz8DWQcp
AMlnyD9/5veKD1nhic1aIUzEz8l138inkGQaS+8O1Yj6IGie+Mam9s+bbXtWd74S4VXAZ83z3o3Z
0uPAaBTmT45WJo41vxGDXqW28JORTAxT84lVdSzI6HXtoUVr0ngTVzax+8zHs/m2nut5nfUXoRuP
lhzl7ngZtt02pIXt8EBX0IopcLYmr/FPo4Zvy+TXsPf7UUkbjqUI/nIuWShO8wfJOttfARStLW7I
rIOCMMqlpgd/0p8w1e+Hvt1uY7mb9+Mmf/k5GlPHJLotcVM8U3hi5tjiZFlKy1DECKnxJuvtiVVz
frN79lUvtfMcZYfixrWNscZoNw7pJCGLx81A69At0cb8/Rn/Zsl301jMb/bFVvB7ra4pfyMWlWMK
Q9HX1hesZmDVjloFwcTaX0HspR0jwnAwXLhrsSrBNtHfzdBS9cWjOH+Y6gNmf0Lpvz+Jm70yqxJB
CUSeRD9fXHEgH3R6ENHOXhkxvYiNeX7sR8TtjsUPym9AFO2+2dZ4gQiQou66H4K+Hi4b6cwZzq1C
O/z9rk1VE/ObfbVm2nNOz1QTHTarIxsYCW0JJEe5juepuhwt1Hu7Ntv5hkBCJgK0wfXE5i5PLQY3
22w9qDDuy7FXgh6MRDfwhsfRRwryEho9XH/XeDKbw0Y1Rc+rTjN1auWbaFjmNyufEbaXNr6w8qFC
H3sGDKPPq4s9ngMMeAvGpm7ioTlx3RO9sCHeLIJJf23makod9f/n5iM9bSze0NCYzR4vj5ep11H6
+5pkiDcrYVWVxTWuOeQFTYLdUiSuyz2xeIQz0ITDNyJM+4lx83QLMHm18q+LsDhLcyUJvko47Nng
4w6o8VEwaw+Dk98FBR0P5pCTq/Df135DvFkK9Vbr0zrmDR9vMs7TYzzzmL9E9Tg4M1vPUTlOzbQm
ylVDvFkCxXOcDcGcJbCy29AilV6xqy2GG1AGEwv0DWKx00cT79PEEmiIN0vgfNC0bJazBFY2fX/k
u514mO1nCz+xvxK2Z+2e/MPRE36ULaurfhwUykwG0N8RYUcWx9ReIP99IzLEm+XPV+q2bxM+bRHG
eIgUY3gd0Jw7zXGGuvv6k5WZ1Q7zV1fFoQHCW4AnDIA+/FIihxJHEDw0ko8Tq97fv3dDvFn1dDVM
wrAChMKQ94r4X7Elz+jQBgisOQC6iJ93Z9zL/35YeVzH/jMmZIg369xVFbS8GIVc1Uob8xoxSZ/F
rwouDoITSj1MCOUJktm4P0tu5N8lkMc/xGgTpDsi7OBklzhESdUCNS5az6mzm/pQbhZBv5bOtQyI
cpjpS4Q/lICMLXIneTU+SV/tCbJlBgHkaMsQW8ka313QoD0jCCcXCh3x+n9dHr+IQN/qp+u1jZuq
+YKRtNIJr86ovsToZaSeArc6/jOkfNUyJmb8E+2tId2skVpdUgfXvB3RKIFc+GP+7Bx2HCmsHcXa
5HVOvI1f5/PtOucphAJd4caTEtyz+0AzHhmtpmEp2EdDNARCH9UAZ2nikf/muP1rzWR8LWPfjixc
hCtelSzJNTRHeMtWtY3QIX8pHokP/aTmWPpvf/8KJg96szb6UijqM7WSD/5jufFX81Ny8Pdzu7Iu
D+Wx241cvNl+4pgT7/bXOX27UD3zr1d9+Nd6TDBhRTCZ0+ZjsWNY4ofsCIQFR7bAhPjvB/4j3eif
8s/42o+/HVhluw0l46u+0mPcFR3UZp/MA7FU9aXnHFtvJKeQx4UDK5B1jS2mpWbKRD+TSSp1Kyi3
SuvOZbLgxP+x+DO+uohvJ5cGTXQVR8Q4Q05QPHTishge1ZC8bvw2AhhkyTPxVYiJghReAxUocaUl
49T/+Qu4WRi7SB7aKOU9xC1grI6jbiEWJLHF75I6Un3ooT/Q32FZMrFlTjRKxAj+WpTItVyn0rhl
QpGEn5HfzZ/T1kX55uTrwUn2Z9QP5X/JEJW+yoC/bAi3HlhC1kR903xt2B0i0IutzjEKciu7Vmj1
vRBdTbzqsX5jYvWVZqRku0TbVKMEFuU7xVoXrAVlB4HOrD3Y/f1SPw1vNR47ZGviWwLVr/LGDKqx
rByeddXJC1Mzlgrl9IuKD+MeC3g23vKl2o4YTfTWnd/qYSPhknCesyDwowinr/ZwH7Uxsi9L8+8G
7LzpI/GesZmFSSZAyBVlYAcrZaWNcj1enlcAUzNJTBGXpMAVGqcefyO56ooVhHYivEnosXIc7DLN
NHTDMSLExEroTRW8ysTi+tV7fHvHO3+WdkXDlw+ZRdorByyOZh/QF2qns2k2kkXzibXLsB3ZEZio
jOr66xbxEzxmpJsI1Lkxo95tqX1W467jhru5SYwYgNuaH2Gu+Ip9RqEt+0fIUtOExf9QNs+lEfSd
G9JtrdKdSz/OZ2AX2GbhC4P90ifCRxerVMxTZqa/YMl0g6k0of+wSv9z2JtPMgsKIRcVFq70A7pV
6/Y+QpqvQJDGwZHmatdzjMDHCGP370vm5AXffJJN0jZdk9fIvgeekWxK3GXwUmoPWLA0LMyt8Mn4
Xw97W21cyBTOuryRD2fM5ikLefkFjJegWppksJLvtyW3yQumZg1TN/q22tD7cxIEIc8Xxr7BYUFb
6YApND7HT6i3yavBO4QV6X+8z7dlRxXXSZzVlOb6vYxAm4fbv49lt7oa2tEJzvk/N2P/fqtuCw5m
QKGKFYh80IBBZqaxumL2oWQOcCYU+dTGcJDJoDyF5E+9U19//20VaOdCpwwxwzdxJTxjdI7Vl4vp
Um0bzyP7X3z/r0Y1f262/7nacW36dtQ0T8VeUTmqsq1JXDMjUqA1tNFjIY0H5tXEEAm/Ww0P5ukW
9M8L3z8Hv+m8umCk/4+Ddhy/UGwvJMaw/ZqoJR27jJAFkPx3oskmX6s/d3z/HPemt0oHuarTnNcK
1+Wl714xvzyvQgcaiy1skVl7mQPVA9Xl35eN/9Bp/nPcmwUrUQRZa+JifMTXTZwv6Hg1Kiocj4gt
3RnLK5QgyU2vJgSaCDCSQaP+MJgJJmrbxLeCZ1TPwfN/sZ6NuMbvm/w/J3azngnapav0hHe+fr46
3d3oVxIS7MCJsXrOJgrOqTf9tqSQRU06z0veufi5Bu4I1nOchNw8wToM2hzSQjN1p1jRU2vY7SZb
BvVc8WMuUfBaArwY43z5uOwxfoGQ5cT4IEF4mURZxkf6lzsr3yBKwWXWNEXMKw7P4AkLNRK0maEv
uu3IWD8vpcQSEoBDBe0x4Cmb/t9fuf/QKP77yco30JJfVJehayhbfbwMVmFjV9QQghkOGNBEmf1f
KG0mPuovBOjbihLkQhL0Er1TFJvh6DPZ7mGaSWxT9ZU3ivSbESOdv0xBF/8B0PrnUm+WsiwK2lYd
SnpUrHlgOo+ajUc8dsBsxtghRN/O5Fv1Z1j4n2PerGCXuAjzOOKLHuVL3fZfaCx2dHcisuyJR/n7
jWXX0SVNn6si2pCvUI9vN1YSirYZLo2+F437xh4lKdJ1k0HThbhi6EuK3IUQ36VuOznP/329/PXI
N3cWlkGnoUjR9yP9fYCt6mqVo8N2n919SFdPMmNMPE4J/mdTGSB/WCt+PfTNDS7qNKm1gYtWRLcS
t3I2KirgWRCnU7sEqcTeNcOBHhLBbArz/8OS8euxb7YJXSx0tQq47NGZG0Oo0QcESUJiDgLhlLje
YzXPUL9JvYkn/fui8euBb/YJFf6ZaOgcuLzuDVeTX+TmmIl8unN0rZlzxvUdRzn5ActoaQevY7g8
3A/n3cRZ/A5I/HoWN5tC4DdJl/Wlvg8iD76WtCecIXaGfnVl2mKjdE6Bae0W+c/U9f++Hf1y5C9Z
ybc3fe532cgT0/fnaOnHKzpEwoGktd4SkbjEFzfex+4gTiFNE3dducHU9K4Rzn6V8qq54nVnzB6M
CyaP1NhS6xBQm2dPs2EnopiwL6mDRLpQt8roR+pM3PeJ7/xWzVFm80KUgmL82qg/0bTbCm6uoGvk
LUBqLseg8dF1Uh4m6pM/TF5+ve83m0UyaJVaJbW+ry2V/YqQYppFRyrsQDNDFP24B4+kvHRO6I6F
heBkDTx16eMr+e3BD0p9LtQzJ1AGVhVsYXqftwTfI6zJvKhxMJmbPV18wkIxtJsCl6c+9682/dvB
e6PCWK7jvtdkH62y+j3QHcJvAluhCjKFdF9fdzpJ9OblQmTH1L2fevtuFjphrvtpHMX6viKF1D7n
66rYX5BoWEO3xOsnFJ4b9dg3m2aPND+0s/KUohEJJ14+9Utw+7eC5WbRE4dE768BO1q0LLRFgX+X
EpMI763D1egzWiIxl5D1WcFxtPQttlQ02ORiOfGKY9bVwtv4hEuSIzA3wEZpJh1RpfyU7Rx/TKCL
ZfjS38uGhacVFB0fQ4AFwWavxTaZjXQeSD0pzJ/qDPtocDXYzSc8ezFsUMV31BRG7xIHQwFhlx6c
XLUh+yJehnPJvZIWkeLxN3+Kh41uPFzjzCpGQw/mA7gTQ2NU8RGbP6RnuBRO2sCpF45K4HGlVgN9
X8neahVYN3+7+E89TqazNyPDREJ7BU8iWlFq7jQR/yltP4hQfd7U7nM0niAyvFueMYQ0evIuW0cR
n+PqZIDNICKBs9Goloy+YsiOMJiyR22PiOc+2pW5JTE6JnSanQyPZ4mBnykhtphREx7O4YpU57Z0
B6JvVBc8pyQ7iWEcvGjZZiGQkGgjp2Peco1MSXpXuv9H2nntRo5lWfSLCNCb16ALJ+9SeiFSJumC
3vPrZ1EDTCmjBLHR89JoZFUWg+Tlvcfss/ZzoF2OgOT5LzxJr2HqS6+BjuvdIdSfGPsL2xdDv5AU
eqeQijTQgwAG9Wce0FQhI3cFPAnoIJROUL9I4cZSdhgX3pYHuE+YIry3BxjN9RMqn3YZfd9Ub4Xk
zNZTOD4x5zHvsHaQxWsZzlO7pwWUNs7ptKtgn474Dvd+6SsqXVPgLg4JJZZ8PoRRP6vc9kPVdlCF
rqLeSaH8pOoOEs6wuFFT1wMCXzvG2+SWvKKX6H2p2WX+vWwvvDRYIhQGF9YiKLV9eDgdMZHbx5fZ
LUzqR+C8eAtQpvwtE3+S0UBjXSSt2RZK3DKbVjoVw5lXTMFBMGC2SnIiX9zrF6Phh5eyP3vqJeJ5
5m7gKI2dU15oO5rBOKNb2xrRPOggsKxLdmrtcl7DpYRrH6D+G8bEsvC4QGkxFtwhU2UlmN740N+M
D+WewXYAqmBTQZFvgSQNW4rVQ+0rqcMohc0o2lKuc0O7uctwoKR4t+U5PCCr4+A/CoPdfuCy5lZX
giO/Mj4aSujo6/0n1HZhFlGCH2KvxTsQ8AaVmY+CMPGBCWn+SBuWXFrayBide6gfmWioQ5sZcZMd
biFLUcXXoo/BAsrhJHyJyZUJR8rvmUYAOXN1sly92I0vACWivRo4U7mfDsneDgLUhRvAwHjIY2p0
wTDEsJMhtLB0KBkoA8DJOIFp6UPSbbNXnpv+KjBEaQe3THwvExDGDsJGfDWzGrcTDSxMPp1K+Gyx
YE3f2iq7ygcmorCTqCPCBmbuylzgIvz/ASrLJ7FXhMVReOHS8NPNmwzfJaYDdOjOwsFKnK5BWegs
zyR1S0gfM4ynhn/I0Izmm5zj+iKEHXpPnBeSiTZsAeBOPkMWMIGHnbUT8mN4xT9Me8xY2BS0SwFW
72i39GIZKESPh9+vPB5PtvaM02de3Ao0psK9mi/824HW5GUPhpfGRNF7Y/kQDfcCFO4dc4LRC+gQ
vKnm3s1ON3H2KwPGMB75wwbbB+GWH8mfFOoOJ3Sp34qm1w5wpDxkIAxH8H9o0jOL4QOSovkwLFMf
murw7/DfTEovZcdDwNBdw8rtBLt8CfSrMTiqsZt54FMgYhiQY7uNaO6F0yHp6fqvJsH/jiQZqMD8
m+iCBp50rrYSlDrQZpOUcNIOJtw3TOdwkA5VvE+BylyMrky9A5U00JWVWOrfmcvfVz7LXKZTFrdp
Tom49ZYxyeJ28KUtbPQtKcwVs1Pwx7O74VCtRbBrd3x2mstSKMezyh23jp65FkjIdM+A2IUMofO3
7iV7yzGOK/e6ds2zkzsVhVCoG+61MzDadPV9vfBPPQl+SObiXwvc1u9eV1/u2iNeApsvYVNqiomY
phSlox1bKKzIYj9vg12M050C0CXZMn910x0if+V2/50k/P1qz9ITWZG7Sk4p4i02xDuGUSFmFjg8
+mnDxJZsLl/NWi/u+wre/61k+VwOJQuFmXbLReEMg8Bwgxl+GbwqlYb41L0SPm4sbzb21WLU4LLT
y4+h6p6Epzx369mdy+sTlAY1vI71h1RjyvMuYDxvbdUvcfq/Yrgvv/Isk9GqaeyCiF8pkr7sMG2k
a17RRg4lqk2+6LQvJdTCldDx+z7ll6uelbpyMRbzKWEhYCuCe0/MQKx0SGlP1S4DlTsFX1MEaru1
us93lG6sLGVN0jQNXoZxft2iDKVCEMWbuWXs2ANF3V7HwDoYGssfsdslfbO0KzF7k+o9+kUD2nh/
XfQXGXDT5CYZmEDC6+kIgmSEk295BUcabBIFcoITTMesJTw83Yj6Xuh2J2FlGX8nLPzr15/lXOog
tEabTiI7xeJPeXKYcC43/ZMFxJ8W87Mq29pLdsRXGN063VK7TRxxcqzYXfmevtk+/vohyz//8h1H
cdTiGTmKaB7kP+V1upef8b+rn5jqhLtS48Pgqdlm5aLftZf/uurZBl0ZYnFKC14eU+2k94SlgNQF
v8ctAlTXNc1PvO2L+jIzPEDauGie7sdfikcppN0oRyuzJfXYhUSlR/1jeNHEt7BcFPg6vmkEqiGf
ml0wzJzb5BpRbkPJhXg7/VYc8aPjsF0KsinMmV/0s5jkjBnglqm+u+ElAs8Lc98ARtjQ3U5iN23f
kmeOLSRH8kMsv9AswTxGZDwfz6w3+RE6IT4pSAIqH9QV+FucSQZM0ZPoCuNpaMa06zTgweWsbMYa
T6VpCzmtbx4lNoZs+WHaY6hgIeTrsTdoF1V6U2P4EWzBJvz81D9V3Wf7w18P/ex0OgVBG4qKLN7I
p4ms6ELArCxEVxrxwifpWTzdFcEd0uSguzUlvBZvY9E1B8ryIceoaPFX3oAfAoFgkLOlF9gcUiKb
sHU6Y6vkPvq4PPnDzEEV43W1VYLLcLor5eeyfOxx1xG3cXlVCPuxZpzEqWrivtHPNb8adkq+7Znf
jsHP3ZkYJE3TNTCQsriMjVeleOwkRn9xCvPkdwuCHunMod9+SkL/JAdpj0zvgI+ubaGaFFu3jG5M
Jhk6t+jwtPzV4guUYOwIkW2vRcbGjFO/kWnr690GftAYr3zZ35Xe/3rKy8H55YMqkipLC4MPaqma
LmoEBA4X5Kgecaqn3v78TpXlnf30Ts+OYUsSM8lU+ZBGL9yKHyKwQ1STv8erCVdh1EMOdGc33PJt
iGCIHRzGh2fYBtotXjvCk9C66aF7MJ+ZkL7BMsQ6ZPW+xhuG0DHDLP7nH7u66Z2d3Umvi214UkBt
k5XNra3/mX53t8w3MmCRXFo+puxJ7tAbWSw17iN3tfWoLQ//h8d1Poh50jiqq4KXY3UAx7HGGodN
A6fkEN2PTgCoIFzsiR6GC/y7LuCEMv2zeGAug+i06pobBcd2X/yzwLyl/hGgpoSB8bUCi8mWkf3h
F8iBv4hFExZcg8Wg08yXDZkRKDW3Bn/QUUxwQjQyv5JwG77+/ICV5cz76fbOIgBTH0VrMLk986Hl
UOmwtN2qLyPUzXGfPuFzC7DyenzvHqxbqM5zyZQ2Kiqy8030B1AAJEt0/3zp6p0I11fdkoRMwDBX
fqb873qf9vUTOR/07OZWrM2IjQhqjEGzEy43ubHmmoaTvzNuYCG2omQDznMEtVk5euhSbBCx/mIu
hjKYsfimUIRNUobNvHG18aF8E0kZOGTLpC8K4pZzDNjQKGIZpGiU43nHKCNhdaF585tyn2q+tU0A
tOPxAEMlclShhEUIcpm0vmx6O+zeNPEuFPea9KaATI97eLdgfaE0wOrx5PbK4i8qY+AWDbUX814k
FwyDPxZEial4SKQHU76supssepCHJwX5qhVdyGTqcCVqq/fkAuzaJui8vH9O1EusbJzJzVwRZsoA
LMNPkGk84KJ8PwNCQA+H0zWpNAdOy7+zN4SLvtkZhKa4DGLkre4qXHKFQx0/4sctUhKRcRZAnI0L
EcyDqELdieAftDU+rDHGT67IrzXtYXCkd6xaSFVHNlos6qzErRkGxB43V/FM2lj3WwEozOtU+VMA
F+e+ox5FRadhzOS2lK6YRmujXyaUmo5cdEx3kXqvSXRKgwdJuVHDA9XukILH6Qbgmrha9P9uH/j6
gs92ojpG3zabvXhTuBxN19VteQUG3YBTCQEXT4/FQyq/yT8oUUQPP3+k3w22fF1c5wNmwSjUgT6x
uFov/Q1i3NPQq73mkN1iP9jWbnOc8BJVnyiV5Q/C/crV/926JB3XTRY2/EdV/4SefTmelFHu8zqh
1i5dAbgs3xeUS8GofWcPO7hQa3v+N3f79/XODqhxnMzCjGbjOv3TmTYk5wFShwLNfmepu7K/Dt6D
O2mhec2UncPrQaEff6H17mo7U/kGY/j3Tzl76YrUF3lf8lOGffgbSDIODwfmz/JyO1C5Nhk3Vwgf
dvg9zE58UD8KYserxgfBp1P0Xbg+Kb1X/qeHp1YcM+Jy3baEQ5XAeqHBXjA6L35UDyrzK4shH44w
h5HwjylY7UlWAS1Ty7ySnubpWIyb+MW6tZpN+ABzCK+6YfKxj5u4VrVhbBV8NRJg/Z4omHo2R7fE
mCcOEASsC5+oRvf9NO8yuMQ7Mz30VM/B1Iyv3XCRptBjDFo2lJDva8ZJ1S0mvmL+qrF7mC54n/wK
jtKiF2TMUL0ihKPCepsxUyRfpw8MV5E0Zi/GAa2KFzi4yvVPYbTVd+IVTpavytPwkLwpXvdnuUXT
hHpzsYDwZju/FK/qhaBUGvu5uWOGXqXOCWzTZKLQq5YKfruR36ar5T95SB+o0FeLcjHcI3PUYz/x
mgusjBzMBF4K8zK+VLzhNs4X54E9FXDq5BJAESCuN1Hiiek1iCUruzDwf5+dHuogD1hz2sCrLojp
CVPrq+Z2sa64pWcOH7d4yZ2m2SgCO9/izR7lN/CKKo3A8qXAiWfDQ+mflNfspsS3cHDTG0R28zau
fgd8GXilF7bMuQ+q9ANFZgr0BQYlDk/99dweBsI8iExm89KIv6zu8lTsYnoDVtXa2AWl0VbAmY5+
hr4XpcMIEih6ZhHhPhg1TwEtAyacN/QbQCG54ttJeRY4bnRKzZqtYZz2VD8YyVubvAnP1HArjPKE
g1D8pnaray9pT96DxyyyB/G2Ti8tFWRV8pggrKnDu9OY2ePJ2EQIuOUQbW3JJRdMtrExoj9Vom2r
wZPwFxffCBdFY6+yHejUpg9z6ZF5hnwWQGARW1M5pmuAhSNzDcrvWsZWMwVUQkPaM4ko5+wV1rIl
MjuKZ3zyrCaGIxq1T2G8yy4o4ma6stSHs7skRlCHW8zp9IhVGErbJv+lKw/Ue9PsIiFx03FF9hLK
6DOOAeLtiAUSlhoADEvWieYPReEY8oE/oDQajEdY04xK3tRrgD3p31HAX/vFeT86sialT7px6c1N
7uIQAgPs9Q2pLV7ow+taIe8bPfDflzsL3sT8FNdaPdGI1h0tgOj0yHAuQhaUtXYJdEr5nRrX4CRZ
m0qK4yQEcnorgxs9Bz55RvpelLeLEgV+om2q9GAYaNWUA9XeooML5ExL56I0XToD+Ytx2qX1PgFM
7xb6xWor/99pyd/3sgSqX04ZI9UEuW94dLmMoSqbVwSTAAb4VfLa/Oofl2W96V+kjlZDPa5kYNra
xc9rK2ZlZm2DjgDGII2e8HK6qaFbyX+CaZO8n2I3txYj3WWzba9odPOFQF1zm9HlcRuvqbqBvuwk
M74Q1AowPbposde90W5ajF7NO1nCAWSjXUj1JrzOrgs8B83DKdp1OyItvvFnTCFyN3JrTIlQjN72
cCtXUvnvm9b/nOLqWdUmUw1L0DROcYAy5a5V2ABf2IIYBurdpHofu9vcHfgcHbCQKwHE2tM9K92I
XR+E7bi8Wg6MvUoyLs1O+TRdY2wOGnfh0Kf4dawGEv8O2f5eUsvv+rqkjDjLzYLrwpZ81N7Y2bk/
PA2NTdjvVIHS/lJvKTz1hE80u9vaI18e6d+51d/XX37fl+snpVDpSs31u7346b9rIA1u7FvgFuDW
frNX6rdrMwLfFFf/vuhZ9KSpVJ3TAnGC6jcL0DWyRe1uvGeMgfE3+w2G3GwXcCfnY8zeufIhfb/K
/pGenasY+7aeLCkp2XUMH1Mtt5wptMBzmX7h8KZhczhWhwWLcxrXUED/TmS57y9XPvuET5lxsnoD
UY4s7TH7aGs3CLe5tkmSXdId6TBLnPZu1Xkri/vbRfbluufflVFGsVU0xrUyPEXFs4FbibQ9OXH7
EhXbSbmeiV6c1HoN5Us099M7vrjBduU3/Ds7/vvezz4wK53BMwx821BTWwzazd+LZFWjkYnqHoIK
0OHN4pS5W7nu2r2ffWCyOleR0hWLACkR9gGjXQSGOmGbj1dOsl1sCOkZ1nZbHvHFsFeu/u3n9eXJ
n31eepsmc6ty9cbt2iOWxKgvFpdNzDbwvlKP/BjRmQ6WsHbba4/77BOrWsvIBQXV3UjDwtim5qEW
cYgMoEEQrlbbSPNEx8CFjf0V+MzafX+7nX6577OkJGwkZjrBXl0XtVec9pOLtIVAleic+JoidHgh
+ApOYcwi7IxkfdJ/5fqflIgv21oklHU0txyWvPV2b+Ir4uQVwBv0jgYOJPmBVP+0xVoXw+FkfVdf
u/xZ0NPPrdBMp8/Xnoq7epeTSuEgu4c61voYnLs4p0CmdaL0cnVHXx7tv3b0fx79ZzXty623o5gQ
ZaK96habOdG1yl+cqXQTx5yRHpdEqNkN4x2DLk7WPOXhuwonN1Z3q2tgZe1/lqO+/BAlb6uauaJF
goY7WUziKD21W+wsTIa5EEWhUPIkZe0gX/bQH25fPfvi1F4UDbnuERYTb6K6uRex1HGkbYP2UD4i
4Zku/oOZg5V7Vc8+N2s29Fo2WO/IggwAMKmLjTul/96W7JpfgWeXhR3T//MzU88+M+M0TIYkscxV
P6P02YcHnHAsjwxME20r+AUBuLysEHhWD/m8D53ecP9/G5x2htSoQ3m2RIWjxRw3g+STUeQ28o/K
71p/ZrYPXBZuNOuwn29m+w1REZFhaLIsaeL5haf+xH0X5nx3OkKPfu/vBWS1SEtRw8Baf4zaTf8a
3sDAJXa9jHcjSiSNpIx+6fwp+Xk9fczDBtXnuDb7/N0K/PLLjLNH0pR9NQ8JKu8iYIAQ0edSV9f5
CEhXDvAExi32cM7P7+Gb2u5fj8M423EmxRDgqZBKUT8WLgQq5Se7dWKBGm7Xbip5V2Nc58r0uJDM
/ZpqbWOKj/PpYlYeJOs+BBCCkIxt0g4xqmH0uDoiw4EIHDyX+lOxUJDRHK5uEd+dUl8f1VlCVQUn
YW6n0LjGaZgeAhY6uFBWmFnalTNgpfi/uyRqp7Xn9a0U/+uVl5f4ZXOaq9MpGJcgcLAhrQU+ISg5
J3Nx+eQ2OzWitQGfda1Z+W3s+fWyyz7y5bJG3GdWIHPDgy1cJe/675ODG6b43DAvBtdhfmhgASX+
mqxg9XbPoq85SgqxaZaYF8J36EO2pYwHpJvpmSzYZgobYzTZlCFWc+bv4q+vd3wWf50i1bLERf4+
pl4U0YzZa9WFYu3K2s00VF4eTdC6uGZMTLw08Aez3I7C8crn8Q0M9O/P4+xUaGQ5nvKZbYpDscXc
WnAX7BAtddAA3Uf7hLNznQHBpIS2zLtselwU3QY0/loXZvWXnJ0U0TBWaaiTA3QTLWhfxCU4uEwi
H7S8JW4K0zUWkzo3JjY50VjZn5ABNUwb7Sd1S0FsNUJd263OjpBIErRWiDill+4lBSlHcKXbGj5M
izDbctKnnzeqbyvnX9bDea+yr05SNdesh7z5JcdPpfLnBAnbuKTInN+myTWkHHwO8ud2eBBqlNP1
VQ8ainQs73crP+W7Q/vrTznbM0MdhyrTXD6KZj9TKt9SUCXfdYpgj3R2MWNr0RSuP/K1657ten3b
JqI2sRgD63pogRceaB0oS0nd1gOPXVgoDoWFXJrY1F174Z+TH+cB0te7Pt/5sjTTT9GwvPAFRHCc
RKCRDCMvdfPw5Gk4x3dU3jg2la2K7pTSMGgKNKgc62g8uvE+dEPKlhtMak621HjFdICsH+9DL32l
5tolt+HpqhsetZBhQOrBwvrpv7aPmmf7aBKchrSMI87YxeoDR+/OdBCM4y6QYGzAlAN+9XZRu1y9
3/5/jy3zbDctxbhPppzwvkVOvwuCO8yZWaAlzgCVeAiGw+iq7S6qjtZufa5l5cw0zzbUTA5PbZMn
RFz1q7rPsm2f3c8HDLBpndhmfQPLH+MQjLtXdQbf1m2+Lp2zXZSAvhkDkdTCHN1YvBD7zmasiMbC
iSKoN7bXjfpWa15SHgpEqf2hTv0A2a+98t2uPYGzLbQKDanLLHLbBjEiKT0hp0i3CPFMPRPoWTmp
jcbIwrpkcu0cNc92S7NT4lrqeQKgFlHsTx+Rg/8Flrw7oPyYomGaOz7/fLvfyDT/OrvOO6uxkAhq
OxIzTDccXSLQWwpmy6iJQNVCsmltWW7KxCRNtsMUe+md9ocJI4uyimQDErwIdCYGfv5N38iB/v5N
Z1unkcdTq7UswtZJsC/CPQBgn7aUVDJf12/xHsB5eE1e+O1I15f19ykF+xI9CUKfVZrOV5+iRgm8
ovggfGjum3nfIjOP0s2xUm/r7E6xw+hFog+2Fkd82zz5+gvONs+T0kpdP/MuSiabfBUgMFG1Ln8S
BE15IwPqXQdHrBzR54pzQ861JpYsnaCxxJ7bL7EhSRkfyZY52cnEkweLzmztdFy76tkmJ4VxFukl
r3ghVUrp0QhARwjuyOhm9Ht005pmQFHdrSystaue7W6SFvftrH2W6wY3x4Aek5IMIZV1w61GyOpx
fli55Mp2co7kzNO4EwuNESNqRbSO7eFlaexg78usgkypAs3EC3MIa6g+9bPT9q+TWJItSZIsTVE/
t9svyzkuSyNUiAXwycHOCcetstp1gSsxmpGYYJ0n3R4ifWNYugeoE4jWqUWQNWSginYjLWW65jdy
ZRsdLs+/6xK/5dsgx5GX0r3dRRcVZi0T+29MVB28Rmi3FPVYnx6kGK7yXgmuKqZC9V+CouOYe2/i
A2yEx0GBCjxclxjb4F1vYFi7rS5hQYfNphwPDTY02GNPcLUCk/6SdADzXPpFwslnebIfq768TMJt
4M4/on+d3ATDo9FTPxCqqqMjm7aEIijc5L8A5f6C5K3aqLdEEIBvTKk21Mhsob1gVtSbQJvr3CK2
03zIYmybpNElXF2zOkb5RUbs0kjlZtbayzCHFg3hoztYKFzGjRVwLbtBo3R6bMEDZPdNUToiEyv3
FuUvUHqjmyivrUi/Hd8QRzGw41C8eO4XIKiq3s30g2XX1K4tE7WPblcWaCztRR3uW6aRRAWryByA
+LZmEidIQYQbdjL8CdqrpvgdLuN+4a4utuWT/r44UWcFLO6pRCX3oQrcRIriQup8uVg09XOO9wua
iN6ea7TesuGGEeNGuDfFx4pl0SUPGXP/oy17yaGJHKYDbYUBmbl3RlL2pvAMbZ+kN+lieT3cYFFZ
pxf9Xvwl7nAOOjH9i1RSt/EzJNePNADMgs/feTabG52JIi25D1Cy8531xY75QubwhKsrHF0wASBs
c5CoLR3i+8WaHUia3FximGLpDEPx+j0Fqy84J8vnguCjuxBzD/z2ad4tt12KrzOashr5cFWgyNoJ
pW/mmFjbare1HrSburnMh2PWP7G3iG70RylRt//GehrLm7rwpdOfOLzV4htzkY/EvhB6YVC6Xcxy
u9SPOX5wtDHLsN70dIZ7PIeQG6BHq7dSsi1zP808OXsowF7G4vVzWF5ZcuAlSe5VSLyC0J05RCew
U5UdVtpOycoHaPoWvt/joAAkx6UNq5JGO4rWS1LfxsZVqLxiuopDzgS+WivaWxWnv+pYZo/i8GtI
LW9UEj7Y3h4UWhzWglGSQKCgf5cPffMiViS8M/bMhN1Lo1gDkMUk2WgyerXrDGMzngJvxgG9wTAd
S99o2mO/HMZXYnoTa34Xeyc7jjhl7QZjBgbeHDrq7fP4jJ4t2Sf+YDfIQpKtID7W/SFprsriIYqv
w/4xid7JpE7lS9K7U3RVMIyFc5UMojm67iVPUDSUiqDiL3L1yeATn04XpumFVb2xBl+7kqPalS3V
UcEVdXiomcx9qX6PCh3LjJy+scAwYnDoWnyIOnxPK2/GPxI5DB+z0W3CgM3IC+RtmEhOojpZYhuU
V7Btwq1YZuqt2Jt4CeEkVM235fxLZ5GE/R/rOoHGVBzH06sqK0D7bwuKBZJ4kIqHwTr8fAZ8nxT9
sxV/CpK/bMWzkZ/mqNXnO+luQuKEbbzsqOEvDVgpTVeUvCnIMWTldsecF4SKctM8h+pGKBzqFQ5P
+Xn0R+QkFQaE/vSUvPSw4fzytybuWDLTXfgM+BofpuAJlJZJn71cqXt/I5kmIvvnDj7v8MsddKdY
jrtCm+9UxmSi20BCAXnJhh+e3iPscJDAJJcZrkgKWqm3wSkvgd/bKGmWEsd8sscLaWAlAaLY1ZYt
vIjvkAArXMbsrrUL0THZlJDZrFQDtG+P+y+/+iyPm2HEx9Wo8twrJyveI+jc1obqjI5mtrnpCp+B
45Pxx+j3FR1pNiQkvgwcLCA2yzhkshNUTpF6mfVuvJBu/Tm5LR6gvo5xHl2GQ3dd3zb3IraL2Eaa
OxS3yR/9KrweH6tr81V8VV/zDyTh8K/ip+n25zX1rWDj6xs5S1PyNBUKCyr8NarstNloWLte9dt4
F8ZMAfvZC0VrNLPo6JlF8HIGK3GaYkzHQwvMzqMONh8bar7yWfxAZwQssHOkP/Nv7E4NhBxsb0Pj
a9K+ZYgYp068anG5P20En6nWj7wpNukrA5QnGwFXr9g6IHYEu6tE07UXeJYQdUVcymNKLUOdtmqy
NUKfEfnCnnq3Y/zDfEgXuAazsI20loJ812P78njPGwDSROASqoRtHNbKcYmHAshX7rgp493CXpJ0
jzF9x2SCxfn5zX5fffhn1Wpn2U+bha2sdYZO9tMijncMhP5EqWO2Y34D/T2EM/Z4AQWBv3Ll5XH+
EDJqZ6Wj4ZQrZq+xpoQtzlomVpIuNdxb6WA6y+jI/JgwhHoZMXotP01Pqzf+beXqy40vq+HLJqPI
Zja2Sxm1jI/wMonRMpf6NVwHzDZgSdsNp4GD6HotWP5GXP/X9qadbRSFEOSlsXxMp6NGBGpdTq7+
e/GxtvNXWm1MLeI9+IdI1umuMy8ESICaleKVxrhX+HZa9+RZah0/vYmz9ChE0GAYIWW01mFsUot5
Eky5DeWxfp2Ujbrp/0i2QBW53KNAtBzlfWUlLLvHT9c/S5Sspk3bSuP65kP1W3JUdcPQhspsATMx
uVcazhAB1py21j3RQEpWisJlJXP6ZvLl75dyVg8adewVVZ3lIKIzCy8WcrR0ETNkVe8U/EPpej1H
+EoJ171wLcbH5HSn4R41bOqlLLS6ONfeyNl+2zWj0uSskusGWaCKrWBeXzSFj/I4ovclbGv5ahie
Yu0Ng9Uo21BVh0nnRWv6ou/rNV8+krMtUeyHGbLVbFxHxm6WnHHysM9iaqF/b/yaUtGNnt0ZJzvc
MsU303nfoPGKodNVh2G+BolDMQUr+kcdv+hhZ5YrW8inLd0PC+dTT/7lG56brsr1GUEmfL5d8hzt
hPeBaUUDkbcCgACshRT6VDT4mG1CnWWOCemgrzzm6r50tUNQ+Eq7ZarSGb3MXPp1D8ganEVS+Ngc
Qxulie5Zpz3aV2PP0QtjA+Vy4OTbPLKXjmxvy28tFAiC5efiF4JaGrbqRxIdmhf9d2V/+hOW02LW
Mp+ezMhtrhA21rZJR7u7Mdpp7SD5Nv//533pZ7v5KWXOP4jp1/bUkbMQuC9tKmXz1roSBtSMNtII
oZhqeD9/wfKnPcBPb+JsM5fjYsjMgYWiT7uouCIXVm08h8XUCdjjjN5v7BPod3Tn9VPN8FBd7dnv
UHX7+Z+RpHnT4fUiAqGIUjw/QzxG25cx+xWf3sxW81j52EKfXs3kEI/PouIVoxvAMa7ZFpP2buov
eka78XItd6BfKubNwyXMHRjmDBfczGS4lnVfnN7qwJPL45T6JQZb5CXaLgt3BWa+0Wb6ID1Xny1j
AyPeopmeEswgNqFuANvK16BGbNJoP8FOhn56XZkk/+lb31+m+mWseNYh1lBjafzFXucvxp7QjY6A
Ha01NlgWP6c9zsJe4CvH+EZgroi2cPaSX6du29jNRfVQz4jwbZnQ0E+uqhszBGCr3S1o9eUefNMR
noLKljgwCCnrTW5trJDIyTlda1vcwB6XSbh0qxzCvXQYSi9q7WCn5p52ofnZ0TyaJyKxo1J7wouB
bOQoXBQy+Qy0Hy/qb3GWErVjGjojsT6B5+yb7WHClx7rVUu9k4PnKNxVJIk68Ckrfh+HbRM/F+2h
RwFllb9PPJWkYsdm/acxw6OCup3F9D4Oj3nMeaK2+1AaXVDpzNviFsIcj5CT+GY83IiUGABGPafb
cEDkAEapV4DZOSKjVgZpkpcP/4168UvApZ8d/m3TV+VJUZY6GT5keAH6+q7dNPKmBu75HyCsVoIN
/fzIN8tICjLKnguxTgejnX7Odmijq28Y9xqBTJa6Xf53Pfov+8HZyZ7IRdYIkqlf49tOb0mCEufM
1Fs//q+1RJFIQDJIa2ntENPXNqOzYz3XJcOqiWyvxT2TFkl2ZCzgFNKtDqmuodmcMJ6tp48s2pay
bek+rOwR+wJY286ACy1of3TCz/VBzPmNHrgpHRVviBPVOzuZC5PG2DAGG4B9i5wsfZCAkFvb/HTk
QzTRXbjGA5E7vtW2QVjXupX1khseM+XjcyzeRhlz6iPAoAhBMkNyA9by9ebk/xcU/78CC/0ssFDr
okylgWivdQQTtUJ324f8RGeJcpPbkeE2TIrqDSz/xWcK8I1Dei0z+GXL4sZ6Jp1lQ4zWGILLQfDT
fn0WYNRJXJqBRMgl++WOcftlkIi6na3LmxYWxM/Hw/ctli/L8CyMkIKmtYqeYynZ1Znd+fOTgGcD
ztoMajgMrazFLdJKRHmuWzqpsyqZQYSG7WRj54oPIlkrykWi7MKmLpbRVlXsTmMGA8QOy5+BayLv
laDy+xbLP/d9rmRKJ6tJs1xf8jrhje/7jtW/UV5myOvGx7AVV9L0tSD2nLgxTMUcKia3LeNAnrxE
ZrCZsfOe0we5v1WVA7AE85hUPoWuQnWNE4Vwhnnz6nHsXsXoMPZX+n+QYq5kt8bZZitV0SD2M3qu
KvNTDbaAHVAM7p2uc5CSvTWQjAfIZFvNcksM2zmbnZX1t/YLzrbf3BSHTpQRhmTyvao8q7aInQDk
BBRkKqaX6kclP5aCm7sTvWc/i+9Xrr8Szhtn23AbBXpppAhlAibr5RumBDrQLzF4MTzanSg/dIzh
/aHcjMs8CVYzrT2A5QZ/+NyNs62YNDfJNIkCQyRwAF9KXiftDNntKUMZN4OxQ0eLdUhwnIXbtWNg
9SM42wDTOhIwqyBIX0jLcEMaO335X39Ivv4QrNXqFdce99nmNqh1FM4VC04U/ZRG8mm/1KUcWfZU
FY1+cUJOsaswt5BRBk3lFtvgVcDVEvD+9MTPtjwzMPWmnNhgF8gEU6AN97w4Z4ECw0TcX93xVg7b
cy1SfSrbslmGbyh1z15OnIlEHFEcQ+a26GHwCmaKMdf/4Gkvn+8Pd3puTl0OdIHM7jPnaOsb3Z6W
gdHYhqilF1eLRyV0j9WddWVBnwMKBD2qKmN5vMlR31stwYEzbvX7ZQRiptT4JxluqR36K9/xtw8Z
gJVEn1M3tfPCdB1YjVLqSCam+lgGDOc9466SuoXshaojmqApn2cXf6vatsLtqlDh23v+cvWzHKsy
xlLpLORm5QhUQGyPEmk/8BIJE8gT5rYWvs00wKb/cnF9ufLZDq62wWwpkOiRirB7c55uyaYXf8MZ
sRQBFl8XWMTN2lv+VAP8a2l9ue7yRL7k99ks9KkAm/9af6hbP4b9Q8/mqp/e0/ZF0agC9eoGPOvG
vK63sx9GSDW8RN9oN2GxmZ5bd3KI6OHv5fiHbqQL+Zi+wVY3CT1up92yPswHvCljL8t3tbIBNSm5
1evwWtxZTu0ZV2ArLwEp8Hj/h7Tz2JHcyNbwExGgN9tkkunKuzYbop3ovefT3481c6cLnJoKQb0R
pBbQTAYjThzzG4rm/NK41jmpXbgn/Cd/eKXO7uVRO4e0677hdXsf3hV4fDGlXv+n3Oz+Wq2lq311
9RNvdprX4LhW9PzfwJCt0eSjhdpcMIET61Xa84Fa6HbTvkVyDclcbNAX/eh43HFYgY3fUAi2UDTt
j5qrqq8vlRaiVE+0STc3zRhbfS058OGW5S6ub5L+GMxnNTyX1gtwCyCJ9qmBqhP9JU1nS5hsv5v3
vdkwm7smb5em13LDvKvUl0Z+UXtfjj8Zj3DFgoX84qDTYh5i3/EmdzQepJia1qvLZ9k8RuVPClSL
XNxbvFrbq3gHzp0IT/9uIvLm921uJhtvpGoygYQoFiban6qM8mQPWtssXGYMDSPHPpFfrWat5ZY9
Wx3q+lMcKbuPA5n67u305ndsbqeomyO5lojZrQdqV1GbnclYdUi/Tns5/6SPXnkA4q9fohgZLT8r
foQ2yOq/4uZ+XkjZY2JOJvpNK5fggz28HYJkWjl0RgHbBYFjpKjUg5yfC/kGwesVHkJjQUVewTea
H+Z0Mdws87T+Sv07HsSCw7QdiRRSmMmDFANrNlHTvU1arPwsBM3Iz9YEwvGQmc+bk9wfRokLLu3W
8ch66AUfSbQgm3ivOllZy5As6W4Oe0m7auQ72sLIc17PLv0RlILWvYwucM0gnq6mifDszasTXSL6
Nqpg474OP99EYtkq+gSTDvOuPUPYTuS75E71tIuqXhJ7V8FxwPensc5d7bUl5MQ115q6XaiiEoPW
4qVWLw7GSNP4onSmbw6eYu26T8FwBOVaX5s69L0dEMDp+yq7YdxEKPnoJw29v+ClGu6mYI/Ssoxy
QRsdFXp+su0pye0cQf07VShJI7gxH/BYR06uugVAAmIUQY5blN3Awpj1s9WtnnCNfZYJQP2+1XfV
4/yNmvcOvNGycy7VI45pt4hEGuZhvO6fUWgIiQb2blpxJLvgzsTDASmk5099f9TxNbMO9CkRO0qf
rK/GjBqAa7nqrfWcMtdHA88b/frEb73uT8PXKvkVojKRYjl/1EqkbncWwiTYByqr7C0sieorrrlm
9lRkdzFeJzNvpHnm0UIKzN4hElvRzUBK4VCje5ixWrdIDpeSK5cn+mZ6fh9rgBr8ZqS9zLSYkXwx
PqUsHs4TpruOSo3r0UZfew/7RMGbod7F/c0gHefXP6RN5wAAuJW7u7p1NQAjio+iRGG65rLvfiHk
ZDCPuw7iXdTuuocJZ8HH5GuWeskv/QYnefV65eegJwz3EaJzukPQlQES2qovAKjST6tO2a/5uzKe
EAhWftUVkJP2QriRrtDKYLaRJ0jZ70ouaXuXla6uHev1f398ml4RaB+Fl00uMVt9vuRt+FoUWOOl
6M8Gbf795PyrKJgqF+py2x6XtSioJoqCQCRq9H59/jvsGptrutLJpFKH+nyqSTCC9grnDG7r0HdQ
gdlDYAbpqpynVYFvKA6FcoLCsWIbUC/+RyRmpLP+P5d9Hfm/OdFh7Ey2mnFRD+pVcFABvGiXEov1
G1X9OdlkOalfzWdDv8ncILkWfAxRiN3c02ax0BKqX/uvE3pmDAuq25CA7nf2EbsyBtD0wfd6hr8A
PvMO5oKC4KoJMgVjcxMb42SoqUpJnoF9TT4NQJ+Thc0M8GiA11mXLeifl2u9armOJ0BciTsE3zNU
ck4Y5hTngoGk34T3hvRoW5Fr2J8d3Nc063PZeY6FuR19l7l+klHVnz6B2Fo8HfkcpH3EGPJ3e3lv
vuTmMk+sQq+dNeXq9trn1QulkvH+XVxkzQ+jcFAquAm2MzepzetRT/h0+lfZrZ76s+LTQu9OMxKd
aOSgzwHQ8S/7tAbha/OuR1cx85rrBtPH7xnCNyK00Ps49t+vv515TeqiRS16BHdajNuxFx8RGaLD
fkKUsvMK0OSrmRJcpP3He/h1h3wQUMzN9QyWPW3ikJzbmfGFVLmO5zt5PqLQiWnm8MpHC7FGkADB
XGLplOPTLF3Mvepc1/Kdrv6yy+tewjhvuKvNPWJQg/wpti7dCttVnzOsLNAkAqJ8DpvPFlq4I3h8
yfncrKrt4NVcpboPEIbUDnV1Xswbs71vcVq8aQ5r3r9LJXTFr8rhZ9OVyIGKzu+7Nf+bNd8UhM1o
yBV4FfMuozF/CrF8XXv1+6bx6dG7ynPqC6tfQcjYjlCS3rCrOSNlDfSLfqYShIlqlfsK9sBlhqhb
ev1n+/XhYe1x07TfRcAN0RXyOvB4EzL7BjzfGDGVp/bvvQj3F93FdBUfctfc25OvmJcuhYS5AzsP
yUjMthIt+6a4mhSrU5PwleAWwPLEeMhY74wCXSveHK+yv4MQereb9uZbb2J1nGZDr5c8tNkrfqbt
s/bYrOPd2IsxfLTQs7HhBuHCxBCLSYpo1S3R8zeROo8zOS0kwpsJ37G8bdpTMhw0Cn6w2L3fUz+h
YV7mQBOzc2DtTWRC0QIL/VhlpHMu02N16oGxTOpDEPpdcBu1R81PNA8Md2rRiUUd50WSbkNrR3Ny
Xpmz1s3g6vZzPLgFOO/iPpC+aPVzSw6X+aB5EULM1PsvY3jQXAk4mwNmz2/Mx2VBgiOkovIr5dRC
uwPfox7a8MHprsAS5/X1bJ/s+h6l3JLVqly8E4Qtqvfrb9M08CKTTUffbJGwjS1NmohKVG7rSBgb
3xZoBorADJnM3eJhVYjatyAY/o8g/Puxm02y2E6StAG3QoftONp6Fbk6x8IumGjhNIy2U8T2+OPH
bvYGTV6tcXqdssSTdBh6h8pXFDfY591hxc1J2TnzQE/N2unj4P8+fUf9/b7bO1dWAjmfyeTsGUHo
T1r8TQtvSNZsVPBoflpmAPrAc5R7xbpYIA7i2zr9LPgNgk+9LZjVRjXCbuZgEHJmf/HbNSCEHmP4
BCgbWvsg2HAREdKg3++C/ufdt/UxQK3ctCtqQYCuq7gpTHcMx/aK7cvoh9LkCgs6gpn4yn1/lPB7
1beQQQwbYY+tjJo422Hr4UJ6Tvz4Oobj7zoH20/9VBbVDaJV3lx1Sms6hmKyyhE9Reru4ec6p8aR
1Ihw2C2/cCFHYnKWaI3XX/Xmqolsy+pb+XVjW61n+AXeepQr1m7tuTrzjjzHp7ASBdv34aBvVnhT
oYyys9hS+cpZUouLsgdw1u9War0CpmU5ynvahjPtkD+MH9tqpBxx2U1DGndxvoeig2qnDCvQYG6y
H/dlSxWU7iEuibJZ4ftu4laRD4bS1byvAwcs2s82El54qqnuPLoxsiN3i9dhLObDa3f/8PhuYteg
qWWrTFQg0CtQbXpaXZRRLM0/K38Fu3Lfoe8vrhVEu3kTtySrDgu5pwoGHOc5kQedBo7TYQT540qH
AJVCf11mR/Sy71cN/4kZ26ohmAytnUsAMHXlIhYgXWt0FV3lqODl7kYtmfripViE7ENH6AquvZ82
/X74BhUXpihIR7pCtoq6Si+fyowis8ifFMTVuYk5VUaBLQBodPUbaeW0k9wf2LRnAPtMAlqwm9E0
qK7i8Ovqp4RHlXXW6qs6BqQhnrWsZcN/lxW/f+y2rHDqplFTbtLWS57Co7Iqiz3Qrt6jsCWcKb2P
Rf593rdAqKEd4x4pxn8NZwGnHLTvMXviCm5XiHbDjTNdIYILRh9+1fCQcIdnrqp8o7G+6HtFdKu+
n+r9fvdN1FOcpmiGVVChI9VcpX6h39CGPjjDrvAbKMA77bB6H1fxY+i3sQgUs27+j5Z+E/yGGCqw
1hPqgwrHt2uzfJHaz33/UNpoEZVo7eDvqR/S/ikOrsf6KQxux/5sokc80aX0BOFBtGk3iVzemHEH
qBJZgIUMFmEDsimJYW7ZInWO6Ujk0eITxn/ROd3EQysOQ9nsX/norXSX5VgFKuAcwSY5boryLzCZ
b6v3dI7hqShGCGKTuQmIGA+UdVHz7JDeWHLSIk8OqTKQkihjOKMXDTKotzDEOhRC7SfRp9/ExT5p
4yRWXu+9yDmMyamPT7GELwPAZq3bOQ/IvAbnOr1S1/y9BfcLEQQImeCjC5Z/i1tS1dHBZDVhBqJ7
0DGALTBN5/otz0jLzPNNH+FJDUl/1fIoKbrbG8EPEOQd/4VYKvVgiTLiQY/OHXt+p3D78wVgKhEx
1wGmC0bzH5e2/zn6W+hS2qOsUyYkABlulT5cIUR9juaepnt+GpBylMUMEMEJ+y9cUp6Bjey4gJE3
u0cqyS1uo33/ZUVnLdfFL9E0+31Q2u9Ya22iW1cFJmBAwstSQgs2F3zrQD7ia0OJFsKBt58U47NS
3NH2hFsZ0kAQHjHRK28iHHl7kYUJyJhpuZs9Da0PlRO24O7CRPgqwkXG61IvEwYzwdHe4o9MR44y
q6RzkgdMVQ4T8zTfhLN6ZbmtfYBSO5yd9O9AgdaY8UFIf20uvMmjc7lpZct6rZEkOnGejJgyY7w8
vemOZDyNv6TnVW6imU7c5e4sYmOKCuNXCsObH1CvPA6j4EAFzZUufcISzQ+/gnKej0V55xxMOt8H
AxKvKJiKDvImoKl6/m8GSYc7B205a18h4AcmCIKzpB7j5QZ2VUfL6u8cZsHDt2AkNWjtoSnYZrD1
gPZisgFMpfg+fjF3IYNUgidek2ji/mH43EKRsrofKqXkuRkTE0piuFxuesaIHTxIv+9eNHuV8cOn
8dQf/yxwbgFJzAfqbMEyjGEtyguj1yk7oP393WC5HTG7xUYV50jE08X+boJL49U5+M0WK6KhkOFU
rOjCg43/na8NkAgQrUdxKUHOI5dwOFWLVxk4IfVDVEFt5YuCZkoyaSC5Hg3qY9UdYyRdaGvTfXFL
Z5fY+wR1UFpdf1oz2ptg1sptoZnj6539OkSSdtoxT72xu2Z09BkFc0jNJ6MRZYmizb1JzJZI7/6l
sdHtc4P8qEcCdx0pWzNzoctsoM4I9wgQnF8JVWME8dvepGdGZZWKMYPjrFrPPM+omvs4m6HsIKPd
tKt7rPwyiFl7weYWPXaTmQV9H2mUyaQlmQtd/iqC2O/GhzajMJD3zsvfaCiKVnkTvzSbXaUbJIOW
Tv/08xAcZDIhP4PIBVZlhiMcAr3rT41b66epP338xv8DIPOfdMTZCF+qsVQstUUVFiaPuXLfBLfy
S9Kd2sXT9pVzX2ADZ784pCnMAdvuvETXyrfOIjk/jP0NaPI0JXESxXTBLeps6th8rBdnRp71DpI7
OdKOyRFQS5QTECc41D9XCuAiQiyJnrktR+VuyuyGZ8LFN6xjWaJzfYRaVb8Sk5fsKAGmOGhi4eH3
JWV+p0vOuinfhLVQk9JJQgqWQrhi+e+xAmYDzNbVABFvRMLljHQ+YjKZv5qGHJk32sOThqnRruqB
B9F/vZj0j7z0ZtmvssAphKYrC50pzslBb7DPO8XJA0ZGjnbJDoMIAfwK6v4g9XgFN775/fI4xLEa
yJiPgYRt/RyOYoN6MD+m+RVM12PyS8lui/aLaTEpzV8m5VPtJquNxi3iGbARnf5AO6oyGehO2b0y
F1egbebqoaqOZQZ9SKIimPxsZ/7o4cOg95HBqteQybKxNkGED5t3+mY5yQ3woDj9Avp3gnIyHSWT
nzJjIakiDYOl8S89ux6ro16RbR9s0mBw4PxNgOS6FwT9d/JO/l6QFeKsMzjENmm/CNEZgjzN2cTy
fIzaNNE5b01yJUEd9QwDQ4/c8SwUPhIPylq3nIANFR4/qMq8wi3sq1zY1hcEOmcT2zXZ7nRDIk8t
zKNmg/sq9oZ+crwsPyhonoP8nBGP8D4ONqIccavaFJeRpLYatc+ClIuvugxP0nNk++voZGICRdfF
GYU9ZlX0spuoXhpM8RcDNDM6FUp9HWCAZABgDm4XUDHHAIHx9NCXV1EAabZvThn+69LdGD+E7ZMe
HQIDHV60LIUtCEHkdzaRf7DmRg7t1xYEQ87VUUH9FXsUnQs8Zw9P6rUJhYCJsPj+8MGWLG9ifh7g
/lnr5FF9+sjHz0NfQpJuv8RPtN/KW5SYQAjHgB8zV2j9+fFog4dvYrsyqPI0jTx8tbJpoFfL02Fw
58/03b6BVMbYR4RGEj5yE9r7SnKSclVFQwCQCDIy1TCcfY1ayavsA/Y+1PnCTotolTdhvbUMo1DW
gsjYSY/Yrg4/ERChu4Tg44/u23zqDqEYPPDhVmd111vuTSwGuB/ORc9WdzQvLrys2kWITPp4OQXn
dlWGgSpBo9cVHOx1q/7PK4DHrmvx5rGFLAdmNq1IUvumak/xMR2umvR2MA5BcZUrqC18k2bq0Hi+
aMUeF3DteMzVb7OQgLR+yo9+yCauGU2mWMvAyA6BkTsssVcuivSyKnHZlwARI1HCKPrImzw1rOc5
Glbh/nwGuwrWHMkwCs92pd/kpzbAOKs6tNgkilb8w3SFFd/EtKQYA62ZCeCropcOLpS9hUUllcB9
coz5DcygpVb0uh/2rXnqJmTpTh8jJ8K0rmlORn9cNQhU6Naryo9vFt8kB9qPWX3BVI89poiS1Y9L
MEtWNoErNfI8Wkq+7so1Kh9g1qJy4GHGAhzhS8jelr4EHlpVgt393lrrlq7L6DUaprWttg0aK6Wx
VtuvNiijNwQIh+ChpsKfh+PoMM7ap/gsHwTPfW9zvX3uJm61g6z3SjutExI0+r8Mt+Wz44GxIgm2
ffNTwfxGDL157xO/fegaYd4c5TYOSrkMF/LglQKzJgZJdVxIO9GzC9tj8qDum0P1i+FZu+ydQbTW
61+/PcBvH79+izePb8IoSrSGS9FANpAcMr4oR8ntvxjNbs1KimfhERY9cRO76lqPEGvlicvj8nnt
UeZfm6MN2gpoKITZO+F2En3WTYyKp8npNdqEKyKz93RkzSnwzqvqwlpt1J/Hva3uO7eproSIBtG7
bsJVK/fVqNlrfXtSfIqpS/0LD8lXJVT5KX3URV120WbaRKkRto6zpJwcRvv1/ar3FKE64g2Y+VZw
4C/2LsqO6q4kFTzATS/8PzxBm3iVz0OTTgpTYJ37dr+EBwh0dKuy6xA9RreQT7pPv6hy278hOyxY
621lXUeVKqkVz8bEE0ds7D0TuPDjjwZ6EhyvPQB0wdsKVntbNhd5oIFNohCbdd8ob/X0iI2x6lmf
wl8WfnCeshwL5T4PdpoXtC4QNuHWXrfuB6fX2UQsNRyVNJw5SyG8jdBD9zgAlL+rXYw8kZ1J/UxG
KMdG5g0Ajzh2CU7WtpI2NHUwGuweGb6/IATfnYAHIXaw9Hdt8ZzhlLqyFpVj2WJ8isSjLFAkfDfR
fBO8tpVw2Js9RCJO9no/acOupczcFzNwOmIJLCf52O+CQqTxIbietiWlIieOXCp0LiY/X1xpHWSy
9BBS8/0q77VyrZH6EA9uRau9iWNZUSZVHXNTTD9kZGfhDKEnCwflxrkGMpTmqyKefUFpVrTMon2+
iWLB6KhKZfHCzV7GhS1+SEvE7/FDxZgVJZhe/zGZF5uQs6IW0fjs24tmeoLDJtrqm9BWRwHplyG9
gsMmPwWMWSMuMQ6eQzht+wPDFu1VY8W0hNnfu/yKtxttE9eMaVaqdoVk09o5qsj6JL4hr8a9VYDT
7yr+lJ/Mz0XnV9gJS7ta3lkAQ8edhPS3+0cLYW+rSUfP7GVZVQ+MnYH2znm4U5C4dSVP38UUlaCE
K642CmijEDxafy/b/70M9raWtDrNDlt4hnfR1QoBbW/ql3mF3Uz76clEqMtYycuzfD16UnutYjDw
01QPee2vxgkAHFpfbb0aKndEOwkRvla7mp2D18WunqIicWW0PlzB6/Cx4DTPB9EoRfv4AGHyvsl1
ZMOJFJOfr98P+xj+xYv+S6/88dt0yuojvKw+86bHdtk1yk45Dt+5PXw0UwLGLpChPQQLx+MAvsgh
58W6dqembgP/vYZnJYnbFR+fOlte77s3mZkRaJNZ6OT+NlQm+9Cod5Z5wHAzx7QbhO/aw4mqS/wT
eVW48dgyuqX9RbDXPr5T7W15m3RNEE0RcHwdZ/iTmp8zlCWS4qTrDwB+8U7DqPxQC2XVRa++fsg3
rx7KmTbGKgGn9fLqLqjvCn+k/Kg468467YQCeGWAofam9GbSbgLOnajyEr35JtjmqhZFxgAOF4s0
DjEwMvj4tc6tmjZH6RCDRBVDtEQP3QTarM2jYILpzM0SHArIFt5wbDV0rx0MZym3ZmRmhPHk4+vM
3la2rdRDMLLIm+Db7Z2GAoTmPyK+6HmgFNm5Zvd3yh7RWdxE1HEILTWcOIuqsdPKnRFQx5fX2QXt
2R12cMvO+lat5P8rwY4WhLBtSavNQ5Bna/XBjpa8TndRdGsUhM+OwW5FKe4bDlPjCp4q+LDKpgnX
Z0E1NQa7qSU5mParlUxW7Q0a59DFvW7tEtFBFz1V8GVf1ZPeHCNdy3JEsmn91c5dvdzO0g13drnK
PM7Rc+d1iAPD6z1D2PzDIs9+zdzePNoO80yLE1JjqM4wNvFh55UxoGDABijj5xixp0Q9mne5xG+u
p9d2+JuHpvFQxdI0M8R0bmvjUqL1ukfqPushKESPUXUqn2mFP4w/Vgdb+7bfWzPsFkS3iWLpfoCh
seAsluHZIFwP0afYRDSgz0WmlJzszjr1XuccyoZRejgfQjRoAxQU5ejQSy5eUkI0v2jvbSJZqCp9
r1v2v5o4OLvyjsOxo1QAl/uaqwae2EB9zcb+d2FiK5tI1jmOkQcRQSWwbvL00QnOo6dbl6bwo/kl
SW7N7CF1bvvlrsge8Y6uLmZ3UYYvof0kOHmCOPOKnXqzJypbipNxJFtS2vMKYQAflGHEEKnPjkvT
AbGe6GhMiMnE/T+ZcL7djpsQZyjjOOkF1UmBlgy3J127kbzMq3S83W4k+dissTU7iG1JBPenuunb
6V3dJ33CNN+o7lHMjIFim25DG6m/gUYZPRUyGiaG7Zo+8CQbEvfy3QlOgpUXbPnXnPrNytem4iB4
QP4y4Jq+1+UThHiILNIRmaLcG3ADohHQjCdhG29d1w/2nrpJ8+reVqWgYcOn+S8Na4Ne+6K6enws
04ukX1vFD8f4rBU/LQVVH3mll6Xwtc5WjE5jF+7+cBXW0/lmFfKpTZouomzJ8M07TfEe881gj2Rs
el6FmBtXx4r0Hwr9vtl86vp13jzXaZxuns1xTaGCgxLtzLPu9dfBSXKDo3WfPiEfiiPOSv0U3bCC
ePOKDH/zZBXBmKXpwO1oqV+cVC/ChOgwQFsKKU7wq8Q00l8S7w/XeRPlJCQ+nALYzt2IzwiCRfAI
FRt4GCBvG7cLz76oOMaLqzHR224C3VzoUdBJXHSFdURMA3JaMvoqEArslTxpddniovtHsmtvv+6m
GM7GJjTnjizm1Y5nRF6RgUBEj4mioKQFBOzw7yRtopfdRLSyNCKlUHhsMvv2IfhrxWMlNOIRgKCw
o9VH1TkJDXwF0UzbRLNQLedAjVjilA5qA8iQjnHwAnT8IONnNvn1qXvAjRKL0JoZnFjzURDItE3y
5lTVkFg2XS5l8pMFLxkk9lrgjW4trT7V5BIg/1jvU13uBbtasODaJpQVQWaFSriiF2DVdC0WzeEv
/MPcFoKNT5cp2WE+KHim6HXX3/Tm/GZmXlh1w+WhQGUtb5pTuloM1eEZ2F3xZd6X+1h5+IfGeW/2
tLaJWBEwjWDWCdvGLiwOZeczCbF3Dw+GeiKRc5cCViwIdYM5ufWPRCvePnyTn9WJ3TYo0az0JXOm
j4qz1OfYKwev85rWD93ggtqJb4pG5e86krx97iZs1bP+7zLTjo/wcqgCMusHRYmBTvNt2v2Y5scF
1hriEYufGX8pBHB4TL69X3CzwBLpbtR+OfPXpaD5NpantDs2MFm6z4Z+mbDtkCHrX8/RjUS3Ql6+
C3aKaHduYp/ZV5CfMnYKSX6fndHATfzQS4dTQJK7RzOuJtsTU4IFKd2rAsebDdp0salF+kqRnXbm
IQ79DOd45mXgSUxcnNfeEqo8ZPFCoL3ohTfxb+yCMk16gKHQiBIgX9dG4kv1IUZSp3qZAbe4enMI
9+WfZrGvkLY3r6wuhlXlAYE302FPFKR0R3hLtCSI+Ng0ZebO9NH1bV2hwq5gsfVN8OsirVy0tdu4
QswC+Zj0u/yZJAKTKvDWxULL1RiP/5BQ+OZkvPYi37yy1qoRRtAUr4Pkh9UNpbkXVlfmXlauJogU
4GW6CC0dIUpoPXEfZI/6NvxhloUuwOvVipGgDP/XT0O6BEfaIIgxQAZ3x9vEywe/x5jMFxwpQfDV
N0Fw7iKjjuHfk7Y1dEnXGMgW8/Cdk5X9qjrY4q1WM7sTPFdQr+mb+NentGPQeuRmz/xsehxLgk51
xzTa12ds8NyU+QKjjR6nCjcgFHlp+4iEjzB3X7fTR6u/iYexJSfNsrpXmhgvHbVjRKo84SFKHyr2
hedZtNrbAAYhcsIgbT3Ppe1SosieciR5y4DIeeOKbm8OYBj/tBugb9I33ZiXRZYojfDG6Q/BYYGM
hlos7c0owN2C0rD0J/UyxQfBZxYEMH0TwKoVz59ENFZHV03P8oICXuwl+rHSD8VyW8deuybJdn4U
PFew0FtFgUnNcqM12dYaVL/z9HOdmOkje3rVj3SzBvZX7BuiAe27QMQ3MWQrKDANy78R9aNrOLv1
VqcctLGMVn6k83FAvhbLNx9fnHzc0eF9ySe/LJ6MHLk5P8ivQ5TkRdmV4AtslQbCavw3GCHp3erV
EpkkBxY8gGKszH11cHHm2TeD6AusSfIHB2urs0drOTQdCyiPep8hTjd8WucHwWdu7dMffutNCJsW
1ak7mVbX6ObfWhPYQ43gkKs/5Sd6nSsizpQuQqSFaIdtApg1Z44pp9M6qQiP8rM9IQaNrsFxRf8N
THTAae8XERRbMIC2t+oC/bhIkWq/vqvs3KRHvEGifRP5iL5Zh6Dcwestr4Th4/072bI1y9HQiNhO
ZUzTTjNpFd1OcCk1vDr3gFnqGKQ18kOneDM2GepufIrrY5DcikK0/to/+e+t9Pvxm6VWwlwzQqL0
3fC5ZMjvPDIFR6kqaHYKdunNUV2uoyvlRDyZPXxEyhq7TPNQ4j+ASK3tanfGrdbvIpzU5ROghb64
hN9yax8isfO1Yu/D7SEL/ypNfmOf4m/LbcbpHHejtatjv0sOxS8D5uqVfYOlafs9OoxcFbbbu+k3
IM3e+Cv37BfsUBnWFPxTu2iw4mDZ3vODGQ333tzcVtUPR7pqlResl3Tz+VDTl+6d68A65BEucv1z
hXmyCdztYemfhwpuG2KlzqcOm7j4U19/rtthZ9W+8oCFBOqhqLsO+S6SsXH6rHR/laWvNJc4ucHr
Uh286nv+XFA+YEJjFjmawnNyQWAKCZuUMUty0Idht3pzYaWb/LCDvxL7qSyv5gQZyCPKdWVySIJ9
hvlkf90PR+6mmb/FqB+dsnN7zEidfDct++ES2C8mPoXhl0He5Yg180iokHhIdqjxu+F4dB76ZG/2
eGH3PvCnRvumoEaAoqWDsaa8U74Pl+iRf9FIaUNX0W8DtCr0HekPHAjJC04JHqx4Rzx036fv6bWS
o2DHc1NeQb9hMqkqlznZLxoCm65ScKncKtpJGX6mltdB9weYCUwz2VfaSa924a8iuEzJvd1dN+a9
XF5DpStmiO9uq70ksWtYF+gH1kv+o7vXL/Et7bmSNKA9O9FOfyh+qdcOqMunpDlN9Um9ibBE/O6g
3HUlYwHjS0cGZcsXJcGY8jTKbl95qJost9Z4wAp0GfE0hTtxM7OQT/n3QDvZ5hnecxcehwG41K0j
nYbn4tr2UmunMzb5AryIZvEF2TuiiP2gWVchopIosJuoVtroB4yn8ZJcN4O3dHu8W6Udyh6wvCsv
tH3+NBtOxl1yXeondLSDcLcMHE7X+LJ8cXpPuYM10SK/aXmD/Lm/cBP20BPwJtzBj6ixAqsPkPzS
bheNrlNc1Z+c5AZ5aePncoepQfhX2F6MLyVbBjg/JKEsOhdIaDGk/l5+4n1ZhpAZ1w0UwVE7zp/4
G4tfWnLorV2LKwBbgd7cT/TdUMnUvhgSBfguqnzs0PLWZY3Q9iyLU1idVefSHyf4cNWuPK4N0+nH
3N2EiqvBm7nmSSHARUY9R/26P4/NLrqC/gKpo9SOwK9SVELHg/7VeBw+B+a+znbF1Xgff2KdmOBe
6ffSRfLn8qziq7xb7lj6GPlxnDjvWxxZSq+Z6OW5Kd3S5sxChExvxkMh7De9f0X/jm+bHFSr+1QJ
exoR2QlYAloi+TVJ948KfYh/KRQLcoL/gS75/cBNGppmUzUYK4hcP9Tf8FTu9znqUrhXRewjZP39
yMfaGTOB9KiWJOCjeaiyS2idU+w/eu/j+1tdc8CPwvsmOe0qo+mmkRzRfO72uLwa7dG2XRiJQ3A9
KH/pjeo2wZlJCipm7ad2OKXZ9zp7CKon2T7AGEO9xIweGmtgnurFqxuLd56ze9E99C65Rbd+r9om
l50bJc+GEnILO4GZMbRvB2Hgc57sY0RN8D6ll9LvhXKB79eH/3nsdoA820WsVKuIM+K0VebLyiFn
Z36hQ4au7T6AJSWdDQzJJU/GVVlITn1N0T/4PNtRcmjhtxGuQ9028EIIFb4UoOrrR7Kv267k7PQY
PNqA/ZVzpSIp56bTEQ+zyWgOrXGzlCd1uM3qs1Lca8vLPJ1CD7Tv6EbweXHwwMndaJ/l4FSW9zLj
SPxVgy8B4CoTETC/bGtXH29kXO0aOtzGjZZqzK80kdq6ItiC28F1lsq1nuADfqdV187s1xWTK8ok
3GHRnydEdTedejvbOLsewt6rV7cdA2EZP9BEBdP7aeXvr73GijddCKmcdGdokBdCj0wBfeNPj8oR
rqhNGjH7cQe6Mgho8WuyqBOwHvqPvvMmjbYJCnqyWkJUyr7h1NMKwNwJfzNUondTvq9LbGzBS++5
LDJxQ0D04pskzzSSYNFbcszW67Ex39PvbnGMokRNviGEhy33M4a1lSj4vF+m/F7vTewN6nqa7FX+
rvUyVB8LT6tRaN8joYii8jrPAf3E9YTleneWmd7hi+dZJgx0YRkjuAW2E+w6n9Vai/nyraemx2Ch
6R/55DADs0svl/H7Cv1CWKaty/rRV98EX3XQWkPrgDDgC77i6qIvOQLOS3GCpLbaaCEMydx+P5Si
7SYKa5touiRhX04YlSISsi+yV47LPkIhxtQeJTdc7tZHGxozh4k0xhVcOYK13s6r46Gd6hEyCGvd
AWE0fyzMl8x9PmGJOCe+jAn7CveEHmFc46OrqLgUPo7BbYNN+6IcRmQJmjPb0Rativrx59jOsBt9
jic95BRM/oC2BMru3VHCxtCLjualQotA9EDBsdvOrqsmLYKmBHCnYFdbXmKE6L/h0Bj6+SlNHl7d
CSqX/FT0CUS36Wsr5U2gC5O4mJaA2xTxgW/diU2AQL27qvPI5a55WM1FyJo//u7/qlQ/2O7bKfVo
5EtWrXyBLnqWI7qbSJL3bhd5CVZ9Fukdqq9O+OxMN/ha2MvRXk4FLSsi0Y8BFJXJ7UdbEMuA7KFp
r9ZCrWgfKukq0B7y+GrBR9x6nsofiX5Qp9UN0no0++mpR58uDc94B1j2U9+PQCot0lM9Tnc6vn7B
cF/217OJ6CrmyIXHRahPMXVSu/trCV7KFMFC1yQxzC65tC8OGZfuwfxLxsTbG2+MWxt3yZ2kPjZG
vTear4O+l9uLjtKSdMyGp6x8VobTou065DQxd6n8Pv/c1c+R5fwfe9+x3DiWbfsrHTVH3WNhbtzu
AQgSNCJFyqcmCEmphPceX/8WVNVdFMQndL87fYOKqgplauMAx+yz9zKmZLd9DXvqVaJAbvSxJi+4
QqdgUSob3JI75NHODkI3PIXP/MynmNl4pl17Yuik9kd1OB+aLrYSXsHUjq5Ro6vqVW6YuADUW74E
JK+erSjwueU/7k1ncy9hpSbcCLWbymoBB4KhbGbDJcBZos2i28ACywdfe5QhlNxxke19OwWgoev3
GYCxSv+sO3avXrMAKp2KstEXnrxR00PLljTCA6Nk8P+kOnSWen64G589sJSybMM/8KmOXTagy8Ne
HmdjsvNArF7C+PEVVjTVnDj23OYwORxKGnuRP7r+VfBBPWIC+stRRSssr4l3gw166VJknNR/mJkb
4+/9bpVOzoY457pRjZuSW91YZYq0Nv9ZVesEdmCWBOhALpCHFrgsbhIYFjf+HuZna7+coyHMPMYU
B6DBOcthCi4mdXLIo9tOLlHz4mbw1o6mlz5sMMsrL7U1+IBQcI1BBfVXuKvOvIyZhTJFA6gudXTW
4aBMx/kJf9547Ewt8+QmhoaJCVo1JD5hnrKd3aLnxj8eVmezLimqQosUtOKgTbEi7nUFh4tu0RAc
mHYFTYrW5v4mehEjuj5P9ppyo6K8k3R/8F/+6637b/c9Pf7x4ct//A/+/y3NekjNe9Xkf/+x99+K
tEx/Vf8z/rV//bHPf+kf19l7clsV7+/V/iWb/slPfxG//8/41kv18ul/lknlV/2pfi/6m/eyjqqP
IHjS8U/+uz/82/vHb7nrs/e///aW1kk1/jbXT5Pf/vzR5ufff1Ox4P7r/Nf/+bPDS4y/tn0pGr/8
26aMXpKf07/2/lJWf/9NodL43dCFqgqDqgZoMVgq7fsfP1LJ74RySQ2ma5QYY9s6SYH9wl8jv3OV
65phAIYJwquq42dlWv/zZ8DdG4ah4w8IzsCH/e2fz/jpY/318f6W1PEx9ZOq/Ptv9Ku9gCYZoTol
Oh6PGx/3/7NppHkR8wxFH66hRJjGPvxRArNn6rqTC788+AO4gsUVDVf+o+KNJTfegNSuR2YaujAy
vo5RQ0XuS05Mf4TvplaspWsXgEmIhaKvIexX/Rw8IM52TbPoOHxlTB38O4j5FCADbgI4DOQme2jt
3t/63Z7DkgaVuHeeWQYMzVQbV1IhLalYub/Wx/KalflWeapCmKoeAhyuG5zSgdyrP3DhW7p7pl7p
RNodBA2TK6o8MednCwspnVstPG8e/HpfxJvBQ53i0WifK2J7h7DcksqG8ETM4L3zGMDfx4G3wK9O
RXV4ofovpN7m/a4RdzjzuhcfCIoC7prqAhKNRf5gDGtNmiDWgenmDqvgJe5v3Z9OCFME00Ad2jHb
q/IqO2QvsLWBfXUF9gtZlEhugHjUH2t2HH5Vh2wLyVe4khowwIbF3aFDzfhnA8y9lcYbFCcZbAc0
gJFvPHRiCURXlrF2l2nLVthpPVZ9fGF3Pz7m8/9f2b+NQnH/95W9ev/5XrxU7z//dlvhX+Xf0l9/
+9jhkvfSfzlf6uPv+WOpU5X/TriUOhdoLBl8VOn5Y6VTrv0uGNd0xoFW4mykr/+50Cm2AIOgbaNR
/C05arn9uczp7/C4YhLaIALLn+Ms+08WOdbzpyNbHx+IUo1KFZuGbrBpo9eNqkTQWPFPmqyvdAlu
JMkHFHGAjiz91m4CNVgWmnfV0dSK4185R6nIh3+TpreLXH80cv9FSg1CEtBE6mT4o0MJG2IPN4O/
rUtQfsDXqFPAXrQIV69iN5TtrqrYpiA+1I13jFyrbg1ylG+27s9OwH46r3dOP5g56sEgf1sxikgc
dmdpjs4VcNglVzdpFa2b7j3uI6wjeN5nKDJArkjGuzIx0JluoLwEUxzcjNMyOsmyuNf7nkD8SH/J
i3Tphcavps0fkwoPNxBAqQpYEmAvPOmdLiym9784XCUY48+SRpA30h48cmfQe8YryJwhsXRbq/Cv
B8Ysyg6FkdqRfhDo+cAt0srEMQOQuXeh2aP0Npc1RDbQwg3AwkqT23zQFzTnIBrUwwYZwsJAJqQX
8AZTjbURHkv+Xg6u2SSGLRngJB2AkyoI9q287kW3lzTddwQ3nyKwSQZjFQq08Kish25U1sNbtb2B
j96SDbdlJ+4r14B0be3bWvNQcXnt+/pLTVOInSj9wnWDRVeWPwJ/76i4PRmpOcTdrTYUKz3Lzaau
IKYXKq+NbK8lFPYbXOuq+JXLvMLlqV92mqMs/EIcQkUCptznB3jKp0G7EVW9Jmn6VMU3oXbvBTl8
cR4FA/JRzZJt5CmwpugxW6IxfnHIcEvTR+k6SLup0BUzkLqXMfpUfbbM6ieBjodAfyqoDVQz0CmN
nwLf23k5DN0zDvcM8GGy1mo82+uKnU5hoY5f1ChvhQH5mAi4eU5N1hkbqT/w+GGAnG6mBFvVGcwM
moDe8FJEKFe2A0xMu6H40dWQnWJ0H+GCd7ZX/HnCnp+oY/b7V3b8x1ITGje4GNe0+nG7OTtP/U51
JXB8/slNHolWwYSOL5s0N50g2QcMJrl49i7QZqJ+TkO/Rh3vCmdRRZh4FWHcP/UKzpF8Gw9oceZz
VOfx5vXd2ManOIuSh53bVgHGVlVi1eiBNEUfL3swnXNxqFt4ziWFHRvd0lPv1OR5KByQmjAhkC6E
LFiTaM5x++KwwVEjqhDjJjvue2cPZMiOQWKA+qe6fHVa8EVegdn8/ntOSiF/vtqzGJM8G9t22SeU
+acBNhcow+FSz3eO1XJTeWZP4D2iGWbOkVPnBjbekc8GpiquocYhvqca21E+9n5sot3NjOzzRfuP
kSH7YwInjIb5OglSwMS0HXgfnEbjR3CyYMwJTxMDWAUOiBnqirNous93lq8RJ9O0D/toKBtE1ANq
Gx0oT/m4wwEFMiAsS6w6lsvCNxZ+2y8ZVRa6Gm1VKg+FgAdIGDzwDo6B2EdT2DvOvI0x9nRyn7+N
yeTOij7nVTEEp2qFFuxKrlR3wXfNWr2FfO6qhEnqXp8T6Lj0mc9jTkodShLqWuMgpvMOXITx1N5E
q9AG/AgZrUlHd7x4bLvOIt0+19W/fodJi1FGLjOUMW63Ure1Hdv1ClV8s7Ln6uZzL3WcEGfz2M+0
WCMdPjiVvimau1o5zXy2S3vS+SucVCNKLRW6pyFCvkxh1pL80F7jhdhIfLPghHkM1uis7tTnZsyX
1zfFr0WBzHS1AlrBa7ttrIHIFaMjGyb71FsPdJZ8PO4w38zMKW4tCFsVnhYIB01UZoqlux1B/y1D
7xcFLWtudlw6wc7e6BSTlhcaYRn9COcCV1yt25VYzdObZ+b+FILWinxguYMwLpwwWPAzUAEBknN2
vx+Nma8vD5mvwGWb4tt9noGNq+fEYSQ4BZssXsjbZBOv0xP8YH1QHhkK6foTfWhOaBlZMzPz8gD/
FXnaGhaVJKrWIDKz4V14pHcS3fOdcjPqQ5AVYWYAu2EoZn0f9kJURlSKuwZhDAnI5Eh0q1btDEX1
T2Up4aGbmj4rgCHI5lqhF+OgQIF7i0F1iHN9fq+ZIYxCkCw4QX3gFwUo2iQdqo/xogbo6MDBmrDc
t35d/Flv+lRuOs+vcPX5shoYOQs8OY+5H+k9zJmC06ChFi0OjNdmq2bQHmnAfxneQnfYuipfNJ6z
zJqk2GgdWURdsKdducb+05el+f0rv5QifHqkyUFKeuG0wse7cB/wJkrwGgcQEIDS7ha6WR7hKvA6
O7suHKWfYk6O0sBTm55HeA0jow/oEE3bjmp75UqD1E63dODdAWadDpA4HOv+U1ODjy2QEdwkCYpU
GtWnpgaJDDKG0hemGcL7YEBBxnMBTNZVtwSLWEcaYZG50/LilzekLqSmUsKm5IOMDUhj4h5JURYt
XIGqp5Gt4SK1UOLnCBrgXu4AOcZhYvKUsNrs8u5BcfkmSrIrL3yMen+G2zhxtcFLwIUflT0kIIxK
iZv+5zXQc70oegEUbQ+8H4MOR6Vji67ADupUz4xg7DNwFbeAZO262Sqh4XvnoWNYwdkQPp5+nNmi
Bk6O9Ve0ohA9g8FXQhd97lqs5zvfhZR+oUgY/CmrmRk7rs5Pu+L45AxKkdgSDS6nipGZ00sXl++P
HgvcR0YO9B9nJtnNIXO+HCeTUONXPUsB1AiwelmiQt4O8TX3oNUP5KbsLNxMTRI+K+ltxuXcivxy
Qk+CTr5MouaB73+MT/uZqc9V1po+qQGqPsF0xApjcSWCYJ1Czz1k/lWjVeuayV9sqBapitIcSa+i
oLufeelf5q8qCCaLjioMQLls2lQraBEauafzY5b594abRQCxxv0iD9+TgFuygo11MMRoZv/qGrmm
ARzDPRjcIS82wa3STOoJW5ltI33JLiZPNfk+mp7Ah77j/Ojz/pEq6irX+107NAcNQhxDClQfBzVZ
1wEVgrsjrhOLUE/mvteFh6AoSwlGGErQdJoM9I7Q0xg4kCPVNm39VmrhjRTAB2diHRIIQyto8w5k
V8WAeij+U+rPNp+/nGfq6GJpEFyEqJByupazNABfOKzao9eIlXC73IR/2ZI227JBS0cFIDdWXNOT
IHpV0GBBJbeu5VVQo3PboegTirn04csUnjzQJHV2MqIwtcvaDwi7fMxP/i6ymnUzChWWIP8o4Pau
IpvdAAT5/UT9krRPIk9SpgIakIHj5O1Rl0/14OASFs5E+Hpifg4xZbC1ERFdyP45ONQqgDuL0T+z
e8uJQdjzLWfZFcvvx/UBhvu0602iTnIW9EAC2CogKtn66/4dcwkUQbowHrzt3A47M52mfLWE13Xn
13iHefxrKB6z5iVrZxrAX7eTTzN2en2HqVBjZFqJEHRL9XaV+s+qe1URMvfa5sYySTUI7m5M43ht
oxCqijoosjy4f46OdeAIeUC+wDl+Vono4vA0FMHRG9O5MT2i2or6XSgCzP+oNCHmvFQBA9ZjHXnm
HMb34gDPQk22QF11tYokEeYF2PKlDptj+XMsOc5Mvy8p2zj9zsJMDiUt1TwnxG3uOFYYBqs6opo+
LmoPxE0QD55GFe4aXSHx+h9fwyeRJ3tJ0gzREDcYYOco4CnCGUfBv78f3sVd42x0k13DKwe/rMfv
paC0q7ZPou3mtsSvp8T4AqUhJFcZw5ybpBKeGvqJ97FrKG/ZytmEWL/816gcMq/lMMGhILv7eGl/
RZtM+6bs416ocXtskBIkGVtmbYfycwdyhG9mBXrpBfp7GbuWHtxhe3cV+vG2NbildZnVtz+SWIwl
7wX6Qji8HPRDXxv9huTwbRG+GfZkNxjpQ1zDtSeBx3Qa2qSGjjUSlOsUHnhBDUTpMDcTLu+BZ+9w
XAtn6Vhf/fNYGdWjq7varkBlba3sBurv9vcz4gOY+2W/PYs1WVe5RrQwkOm4cbT6Qlv5p/HuW8BA
BAy/fjd3J7q8jP/6YJP1lSii8lKCWR5XbAE10LsqjICXnz2Z56bhZDUVaaumA8HeHkH+URemBwJ+
DC1bQKQgujhbj6Fz45qsrLaRFachJqJRj2bEN+Upfe52/KYEDjiCuke39y3XM+mP/93nm9prRUMf
5Y6TjJ8PwH9/PawbE5WnHsyHYIkTei4p+HIp+bzgpkLfwgghFKbj+0WbalPvkXYtpE2X1f7f4JPP
fMOx93q+DKJGDhnjiAURsgY1tW43KmyjRT8K6/0bPPK5sU22Lh3GdKqoEU+gGDQ6SKmb0WI5AKV4
dtl9qe5O3uNk4wrcptV9B/NFV9lDo0KRsTdZ9ppyUOlSeNMTxdaVHpKV5er7GXP5CPjXApw6ZcW5
bFMd9+CjwsXejdMr3ZiJcDlx/GtL0SdbSq2gMtR9zBHUk7fUMtiyWxvLcDNEmJboPnZ7MJaX349r
Quz8chTok53F8RJRJRneaP4rPkDVmK3cvTDVp/oI0/dHSMHMNZ3GX/jNzjkigM6nJ/BBRdmlOOlG
KePoaHhA3Ocwuq9GtgEgOSvmLekysw26mgOWXQotCReco6wBzNJkrJnuszqrqwb6OsD5Z9BP6mCO
CTSMhFd2j6rz9+9WvbQyJMJJ1aCaQMjPQ61jmLpRvWvhNvVcp4XJ4ghaUYnZ9LhulU8Og81QrJht
hxwTN7C4uIqNQ1uB9xDTZexkWxUlkqZlq7wz0Hg88XiVFUBF49rGIVKgM9eqAFHiw2sIBqV0njoo
n6tDufNLiW6sum21JoK2zF0DbM1gRJakaGr/alBBCgA0d/uVVB5yfss01BPdt7z0VlUEklHH4GH5
Rvy3xi03jUIWRhNCZfo2grh2G/FtW8IST+cmNdprzZl7bZfOBFxSNcDHDIp/Jl8JbbS4yDKtOXKt
Alf00KH76gen77/NxSDQlFXRIdSNL71sUkqv9mrSHMsUtRoHYo3FhkMQ9/soF1eXPAsz2a8gilZB
Yghh6m29LDbN9SgQDHjEYMttCgq+yeeW16Xd/zziOPCzJMiLqrgWAyK2IFVAWMJCSwVpkHcotv71
rNvTxWgSRQ2A9VT1S5darfy66zXk/SUK5TDivB4bOLXVNmYDeZi59fvRV5juHahG/ivc+DhngzNC
1XGrHEeNt3HsMUt2N4Zd2YDazRzYH3j87yJNDrWcqRCoLREJfkngWsPbaYtGWFqarU3X3q27N/bh
3aAsVWtEwo56TbATHqxAne3IXTp5RnQTirGo/KEy/XnMIs/j0mBJc1QC3AWAbwrUuerzpVP1LMS0
ndOHRpU4ZdHA/vJHm7P9ICtYmK0VENUD4loJATU3zA9ukM+tj0v3xvPI4w569kHxLV2lj1Msw2V0
l0frqljmDyDfLL1VuaotxZaLBuQ/KxHbeev2j/3+y0fWUOAGIg2Ilqm1rVf3EQnKsjmqEAT2b4pj
fx+DAb/K1uQtvwIgdFk9+1Zyb9x9vy1c3HwMlRFAO9RxOn8eda47huKFOBeawbOy9r2RBLcqf+bl
jhNjOjoVUHEUHnUDS2bybvWCpokXNe0xJeUhSLIFUfqtH8ARY0iXvfsQqdUb6NTfD+1iRo+RMaky
7Kra9MzTi3KogR9DJcCCECqkGoJVjjY/lglZVYtgG0FBPH/8PuiYGX0Z6V8xp3j5yDEcJxjfp0cN
nGCGWfUaOLLQKNRmLg6XFiOKyjomDVGBhJqcTX3SVUzPBe5hkEvv6a8me/l+KMbHep4OBotdqFzC
LI9MUVZGHY3OmbQ5RryDXCcaPK0KWQ8fnMCi+tHH9SbnN5n+HAblMcrZRg0wZ3MgKlpIOw+goFcB
ekPKrUquahj5EJa+Zn5rGT0qMLnqWyKE0gIwH5TDpNrVaisoCVShQ/g4F+sEnc66enaBSIz5S4XW
YwwtwgB3pKGsFh3a2S2YSbF3x8PbGkw9NesBAbsq2W3QvHbVQW+6+14EqHSGuy5SlwKq+QWDbEXQ
HZXmQFn0mGvZsm91M8vBcBw8ODFCGzjyV5EPOw9H37TwTswrjAaPKqGU4NRmrcD8KktwvS4CM6lC
Gw00szLea9VZAIW68DX3F0XxIaxb2y/pUtGeszpZ+KS/E8y7cSGPMOAhCCrbUQ2ocge5cfiH5Ol1
1T24BWQkQ77JCn0J3JtVtMYTjcFxQn+ggIeOFv1QGugz+c6zNoyoQcUOvHShOQSqCI3thPFGC2uL
Ugheh3Sls3abxgaYjMqd4gF60ntbV0vMmPgrt2CAU+f7Fmo7HWnNVIXKgk7jjd8H9y6YyalzT/tw
C6zoCqsXPiPAmTuKzWK+VPLbwOchtD7tAfIHXuAsWw53qtECQWhLxUmeqia9rSEVQmJmtVCYcAvg
GKGJl/kElHYDohSAeUHMIWl2SvAEg8Kqrn+kEFUpEpg7t7CrgXNBqVtp0x766FgVnSUN3S5b+BqA
4xPy8JpkFBIKzroMgNH0nzPkhgkkEro22FTkFcibVa+6ZgQ4Zh9IewQEFuytlpAf1nc50lY9Muwc
qk8aAbmLi3XTAz8LXfAsvIfWipnxH0Pl3zDYbdfwH40lh4FluMibdJHFYJ177ULT9noCGZYIIiwa
NCJiZa+n911449Z0F4H8HeN5PLeC7gYVVhr5Vh4ptsbdVdsV767Ebbh4KssH6kOaGXl00y2VsF2W
ZQ3uJT+qkETvSrirk+4+KLJlUb3kDsiQbbFIubojIv/Rxf6uCfIXDtmGIlhT/ejlWwcOkJl7JRN5
W5atqUeY8xH6mzXqGnG0FnCpB9sO2hqrJh8snjbXNFEAStZMSZKn2H+oi+AhhHhsBemWPJJwLS0f
Spivm4Bd/vRYbBG0pvxMWp3yU5bxbU7pexF5diVKzKd2A4SoqY9zqlbWrlOsnGyUVcE/0asD9Zyi
CbCMbxJvRcU73N2WulJviAqKL5jngLjiKdmd07h2mMPpDWY3ZssBTm3AMPQVXDsLYoUUDppGfCIx
8nFjOaSG1Y1aJSk61ix7lCDPUQAke5mYpRotFdyrWFIvVaHZNT2UgEkrhbE10Ab2XTTUG90qemKl
fnOqEkyoa+YoJy/rAbB98bxtUGpLF6Z+VYul5Jpu7ZlE3vDRBgGNDd9FoUHdaY6z14eDAJ6tAAGq
G5U+2KGqrzF3MZuJpfnJtUOW0Z5DfPrZbVb9rrQUacaZBTaC76C1bQ7SqjKyKYBh6Xp4XRCL4wci
36n1RsW2lT02FXqV0gFGFzJEMDJNHGYbkFRH2eMxym04N7jFfaWsnA5yahx0Ezh3+7annwpIeEAd
x29fhP8qkockeqkUVNXEW9TB9sBYFF5r9n290OhLbdxrgHgUqF60qdmwa5+koJmBI1HrN7WGyn0J
n7RMXQs/wPvfUnXfJfGilLlpjISswNkazXoA1josg5XheFbdPwovhEDDgbogsuCbSgfW4tmtkuGC
DaJFHSoWQ+9YBIapxnc5e1Bzu0uPifNkBBKUJHcRJB52KAfKr8py6Bu7La9y5U7TUZ5u0zWtg6sA
CzUJIV9HUChUogPq3Js4Fjd5hNZ7cCedlzRXVzVOZCkAGkFx3oW3TGN7xW0YPWTtG7T2fg0CWjXF
vWFEOy7A1jFe+irBH8QXcEsIbWDfywwzN3BXiyF1BaauICdf+RnrwEgPb20MMJDYtuw2KrakzG0t
vqu78r5IqgUnqVXzFO83t3SJclFKbaI8hPkzTLnRJcuvEnjZlAVIZfLZMTZxR2zXWIdQhskiekrg
eqJ46RLnNY5MYPGE9oyMDvq4PyR4vEMNM2QUzJlW3/oER1DHr3MKFRXp2ThzYKTsAagOJ3kfElFZ
t3bhVyXD4GfPxEYT2zpG1dFhFg42y2vcDTi6pl7tlBxuN2FoNtGTO9zWwNFnOY6MQjV1415JIPYM
HSyNRIe2GGXOd5G2S+mrR9ZJd0eL2B60bMF7bWWQveehsEDyFcu2nnfH8mGVsn0PoSmfgejsro1y
24rrIPJNHr527U0Gk/ABc3SAaE9rnFIXRX+kDmVmLGLON0MDZCDZcu3GI9sQolA0vRG6awegVwwl
RIgccTICcqXhv3OnvjJqsPid9RCzrQ8uv6hXvMTCgXpKrKybUdbL5SeUtk29SIEAwKqRr5F41R33
EGonSY6NTGxQ96wG7k8QRAAgyYrAvfJgTGP4j37h7IYBah5AFLigF7juc1n1mzbqHxqYM7Uc/ta6
tshKJBDpC4EzmeOC2oSHK/IfBO7OBVpilD0ERQ9jirde15Z99Kw6d6wWC0fBDK4zs4cWhYNdLc6x
nfY7p9ilQizb0VNBRvu0h1JHoC8i/hahYi6avQeTIhfupMK7rwnG8NQIY12T0qw7sQlqsXQaMAtG
NlT5KrzILmtqOujKG7V25/jpvR/4VzXQCg7JrVoblqnTHQM2rGQTLOuiP9aP/K2m0ALp+kUYQUXP
aG3SPg0Qy2JZCUK2u+jZSVTujrTw+RHhgxZWsGGHOL5QkVARs1PW3Og2GjLHgJD1UL1VbmrXUGiP
IokzJHfXsfrS9NJ0NHj4euCktfeae8dCddGheqQ7dK0ZoV0N70QB+/xJFv29LkIrbwcYmri65bSB
nXHlJIaRTtIvKtU7dOAMh8CwGtHaRXVfL3XId4EXJxhUoEKkSlKxUQszB61ZtcPjYFzpdbXFWWKm
nmZl3YGW8VpC6izCsdgx+BtAjioFFi3pc7uPs5VXl1YMkTQHskmZ9zz03XLgzjaA+aEs7tyqBnWu
BYwVXuW6zQt9g+fvQE2DyC6OZegKE25KpHxRA8WLsWTWPte+DkExHHxBs+C8hLeAs0j7d528UOWW
VJGtsW0vxAbsRCC392WGJ0iTRRrE2NfXbXTtlTd9BqUxCi6MioYoh0HJ3iVYKf4jx0FRlWiZDgnE
bbtDCys9RXX3kkD6tt3K9lWHYj4Lf3IoqmWaa6rcLsmtk6KFZrz16U8ZF8BVXeX5T1wbLOI8YufP
XGcRueFaTdKD4sUrFbQJ0ra2A6/vUlEB9sAWA1s1A6YsjfeWKw2O+fu+BCqeIC+NqWejo7pwdP2X
UAK7qOu1hmM85DmkBNzHSB67lOzckm2rgp0MCQEFJ0YGB7MNBVVVSBW7EFprI8dKutRqQ3cnymzf
l8XSh3CQU4qr1G0WjUagLAzhUUjCMQzf4OBZla+gNIHEhSwWFxf3UW39pROpOy89aPDoUcTVWHWM
/OwqUl9jt10WyqaLyQZyDlZXQ7McryPK+sVQoX4OreRKYyvknok/V2Qbr3lf7miqAIMVFzVJp92A
oBq8RG9le5SBvEdX0w5i8mjQFGkKW8TeRrjplQ/iZEtzbO1w2qbROiAHIq4y7SFVIWYDxs/3F8eL
7QPt7Jkm7QMa0catuYa6unGkjX4V+vsscuF+EKEvWVWLKIbpWNrA0LdeRkZ6yKHSoLfDjnsz5aRL
d2RNw7YqyYjU1ScFqxDeY52S6u2RIgnO6I8mfpgZ6qWqI8rDRArAFBmd1hjg5NqprKvx+psdvrZl
7FLYIQZ0m8Ngfr7r9CE+/+VzG4gGWKgBivLk1g915p6HLQGIgvXrMO2RlLyXpAeNYtW2la0MD0YN
1VWZWp6RQLaBmU3u7Aw/ssP2jgTbqirusKn/LGp+ZSDB62MO46nUrBL4DOLUHlx3XajRKi5x38ni
H2qZbAKAhVw+7JhKlzOv79IHgiccgAZA62nsS4UhjCoa5RiOeA4PKPVjQwXBfuHApJ2thhcIL0Pg
b66geqnGeB50fKizSl9p1J7bpn17xMVm5SYPFS7isFnrtVcn71eKC81CZUdxYSzjBviz1gp4vfAM
ZgHlvknRAmNOtdZU6GE7tlbfzbySSxWk86ebVM1LnrSu5g+YUeALwVJdwMGW7qD4uGi23mGUOshx
+0rMufbbXNzJovWIk6R1irhFfhcTMlIg92rIt2k6hzD5GkkDXBfITPSiQLufzuEMAq4BoM0oI6fX
vNy5uPplorLLTJ350heK9GMkxMHSJxr+6/OX9vOilZpEwZrAfhgcLLPQLA9HYOliI2KbYCC4Y6GI
MVOauzzAv8JOXmWQRqimlQgbZJBRKq5Kb0PpVqTF+vu58nXvx/AABvroHAkyZQfkggxFHCOOVCFT
IxRTa0rTcQDVDuOlVLqZKu5EIm5s0CIevpcQwJQAIT4p4zLXCVlBjXqESLRQA4MQkKm9wfH4qkQv
adTFL+EE8Mx79PcpSueruTn6tVqNBzA4CCaqTgFjneznUmG6M+geBpyfyrCC9+arLzbfv9Sv1Idx
lH8FmbYgskHzCbpJDUALASqFppaao/0DrEeQ599DwBmSuyYNl4ZF50J/3ZnG0EAvjw0W9qULQLmr
Fa5Ua/QbQxQD6C1zECUBN7oBQQg62uD2LUSlm5zNkTwvHNqa4JRwlUhQZnC0fF4rquxVBVkOJu1V
au4VU67leuQ6COCWwh/zuKVLk/cs3pTeZdRKJNzGRQccUsa+JHYKkVn0Qs1QfcnL2Pr+q16aOdAL
AIOVSCDxp1O3yMH+zhRaH/X04Li3vrJtspv/XYgxVTg7VtRGVxrFQYhGLGkeHxXlMU26mYzmArJs
XH7I8yjH/OdikgDUYDiDQKk3xx5adf1LsoptaCRGsIRAeXGmg3LppZ3HmuAj1Npo07RGLCDurTK5
ImjGGe3cgTe2mD6nNJ9HNJl4SVvput4iCjmNGVQJybl0D/UCUzWjG7GeI/2Ov+5LOMiwSPBqmADL
5fNnqqKsDh0nGzFC6LOvR+LdaDkwiw+6dAgIXUoDaSHSmynCg6COIozhA5aH4u7YAjdWw+NonAzD
MwhH/eo3uDYusIt9Pw3H7OXr+P6KO/loilb2TDaA2DeNY6PmWxly9X2EjybWdyEmXyzMB0hijQhR
Zw9DYjimguiHavwInRn1/nuUpKzxA/YYsGuPO2a2zVCpBVkNcvvpD96N0PPD7Pb5tYWLmYSTnlNq
kJFz8/nT9hEVEFBAp7yGZriFsqxnFniO9QDfnhMkYsYXbnsbHXWBl3mV2I8v+vW1/Cu8Me7uZxuA
yIoAlRi/PaKHgRqlvuU76ZrKDWhL7VsPd4th2R3gGPOa7cms593FaY0pPd4DIVAvJ6lONuhD7Yxw
NPQcRxFLjF6BhdR4LDNqRiZd6CtYtJn+Kqz/HZuyi9P9LP4k58kSd/CqDNO93YbQ5Lea/0Paly03
jitRfhEjuIHLKxdJlhfK5bXqheGyy9x3cP36OXDPdEkQR7jV1bfjvrhDyQQygUQu51xpL+aOTRyg
C0O9GXzkeAHeva0EMdBKXws2/Ugw58+YO6yiaoExWrkHeCHWqIZIGch9oNqcbv+HidO1i+tYIOdg
yPhSVKsgsPrUNE8qHf0eIRA4PSQfM5CD4SnfKJjCmof/YbR/9aw8UpazcFRBCYb0scpagCSs1x4w
EHirfifb8SYCN7MjpHhYvQJ+CzQ4m9ZyJVTCHMoSdCB44da+tt/Jrtgamqd+b31pW0SeOM5b6Wk+
2VS+YaCm42JOA8SyYQjVT3yk8TbLnk1IA4lcMGG46riYgED5BzVuBbX0U8e1Fcz/gZNmBNM82fRb
xD23oBu/sW7s+3QX700vv2EEIbMgYFhpUEArnoLSuibLIAI503JqTE3OIJd1iUuotNg7/VcDdAjj
kfrhe6I5YbOvt6LR81WXIQiEEMVDqskPfRCCXe2zejhYenUvEUDbac9hGu3xn3tlpru0GrxO+Um6
DwJys2L6lOiwvXyHrIabhPHEqFgDwGJwb4lOG7sSgxoDYETBTjNu0XSIrGL/Xbkf0bie+/m95KEi
IZC6Zs7HUrkYLRv7VG1MSG3QJNZ8q37EMOP4JX5mMyHLU+ZZwFsTns1rV/KxVM6+6m6MdLWC1C9K
nPaqb11AOA67+NOOgT7R7pEHl9Cp4F/WVqQs+6yj+2jpkKSWQ7yzR1SoCSv+659dtgSXpYiUY19x
JKUndM6Bb4c4PnnN0904fV7+faGlcDdLtUQZBUYha8yiN9YnZjivJb8ZnSzBpYZT74f0PZMFhiJS
irtUrCgL07GEzF7Zk2EE9ZoikLB2X+KhZbHBboz2809ZfaRDueQNnrLdVZ7EHkjOJPojBoyeYPmY
SfNRCSF42mHuUpMVvrOsyJNwaOaRLV/11tz12+QpQ6UZjYLLrxzEMH8pjrsdQ6AFDZkKceEtpvR3
0T66Ka5QWwDb8+gY/8XCj3TjrkOzJ6kyVRBmJWgD1t+1bRVuBAqtvcmP1o+fz+hH4J8OA2QAKHDf
AcVl2qPtBgEsuRJIWrvcAfCGZLWByWWic540UEXCKC56AFnmb7iqH1jwxhj/Ugz/AXJZsHhrEeOx
OM6vpGgZu6rGLRDL6W4obk2qgC3k2mie5AzVTUXbq6Mhskamw7k1/taRc6xSJZIiT186GluU0/of
oFcFwH3rz558Yz9nXi2Ex+E46v/JWx1rytmkKdVNn8+sqfQH+E+i6wkNHKAlT+6GjQKqrNybXsCv
45i380bzZQz+Vo76Wt8Byfgp8ogn2GbREnBG2w6FoaI7COt+NXiyX3rNNg7ql8YbfMVFzwDgKaf/
5pX/LjufbKkLNBVlMcYNWCsk2EP8xi1c+QpsSb58rX+7rOHq4Wng/YWWdsQ1X+HH0Y1gdoqd6vIw
HIr6F1ozHRoKBKwHMEcS2BccSajkWJ/0BeqUN9Vd7NYPIFPSDywcDa/Bamc5y/fLKq2d1mxyAr2r
OrKtfMrabCuCxLxMD9VQxV4Zoce6qDZGotro7QoFTsJR6P1jr8fSOHtVaJyWCFXpAYWHrYJu4dtM
R8/hDMDhaTZY9Xe5lvGaXhoo2833SoXUZG4X+zyZwADTJJ+yEn7Pl70kjWD9K7qbZAQSH8r+SYEe
oSK7itGedXmF1qzasDHrhMyDjicoF+MotNHRgjfSA6phbtON3iw91brmXpbCNOePj2Mp3MYPmE5e
JjJRMLuDEidPwQ8UhQOY/OQ7AvTXGI161SLIgq3JNBXUqGxsPFH4aDnuzDrEs74/jHHrFDnesal2
l9DmwSwAN09uVeTgBYuprMo0gJJAZFO27LMXSa/VNNJzetBCwGDWw0auTBlMZiM6BCQFBWcFMLVg
royGt1EBOL4UYUB2jPylSzb9NKFdVAX6JrixUzm/aUPz/s+3wcTrAYDGSEae9XNPvalWRO/oYVbj
2z79HOVPw0wdXUd7XvgzTlTBtq+537E89dTfVYkCwrXo6aGp33t06igFddX5OpIzweG8dnQdC+Ks
2OqTMLdqKGYb34rxRV6+XV64tdwBCtKY9wIaNDlrSW/qLJVqDYpYmerQ6tswKfBNirY3NBGphYjL
fE0di2hIc8IlLSBPn64brWfsv71QVKcbpyBAYxa9qM4NFQSMqEYzndgQAXeZxbWiA0Sx6w8UuAho
iQ778Z6ih2/KAT3YGIFEYiFS23lEBpmGDRiRr1IFn8Gt8ykCftHQHyITfcp4q2Z6dLAGfU/KZ71J
wQWJxqzU8jBOIdi+czs8lcxW4+jeIY2E3xx6VBEWpAPAjZP3b5GOIjX98zQ/JJmaon61LWCG4VRS
B+Qps68njD7u7dd+m90y6tDmsdyLR5nOT+5TUVwc2Mx9mJAFolrlQOXMUeYCrbux6EhjPnp6dJ+K
4SK/QQ+HxGogRnrIHzsH799r2wWexlV/QGwrODBEOnEb1bWhjH9H1GLa17wNjHAn14NAo1VjONoi
zvSnkCR5qkGGmpSgQ8cTjjaOsaC2JDr+Vp7AJ2vHT5XI3dJiChFrN963N4t+Y7jV1nhEFza62JCZ
wjB1OfqiCsb5WXUqlMvQyPOAYjDTr7TRNl0ZNwmG/HVgy/cN2aqa8uvy0bi+ZcDcZzkphj12avF2
ZOuppdP+ME1492S/TEx49tbHZSHnByJ0QoZeBjAX0Gb5hoBBrrVqnL6EfOb1NbWf/+73OV8yaZmm
c4oDIgRr90xe1EZkdau7cqQB50aJPNlLIkEDo74LF3NPpt4xldpJEfWWjexd1mclRXm6YJwjWUup
qaSEQuhBBN8syAEKxPNO7i1fDSlAAOyXTX2fiAcsV93rSFHOvaI0CidAO/eHrkVnpTNtws/oGjx6
m9BTHyG3oD7AHf3/AUVg9aT6Ldlk98/RKR/PvWInCXROrzBdDK6RYl9s9Uey7UKQv4HfRPC4WF1k
EyUby0YTB2DWuT0dbCVL7bDuD0Bjd020Ji6avDf1pzQffynzr1kdnLFNnFga3koZaLVlFiwL2EkJ
UGuTJROca5wjoq8C/WxIyyIvTVZ8pFNlCcBkJrlDKcvVs8XJih9l+n7ZsLjdPRPCOUqilXHbRxa5
k0ATHIOWYbaeRwymgH3usiDO488EcWurYZy1ZPiad5E17Eold4EkL3ASkQjOR+JcDmOsJwFIpuWA
z82N6MtlJdhHHt2dX0ooQBsFtQE7tPg4DjXdokQnI7nLxxdzJACqxkTanKGHOAQvVvRnl+eZNKbv
kf1HsjxXlr6QO6o9m3hjD0/W+HlZobUlO1aI2eCRiMTWMW9bQYScPKQYxOtFCY81+zoWwNkXQAlH
Mjcyuev3+n7xpoe5chWQRqIaubj1GxpanMnytdERdRfyPWdnq8cZ3EyqyrJBWnM3hhjsC9MKQ4ME
4ILKyKhzyd7K0adrhninj9avDrnlyyu75r3HinPGiIxzmS0zFI+URxWYFh3wDwsBJppo97ijOQkx
4DpgyvAum33LwBgeKMkva8GX5L5WEcaugtADfWbgXD81kCWUtaozbYhA6eKBvGJiYQsmsp/RTZu6
/buyD53UKR5QrumFj2/u/D+Tzdm/muMRQeaQ3CkPs9telRvQy1/3r7NXeLH/h3BKZ8I4TxgNvUtp
AmFFhrZtDNz1viq9ClaTrRZ/fhyvJucNSVTKKZg/yB0govzW3oGh9n7YYbLGLYZtprr24Q9xys7U
4rygRcM6Wphxvpc6+ARp6s7d9rJSa0Z4rBNn6LJkUxnNgFg4dJbLIEeVYgETw5orHUvgzLwqqFHn
IbZGn4Myl/dR8qOxhS+9y1IsmYs2LHTK9prKpGwxY4z+JxCAgnsUI4eqE6FvQobR9cjq9JvL6yeS
y8XbA4ZcS5nAJuxM9qUi3RQxyJslEa7h5W1CY/OpI8cz+vyrGo6c25afYuJSJSKcS5Em3FkxKCbq
2BVbQYyiTaTH/YuRO0GTwLoegBWxNERFAMs51YMaoTWGWWzcIVhzQW8Zt2+X94PZ67mP/hbALVRH
S9wQdmTcpep0O1vJVZj3fhfnnjoNXluk+0ESeND6uv2WyK1baNZ6PnaQ2FWHudHdbu69IUp2l/Vi
nn5JL+40HTWi1naJhaOjeZ/XDwMgPJYIVBhNjwYtUd5EtE1M56PAopNLktc2pLXebLllAbbEdKMU
4PFtYl9tPdUrfwA0+8dlHfmCxNdxZ6IdkwF1o62Qj+CbNuzSQsNSSqAr8nU/3QDFN8qcaCujpBRJ
/wvY2dr2HcvkDsC4hck0KmQSPMvAFq/7GfEMyTE89TX+hnliZPyuAPAqqPevBjjHcrljMWmXeKA5
5DaYJa7tXQoacMPA2xBzW4Chdm2z9EKQ0iRWdyVY5rXdRbncQBVbRpsO74TL1AKcSvpSObpr28cU
ZQ+0uOleGJTtc+uE1+JUkkgm75eKMuiYBSd3dZ9iBtP2Mqt3L+t1tpNo40XXt6EDbx1t9XztBPyS
WarEfRNEXeJRzf4w0sqrlVxwn53FxEyMKcsmWBJtA4fYqW8A6UWK9YE0GEmXr22QFhhK4+ghkLYy
IjASZgMnTs+J4hYtauzclGOlCXTMy47aazkpngmiPxm4XrNynZTqFS0ywY12doJyQrnzjEoWkdp8
aYKEIgE8glDRWNxyAUepYnzrbbCpS41g584dn5PJnW6YIiqBEqY2gVRGrtoXhtMpy20R6q9ZDOCX
LN7qYQt6VPWb1gEezQIDMp22E+Zi/4MJmSDfUG32/wbnlPFi24PSGE1QpZNXgywF+KY2Bhr/Sgqf
GemXwqoAxdQESxzvovmqW5qrZhRs47qZ/quKyZnp1KdREY5QRa1a3EeyV9LPcAAoLABc/k4dzkob
vYr6NIU6NsaZQw19AeXGbJ4uC+HnSRT9y0R+68OZ5Vx2Zj/Z0EfeW9kO9EOLo7xkT6y/vV1clEgx
gUcA1TrutMfLolfPld9GYXLG2YBhVJYS6Gcgk2NldwDzAaODIG45Ox859dhHHN246UxGva6gXmkb
gIvB5VqKcjjnr0FOBjOZIxlRO0Rtx+wOEAa6BSAbp/xoD/2WTeXkTjI4WuGl6lYDYmr4TQTAJrJH
7imDQt5Q9SoUVFQAKMTgt8P4+kIkp50E72rRfnE3egNoIhUjQNivFJf3/JgbIOsJ7y8bhUgd7qRQ
66gzAEOItdRUb0g3ofrL0Bp3FnHXCJTh+6aSUB+kiCkzW/JVkzxrWrgxRlFZSSSFOyzStJekVmbO
NeTAesFsenMXxgI/EiwZD2ML4KLKbHQIIbW60QYkow3kIhS02FfDf7qj/z0sLO6wqIw0JSTGqlkj
8PyiDuzzwKYIEbqKpvnWr+jfkrjDoWvmIdHZ4QC2TZdmgGQH7ALI4Wz9KVQ/orJHTUl04PJ9Df/3
LPzqpEDfwBn/A8LFOrSyEULBsuCNIG6/6raSH8aO+gE64ze670GkrTrxvSSGI14/qX4L59xrIWXW
Ug3Cp/SNdDFaR3LBhcJn8v/Rz2ZzZiYKCOhsPj2oRnRAZEXbNQFaRkOgz2fXHcbB0VgOsBfbYTE5
wDVCX/T+WPECJA4UmcV2KMTzHVcNoPXUUZJxL08li8GdDEPMeSN4Aq+4AYpBQJtDmZ/x73IHIcCc
JTvp4AYJABjGpHLH4vsYUj81bUGcsbJTJ5K4ncr1pYtiduTGVuWWDdoD05+XT8G1FUOBHW8INLCg
jMn5mZ7lUzikOo7a+YfePeVTYAFD7u9kcB5mJUVoll83I3DZyXTTTy8m3ml/J4SzuLhDMTCLEdTn
7X0KrtnRvCrLRCBkfT9+rxazjKP7V1NQqqkIhOj2QwScXvv9shKi3+csK01GU64S7Hc4/jRqFDOB
wXRZgmi/eYsCg7E0DRruCUN2CDWcOqwdLfp1WQpfqGf+D8P9vVDc5TqCeMLSY4ih3oxyZdE5sQI8
A/LN/DH4dempuyhzRYV6gW48zYudW6lMZexOCTsbtRdMGDsAMbusmmCLdO6iVQimNBsTDtMUmiPr
v9pQdCGtHy//rp2unhoZtatClRs8pRLAYgEFAWPWd8NS+Jb8cVkV0Xpxvl+FtpXkI1QBjtdigOAY
nPRN/fJ3Qth6HrmMNBS23jbYFGU55JhsqZuHORaNKYjsjb9vrLZX0JoOKUAp9K1P+5qRP/Sb/E3d
tO7w6z/doagKY6xVBfyIdjZHTZalmlsND3tJorjSflXL8+V140EGFPSqoQceHaQAwpVB9s7tjmYX
WTbRtAs0C0Tcqg3uaEWaf5hK7A9otS0Lez+MxSNgx3ZFPn3EFn1KdYA02Z5Kx6uxmG+SItvlqJcD
gy41k+3l7zvzA3weOunAPY2pODRnMuM62te+ikbVipoukCng8SwATUupf1nEeRTBZOhMeTadddZA
nVSSltsJZAAK+K67y3bTLrxRXnSv98hn8V66kTfVggNyVS9dMxk8PLBleFoIko00K3PIjFBxk+p3
axJsrEgA594NNq5omFKT+aGoCE968qe31Ney/VaBs5yqq8NRMyAh1ErA0H5SQLte3hmRDuzvR5s/
gqertHpIGMpHMgc0+vy73+eMawrnIZ0Gtgl43WY/c1M0dSRSgJ3BRwp0o14WrQoB4M3yDTJ5Qy0q
n66KwHQhQkRD1TUekKq3lrZLbaYDIMpV1OVadCddXiaVXTYn6UW20ywCRR0Gg95ffz9Sw5BbWoxp
2wWdP8TedPND/SQ9hmbKA0CePevDfALdIPjS5w3olgFBBocZTcFHrOp59A2cPQ8DskVjy77BstCQ
nDpGJiRYZBZ7SU/Oouc5SQsz7pie4RbT7AAL3tHCaf38W+rULuBbRUNI61oBJQP4LhpreD81kHBc
Gg2D3F1QIT5SlU8iSocJBPBD8rU6zRlax7vABMASKX5J1bfLxiESwAUqNJYnYmgQME2YZwLQT5eL
vEjlOpC/7iiAUugYdZAB5cO3ERZWNLVquNDAlJLDpEU/5T4+VBmMPQSQ3KIoVyQClkXUbYpU2qlq
fdu09LoGB2W+xK/oR3oCBvz9oJvoRkkxAjoCgTMZRDnhsxc+8xLMFgJx3cTUCv/GGcOhDIdFo0Gz
oCZk4W0w5V5TKnszW1x5IEDxBJa9FN9f3gAWrPNGi9o+LIi5/xl/mJk3zaSQlgZtpGRBXQ5Onhl+
1qm+CmaxWx0wTP9BoKKCZRV99ayKcmqzE0kGlYYqDSK9Asg4GEUMwCEbtj8iVhi7h8vS1uwL3Jmg
SMPcJkG/3qk0u+rDRQJjZ6DI4DEd5F0VifKdAhE8AlFkpPpk0IYGi3xjJDfF9PFXKnxhzBwdnzPa
DO1OL2kgdVcopwHkWTQNxA/wf3nI0Sp9/f1IRNpQfc5LrFJYu8tNvlmqXQPI0M3sjVc5AJEBF965
l7Vid9eZ3f3eGD4JgoqhmU4Apg/COANgEiAKmsNo9hgOEp3Lov1hfz9STpLzRC3KmgZWmzl21rig
IBfY9NkbBb5rYwE19E8R+2zoqCzbOp7QgRKUA6BTqt2SPWut/V8CzWMpXDhQha1thDqktIB2QMqo
3Cj2d9unGEQEzNxDqLh55pujUwhGqlYX8Eg77r3fj4pWW2pGg7TbZVPnNkSUiVs9oo9V4x789hRJ
owmMsEC/b97mt347/SxSD3OCMPfGmb51HlpRgDzsJjHCXQdgiSB3EzV3rbvBkaLcYUGyJJ3rEF8x
71U3dkck/zzWgTh77X0SiMQJlpU/N7qSMLpX+LUyXo9o1jckU+Bja1eKDcZxGCRIIc4Q4IhqgRDA
SGGWvTZ5TVE9x/OPtmkejbr0l5YA6z151LVacKWseAPmfZAwZgCnSEFy9mLYY1l1Nm2DxkQypTbe
asAm05A8XT5B1JWr60QOZzS4L1RqJ0Mb6GME6mzN8lW71T30IU5OrObvQJ8zgDBu5A8Y0KvcuXiJ
7GoEGtvc7FTT8iszC4Cv9t2cMkD4zgzSo8zelr6zr3oMFYcY5BzkvawUHkWfipMAaXbR9KAOY8E+
rT0hgSiig75T0TQVmfbTI0oOqyyPQKQTtCjz75MaTWWS+w7Q89cZQYpjXIPM0KsEbr0mlTVmYEgS
z3cF04unUjElWVShguiRvvZvyVt6qPbZjxqUT5+G7YCMHSE5SFjdSRQBrBj+iVzuHIusZZB7E3LD
/qcyPI1UpBhbLu5uORHAGaDdjrlkdxCQXk03gBkundizXXLPACisl0g8EsAsjReIIUHZREIfc3s8
rqyJp4Wh93YbWE96jSXTHGO7eHHJ+OkqN/yIP+fNSH3yS72OfVFOeW05FRDLABtTwT98MwFVlSxf
Qmg7V3ekeTFMQZ1z1U6OBPB9BFFnxkvdQ4C+VQEYRq4r0EH65UuNCW40pJYORlptb95edu/z6tMX
ct6/evGdBRSEd41FIbbzlQ25yfzkVwXH1negBbIRnKib3A/nG8xKlpYPHntBbU+wrCb3Ygz7ui40
CeIxT9WQh0EXnJLry4rpaxXcvRYKULz7yak+WsU/+r22VxlYjyPfvNOd0gGZLjqm/fZJBKd33gHD
FvVIKOd7qt6U0TzjvTVsKGg83DQo3OWOoW+1+8yTFV/UYb+6jKzGBuAPNMfy/MS0S1otIhBoJchU
NdTpRKRY/5+F/C2CfcJRgFeGGL/UJbztjXvAz/vVbXJ7pR7UD4aFqfjxvrKA3HfZOEVacXsHXqFO
6nJohdH5XmtQmxCRcPHQkSwmx0791orbqWwcbRS9III4+VW06wDXZ98t+3gHsPjdZW3YT/HHl6pY
+B/mXgCYwD3JkkTNyoIgCZTNC9D1nxogxdb6dx3H/2VB5xlwVr87ksQ5VRWleUlqbNUYA0QL0NeJ
iwbj1EP/JbhDHUXyEzAWeaJQa9VEjuVyF2yV9iml4A8N2h5oe0g4e8tPbVe47fXSglETCLjpXhtd
kfEzM7i0sJxlVghrNWJCrAUmGhkIZfYDKJIFayoSwtlivixFZ84QwsYFqtID7dYm+zV9M7doFKm8
JnYYzSH9flnsqlREKgbGV0CFySf1wpi0S6iX2EnpTuufp/ENyE+CZ9VK/AqU8d8yOGtJ9K6nhhwi
Odlkjto1vpGB8ksm22Yij5pxp8n0Wjbqq8uarT0DTsRyxmLoUzLkYc0S+oBzOPS3FMMXo9ccgCOy
EZUD106SYx05EymSIVEXA8KmBiEn6GhGQ9TuvOreR8vIGQhFMKtHM9wbLEa5I4EOzpWfUq9wdeBS
AO6TAmnkHY2fLyK3E9kId4SlJGllG8wWgabYjpl/NuaHXYpmV8479tiZcqQeF+3pRaWXOauFUE92
FS/zMZFMwASJl6p8GDez6hggaEIYJoYiFCnIvUCkVAJ6OIVofRuHaCUv0Bd4u1xLbu13oOTd4cnq
5dv/cvkcK8zc5ui+C5McvTBgqg4alrNPbiwRhopALX6AHUTYgOqSKtwH0S0I25zMBKXJ8F8und/b
pnGXjt6YVhEy5x67nxG5N0Bn0sWFI/V0c9mfRdpwp8hsUFCzKLDCMprcXKZOCErLBZxkfyeGOzWs
wjILq8eiVcnLJL/XuEoVEew3jzX0FRSoaB5SLQsYKmeJpsTIzSSPVIQ6oI8Ys/lJzWTZWVTrVlVm
2dGN2TXAJaQqLYhTQGAyhndSCk5EZHEXLfe6THEArDk43aB+jEX3BnJHP7Gmj7Hfh2MNhq1i8f7D
sqA0DKJfxiLAJ2DzKjSGQbZQw+oyB7kVp65+GYUox796xP2WwudSSDRRSkpIoe2u7yUQfpWulu81
WYSEuWpMR4I4q11iM6dAK8FxXYI8Knon0asE5M+/WjM+HZu1ulXmpol7zxycKr+uAEAct5MoGFvX
BYTZKp6uwBflDs5Wy5rOCG0ERWjiS6+sff0Ru83WOIDZjVHdqV7eOda1vNMFcz8iwdyxOVPQrhop
BNfNVTu+ps27Knq0rl6roFn9f7rxZ+TSN7HdQoQFJKYK+FmtLWp7W7e5f0XwLbNK11HMnUJEhknA
aQY50mhtS+M+D6fHy/awHr7+1oYP0LNFnloUAHHiA13hrf1gddPwMUtu0ufJpwAUkTSnHd1adKad
t3Kzu/VIMHd2NoaWdqOFqyb57C1XewTT5lWxA8Fc6HUjOK0cc6t86hsMt0tCTIk1K9FQlwJkGih0
zigO6AxSoilUcHLk+rZpfgwT2PbkUnA7rO3ikRQea2/OalnNFTSw5DgvMSjhj+M1ZsKddBLkE1bV
UWQAzDOqEUxJn97aUt22Ul5hKbsWIOzVo5nG4CMTpL5EQjjPCqlO40XNukAdSVDEswO2TLBgvVy2
x9U1Ay+DjIohaur8uHeTpL2RZRrSlUPjYfrLkbIInEQPsbBfkn0v/4DSMFPO2msghx8hs6kV2U0h
QdKybPDqfs3NxwKWWJjgdqP5swl60cu6sW04kwiMY0DIoT33rG1WljoCME29DTrcrlMR+7hK/BjE
v41UeCSrBVaxupRH4rgNM8JE1TLQEwcT8Fp6kAl20bey+cS0tOBOEenFHYgdbYBVYWLPkkzdD8RE
Fk1zlQY8imEMeiT/8iquZi9A4o1QBXPj551nY9ZHYT/HSEqWz1Xb7Cj4w5bK8m2D3jRRfr3UHVBS
Ki9UmpuBiNq+1lYVuSbZYGQOyKozNzmKkLtIygGji8qAqQD+fHrs9Q7cwoj+MsHjm60aby3HgtiH
HAkyqqKxqrRlpY5Xqdd/9JO8yeP6WTLSvRWlXqe3bkjN3eXVXbvcjqVyR0mYh3HcGFMbAEtuU4Ca
NLFFb4zVFcS+2ZYCjpmzKj3KfGrb5mobKDW5sdEe0eeda9kdqvWiZl+RKO6OWZCRBB7X0gakb/f5
9A40eWceFVfpBYnsNUGY10TZCzDuSLpyyzbZktHaLepSSzHtak33wSvmAItxXw1/PE6jAxULywbj
QwUJKPWndhHFi2WPrZ0eBqCM2caPukUpU9jZcu7Tp1KYnRxZn23FRq0vaXborNqdsu9pD6oO9NAM
+btWVgKXPje6U2GcTykS66KpIIwAO9IES0Y8C87C81llbtU4b8pHW4kHOcoOOkkelDR+MMbet0MC
3rsK/ku3CVFuWgAP1W0imJZYCbFO1eOMQ0kIHUsjyQ5VDLp6R7up7vvGGXaNRzGsHeR3YLEHAreQ
AGZ1D+Fo6OM0TQ38aqd7qCORLNFCSw9yHjkq2KsKCRTJJPXUvt3JIlwEtkmn5xVabgjgJdGmivKs
xmkpI/YYUtzdhyEB/waGihcQ5KE4LLCVdTG4PlFbtBEocLZSa1ZaD1ORHSDO7cbvdpsDwKfaXD4G
zw9fKMNCQ5kRBJ31Hrdj0s9SD2Uk5XlO/1m1dC6uS8CL44+eXYTelNaC1vqVq80EbAAa7nC7IP5R
OeXSpZ8WvUQrGaCTHTvSarei4dNSGpusRmSSRFtrmrww0Teo73zSUHu9rPa5qRLVgGCdoESA1eUL
fi3IMcaxIckhvpEZBZMLqmQQ0vcbcLd49mfr1i54bc2Py2LPQjFIRZszcg828DoVvlpcjracGGAH
P4B6+pBV4EFPNM9aMGBJZBBog8ZFNPVzXi1A7wBSHiriEgxn2XyOeVAzU5NMxOYjDcH1YAdJNKMZ
6WORiEtlTDVRbTfi0dPVKph74JpNSScXoyO7JS+9y+qfmfTXtzAkAwyNMF69Uz9FlJSNEUH4jveK
m2aBLoOuCHS3l6Wc7+2pmPOGS9KnXYIs0jwWzlTMfmVEL92UHSyrv41M69YqarfVRidsa68qsm01
m1eNpm8zQ32gw9Xlz1lVGtD2aA4EjAPgDk6VXgzJtqam6AIlAfk8kkja+DSHj5eFnLkxVAZyMrDH
ZR2hBl8hBNoRaQaMqgV5qjtTnDt0Qc3ClqVv2ThtWgsYHS0FjWdXijz5rDHUUDVUJfGCAR/s+etC
mqdZCruwD/oC8+sgNCfR4KR55c0hCIkbKYhtfW8sm66ZRDn5s9sUooEWzWCVVBmtF9xBPBd6Ebam
2Qd1/JTXg9NEN3kqe0lfBF33hLmNJ0lKbwBp5CzgmUA/lCSDr11YY1/9DDQNwLVRFMapdrrBKO2D
Dze2etSOcOnVC/D1aexEewOF/hntf9Fr6ivAERUkgFbMHOrDowHtiU4bm089kS6tuikfhmBKJKBN
tWBcLwp/bGOQ3PfoPEnja0DSf6vDF2V+X3CeT9FNaN8StIsu1dtl+zsPO9heHH0M9wZL6mySumwc
AlMHbOaYu01luyhXu/3wQoAREUN+rYBVNxPmV9YskJho0TI0NjrCt9+PnZzlitEPgRxjAFUaN4Ud
g3gdNUlQkOP16YCQ5CGZ883Y/xJozcLqk1AAWhsYDsLZimgAqNCnW58vhkYlQJIH0Zu1tVUHhcMN
I7CIgBcaodAlKgad35vg1UOfJJREi9N5p3FdKYMWF9kQ9K2xLYnizjNsrZ2W0J0X6vZVuC9B++jW
ZbbJ5ngrInA6P8w0EJFCYShun9N1Gp0+zFo+9Wg1B8YQiMBkjMX9cVIQEGRI7yB9gOBAxiPjdFWz
KdQa1i0T2MtBMaNNK4MJoLiZMyFb7vn+sbSVjn5ThuZ9FgXIidqalaVhtMmscFz24FOntX2XJYvb
j6OPMilQDDO7QXkvcZHS8HrVftQSQcx+9qYCaQSgLnGCYJAZMDVcPhy2ZY7GqPeBDoyHrNvhpN9P
BmbTy1GQ2jpvXWGigNeErgjC6gmcqEzWc3wF6tyDPDm9eTfV8UYjxXJtZM8kBUVOOgdJUWge7Sle
C4AaCrUrs/wp8JvzI1OXUcdAUIKJGTY5c7rDyP1LZbIo0Pg+u8MIi7c4A3Wqd1ZJNd/qrQGQQ0cg
8/yKZDLRHPh1C5/FXn3al3KE1FTQ+J2P20J2k10dVI0judZN+sluxw1Afx19h6jXS0RtDGubrCIE
08GooZgqf1SgPVG2iy5CB3WVYg7/h16hRQnzGhUwrQWanjspNNXBf4SOfVsD5ODp6irzDDLMumAX
EnmffcnJ9tEEkCzzdvQAWhW02/6nSL3VHUVKFl6rsH+5u7idtMIcNZ0GRYlieBY7o/wuUGt1BRE2
ExtZNpgvpxYNxya3K4NCrfIxkv3ORQ592A2u/o5xpLdpYdjIm+6nqJK06jTqkWD2YUcpAqKk8hgS
o0UrZP1Yfs+96hYoj8xeWqeenPxJmPlbX03w3TNeYlxPXOojMckC3iBk/hiv5jMD5LSuhtqNn0HX
48pOeZu70cvl5V0zGgRyNnJiKtiY+GBKmZShL/qOBgk2cIq/h2rshN0fTzzj/DmWwoUJhpXnVjwT
GtRR6dhgiW1Akanb4HwJI4EbrPn7sSjujMn6UE0HG53+xG6+U0sF1qTiVWrnGFXo5o3io7qF+fHe
u7yO5y2XpyoaLFw5spakz5awaaCizEitFq/eYCgr85BVcvPZCUGm4i0+Qb0JfXya5pR/PBP6JR/T
unASPAn4cHTJEkoAD0mDXk7dkj736eNlDdeMEyAS+BF0xBtniPJtV805aRJ0+GuV06T21aRZ28si
VsJJ2AkYhBk2nIryIufrU58N6qhJfaDK+zAydykeFXI5uaWOSJeOzowbIunzTRGJJi1X/QBssrIK
wZiu4g4yWU7+D2fftRw5jm37RYygA80rfTqlvKkXRqmkovckSOLr74LmnnOUTIY43RHdPQ8ToZ0A
gY3t1lq1kYDu7yzTdDdObyCbdqZ5qzS8EryjG4e8RUVtHeWH5XPQNaztxQkLpF7zW7Y7C97FCT8y
e3BCC1T3vfVf0LyvrQ11K+hUoSaA+HGxq/UIfte4GIGCCow7qcWEj+I0n+1Btfq//fN4jA/lL323
8SnXjWJHVby5iLYWvgwENOBQqbCh4z78jHfljnNFarvpznhULdETj2LwD2UgofuHzQVc/z+SyFdg
2aHJlUQT4uEsGO+dVtpyeO7ULQpDfhAuY39uBOVpNLhk/Qo32g7TQOJKHAC+kq1qiLwir9wBzYQk
meypfvp5G9ceP+AZZWg4fK1t8enKsWNlmiDTEASov8ivvS7vc1BFRMNW1391XZg0UXhQKl8xrzOE
gOjdTt1ZSKklSeV9zf7kY7rvBd2t8g1fslKewnIwhIP+OGpj16PNA2WNQRGBoytf7lALmhsr9eYa
rNA2GmtALDnVA8jPqPvzfq6eSh0clJCEBavDMgId2gIVA9HANa8hM6AVVibdNuoWqffaXqIqgnrf
FzXSEtMg4nkxKxXgoYHKaBR2tkYhvZebfpbf192W57+qLnI6Tcwz4YrzWtDSpxCFzSqrMQ1mMOL1
/RSAH9GRpg9WMFsLs10YN/7Pu7gWGgH5IouYekZP/iqB0ohmKKkY4nLbsz0/64doDxfmRbdQq3Di
u60h65WnRxIxqAiML2r912WuSCjGeNRbDL28xeSXOW/RPa4vCAzUYA2Fy9KX7j+S63qs+SgDOUue
aouf7F0Ay6XV7fhsv+AkWxjO1SUBsMwrdxAW+fpB38IFPW/TaJJ59ahmdl5AE5hutWVWTiEumImk
nQs+o1J4GZHEmdGKAulxCvdokOePxn7oLPNQPrTvqHa/Fo8DtYbH/lf9ueWIVxf3zfIi3JOUErcs
RJ5HqhoqwwOq7J8/n8CVKO9ibYsoT8FlYsClt+dShrwYAdtQknmpiqbFbNomSAVlNGjyMtroWa+4
D6TruGLozn91Mi63dBLkMcIlxFzNRNwiH2wN1RdgiLZK2WufDi81zEB5TruSM+uMrp5yVNZwv+TW
AqjzBtmHbd4r9/ppcLLb6Ua0AC42HcH7eV+vB7jhTHAcRcK71+D/XmzsqGbaAFIWAP4jXtbUPbxq
YelVsVvfg63OFUar2koi140CRqehjYcOzPIydCW2kuiAGZsPLLHEU/yAoDm3wj+ylTkk3ZSuWDuf
IH7BdAWiWQ6mv/yMRiPP7WwgChMTcBKkUDerNy7f2kGBuoxsSpxBTl5G4+AkrgnJ8M6MJrUSRu1a
/iUq7dY54UHUIhhBqQyvtflFhrd8aCo1pgybh5ZHPN5kMTqGGP3aCwYkEUUQdagh4LFZfZ5ZkmMK
ITwQXQhCuRCtrFc3fsv1K8SvBFf0BW0S1s1/6jeH1uhNnWBGVjk34XSfVfIBUsxOps82VK5eVWXy
ukneSPW2TPLP/M2k1spJDSeqnNP2TUjioJb/6CXzTOmOmr1fdlt9rJWoBRdClAEtMvA/aOxcGqwK
UhSsDBXgihCNBdldSJzpoIGtCISsM3qHgmBtgRxWEktu1ERp1ADjj7yk4JiEqZ8yE0ZVPwoyN30Q
Csu0paCt96bdu6rX+k29J44YYPBjs/J8HYBeWl8UQZQeItehDuujPbrnhhOz1HvEo30A0VXf/Ayh
2ElO5m7L8LWDv7S7eLwqdExJaPz/VUtB5vOVysGWNPQ1AgJX0YTHg06aBE6NJXVIwXSlNGJB+QKs
QBnAJrgchlvYXWmrFgpMrhi00X7Y3tprJ3RpeXF6SagSNvOdheq7VWenCs2zn535lgXupL7dj1gA
8WM4w0I23SndZ6NvgeRXHDfWoKBij0FTFdWFhSNF8ymsMRqknIu/sx0FpVf4enern0SvdMcAuIF/
saBv5uTLBRFwxspGDXNdn7i5MDjiFu/VSqcFWD7guk1EZSg4Lovy/P5JucTks0Zmxeq1jxFTeGrN
dkQOT3HO7iuMwgmuOdceIq55w6OteRjUx7koIO+VXxVZWKrR0Ow76WycRlf3WNClvqze6jZXV2CA
6/qJshO3FFLWvuOF2cUt74SBloPeSrjlPPzNHfiY+sChrYUHxo+tB3/FqcCcycnlRKCvl5cO+Yoe
FrEsnVOZOF3xrkrgqhDes3qz08MP4OUDafBwDbGMRJA7XB/QSC5UbZK/3Be/3sUJOsZe5UVeFfx8
ONc3UUdxADLGiLeXedgAoeqx13r53HYur91WNgWaxMKQi+6XbumD6PFfWJQUdDc0stYWFJuZjXOm
ymf2p911d/3L4CW3YA50s/8COnUd0qAu9s3Ywl/VOajO9NyQz2afQCUTk8toc3d0qxC34rRghqBQ
pUIe82p6MhI0VkZNKJ87JlgySKa6id39vG9rx++7iYUbAclrrQpaBJ+fgpFFSR2qj46sPs3R5hda
3TSUU9C9xaQyAA+XHkuIalFAA0M5K5k3a05/pDsdJIdUxWlwhNg275ibusl5q2H7FcIuDz4KYqhA
gFWBD4lcGpazQlJSmimo+eWt05q7fgZqvX0AO4bbutmt1rngm6yOBtBWeOa45Fd6929eV/n7r1j4
FV2dIkOKch49xEg2GzstQEYQe7Ub4Rc4ZWeBQj9C4PQv+Ds1HNdvG7DYeUyRamHEYNoYz/ngqZtF
npWawaWFRZYrZHpVRga2uIdEoQuYuc9F97Ij/Vs9Rnbrb0aCq+dWw9ANx7AhOVt80zKNSJWJmXxW
ItcEXib2YztxDcc4co6fJHG68MQLMMV50zS/EsvjBKAyaj2iAeLfZXSvINKWtQoPxH8i39Tr3xPd
hR69Dcz5rqg2WuMrjQADzwK6AJgu4gCGRTYxR8IcCnEjnXuw78hpFLRJCiL6bicPIE1WUEGWG5u2
wy42Yu9n77B2ZRUM9KAShPkaQO4vb04CxcKehjAtieEuUV+S6DBE0sYUz3WCj/V9M7JwQZHRtY2B
itMZR8iLo9id6UsKpERX3CXJFsJvLahBxwF1OmT1yBWXU4+JkOVF3bQiyhYTSkAttYe4cOMC/A6i
7nescwZNcNWU2LNOHqKy2AhEV4L57/aXLChslOlc9714ZgZUVkVTeMTbYZU9ZoNKjFwmuYghJX1X
m1v8LtfnCLyFKih8cXBVA7dm8TGhgZxhLKgYcEdHN9xXe2M37edjebfV77haIjeEeM3AiDzaqMsJ
i9hoCJUETOJFeg2R+8jSai0wVAHjlGDOZZErxZ+Yf3j8+axePZYLq4tj1BtNqpoIhM9hG1tx+DBu
1dmu8yNYwHqwfwh9Mfu8cKPJWKS1FKrAoZ/pEV3U3BPcyMekIQidfne7HK331O4d9vbzwta287vZ
hW+VRo0lZYcCs9KnjwB17nqq2CiJ3YhKdUyrv6o6HlisbpzTa4zwYrX8Z33LmDC/WMtzh04Z9YTz
2FrGU25a6l5xckhjhh/hcX5DUZi4COsIxMgcuHl7DvKTuKW0u3pwoV4FTjzEQKC1XOw7gS6zAtgA
0MrRCIAyhF8m+q4yY7KMIb2tje5jTptTQVr0GDazkCtvj20A4yzYvnjMgm7o5TZIky7NLfiD8Gxr
KDro75ELYWYvDsaHbazi9TvKrWFCh89yIo5dOtxyruawbMHeSb0p8pOgwTsKxc7Ww+MCnRsBkImN
73ydZi1MLu5NV9U17SaMkHbunAWQBfWkgFp4vHPPsOjvykm8LeDf2olGukOAnkFiiZnRyz0NQ/Tt
x1jDzNk+QRnH2I0emgv+lh+67jDzpSkK2G8wDQRmpIWdJmWTzEyUqHnBBsvjc0DudDBtxZ+eIzuG
jvhWOre+tP81uRx9yKOZ1XKO45Jysh3f2GU7yf0v4p/VYwmOHbAdarqqLJ8xgc6kkwcM5HRuH/nl
IxQPwfWmHQnmm4AL3eQXWT+Z/2dw+W7Vo2Y0dMAdG23KFUt1T0HnJLXk1/I+svtT5JCPn/3emkNH
6vg/S1wSd3VDWGhtFLbnEIOJlfQQN79/NnAdC/DzgaSYy7ZgCm9Z4Cd9rht4jdHpgpjilwgr9GFc
nqHWn1vx/+pqMNHJ57Z4Cr6I4vJKauZwQJdm6l91CEb28maCtXYmeKjI+4Mynyq8vFaEUsY1prtz
3xgB0xhEGvtfmfiosCGo2tkf8eEKUGf3Zf5XCtGpIcDm/4sthbCKJgFYAnDysiysm8JcSqEITL6S
Hac6bbw5rfcN6o6WQUpfGkNOIHk0W+E5gmo2NHwff/4FV4kBvqnxRaGvAmoAJ3O5CXQGYBTjueim
9wkwk8zlKkcgureZvDXnRHjEdJEJcFt4klSIAiBGXlZUzNGYTUClsdjyXPbkuWZAsocfYnNTCeEJ
8o5ePognOewtAvlIGk+2CnWlRKF37fQUhZVDy9iSwiYYc18OP5r5NA1RoEaxaaHNyyzU5exZRE5O
nyrW7uVCea3B6twU6kkxMA1ktnYysDuDis9xDy1kznullVbeYeJbHMiZUBBhZ+lxRBhtJqdIUQsr
TeEc5pdE7W/NyfDRYbYH6f3nb3Bd/llszOJNSYY+LyWGj5Cw0MM391OlCDCX6oAnJCbMFiTDiqrK
y/ohAHji2dRefv4FV4kLYAho3GF0EA1sNCgXsS7tB70gMdxjiPyIqEGsvVZbsrNXLRduA+E0gl1M
21xVZ1huSlKexO05bovnDPP+RkrtSonPtE28EONLTTJstNJWnMiFycW+ZnLcx3WWthC0CW2p1e3M
3Mj41oJcFP8Rf+BIi9ca7BT4lRpxSXvOj9SJNI8k/M0MCICaPWak6HMCjdvBEt9RNdwazeax1OI+
YTCL3yU82ZiFWdzdmclTlKbw+H0Snw3SYuy9A1PFADh74sv5QUgbSxuOQ0lvMNoEyu+08gltHlLd
OJep7DRmAvCjIW7sOuphKz8MYDmo2yvAOVx5tbnOx6zJh/Ysz8TVRvkpUc+jWJ00mlpGSe7G8lmW
G1en+pmGH0WuWWkn+wZjoI7R3LyqLFVPnaHWQR+qjdB2A7w7fUgF3Ta6wiqyAhJ2WuJkWedXmuyl
JIW2ifGumU1Azdkmev5AegGq95pgp23hqfVHAT6etq79LH4t8sxK5SBRMgzk9p9SNDsavpKZ4K+m
x6EX7cnobaXD5pnFvslDRysBmRAzahXqPp1CN4vNHSji23CwDDOzSwwMCBW6h7Q+qZEQAN8BuvD3
lNCgpJ9ZO/pRI+5Mcd5FNLWhbWrr/TPtlNsW6r+pkHiMiHaYBxXRnZk1kYXn8MaM6z9THFupETtR
yCzF7C0hnO3OHD2JRFCK7Xy5bA5lPzpipNqF/toX96L6VCqPup6Ddb8Ady6GaxQTowa3WloA04Tf
aSofnJtIrYWgnFSnETsU10YL7fXIGmGHSe2NOAt7oQAoJTkN4q8yKlxdMK0YmsV1K+7yNnN7E1NJ
FAm4GbY437MdZtCWUEWHCIXH4mxvdIeaoN8BKiSzaHvrZ3+lrzkTKJLpX/0jPrJ++WwprOlMqjTt
uWpHT072ohy+zlWgsuw3eqEYKf/TVihVgLofQ9AQJ9glxWhnwuxCijMoFM2JDfz4tLZ7QIDHzJ0x
r1lE0i6XZwuYPqQQoz2xY6od8gziGexN1GIwuM0QN568YkptCU9RDIB+DPuxhDciAs1tEtrRdIO3
yMrpsdBlN2UAl8GPj7Lg9SkSsIQjcoEuG1NLmgWr7ia3pfxd2xepaOOZ/0VwaeWoDgqClq0GvVWm
PRnpCTx13qwIvsIg7al0nSVWt3qWOEal3HcJhtib/Wj0bpKanh6T4ySVj4PUB3FDgxD0Ez9vP1m9
4EDAcO5blEq/UtBvyW4rxGVNAbU/D2BYrMoJQXR11pDwVroWmJPsdfORlcQvUeOn863KgJjtYieD
tCWlIEg03ay+acLnRr1rsymYMnFPk8GPEpSTybMM1RsilVZR3Js1GDhV6g0ktBK8vyQ2nkZT2IUa
yGcrADI0XOtheAlr4Y6w/NSIks0mAqKxvxQgwlG1q1Y4UimGtGvpNeqvWPrVxwn0LiIL3iPK5Z0k
5k5iSv7PW7T29AAppIOFA+HdVdVToHEehhJyKZ3cTxScM8nfnw2sZE4Ii7863YCUX41oFX3WkmkA
YwqyNivX51uqlYckS/26PaQlLEp5609b6qtf+fvyzUHIbHANNwQMy1x0FvUoM1LQpxMr+13vZLtw
UyeCRPZXSYP6hsXhBrG7Ncd3LXmF8OGb4SVEN9SksgKpLcdyjG761vnsnQ63po0C5LAnSE4HECkS
CxOoYB35L3ru5kqkjB+AuBXFDTR65UVlQwBx3ijFKGdNOGOj1r0pZYu3q/JHqbJKdoj0yYqUVzHV
rbB+rkEm3I5HkjxF0sFs7gRyylrxWCrUIaUYKJFyKDsxgLc/yWr3AfaNnaIpjmrMj7WJvx9WXigI
DmbUUBacrLHQ3T7HRyXmbS+jogKaRXC6ZONDRQDeJKUrA15C9PCkdruSypY5n9J4b+rMytTqGCmA
d8bGQR8r12waN0uDeLgv+tqtovB2iKYTIYZfoeOBACIy3ur8Y8rFu1R+kTvmyJnkSJlohXkG6TxX
lPIgJ56ptDeAFLyLbWcriKAjJXWN+T6bIIVQxn8FYUZpGE1hUgMaNVhj/1QXn3T29QzYThbZgv6Q
9ZCJVe/V8UYen0b1mVXKxjX8SuKuziumhCGFBCESDChfPhREFse0yVA7abPyVALPNCROFZ8b+V6j
OgaM0BjXBbSxcjBxDoYXj8ldVXW3lUgSFynRsSB1oDanrDQdQDftVtD3YtT4vTh8EAVORBXvdVrl
G3nhmn9VkBei7YxBOoyLX/5qbQSEEFIWmDLDeGdXV25D2kCpdPdnH7JWpQC6TUcUiT4JAsnF7hhD
VCt9LQF5ste9ATy2s09fMr91Oct3hzxgdM2PDZtrnhGD/ZhL57X1K3qBUqPg40jM/pznNsM/nu6l
nnGbVJ7ROBBl3MkHadyeRlrbUvA2YGCWDx9fIRmIEEph30IAB7HT6Mr2eDOcUqd8LwPozqp/kPWq
QekTZeNLrm4xQAyYweJeGqn25aeEVzPLUcFANy+q1QAuxg/lS+fgoTtqL2Mw/dMxU/xBvDb4L8DN
6Ngs6ibowmO6FTSVZ7NsbqFidt+JH40sbtV51+IvYMgxsAeGMKC/+G5/CwAGqWkERvEM5Lr5mDfm
L5GK3lBIvauMowNoN2YF+62tVNdcMFIKUJLxIdorzv2oLeQ8kaD5M4GytEC3RCRnc9AdvdnrNPRp
QR4h3W1JkXKnZQexrb3MuNcE5BOVku5LMu8MAWguyO0kMajFkm6XNO9jdS83HwmJbA2HYITcvITw
C6NzNvBEu2pyi8YfD6gTnaQC8B7yqjWSL+lVUNaGr2nswTCnO30yPgWtcsbumMbF09QPSG9v9frA
pOwu0m7zyBgs00wcUPg8AvWhx7Ulaewl1ASnnxrHoMxqxedWgxwySCBpGgdNllpVoludPtzmCZKR
+DfaHo4RTq4sSB5+D00Og3TOySmsQyuO34YhdUTlZZgRjrfvQ3QYoz8FeRDD+aaXpqOR7aFDbykg
6pTazmmn+5zJtqwfh/a5JKdieB3ryFGVzK/L0h6icyZ5iXTKMuAqqvY5YiK1mHoY+7uWYjUJAmND
LfYzpAiYfDOrLdSE1GOXPfYSvo7yMCe/W4hWDzVynuK+UYFQnh2xTe04E9wSqY0p0H2fHgrMQjVF
Hcj9CypveCXPsUxtczjm+nORgwau/VDJ4LFmlyb5PXQsHEMO/V5hrzUoWNigQP99C6qzdr6/6I3x
bqDcuSxVtXqjhJ3cDecyGZEc5eClkx2tjo99xl5kBtx+KW6VEvjVXD5VYGuFO8Y0HMAKC6cfNyNw
1UrKAV7lYytZUkDuEVZVVn/T7kEug8+5kUatNTNQdPxfk8s4HjyTjdxMMDnuwUaAyUXQ3UefSIv/
SLbmqUFhWJuB3EoVEBg5DAKAYwZ41WXJU2lLWUtLsDcPFb+fZlCYxAobcMmoQvGepsw10t5Txtoj
dSZburpF57v2EsA+f1/Rz8adufRdMlMGVPVA9iJXf3s5RzDyO402phDWHrnvNrgn++YfWykRDRTx
MF1dOFDStcVui9R/bRXoq3JGJGCor0ByWm40eVGAp7OoPln/gMknq53v/sVbzQWiMG6ALtvVKFCn
lNSMZTyayfPoQjvggRlW7Mk78JnfxUHR28LbZoNtxcljwu+r6Y/pIxQkL7eu60MxaYsEsY/PvN7c
zZnV1lblmzeD1w0+c/XnMbMhBCg4ob2x3i3b3C18+2xV2PdGaAAGyEnNm5smsTXbfOGtIopc87G1
WrtIPcAKtiyvnBc+1oiID10+vHCLZ1sG7Zoat4AA55lol4TDCu431sb3beFeLkzwn/BtbWYBZrwc
SsAIRDQ/9Bvdzm8xr+llfuOIemAWTu6aznQrnZUt6aEVb4ozCiIDtKNFgEkXq6sKJdYTBQrMDKxu
YTVbpDNQvTtivlGhbrHV01jbTHAZKCgyo11lLKcpdSWeO8DPmvNUvQ2QCBm03z/v5drdA1JBQ2Cu
ok26HDFqMyjEhnoPGqFewhyKaY0pBJiTj39jBX8dwycwtky1c0zc5GGGN4hGoiM0EAQ0oVOgboZV
X8Tyi5MhQQTzfwwtU2uxLFBnA6P+uYubo4LsVmfl55hLPujKCdwvE1urU3svKv4UcR9EpmoVkeKI
4VsnvGAAHl5c3ROaujGgmPGMCW7xNkkABQVBcTtVFvCwAFTdkTS3mPlOutoWp9jqjXtVFz19bnay
XAGIIPlictf248EIK7vtXzNUbeb+JklEqx5/K/oJehtIhvZ5eRu3qVVU9yKS0pZqVihBJhVJKgHZ
Och+7THvnCbZlXWMWZonlr6UJAQze2Q38WMusCDPbupE2CHosuOpOUl16tS0sbMwtJv8RldR/cUd
r8bEZmhElTl5iEMANWjkqtJJkKWzmYGSs3FqEEXRGl4we2MqanHTPWV/gKuxJNXuVd0mFDrb7wrE
AgGfm4ccRVyKMuOhJIHYQuyL7tUIWncomYI/U7MSELQr1UNWgxicvgrgqlBIDdJi0Gg3z5X5KzPB
ORrf6iNIqfQPUR89E+o+BQhJxJntWhQC+kmw8jSB+sJzP0V2F+L9NFAQbzeyjBU/eXFiFnljnxiZ
NKmAILay6ZggpJ7Nfaw1bmGM3s+XYM0SEjYVsywYjxKX+Xs7yB2Q72C6qSM4xeq1MAXoen8MRuL8
bGjFaSCh0DCJhaodetuLZ6cd8qRSJYYl0dZqQGVRiNmGibU+34WNxfMy4R03OwIAuLiHTpndaTZX
OgwfIAPlDyBMf/l5SWvFOryjGPIGuQtAa9riM2H+QDKrTm9QrCt3E8I7zVIcFmhOGGFwGYOfxK79
0CYogVjKbsP4qtP/ZnzRfKMjeq9SBOPw9wyUQa5ypEfMXXjQ2dUC+rc7Qv7H7Q6dYEcPW3MlK8dG
/pra09DdBmfkIpZOky4FX0LSApIOPqbKuFEb0dLTxKaYnP55ofxPLbwnn3Hj6SjmnTCIdPmuSlOj
D6khzbgLsVXrbUDawSmV+C5NVRuSjDsKLY+ymzdodVe2l8PfQSUGMIRxVbpR4qnO+5DN56KHsEzb
+yz6Wyh37UAdQaJ7s3v6eZkrnU5oSXA1Z3CpAzWwXKeSm7EpZKN2E5ZwvrQ5h2x4nGSAZ0ta/c0F
yVUjzTHq8tk0RoeGoi3M42QVbXLXgLDSqkPtWe62UPkyP0aX2w8cJn6QjtlJyHMsHYRSNtOYgNvk
BjfY1SK5gvOVnIhVbleCIUaizAv77EYqmF/PWYFKKiiPhXCfIkml0EIupMimdQuRjsyadQrNZ7CJ
RuN7p0pAA9cbLuA6CMOv5cNqCIMQnSgLLwP6nh60cDIkxUDnmwhgA6pBLDmfqZH6/fD2jz/ZpbWF
v5ljzrOfq+ZNo0MvgBYHSo453FrC4kBI2t+dQe22UhQ8YOGOsnSPDr1TGiaKuIJkc3FlpduS8ri+
mfw3oYSOiWIRszeL65KFYyiSVDNvwgJigoUW6KDcjCXTBeHlxtuxvtn/Z4r/lG8Rb9N1tZR0MJVK
f6eodAwUGDO5cjKQl4b61mavWeMD9ihO8fGoZfoexhNlQp9HZ6lUbK2KLCQSjiqQFyi9eAC/DEA/
T+cEHA407YOZaG7DnrO59Npq8tWwPZBh+Evolo712n6DKY4r1eMWYKrvchNw5luhVsvo3KSaNzZP
xqg7isyskGzVTFbmw4Dj44rvvKp7jb/J4xQao4McnWcVfT+MqLplSILOSHZaHvqZjCM1xL/SLN2p
9Z0Qkt3Gcb92BZyGAcVICSw5KLkulgqGZVDwqSI7o/6F7jxwVKGT2azwIedKbDloNgYwrkOGL9oH
DqDiyfGySKS3EaAh7cDOWdFZag2VDmEjaeO/+NK5XVpYvKGpJtat2nbsHJJ5r+WK31e3PdrqGxu3
Zga5GW+TgAvkqmhcGlqJnmshQoH5JNp0l7mFioEj2wQxZXZb31WJhxuzZfX6ZKKooOJ7KSCd40y3
lyczk/p5kkZYpR518FQ6kIu9r/bRHtm2DVSVM4DE8UXegE+svGOXZhd7ajKFjkSEWems+cONFOhl
IKf+/JbtRAc5TGYZujUf1NqVPjb2mee5y88JHkxEmOjsaCDnuVzxmBrCpCsVQw9TGlBedvjMa+ZL
fi/vZa+3t+k/144oZ0yELfAnXw12VWM/4+eE87mhOWgfMCP3zwGgaOR8N7HYz0mZ856J5gwGhnKn
e43fBvFvBs1fzF875B+/n5fGFjsoFsiI5zZm51arAjFE4iQMu6lSPZ1mT1Qirz9/sWuFdL44A20O
BFnoHy6dOukYq9VOw/657DV50c9Qm3M7TEQjjjWczklvysQGzTo8DIdPlZt9q7UPyLEh/F8+cLFY
cBTHghoivcPAFphGpchpN4Gua/fwuwn+E749k5LQ4YTUEjvHlQWlQsmRPxWwZ7ix0wbdK85Na9g5
StCZN9Tuz/u7tbqFx9bErkeVeGJnSWoDptpZKmw8CiuL4/hdjPjyGiYm9C4XR5pYDtMpYue8JVZS
+7qYQ+uxs3SykRKvJFvGhaVFsFVToDVByD5jlD39wICOztviAAbQv9ntvKt9ME7fcylLMIW+/LyL
K+4blkHghDcesccS3Jdg5izTqgRrxCcacjsWRScutpipVrJXvkDdBE8oDuNVxTmUoOan6XiMALZI
rNFP4bAx4+hCs1y2avtfNApQugP9Of8XrGlLb9lFoFyQSTiem+4PzYqnsT4Vyu8+29Vavuv4zFkz
oLzxKvXmxrFcQUJcml5cCS0TB6PshfEc7/Q/kGHsH6q7BO/SfBZO+j56nTDq8bD5IK48DxcLXtyG
WND1XlJgVRaJK6hCBJzbBOLCxhnB26xosxtKGWbJRIsWzC3lzlbDzNKz55+Pk7l4paC0BPYCsArj
MKHsuBwKSFKNVIzDg9JWd2KMluQ5cYYEn1lgkBAC+R5jb72ibQTQX2Cd768jt2ui2YYkE+V/NIcu
r2pRKcIEwQmO0ZC8Zl/fUmqZHvj37zLfdEOwhih7c58e5IC8oQOAITD754UvvdHiByxFyfoQzPRs
xA9IEHmweac2/YaFq2mALxNgU0adCdw+IFW8XKM6l1PcmoA1ACEmebJb7COgcHtrjlxO05B4/T+l
eINFPnUN3hlE5Bg/WFgcTKHpjBD8ze3QOJGU3ZZJTlGlVay8aNxIakFnHH78vJFXMdZ/jAIxijRX
vhbigUQJeKgyTPoD/eIkh/rcQtrtIatsIGAUX/A55sLKP0fmKBumV74hlvt/lvn//+0xa9IOL0HY
Ac+gUTsFU18osa2PyCOaxUG9sLG4p0YxiGFbYXUm6Mz3tVdoNoSGWlfwjaC2Iwcsqj/v59LBf20n
nB1/pTmB6iJSNjFo2JYSFiUKiR+z06z5GMb1fzayunPfjCziuDEU5KbnO9dhhFqeDgTkqT9bWJas
sAzQlcNrA+2CguSys0e6yjRmfhTNOMXo1eRnUXWTxvHt1OQWjSJ3npqNWfQVkwrwJsCfgt0QBbrF
6SdpT9M6NXHfmvqz1P8KGIhjbLLJpD6gDWwN/d+f17jiPPE6fsm5Y17xih+MVrTJkx6gorxgu0qK
9i2LnTKGy2b9HWC+h6KYDpHRbpi9KoNhb1H84oI8gFcAZLM4ImGdd30fzeXZTI1g4A3EufQ7YTTx
VqhPWaGc5qQJXTQUXBFDyZEgYi5ah/Zi9ScVMZY/kVH3jQEjHjIbbir9Lxv7lzobnvRK+TNtv7DK
1R3C9DYo25Cb8PbWstwejqQbzEicboRMdiUGxrGmGh6T3jhItXGawp2AzksGBgwrl4gnYrolD7UY
2hBbAPPrE2KgeAsOJ575ctHzS4cBdshqjKKK3MjonShK/GKEQdWg6RVCr7dElN9tcY+tPALgOFNQ
lYdLhgjFcu1p0Shj3AzIPTUUJRJphxENjyoAY8TKbtZ7F6S7bl6iMlT/aVTiUAHwe22rs8KP/qUX
A8OcpmH4D3wzSA4Xzy28mDEn2TTcyI3hVV3mgWl0B777oAzHt7zYCCpWrKEgz0UEgFYBTezCZ8Yy
HndhCtkNihA3veJI/f0QtXe1eSw12f35DmqLlWmYKgHGCPpUuBKcEunyk05y2M6hmmBl5u1A+9u6
T3dVAUo5c1MiYOk0v0yBbAYBC4iKr8g/26rtjAzvzY0I+JxJ5f9H2nc1x4pk6/6ViX5nDpDYG2fm
AVuOkkpmS9ovxJZaIhNvEvvr74e6Z46KqitOz33q6NCWFiRpVq71GWqTsbLVsXKAYjio2T5MBw8M
ZiAGkvFIu8ytlIMAWjaoZd+/9LUnUVF2gy3FrOS/7ElzYaKZmSf8mELuV9WSDUH58fsQy71tflls
bQC0z7kL/nM+rnWqiiyOJn4sAPsq2zzoMm3XN73bdwNajsJNqUEPWk5WOh1X3wx9BxQMUVe9gPCK
UQs4DSQej0YzPUUiiEKtuDJjlpsA3gwJJ+p4s9/pJZyRmaHQRSblx3ZUvaiDznWOr9gxe4zzp5Zp
p7BZI7hemaQA90LFFTAF3NuWxUp0LSIx5WpzVMQTG17RR3FDxtHRXSlSXgDnofqCYiw+mwLFrEuK
Ka35UEAzmR3hg2ulsuCQHDcLQa79LCseCyn+UWTCg6xTDwS8HXz/PFpU93KR+JAa+SlnbFvinGhN
ZuWs7W0o3v3FM/rzAZGVYRUBZQ6xkfNpxbuqEAU4xx17XdrXg7qR6TGEvVxpOGbe3kTZ8/fT+AIT
vgw4f5ovOaI0AXwYpwjInSaFQSTQ3w74TbPGV+RqW+mOBI1psYNxG/mtNwvSQR/nKXarl9xfhTuJ
CPZ1G8bDoPSKGw8uuZ98jvOHYVNNgaZMoiNYbpYu0wOlUWkrTWvRYnBwH4cdbvfLhAK0CCew70fi
YkGfx76A/+ViP9Ayj4400j0lhDxOlbtayw5jE9tTdMrr5hZCYd73US9Qh3+8MpJZyNPqKMks9ueu
ydROz4roWME4oq7EG2McNZshASyk3kqN0O4BBK3jMqASOKLxyPeTUjxgxwEHaE0u5GJ3wRigoQng
FcShUdRYPExZilXZtIYQMCl32pBYRuh//77XRhm4J4hEouOHptdifstkUFJ4q0VHYxzsQi6fmsRI
rF6qkImSI2CzZdwchqpf2a0v0ox5mL/GXUxzk+kDEwvE5aZlwMHPUznAe6A39g5trAIobQto4DUR
tout9DMq0F5YzkD5LwuWUqqUSt9jPlcjqEEte1JbCOVyCOgommWCMqiY2coAX2ylnyEBRsfujZ74
Re4r9V1dYPocx9oLs8IXxfccSvDRkKygOq8GAosZWQy6tBfV4CShgx4rghDImpPB6Im2slVTxY47
ZWXXnufEclcA6vJfkZYrc6wwutEwR5qCcCqshqq2wFdofBcVvc8Z8iXKIvc1aD8OIkcUoTOtSdVs
qTdcJcQkibMjq4yDbjRu0VBbKma6o9D4HS4I36+OlTH9fMYvmzEXgcsKWzyDpIeWIf80YY1K0D3t
pTXOwuegXQ4q6AMoCEMvepmDxqwGYkIVEYqyRy4dJym7GyFPndaCXasEXuMgfSbcb9vs4T94SfQl
wdlHKwFKT+ebPER4ZSErFCFISn4b57UVzqAtVKQlaU0d/urM+RJqserbQgszHslCIHbwAyujOyVX
rDgU1naXuRxwMZhf4iz2zQE8HrUMiRCkW75NYCe+wdpuHMGHmnEMIKlRryyJqxPlS8B54/kyURSo
+ooNHF6CgYFmiAO66qhNq1sW/0fLAjY1aNPB5u0C3gkfczAU4MIZGEJxW2gtVE4K8xHSBY4cjZ6g
JBs9mwJF5W4Tk9u8iv2qWelSXj2VvjzC/PMvL9sPcsNqWRWChn3E3Wu7llNf9OqRdgKOKyErVNF5
vdBpMlIJLOJSG4+d9lYm1I3T0oo6sL4ruxRQoJFBNYT0+ITsB8oa36+GKwkAgqORMPtoAL6+zPi0
PmnQdEJw+STuiJc7SLte6k1yMP0I7NHxia5cIS7nDnJLtJix14FzcHE5gi8tUYa4qo4wljllLN9p
hQYNfAgBRHzten95AJ7HWnw6ScZRpOtNdYTsoR02/U5PIP4zah5gtJAmGO4mcOK/H9B5rZ2vxdnI
EqRUJFPAoi0TKkMPS5ZpCIlbrxcBo6/3tS+iN9ARwRr68PGvhsOUAc4DhEHUTFDFPp+c4ViZMFpS
SQDSgd3JnaPHpgV+IazNiFWYkfv/F27eib6sBbPrGRkigQSpLNlddio1yY9kbR+DRS6viRxdLrzz
d1vccftkFEuhQDBzOpbKc7yG6LhoE2rz5Rk0XRRz/1AXPH8boerbISYTCdpdeNJ20T6dW8ngW72E
uQXNe9OP4VwQHlvkaWsNjotMFKgDHVYJEIcD6uLiACxZV6H8UgxBKplO05H7ug8BA80EryrnLwnQ
HC0jyaqjlS31YlQXgZeHUpyzELjvIcjS2sb902uottJ/vVjicwiQJ7CtQAzl4oiNlLhPSYYQvOys
PO0tY5D9mLdOT1cOoquj+CXS4mWwsU1qJyNSUo9AdJfQZki9RnpvW+hQpl0QC7eTsPl+DVyLCWsE
FCqh73Vp+KmEYZFPZoq3Q5ZWVtAa6SGuwX+I3R0DpjKNidX1d9/HvDaigM6iLmLMmtTLXlXcF2g7
QhsqiMr3BnnKoEDVPj4N8cf3ca6+29wQQzUSXb8l96XuASI3WjYEFThMMVRYWEbvxvFAJi8tGm8Q
BaioRit3hgtkBwCjAFWA+PwJWEM34nwdJqUKw3oQrIIykr1ESJnFTBo5ZVN4aS3/mlCyl+Hnbkos
IGW2HXm7L3qyi3TA7LX+fSimp04A3UFT7pWkcljPbTVpVra+y3UzV9rQt4CMBLKB5WWq4VUGSL0o
BxyXpyKKrBIb+vejfzXEzHDEZwZmbnl5SoZGyhtcFII8Eqy+fOjJ6/cBLqeRqRHUNzDWaO9e0O2m
rBEyCSp/QV47VQ7t2Ak+jg18W+PqL/aX4MeAOOA+4wAG+Xn5KribEa3JayXQE9FVitqjvLYSMbcz
kJvymFpTuyb6f/Fyc0iIb4DFPZuXLDk6FNIJwCO2SmAk5S0dIdczM38NeSOt7QAXaQUi4Z6LcjbM
z4CyXBy6iVhBK8/AwRSpXjgqltSq96PAt5KSeNQ0tnWGK+/3X25eAmdpxSKkfL5EsqzVtCyLlEBM
70fwdTUUEki4VlW+NoQEwhpANwFjdSFkAjGRhE+dQYKyflCw4soi/ynpkARTxzWOx1qoxRVCL9I4
pkDKBrwYdlye3D7r7GlsbXHN5uyiHzfPRXQesUECpA/k0WJ76QC5BcRXJ8FsizA8eFpqtUfsoZsm
UG6hgTsLwOaJRU+Zp9ozrzA+rSpvX33d2e19HltgVBe5jJmrcdEBFRw0LmrzD0gF7/t3ek/uJN/0
+wf9nbqmsK6QOv/Z5bQBexlzFCLc4EUswvZCT3OSQ3TPgNVGO5UOlcg7q4hPlDDoyHTEuFmJfNfy
yc9IspNimBLK5UrKf3nDwRdAHxbQL21uMi7fXgTlVqQ8VQItUyC4NcA7Wfdq07xNGHMTMz/GVesJ
Ot2IAn3QcVH+fvFcG3w0Y9BYxLl9aa0XV5rGcsDSggy8KA75ENoaxzR7V0ygMP+TUIDSAuCJs3p5
UEezv3oB7/cgH/LYURScSlG2NQrtlOAWu7LJXtw1MKxQdBNxf4ReJLiq55tCVWTGkIE0ENT1c6sC
aKZPdgwRY8GIdwOrVg7ACyTJvI6AWydozsCd+uJ4CuVBiaIBdw0euexofMxNUhu+p07zomYuCKT0
Du7RtrjJ1ixwLkBgn6GBVpi1NOCEtxxWQeNiKEz4gmHxivujHbLsrm1gBsAiea9RehrT0hGa8QdL
x2NUsV02Qgan7IdtYcj7Zk3z7PLWPA/Fl+dZ7F6aGElTXeN5xF1+q2+SXaJY8gvAYU5tTQFoOABs
//79zLp2AmD5IPsA4GVWgD//2Dh0Bth0UBIMebiH1qBVcdMph2JlTl0No8/FMYAXAD6bM8QvN7yu
LaqqrVo5iFOvBU9t0ru5FfEfLBMQFFC2RQUQxODFy4xCrQ0p2vkBCVNLS94bWBtW3fNonL4ftGsr
30ABHLc8EFgvmFliRaEIlEcEG8+HCuJTL02OKN+V4cf3ca6NGsgWwHRBxQi38cWomWgjQB4jIYGE
FIeWMHToeghRRSsf5yJBxLT7EmaJiuslUMrSAXOgSnam8sirlde4Plz/fo1P1dgvHz9nECvXkpQE
3aQ6Cp/1MntbzekRftIrt6jrocA1IPNl4wJ9l1WVwhgOpwAADyBHIR2Xau4Y0u1Ao4fvP87VUUOD
C0Q5bF0AlpxPaYO1XW1KgN2waLBibbL69v77CJc3mPnDaNCXw/44+3osvr+kjVIk5oUC+Rdbv29d
6TAG0YZsmJ/ggt1bKry0FE/cxH4NhrYl5PaqR8K1pHTGFUI1HAm3tkRaCFop6GmDDLFxNWxCodVY
oPxBvyyEEI01vnVwaJFAXPfhBFWAxL6u2HB1ESA8lAVmudHl5ZFneqNEMOUJQnoKwwF88Jy76iht
4wK+hW2zMeryowRHG2ZmkAwaHDjxVbaktBIEWsFPZ722ss18ngvL/Acn1UxFAtDxgoYkcggWVioS
j/CnflM7nSNDRUJ6DbeJ3XjZtvh9Fqdft7C+djB/DTtP/i/rSChySRZg6RTUUf0q1dltEVYQT062
STrew3505QL9/3hNHe+HqztedTHDk46FaQrl0UC675710SOeGDSBsaXUFh7LH/Ed3bQ3ylO/XzUa
vTbrEPDfkee19+VN42FqK7MJCe4lTiP62iz8P6OE3+uNDrGQD/bQHsRn0an/FxIhV2OjZj374kJj
YkksNtVU7ygsdoKB607WFHtU1Fy1qJ1wgNRU+1S1IJ1+v9CvTXGIlv4r5FJKHnzDQlAnkwRZ2NmG
+mRAKi1PXv+DIABmaTi5pEua4KTTOKRAaQU0ju0c0Cm40/I1jsSVTVEDIgvVJIKbwUX/NCt5XYsg
YAXxVDiyADFQsBW+f4+VEMvGaVpJSa/oHUKYhltCTrvstt9HuMCpIy/EW+ggVIGacCmKE8rMoIQ2
OLBgi1Xs2kd6k5yow2zhp4jLXOLAlsedGRFIlZzwrvrrh9hZ+MU654KM2lNX4zzmzJHosY4LxwCb
NBfWyFZXJt5ZpEWqX2QDrmYlXnTKG7SAB/S6nw0AaL8fzyv7FtiTmHoAX6J9v0SVqZJCesPA+V/J
uTMMmjXkyjYGM5vDmSEmbKWHfzUcEPi4mYNSoi354v0oplIr4v4SRuJ9KI8uqvwyZVs+tba6ysCe
qzLnZwHyQLzW3HUil8WvJlfzNE4pDypwGrotqhtP5k/Dmo/lsFkZSPly7s8QS+TRYB8DVLt8tSKe
ojI3cgjDeXFn1Y5wkE/Vj9moIQsSPzzowH84fCM8TrbCLJgyO/lJ3Of2X24zYHi/Pod8vj/TLBp7
g+I5hOE2qqBNnGlWXd8XAo5bPtpa3LtSvMY+/gMHuBxrpHVgJ8GhApnXokKWGkUySjqpAzNKHT3j
WyPKfuK0d7UKezLpQclqn2mz75TaEov3xDyEBWyqcX/jhZ1nAVGoHeoHDviVpG71VoCRAARPG+4Q
tBPC9F6LdhlK1HDfsuowvs+G1o7Ala+UTUjxD6DVF46QE36qu3bD5XgD1I+TUN0JAZ4Q5Vtdq3e5
HHtNBcWcgdm4oDtqmVtVuDUAehCVdK+nryqEupFuexluW50AzxDzQIyPtrsp9ceRRA4VHqoRwuo+
j45N7U6GbAlju4lrdaNSXyY3Iav9dDwI3V4gihcy9FdhlpcMoitJb1oRZLHiCFON7meQd6cpR+cg
ea0zYxOVUOKAmESqE0sgyB3AoJDNEjJ9DHozJ1N9BL+5FXaS+QPweQtoJ4uJ0Saq231rPoZ5+9KH
tT1pqSunpt11kBVBMT+aXjQlsxNZdUUOpi3E3nXIjOfQtmvNoM1gAVG8pcZ7B7Z2Cim/TnG7kHkJ
cXT9Zxw+cehIivIpbzJHSGGqO2Ye0/Yd1M9TokFn+6Ut3DYSDtEIzEhUunkh45B85t1RgjiTliVe
2HhFl3lC/rsq5jcaPnanPkEgGvoAVtkxX2xhuwUGgsGfgC8ABg+i0VAs0vuf4whRlmmjQMMHctQt
h7XQ+DFAjbsk4lGZ2uecsW2hQX+jMzdV/xEl96z5MVKohGG3TKTSG8GlMHE1y7rS6/RfExRISgo9
SgjwgnlqDe17Sg4kf64VzYYsga13+bak1CVQQuo6l3MZ+fMEGaRXmUMJtqG3giq6YvdLINTTQGQw
xGojKTmcMx7DsrFYIfgCq25yMd9WRbSJS/Iq6L6QxW5SybuC8MQSBgJFYtHS2nFXy/psm3Fo8bU0
CGio5ugQjGhqlrtGmRygB6xyYp6WdNAy+ZC7Lcp+1iC8qDC8pIRDo1vwJOVONQBWNwAfr39KNfpv
+XSjK91GhDZk06mOoP7gIXMq+TRkJyOqLQ0qrAAZ2KEBzGWoOWkiOGYlHAqocih4j0LOQEtCk3Lf
p05UEywDqEoP9Eef5nDFiO0iHr20xJ4W4yObj+IkHdV+q+POox60vrNA5LLi0XBacTeS36cxcVV5
T9CwUboHoZoCs08t6O37XIP+BtGPcqfoVgIs6KCUklUoBL/5WKIyKQIhH/I9V6Ax3UtunmR+GAIG
yytM0NZp43LT0uGpIkDYyRskNBBF5h76NX6XZm5pCD5wMlZMBZtV0oFqqiWALyxFT5kGki1uIAmR
gihLnameDgw8orBnFrTD4SrwEYmVFbHkWTawQQmhTfljof5uaNtS+lnUz3Wd3jJRtaK8eVDTfVMx
yMMzj+lA7RZwIDiakacrzz0WgB6aFoeeVa8xy6TNS0rZXiIuDLT8cXpDYbStn0Zdswed7QFDxpaw
59lW1D+G5FYz3s3+JWthpFZYzNhU8ds0wNmXjC7rB7+Ljz32ykLfFSCW8QJjKAn+aIRWpb23NXbQ
CnMH1iwZ93Vc0GgjHkzhoyfQfpaaWYtLVwsfQiCVVDkk+lCiZO2qcpnIwBEW1XYgFmY23DKDTsy+
yifBqAPF13ZsLwbpveBCnsuHTs0x38Wndr9G2SLzIXdxGn2JuTiNoiZkYjki5qz7Sw7jDoceTmJj
Jx2GWafcpjvd4Q4sZdzEFTD37MkH01MHAgZtpBZXmHiTeP1m1TXk8gaDwUDeAxQASsaoJ56fzoKR
lpQDcI3BUJ/lyibGpuZusmG7xEZfglnFA7gMIyBBpk336a5dyV8l/bIMgyYW2D8zhWCm18+f68v9
raYsSxUmNgE4SlCaKG+lpDhMA8QAU2LPNWUgh3GNnKyo6Y9p/FOsQZsSfjf0+4kSB2R1u88ni42w
QxInKxVyy4h0R2unx6p7VAh6KQS2ezqgptFzIyebASyiETp0DFuoxtmmaEBKLG6iFiakFcS4GPPH
OHUTRYEwugFLiLeuweGlAiWf7GVl9EOg6wHWpU7V3QiY2MSEFQ/xjBZORUz1oZrjljggNe3JTIE+
7V1W1XaivRhzKaa0eHPfFzgTOiBkylMlPUMNOkz36YCHljcjh+RckQeRQe8iIPMn405sdhVPvEjY
DuOPujBclcoWT8DUbEDVUsr+DmnNSy0+slaFJyf3w1Zxzbj1ZqmpzIQ8Qf0eDchwJr+uBNdEdtLo
mROWjxV7ULh6UvNt1OdeHwk2MSHMp1jIUb1cSRwuoZQ/hjjzYkvrDIcq03Yqc9EyiiPJKkvspL02
iD7pW1jeYRYPnlw+1CVUp4roSajjQyaJL4yrzpBKpwSJTEg0V2t0B9QtiMSX4gZVGbhAcMhxaY5G
1UcjPcUJP7UN3dQdcco8PU7ZkcNsq4JuvMBuEyRdOZGgl4cNrIakarhPI5yXXL41AXwwlHKnifXP
YcrdCa472jR6svrWjTogwE99bx51zh8K3XA5WK9ZfZ8qz7mO7bwl8PuIfGHaV3XsSUXs1oO+UqUz
r+wDaAPOKw7GaXNn+nyyt1mj5+VkNshKh00JfXFGu+0ET69xfKsr0wpbD/4ONlNtqAfYuU4hKf/C
x0NKPnCLtuITpJCFp165iYcnXYT4HRhwesMeFSHdZcNzKHC7LSg27h9dCCirfKvlkltq21S/VcZ7
2Tj1/QMzYtDovJojQewFqDYXdqk9jIJsU6r588Wx0EUHBGwrFcOPRjqhE+23autipXp52z8CImDL
eeJGUbKD//p+yDdsQlQxxrY1vaDx7ghC62jQHITy0ZuApLsp1IOoCDedXFppOo2WSBL4ef0gBQcF
ubGGjm1qQfQ0KOMSsbUavmfZixL6TR36AOgGZo2kPYq2ct14GmxazL4B/12Bgtvg67G4cqu/uifN
cBBU7XE1XF4ezGpgY9+MTRBy3QK4xiq00Yp1fIBEX7mnXTmNVJit/TvU4no0dlksVypC6XDuICXw
jlkzC4J739+r18Is9nmpMQqFR1MTaAIIlIlsN+pbKrCVcbtkGeCy9+VsXWI54beUCMZ8zqk3s5T/
tMFXdtpPbcG5/rZ2rq7GW5Q/VKYlFZzYapScJU+xW196QmplF7NvpC2+rqpQXLtUf32/RRFEZVEo
oo9bBxyV3PKhORa7bs9sSPwdlYO2oe4qI+jKhzsb0fkA/3I8woaTmCNBxNpBpuCpKOmnN3wzmyOE
FvItdJRW05W1t1z0EnQ57YE5RsxQxH0xvFX4ajv1+goDWgZyfQAkkEVCBDpiZTDIbgegoRmwhp2/
XAaxIGCntqbfbsGd91N/Ld258mJz8QWQQCj4gO26WAVF1U5JNYUNquKZlRdPufT8/TL7tJpaJHrz
9g7simGiqLlEHamwVov7MOUBTZuHXjIcsQWmjN/rw5sypb7em05S/wo7dU8o81Og9RrBsNlU3jTp
hhL9ZxvpuPVLYBqPdqt9YHO3S9W86XlvycN7UYU7DnFQuayAwIOHSZl4LHzryBNTFWzAvZWg4i6r
vcezwRr4K09hpVfyVfmXy+8HpPhsKTxnbhBOXywEMuI2Aq4uLMF2+WGAQjbxFDe/h9PdsANhDwmC
Vfuh63w/vJflOkQFfgxEN+gtX4jACFJWRTmdWNDj7sbgKdOLoys1kgcTL/jddSub5pXt5TzePJ++
LD6CE9qoJLzl9KbtQLyJNhIaaumPfLJxQjoQ+bW/f8HL1T4HnN1B0CsGgGO5LFCAMVpZZYHc/ipR
sIHwjkXS9PRXo0CQUEZrHccbzEM/a9pfXkuZtC5RQ8KCMfuARB8gDC1S4njlZLsCmTgPszjaoDWp
1VxHmHRb/eJbZOFO4WtOZ6OU0ViZU9q5vXYiXK7wWXcVxyl0JaH8twSkJEgliRh3SUAH02NUsXRx
jVt9OQkRAiRdtFrQ47yAMDISF5lZ5klA0BxpUUsY4gfIObvNAMHm8vHzU/3X2/B/onfwRdIxKvLm
n/+N/38ryrFmEeWL//1nwN7qooH9wH/Pv/bvf3b+S/+8gWTFPa/f33nwq1z+y7NfxN//M77zi/86
+x835yi6ntr3erx7b9qUfwbBk87/8n/7w7+9f/6Vh7F8/8dvb0Wb8/mvRazIf/vzR9vf//Gbgenw
X1///J8/O/7K8Gte/Z6/0b/NA5S/N+zX8jfffzX8H78JKNv/HcB58Cjhho3ro4EF07//8SNV+Tt2
CUCWYUkJHvxMhc4LZLX4Nf3vsxkOrryzMTn0cDRsb03Rfv5M1v+OBjogIfibQLrAK+q3fz3l2ef6
n8/3t7xF/5TlvPnHb+fzEbLwMjQVQGslaIvOIKl5wX9ZaiUrRjDWSXabgmKCm4fF2e9fxuXPiF8j
nO/Es8otfPcADJ7fRcGesdgyoP9RhoWIYpqoaRsV11QKF1vGs420RlJfYI4uQy0WdJTERcGFQj6F
Qa96xm7GXvENys6jNYyW4BeOcLuWAJ3viJcxF0d2VYOJ3FVcPsVVuM976EBWEDdeAwsvkGX/CgO3
FZCvgQVfwmcqCLRrZZfKp9nrQTrM5RmUGl34sd3AytHOPP4ereIVzosvfwTFXAMqBGC2S/OrBjA9
rdQj7TSKLyJkfEgNOVrjoxFLV5W4Z6gr3a4F+/8y4OIDJpGkplFnqKf8UG+H3+FjGnvCEV71tyj2
bzs3vwufhN5SnoSX3tLc7yfqgnF5GX3xKYc0y5uq1uH42mjwRuo9GBQ6RV1vi1bclDG1zanB9VXw
Bnn8S+fqZejFQS4OYZWaEUaaaYaVscKmE2CmdW19/4rADmE9/0/+dxlosd6rXIpyoRTUE406yE2l
KayvFGsuchjES6O7BF7eYvRsVM0ty3JvIqNtRLIVaukp0+EAMOAaIwasQXMBBfC+55YYZ7uivm30
wZvKaZNPwRDRrdjBXTRjrhyy+2zKHVBI4e/XuUABQZgxckvofpjthHI3sXVwu2vtJ0hTEB2WHQ53
ZSUZbxrRPJjodOQfEUWHC77ZMJAlGrsZzWQbmcl90cq53fXUjzOYlobvoVZZEAzelSaxzBD2V8ro
UnS0BtRqkvS1hp1pnLz0ZujUZeukEraD8b4KYRvlRq1sV/KjVoIAvovAoSRVsTdGKagIeTRy6AyY
kc1hwQvtwqecod9SlNCBPs4gh3xM3Ujtb6kqWzL+lgiVZEmsN3I/WmZ8A0kbELNOPNwPErFo+Sz2
fg2PmBJXdsgsOEJr/giL1pJr9P4KyNdW0o4Po62rrxR/WSuxJws3sayiz+MorXzQS3iLoyvIzCiI
0BCDwDn0ltCpQZ+qGaxWforghosfCiI8A+XQboRfeaXdwQFR7YDk1t7k9FRMz1SAdZbgTTn4GtWh
irlf6vFG7z6gAuPmGoYVTsEywI1NnVtDjO/V5eiVAFlvKJ6mJlZSoq7ZqbeiOtoES6bgkSMposUJ
30yAXfbmL02aoWswSC3xZ9vcrYnfm6A26KjGQD2h7bRHqf2QVNAdlLrxKxP0vLCwTCOzJMj8a1IH
8at6FzWDTcr8EMnwOg+hvNADvwVnSM0svT7v7sQ+tCL9d9r+aOO7hgh2j8ZbBtvHQpatDGZrOphA
QvRz5k6Xk+4y8AMauHehtVd0IWg8owWby0ImAF7hCbgnwoIjUnFDydBNlAXMm8KOJ0AmUFSEQM7j
NMGqEiy0mr7n4GX2NN4QPT+2yojXhVseRLXj9AE+E2UPSw5IWPERiItO/Nl09GnENlqjo5PHw76k
gttBvD3Pcr/Feq8EGbp3UDsRABrOukOEQRviGZQHuiv8MyYxs6v2tkMxph3f6KjaOtW3k/GRCzyQ
phIfaFeSwueG6sQ19+R4/JGTwWn6qbEAJjyZMhzCCsMWatErwdlLIJVSKf0ThauJWnFUsrvNgIZ7
OD6mE/w6VN2W0VVkY+6ocIrW+191nNq5CPuMorTjZK8m6LSqzjREvjmWK/vieXry53YFoUWwEnAN
AJ3kPD3JVb0fSCypJxF64DIb9nqVrFT4rx3g0JaC+ScIoki6FltvDR3UPMIZeIqVH1rxq2zv6ujj
+233amLyNcbiNaqON6DuzicL+BXpbe5FJ8EOD/CsvpUtWJXqFvVXQs5H5cVG/+W15rTsS2JnVuic
j9WonsAVG13Njr3y1bQVi//I3dxfM++4kuSBpAkJjbl0jKvb4rotxYxqhdCpJ0Pr0Qd+KhK4GE4V
jLvd79/ryoRAIDAmkfyCOrnsxmi0SdOiVNSTJMZWLN7o7O37AJ+VncXAnUVYDBx8c8ZsgpDZyQgU
GJ8A5fPU+sY2c4sgfUXF9cX0YMGMZDm2md98lg7VwuaPyp4mTvdIT+1GuUObuV85u6/M07PnWgxx
pbWRREsshSrB2u8MS9Q+pmIN37QgomDF4TYCUqo+I/jkS8vkutLrhCkjOY30SYXQzURTn+uQBjaJ
K0iD24O0EZtAx8bEVRVh5fNeCQ9sLIHlAi4N4kzBO5+2FPoG8KsSyUnxs7vM7VBwC2/gMAST5rVi
m3wxaSHs9jXWonQp4vIT51pBTrIPuRsf0CM/3KYetSsYC+LY8wZUUbRNbr2BSmqBAbUTHOqjWbCy
A609x6KcicQPq0bFOxsAevP2qJqvlQRXJ9Kt7KbzHzqb2mcvDEmY88FlNcziDRQgTrAexhWs9BQ9
guzzcwR/8oQbG6m+pdmaqfHl1WURdXEBhFOHrgxJTE44T6DLUqS7QeLbjH2gE2nTTHgbZOqG3QhY
BXXKvrkthzAohdY1izGce/s9WVMbulhLi0da3DNiSdCjTMeI6wq15OxVIx9j//H9RnK56S+CzKn4
lx1Yj2QZBNiOnObaP+y+9pUd3uou8DEO91PY95IVUvlqxMVRpidMVqIYrxUfYJAJYAZuiImtWeIz
vZtNxyNvDXS5+nHnkf76kmZDofaKNcR+jK7okk0IgQAB54y64261TaGqn9prK/f7BSOJ88+/BK0N
8Lp0MpATTJJB/z8OeelHsExJUmll09UvjtHFR1zsR2qR1rQEfvXE1FZwxxQebMkLzOzBLRd7O4Ih
qNYo95kJjfFSA7MgS37UGv/Z6jWzUN986RgyNS6atV2U5IHAfXwIIQgBZJ4tCfC9Zy35ZY7TsSj6
hyKJnKlCKjo2IAbcUyBM1WbcSGEMCkAHY+/xWc/KyqrG0o8rIiPl1X1STWiq1wFlqd3IbwJDd1W9
18TUDc3U46TDdU5x0kFG5/nV6PcEfX0lRDVkgHs2kjtq1E4d70RabpqWPWZVf5NlMIpjxJqGFFiw
FGl3Lkwo2pcncEe9SobHpDw4yiRDt/21reOjnq4cwvOoftmoUGxArQiIC7SiIfcJ2sj5BxZJCzsk
gmtPOoR+2b4PY+kACesBobpN/i9pX9bcOK40+4sYQYL7K1dJlkzJS9vuF4a72819B7j9+pv0fHda
gnXEc2YeZl4c0SWAQFWhKitzVPyVm8q5gy/muHujDumYVSkTQACtB+lT8/4ppZl6ukt+9qWveNQX
nDWvz9/WL1a5q8OMqEoSsHcEsgn2KKF9UmvZUcN9E09Oh2cb6uvQecIsiKY6KtDFE94iVQ/CwSn2
bm/Ate1GzwLDmKC3W0o9l9ut1GFfyArW32uaK4XHaHqmAKDmKPkIYereNsZtNhKM86iLIH9pbEhG
ArVvOCmqJgDDdW6WTO7QNCs3d80MF1S7QlFops3yCUoxVgHCRA2tSFabK2a4wZIlX7pYDg/hT8Sw
QkV/WY4TPxHDFgsIFlmdnbi6Kxw0ugM2XPrWQi1lfaJpZY2fydSZHyRhpNVyhAhj0B8J/T5MLy39
fvtrrSRkeIVdfi4zC0ttlODgQ4jtQIHVARrjbvA0L92tjYCvLYe79bTHrEIHUM2JodYG/SCrjAvH
MFZT3OXfOfMu//fJUIleVGY0hQcBJEkmD7Qz/qqlzkvXJ7MKdOV1HxhzIE7XYQDcBftikQtYQxgy
rTMJisQIzJJjvoiVvdQ0f6JRF6KAi9m+5/BB3bK1XhA3dvf/j+eftS6/7OyICH0iSRUGzpGExEcM
ygBM7nYIlrZg57+B39xDPtsrnPhU47ueAHP9dfv8XP+mf+xztx24jqFkpUlOSfHRdbNFQB4k0TXm
kTUr3GWXtBr1FGzwqREqb5agAwUVa7VeuQtf3p6fV/3vtfDATDBjtVJBQliRTqireHWyRh61ZoFL
leuxRcV9VNArGWQLnAyOQPQVX8/1jL+ciM+M5+xEDGPZZHklENQiRmc5/d0hgooU2p5okHgoJP7v
bRlu37h7DTq/MioTWMy+MVf3kp0hgL/RV47MQyps98CWDpb5dPvg8eGVv3P6stdn60wZEreI4mt1
bvMO7BgqIBqaBkD7hFa9w7x2tHrPV665vhzTM5P9xKRObmFyyjurmwoMTQALmDW2ic9JKXNXlri4
jRuO7BO6emYP/J6xOWHE6tS4qDWHfunUrT/eAe7c26NLHOmZHirBZps1udSV+8ZTuOmhUtJBguFK
3qlU/4C+hIUE+XllfSuOWuecx5ArKRlKmGkdydMQe/rZAZzpMGBSuPVj4hkr1HRrG8r5EUIn1gxA
Gp6G/HdtohY+7ou4txJMddxe2soGGtxLPMyAYq0EOCxwx1g5ptQmcsyVtZLR2h3ge68CE0SGuQJy
6r3int3PgGqjRoWGob+8QhcB58yPv69mtivbuHTSz+9BKw4TGt5Y3RJ0unv1Dg2E5mPE/AUehswR
nZC4NSavt2vThisX0OA8DdRjShnsvVhv2aNAF6h0H82vovqcyo+3PyAHHvniRo0v7iUbyrLA1ioj
ewcSwx1m4aPV9i1D16AWALe+N03mop72SRBBEu1FTeaDpuW2jG7P7V+zFub5sqjUqpE2m8vCPc3F
eK/P/CS7ewrfioN2pNZfDD7pSWH3j8Pd2gTdfygC/B0YjeU8nPkhJswF2BexF9MOrCc7xdVftGEb
OiaAh5Lb575yB6yeu9awXa7/DfdncLlNnphpAWw+OeV573WkdlDTsQSA7hnkE0K99s32f24WXIYy
g/NIUPiYjahDOiUbWwhPNErsZmq9vf01l6PzZV0Y+UQ5HYpEKj+1DcUjEkF0RT7JiWFlXe5k4dqB
4ciU/+/4/rHB5zJopOVpaDSogAVLRoqBoxRI2GQ77MvdsBlXPdHiOW+sSecym0pLmhTii3B4WQXs
INqdSrMZEuMYlRh9B0AeHCfqQxi1u76MoVdWAE6oTi9DXvtl0W1iZTrOufQsx+J2zlG5MJXX25su
XT1NZzvCOa2JUb3UZnxajLmg6e3LHvP7HwAA7EAWbCd75rToGVrhy7ru5Zppzm3Fs5ypFIQIJ61/
H1MR0yAPRphY4BJypWRrDN1K9Fn9+pzz0kF7GlFzJqh8Dy5xG7/fTEcZhY7WV49rycLKceazIjAB
pfGIncU1fQ4NBUMRayS23JD719PMOaBEi8RKxIVCTju4EGbEmpZRJXbKveqQfQq07kHwcJQj+5Ss
ynyuLZDzQ6ZRxaMiYOwzy1Fom+0KLuj24VyzwLmdcMpkFRNaGEik2xwd4pQW3m0LVyPn2ennMh9D
iWaZljj9oJLGZJMAAfTtvOBvloHWbk3B5Gr688can/5AqLRXtEQnJ6Y/tlJmq8BbwreuREXlyqIW
3JmOziQw3F+QkBB0z+JS0oRTo4rHApAGCxT2IaZz4sLOGTEs2WhHd67k1M5V1HQLTFMMhgLs5xy5
RbpUILIUQpxZfE8wEITO/4LLiEHmqxaFO2p4toyycswItcm0K/TJaSQMDGdPDUP7pvrFCHHNMJQs
lUwYKRnTg1FCTEEoFVtqm0BtRlTboOtVZZB+AwadYeIoG51QwbhSItEDS7LOISwsIS2STXaRtk8M
/Am3v/yVs3WxSdzdMQplDLEe4VQ0hWq1NLyvoeB02wZHMPh5QS+McFdEyvOukQgVThAXf0KGYA8f
5n13L98ldxjMrvxFu3l5sQBrntXYDzs9ZPiff/tnXMuHgcpe9CLB3gU6omUvzhIVs+hq6GdVeTCC
AIZNh/ox81uX7Wdpk6NgACp4zFaucZZ+xZVBuerc6nIbzq2GQx8LZpoHsVLpAGiIGwkj+hPFuHaG
+fAkDnRd20tZjrO10hK6ElkuTHMfVyq1OsuHMg8ynW3bGOGr1V3dwKgv9C6MvnM0uV05T9eCy4VN
7lvjHBeo8MKmFNC9oKASGjpTMINGCGT76PS5tz8q8K5fUosLe5xzVKsqLbIqzoPBEO18FhxB3tTK
gxiam1qctwUwRGnF3iQ9P+FNDr0gFlksml4UCTN3KgUidZKNgArm25xhJq9FDCmU3wylM7tL810p
iR9CeheGh4lEd6nceUyEJjxwclku3LOyfp/yR0jNYi4s9RoFD/0xdiZg2FSowcidCmaC+VuvURUe
Dr+g6H9OlWSVLNuEUvldMZJ7KZZ/DlB0wB1s9capSgCjQB4AgXgLtIwOaXAwzXJjABJ0e+tWPxXn
9XtaAgmQ4FMNO8Mft/PG2GtodcsYTlpnv/qKrLi8B3zOSTHka8wdbp+gZUEzvuka9UKqORFcYNgC
Pqh0oLxE0wOstGCHUPMJ47KKbQKlZcrg2QMbB8vATTaVVoqv1hSRPfcxigI/q6gAGUZqq6A+hjiI
Zsa+EdHvNQ0M9irPa8HySjJ7fuL4ZDbsCTVxo8MTgoutCZ071/SQa8yeMOE6px9SNvmTmW9WvtaV
qHlhlstQFUQxQ2iLPOihrGyHUeLG4Cbtp8hp5sjKkLXm9AGZJJgXSmsYFBBSH0n7JizZ9j+I4Be/
hUtZW5aNeiHg5DQDiJIBgQP9tFMDgLmy5mVN3Lvhwg7nsStTrkGbv5xQZHa619mzJdh0V21HH9Pm
azu8vEJuWeM8dZ2kYk107HCLDytoyISoBvJXCXp4+YbCbWb9z65+mlHIlmMAq24vVl6qPrfMc95a
T5oujRtckHQbosO8A6OQ077Qx3mjunrhk0A+6ACx1/7Sj8RsB2hRHuVXM6jRY28t4YShQn+tert2
1jlv3tAWilPSEjLNHTrQVjvKNiUjeCJfaxO89RMqgMYaW+C1IjU+O7g8VHScoBHIWSVGHNZiVQlI
6EW7BmAu9jKkCLqPqWvf3K5N5VyrYFzY42IIuNFFo9GNcMFqYFBffqpjVFMjV4BIDDhgQn2DAWbD
M+5qf22k6j844T9r5Zxw2vdd3aY4dAs4ULAYpMoLHHF1B+iRL21vn7GvEPtPJ/y3tc8zeJaMAI8N
olgwWAbKd1HajeOjmnuimzvhdgrAyZ0Udin5leIWsQOw11NtD5u1kYnrR+rPT+BqAX1HOzC7YLPb
bofxLm+GZlMHVDCVGzdsgAwGLqKPXm4vfHEUX+/WH6Oc86yGUFXCAeseqWEjVQc88ddtC9cqCOeH
SOZ8FYTIRTrUWNcyoxGW/rxNWjvaFDpaD8mh34nQ1vSnLdDlwohLvJYIra2Qc15GpqpTRJYVgn6/
ToiVDyup1nLrbu0h55/wxIa+LoOFdipBEIMQ3G/7HrxSQiCsSY+sHRLOA4gjGXQR6nqnOp1cXWKe
VELjEUjm3mCHtIIYeJnahbLyUFlWcGuFnB9QmjgpMeuQBxNoXQEMtlDi9ZgA1PRKp2HtY3GXvlLy
bByR8geFDD+DWVph+GfB7O8Tr3A9hpqZdZKIWEvvRRv9LtqNZEtdYEuCYVOyNb+yBPwbO8cPFne9
hiLPYs0YgRppX7r8nfUSQOK51SXE0aTWIhSlGPB5Zc2OyL+jeVw5nv/hofVnxdwdB69KJ0wEv4Ht
6m2xiXblXbVN79ZT2WuoiPOrrnDpTzh3RS4J+HzxvtzSY2PHznyv++z4X0zYrxwVhXMrAEvWYYxJ
nYCMbgdQJFisLCC7NixyUB3IvdmleFatlmyvXnYIE8vg7AVTLeFOqCnEIhgysMQSIqe9BqoXhdkI
1VaN6ba5XqtIX73vf8zxcSkOGdjTK5iT9ACjSTbo60Ll5yyCCgwk0UAiYyyC/pNLeGaTC0RCCFB+
qWA4p4WaXyfj6YUB9ZWgcDWnO7PBnUm11XvoxWBdS3Q378aNuK3AHvBfRParNxBT/RjYM2VD+syp
ziK7zmqWhSDWDeQy8ft23pJQfoS+u21K7KPBaIggQWgdoy55BCb4UHQLGbw3fe7cXvHVc7NoNkGv
BsOr/ChATakczUlWBoL0LZI0ZxRHa8Jrtx3Jw4Rh7tvWruYzwEaDil1FVefLQEACNgwaaUMR1K9J
Y+eFDT1kM7fTY4ynQuE3jiDtACOSoa3yJO5rG9BJ/1/+BC4siijfVWNRlAEInaDOvjXrwpZJYoM+
wmV4fOkpvVtka6UfpMQT1sRjKX/Su8ya43mfC7Gn0EetG+wZdHi3f9oS8nmnfL45y7c6OxIa63Kz
SbA5UTg+Z7phNbIC2il15SNc81DnZrioGRlCTmidl/D9oJdTnFr6J6iVZeoVaDsAFKF0xHmjQUJj
t9KVAsFM2REXmhi+sZf8pb+InsV2LTx//nvczp3b491RpSRRLRXDHIyRYg2Y9uojFTyIw6FijUMq
cTNL4LNV34ceTE+Guo/F2ArB1F/FH6P20Zup3UUY12sw69YhT5qelfi+LL+XwGnM4KcyFcEPqXGP
0ewgLBgFX5e68u2vvaEulsB5tzhCPj3FagF9RCvfgudQsMDd5iqQUHNHF5ivVTKYz2fZrV3jnB1I
qaDl2ZEiqFxxp+3MrbApXmSLLF9sJ2Jw19IC0wcX5FPkthvzvt5MnuRmXvdSPic/bp/9a8jMi/Vz
MTqOpElVmn4OUmH2ZTpuINL6XGvmcw64bS++LeOMQhfuh4V7Lfwx97iBYE7rp+4ogasSDm6Tr7IU
y8uVu7VFXDTvNVNYxouKoNNEh8SDXefzVqPfxra3CxldT+MYytEumuoj5jWsKffrzrTi+KgDJVIq
6mY2e7dSqvumoV5Xv7UDREwHzaEAVOTDc2Eku6kYf8bQcZFNcLBBor0YZ0+KMHoxtfd9Xp0A2d6U
eX1XU803dON/9/8X2849QzBdJMpjiGOXYVwRjC9+J/UPVb2JjSCu12rrV/J1w0CUUZeYB81MzsHJ
idaKCi2KQCSRy8Ten0AZKRLQR6rxP8inL2xxXq4ctElNSDsHrWF8jG3nmws0yKR3fdfdFU0FERB/
1sF9I+4n9nH7MJMrwf3COOf/kPOCjxzq54Eijpg4hkqBOEEhQHc7kniV3G0EjBRrMtjLDAkF/ggq
N5rfivJ9GAbxyLayfleUtdUK973eOUVGwe4GNj62VzOycgCuQWPOfivykcuoM2RM0aoMvrPW6WEe
+tOEazTNFYiKR4gdarYRb5T8gYJtglSv0yBh7FvfMRSWmv54e9+uFVcufgvnBEHtN9SThH2j3uBO
IK9EAnbEdDRKaBjA2f5La5z/q4iUSRKuWzB2pQ9NZ08qjF2qZ1s6eFXU2b3otQxvvdHcMC35Hkpr
uLLb9wGZ++XWK3mE1mqF5YYyZLjJaw43RzEo2a9chivZ+sW2cl4srM0cmc1YBIuecuNrW9XXwBK+
NsV6JX+5MMP5EkIxtWtWOEmTqoF/77mSyXGS1rSK1qxw+Zs0ixGrWlgJsyYQprusM/amuAIevpao
XqyFc1WlSLqylJsSD4EeuFvoTnjL5kkbwV6IVImDxpyP2up/0XkxF9f0Jej87SbRAL08Fp0SZyWZ
2zJoo/iOtt9nqO2ixGr1BnCqQH4reuLO4NVsTITEpLYbQ9mYLagSjihHW+hPWfIMXkykPAXkbLUa
xAbxd23WN7RR0UILxHxntneSeWhrATP+GoQFg2nJfWjqFuwtAvnpBH5kkhcPhpR4Ro4GcPWiqqC0
bjZyVtrNvNPFxjEz4bGS602NRhzrll5dZKGHb1XlDwF6xEoOfur+vcfvKYp2I0QNojWxx3Y/jrJX
1WDGNr5NMwZxO3ThMmdWsreSJY6mYThD+BjHdy1Lwfk446+za1DJrrJ4W9DCGbK3pFP9PBMfy5E6
ZDhAyctVVMHVpiMGdTCnuCVz42Fy1tUbTG2nhZdPYKWSDAyESae0xnwVNk8CV6QQSnedmK3k2Ne8
qokot7D1gFFI4SF+Qj/nY2YoINdzwIINJopgwrjdTAHdbt3sKbKh6bkOTVo1y12OXqxw4VQ5DyKI
D6g2CKhzYi1w6sYXXNHc4Z05ORWoxtaqxFfO7MV6ufvSiUqhskHPA1EUrALMAjX40lsQWzdglAaj
rhK1K07tWsZ8YZK7JmOlgMwEIrJBvB1+q95yNaej5KfvnwoItvp0O1xccaIX5riY3qKABG0EmCvN
0Wmq+EDL1u1k4nU5Q2pYHMxR9JqRurfNyleChGmC7gnkU5CF0XgpJg3DiTIEcYYHPf3O0qMEXrDJ
oJ7ZhGiUa5usr9wOwuMF7hMqvk9pVj6XhvzKOv2toBN+WYvBYYyqiGPldSOE50eWgCmj/U4pqvdT
FT7VeWWLrfItqx+bqP8JHMxdEUK4MtvNwxsDtX36s6kPc3ac2mjlI3LHZpmqk6GbLkLFQgN94xcK
xVbXJJlp5GGk1X6g4V4yT7FmOBPYOoQxvwcTyYpFPsf4YpILhgWGG1LCmBR07uhIDqbHM9dE4wiD
NV482vHz7e935fNdBBLu2JRZJAu6IBZBHIKoboa0ANzdFKn2kuffNnU97QShIbAyoOL7S8XirIDA
Mhmk62ZbBGVPfBCqHFUQ2zpElx5y0H8LJHkasuFEhtwG6sGSJfLQiPQ1EyE7TNR5Q1rFapv5V9pV
b0me3TFMWo1Th9Zq7Jhp6qjZ2mjwlTsFoeQ/P5jLwJQMjKsTjZEng7Sz8zN/QTWmu7Wu6LVW7YUd
LtFKdVCQ5nExB1SCzrFCLUFo3XBOfpSjfhjC31XZejSbjnFf7kbDPBQmVX2Bxa+QZLKQytuRNsVg
mW6dhA02hbQrsF9gVMgw+I/p9MdkAmAGrYG4+lGphQUuALBlBuG4CPStCRpyV2aZlLlYC3d+s7Ee
hCKDCIIwl3aUlbtKfB1TCf2PaieDKUc3S//2uVr+xS/5yNlX4vK6UM2oEkuLxdzrDfFeCOOVRs41
SOjFovi4VcVZnk90xjSzLyviDghUS0iB2AZKAxq6DFkJ1BsoastMMgMDCi9qrFvN8C6Oho8XE6RW
in1ihm/NRH4VqAuHCPH/bhe4CCfW8txOSlIgVQqtOQNpytttA1cT27NtXj782e2d43SgQlnNQTY/
sxRKn/kegJ8VgflrUfNipzl/VGghq/IQO62ASLPdgkTDUV2wYFtLXrBeZLrWezm3x0/cakwZDanH
qhZsAPBAzC985rXv7PhfpD9XyvcXxrj3o2H0k9Esx2jxJ1AsdHtr3ileedK3/+pbfQaZs28lVoXU
TmKCFD3b6yrSG9rgrVw6t61ca5FhPRriP6R+IXvErUfr9UppFA3pXJ2CwwDNADN9nKbKMYdtroHQ
po+sIj7mxhr1HOREr176P6Y515xBOmSYR1S+1F51DOld0cE+JRTfJ/nNyDR7AH//LJpPZSz6AzSY
sry1B0a9RRURxAhoAfgs+wjN2ClN3xip1wpBpYMT/14FbUG4MfMnBsZdcEHYWp+4iMgbk771GbQK
cmgj6CgMDWOxW4Tjxy495lX3roqx3SrK76QiD1BbvUtItxXjHGrskBNIWy8VJXA3pEfwVz6aIXMS
NC9N/M2IVXfOiJ92b6P6kIbznWlg1Ekxf7T9twgAaq0x/Kpt7Br8eGk922qf24nUbAUj26gVOkFC
B/J8THwB11MP9w30tusUcAs8lwaTbZJ2wiJxgczpXhSrbTK+xvXsaMV3VuhOo6UPwthbhhT6szg4
Axt9LQxdmogHMfmll8SH5JSVxKpHk3JbGJJXCslO7USnzho3TdVArJhfJcTPTDA5yo9kxHRkWXoG
rR8FhRyiSLdZ/o0M6kGWwXghEvw53dbJ7KHWvR0SbdthkAuKMUUq2P1o2mJJ/TjObKH6mcp3c3QQ
oS8U655c/IJ/WohFbV1ooLDzNqYvYr1lwO2JEKHJktKNBohCDTKwjrM1QvklivsAjHBuS8pv4/QU
oe/P8vYlZPFuMupvYxJ6TYHH5e2bsTjbs5D0JYnjQpLeaHrMWoM8CNLsGRMKaiCBmIAxaHBXVksO
PODoizkuPJm6EOXIY8lD1VFrwLx7VdDdgB2N6QgBnrKDDpnoNMVbk7xDyM40ey9fZJsIxBHkMtpB
nn5lA676cUhyQtwOtLLiF73ZtE971Wzx4CK+sSsdTL7YmQ10tAPMlZ04a5naqj0uOkUFJvXUBs2C
z4LIvnTmDWSooHOjeU2QrA7nXkubz5fHhSmtF8HWMmF5E9sjwcmNzE3pQxlW+9sH6dosHrh5/97H
z7+fefIZL1etHc08mOFqkiQJImMEfaHYxk5rpMOvQf1FRWNylEz4Yc47BuF1lI6PdfYzB8FkXcVL
SUE8pmYoO6WIN1heQ29iLfngXy2fWd/5z+QiQYEHWdkmBsA8eZDTJLJojWM+FkDWhphBmtTCyYAw
nJrKHwXF7YoKAmZKuVbBv1oXO/8dXFiYphCMtyWOQQ4/h360Jb6bd+y5AFXdZrQHp3tqH8zf8nu9
qx6zx9Xm7bUcyQQTD8F8AkDbfFllYJHZmNFc4NTroKPqNtquPmYuEPM+gWjMFoC4qke1eC3eX5tF
QMMazQuQ62rKF0HkNC3CiZTY/1hGQXBEQZA995uw3Y22ZIt7CHM6yhpq9/pm/zFqcqV5fZ4guZji
bIqgt0P0A3irecc0igW9en84FvuCWJAZFF+TYwrKtfhw+25c3ewz89yZS0EuF1c9zONBApJPAbMy
2zgn9m0r14B451v7qXJzdgPLURrBI4KtxfmF0rP2eyGCDrfqPXqfJyzPPJmot1K7to0HFq350eXA
nkWSvy7W2SK5p6HQh7I4sE8/qvgYygd2FRpDe8Evd5EnrTQ41naUe7uplSFIWowd1dofTRQMJLHS
9v32fl5L3M5OqsmFxiEhakxNLAhUWxScIfUqt+H1WHC2Z1w47CmNIrnEMqgzuLMz+LkTO+GeupI9
H+rDaqNmbdu4p9fciBWlGk7IKO31YKnGJ67hqI1Hgvhd9BY93HV6iDWjXMArE6WWW3ROgo7+mJrn
EUNfXbry7l2zwUU5EUrfGGzDt+q7V7F6qAzADB5vH4frHwt89aCN18VFY4B7ViYT6Gd7VKKHHXOj
TYb5HvBlH1Gz9MgmdM2VgHrdU57Z4/aNziF6Eh3WlG4xpfJzeWJWtmkjDQR17ZY4ibcGpb1W9TZA
Y/r3ErltLFpzNvpUhaPyhdfSyR+H0tYPvSvbrV1Df8xGkvbvdlXjXDOJ8X5QE6xSDfTXv6SJatcI
CESaC8d01ipYa0vkNaRUsVdmCNUDsHmAzCNDFADu3Aerar2ZAT5nAE5mgbrirvi89y/n+GdjNS7a
iwj0Q9fi/Yk5SBCsLnREYCncJf4icEgeAfjfUz9y1tCF187QRa2dizyZPA8V3sTI5b+NDrpusdUc
QBN91ILsSQbzUexOq0MFV+7ihU1urbIhp3mj4p4YByFgmgUC+Zdxg8fST5RN9+yo3EVe8w+qMRdG
uejDprGUaQSjwgYJ1WYZ7Tb21SvaV4CcFy/dGmX/ciy5aHdhjwtAod7qoxpiY2l3EvMWZOV5vCUd
uNbQoAIrokDKZ1GJ9rG5polwJSydtzH4XEYNYyRWYTQ8pBLGUTooq+b/e7pyYYE7NFpkdnk1xcOD
PORuq59YXFpy9eP2xf8kIrrcQYjLSwvZIcTJiMhLO8SNYPZRY+QPQ6fbFEDbtm08kCm/Zn36yxyj
0tLnlFiKCUZPpSB3GhMdJf6lzYXdKenPXCzfiTyhqQpKeDQ35AQakpCPaiNUmclc3WWi4Rei9JY2
7J0NdWc1YOvpcP9EVOI1MFtiaiuS74eC2FH0lPdtYOT3UwmumPwI9JuXCvVd1XXPgLjB1SfJXpSb
e9BuZI5C5xPgGxJEd0nuDil2B2K30djs8ik7VL2yTaAAqUr1Rm+VDxMT1qT/RdrhLjFaP5HBW143
D4ZQPuUJ5B1pe2rTlxwSlEYce53YMCB66GxHs2GrCTo4kWzLCV0JmJ8zv2fbv7zEifQplKOhcSDx
5IdCPIE4BTIEQdYSuw+Lw5gm35p8sHNFDtqk2hGSA/BcTZqrZ5iNRPM571AWUF+S6KFDe7wEV4UE
GSwmpBacKvRNRBtM2NnwFleto0WzpZVgWRNNqwKjL156MjSvhOmn1Bxb9X1q3Sk6GsOhweHK6x+j
nFum2B9UMkJYq35COwvN7tFuIBw6pPdht1WGtxLIMHPcjuQ5CkEySO4RIn00XDw9X3jho3sNBaBi
wAN+BkJSfW3jcAOxIVfvCsska/BPfrr7ry3UIWSu4D8DK7lMCKqJVo06Qs1bnjD3DnkXAMuiMNuA
GBHC9cRR8cuqMbfyKvckYstD5ei9r4TZE9RnbCZ/6MWCg+vuJ+AR4iH8aUIPICu3ty8a/+LlfyZf
OFZbSY61CD8TauPlVgcJu+lChkJBrd9X7cxbfVsu/uHL0fqzL5+V7LN3CE2poDJG5WDQzUNqmAA+
3fVQHsviyg5jjKs2v7V6H+cvcbf2rP70frdsc8Enp2UkJXknB6VOXiFi4vTFXh5iR89EmyTZbmzq
xonb4c2Qso2iVq3FRiCU6k78SaYnY5hLYLR0TOULU+JMKdgPIllHfUYEk3EGvGrBnsALsZumx0gM
wUX+VIit19ftj6p5iAVIzDb7YqrsShowGSvOVpobuUOkYQOBb5Ht8hT4Z7Wa9/AGQ76vh+yQRg/i
/JjL+qOQIg2BEqmlSMXTNBDITIPPbxa2+vAjZxUKYN+q4WPsjn1Teop26qfvcUUsqX/S231afEP1
tYyfcnZY2mqTzqxUeVUxHkvhjagJKm+DWVTpLTWEs51x7XBrBvSnUwiYlwzsMrL42rQVML9sP6q1
pcZgxSNAzxVuKkGKPCzclaPJRdHlaKrnDKzc+6fScmp0M0KmXPXe3HcWGVJXBomvOqPUPKVu3N01
JPXSeFjJyD4zLu6gXJjmsnnURARDEych0KLSS5XwMRHnd4w+OUryDaB2y9Te6fQgloOjstmbEkB5
NdEPk9RJusgB7tuFdKerRqBcQXGoARVTW5U7qY7u8jnbGeBECaXanhvwXtQoJ80CENBGGMAdbdss
/K0KzX3YlI4GYnvlLSTv7fRIoedNvs3m0ywSvxl/FDkoT1g/2SPLntFLRsd7PIFT70c8zrKLS+0U
teZp0psgHTT9pECzJJoaeMhdHAah6ZtdUEbxfaump9vf7UrRGPRMIDKRDEnTAYa4dHxNXA19QtI4
mHpAQAsojU/WooQ4IBxGGGG/bY3LJ01xEaEWoc8LrD268TwGfuqryqBpSYKKyVYtSODj3wks825b
4VNl3gwPfdcoi7PE7BPMwo6OSZzCDbcYCd3S9+xt4eHP7TUir5WFfRIHnPnJCsUxeJgoPc2YEgs1
cTOAEV7D6PXKyhafd3HULzdQ5nwiBDFQ4+9VeXnV/VQABTXtYm/6qYXKzKp41uo+cpm4HldSM3ZD
8klKZBTOwrME6LvDasQb2R2I+1+8c76EHG6JXDpOSaInAIgg5KComG2gwrnR3WLbeDWmJFa2c+2z
LX8/+2yzFNYQ14YyVAVMsq6V28lUHssY9xv6r+X4oNUoD4QVkK+RO4Gf1Tb01hWz1KVof0VQBrr9
e9Z+DudDoWvB9FDAftfmQXqqqGGNyb+1wV34WOg0MxdhA9Rsdg+eirBrof6z2otZO6lcycOIZCWO
CK66avWO+E6DCoS9zOu25oewirTjm8JfbjyXv5WQeJZ7NZIgutFvJdDxtJsFkJoFq0UH7s3GW+Jn
UkPkyXUvVdJpfJ1yS/smWbGToHsPN/0Tw6JeFPyPMMIvFvk33NyTXKmn5DT16GKRetPOP4b4h8AM
SEu4TVg7t0/hcspu+BiF8zHAnFQgaBeTU5j1jkw+mvpB04M40Vbc9CeQ7ZYhzr0okMlrJonNaOZ+
tAIAeJj6HhI0EBB7ZgJCvWFodIukRLQjUYhsHTmdBQV5aoUkVV3CRsGnEyXeNDWg342bxIsE8DB1
UHdqmB1HG2Wc3xO59ipw3YzlAwGQvJ9EWwDcFdMkbS/dt8nz2D2he4R4GwL1K5YfkmnaC67Rxgv2
rpc6gHBHxwjJ/yPtO7Yjx7Utv4hrgQY0U9owUoS8m3BJqRS9Bf3X96aqX2UkFDdwu9+kapArE0ES
ODhmG7hQhGgKwMzdMiHKPl6PY3RlSRnY/i6KMszGGgZPAd2GT9c64XTSML8nNUwkUOOjtAe5Vs0L
u+nB69N/Scii9fCljjJvgAFCHSa7KVT8NCd2rE6O1L1BTByIXd0v5ac5i5zLH5kKwizPyZ3jJKyM
FnFAhwZGChxeDn4RY+SqSpMjUNQQNCjixk6LB02LFa8LmSMvoTvAFU9p79iMe7uBa9uLkmi22uzl
KQVWoEVS+iXBbcxAr4R1EnJRGM60XwkqwwUlpGV99YA86yj+6vQpGaCgalS7tr5pO1xgsLNb5Byd
vGy+tST0zYvZHxZIAYNq0avWZjQ+Zw02iin4WMtNU73Q/uHyWxHFEY27EJQ0l6JltMhtftVts10R
/FqVerW9SGBWFEW4SB/3MKtpoim5JehZtFUIHQKRdhzPHvsRN7hIr5YNzU0SAgc7QRMe6DjLXhTy
PBiYyBuvVgKB1WIna8FS1Icm7lpYdFReV1VeBP/saBmeM9TBvZwJwsvPIvbvC17jbobJkJXGHCIC
rmVuq7CBoo1lt3nrs/4Xsx76YdqmLbw7DGnfFI9DKUwP1we/FHe4y8Kc4Zg2L0iimFdvYX3nmDvV
tL+tOjFBCUhiw64ptstbMeqSh37xH4WuZdRJxgEYXpQU8Ne+hcCwY6QW5PcIKG6QFVAPhG2l/Hog
DyPAelkiCLfyt5rshef+Dgkna9PJUnHOLCiZGexrVlrXsMBfgnTVktUuq0y/jiDiN9zHcrRXWfc0
kmi2mVxeF2x+H6URXn7xUzUR1MpQztAn5oDRBnwR8ERlcTtXxrOa1AnwRc9yd2+1km5XEwOkHyLm
ngaczWOToNxCSiVL5F3KFKRRVpE7Ut0PcC203kY63JI5uxphtC7rJgAHcA0cK2iNZE4DqeekWry0
txBnKtec4JdYwNJwHmy9H3fD9Erl+xjg7r76pULafo4syFKjY2XJEKvLQBmnnpz5RXdTgTwJ56Qb
1nYOHXu3n77qLAlUAqdGC9jVBH/Z0NxQ6h1ZBVYllvZpV8LfKd5l0WhHiuUo2d00dY4G1CwgMKi+
G6+fsXciBqrJHXyQ3TKvbKCHesP0U8bcmC220cuw78B60ksX9fjoTzpBxQggbWy5bUId0ARcWpV2
PeKn5x+6Xge1NjtZNvlNmPi0nu7SSrWnyLC7WXXjEFaU3c0o48rrPss+dVJAqDX6W5NfqyX34ihx
hrx2gScGiDtHVw1CCLBTYrqfs0emK46iV47ajtB5U9xwDtFHAlvk0TDf5Zp4igFnB5hFlmPmLOsL
nGNvvNXJcwSVxyTfQAd17lNXAiePqKVvhZ2TAQXaJ+hujIGsqG5ES69aKi8xFTvrbuJlsEv89jB8
1QAV6ysI9UQJaC3v5SS5OqT84pJ5hpb66nKL1NFudBV6BtSNrNE1YnaTddKLruXOSHK0OUEpbbWj
NSeiouBs5irDd1yBVRuR+SK1aWRDroDfO47R4PX9WwqXeKg0w9gyqGFkFE7MHvp3pmieNhwIOgKX
76A1/P04pX+W54vXDF3wasTBOmqwRGkB4es1GNgOdpGqrpYPTkRFeofKj97NGpFPluQyzArdi16q
0CxOt9EGHim3sFuHCC0DpgI6Tjb6vvJtsYXKMaSUMmF+e/YuPFmdyzcZy/ADjEY7zoDQWXQfCrW4
zgb8kxW4RBNyaFFsdnpyK0UYzhs+fU4x72WrjcKdfNDt1X868zHK2lz+lKInW//8JOCOVWNNS44n
S9J1XKfSQ2SK7CT5WfY/N8rJw3Epi1rEYQGYk7bieycXGwRIPKiRMpeS7T+4N1FBIlySy16kmqIx
ln73BdCKxYLqMyTt7FV4sd3FO1GZfrYsPnlCLpFJJVOqcwmlpKpeDVnjsuSQK0Nw+Vutl/6lY8dl
JUxPQ3m20HZQlfKBVuino4NPk23bqq6lDbskKjY0FbZNBcFG5XKRftDitl3w9UanvZJib+3plBsU
lpWdqPZ/0dFf9/qF5+Tr11TqisqY0BuDzj7sm71lM0DUoLrqnnAG3MgXzZB5HQp+f/KySlC0D6G+
t4bq+5Vb1OG+RgHkRnu4d9dbeN5VkpfcDYPDML5f962FE7k4Bm5ccC6jINM/118G9IIgERWcTr7O
nSLUaaAH0WMI5H2aOnCuERVZgnfNxZ2lDQ25VfGuOwU8gvI2NJi/LC+XN64guPGFnNbSDuGz1gEE
klygcm2ItY7W65xWNhWKP4iOPl8gkZCQHn7Va0twcBVHdyL0VjMHO2hbeokvMoQUXU0aF2oKAEqr
dMbVlF+NT6XuWXvpOcPQC/YbBD6Nltd5SAobn1peCM/uR6jW9h+iPXw+a/8Tgb5luk8COa36RJFq
XCCrBNJ8gFiWH/rqTvXiN+HITXRAuUAUhZFspVOL75nKr4uR22H1GLMPq9TcUUtta0bbp8Mkchxs
FRa/xaMC6/DLW4pXQflxZrmoNNKQmXqxBnizusbZSDy4pis+jItdhRg3MDAPFmBLiVZit0mYaaNO
wNS7pfdSe5vAP4TFBWzZI0fvIz9St4kuOzLGT+mIYXxYevCS3qvaXG9pFr5JIGhd/v3/4XtZMrj1
im5SfiKekZLJeacmtxHzs6U+dt3gKVGbIumGfboi3WmoYpS432eDtW8M1fv/Wf/PnINyKU3YNkk2
mrhMAEh3DQpkQbM4XQIh9oEEBto9agoQImqfpZU9K/4lWP5sPneyPBd38jic085EdwHM5w0JjxB1
dOfmFtwAgKD9KqlgyH4PEzkRzO3s1j1Zl8t32mqWcL1k2rGejHd5GPcKnFNaHaKzaaDqIUqKxwlK
HmZYb7QumGJ5oyq9IKrTNSL8uOBOfgSXD/W0rWE9ApETCt/SqL1XJRDMJzUgoXI/pRANr2gHkRGj
NDdG+hLCZqcysa1hCxrDEhQU/ibEPNXMnDps7ZSC9kHAJSk+M8AaFMq8tjP9KH7tIclVo4fX671t
DUcCkv6gRW7XSW6xGHCuj125gRaq3PoN6rqZypuZQZIXrIdxVv0ag2ka3VXTpxRJmLSNQTI8QnTM
blMTWAx43aqJXaaw9QMgKZw+FzQk+lDk1iZIer7jwElcA+lNrfue0qNCWGIrUuk1VWNnVrrBzQXu
0mHsR7uTJkErQpQTKHyMSxeCwbhCjx01PWmRfJUuHi2h5zJGGLJHXROk+q7LgSwJQ+K0cv2R5Xey
GXvgtaD7u12yx1H50IsZxf9e6SLbzGtfnd+VevCAfNxq0QT1kCV/lPsIzbU4O1pdLQKOCXI3vpdT
hmGlkAoJRI0PnAMZ08qQLaXmowY1zCJFF3XbmonXZVuzyq5MVjqCcy64+vmGDqaBhVT062W8m16Q
zQGOC8nlb/ai/ks70utsa+3CPeQqRAFO9OhcgEtYxtiUxDMqxjX/z3ah+wtA+A3ZWELay/kx5J/b
l3LhbCmrMCcDbl9qz8gc0WMBL86OfQCW4MQFLfXMb54vv1pBbvjNBDw5GLSfJjKsSWsTwq5nhBXq
/H55BVEmRfk41ehLqWnfdRtYI/Xg1J+lO23Wh8LGgQIJ2Qhzi/Vc/YiNJ2+Sy6ZKo+/GiOLckdsK
KFLkio29bNDfuUUbqiqRxsmO6s2bubCX1eFQsGF5SjOfV/BoA2tqWE/Wzmt+ZbwQ+JUOwE751nP1
1rwZEkSG13wutA/G7zn0s/55est8Udr/H5KDf/s7324MJ9+2m6EjY8hwMki31ku1C7e9n93o/moY
IEocRduIy6OSipmoKWsNkqCo7kzs06ywL+8jwRI86FpFRl4klGJaF9/K3dc6nvrfLcA1h7QpiUht
IgOf28WrQfVpklIA+RVsSx5SvZRGNXWFgZZXJPsLlZ2haNCLfY7l3tHRX7TUVJAliE6fzsWU1prl
2Ry/T98CBQMI00ErffVwoeC3OpUvVtxdz/OFs/eN4jzZdkNmEWlS8KGM5aDX72H0qC2a4FuJEned
CypTFJFOKhAqB3/t4BU7DPbkfbiN7PS+2KWu6arB8IS7/qA64Z5AGF27Bv0YhOLX4igMN6LqTefi
TQhnedkqZuhSLQUAVuhQL/TXrIAGSpO2B5oi/tQqqEeE4QxfTPgQ+n3XywExQaHsGrccrproipnM
aS3mqFnvWKSwSzDscj2040G1I/jKxcujCq0K8JVcDXqwrF9cVYcx7LIiRVflJYpBV+spKA3b8H7A
kJVmsz01E3xbAZW9sVCnKBjdtulnWl5ltPdVSFjkkQTZ2U+5T7yG3S89WvITnEyG+wKdiQU/l2qg
ao8ggQ3KjlIoQ+qoTXUMOo168RKQXdsX+L45o7lrs+cO8EV90eCr+AF9jKDFIJokWzUt/Tljdptc
F7Efd4qXG61v0INKym0LYBg10DIZVT9brYTUxQU+bWOw0ctIFZT4ilrvWwCVwVppm8oNwIahDUxy
r4buUhnOOELhZrlKp/sMs78weR6md1mHN1QStOoXya81s3MWJKSSBbgcqIMS2qKQoSq7xZOs8dhE
5TYsYruwiD0pvWCvnp8D/rmM9DW7OTkQUPaOdXjq0m+gD7rNaFsmwT+NhDIQGmMIMhadSzm7amjg
nYNcCTnm2gJerTxXw2xIWNpxZosGvN8p7KXjzoX+fFHMTF39ciBhinJjbh9LrdyH9eynRr2figRQ
cQxDjCj+VPCFo7wwnLmGkEpY7Vg0eSGDGk1Lt2VN3VWzqM/hpUNiSMb2oVsYul0q0GGJQxkeC6y5
isJ8M+vLziyW4HL8P/+ddAL/J10Gjo1wF4A+dSU8KpseDeZkYzzHLoyBgsVTbGKX18LM8ux9drIa
l1kOijVXWpvPx2lunFHX4DMEcdmu/B2S56VvMBFLbRlscxOo11mGa0i8G8f7phDUsmej9cnP4O4H
otSVRBh0VQBoUGkQQ5hAexS82LOV6ska66s4OQCTVTfUYEyDIvDkQ922gIqb5Mlu7gNn4RjVwQqg
MrQy+US7k2fR/pOInSzN3ROyFsNlCJ8cS6t++1q+Fh4UOVX5DhbT7gRn3aa3TWInmPQ1m/a/ycJE
D89dDQMt1SRWsauMQXkHCAhUuMJbdJCnG6hO1KVDNE8PZa83f4UkD6wRUKdxFZR4itTQhtmUII8S
ZQQGN5nvLaU16YQpA6xrdriq+qBxyuf1XVi/aeWUjsh09uwb+BP/DO5cWWlZdFqBbwCYUFS3voKh
eoJNnzaVQCVelPLyjukpBrW63kjLsVR1D+xee2mnXQ4p7wWY8gE9eFMt3tsl3WFHekYikqc8e6ZP
npQ7TDP8+aShQNo/phPGqJWPcaMgSp09rydLcGcp62TNmnpk2nC+MRJtr46Jm3ehf/nI/oeE5n8a
iz8kDCMwblnYIG3EdQ4Ebg+Vf1QtHdhIbnpoN99xcaN67ApIKNQTo6igWO/En7fKn/X5UxPKKZRm
FuXYk8wjZe9k0FPWgB+qS93W2P3lxz3fHvqzGndDW1IFe2joO91aGM/U8I+z2HMeXU+gvqvA6wF4
7y1EpFJ8frP8WZS7qBeaTTNky0FjbpiTqVdVKCqZeArn/y1D/yzB3c0FG+KhUIFwhKPdjgRmEEV2
dVsF6CMNX3Nir1Qa6PIILzfBo/F8v4ZWka6kqnVMIi3IisrvhK3v8+fg30ezuKBimEMRxomsHGW1
3EOUYpfOm64UXI68/iL/Anl5gtHsCClSAjPABEBpWbvpNFzHcjbATjQsX3pd8jpYjbpDmJsOROau
0fJ0Eim3AXX0VMN6yaPUzoeDBHWarpC2Oiyrpox5Gmsm2BplW33Za8pyhQ4kg5pHAaaLBMY7ROTo
nSzn7tJpCfJxGA6a+Wve9uC+vFNdWCQK9r/FxS02Q/x4nIG8zdEGNkMTAJvfkFuf0mgf19rVMCLR
buPYTdGDClfqC3uz4tGfC/pMCt1XOnboC8xqAMLzp8xwLp/O81Xzn0/Nhby4KdS6aUf92NeRr5qs
gqAopGTDetdK3Z0GNCtE8bzLa54HFcp/FuUSB6suWVsPqGLz7XClOc11tinv11acvItW/1M79dLA
fE4FPNbzCcvJulzga+OWWkakrBM48t0DVDt72N9ZH+FWuVFv5yt9o2zq3wVoTpAlvvzQ6799Iejy
Eu1VK9NE177zNFoNTgjxPbll+/Du8jKisPStgXySD2qhFsdllgGfB28Btiu3mge4VjDC98QAHxNb
zJ6+nXJypxJ8V0UUN7iQmPcQVEpCfFct6LaksUMwQjcy0DLJpg+QhEJxPL4Lfek6fBm31FH2wE93
r9UH+xBxhHjtEy64gFn8d1osq4NRjgl+SgtNGczKMq+YYB8ArptjOOFDcpVtMfL14gxkPKcntizs
q19+GZSveGDZQ2ZSYbNV3uxAD3l1gO0DcPzRmx2hpgMglFhb4/IuAznq78euFVMxkwHczrCKoJ+b
BiN5iyYAKS0m2mhr3PrPGxpcrL+XUqLEiuMC9595var2xJhj+2vva/J0dB9cce/rctpCCR+qqhSw
gUkGFDnTtwkQvZX+uaqGGobqaFHsXj5Ios/HxQoaarKRKrDNkHIo6c0PdHkbNKHaxeXwSwmXHI1l
qw2Vks7QEEkOw0vvVQfVTQCYw+TQxMsEKcRdPG0jbUUnRPR8XIZUpFm+4I4BnA3o2k7z9W5ThqJD
IFqECwgFGZVKkjBC15m8g1mq3bdXSipEr627+sJW5BnNVmTOmW7NOeJOtBnu1w4lcKCHb5PMGyrY
GIJt+F0mnQRY4GtRCa3nel5qd4JCe1ticqjclMDHG/PL5V34H4Yd/3NV0u++yslqrQnbk2HEKSO7
djvuFn+BhYStgEH6BFxrYLrdF9nmaGe64A4ldusoHyKxEtEDcwe9TbsiGlOiHGF24PaZ5LRoRzKY
aBkYOQGiYF9+ZMGe+R7knTxxmMj6rGY45pQV1zowzqZ6HRfW5vIq50ka/+YCIB3/Hb5SOStolRMM
H43UrwFRTujTYOBynGNHAdJKt34pS+8T+MkIVhbtVi6ykDJUw3jG+9QCSHIhhYXezACFt+ZBfv8v
BNYEIeY7GTt5n1JRRtFoodocHZbb0V1xaD+1LyhjQFUZbrK5naALbkHyzYblfIzE6/LjqqL11z8/
WZ+apVrPpZrfyvJYgR2QQlgvAqp0hOwawGWtTwh0ScMDQzdez9SAverG1qifGKUbo8GGTomjUnTu
J2kXtcTrc8PNl81iHEifHrom22XLvkzg3FDr7hImN2U7vcMAxIHHWyARMAdL/Sqt2KYaq01YQ0CD
3F1+RGW9eS7FHy7MoRkRlZ2GLzo689e4QG4E9maO9NzeNA5m2pMDNgh5UR36SL/WXhBOL3L9ASNn
UedT8Eu+Ww8nL1vp5Frq4jU4WRZK6wDi0oLte7mcgWbI358z1iKtZTJCOkiSVywogmTLtopwyix6
kPUQnTwIkZOFMJiFHJPseSwVyLiKXFwF1QD9Fn0/WcLAGLJZJACrSaDsoLSr+rqzbGpAkN3OG+AQ
2jptQOz5qoWvpGiAfDbKgTRvwVkSsgc/+AFQTofJ/YQri0FhUHsEkBQcmEhwV51HPfxZhucBxFYG
U/IWhz/dTuqV4UMQze5s0MvjO6m1Nb8/ih/t7Kc7WZPbIWQYFC2mqHRmhpmICgyikYgSJ9Ea3PZo
6qWMdVVRjibVrw0QUmRMeQWnev03fpzqk+fg7j19KLKWrph45o31p/QLXh/wN80cUBALUK68dPOK
clmiIHoVMP4InSGAXKsgfJ5PAE5+xfomTnZpnGcLbVcQCfMWoJESR/MaJ3qDaGT3AZ0kKAMOt6Zv
fFFn3qxzTSe9FQWVsxH85CdwV2WcFLDoUJFeMYPCFtsC+Qi6oLPmj3ljGyVM9BRte/nln/2+/44W
TL5aZmYCSPts9UddTR0oOLNiFnzeswfwZAXuWtLlhoa1jMw7WwzcL29MbsAPawTR8nw5frIMdzWM
6H2mWgeME3hwnmyAPdWodtzFTmhWqQNvZ7zBrHmiOYh0JnUG6NL3TNuaAB/aRMZ/pCmMbbOJBbiz
80P+f3+YxRfIM2PhWEfTcDQxGScqLAFi5sogtGWqZ1qvTQ29JTCqtBFiOF1vswlhCvawyVBstUFx
iizaaaHhW9OIA3HP4tpWIXY/tQfSFsByxRCkHxY3rGAHIVWit3r546HY//tQJHGRLymT+mM1GpAz
n7ZSXx6WBrQASI7+7tmwGZscA/mwvykic2vJyb5L4l2MRkCYWFA1Tyr3f7NhoaT79y/qFChENhE2
bF/DzanYQ31K8NBn0/CTD8btJLxaArwc5h9DDjeRAjD9obELWfdqfIaGfFx+HnWNbj+i35/l+Jqq
6yvsSQMRtnMBOwDINHHIE1AGNzPIrncJxC7hDO6xu1X20nCIP9yBtImJ4+gi2ENk3vqijSOZDlh7
7miLxl6i7ctXYUnc6qwYVLxv1ESjErT9/RQHIEhVb1Lh94+QLb7PD4ChYQBOXYByVUd+BAyBfRbw
aEJrSnLbWzFW62yoPHlr3J1B9bgy5vWtQU3oqpuPCRwfC/VYgNPYaZprSBvBZzqL0j5ZkLselihJ
q6TDpBtoFGXXXdHKNmB5f2UGUD0Jus0AYF7vmr96P7kenqEe5YS2Yne/cw8+A5j4rIrmgt8kmvXz
pVVIsqGfQ0xl4ZWDdsaygb6kLTvUSSH1IqLH6WcT0pM3wJVThULqvinq4Zj0kZcPSBUx769XBYAI
OEQLFhJUfmNAsaDtvJUAbJGJ3SJcVdrt0DzL1a3ePKbmR4tCr8X+MUaItEHri8q45nWCjVI6SfMk
tbETSb2bpR3sIi1bql4W631Ia3sewKNQYERmfqnwIzPYi6mOdhl+5oSBxGrZI4jZWWY5ugTw8ZZA
vUGHmJYRmU6Zsk2hw+xUfV2i2i5CcI/3bHpPUYe2BkjPSe3SUXNxh1gOLcB7GKj+pRG4xSAndgBI
h3+O7EPoBh0qQQA4nzqevFcuxg5Jb8xyZqyIDVgNO0lh06vclbze755C8G9tsd7s5VsfWst/B1Hg
5mVmNsgc43F6x7AXCuzt7eUDI3wsLozSBWQt0mFzTn63re8xG1oZY17rjagq7S7Ir6vny0sKnoqv
yaB/VMS0bBGqTOLp8JgoDMFDnRdB+fOt+KJsgcbhxFiNbL7Kd3VCjhBtNG3WjvddlARFUUXOMmfg
GSQVvdNlObtRTBDJjSR5UONnCsh3uTyU8KlYtSfRA+k+tRiGh6PlWnAdcTTYlvtxNjpTAcF+Wfkd
t099VkIBC3VsLh/l9qUec4DXpLtRA7O/2xv6i5bJIF8Dd29BX1zrZpsCwjRCzrEBFXgm5hPJoFWX
trD//lThBmoqUGnKwgPJjCLQWbQnmXyIlvKmyrS3dmRXCsjhbbyVFeZK4OBWyWcHlGcDO62svI1i
OP/pENCb3dhKXA0l45IObhj2j5e/5vmy8eRdK39vUrg/dmOKceExAhv+S/uC9MYr+R3DWtiW91nA
3NHtj3QHgrdmrmdEkLd+IzouXMx82WrBcWyKezYfteGxhBKAORkeHF+C2lRCZ1IqpB/a0u4G5aMc
uysFCkZsL8/w0zkM/VccR1BLOZTYjLij8/4oI8RB5m8YjYM5/rbmjxYuj1WGSrG9k8PXfH7Eu7ZR
wm4TmtuM3OhzCm0y6BKWo90Q6oYgJssHWt3U80tkPOYg+etdQKQ9kdQ9mUfoA3yYTeeEgOAaqQmf
rwd9/kww5EX9UOpOWX4uyVfbPOmQj+oiwDi1IFV3Xb8tl01T3FbT7MRWC+zggzQIBoJnTyYsQgyN
ElNRf8y5c60iOczZjq3WennbOh0RpNnnw83JEtxuyalO0m7FemgBfSEeC/RXZG9ehekTwe2bP4oa
C+cbmycrcilItwxtVtJoWCFIwSpaF22bLeSsHSYAXJ9Nwk8W4lKPfmyUaagQrXPM5NtW2hLdCKpa
hFYRfaT1Z5wUwHJtSiBVIaUq9HkTd3KgVFvBkRYtwaUQ9QAGnZkD75BupWkfIouC6aUFIoMOTez8
WdohqRAe5LN5y8nr4+7XbhjZwACWxM7Ib9ZGmhrUhy4QovTOJvIn6/CXalZpKcki/dgw1W8MQI93
U9cAIAFLJhRn4edQxjeMPqXlh1nurepd8HLXds+leMVtk0xOVVltcOGuOoqQGPGRlCINrT6VvSmA
qH3HvktrcXulaAtofI2Iza0bBtoj5PU86MW9sEB7AmUvYD50PHf5Id6jYXNs9rWLUkp0AM9uppP7
gdtMqUGlrm9U5WhE+VEtlN20EFvwTgW14Hd1dHImignkMMNcZiAv9Vt633twpvrVOBqaQvBlG93J
y17l68wXbab1t196v9xe0tWO0cTCWcyMZJ9RZcO666baw09U8ICihbgszerzUenWsqZ126t5fksf
ok3skEf1A6kaOm6YlpDD+CluXp4PasRQV0caDYLkf0ebJlmKSsvw9TJq7i0U8dlCAFN4u/x8Z/cI
KJ//swp3K1AMC7pEwXvUJ3OXa61fd0+XVzjfeDpZgrsGIMaYjbOW6kdV+kCn22bFc9QgAAx3tRnt
W4NBKQ/i2N2TOlwv5JOOxO1CBbiEqfEHGK8Jfs66M37snJOfw0UBUkqypJjEOkpQDNoBk/KW2Mu2
CqAD+jKAdPgEsiqqQ+j0CNUWRS+bCwqLOilmjabakaVgO3QpzHerX4LHO1uGnzwed+gtpUmSVsXj
aUH5UEB+Y9jBnW8vtu8SPQx3a8Q5zMmSNbrEY3nI43GXA/1w+WFER4A75GaSa0Yc6eBqTa1jgCq7
oHsxEdG9Ltyh3Bk3lTKJFyvH/IXa61y7D8rjaiwJ3ZJf6dPoQux4Z7my4LIXvEC+r6UbZUfUBUdP
zfu9WllBK/IJOv/+/s0qvxsWJ8F5GY2Mhrh1jyVI4/UIiBPqK6YLctfzILo/9zoPNVfkrK1qGNNA
EgWqumh+ZQDgJI7yCyTod+t68jD6S9F8S/6fzcL+AVedLM0FSSkjZO6bVj3q14NbbyEH7gI3aaL7
N3iYENxO1+OmEGSbgnSJR5+bkMvU5Tmaj0oq7Vo00KHbYCt1kJDnSi9spXmYMs29fBLO75V/v+R3
2X3yJYfCyg22pp5JOkLBIjrIovHOfzgEf5ZYf8LJEjneojpVIUXD8N2Ew7GSd240/yqLtxClWtNN
7phjNAkNvWnCvWfekkl25WQ8mIbkU1MSPLHw93DBUpnLpAx7ZKUrbq4eAubJvgVjSrj/rIJQs1+3
T1r8X6TDglNjcBGU5sUk0xHvmmjQNDU0O4KdCTSpBKmTaBkufmLbNhmrYK2ZZ1eKpTpV/RCmsXd5
35ynSpwcEC6EMtYUfWPhLa48MVx43rJXtrOvepmQHynao1wUBdazyKe1dtHV1i8juOaN+Y3gcQQl
hMmBKaO0W2ToIitI4fun+iaFKVkCn6LhaUXqipvo3w3in8nCv4fC5OJLV4LxLIPbCTzFN04X7VO4
BiXI5SF95MSb3EOXQWRAIyrVTS4pixKSZ9qAnDPd6rv2gW5WHj0NVu8EODjXQeoIXYNEL3b985PT
v0iGWpTlmpp4FEq47XZ1yau9Ut/rmjdCTMMXA4IEG8bkIk7ZVwDiTPiY4PNctRmcN/OHy/vlPA74
z/bnzSQTNZ/MMizWxyreC/h9yBud+SZ5k6JAYpv5ndnsetjXG3XX7iB/QnD9k7d2uBtWrrGNmY0Y
PSr8vFyAqRsl0yYFz925xGGHobQH1Pi6TXfdIXP7TbwTBvd1x1zax3ywiYoOHmDRekXTX2tPYWWL
hrmz2qdhCuVefu2C0GZyQUeeimawEuQdyay4MOuBOGYKg7a7y6t8t6svPRQXcKoCfNQJckc4nKtH
Ye6yzKsA7nIkb3D0l/QgOwCUPo7P+a7fSJ+hCIB0nmP3Z3fxBBhAasKsochPhwmYmcQlBcRz0FiL
OoelEGtK4b4RHvIKIlsK6jfpEec6ELyEn1/Wgk0VJvIyQCYW/vf3wY1goislU6MeVmH6aG+90M4z
jLsMusfptf6bLXaCbGztc6xznZI4jXzo7oaAfIg22U/XIePvn8KFrQRWh9D/Xn/KapgHAqiFudE1
5K0b4Bo2/0AL4fxtfU0Ao1W2EtqGsR/uMje710R742ds+fu3cPGsVatKj2P8ls6FnHl6F862JkGb
yk1ah3R+iU8DCA14CF4PV9sn00ZwrR7UJxXtNu1B2fSby99pPWB/79W/fw8X62KWDkMXl+pBGqFL
Pt1OFHL+sh+ultudqGfxM5hjMRXsZkOxdFPmiT7QJNFIVLXqYfCjjZw5IByEuCdxIDy0zGWn/C2S
BjwT07CkoVAZ6a8CexruLMJnbuoTGmmH1VQsmwzgKYs9yH3SVmuyGxMgyEFV3EkydqYMoeTY3I8T
NKUKs3lo6SR42T8qElmjMPMDzpFYqqXqvG7EAGxItvpBXwMSsl25+L1mN4/FIzTnXLYdAqi4X0s3
lbAewTvmvjO/MhfbJTy2qdUSuc5D9InUFk5sn0uhbDHQ9XVlTyv4wl4Z8e8eJvTI6e2yBFChY7Ze
M5gjxQ5VDkoeLGiLriZnCYx6VPmqAUtF6jbppMMwAWpryEfjInZHBWL7c7phyofVbMwxzx34S2Ey
BWcfzDmy+Fkh876p6htV1jwLnvYT5BIM+mbQJ7XEDG5ZHIrx9JS9EHlL1MSV2HOPYSfMsPcKuK2o
76+ZXLtoSduLPGwzWE8bY+eNS+rSgW7iikJsIHSaoXC0svbH8VolraMxjNYKoPgTGoxa5DApDBbp
QWnxMEXk5+RXk8F8sS13CdogfQq8r3U1QWrCSuF4F4KaU5Kg6TQ3Y0+r3nvXe0leQjkitglUdtr/
Q9l57UaOJd36iQjQm1vaNEp5f0NIKoneez79/7EGOFOdJbTmXDQaPdNdTJKbe0esWGYqXGHUcIx4
khvV0bXIKePBVhPTU4bYVbKXiFJ6JPNtHC56NcZFKnpS2g5HDsPu5PZCGR/NAkolinAFMpExCvtp
NDxruluXCTuJ6qIubowl9/S48KK8pMPB6BtrL5wNvC7Gr0Bs9rmeuwTkEg9eXrY5phNa4SyS4M/T
44gxt6xuXkCdp8vLLjVNv80ETsLRjpdPOUnxe34frK9kuRGmB3hYXpvX+9wqbbEIvTGLdzzV60HS
D4Ke+lNn2VnReRlpczHMaMvMiKg2LvK2IzGw3KeZelKqOBArJA0YnKXWEwNUsdWcvv0aczO2oxlL
YJOw1Ny4KK3QNZn092rqJPCd0751OqWz0+VXJGl2Lz8380dVXMzyCas7ettnscS9RqqZ+C8naVlO
RfSRrXMwVrBI1o4/7Dkh2DCDUq0sgtfqd6Uk4etY+zkZE4aGg290G7LM2rB3a1kPZCn0OlHbCwpT
qOlBXNsrOacoKz7VqHOxkthZRn0RrquvJCjk69rJ8D3JU8wq9ftGrW+MdqNYv/ewGaKp9KLmqi/K
3agz1I2PSYsFWyZ5Uxa7M65PaaIRK48+oj7K+lWpwljQr4E80YbjFxW+m1Pol8LjWEtBS8xgs2va
hn953Hf97CexYI+GZDNcsitWcSFMTiyOxHrcWrICv0WwtbF2dfwgp7bYyXyUzBcOApNLXY+8uoIT
pn9ibeKwDPdzW9hz1bu4XWTYxCOPLyw3i9pbDLpvTWI3YqzgMLQnoy07NLHozGuQ1g8TsMrUOqUo
OHob3iTFZ7KWV1k/+hI2r4OF7UfJIFqVTonUH6g2rtZhOSQiJpbFsRN/rcKvlmyX3nz89yPtL7I5
e51OTKZhSSL0YfF8zw8bs9LDWBVP7AL3ZeEMl2jbAqzmXzYBefHQHtOnjv12uBPtPNBv2wdjn8T2
j3XHVuL8ebae/Y5zIM0asT+Ktt/ReWEQO/Vdez090MTUd6C6e/EOiStasN4pZ2d419V9SQP174/i
r+Pv/CecV2GpGvViyE9I4TsZfnKo36O97mZ7ySM8a1d5PznJfnfE8fBVWTbwtQC+P7tiO01J2C/z
9vC3uq8jehRoFBqDszlXS7DdKl88Goa3PBn7H+72+wf+32ufF3qKorabtQrH638Ms6sH8oKDab/s
forPPa/j/vNg/3upszpOlrGqrZpRPMXyRYEqLOt+MqjfTuS/Vo9lkCxNrSCa52mvvWKsmlVV4mkx
Cj+RrjTRctbBdKf+/ofH9t29yApObRQkFGfnVGJzWLohHcrtsZGKqDrq4xaqbkGdblZfdDdT6J84
Gup3K9OgNSDN0JTlLRqP2/+jsRfjIl1gm4qndkgOPOeLNJ28ZSj2RSK5JRkGy4g1nl57zaAEYfch
1rKrkn4jd3QMECEsIXEncr1FJDvMqZzO1A5r1e6WOoXOY9g0YZx9im0iajeKV2aBnjgTqUzghVg8
LsK1Oe6L/iIpNG+ovyxCHeN69AvO3aJinQrrbU5hvsW21pbuzETj9sm1SSuuWPpBXO/x8SEaaQt8
+ZXIllcL+kFXn+TirtIupYJOL3lJ6opwnZtZ/Uq7kAICF9/iS6P2yoENyxYtkfqUUdIIDTRR3Ky6
ieq/E/xVj+2FyN1ifYny+JBwWghZtod+7DRR68xNYy+K4FXFuG/IC5XQCIsZe7HiiZx9giw5CxWF
lF0MEYEPYhFE5R27ALP6gbShu2QmYCFQOKEWgbiB8VlM77ORiBI9dKty8Qv1fnvADV66U44euBD3
qXJJUY8bBWdLBuiYP6/MhsFXe0uFev0udaGNiZa9JG+yuDqbZ5Yw3qnlc7X5FXAet3vFINYAM7Ae
x1OVv9fhluD6lWVtQAfyPMCvzqcnQVZ9DQNfvRvttMU8mKNfHLAg0mJfRY+hw5IaMu0odcMxjR5D
7VnDrSbLd+UK6ba4W/mnSSkQPHx1RFlpMcPQbg2sWfAnkT6zexX71Mk5lTnsuvIwkzxaarqDC8JV
h9WzhHt4SqBKkdg6sRSyLt9klrLPW4LccV6uZdDeVvCFrUKdkiCUl6Peyq4paY6BH7Ok5UfSLuxq
a2aSEZ5RbuNq/VRRYspwxeq1ckQyLEONOuKkLocp4WnSBiUtMF77pAy6I0rk4dSz086zLzRXw0Ji
T5vYBa6t66j4iXw35qnXZs21qmzZKJdjW+/TdFcaWIutr3miowiaMW5q93PzUYzkLDP9GIv3Rftc
reux28Jmvoak9dvynuh6u2NMUGCGloVei8e1kGMYP7wr4y8jWp28z+xQi471LBP9lfpt1+8W8yuB
jia3krvWqA9XSJmtM1oGKCRcQYU6I7ZXRjoWhh/JPJ+k1gz09Vc3fA0FpwEZzqzfvRyTvzWZgVLe
dctTE2bOnH+o6eKBHOxN+oBpvFs7yZvb6prcX78uy91cfI19haD5emnS60XVnZYmvpbu0ikQNcoZ
GQVttgbsnae5E4LUkL4U5SQZbBbpFv81Qm8/TsA+Zf00Yl0nrrdKfRkLeGn3SdAYV1N2o7F1lOaj
Tha5jEuJUDhWWdgd71c38WMnZdZa75VQvdbj1Mv10h0F8Lg6JrKw3OviHLTW5Amp6jb6ApxQa7tR
SBylv4ww1Wr5rELCYKTcIz2NDkPn5WOuoCqKO4UvAtZMlvQsD6ZTjF8jGJEmEYxNek34kgkndfia
hMMwMl/Q0LJi0dcon5lxtSz1bmIuUu2Tnsq81JyZuKCibFyJWLO09yIh2sn9Ial2bQTFbG2vQ2xY
4nQ9eB1WyYIUdPDT2f2W6GbtXxYD17Ek82pywYqOO9O+NJ2s3jz0oI8ExAh50txcjXiCFDWDEIi7
HSeF6lU8Ja0ufSOcCTQhC1i7KqTTJJZ2OhSOVqdXeTw4Y0k+zfKTLeN3tcc/zpTzJrdsKklVjeXU
dnsdI5A0a3czA5IEL7eGCKIiTeE8Eydc7gvK3Bj8GEDQHmftYCbx3lhFJxzyH8pR6xx1pFQwGNwr
6BssQzfOp52JIQiTKpkLiJPkxnLn12nBTgmJMDT3W364EhoXQnEjMDWCx+fK6Ve3Pq8raXjs9ur0
Hgm3HeOeqV8OCj9P64zPqbD2eE3dCBobkz44hvCAe4ajpf3dWuKe0NNVtPAMOaCK5k0h9Qgpsm+o
mdNFCLEExU2j6z5/zolMlwbraGSQe/N014QdUURWQmqE5NUywoTE8NVJvTCNj4Xjc1W7S1mAjjCY
pyFrMIgktBvW6mKeTEwUG8KLcPQNGvUxMV8nqN0hRtf6dKx16yLBcawqjhtiIMxiMK13FRl90abT
6N4qGBfz4FZ4OHbyi0kH6CSjtldDNnHsBWrgyyw6wULEsEYhs4PIushw8mI8SKV4bU0WJ6jppvFP
7i9/kVnP3t75ENnS1EpDG4sxHXKjxiFNY33uLskrdpcrOBk3KRafY5Dd6/58+h+yYTd86qwKZPFs
hbRuSGCpZwC5UsuWxBQb3IbMoCGoguGEf9sxe9jiRPCHcvLDsqM+jG35+FM9/e3CtVRR1TWL1Xse
KZIZKY46i7meWLNZjAw730/Ryw/F5zfAFGjgfy9yVrPXddrMtZSLJ+WKVHq/CUiY2BV7BSlE+f9v
yLe9TUUxDUmVUZSKv+cyf1SdUTd1KZfjllR/Q+DUxkYW4Y1H6iZvdqhb6stq317quzqzf07d/abS
/sflzzeoRGxmYV7XkxIXTmu8qNnDvz9O87e38/mCUTRZ1UxJNWX1vJhXm9RYx7ldT32JMneCm6Ik
tqRoeHnHXm0Zx1R8ModHIXt91ATyBzVnGOnw+f6FYfb1WvMLUXfDAuhvQf9OrrewtsGSPkgSKl+s
yCK0HeIif+TqQwMy3a5+UiUXjcCBPkSBigHn8NXUg1PU0HgXVEZh9WvUelebVV8WMlLHGkfPWlsy
T8Jk+XXevphNU9gpUZRZ82swScU2SSEV6RU7LEzWxF9KsgDCwa1/25rUN2hnnnut8ps0fGzFYs8Y
h1qfdLu8CAx8EWJ4DrNaBgtypkacdpuN1aQ3u0il+ghvjdJwkvJ6MpmYUijLPTN70BiTDIHRiC/q
/qU2+Q+MGsDjoW3edKXxmxwYbfnsJm4sK07W2qHtVF9UEBwimk6CplJ8fyxp47aT5DZjvSdgZDeC
7tXMKVsiT8ePtOAuI/Cc+iUlJTV6H1OstQo2WQ1zdcqa7VUZMj7h5W3KkT+mo2qHMJk0NX5BbEa4
nuxssQmDR3LhhMcpUjpPVe91BUwNEWSei84wr14oV3bfooWR7vAr7SI9qLv734kHUKFCQz7iOeJY
EWNHvXM4uuwkwV2PrmPoL6XyvbWEwAIiqiC7FRiHN1SEsqHYUv8+kRpkrHZHWd+ZOKWWi91rePoS
x6AOkj+aBKlkLV2CUl+FWUQhaSEwUz2zpgCy6K+q1RWz1cvjkSNkCcqGC6+o4ijUB7V1U6WkYMrd
muR4MdTd1hQcTcnsBPNyA5MX7b4fe4rQ1Z5yBZcP5RTJiy22Fge3HkRjG2gkp67UhbNRuVZUwZQX
nEw0fVXXg6WRbVVkrajVLlOEIFOfB1MKdEx3+0lzokHdyWTPtrgTpCFxFiSZFPGLwWBAtADcwk/M
WmxKWMewYi5Q7gfzTlc4gYfm2OhupUx+JZ0qmbg/iyKRc3kcIoDy9LkQZd5MfTs0n8m80tcOkW20
L21uIgLtP8x2BZ0eHNmSnbolI01a3CXCNXrFBLZCQk3qQDRjN7xUe0mIjqp6k3d0OvpdTQBgqTVu
X9f2QE6MRJKhgY+3VZ9U/XplvAReb0NaIfGCQigkmqR/McTOJqbSNbK3crzJhqt6KXZxLu4SztbN
d6sHa+yz3KNHxzmlCgnqlQhYkXYqj2nuLluKxGWxTeu5wUp1Tlo7su6L7EIREK6QiFTIEuBj5Kta
6cwlC3NigU/tRWFCMDafKil1GyaPtEh4L9+Vfe4M/f1iUUQ+FlVhjwKlQXqZK9E+iz4V8SXiz9Mm
0mnzg5WwlYh8qTH+pQJAhfjSr8uuSkSmduiF84dlHR1Bf+6GF5Dhfdw2tpIUvlW+iOw6lSS6eXnd
LgwUTPw5T/q4KwbDxmcgjnu3qw/NBpyr407Br1MA1VlMIjJWAirT2zgG1MJobkJVQ33vmHS/fYL6
Qn/IxxCbauyqCxJo4otieV4ihnkaf40DzWT3YMp3TFmqMHXr8jGSn+OcvVmjnddJk6wrNy1kOxox
3EKXJMUzeR2dF4n5VSFKD1mxI2aHxgDm35w7VqXtG1Xz9OU1k97ErDj0XXylhtLlbOQ3pcA8p3lR
cO3NB8WzavVUI0nFiMeWZ+5Z63ddNtoz18D1hJTmBw0LrNHLjOxSytngG9y9Zxm+xYNEs2LllzI4
d1iKrp6nV0lj7XKIVmlVuEsXXc5NFij5l9p3RP9MbioeKkr/cGkvKvr1NKM2SlN3lJqDgLOfOZq7
IgwPgnVXVuiC6iIQ5JrZLxh50QIuIIRdTL9S77oJsYseOYNhXCkl7ZmOFxhThmYWfal6CtXay8vE
oXwgt4UvxYwRJEp+rrQnkrWDZTJ4a529CAx3YsFdDdMOs5e5SC9qNs+0y28ZxLkrJ0tIgOcQ/QKU
DyaDFFZtsscaKADERNFlW+k/WxAXPWxcI9p2NfZgBWlh0foRQ69EvlG0q0F4ksSPqDpG/bYz0syT
4dRB6dCj6rGjj84kPShImdeH24GPWawW32QSMuXsEdvmW9dvs5gDDZkvUqegaf9co8bpJX1vpvqD
NsqU59YvCy/2EbkjLtZBP1pOE7eYsCduAZhUtQbA/tcgWJdZFAW61dkleoY1UYNNoNRhMtzPhY2n
td/ziXfpimQoxvA8jp3erF21exDC2ilCC8GU5kjAjZPCljHf5M2LVa/spp0vt+2FnubHKqycWs8d
KSIgdXnNOfc6M/eU7mY1rMDKVIeSz5eYv2jSjaa3J0u4mLrXFvWomLlqovKNY0BV1G5lsB/ncPQz
0+vKV2tRj6izTrN1J+q7VkivMiAGVZD8tJYx4w6BDnCkI3ENM3tbWSK3UMtDC3gQ57M9WkDpMRzB
9CUdHyorYfElfj7wmtr7BcF+2o3HNq8YYM5ep3/QciCN7j2lWIJFvAwH9qohfmi7TxPnTDO6lNFV
1VQRJuLOmD8xemzkT520cNnY8KbaSYsg7VmdmUhceWNHzX2a7HMsBFMM7iVE9Don2ByPxylk35jw
RB/xgF4jcrpKm+n7oW16+uYGTbh5bZTqRRJVzBwlf6J8ilUGFvV9rb/OFqdaqCJPfJcJ0M076z2n
FWHS6mAd5GIc5ueR6U3yk7KWh2oGKVYdHJyDvL6b62KP6b8TjZJjQYAQQ6dPn6p1It5Hv9Kx5VeU
1zS3HlXZcHRqlJGmLm4RTOTKQTMkd8RkYdEfVpAHSR6PcibagzLdR4yIi+JCn4YdsJeknMr1rUkh
8Gi0/vKvrrphsOkZ6+CJxuVgtK4oG7eNznCsJomo6H9Nbe8Vw3A94+9ZNssB1qEbmxrJxp0nlPc4
uh+shhfSRkfBBCMDWOP/theasVRm8ildZtohyV+rpvRIK3Ayxp5q9A4RwG8B69a4dtrUcFqBZ4dB
Q1wNpPLSwsXG76K46wuAj5eQ4iyUVBb65Vw9DOmt2ek0k5GXQLNUCibI3fuw3jbGR0iAtpqeupXd
T5i9CJ1fNApuRi0jGi/YV7pY7rXFhjFEDiEAltDZZp8fQnDd3xPulKIHK7Q8Fn1dfZYAlaImBQOb
3HB8bo19Py8X2/LuzYc1fy+YMMbTFXizH1sIOu6jLAqG8TpCKR3l8q6Pb1PW/YpXJmHfGGP8Qo1M
dm2I5eupzZ+SaNgRm7XX9FutU9g/Phq9cjXraypPVvrWi48T0sY6I95BXHYd+IAEottJTAH6aZ8y
O2+Nz8IkXKuv7cS8UcEJpRR5c7U4Kq6Cg4Rt0/zRR6WTZ4Wnr6Gf43OdjIatq1jn4NhaCwu4V+21
VFKq+cqz+e0gkgHtS91PCoq/W2VdNxTgVVplkR7vjN1F2oRZWNGw/G6VlV0W4Ce/a4Ofxnp/yQcl
SsU/r7P9jj96yDkziRhAXnTaYnwV/AMgIUC5lHc/ucp8MyP5x5XOWaV5VDRLQSoBgxmoxr+MHTnQ
2JFhn0VBbqc3WNn8MDD8u+X/5xXPpndqKyi5JsfrKSyBFwXxMlYKkrV+zIb/e7j1z+ucdf2TRI63
2pTLqcf7lO1ZcZUdrBsEhUQyJHZ1FWLUJ/xIAPzd3/+zO/7ndc/Gdmqb9SJk+IWRrOSTkrqvX5oA
SkOwEriweT9YgeLlrzn2tplLVPhucSlgfgxH+nap8r1syArMJOMM1bH48BrO3eWE5tVXjj2O5lCg
Dj+J0b5h/XC7f1zn7JMo6tTMV/LDTvINedOQ3czrzJn8eDeCVf1EHP8GfuVqmiKbsqYDs5yP9Mpl
yGc51+ZT9ZXeG3546vcJiWWdSyXg0cVsjmEVtqc/0Tq//07+uPAZrGLpvRQKCOdPYqAf0FpcZY4U
NJNNh+QSl4peKv/Jg/Eve5Xfu8Af1zx7hV3eJGOMcupEu9N4mzqnw7oWE19/vFqPopdvIWMBHGK/
tmVXuOH9etOuPOQP/eePW9K3ny10BwPGpbFRy862pBJDjVxr55O1G7x+P5BNp7v1e4I/6uYqkh+i
K/EnMt9P19ywrj+2QV2M1CLartkicClfNpMIwWFqalcbke0aWY3743o+Zyv+fuh/3Of2m/64Ztkq
ej5J3fz7860IWrK84iL1N10NyadejTZ4JFPqp2H/NyAwK/uP654tsLavSyNKuC7ZLLfRkaSgo7Tr
n7LXzYZ25dpdvbGkt/zkT/0nW6NvN4s/Ln620nRRUWFqpdt50++zg+VNPkjaj36Cf7GGt4drioCG
smTwEZ+TE01jGeNI4zrqTb03HzcNQ+NaN/lttAkPf0ys/ktIw/UMnSwJSbIs02Bw88+XaShar8mj
LJ+gFtkLBVoYpQd1axG0fDcYl5Zxb5mvQvM+M/JfASSluXKsvv80ckzJo9r9d+j0m8fMz7Ek2j5D
1sVz4koxFlIaForMO452TBuC7TH/D+XD3ySV7bb/e52zo280O/zVQ25bDcyv2g/xpiVTgjkhBgT6
Dx8psw8e4tmB94+rnT3kPspDNRwl+TTIKvyJ0k9R7NaVGMTKRw/olqk4Xz+kormvrfuJSnmh41nn
527EIkSs7HW61MUHGYYYntL2mongmbB3a+z3S3LMJ4G2iHIQJ34kkNNq4qGO4aXInzYwV6MhKoAt
mVNLieEKGGooAK4ilm6S0PtKA1DQSnSueOknb6LKe13757TqfWJGHJHpV1EihOgEBumJO8hQUrH2
NaX5RkyS9wmq6hpXh6K8ldrRSRfFNYTRs0KIBlZNg7m5mK13wlC7fUWDQ4lMpa4Iy+ZzZIvC5Wgy
Y8hTN8R5eb7WpNbLTIKxwKJHesiMOf0qQQ0QYUrNL4NMT1zT3ZCJHUs9DIwKDC51cwGaSv5K7elD
Z2gr0S6IKJXrG7gsDlznq7750PNLsQOOlbODkGfHvpBAv2E8C8963AZ8GqSWZ5d9iLUHnVIIAyPz
SZNY0lOaKHQDC74gbzktoFJorpSv1zH1PjDjeyrcyNbtii0epLcgJvhQ0+1ZUbduEp7tPV4QBgZM
uXxjqk9zfjXQ62vzh0S4t4QbjCDSWZc3pRZfauvgaMuKk907VoYkR7euuZrHtMbkpsPMjmA5Ilkc
BeplxWyOXBQM+jFFwdOmaVy1xzMrf42lZ4OAXnmFBKsbp4w8LQPcvJBpxlgLsnKdM9809Ps5flWF
jxRgV5Yvc0gSZdUSw7Vx4XkssFo1+a1h2tYBGammgt5PhGZActISetICFGtIfiHMQWp9CEkQ0wXH
iuAKzaXUcuoYFvbPN1Z3TLvrqb4prQuleqyU3O/nC8HaNZFIkxIFS54HZvimaCnADgFwSn2Q6wls
e8Q8TgYgzey8uBuHSwEQ1CovoffEvWEDPrthezFJgk2EllvFj+R/2EV6DZcUIEsB771t1ecJzugy
Mq0HANQ4lI/tNDuV8pZmwC2gKZsdzxC/Leu7kBXHWBsZlRPeYV1Vw7qLsI+Ji8ERLI2nN1wIWGEJ
NZwoZjpGo9s99YwUYRgsGgeDx7ZAqsxDg/a284WyJ8mMg8l8XazRmwzIxWBBbX5X8b8OYukJFZRh
I91N5QXR9c4ysSOItQsYdxHPs7dMsi9NwGYAlGXjt9UjmTTv0TC4bZUf08U4LKbi1Y14tBTSEozP
DKtkI3yUeQ1S+CWRJJzDD69AEkpWFd0aJC08luZx3y7scdnDmtV+KQ12bbx09W5eDFuII3dUlF3N
uzM7vPNUQOix83qQq7x9qyqUrCkl1HJKigp/Jd1NYaB0UQNU/pQn1okQMSA5ExaSL0E/L+FUWuO7
kkdukrKq89SRYHxXTc1We1CL1xUkvFmeVO2BkK5djE3j+LRsxKo+tlv2q7wevAJ7oiwu3TqW3a6/
FTEyHRmgjFPxbNS+TJiK3ra7FUJUOGZuIZFt2Qpb9LRTTUzoIXFZvaP36XW+4uwjkskE26aeW3uE
UA911yu6eVdkV0mZuEr7GpZ8NcLeYg3G4YMxnXIMqJQesIVAa1FQnWn9xRhenyGO5wKCkdZdCGGs
+TdU4UWAyLBmt5O1eDreo5Fsy9FDas22bJGPLD1Ky32sfJndUye/aeHJLOpglj/7WgksJm6r2fxw
nH5XlP/j5DmrD5UG8ajJWvp/ZMyFYRY9VrWfg2Wn7n6uKORvusp/XPKsPFRaCT9LlUv2ruRXjwMf
yn16jZwjpzytnC2Vs4mxLp7ciEGbt/jrY+QUfv8JyUn4sVr9pkD+x685Kxo5bFWhU1T5pE2w/xXr
GEcJgOJPaq/tOf7bCX9WHlbDgKVVOMgny3iPzdXOMcH998roL4Py/1Rq/y1ZztrIdRAUrZwojYwr
0wH4edQuukvlSCbXveIjSQCXgGDjdhfaNkPfCzdI3MkXtryPAQfFfAeT/73ycgcSnPu/6Pq+q8//
8ajPIJkyyYe+yfmBmDhfTF75kh2SIEEdjv2/FmTXkKw2OKFyM/9nw4mfaqxzuV2fKEk6huJ/lt3o
N8d8n/9qXuu95FK0Ix/xKgInvdUDkGyuzZ1+ZMLnKvt/f0vyucPG77cElQJGraVKknm2+ocpApAu
uulkFGWQQ29VCnQ53XqBVMFOyEhLFAWHj19F3O0MpldQfFzLzIMC8D6WLvSK52VV+3oQGWjBEU2V
u3//hcq3pS+tBZgH7ZSmnRWjo5VNkqzwmtSASc2ekcLVSjBK96Y6tb8+RcG8Mxx13zOY8LK96mf+
RolvnTooH3h0/ubF+RNq8f1j++NHne1TaaUvZtrxo+Qgu9xgod4t9+V17dPPesppIvvcuImuQ9vc
oXAO/v2RfL9LGrCODc0UsZI7A9ySZam6WVu3XXLi2smuOVTObxzMYZSu7n6G+L7DL6GhqTxp3oBl
nXs25GUlaQJFJ6IZGDZE5CoR0jiifDFNsFvQ2wQLCR0ZLofaD3f77QL449Jnz1qLWqKCI0s61Wvs
mkvjjUw4sug+rBX4svfh/GLWN8lq+Vm3/qS9+3Y7NlUVTZmhkSNztvhMZlzZmDTb4pvIbM7d6CYL
qk+THE5USE6BBsf+KRjkt0n9X5vzHxc9u+GsU1IzzeNtYwqD0k0Om+ds8dbdwuDMXrco7NZj3OyZ
drqLb4oLyYFlhoH6KcMqWHOn3U/E++/f/h+/6GyXyLRxDqc5kk8LcSnasT9+rI5w+NlV7a9k3t/b
0R8XOjv+ZkMRYHZwoS37lJn2SFazXzg8BC87oS3nOQTbjW/JwLTZ9nSR7vqHyNVvw9Cp6RaepJ9c
Gr5t8RkMsPpVC1HA2ccmI/uWzDDZ7n1xEHk5KxgwwJUvnqIDqS1YxRtv3T56TvyfhKjmXy68LDtR
kXWdAQWWhuI5kbAyIShWhSSeVKm06wu0oMEA0bgJ80CddTfResioo6v1MDBXTQtUsrjhfKDWIx0s
Win6NONYWjQlmNqKyTvpd2p9b4KbyLG+N5hUmwmMT2wiMa6r+v4GLpNrDYQsdvFzBXNAQnGoG7dq
pzzL/c1EO9XPjC2Yqi20lhM8ZitfEH3mTkZEbqTM8K+gsguwcNrK0wv9AGR/wcQX/GA+Ls3k9xI6
w7RjgiXaMRLHCbVgraBp1QmxVJTU02kYpCR0wvotrl8NBqVVrjqy9JZGltfIKkP2fJ/FtSeIqhPT
IkoZdhlosFX9qYQsbSG4nFVQ3YlboltNVSIGZN6O3O9EFS6yhuVZJ3gpM2K5GR2VxzSt71JR70oz
tEtj8SS0hCsz5mat/VYsuc9Ls5W8rmNa3uylitmduXhJ927B+hnKT5nutg8/DJjw4so8X9Y8crwC
CEoPYwprGTPOonQNYI2swGON8Vgzr7tMh4pPmZfxY2jlRRmr5LSlHVf9ylKdSpjgxvszZNolxW9U
AzPUK79YKzcRce4ov+ToWl2qh6WSD82AF6WaHCyr9k30AYL+KnaPMu/F7BNC1bOrSIWaPt2pmPGL
fXc302OPWQqrO/K0UrPNQjp2eOLM0eeo6nZhRigN+2fiCh2xlfApHgKJ4f9iQHBROtuqBMjf9OBp
7dZS41aQuvEwcBf6KCVqvNJqLrbgK6WY70uNVrc6JEgO4tR6roTrkSyaqCp3ksGU9EHF5SgUYsGp
ery121uRnpZigPHhjMwwu0ubiNnlduzcICosieJ+jGBojAM8wc2apc8mGfTlcrVWX7NuQmkFzzF3
xrS8tXULJUuXglSyLuoRRKCo0USoxYjT110DTVVccRno+mOvRnZEZqxqGo4lCN7aw1aPc8h+Cwtu
dPohht9m7dbU2jcRnLq2qI+VXnpDI981heiXyexpMm4m7UVvYRde3ArxikcHsJYELXR6m+Djiacw
fLQs8G5Yo/GUOYr2tpQr+ES8D7PRM7Pp0GjZdb8kAQNUNfnVWw+x8dm9aOsCJ/o5/D/S3ms5cqRp
07wimEGL00wgJZNJXWSdwCiqoLXG1c+D+nenSTCNmNk9+NrauvurSITw8HB/Rf0WVYSCurATpbLH
PnSKcAIpFk6HgHR5nU2+Bhq0Y+okXbP3ujs1kI4x6uX64ALVFPeZQENVrmw1A5E9dLYW3g2TVtiA
pnyAWSSoz4HnMhznAqGrqHmg2MEr8SWT72v5ZcwnZvIIrCg5ttClG0nYelCqRZ71aqsdE9r3nqfv
h6ZZ6zlMoEbejh+1bj1p0nsHhius4PBzgjL9za+9Q583W1nv9ymbKACGsR5E11bb9iomo2tYeSUA
02PmV40bO4ZYH3r3Nokru+4jOx76Y8SaKiK1QJ92seLXewSS93qOT5BeUolwt31troo82KkUhFOL
zfihxrwrRmIGPpHUJOPoLfWRV+bQ9vq4ibonEdcY0zq61i2mK9sA/ageZF/llw5Z31oyMAsDQWSF
mB7mwzq0Ykpd+qnuqFS9asW58+NTgfpgf5P1DVyTcCdmd4oJBMiydiDVlPJN0sDthdVtI5hO6Rkn
k1ym6cQXGKqrRK0dSGj7vK1Yn1OX3tT0wWo2UapTq4h8p0GKvSEw58qLGw9X+fgEnuU+BxLZ19QS
SNMzwoyecD7NyrpWTPD6+QBd+9aHU6GgGtHo4S4wzkYfAc1Tu/vUNaARAFBq4QO4L00LpLCJNzk/
Kytfhx7GBur+ZgAklTqkamxjn1QczpVR7zMwhhqY4cJ69sKnklKxVxNV5adIGFc9aCKBAk7L+DXg
uSnIyf0fK/3jxQ/WRPSa6D5RsjYBCBTVAIwgRdmN4lL+mDToG7vqxho7J5fSexCmOvwpkTqWlf8x
kGOpWyiOabM1YbllqrmGlLirqK8FvrcTx99SmVKzGleSRNWvh7uh40jk/Uotb122kOPDYxYi79H4
m8YER0YNJhgPBGuNo6DSUU7UcKdVdHw1ZBTxOx/8G6G2tuFQnfSoPUBuWWnWjeW+GPV7PjF8pkpp
gtcpBVgDgB1Z842Cwl+Le3ghAPZn46WZv6qyzBa5zLDXWnUSVS4ht8Pwb9D12z72HHTN8TERrpR4
ZGhrraDa3RAtK9l6HiXhysyF+8FXVtp4dmttk3FoqiABywSqMxlYqXznm/Vv1zXsOlDXIVWuQblO
isaW2g8P9KgLiAxfDeqof1Qq912ZQdf68NLoqrfwG0evQWM71ekm6NVjD2OjBOMlo8QtBNSmpOGv
4ffXoF1sHKYpyjdXZviBMsNeZE9mSsYdqTuZdpPo6iYWcNOwDp1y3aUtFaMXocK8SMb1orzJrJM3
vobjXdg9y+mrCmwlSREXeCZZ3kBwXUvJrzL/lQORyi1Y1+akZA3NjyKYYXlXE5/O6zu7JC8MOmEj
hnfcpBtBBgzH9VI996UOwlfEDiZBSJnHIzlO24joLUSOEZM/YG5S1yeJW7tOcsf0u0dLwGNALrm2
fFtUxT9QX/HgHEjz+rdGnkxXZApy/XmoX9x+F7+YgmAr0oBX+0snKOsi1sgdMPTxgcg8R35nExgA
qF9lEK5i8wavzbUa9wdPVK9jNz7XUEM7LUcs8VhNKEuoYYmobQ1uMKV399QHqNEX6zimJDvZkhD5
B9xWY4lSZLWrwQ8ODTBpH/Znd5BFc9Ub7l4EL+8F8HkUvGbojqQjzSJqmSPY7SEeDgkqX15KIgGD
dOA4jlICtOlUWS4bvgXFiWkf7MlS7Gg8dECcNDQinkX3LANv84rsoAzEMPmNl0D0YGSgSvJxL5IH
VOm5786RcheLv+shOQ+ud+TFWGuxLU1HpTymPBx9A60JKGVqebCUjHJsu9N5vKXxHzyb+SHmQVCr
naQNdton6xzMFkQ6Z5K794a/+gBfkoNe+MfIeOtDH+Lm9MVIQdQBYK8YIYx83dfNtM+4GPRgrxfA
19nanSW9CtVW6+qNFbiQowPQrZkTgIRUETPyqGuQNMhtSaGUxkHFW1OH01uqhySMHcn196Jkra3k
HgGNjT8+BCpPgIGePUZHapg6CR648pifehSSWiMBVjfpSFynxBFN87a59VcsqHWb7aZtQUwmHM70
LjbB4pvFISqpwVNQHIOHyh23XkBHICo3EuyKnGx8pNqKBsZWVdTrwg03ruBtijq0+cO3svoYjiPi
8a9Zn03YLZoeV+AfKXij8qvgTYhSR+2F26FOb+LszTSatatD+2MOYwWOJaQBXj3rQSu3OW2iVjG2
QKIckQlKk2bPkw0OLtXxxDwWgrpSDPaP4kdOhJeBKyVYuCL8ZWhHERykwfWm639HOiqtcV1H+s5w
/WPYQsp1042sudyc9PjCZq1Y2cbPDUeegGGTvIP+t4jPardgh34BX4KmAE832OAIxZrmrMpXJjSM
2XJALvbWVfWXZrgzWcEKTnBVH/uDvhKvxtNyx1axplf611f8l4HnBT5f12JUj4v+JGfZusndlZd9
6P5elawdqvk2qNOViNtI6Kt2CYlP1u4b7sgJbi7luiMgYU+Lq/c0ux7GrZ9X29KrbdorNwE3UpzR
z+p/KSldrwK4vNLsWqn+naVPYwLgUfgw5Yei8Ney9zwmdxpK8pHmb1O8KoZyOypXmX5SAsFxeUtG
EYYT8mtrPno+qHf4zHH4KES50+Pu7nd/JPJQMYy2aNvR2KhRO3noUv5Ddrr3HGmvJdzIsSr3KELZ
SkjrCRJUTbUw62uYG/XK5eQKhQmX8MYCVxtJt0L+2MQ+f1BENgH/GIRz7WtbRXmsoB+CuCVboTXI
Q2WEPdZT2ihJOKJjrj0Nxn3AnxlFv0LB3xh8SPPRDux1SeSZmjxkyktMApzhVyFXr6VxGsz7DOB1
Nr77IEwlckJPto5W+F5B8c8JyUNCPyOgbwR31XrNaF3KRBK1eOm5LSQQpGlRQX3v1p6GWg28Wil/
g36z9ytY4jGvCGk/ts+9KtimrO+j+APKkuOCQB3bdJe29UExuey4hSR3bxn1yVMCx6y7TSCOh0Ti
PakE11yndN68HZJjcEnqfQtmVCtCWzHoZvbhoeZXxfp4Lr0nT0K8cEANxmjuhgp0VnC2xqNFEm60
iO5RMkG3qKxQfiGVd5FIlz2Kk8pNkT4NLZWSERsNhN3ilJgc5KuIED3EwHxH5diCrDUK+kL5OzIV
zsBG9cB8BzF6wULgBPIvMQDDbEbceODVyds60MOa4Z5i4q5X5/dJFR0zn9vTe1OJ4VXb82ZUNrkI
UBatyUYTNwMVAxjD9IPxLUp31AZ6td6n5PiChEBP59qeDPoqfkoj1JEzUPVw7tM8gTiK/Rmg17im
eyCkjlqTJFnCxuwfdOOVcsVRq5+S8OSO3las5YOVpGsfJ0bZ3YaqaI/lH7nYEXUB2ZMNRyxE1thW
ePaTX0p7o4z7IN8W2TmU099jYzyNJWo9Hs412jklh8q6cS+78Uaorl3uMBfYPIv475YoaACa/4iO
HtQ5HtIB0BdDoLVKEUCgLNer17x1f7nhtazeRi7OLzze22AbUztUKw1PtcGuQvFvFf+OhgAFgye/
Oo7JzVD1111X2YWrrielAll9omcBMpkEnA/voqdG+ihcIKQUPXLV2CSQscpMWuegxc3hadLcymH3
IL6+Z286svKY8JYwj0qBil0ebWsufsG9yY1uG0Keoxly7YndOiyPPDZffKs6BPUtPFaY275Dwruq
kM8wWg9kbg0uI9tYAtNArhdL+6JBekJ/7eAUBAhp6VwaVWat8IES9XpVavFZFtFl0jonq+7lfiOO
dDrLYyBci0q96sTHmkzFSB87mvcCmlJ9bp1igSqgct8bXC0fICOuq8T/1QTiRoP0G+XId1hkOe2f
QSvWVvCRijDjc5qk3t9USTaZue+6j2HEwO61Gi3qZqC5dW2V9qljhg9aeRMqBRntVa0/jf4Nwizr
gHdLA259oYD9vcfy9SaYVRDTMizyokyQb0bArb+KDvreOgnb7FwtiDl/r1Z/HWiGEvJGUZKiKATR
57frSj+2I2IJXuAsfM9U9P7pZpsVxX1rtNogZRh0DWxh9bta+/fyfkLw7XxHWLjAv6P3vn7TrBie
y5LgiiUoum56k1J3jKEltbXiNNpZKWP752+bmpI/fdqs0B36geUJiGXBXn6TmnJVwl9Fkoz/gWzO
EIoDXvTziBfakNMHGlSY5QlH94+b+wmeqMl9L9ShPgJPjK6Ta3igwMiwkCZNmRR1ELhYS39btFTD
SU51YfDLs/vf4LMmrdEaiH4q0YSNbO1JdRSQUvFbeRPuVAC4sg3PQ3/LNulpsax+eRP9N/IsL4OE
JLuSDIUbI8QrsHN4BE++2RP6tr4rl/1avpfxv0yzPhNbxtExl31Xm6ZZ2kDGPPIOjk7Blvh61Vx1
G4TdgdoqH8KuO2YL5/ICavHr4LMIYLZu1OQSJwbPW6e6RvT7BGrOcmA0PeWH/DHc5lvjZhHivDDH
+iweDKmh5x2yCKd+Q3+/fcDh1pn2ExA98Yo7Y7s04uUA9L8XVZ9FhtYs5MHXPfGUKvJuLDPbjYVd
bmkLEfU7ZOPrdM5iQurnnVV1bnfKDGErRJotSGdFFymuL33QBTD816FmAUEuASgFgzVtGyTHMZrK
JvdHjDkRQnpzFyLr0h6ddb8CQHi+6voTYtg8TGQUBTLKcpdt4dDr07//FHHcQQizTmBb5OFvs36n
qo334lMGNoods/05wlyA1zCBlqQDEMb2xZg7cpfUdIuo9qbLwr3FxGMX3EZ/SCVsGH/ryt5Kv4LH
yRl8uNKP5da9Nq6sm+Jo3BQLoe7S1kS9AfVzkyY2f/n60Ro8r2wYzO5UGx+udiOK103vL+zLC2ho
YzId/9+DzA6chQ6Boo9SdxJvp3Cq7cJ7itlwb9I7fScswxAuvTE/jzc7b5EKnqytGe9/glp2Sz/n
Md30x0nWvf7lb7Q78QzgFRpBi5Ik8qAv1s7aL/UpLy7y598xO5D+EORi2TK5k4YeuUf3GxG/rXUd
EM+TB+pdW0h8pwn33tjDVb0WXtLf+TY+KXtECH7ecBenhH69LuEbg4bvbEripsqHOg7HU1I+luVb
phhLizztlHmOoE0kHAM5YkQjZ8dHE2vqcJo30hD2QXx4Bwi7zx44pWV2zOWP+W+o2fUM/bNUcWob
TponrET/j0ol8ufp+mf++dPXzO7hVh06bDAGhMW2ysaj5fLoHihZHvo3emKrxh6dzFa8NUXAbvf/
gZrBeflvKv/BbD5FolKv4tAYlJF2v37gUt4ZO/cwZT3DjbaFcvwYrgL66kuENenCEoJ1wilCNVB2
RCXrazCo01Hza7GRTlrwONAXEkTqnIm5iUb9OnEhhYNmCdEGaaE6m5G1sIMuhHnoC/CdRBrsJgie
r6NHraUYHk1VpnziAta7iVy1nPJcuCW/DDMLRnTuvIZauXQqZdRm2wM+lYM4tbBeFrbQvzP1ZQ8h
I2mqIjUweBCyOCeBhFKpRHXQQQLpAxR+65sIaoKnwPFpxqsY6ISppDvPAqYxBLBk/ZORp7djTDmX
jnhQaYcQ6DKA1auuy9Zy74Eq72DfZ8ZNW497YwhvVAMYl5EfRh7dcY79h1Rvx145+Pgi9mnCixwg
LZ6QWyPBKVRBBC1K37LO2leQTcWi3AyucDT88XaYBAOA1Yv0y7skW7uCedPS/8hTwA6l7j/K/4QI
EO8oQVKk8t4cnkOq4vXYI9NrPJUqIn5S+RZL/H8rD7p+sivRBqjpizfWn8y4GyzdCXX+iYJkqm+u
Bsk810i5YQq/HgyQOxTwR/ooVZLhgvY3rdL7yLIO+L/tI918F0VzNxroPTfwQzv6bpG7cZG1MVAu
qYfBWumCvNdT8WwKIAWN9El39U0soUIxYmiDLoySYg5K7dvo/V+qOdphMWyKot2MJUacqgsNHnJF
rjlCn+0176MMT15Olg+FWmrVrYvUbCGqe9forxIpuG4o8kqUlzUUob0kuBqBAHt1tgphDfvms+Hi
2SxhED2Ia2MMnJ7qu4WuYyROKjoNJONEXqNUszY8eF6auA49it295kRF7aC0sfO7/NGNzjq1yga5
b+Kt7Vf1g2ZYV3qdYHQPBkjGJF2v+dk/79t/0eXbtgVZY4iiLmr8zddzmKZhazSF2hN9oMUbz8Nf
6UrRnNQON7SrnrWT/EGuzCuIMkMKrdpZzC6/RQIOjiVqOvw7k/xo/vZTkiJTxSCb3gX6ATIg9YEA
qu6muy7+sHuU9WQ4JTkwqd6RyV6wutK/BYjZ6LPbZci0JBa1FOqlbt50IXxWFFyaRLgWWpjwtV/e
Jq23T8o/GnLbyfgIMOveoFuVasNNWryEuEWJPgqhHesuSXaDuAe955XZ/NZVhD30yp70iZpCXOtg
aMoeicnsupO8mw7L4RbVjlzEInOo90p53XT31oCUT4L0kGk6CS5byAGMNLwFC5Nkv9ormfrms+1x
AEZ/b1MDoBDGetu3bzXXFoJ5NDst7CqQltGGY1XLr0jaHGoP1o1UOAX0MEGrcT8unSB58GDS1MWC
/eD3u3Q2obO7VBMsD2YPy0lgRwrrFiGNDQBN2zpGtxNTOLmqnikmUO0Xfy3epd9XkwRb001YaDQ6
5Ln0b1RJuUIAmXKw7Kl+oHYJ+P/Uv9H84RpvHoy/FQWwxT38LUXRGBYsKjUMhE2NuUe2nHnZUEW4
HQbQoKKp/4nK4M8HdT6EqGmwC6mti+iTQRKe7VNPHzu8I3vlLPt8W0cAl55/HuHbM28+xGzlIg8Y
y5BPQ2zNrerQ2j2iuLmaSIwTrXthtCmwfA48s9HmFH3X6Ko+sxgtVtYjaLi9iqsJaL7pvCPXualP
S5DhhSmcv37SEa/kLh2Uc8hVMtXjQTf9/FFLI8yyjRxzqbSljXD2Grq1WIrCevp5hG+vq/m0zeL1
iNfl6Kmdgse8Ge7/mQlDa+UG5N5wYqLkUnyeh+f5gNM3f0pPm6DH/CLkm+J9sJNgZk9JqbjzF97I
04Php+0wqzHwoqwkQWQ7wOTZpOWxkB8M8yAa4zbIpKVJnNbhp8HmNQYLTmIlM4nQXZS1tqlgO9QA
rNYiLItlf6jpbP403Oyx1ChJV3kdU+giehdMzgPjLVA69FiAY2DZVC6ZC87D4HzNZsGiEwXKfDI7
faJW+QY4zjpzMus9DN8XtuPSTM5iRqIbXqnVLBvM03fQyjtgUI74PtiI82+XINjf+CKz75q3k+us
dsVEZzRS5vEZ56vA7sudtJFxicRsYh/sO0Bif0vIYqgOPeVP/i6xeZNCvln47oWTbs2eL6UlaWPR
8EsioXNa405X0X/WRlvR6c4pXK8psLPiWUx2Bf3mNoLVFzW26AqvP/+QeUVnmpGJdS7qEylMl2fH
Jgt0IzApuJyr/NryFTBO+jqJlx5r32q382FmByYe28BQvWmZUR2xNCcmNWq3+abfvffreHQ89Qob
u8gedkvh59JEf/7A2dnJqmE0AAETF1Bhq8HKxdEC1fvS6fw8wuywDHRiJR7/eH6loR0NO23QyZ6K
O7EUj7kIb3lYlFu+dPd9HnJ2aqK4tHzodspZO4/FKboDm73+xwMrTv4dona7JUHabwiQ2QIqs8p/
iBtK25QsIAiQ8TqokAzY5NTlJpc6cVLZ25emncmryWAt36Iy9PM2XdpA/whOn24RKy8aP50iLqLN
790TeOJJ4H03leLfVWtVCmT4CAkelrbPwvlQpvj1adyhqEvkOVlcBdXvmC6shWhgEC0V4xd26byW
0uhBx3pPuxSUQgGrFzDuzzO4NML07z99iAhxeQgkRshwTh5H1TabPz+PsDRVs1ASoWKd+Roj1FgO
Fdovq8K3AIjNz6MsfccskrRF0RVGykZEwN9OEpEywGIFel7Zmm/2WcwATdVqdccYQTGCEwb1HdzF
7m0WIX6q3wXl6NSNtG2K8LgkhfGNJPRvaFk0QFpNguXWLD3rTCj7WpMrZ+Nc76VVtvZOk0JRvKxQ
dClhkj+NNNsQOAdKYSA203IlyNXATkeTkj2uvKdocGjtSRqPZQUZHadoUzm63sSCOJluptuJBmhG
F4SNRda4sLyXdhHlPGhCMowxff4CsxIVUO1QpkCSzxSP10Iy2p0X2dIg0U++GTAfM9O7sthrWulA
mmzxOdNSu4uOEbUZY3hCtXKABiF68W5sDwnQSiQS8tZB+NUpw5dWj1ZmOryUKPzTZdgMYrwZcTLx
K4zQ9NAJU/fQFfJaHKRDhSilEWrHKOdx7GY5qdZkpzaGI7Ag3uBYbYi7n7//UqDTJlMWSqsSamra
7DYJE22UZCn2CXQ9Ygz2COJMwXPFTs+TXyKMetNOgm0DdnOz9MD57teIKcznwWf3Sm5iXanl0TR4
B5l9BXXkQ3xsrrNraHsbwUGIc9teS4R86MSHHHLx/337kxPw+TfMe8xwrAzJc5kAXajW4hjYUg+I
u14Ih5feQV+GmSVgsiZofTANM9lBijrKxFfppt3BCbARcMwQh8EidGFtp7Wb5/Gf9rY2u0TNoK2a
UqrTswJjKgv/5L53ruuHLM2uAx8WKDZ2gSztIuDkvgXKr842dYYVxES50dtsNyZIt/QvSrf9+Ycp
l/L9zz9sNhkllrhBZAA9lsp6X8AYMo00hR3ipvus8m/zovjwzW6LDKOtZYG5yrRi46bCfawGxzoU
1khQluAeqZUfhcaEUnH20/vYvA6HZF9U/kZVEOrMVEfpDAQsJ7DV22Q+L2WTQERwk+MBJIrpsUlv
NQz2zInj9fMXfqsqsasUypPU8k1zUiicXU64O+iakJvyWTwg54tkNDJLMNfkzQQO0bbDFcrk+i+Q
+NorEqHx49LT40JY+zL+7NoK67jNCnLxsy7CfnqBhSVm+5+/8cLu+jLE7NaKdeqwHj1kjFQ8x3Ov
yvYuFRA3Ccs1imkTp24pVn/fzl8GnIWqrNejRqNbfUb9Iu2e/MFcWDVlijezA/NlhFk8ytDqs6zI
U84WO9GCdiNr1zKkkxFzqLABEle9hHG1l2B0prChvOSl6YpVyC4LzF9KuOmH3954j0JDGyarQKc8
TuZaD9GhkksAkFdNwZsAt3WpF52ysA6+lN+Vif978HiUVX9U5IvbBmWzkDtQ7tA8ntS0Zf/254X7
RkWfbc75s9Rr6e0jzTp5mKtIpNhGsIocHyE56dDi3HFT3Cxjq9WF7TJ/gXqqhd646srnRhVvda/b
FpG6CzEeEdTbtEe2AZFVZZLKpXFQprBiVBCvsGCs8ui21zJixQk8eTF8d+mTjCYOHNnrAH0jlpDA
8w9peyeCWakhJUj7WHkL/VuhujeL20CEHGvRagkthP/lNaB3YfiIa+Dk0R2dzB32V05tietSvO3T
d7euV2gLrfIhVxa214UM6PPusuSvKXGj5R7iIEx74oK77B+aeli1WBEMiK82f39e46WxZnmd6Hp+
VCDvew5xm03RRRHfg/JcZgpQ46efh1qKdf9A9Z9SfVn0y0pE6OzfY5s+ouPdiY4L9g25vsqWNyZW
jLa/a87LrikXLpIvUzoLs1ZlZqVeExIm8f+x0NdWTqVFrW1fXfKHuRhRLZ1CiWZN5frZjPpCUIJt
7eUzzFC6Y9oKXUhwjUsSLJdyIloB/40zy5PTYcQ+V8kIq3GWbbLypkJq15OuNYQAwz8aMGC/2+jh
IaJd6ZZI91by41gBtUX72ANbLu4a7HfTfKtBFU0SjkSz0IO6lMt8+YmzWTe8KlbUhsulcuKHGulp
xZGOEag8Ge+1e8xDbpcyxcsh69OszO4z9MWDMNBr+Zz9pUtT7/sHZB0cA2iK22zLFSx2e+kKvfDy
+/KVs/utV7PIMz0WHJLqunTRdkoWLrSlLTW70FyjibjOGGHkaQOhPaPBxUNo4XgufcfsUss1T9QK
gamrbTrUKI7QKalX6j2oHnvYZ+dlPaSLp/K/xVJneedgGa2iNapEW2FSYs/qtS9LZ0lLSTWbhTk0
Fj5vLvUAbbPq9Zg/v6y7h0h1S4hWuYLfH93fsgXzP0EQDHhYlQSr0GyOXgW9XIsjTGui11pSSHUh
kvataEGMVR71Inn06mfd+4AST7p8bNxXuWrdVYYxg015ZpX0xr2BTmIRVtzSxp2X6q9Dy2ko9U1b
6S9F6u06OfhAB+5jQDbfiju0DWGbCeKd2p+9rgVPoDkuzzobKc4tpjabUHbXcL2PyGg5JuIBZQsN
qxnEgyRkJBdAtIT61Gr5ITaV/eQuN7nudfq5lR6FsOSnKHBePBQOoAYWf3OLbES8rtQ7a5LkU4pH
Lfa3Wf/n5611MV36tM6zC81qYo/5aOSzuq33k5BmgJSPvNP2Pw+ztMKzyIsPQ+dqFbn0pPit7AeI
TD8PcKmT+Pmoq9Mv+HSDtX0FvIGS2JlGfnpV7tMNFtUfzSb4gHS8XUKMfkMy/cu/Ps3bLH5yP8Xt
UHPuzVO+77bCNSPdlCvsgVb/P4OYOoubtZh7cgQh/myYLUTzAPPD558nT15anlmcxIYn9MYaNG+T
r4eDefCOGhWsSWvlA0zGbvg9yQUDL7SLyg6QiKZlla/j03LpfXEZZ/FUaXI9FIRAPiPfZ2d3uDLt
YM8iSd0+/h+oK11MaD+t4iyuFs0QgtOu2P3pnxQZAe8+bVBkhv5bjGBlYaBTKZRgyw7IX4woLsXo
N4othOroIGaK7UanxlsCrS9cKfMn/0AuZJk1wd7sX0vtuovuJe/JRNqiN+6onq38mttTvo2RTMMc
JzXuc9hnguXbP2+Kpftam73wg7rOxUwgNFQOPNGp7cvFY/e3tdM72EdujJclfODCNtRmwSioyl5D
PYQvJw6O5d0Ate7njzKXhpgFoiqNs7Tg0X+O5ebWqGGwZdxvWvlS9x+5ZlK2fW9A3QTFY98/Zuov
pXpP8J3L5fquMguMEk1H/GfQeJbymwHy4jAFcoXeQosLL7xogWdinx6G6tUrnkLAbQ3cNH940Jtd
kELbwuRxJES1HvVD+TZsrhXET6z8o2hObYm5l3YnDH9r6aVI3otYcErYwKEs253J32su7DMRp0ka
btYpMjGGCuWdXjX3Vg9+VIZ6dj0Y1UoxX4ri2FUUo/Fu6vNNolhUK4dVlGEVC98ruREsFO4kDHDz
Gy9+i2ptlQ0+HvBATtEIdsn9ETkFigvZUJGcLiuWLv2lCKpNK/UpYGMSK+lpVpCbeeDAmtBxU3cV
xiS7wuCkaNU27kcGf7VE2FZfbKYunHxtFr/1BGfLodYkypbu7aSMdDXa5QdLuBbWUHEQieEH2OiH
jqtos+QVsXTCZxHdav/fu8ow3lzkmDL9Tsa06uetLi2NMgvq8ZAnpCUjqem5+4t6sb6KUX4cjVV8
7AnlBuRbvNrOS+2vhcxxXo1GziYrRGu6GUeq6t7K9f/iJMimX2RwTQFoXuoBBKVooBMt8K+zAKXU
lpkIiSSfPZyCEQtYm4XlhJKyrYcXL4j2sUyZx1wFitOFxULOemlyP489C1U5ZZ0RAr58Tv3fOuW/
kGQywmRvYQ2nNPunT5yHqwZ/zMrHVdArStQUehSMn00erpEkOEMuHrTqvR+rtSZWC9H/UpyEvA0E
HhIJ9uiz86F0eWFEGU9YN/0blc9Kt5AQXrzoPw8wOwMqpEldVTX5bqS7YiA7ZnrGPo8xLyPqOLJJ
myXHsmg81P1rPxqHEt7+z5N7+RNVSkog4Wmdzc6HFRdZ1qgNFCYfwyALWPKS78TFV7Yk/TfELJvJ
e1dDMZIhpubIxCukDzWRbiSn3GJSmGW7xcA2bbxvO+bTkLOUJjfymto7Q5bI6iIp6sAsnoCI05Dx
4/jy8xxePAb/jTZH1GVJPCpiy2gimkdiu+uzP4W5VOucNvkPnzQH0YW9XPqVmUvn4db8bQIBCTfy
TfaMf+NecYadsPn5m5QLG4MtIWKqADgZmsBsYzSlKoqDxkdh6LMOUZghCcw6pETQZRc8o9x3+DGP
LZpC1MfxPtMxcYc1jWIQiFfkqoTbVvZPvgpJWvuNzZyVoiIymZcV+Qah4VU6GWO1XbU2yoPkPqJB
vaJLE4Fh9/VY2xjheKUq48PPX3WxS/j5q2Z7Uej0rPfgXvzLrOV1Bf5DSFb5vXCdvtWTq8Em2QjS
cek6uHDRfpnM2X7sUylHM12Rzr56FyVPKvh0T23Xmo9tRPJQoLW18J0XboXPA865LZVgdpk1fefE
ifr3nY8oE2wQQT8tYn+nnTDbmV/Gmt1AdWv0LfWI/znf8OKRYXU0dY/8Q/QHKbutdBgdHtNhvfL/
LN0Nl5BpXwafIsGnBKpxRwzXBgaf2pHT4KmMAtzaSvfKJKUMtc+OHRViiOwgvGTZ0Up6bkC7TKr9
C7fhwon591M//ZQ0NP6fveUCghvycxu9/byqF+LMl2+dfsCnAbyolyHdifKdoOG7HrxY3glFx4Wt
s/QVszuPvr+nqzk1ryyJVnnxqytH++fPmDb7T/tlduk1KcbHwnTlxMBoIer9c4cRl91hls7ALIJF
Ck4ZlcE4PN2wkqrWVCVzx9rG+CsVC+/VpaWZxRVXGMU6hxh4lox6lU33qPmR4Rv588xd6lB82QGz
ONIgfP8/x1o8BLuqc6J+jUjt1J2YBIGRCSxE5CxW4lt58Nns0v7n8b9xrSaMAaw1UeVXqBbyrV93
oKAkedr5tXCGbfBX0r03yBDvevZX8rAp6c/FKNMWxM5XUldphMEDaouexduG+RjddWq4dLy3mfhc
+XiHPla8GC38ZIf+l4q02WAodihnu7gwN4Ien7AMcdw4OOSSCmtism15dQX0uTZW+RD5d2Bw0GfB
qHvVjrgdmCZt8XCVtoWNx/MhRnalxTC4VvDWVCTbSzBHDXm3Rt2f2GsXUBHfOKjziZmtf1+VmYmw
lEAP+ZCgW1MUd0oILsIabYhg9qB6gPzaTV0DtYlEnFBwDkfvVIK8pZk4v5TvGYY3GcJDAgp9PcJb
d0gUHELtrvHkrYQ0z8JKXryRPq3kbCch/qepeRcJ5zAxKrsR5FNWWIAJMAVVhY8ya6J1HQfZrS+n
z6I0ZhsVyW9bS8XCGfpJlEcrtwJKg544mY6I8qH1zU3SUBYTuq0VPkVW52iFtjMp2ekIERUtbkEl
sno5uqx+/h7p0j5DLszzU7SpwL0NbyG8PWmEUlfyXnLlaWtHuyoPNyhonTUR51LDKncBSrpov+TP
hSHRPx2VjwJ51lUHrLH8X6RdV3PkPJL8RYwAHUi+0rWVuqWRmZkXxjjRG9CDv/6S2oudFtTb2Pvu
WTMNwlUVqrIyeeoTsAAldv5AlVNajl5qo4qDjPXayuWwLpCs4jVL9ncRRciNEoEzPrZwHbJmDDto
+vbNoZ83twd5hxJ/spcXowj+NYuV1GBOibOl1fdkyv6M6bDlxi+trIJO2arlmYzAfc9Hpwcf8GAF
pjluR3Bb9antZUqMNN6bCkJWJOIBrYUCOmrHLLR7pIT5N2WSXIWrlvDia0WHPEajoThYkxxSPg34
/JMlDXVUvW+vynv8Ka4K3rw2dAPA/O4Q4cZ1ceVMs7beOC95Sn4DZRpvE4CtVmjtFOY7toMiUvqN
/BNgtHk5sHBzoriL67kZlZMx1qCyZZBxkizhtaTF5RDvYMcLRz+bkQ6+RMxtDJtd0W/jA/PWFq7Z
s/ojaP1DFEXPMjWGa47/Yl7vqaqLQZFjowboNHFvwJplK0WoygDfV6PvyyGEs9GZDqoX67yqY35P
36inHpYdOgi8JojP2YyUOrrzfVCdSc7KtUjgclwhgYAIMR+yHls2kTSoo+cchFja0eDco0UKBuk0
UHMGCW+oa4P0TDL49XV1IHOooolMs4TBmVIqZtXiQqwqDaj5IuZZhQcDslubvHSK1No/qTLjAP0d
c/2mi73slxLcvmmnnGbNBBVKd4oTGpbZvUNe8+hQ8deIQaIabeCghs7O6K0Ouzb1tEgKy7268hoe
kJAvAB2CmF4ox8yJ26bBykN8qtcZtMp+k/InSAxeCxT9wOho0ubVAQk1Zf0/WvmLwQUTAWrhfMqz
Cie65qce8m5kLF2nJxCppxsDZJFNtMuX/AUVctjIyut70AczICbcqaGSj/mkvrlGCKauE3TaGlS3
RKlRxaFTrzeZcrI1tKd3/ZaX6FSetzraVCIgd2wGYkuqQtMKh2Oa76q08Wc+PWtVuqXtn7KFfHl+
arPuYDrRcWjZFzrmd0yH4pVR+R1462gCxZSGRL+18e32Gb5m0y/grWJpes4Vo+jsNAHuBucW6skd
2+lFKYmh17hftOiXowjWwQYZQ5esINoFzelTXq7Er1Cc3+Tk1+3pXEu7XWJYDeFKRr3ilG3eJniB
aF7iVV9GF/2xO9hVb5JrIl+7A5fzEi5jCemSdkhXYC5YgiBREpoRDxU7CvTEDkYeaDMK5Ac7PivW
y+2JylZ03dcLMwCsfKa3TZ2c+AJ98hoU5qYeqh1UEE0ZJky6puu3XIyVKFajTQt2rwtmHxz+/wIF
g93irX8APMC/PTPZiRQeInMWz3W2npWaz+BHizcUtLZq359vD7P+zK0jKVgQMvOFFR22buqOMbfD
kR9JQTaW9Qom4ttDSRdQiCuKkToZUvTJiZD8tVbLkOqvaQGe7gXAxkz3GY12xqQezDqHJoW9QdZF
4iclsxVrro1WlOZk2/EpKvRvfIZqBjiDeYUkmZp9J1Cxuz3jq7mbi4sh1lZtpV0G8L8l78m45NvC
Tiou4oHtM0Dmu1ALl+9QilfvkFVtXoBt3NiPaEmVA6SuxpKXHyJYHs4jcBIXEUDlPs4uMgV5slXA
qO74DCyD6B0gfhbE5Z2zS+le9qiWrbpgjAZQtCJ+h3EdFiAOGw1yaDFUOfAoY9skSSV+6Fo2/tL2
iRXHFMJRuqNWyUlHPcq2INQBsUOMOnQwTGTfZqDUVkq/wvx1fmTRiRuJ5KhLzJJYdtSmCq3UC066
ojzT8iGvN/oQnzp1PN0+YFfj6Mt9FWxSGlFlyfskOaGKAwj0dDQcBhc6BcqQ7zUosTQRCxwQH5uN
ugXV45GZiM8i0+spqDobR4aTeyc3u2FPRE68ZVJn9Ixi5mCg3ZPsBVV2f8yiLePjFhoS20ZJkNI7
d46+YzroBhKAIPl+4UbQmQ/RVGxGRDCjagZ03mvUQJYRWEU89kx9b5EoZEsdrNtaFj8ZmJi1ie2M
tN1AZM1P6B5JhqRq0ZcF5RK+0ZQeoMx71tRAcLeuE1ebuEBJXje8Xs+BwAJF9piBWapC+l8vQKwy
ootH9SuaPhP9S5ufu6n2NWvymiZHRl+DFC2gf2bujCCMtaGr0Iy/ANg76vFr03XMY84E34Oi8jLG
kk5S2aEWqf+ivDbnsoSjW50PuMgf0j00fT3o1oBxxpNzOEncDxVc+qTYud7i7Q8SUN3LTdsrSsMD
gEhyWdefuXVcBP+dzwXTEx2mYZmYb0JPOpKtnGwiwg0hiY0MW5ytI6QgcYYcQzYeQTwg8Swy5/Z+
MS6igxpyuItZI+ICfapPXgDG2PR70BP53RfFlyFoZJMSvHZSIktV1didNkLy8FeRgF9rnCXeSzaI
4K5pn+cm4HZrbLUddYD6WR3K8QuSE2AJCFQLyofg9EMAUrR3rMk2c1ZvbxtJyTwsIbtkTJad9JB3
PWm8DgbABAZUnNsokyyXxMtZgosd2wr6TiZuaILY0GoPuVmAVOdP53wDtV/w/5uS4FEVMK32CUBr
J1QCXUr0QEcHjFIM4e1hrmHD4EotBwS64FFCgftjyAuZMDDjFW18mvbWDPYmKwoS1J5q3mzq1NmZ
Oro+ixASr15doFpLnI2ZoQFSYiSuZlUuPkNM3DBINKrMglN5N34v8QGp0AFSdU1QMW8OcCwRvZSV
K80yrOv42Tz9e/7vl/7iUmukn/isYGBQogVrkRHKoSvhz5rXoFvnmyzov9bWdLng727gYsA8MXoj
GyzEaWj2gcRz6mXL2WB/hpi6ziopNmmbIgWqJzmbo9F5NAYjfwpRZ1D7wh9mrQXW+Bh1iNcht0Ck
ACcFSQ9r9hFju70FJW1GfHDnBVpcgR0desvwYzrDEztKFJygBgpjJEij51HJX5EHTFwdnEO8/EFl
BYVrwLAPU10Nw8VUkxjkJfW6ttluJSfM9+1BRz/zfCfnefwk+bimJizdtAzdRH7KEKs6TVEMTGVN
fIodgKOWxl/DMbMb+HaK0f/V04LfqVaeQSdeTw4OgcBMr08h8LiQsEu24zD/TAfrMSoLdPvO/X0M
/Zp2hooVtbSwaUe6yR0d3PoZPcSMPxgjWmA1Z9eTCNr0TZiXo8QAXI0HLmckeIB2mkZ91GDUJs/8
VTytsM0cgXyxeLoHnrB/5HEuxxMsQY/G6EXX1lWrSygdRoDXg7JbGzcSi7NaSfHGXYwjFhyWydSg
l9QhWA54kAGXCLwkCIGdzVLuE20rB+ldddyXIwruATIZC0Qa30eM0McKaawTQtVAC8txXw9beXr9
qlW9HFHwFNmgGqAk6mFV0citedBm0H7Wm7VDBoxBaDHlD3KioE960cIVEAPIQkMtquV4FUXlgrrT
Kpn+x8HjL40g1Ri90vasTkcHPSawNKl+SFCAn4c/fCjQGdn4rHmzyC/Gi03BH4carCyPJTlN830J
vghmGQcdsjeN/UabclOid7ZBcUtVwXhK6y8OgmlIykGUkSSvufplqmUQr2se/nJBBVNiFTFRonaK
T4Xzs89WjTrTswZZLezao+5yFCGSNExnrNiAbdMSze0WEzFEBSBx5NWKKrveshmtwcaFcdSSYWgh
MBefqq9LiArrHqQqDoT2NvS8Hk0YcTsGn7PU4cnmKJgVpkxRWRpYyTGMt6zYdAsw572bzWFEPQYk
A5TDfNN61aEAIycEk95FwcooWTW3Rfu/d1Ghb9OdvVuprHH5cRX/izLCtaDtYk/F6HNecnCfgEIL
eRFIZ8Su/UaeM6gGgSp/CqESFqjPYD916v/ihXU1qrkcWzA8ybRoaP18n+zsF+o9T78a7duaVSRQ
e4gTaGYe1BFiJoWfhrJIQzZxwQY1LV8GqNnFJxqXGyWLzgO7s+ZvFpTo2kpaJLkWR11OVYhXsywr
y5TiODcmPTN0NCTjo5Uk6PJlfs5+NM3BhBxRgy5bVeNuq1euBb0SiWuRfYRgJfR+aOzKwv0l+/EI
NuRmm4EVcNWAt7OQ4ZUmg27JnLS13vKLW0zaCsosM5zmSv7sND5i5LV4C9lSRI91dQczLzEckvtr
CTaqgZjOgFx8fGIdwH45VC40EHSmgzsMMvykbCjBREFFhlcUHL0nB/qlPfiPFhgoo2NB6shmpV83
hw5YKg2LmlDx+LiQcWWSuVK64kTYCK0mw/pR993BQDmhpt0miTrfjMa7ukmfS93+rlIwdSzFhirf
jYi6HSAfitVtIRvotSB9ITbDe6netBVgKmPgKAT4nMLTkIpSodtkpPc2lH6g6DOhGYexlTf4Ge3g
dyWzHrtqeL59LGVTE3YMxTAAkvQ1PwGtItuAbpH+TbckKi+fuHj/5f3/LqCwWUm0IJluqvAnhuln
/AWQ1vusVPR9lk2hHicbK+MHZaa/lqlBiagvQHKnKB6iY89BoyIFW3LlZH4XBXWZeDOHuhQamm+v
xHuB8HPs9/cjBedTcJpbQzoWcOPsUKaAvJTbCPx2mnYYeOTrSVgrs8/G11RPoX32bNrcR0naj6rj
ZKrenD1w8IyV4Meb0FdtwzOvW+xAsxt9fFCr2jRc80AAmbdHRaNQjhrcDJE+X5yAJD3U/xQvB7NM
hKeRNUATeUiPK2n2XASF0mxBBYC20xLij7lVedRkT7enLzsIgu/jSzWMXYmDYDep74wK0okQLFaq
f2YG/73KIl+bpnQDS0q8HOZfGqrj2wHdoMtmCgG3CSFMLvU0q1n9tKuGA2Fn3bHBnCvMqzBYDEFn
zCuhzSYDmQPv/0GCx/o7gjgjSotl1mYcbmPI9kh8bxJ92JkaCW9v0FWDdzGM4K/bDulpjaN4ZBq/
pqz1h5Tem6nqFUYlyfbKRhKcM027hVXo2T1BzgjMVD+GeAvKTX9sZXxm7/3dNzbnE1WCFqMr2KqK
06gfVa4ceYdOaUUDekVxSMCj+nElEHDtvH/quuSXMS8n0+ogKljZyITUyVmnw+C2kLXVy8HjENEG
eZZDM4ilQV6eISdD+36jxcY2BQuAAUVWgPvn/qemNg9xxp5trnXewPFiHe5oNL8ZEC7EtQYcPwUt
dnufKtX3XNH82zt59apd7KQQCWTtYpjVeiTfsyx0RzpovsU/bw9yPZi9GGX9igvvn5tT1PEGSdrV
+3ejn0Knw3BxXrYZdL2kJAjXo42L8QRPUg6TYzsZzGcPjWFgBd97o5GNAzlL84IsmV+hA2cnmeTV
oOpiUMGxNBpgwQbHJJPjKlZmq6cCmW8ILwVJuQditfguQ+PLLofgJSzW/e/reYxAQwa1VrUwDxAr
CYkl4WO47jUvJieYLrUmjsFMpFlHHWozFoq247latVxn1JH6qksCVS2CTO92dWVDH1dtD00/Byxa
W5xUiAso9KDp+V6f6FOT6O7M/ljG6+0dkCyHyODAyq7nqoEN6NstSVCEyn5Zmu0vo8TISsy4iJDp
TAh58AKnyxqqQ+GgZkclUATJrTQEq5eU/RRXBmrUlt37g8m9LiqBdE5kR1a2YsJjpDSiLEfZDnYc
RY0egq12rN3NC6gpC5LeGWR6ZLMKvNF5oOVG6/+AePswx+ohysAnXmvsmLWNJPS5/hb8e9JEWgNg
iHlmO3ibrEpD0csUQ8nYrXO/WUBCVrjOpob8xmMOXVOp3ZAtu2Cm5o4WcZLiybA+vbp+02o7J5ey
rK3O8YajEdkNiKag2UqFS0ubcldPDxl5XeBqSpP4E556WX9uizeaI9tQzc+3b8hqgm4NLZioMgJb
R9LgXOUaAj4ghp3xGXkqLwHTff/t9lgyI/zOrXVh9NN5HtpqwTyhlcYLaAQU4RpedbVb/WC7HnkE
2UtedjEFI0WsOe67QlkrtYOfQB6+TX7fnpTkhIioGdOu57TNcfXtsfEX42UCyX3WvN0e5Oo0UAnT
dLA4IkoUdmlB7qcCa1xx4hTUFI6xKQwJ+u4a/QVIKvGAxCPSAr+pEMA1HGpeGZuLUzuWL5Q0r2gP
ZxAhhs5xxes97cmDWoKh2ciO2YzySaNEkZ+oKbB6M0SLsjloaf7CK+2+QnKRUNVT6vR3Q+h92/A9
/vVh0slRm4bH20tzDUZEdfSvmgQCQCsc/GMk0TiKXTpJWp7iLA5HEKd1kWl5EUkeK5o94fWIvEnd
H1hvP5RdsUnnbxVVN3GuPqcp2mqNbp8puhKOTb/NnLUPPT2DpAbpRLQqIPAZC88s1ZfbH33tNYeP
tm2bGqauGWI7p4OWZjCq9+WJTVDqJdNxVumXvC43FrGDlBgH3hg/0Nl9aM3s1KVbRsvf1qK96GP+
g43D3mkh3OAY96RiL6QGWFsl+9y8T2nsWsoRAaTPc75ZlMXtKAbg7K3ACzqHhgW1DX+YNJdpENFe
QAO0TOVXBc1xTJ99J4kPaTxuuMPDuUMvjkLOymh8VWzg0rDzt1fhiq+hKJuqjgFArAWQ8Med44kR
OxMZsAgOsG6dDZovElg5vg2y1beHeqfl+2jnKNVwTEB7pqn2J9UtOmgkjvNqOBGevxKoybiFypDM
5/yxGMAlP2sNgVK9YewTdsqt5o8ek0Nc0ggknMWOO92joRgEYsJWjea7jHMw6Mbo3unoSRtqn7fd
hozpPoFENDC8DoRgdDvfm062mbKZ+UVu/oHaj+61ZbfXqvy3nUWQNqdWkE9HBg0axcLRW2WWAJNJ
GNDazbjV7QjKxeUOXAngNlmAsPmSTepT/UBBEOPqy3lRh5BAsAES5WVcPnZ1pUHEnf3Q1celHI+R
le2taoT4FNoUaGY+xNUY5OAKSJsiCQtSTT9YpTQe/osbVS04Go3q1OfpgddQ7CuNbnFLg8CqpfFL
ysFem7T3ZZajGFk7X6Z27XYGTUjRml+7yj4BZv9qDCkk5PM47GwIqbdDMLbLfQy5JjZ14JOMYvf2
tl7piKMUdx/0pAQyRo4oz1IUS5I5i1qfVfOnY3dhPzi+YjgeBFVcDfQ1Osoz5fRj4j8NGgNn1mHv
qi9t9wdwoVAvqrBaDLTMSdOpn4/2x+8S/E5uIANkA+p9nkj9E6ZnPw2Q2sqLR1bNkCSo3YSULs7d
PmajO3LtuVp+TNESqnG7WcDeaMguwCepX8jzXK6ULUBJ+qgkZZbyGqLz8RHCfh4EPzdpkgaLiXbV
yt6oWfQ1dbZZYfjtlKNj7xHM6geAl10OThjC8AwlJOyVKNQTTXI9rzDpUguiiRR0B6t8IhW8D1KY
AFqMRXPOWz1I4+bOHgqwDGnR75Iro6/zZVe16N7MFDDmYsu6OTJchXaTb0IMzQDFSzpOL8DShUNu
HDM+BVEJ+kTDodApa309/d4XylOiWZ45f7cm0L+YKVJ6hq8Z2d3UBn0PitI0A7OaNuyVAoi4Bcy2
NcgJbh/Yz+HWRzO0OvqLCCjRzclIe5ghs/imqKiRo1i11L9m3vhVJqssfA5NMBj6NDUdq6qj/eLj
YHkJdgkdUvMnq/6W0TtefC+mfzKfiyGE92a2JCYanzEfIKQTHfzLcwWky2sKTTOSScLH9c58MuEX
Y4l3yso6SJZhOn3r+FD7AfpgfopZfnYyDdIJ86lpgGCDjZeMK1lG8RE59Ik52/a6jNpbb56cPtTM
59vH4krV+8NWiQ/I3KysroyxjtpDdSReB6I96CU7XgN1sdGFbOlzFMjy3rJ5CU/KSQPyQ3cwL8fi
blT+XDINCSpJmuCaIbw4g2KvRWbP05glzXBqQWOUd1ZQ4ykZkzell6B9ZbMRblZjDFqlUcxmAW2b
Wt418+LWxo/b+yQbZP37xfVdtIghf4BBGtR9Z/W+hB+euqf/3yDrkl4MYhnZkms1zgJ3MuT6HmzY
ic6ULNfnF8XHAyfYhnahuEmrbaDTM4i+FOv19iRkvy8YhgKPibSL8Pumhu6+DOF0/Hx7BNleCOag
shZ08WhYpoqj4jCD25SXbitTZ5OcX/F5x9IeAsPrPNjanlzXvqXfLSiKdcsi8YFXPTT0m8E1pBJd
00U1O8uqs2zQmvlUQsyoTprDNFmZyxGe03r8wZzldzOys2Oy15Y2L3ZTPfIifS46/s2K2WvKle2c
sG0NkgBXq5WftjNIzsz7F4gW2AbLlLbeaJPYwpIzlaPMpxnVWYcIojoooCuzHZ9wi7mAeJ0tvB6i
0fTN9lfBjsxe0NZ96vifGlT4+heltfwqHmrIb5WvQJmCJLKxNm0i83rv7bHiVzpgNNIJ2DCIKmqB
zHMVN21Fq3MZ9aE92ns+LO7AEeGgDhbz8hnyEQFr1PsO7ff/9zN5GY4Kt2oeuqghRK/PiYMaG8RW
sVruPMkI3q/AA9dwyVAJMYA8RWJAMBFdXBitWTXn2Y63bUR/tgYNSJMArPBVW+xj0lg7tHcCpdQl
UNbkEqN+7ahaeEUZ4I/WKPgW9Y/jDzVHP62aN2cj3TED2FIldcch3SC5G3TJW6k9R20TOjNMPmo0
TutRuhtVPUAz1X1rmNB5Uk9t+sWRKgG+gxU/bj4k3y0NqQyoG6MPXVgZIJjXeKgbzhRCrwrEYmnJ
StDkWg/RnHzNdWU/NOwJ6q9HHY8g10ybZNcY/ehXVRU0KvdbFMSJBu1nALGcPHL7eoB87oJK7xSw
9rVP9ZCkT6jGor+CosrzMEB21NEzRPUVHtpKjNx3/Qxla9cagXBnCSoLjd8BGGjpKJmO/D4FL25h
127bmqg5qHjjq62POuD3pkT/sxWD9Lvyl2oKm/F7kYJeoSKPpJkPNfwAWhfBelG9JIsMoX2lIoOV
s2GAYHmIBn7wj3taLWj8jtJ2OC9G0O6GjRIYPv0SP1l74qM2ubl9Uz77h4+jCU4OfOd8Nh2MBibK
F0gDPzrml9sjXEkbfxxCuIws0SIdEeGAThU/s3dYuQXsY0looXi9sVVI46De9N9pp1+5IB/HFtxf
WkI4o1PS4RxryqYGHwa2tWATiMhYyKMyLJTTErUbE9W7pDaAY/5FVPQDjw8TxaMs8sqycXPe+5Df
kLiZzw7t45cJFySPpjEaGlyQuP4zK3TfLr8iHDArzgPJ+q+/9Okq/j1QIgmVWUFZIyIYqXuzlx2w
U3iCACG8KYMsTCFvjo4Z30HLiREs3qq3Lm8TvZJw/jBZ0aUOZLCsvMcn1M10T5oBwOMzruSZZGVQ
p8+LeW466ykFkrztKjRBvXBT8kC6Uib7+AlClF3ZjRNNejac535TtyEaN1fqtglI+VV53c7D+uu8
7ULbjdxqv1V8/dvtbZBcNJGWSuF2byYQ0DlDcfoItTS/jXPJkbryevk4x/UbLiJWs6i1pq5w0yK+
XX4beyDnn9uDchdZYP8ywtwHbbHEfshumIh6GoHJ0Y0U8xp/VWaQrTSJnvOVbiYlGMd33mbbR29w
Fw4o3jf3UCOTg5Uld+mdFuhi3njKzGk2xsMZLtKv1H2VnwZUp+JCFldIZyvYsiKdq6hbZ2s8ON0e
dOrh4EVg3S6DZWt59mkOqB+zBxLWQJ7KqFqvNFJ+3F/BmvEBqgxLjNGhIgg1IvoIGsd32inIRpil
z4ow/obGly+yAvoV7pt1YPAlOIg2VBBefjxY01iXjZr0w5mVv5l1MBhIedG3OTsh12Of20dr0Y9W
dzfT0bUIkntx4iX0j4nWjox8sabnGMyvdv+oRJYfJ6o7FofY+hp1X7pID2/fs/9ga/5+q3DRLbQ+
5IwUOJDID4QGkOuI/3KQtkCiStnXoby49R9Oxd8hhTAMNDQV7wBZwr6MfnxQt9BvC6Y7CMXgSNiu
Bm4REMV4dSgHVFw37n+HFq78ArEx0HdgtnPYvnPmAyMVyjHX163X32GEoARvjZIbqw+B9LZvoTcl
lck/XXnUfDxjYiRiF6Vuot3l/M62Djkx8HMAF7kEzui2YESmSMQgRdoExWNM7lXmtY8gmkJhXOIv
16l8dpd/pypc8R5EsNbcwogqLL7LgFDVUIjJgKWQnFPZzgmXWc27qkpYDbcckLcRgoRgtEef8b26
jTeLp3pLBG5z6wcAn8jEaiDkkfVn/ofA7O9M1y+8MJtpFbV2z7HixgaJ8UBxKx8Y8ufyz+gabr0r
Av4KxKwMGiNZX1EtKlKzoTDBE37mTnJPi1+aZT8204Nkddc0+o1dFOWhsiWLnCSHxeqC8dihDQ9U
eC7baVvZdLR1n26NJNibPEdnSbdeDfVLtYPY46YY9lS90/16A4IYfwGvIt1RdOMV26pz6aF6RAf3
fgaV1JaFxkFuEiR3VXx3N4YT6Yix8PTKoS2WRIEZSxIQspMjSjQVZqsvrMQQ094EnZKKeL49Q+rL
c2Bn0Yf9LwUd6YGVLbVghYbImXivYVPHjkEI2YI80D637AcHxTqQuegZSqrRsgO/j5vk1Buc8bEu
q7sCbTC8gNdBTMJm4KojR+J0rlTtUTTR4Rrpu0qfSFFNajWuAbEaziHZOCcdKtzZo+VshhcS9L/x
2IEnQFNK6uqQWSGaCz4NDoXGZF94mbe9ffSv2ZXLTxHsaJHkUdZ3Sn/m9hcnKjcFVqJDhwpFFnsY
fKNW/FgpJUbz2pm7HFQwmqgJdlH6/sboofY5QbQ0lqmqyOYl2EsTANBCSTAvYxNvV3WYf+7pLmci
GEV08OYzQSvm2Y4mf4Sy6mw+3d6gq+HCxRAir1xLdGJ1BB6GPAxBvM330PTIfCPzV1rUOqzu6l9r
724druej0yTnQ7JV7zmtS6vPk9nS1oeQ2iBEBkqGVJIR1s0WLeLl/ASLmJjQHHYIwvHYBMaSv5Vs
8iv+W1/QjmXLkEXS1RSCL1aPUU1mGIXlq0o79ELcs2L73gfmgQZTP0Lv+les7FPd1aMva5pB7kkl
R/P9XXaxpI3dq4lD108A9D+bv/O236ZRfszMb5BrJ8MPaQ3uiqzbB4MjZomSpsu1aon6s8WYD6DS
HvB1KCgQ51EnUIqnyh9Sddu+wkJUPMghbGihmLyYiovXi1tGqNql4LiZkQamkCvVNCv2COu+GmYU
tHi4SY78uuW3joRglIZyZN244MhPLZgnrDDfK97wLd8BiOGVX2RKtdePuGVSDQl8dOMIRyKZSvCa
WjiA6GtGX/nsdxWTWPyraTqETv8eY/2Giz13HA6lTfSHI8DgQdd6+pbugEF3yRHdsfI3hmxKgutT
rblYrBYOJp0cUPWod+i7+0d79HdGwh4VUWc2CAkHdNmpaHpT/bm4o4Z9ICQ5KgSsZQAAZFbp2m37
XA1D0KLn5vYnyCYpeBGe1hlNktUwxg8JyGOt7/+/3xdcSIHqfDLGyXAuOjS5OdxNU9m5+NwFBrJ+
DQl5KEMQpL6p4D/0xcoLMif8RLTpoeLobGssdHspBOmtMnb50KAakVr7wcrvFqs8zInzliQGCGTN
KAHcCHiKOTNHt55VT+tKNQC56uD1lppBCUZ9SlS2jSf2u03117rr7yxtsP08sv14WtDnSw+tpnzT
a6T/aRyklQNqhMwfoYY8z7XkCrzjFj5cakzVVDWdqEjzQ+td2C4A1UZjTOcSQmrgS0LDxbxkwaKg
8aiN29cCOs8zT0/dPP2OWw3ks21Y67nfg0wrnjQ/zZYg1r7aFJw6EWBUKgBbCvvZq9nzsGgPbfxQ
z1/V4jdXYK/IOdUgaMgzT4XubTPmnqNCWNUmDyNS/smMdrCcHmbdfPs/nph1igjqDJBGqvonbhHb
Vuuo0sYGwn37KF8BLLLn5jsu8tMq/h1CjAaUwtH4DLKSk7I19iO699qzbgZNWIEsBYrloF+jIAj7
rZDTmj+QtX+ul/rW6EJmR+0yI+kgTnvKUuW8DL+bSQ8StLaashaAT8++jyv5bk8v7GWjl9Sg0dRA
rzD1lPmlBv92SSUFMdkgglEGUIpWsYrtmtLJy/XIa6wHdTIk8c0ndy9MRbDFST0A4ZJiKln2XFHm
kelHazwT5btWDL6iD+ApqWSpXdmYgnHWdTDGDQ3GnPZLqDg70KnW4EBRd1UDiMrasDsGpL1bDGhW
enYflDGKRbJYa7WPtw6LcOHLkdaWZeGwRAaE5qsoYMZvk26GGXLq9Eem/JFcvvXw3RpPsNdTBeLF
AtM+2WtTQY9nXcqtF7R+b2ejoUdIuG610X4Y0f4CaScG4TNjQJExUzeINcJ8zh5How6SnvtxHt05
VQ4pBc3ekcR4ckatcCP+W2nbXULYJib1Hmx/aWCDBR1SmlDJjJstLyaf0OWUmpEbKeCoYeoOXZ6b
viMBePDB47bhJXhYpzdo5ElQue9I74+zh9w7Mq4o9OuWji66jxFGlFlEMftKPUVztR2QO7DgfIcY
/iHibpWxsGCnZIAmYP+11rlndhzi1o07OIHTHi30jA4ac8vhZ6EVXqGDTS+L71TtWWvuGWMwxyc1
fWrUszE/dT34SJs9HTWoAgC6p4foI/RHilIMmJPqRfUsArnRRPVtpzhohXOf1d8r6BbPoDUHjs7j
SeOlkGUzV0WVuPdqI3UNaGDHUeKO435pGtfh+JOFtqPZ1wEp5GPkR/YIvkPFr1rQCPGXvh/2hRZ0
8fhgIJVsRnRja+XTlAzQVG1mKS+xzPQJntqhrUPGfm7QLJi5c2OEdfastuBMUiqw+ZXbvECr7bzJ
jSZQgRhe8gezUzeJc1YTM2xSGdeQ5IaLZTpAKy1Vb3G5dNoENjqK04S5lGdBBWhHD0g9Z9shboLb
d+xz5uLdmKHzVTUJ1O4t4ZQBBjPqBWC6p3GuQLeCMxSPXleD9j+eXRViiyOvfCV/mjk0SIbXhNIQ
IPh9T4Hsbfj0WkFMdrZ6UCDj6DXtYVHYdzz+lefU7j2oNQVRP8masD8H38JHC4YBghY06uH10dCX
PqbbBQn30ZvfQKXvpdI86WdVCQpwPN7kFnU0ShFUfLyI4GYk5qR25SlNloClUVC25JiY026a6oNa
tAFiCH9S5vsqBudX4sRPasb+cMv+YSUQse0L3DTkj9GbGuA+oTkl23RoCSyV6G4EvN1LjX5y9bGl
LgAOOH+qKWH6vOIW0UptGkhdo9HBEVG9Axqpbft/SLuu5biRJftFiCiYgnmFad8Em6RISi8IGgko
eFdwX78H2ohhE93TtXvvkyJGislGmcyszJPnRCXxq+J3ZzVbxdjoWb69fZKsKwf4m5XFs183UqOh
U018pWxtS7lT04PF3pXJn8DxnfPRScp5ugHlbukO+q7roDMPtHifEmpLfWYPxaNMPq38LulMhxGC
6n9oDxj3KgcGDmrQXzJqjxmgwdlgp0FlR9VvjKLbTQiA8Gj6Y5H0NjfpUeme6kQFfaYKfixAz1Mk
jUbtkMmv0T8w5ZPeowgQ/lQ6w26yN2vaW2xDWnKQysEuy8ouYmMT0tHjsnrA6O9dCuy1FtLTIKmu
GY0nI8Usi2rx3I0S7Q0MhKd64Nuahd4sLthX+daoUe41h62iD4e6rUDBNe41xo6Khdaomeh2oITB
7Mt7b8IVU9Bas/nQvKuVtrZaIKI7yy/H6djp8TqMho+i0ICjLyLoqGivMjB2rMmg8Tfpbxh2+CWb
wx41Ha8rfDp1q9vbejnXg9OvqroF4DLVwWqxcBBGOUGNt6O9XxrRITVXFOwDWeODf8yl1SeVMHyB
ECgBaNVntRPmyrZkkLjCGch0jJuydB/Hx1hVDg2DI4Xy4qiXJ6u+bzVhd1aZf8v3kPn9ty78Qp5q
naRwtfcDhW9xW99l7VDNVE68Tu8MzOHapha/l3z6k2bxEUXLx2wum4B+811hOuaO4s+hNgIbakvc
RsJRu52s/AFf/Q9LYfvOCFZZLd9hPnyT0+SJGBzsxIHpDEm+0Y2f+aEZEjeJsJdGu+ERiv4hWTWA
hPFIcmiF54P0zoBYotnotdqbUcgQTjzwARn3xkQPN0gfTHAkJuB+CV6mYG12j3SOsgMU0XK8A/70
FXS0qqdYw8iAhM5Gov0opMwxAayLq/g+p6YXdAokY7RdORmpy60auPb4A4pYbtPnq3iSZTtn0MZr
mh+8G8DvLh2lBHKOfey2PLVVCf8+xQRd3EA/NgDjfWOkCOeqE5itnaBiqNBnln50lbpilV9EO+Q/
tl5DxFOWnQyoQlMaQUBxqvlBh2IdEJYgJvrdTCcLKBqdsa3cngi9j1PFZqCyK8Avz81nFSBhPRmg
QjC6pjo4TNnreeOWJagBc9nFwF2Q3w/jU0JjMHXxfTlIP28f88veui4raEDKGF6RdRN0X9+dfF/R
MQrYQO5mvrMRkmWKW65mwrOuBgW4A+GW7nfg4fIL3OYlTHJhePFmCcpCRXrZk7tSSm25BH1jdZJY
7tXTPgCMtH+VGSRHukxg96LWsjC7eMTgPHNeJjCrhbWjTfeWGbm3l/RKKWROYDHLCHCiquGt/H1J
UWnSpFEroJWYt246QohYBYk5Rr5MzMRpqe5ace2ZQbOLxtAO5eex8iFB4TQdaA5buwapcsfBvd77
laoeiPaoD4AGQpsh4sYRcr1QOPQTuEEteMFlSo3E0/UAwhK4UY3FHRXyN445di96IIJUXcbT7x+2
jHRF2JaE4cOYAULr6kcHDanREpzIKxv0bfUWB7Kq4rzQK6T/xcjdICLuPNd+e4esC3f5/TsWR29Q
67wo6wySgfA6vb4LprXRqLY0vYNWsEl3mvV02+Bl41D/bnFx6qC+GCNEYeW6lboqf8btka/bzVw3
ha40whj8ywZyDLGjCCoD11fzn8eUNi/FWflBM6u4bnQ99svpWePbAknH7U+7fib+MbAEqGPqp5eK
yYx9OQB9kxni2ZaHn32nCZbwMsTNK/hlZ3GpiD4EhEmwM4Lmk+bJgbE9hOPdMiNbK6Du7a9SL5/g
380tjnoQQ4o7z0gMWvx4rQbaOkNkVPJ2o+vZgXK+lpt+bxTw302IhChN0wcM7QLwVUfRyuKQmdN/
xW0MlkwQBLDUySg4nVAhTJpqU0P6xsHCaXbGUjTFwXBgGaqjj2w9oQRdZ+S3kReekkeiasr8q7/n
Cd+/anG3VEtDmXHQiR9lKwVvHYNaKLgyl40B2mGDrWp0E5OPMUIS0yrQsZRE765LmNLfm/C1j/OB
PTuQpp4mqZqHia+Zd3hdPJnI6hIdLeJMT9y+7h05vc/HR01yS3YIEnRlzE60DPNn3lqGxW00ggAy
E41B/En7A24QPOWBlgatGIKDa6QnA0B2w1iDXxmi8IeE3Ec68W6fL9FpXpS18lg2eVtJsa+lxjOX
M6fgFOVc4xDn8mroucCc6JIu8kOIrDfpUMMcJiv3mdI6Dbi3wu7/yxGy2NqFrykoRyHblGMQ+RJM
virrKYjXNRP0awQebUlCW2AuIcJjNEb54n0w0Oeva1HqL7gmy3fjQMg0hgy+Zqa07rIVxvZBVUc0
uz3I7hht8fJiGI6bSSiBMaH1PZjpiF1SFyBrwVmdd+bGUV1KNkjg7BoJt2I/694yrOVYkW3VJH5Z
Resh+Qja3//VwdQX1zPmnHe9ocR+3+kQgppWeJ+vpvAURLErWyJ1suuB+B9noM/n9swZQB6opxzt
Bx8csXaeglG4MvRt3h4pbiRB8dGYdMPBK1Pg3kVnaHH9orAHJUNl4KQ20B1rpD0yfAFN2OVo+Pfb
sNQcSJqiCyHqkvj6SP2+rfxQ3lAMgAf83UJgiDLiZh1zVKNGba1cpWzajCTfsip+0hnQNEDsd/Lo
lTHf3t5i0aIvnIFk6INUcGQ/swAu3bebGQiu7EUJ/l9KoIuja1qQXoNOooln9PfNjfRx0sdIIX6W
IbkKFDx1ym43cPVBYuC9kopqsKveijaEhWjupZBPJXlwF1P9lUEpGzMIDSj+nhX1bVAjpyC/Z5hD
nn52QfOShMcGikByvR2qg5EnGwsQwjr/pfwtiY/EdFUz+iw0kztKYf009X02hADoGDuTJ59jru/7
FAPmvL8vzfinwhqBC7ke5s4+fnGPugTUa2mayOAXa7dR60x7AxprbgfW2nKtfkaY2RHUza+e6TOL
i7tU6WM+dGC28uvmZ4tm6yQLHO98KW7t5+LSVEFF8qyFAb2O7RpoZ4yAgYtxHkQVDQNdjVdn37Ko
vbRAosZ0/pa2aH7Pb8MwQi3KGgQ34XpafmZncRX6oldZq2OXyE4a9prD19PG8iBs84oiRpCsyKpa
JX7omqL4fzmyMHuHM8vzJT3zfHQYG6WQ5y+EcMBk7EZ0DloZcwr6W2vdBflPZmCKAKMMqKJpBuA9
VnVAGe62J/gLCLmxpctYOiTNKEvzr9DQCYkhLVaUmKEDlif7o2bhkbcHmm+kku4a4wd4x0k5SyOX
zqT6AB7tlHrY5dDnahhApnyww/K3Jj+z4i2YZXbyewSTXU5/KEmxm7rI1iptU2M0AZQzLgnA/Qkt
hFiubckcPdYyFIkkm8BTgL7RaRFRMzVdGWRyrUp2qVo4HcA7UW1BH4p7wGEcw7iHNFgB1ijphQTN
hrNMsYfQfI8CGT1zRbIpeQgkRmwlrgybpQG+4UEpWGrn9fQ5YI6AF8aKEfbcRbKnlznaS0rx1iPw
o2N7VIZJCH6+knkCm0MM1cT0oonC+vdtL/JkGqNUJT7NUrc108aOQdcaybpNh43MY2caQCvdQSoa
oNlfKgYqMaF0e9OvHfrz37Ck1W54wgsOKIdP+U7TFacqNSdIJCgpKSOSblBPpB9yTmxkGYb6EUzP
k9XauZHseRA6EGgTHMJrVwFiUZYiazKA7mQ5MglZ7olVqEPftS7IfjFF060TL1vzFUpp4T7e1ECu
CVVLrm3EmdEl+qCR9LDUjL9Ge08DWPkudgMXdDaYsnZI64ibyACHXDrQ8w9dIhClbgBHad2QOyUr
nLR/hbSSbUjHuD8VyjZDEV621jHGJya+7vEEsZLBy4JpPxBr1XOodDO43eC97Pygfu7pW2usQ/j5
duIQH86yV5DyHCVL3moQ7+tKKJpbkLizO31q1jo0ZNa0VKJNpE0QMRg6a8+18hWgYtU2VQ18JDrI
aFoCUdQJLYZmMqTnIEAL0yxMBZVS07IBTvlo1RBInPYd+J97wumzqndrkw0rauW4h1X2qHXBJpqG
J/AyAmE3maucZ0DFgJc3kn7xKF5BenRX1R+xoa1IErgZV+6qBMdLh+rdtGtl6kxmgOP43PXclqmK
UjJm9hq03ccXJYQGSAFkm6RCbTQETcyfCiiaONGeAR6p0J4PHuTAROMW1frpozOesct2CcHCkRiO
0fXbQM7dto7dSZcwf2sSV00Uh4BgD32RxySbNqgx3JU6/9VBgS0iFCVpJCUyJJAp0iQAjLT82DN+
GA1HrfL3DoRmtkYroHhCvk2r3B3LAYLiHUABOUncoM0PzEwdrdQOud6tMopygczuQqacwKmOUWVl
k2bGi96Bk7IPdlBFdxmskTaDKJz+YiWNVyX80CbFieBp3NC8hf4Dhq8U42C2aP/pnmTQtcIgU1F3
dzmTEq9P59pgWXpVR59NED/ZRh49yJGM59gzGHLBQMNWUcawycPmtmu5kiF8O+CLogk0WvoCk47k
TifGnxYPiFBKtl39nAfP/52hRWpJoqTGkYOhNrK8ZELcQIpFSbvuJWN929SVnivQ7V/uaQlyNYNu
zIlSzwVyjHODCm1turLhAJxk66txo08i/3wxwoEK9bnBRSKHmQqchYyTu1pGa4Mc4/yprJR9KuPt
0MRuNG4b6b4Pft7+TvXKo/eb2UV6pxJGon6EdyJq4hlmDSZyKBJlyUYJHwC7tQf0+CzjJJn3MXD+
3PwIiAuExlrG7D2Y27dWDZ9drTXpbowOJdlXPAFf5Etvvhh5uK4NPAEmPy2oo9c/O7gdQ5Y3mtKv
bn/GtcT722csUkcFYtcsl+DYyU5l4HqwlcFmnuSp6wRC9Q5m2P+TOd/Fli3ySPCo9SbtOnLHsurQ
tSAoDd+g9c3Do5TDj4N/bMiAjM6hnPpCldfIFAX1K93K74dmkViEGrTus3n3wA5qRfY8mRm71kMz
7FRMdDmtB1ZI29Lw8VDN2SWT20iOmdnCuHolcz9f/iWaA+zUEh/mYN54+Egt9ywN5bVNCklVvhoy
QDbX3eBR4MWEeAWR6UWFOAjGMK8NbEKAUBbzeKNJQ4Tm7CQ4YlceWt8+ceHlKsmQgmbAUlOgQIbq
hELqy+1DPB+XRVr+zcLCvVnQlhnI3KOian0IQpA2Qx6xUT47VXEz/Y0PH7ftGfPpuGVw/uSz10g0
ymPUzdmQhnGivk2gKZC7VfJK1BWX6HOttmCBwExrAS1gyXQJzdcZehqrSHmS+VNggGykKeEF6A4N
FB1D2OpaV54k5dTF6HVC/4xNmTdA+jztDbeYkDBQxe3KyTGSD43/MOqnAg+DsvARPl8wpdRGHxb6
wqyK7HhqPisg2QvTSy1+5Ej4CVQRgn0MGAPl+3T80Gl9oK20NaE9Dq3Schabl59CBozap4XJWzL9
MqdD3Zy4vh2RLDV9a4Os04lS/si0H2aa+qGCye3CdPsS16LmYCs03zTjqRiavZLxvYXm3e0ln73p
xYpbZEamKDI0JBbYGgslUqWXcVjLJttIfXwf6IMLYvnHxBSAv697xDNTi3vRN30TNXM8mad0NQiO
K6YXgQFhViNTchsNRRFe8upxOrO4uCEyAc9KnlXkLq1/mkDLD3G86RTqVFB3rcr7vI0dOhFBoL4C
V4ILPLO6uDVlYSkz2xesDvLLABEttXuykGFFmU8oXqQ5MkmV3sv6ymr3ZRi5A/R7UqC+aD5jUoBW
yQ0vSDRb0YAUPMrgMQJrzyY19J9xEkHlIt+rWiYM94K4uyQS6CMUITB3i3Dvjp6OwnLmjJgQQR9o
3ewlQQ3nejYDZDcl8gwZWcLexgKgpGqcM6eqOPAKr+5wWOWk84oYaqixHxXTex3v5fAJxJ4WFTi2
OfhenPoz64s4WejQdJIIrGNqDr0IZTvp6Pn/iVL6Zhay6GF5dWXPrC1iIgF2CTwvsIbZgQjwV6Ar
iumBTpYdBcoThZvrCJRGwH2YjZ8/bt9vwZcusXNqNSoQiYDtvMWEujoc++R3W1iOhjZ+lAqW9QqW
Hkf/60uXiIOwK2vWtbBmZNYdb1P41Z9GXThTwd2CHtP+Tm98CeysFmgKWQ7KT3YYhh9gJ3VQf7en
cX376y+H0+aE6OwHLTyAxAEJlCb8oDF5BDXHUR40jyQGrpZux+F7q6IGUwHZ23AnAqFEWBUQqKOO
qb1m0LZrkl0GFFBsAcgm+mVXHe/ZL1t4CRIiU2PzBVB1+jNHiY9CYm/aUqBwgupVlbT7Kn0NoaeM
spRrBA9F0boMGk2qClHqVCj4cqXP/G2hFpEXA8tNks83IpLk96R8qNvQi1NrXdGtCS6eaOr2E3Vb
+sBTQb34arp0thDz35/H/Ey2YnVeiElPtkwLQEWr4P1aCMxcDz9nduYNObPDmqhGJwB2eD69jBCm
pCmuvydZp5y0tgaZG40YvswPyoxhB7txG4uc3tV4dPYT5st69hM0I1YNpuEnFMMv1pLfUjHc1daj
au1ksjEH45OVm3BAvbD+UKYjyUKw2m2a9tHAYEE4OUUmbSxFxCAjWv+FLxyhLNX0Kn4U7a0faF1Y
tfxLSP9zFd51fhEXPtAcpyyrdZr4CRT7rEH1OVDuCtAGScwdE7QTdtJqR2h4PU2KvgWXZNVLTpaA
OKcbwYWdi3zyvNQ3IsAFC0KPMSgyn3cJvS4l6R1rSpxKLx4iCKDIEl7zcnTo8N/4YGG2ocRca/wp
d8gdxk2kd5sp6DYKFTiFv6+SW79qkSLFUkrSMkbqMO6IA3HfWfO2f7CsVejVLxiud7tn+VlJHFDN
beALxGOOVzP+rxNqLfylxfJKA5swuYtV8lPHmVMjEAIH/aovPpv0V6IJYEGibVh4wTYLIewwF1Ci
BNo+SO1NBAdIkG0lyOWGvaAXevWof2VmFykOI2mga8hA0/Gl6o/G+KssHm5HnNlPXuzgmYmFl2m5
lpJsNjEUlV1njxaI625buP7EPjOx8CKQfRrKen6VlbmyCsFLbmbbCm14DhxpraTPTIMOmfRmKcTO
TfOR5bkzpNsapOOBqdoFVH/CgM2qFrH0qFjA6/d7ZXrMetHT4nrwPfuhC88C9voh6JN5LaAT2vQ+
85LfOsioShsjwVz+W7YyvdExPnCkw5WQrkK0FwufE/WM5EWGhWoq68TafRS+qW3ujM0xRT1GH0rQ
umc/FLCdmY9Sda/J49rq5M3t7bo44QbYF0FRCUFpDKaqf1H7Zz4fU+SDVjeK4nMJ43AVcE6qutMG
zOdI92h23TZ2GeS+WdPI4jnXBxBqqIoM3NDoYcxa5Gw37CUHXd517qHML5qevMhiFvYWDguiKfHA
adz5SteuCQosIcASBZT5Oi54Pl7EzoWlhWfCjBBoIrtG8zWjdIpeeZis3uUqXzPybECKrPoplaLh
zMuoBaOKAqURWQXD5wWFqiWBTRZxQvHNYwBKbQz8bRK8WdFqRmfQm7szgKL8HxRnLxzVwu4iG8t5
HIWU8RGS8p3bg14TCtB83e1BF+j0LvJBHZRWor28ZFNdWF1kYjzLYz1PscSUSR6bpN1EgH7FvI0Z
bIaYu80AVW/Otgxa8hhKexOc3Ws35XyxF64TPZwqY6VB/QF8oHGwbSEZ2qFUmoLpjLIPQ39XwSRG
2nmE+VcEDEahB/uqTwugc0B7BlrBzBL4WtE+LFwtJMYhUNLmo493BAhvMHEVRc4EvgbBp8+H91vU
WKz8wlMqJajVJ/Bz+LVbgLImd7vWrj5Al3TAYPWGPgnMXTjGhbmlY8SzM1JHHGuw4cirojtkFo7X
XIvhrkW2Qeb0nfMfkJh9MwtO4u/pb6e3lWbVWM229jXzdyaLqKNvf5dCFt4o6OW4myCS4evgwTOT
va6LkKvXvNDXGVXIwgtF6TjJRqpRnyuY8i8djQRPMn0dSOCYyinmZN2pIpioKvqsRZIEiJQxGDlU
8zRAdaFQvAYqobb1WAsg3hKPdwUfABrP0ahMoYxmm2P02AzlLz7Um0BuvRajnn1u7bQkvUOqDx1e
HkHRJ+mhX4skhdbHqIGOGLVeojZ50qPYa0oFfnZsfpE0uzd1YGHV3s7gdxk69dlrOMmCuHX76itL
+qYmQJOu4qrl84Ft8oADCAx22nArd5gAkSIB7P6y+LQ4iAtP09cgmVUheeP3Tr5tt5XDTmw9N9LS
TeH/v99XC2MLH8JZXqsaK+BDsj9df98kYDzt/whutGgBFw5k6vrJYrwb/eGVxfgowEk89gNNY8SL
FcicQWUne1AuEQMYbrsuZYma4HVSVBXG1vwJOccsJ4ko1SPh6F3ZI5tGmNTNX/LvrlJZAiYq1Qw7
k1B86SpYD9vukd+VoIyd9SSTlfKR3LcO2USn+HcP5IjgAS9Y5SVwYmw0UFSjQ+FTUILooKIA55gt
T9RrlfFIAxEq9Xb0Uf4e47PUsexmuV896fwYwa5VCodLIFYT3b1L3Mv3A/o3pzwzg4liGk60hVtG
zlh+yqvISXbl+8cAEsS/Yc8WQTKFJmePd2YS/PkhUg2u+2pW1C6e3m4ZZm5mGHZQ9/aYkJVVgL3N
OrXKScaYWmQ9mtQHOEcQeK97VgxWzrrzUAZaBIx8GCfJyvHpQCI5PNPsenq9fTOv7+GXhUXAyBot
qdou7HzUEg1g0wAsA1jsx20j/+LQvqwsIoSeNVUcxIGKNPw9aeqtFKe2lD4VSrgiNVotVHYJpsBj
q/dUtQOTjSQJntaXhFh/T9HXT1hsqVrToZU5ksfe6T1wsK4sc92bThrYsjv3vTukjk6cuSjor7pn
jBODlXXmQ3ZuL8X1K/r1M+b9OD9ZOg96vUEkoeOw6sFCT7nihK25pnG567JBYE60vYtIYklK2VNm
qH5sIXWbOqeDTuU4iLTt/+Uh8vVZiyBSpZKh6oEMXRyMvm41T8YM8JoB/MHu1XVagb49c8WT96Kv
W0QV3WqiSo2b0e9GpL0g/AGDAbQrNPf2nl1Pqr4+bpGOtmPcl1OiqX7fJ89USlfjwL02k11Vrjyt
bd500Er3dSKYyhdc/iX+sAjphFYcTiyUcjYRwBGZiL3oX/zcP192ISYpQ3QraOdLATm4VQTc3NOs
ZzSrtTbMBr3s9H9IswW7ZixcDhnjqQsyRCnMN9u0Sp2g2oWYwb69aVetYCIdRV3DnP/4ftHaWM6G
ik26D8LPSfN59YpJLYGNq5f5zMbidnGItpeNLHGEicatzV9GnQI++8qD1m7Z5vb3XD0NZ7YWNyyT
6zIzWKX5cJS2rCJJUwUW5ttykbmcWVjcJmD+dKg8DrrfgKpL1TFLi+5Tz36VJYg/tP5OSkLBxbp+
/s5MLm6WkYMcgTBoM0ad6mao/9BS8vp+2LLyrUP9hABaJXV7MrwYE2btyx+ytjcjkZO8HEGZY8PX
z1jeNEuTTNlAKPQrr/fA+0OhO9OuEi+AbjFc2FP0UOur4jMNbfCHrCpB1nbVvZxZXwb5cVSjcmQd
hnvGDRCQZtd73WDeQd1ybWYjJuvllSE3grUXnKflLaQVVB41QMT9dizcatpNU+HdPrHXQ+7Zhy2i
fmAMyjQUeO7OSHLFnlbjs76eXNBioJtuM90x3QgX5h7MkigXjdv4V/uLicus8y28ca6NeSXOQm6j
yeFEIik61W70VKW79L4BE7HkNW6OJqtuIzwR8ISnji5YANHxNhY+SJMlJWFKq891DP48HVLwZ5f7
+e1R35HVjFwQPeYuwR2Lo7xwSWYe5T0qhYo/qxaysXHaXrbN7gmifNBUgvwiNFRDQJtLqtsWNz01
BaxefavSR0BtADWG1GFceAVmjOo8crXm3WqkVZU2D1YMBaMMUKQaMg4YKRC4UlXgS5eAC9LUwARq
MTtVAd6E+JV5o56gehrspK6Drmow/si0cQvd2JOW9T8j81C2yp+GKus8lzc94EqEow4HupEmSlYy
tR4HqAPVwUOoogISHkp58BojXIOg+aQP466Ymn01pa+kzjZ8Ys9Zk+mOGkg7VQsf0gRdNRIHhq2X
ocDNzpt+6zgu3GxDCqlmzaj4jfQ4hKmXJrVdi9W15ih6y8zCtdZdSIvEjNip8RhmMlGzi1Yz2Nmt
QNyeVJ7o5P2dkL9hcInkSAxZUmtS6X4MpZh+oIZbZ0blTg3gnD2Y1QJMxNgMIKGJW+pakgFfz9Lq
sdGjbYXIogfWvuk7O6Gfo9a4sYWEPMSPZpobV5go5S+SZaEykdsmKHi66AOADND3HdTsA4S2IC8D
KZe8y4w7KkMvJ3emuH2zQmmt64AhZ92mYNMPWtRHU5VSpx2th6ABcKni0wZjxSrKtkHshBkIgIKg
F+z49exYtWQiK1TRyFKGKwkASjdyPTpB2AbJMaBLAJ2aLlCmkp3+xUcTkMeIvM/1uPJldeH3rKaF
/pYp6z46P0CvERv5ucPN8NhV5botEqczH6AFKqM8/d5oHy07arWCrfqpcnhnjf8MDRWSUnLhYdTy
dmi4ftm/ftrCS6HApihaVho+p7lroi1TGJEfg08tzZMT5kEFzuX6+/NsAxbJU2hIY52n2IDGU1fA
ju3ALdTaui2tMbSMOoxgwy+1Kv564a/vW9zxeASZ5RggleqihzJR7tuZ/SzLS3+EuF6bvw795ESj
+SSXBTjQ0i2HvlQFjI82K5qp2Q84KCh9Ih1KmJ1avxva/R4wlHJ7E65nAF8/cuEhmBKVld4iQ9Yr
4Dx5B14PwQvmXxKrf0xoi4p6owxWGjOse+sO7nAYoAKAeTVHQncTOkrDGu7BMVelE9yB4eX21/1L
9vFle5FWhXlRJEaUa37X7lJpX9IGhIelrZLUNizkePAikIAAdew2z05W+NCn970qbfT2NOWVN/Ef
Q3fgHWiIol+x/NqljeB+zmfg0l9+/b7ZgZ+lJQPoBSdWYpKo1T+iDDRLCvkElfIqtuiWqNkenGSC
JbmkEvp+LJciry26y5QNheab8K7ZdArapwb3ISgwa/CUJaeyWINm4fY+CE6ZtvBCptJjzkBpDX8e
oYpIC8VM9T8pcnzdbm2RZvG+SmV8hOZHluVUEF1qinVsCb5DeJYXPiuyyKh0FFZi9XOMN3q1+t8y
tnUXHoeHKLi32ItxGjxAz8FvUAgeCfP//dZpWXiwYTJYSPtSw3M2RzHyTgrNVVPvsvHh9naJTuXC
c7GsH1MERmjPK6DF0x6KJPGkvsSIPbfbBgIwkiY6lfNBv/VpCz/U9YlGWtw0tHIHWxtAJ5aCMlUa
naJ6LoPJVkyaOrx/LrjmRvJ9LUXu7W++npH9cxPpwksVBvRQesyW+QCFWvUsJ7kBZcRtG4JgTJfe
SO5yhhRa8/P4UErMIUW2Dki3l8bPppB3cgcQp5WKxJb/IoZurC2d1/7MybDeLGjWSOh9FDpbsXx6
l2RkAmOarYsJcwEx2QUSf4yLHNyvKetcc1JeWC/9KawytdMRAbKNVpjKgaPs8Yop2vrETG1NSvkz
iLRjLkWfag+uQmq2vYM+sSCCXNKPfndZS3IE5JGaNVo0Oo1InebC/6zcIDn9vXQHcT499uaeMHGH
dTuz6geefhx+9sjkfFHhVnRIFn6MaI1Cmni+gCVzKTKklvZuq4s6+iIfTRfOrI9bSIp2iMozIYIK
1onU7jxwP2xEZQeBY6YLf8bitBu0BulhUnQur9BQxwzK7UMvcFpLasioC2JOi94AFbW5j8C5mWvj
erQmF2WH25ZEu7NwWy2I/6o2QaIxhqcBgsaTmTlRLXJVoiVbeCqkrEpbgGvTrzDhDZFnrxmF6DnB
lyypBkDLr8V0xLYY6p9g5F48RIXX5pUjEYw513KwTkMoogaRtA9C6kV9F4IBeHwI69jj0A2qKihL
cf4hJS0eeYW+AXrxjzblBZg9ABCpQRanJaNToUeeVezp9jYIFuiiX6UM/TDNMXJeIJrVbtPe37Yg
eDkseX4mEqhhBEVfH0g4G+ruTi0xVwICJ9cTj8ci1bnrmKOv3OLvrPqZA81Bw1UmmhGdVJY5PM72
epJ5nIMGLFxryrYDFrzsDdAOJqsIr83/7mPn5T4zXg1MAekEUsRIS0Ds0tlj1KOXrGquhvwUDA2C
7RME/2XNvIymkbYVUmYIoTopWA4UCYze0EDFbprVro5FlVeBg9AXPkgvgi6pdKr7BRRSAjVDpImP
REeVdRwFvkh0NBcJlCaVKYAzOJolg9wzz51eE/gg0eotfFBi5ZmsawhVSRauZEVbcXaEtvBaIsBB
R9ZaT0QkcYKkYsmSIcttZ9IgG32Dhw6XQY6YJCsJ41t6LTkz58HUGt7IRLU60fN2WS9vikgLc0jr
+BPvHGYRr8t+53Lhku6lMkBVzV7M4o+V3WvgZw2r7g+0SMrchIIw3n0MY8UZxcgi2AVMUHiSvght
QMu821fnX2qv/yR1y9ZWB9xnbP1vv3dWF+/dWRQscBm4Y+34LnoAEGMtevcLfPeyph5AArWBXNLo
5+M9Nj8KJCiOl6KDLHCBS/WiRk15M3DUswuNvzXV72hMN2EeHbsp3/Epe1QxlMH0bh+A9ZHK9yx8
jOQQgKqu2tBw2KOn8kgDaVuMswRASo6qmfyiIcPwTH2sJnrQi/oECQEnCOMPHKQdZlBBNdZ8chyk
EVOQIIXAyOBgj32yqWL9YP4Padex5DiubL+IEaAnt7RyJZVUvjeMsvQk6M3Xv8OaeLfVKF2hY+5i
ZtEd0RBAIJHIPKYQZLBMgW6d1FzadrN8K6ZmBU7SnNgTUl6K1HPq+vesQ8MvRkvDStr0X/X3dSjz
wudegfw7k2BLdR8bvYTYlewW5A0ARuOqLkCRghc74Iq29DDNfuVrTusqXlVv5IfEuO3HG+pHHM7A
xaB29kuYnBuSbJUpwGn4oM35Dm6Lfgq8aF1A5iLhiYpePolnYzEtFmXKgyyYZP0QQUr71N6HqoXK
4loFB7m1Zn9GZyOJbQiggNVe+DOKS4OFjcN5nF7c92e/grmnZCXRhCpAo2cmX3O90bLXUObc+7xF
XX7C2VVYt0SkeTHpByExrF4sPKo8CzX8LkyJU034qfuzPDnOZsNcSgT+Ch2MYuTDYtUIAzTz3Yyc
xXcVos+uWECZ2MOquhDedDgxizdJ5o4K6j4vRC1F+mRsBRRCi0dpIHeq/FBQYOMyvMDJBJPGeD9p
005qGjha3pH0dZh6J+Kiu7jrwNxnE51BuhM7GSDv2Wv2405E324HX1IH7W1XjG5aO0Wlg9c1u3ip
nS0/k2QHaTN0hV5JhxTMdml+G8PSyrPnWDmSMvVmJdz0BU/qD6TLS0WI36OyfKsIt1lXFbJ8CHIM
2Sm6VRuduc+UTHDEabKVSnWDejx1I7T0krx+GmfNi7XEwR9UVqUC7z90gPiVN6ocwpY4nF+7Ktib
g/ZKp5HArTd9UxYp2akRVasCR8YnrZD4RISgbU4gdn7f9miTasIqmhIBueWEWAlFAPDAXFWnv0a5
+ZCDOfcL8EAgejVlThGYJ6hInPqO7sW6cBrJxEWXQmNMRmMDBO4OYvDCVqlau2vz1zHUfIn0hwFK
rnE4rHuIFeUJ/N/lzsmF9hepYeYL9Kz5SofBNSHaXwi3ud6saROuBu3GCDaz8CWo4MP1t7Tzqm47
0fsImPc4+KTqk1rczunWNF4mFHONbjWkBzPzy/Qgi/dyvyvrzqKN4cnxDj6dXg+5IUk6JVPq1GJh
9V2+nkltdcNHTuHYBW14GNxYeuZTcydMpzi+M8Lcy9M7YbrPzMkpcbmW4gCLQii04vaaQ69o9xFi
XgUjksTJEAA74VhpbwHw8GqciB4QSpzyxPXAJ7LQxFgqJ3UGQRSPtQ+JngxYA0Bg6npU4MR48TvT
OQt98wwdV7nGOUx2GuSUV5BCVmFboYIEX6IUMtr5fa0hsYKFDghVDii5i89JwVUr+Mme/iMwit9t
rrMfAu50GJIFJhFVN1VsF9CyguOtU54Wt9Xa1RQwFQ9QOqcwmf8b7NzFFP4/Z1T8Dlhn48N9XumC
StQP8riVU9TLqMDJrXjfkwnAYygmYRTUuE7zxFF7gKJS8NYa//oXvVzjOZsIE1n1GQa7aRJohzHK
NmHfryP4RaWDeapHEK176HqESLOypwGTvD40b4JMcIWU1TAaAZawnrZSUuMCgeoWNAevj8L5UKy4
TVGPNa2DuDrA5+RB6Vo3igPv+hCX8/vfa/h9as42gwld2hqCphVQwYOLAINC8bxaKKiyDeKAmW4J
pExuuBwk3tSY5K5XsjnSqLJ0tGDMs4IbQ2GNb4u9EF4YdnlXf8q8KhpvSCbHK/uxmmMZq5nrZW0V
LR4Vgfx6fTk5++K7DHu2mnozd2qXIL2KzIdxbqwsv8tn3rb4SR/+M4B8V6vPRoF8R0LCuZVBI6K7
FqpTmdWum/3gy29AP22WUi4AGIDkxLeLl6F2it+uT5O7a5jczowCRVRbBGyy0b7SbYJmZOXofvkh
WcSC5NP14XhfjgknnawGADYiYBqKudaB/8/i4/URLnelzo4BE0qUcgIAVlexpHC6tTJj8Pta3VbV
3RSgqf8UzfcDUlgZ0nvtXPmlBGNx7UNoRquFpnIdStBVfgaykBMAvi++H32H//ws2GP9ma5HkQBp
pkKSUcXud4rbHBdQqfprsa+e3pIN71jysjfmVMp5FNfIHqpDVedrnVQeCZunOj4mKucZcv2cQBnm
z3l1kyCNSoUvCtvTLYRTIGAm3lcG5wXJuWmJuWyss4NSqX0xylUvwwZD+qKAzu0kspr2EN2FTXw9
Q4jDalQX4Iy/sDO7XPI8+3bLGpwNXgItoQlZKx0qyNjOimH3IlpA0JKsRGpPbWRlpeIV8VMgYscZ
kJ7kbGnex2TOaBwHJIhgDQHDU+TdG3qfgl1yD8iMt0jJ1zpMQBapU16Dhzcsc1jrsBKLQdD1gwlw
4qIIWgkAYGQj6q3cAtpyKq8dD+bUVnKv9ZogyIcpgaB4he5aoAW9FcXZzojkdRs0KE+iIqrs2mmd
xn7W3rbqfYk0N4Z7VAogs5TuclD34z6yKRQ0pRbl6UI3YAf/NKsvE7woJ0h85doJdGTOa5+3UEwO
YSRdXcWpYqJKvIG7pkzDbd4BymI+X98IvOuC5WOW2lCLo5gtBSRdtKppBplJAJitF15qY/CSoLxp
4ByVpzdYfEuJdAih6o8QEYPOqw7Y8j6tXjX1PYOtCKw0UHnS/7etCnzXn0elgOFwEci4ToArku0O
PIdqm7qhq0HAPBsdYCyrZo1nsscHl3LuFpbpmUGbZ5gCEEnqjNoZzey64tLLl2j237cpvLj+nB58
40Rz7CcZ0wtjCKINN/9c0mkPdgzFE+N/O4MiYeJeiew008sEBZCkxmMRYNTwoRpGa+bqyl1uLP8n
yokspTPqC2Hq26T6prCnK2hto58Ewpe+kRSLkt28gqEC8O+71h6hBDxvUmNDP03J6wwL/uaf/6p2
fPZ7mKg3p6ksxZBpOCz+i8NSLP+sEAKuHylOTUckTJCLI0UrAR1ZLhbjiKMEUfVw3641O3EWQHQW
3MEYEY103ofl3GgiYSJeP7WBKWgoz9aO4U+uYs/UUQU8YE17V1iTM/5KRYsYkIzh1ZN4B4UJV4Kk
jolU4jozwMmc0BMBN5mzqpwhWM5nWpjUiAjOSbbLXwNfsaebeIPSDaQ98SiA6SGX1rp8pysnk2V6
dmErNNqIhKfuE1eS31OlcWlTeniiPwSNxtk2yxJdG41Jr9q4zBKhgijSgkkQt6Y7eJoH2b3V9XW8
nlwhe/gz3OhCmeWqiEnl6gRVCTgNwu0NiZB7fZjLaNDfR43VlJQk3L9mGaNVsE5uobe5Qt3LGXYQ
0EA5kxtEl8W5snjfDlpn6ZQyVcE8D8jlWk/bVJvSzm2U5u3RBTt+w0NhX7+bxW/x4rPBkkKjBDrf
+iHR341EexAFAwrcuvvvWsVna8hcDUo9kUoxcKpGWAMiCanB5iaJHYzRLhwGu454wAjO5vgWITib
mVG10gBAsg6+ihfChqtrjlrHI3Rx3i3Q2f9zC2a1TOdOqSrceN2jCFXClwrm6cvDdCYrGmLT874Y
5yTLTNxX1No0UwNJTtieoma8C+r6hrbZEThVR1a4pSfecMwF0IRq1RAB194/IqfwW9QGNKesbydL
vCiKIzTSi2wPFZOysHiT5QQSmbkFYp12ZkVVA4Fkace2q6UZJ614z0FOPJaZQCJWYjsoS3QMxl8j
GT3or3ByYF4hgUU2w4tBIkYD5IIqizY497DBpscQxiSV7JbFh0p36rwf1EPe7UJgeaRHOSUOJ45x
joTCZJ+9CNu5YGm7kV+QC1xkpL/irbgS3Ogpjlw4NDT3cNO1yqf/cVzmOkjbeqYKyg0H8Q7KWeBo
KLa8cKihqmACWbQbZ1fZ/kUk5XxWFr4cEpVE+YxraKFwC5Zmi29LLAX1J7CWfHSwePWii+HUAGFD
MmUYkbCukKlh9OgvGPqhEe+BvNLFbKXWIQxJHjlLenFqvwdiIaiQhUl0Q6iWTHtyp18w9Q1hnLYo
HETbyuvHv3jvXtw9Z0Myu6chc2H0GkoZqQ53TV114xBGV/Xr9ZldPPFnozB7JalEbVBEMD3+/8Sr
/sJ74534y0WLs3GY+yhOaF+2E/LLVNOIpTTZtknLXaY/JTkEi/NuA9uISLmbho+R1Ovrc7xczz8b
fPm6Z3dTKgRkBNm4OogmNMhD5VUEgyCIdVsob6WsciQ6QXwsAsXD4MAeuPNmLixDyEwDLq0AT4O0
K4a/CHwWigr5fEPtHk7jmb4Rg6cgLW6ESeR0vy4HwbN5M3fXXCoKlbseFAuvhRO6398v3eHYTtfK
c/yhKDZ8Pf3ra807KMz9pYVaP8RhpxxMTXPJ9Ax1def6CLxzwdxRfZiM4ZjgYU3gSjCfsnJLNU4V
8XIGerZwzAVV6FoSBPNSbi/KTYrWRVpVq66H+iFwHDRaXFOnVVkaq1Se3RomaELKK7N93w4/8tLf
v4EFms4woExbLaAHQxdBRlUgZt8/5GL6KEzx3uh9mr11KRxsVm0I43rARtXyKzLUtWnEKzia7Yq4
3HdTuhtLv+k+o8abavhQiaXdzhB/SMa1CB83KZSteNhPVeaZQ76Nmlsz61f5qHt6vCGB6NdVuUJj
1yrQpG1Q0JqL3E9mlVNQ5ewaFpc6ppKpDg3Af2LdW3m1hrI354n00xZk6W2cLScT6IRQNWNJjqqD
nAynPKd7Qf8UqLBKimMkNusOwk31g1zcDqYC1NS4NgVil+KxbuHwp0FeHB4AwReWc8iOUCS3jeRX
LIRwtUFqlr5NemVpsgQ9rNQ2tX0xfbQisYnUcsIJ575j0a4DwP6zCQ/0Q2PewT3TGuF1W3Ro9WZc
OXfOxcAaaFahKKQBNHVxmRO7NVZkspRjAafFxhdzq9KQGgYWzGo0e/goPb7NFOeYs1jXVM3FVikQ
SITwVScnQYVN/axwdgVvECZA1oqW5KWGACnAz6GbNi1NLMV8vx6wLhd1zrYeExMFKlN1ThGxGldC
W2vetYf8RvTpo2iXTrTRN4sQJNfBZMkPrsUPJk42dZoFAAjpByq1IKsl1kwWgxsUz1W9saVgbUQo
b7/0henJBa/BxDvQTAA1BCHpxQVoLsKGHBKqnqYVPEHuiw/338vKolzjSqjQEi3kg5hQO9JMuwA5
yBkV5cmkj1QLHSK7BnmTieSJYhI7miL9q1fG2U9gcjSq0VkuBgQVlOs28ba6QY7tpDvwhZBDmQCg
VZzcnrOuLIIVaJxUb1K8nEyt8YZKAirB4+xW3hBMphamM0R3NQiZhF/ZegQ6cpvcGU4Gaa1vNijA
Xl4W2iOv53K5Anm2lsvvOkvSkkoVkjrD1IBYWiWpCt9UcxUVoi0G9Aa+iI+JrPgU3faNouedNYIi
maBtambza68W0XYmJRQrwKaypKhyOIuyHJYrh4lVisC/ONWVYVKgGXqnOcXIXq3QXSjKwYFua3dy
pjV8GEIvfPpXPKCzdWFiVCTRvisqvHFagq6wXlh0PnJmxztJTICiVTZlxZyiY3TUfICGH4L7YKX7
C4oyPET+9dE4MVdn4tJIE6XMFyBwixO5CeIJPcqU8714YzDhZ5BkUKf00DiUEEKVKaoY1UtQte71
mXzrAlzZFaykgtkacU8AcznkdLJ6WIy1yUPSekbzmupeiTZ6fTfBEYIM8loeVmk8+MrYuFFzA5ee
DhJBczC6huRF0Uktd3qm+iDGCv0jeo2WUamWiobaIIbI8doA6O9boLKtIlmUGu6vT4STVrDY7Eyj
2jy0ACnkc3VQQuPWFOePZvjqKeFEl+UQX1sxJgubwqGUGn25cCmFgvaampRzpfMePQYTvyqxi/Dw
MSiqxxJ6YqpoQy5rK73Ubu8aMLoTBTizcga93Ar9fUiNZd5nwasV56qvJiofaNB4iRZ6fdTQu2gq
Jbtvdbvt36DgIkMkEKDd2RKUaNsUNUzX2wNcE9x5mNdGV7vhMFm5sQS1hDiDWPMaIbzVX47N2a+k
oypWfZ1B3E4A5FJQoTDzcn0n8V5OBhOtujAutHmi0nc9QXlYYCUKqunVbQn7YV7tnjcfJm4FWZYT
aZ5ANpthidQ+iOOKMx1OIDGYYCUGXTSlY6cfJnQduziFug4yfWk+Qr3sVzIThyCxmkYUvPrHtiF+
E5H3SbhVo80M2PH/+GOYqJZOjRrVIP4iJU/hSxf4082wn63AURyowU0OXB3+5zycBV4HYq3WQwK4
99C/DvVnAHUWFVXE61OTli91JS6weKQ+6eExpKJMUjujbEPdPj+By+7rruhrB9H/7D6NhVicPsCC
zQZVCyamNloY5aE+5gfBUdfXf89lRRiTaAoxVNNUWVqz3plUipMRbOKHzp3TBz22QGv/B+OC20R+
DAOf3IPQzFmIy6Wqs4GZQBKpmdK2hkwP2QhjL/ktDOkmnp8S7bbVgLHoQJuVD39Rp1r2zo8PcDYu
ExogIzDrSKkUyOJqxZcAz7qlUg3wXfslb8DF2kteNgO98t0v/Qvs8sUU5Gx85ijncx9GjQzOH/Y2
9JRhtEiAHUd+BUvxe7LiObtd3G9nwzHnutYhJ0Ry0FQF1OKmQtj3TWyHJIKiHaJiyQtUl5Pbs/GY
o9vkkBfqIuwnpLCm3+RosgcbybRFZJEL5WkkKzBXgBFPVtKKB3NcJnPl27KVpBoW7roqqfRQw6AI
vduVmna3gQryX5GAZJd5Mt+ce7llr43JvIxaU1USgWA/DTZE1BVMtLxRbjVIqwl+u/+LAjNvQCaz
mIVoQqqMFV7wxvBZtFDzAhFG3Gie8sa/ejjnha3EKE2j6HMhUgi5b2YEI1zrNjqFVhXG7jTtSWI6
IdKA62HpchHr9zZiizL9SPoshy37oTWg11q8AytiNXJ1G1MK/ZYAno9t8diC32LChEwE3KxsWrCx
BFcqP4v0NhRfu/BoCKOdVfdjNHnV3FpStxPHzukkEUQR7RlGxNFEV8ubOphORXxK5GcFmjzXZ8Jb
PibcFFEyqsiclcPU5G6RvqqybpHxQDtXV0CRUEsHvV/OmBez3LPFY1ITIZyVvJcQYpJ200DsRkfh
Cg1B8/P61C7zQc7GYUKZZChhDGtvCfw0xddqy9hk9/HeLK0IKJ7UnzeG1azj++AuvG9fjb9oWV/u
kp/9Aia69YSUSRGDlz5Bi1QKHhv9oTKpJQ2bqoMTd/IExpCtw6cjaDaTAhvbnnDusYuZ2dkvYOLd
Ilrf1zGusX4a3UlfV7rBOQucEdjqD9xAA6oHOkXGTb0MjvE51+PrYgXt9yRYirKepyihQRXvG4K2
9DPHlbQmnuwWfrW6vmku94nOxmLCl9oAq9hSQO+Xvj+sRb1+teTNMNLjIhp4lxFLUC5KXQyVHgdB
8QvUd06k28lO4i2ZeqJ61U7dIIj1e1JYkWtwNsbll9LZRJkEJ4GPLJ2nfMn0mi9x8iY3gldo/Jnc
1U8whV+bR30TvUpefUwdyNULH9cXmrdtmMBDWtL0LZXoIVZ1D7YD8JLOODoDyz9x5erTmThjBMKg
tbheDyNyCwj4oc8HI2CTt2N4M2HCzNRmZT8M6PIDzbPTNrIDCZLQEmzdLteyS9EY4MI/vxFe16bG
BJawolmgLjtHhqWQ/qx99bCjtaETd/sP4nvpFYy9RT8UV6qQQi4e842jGOvgfXycX5VVYfNSK94y
MJFGzZq2SDvc+3UY+mp2k0e8msXlisLvLcuWeXQFe8WIFTyB7CrHU8seckdyF5mj0e7JDUQx6w08
Izg9MU6KyhZlaiLTKazRNQjndUVyK4QyvF5EVoRnXlL/un4seIMx4aegg5FBWgpZRP9mDC9ziSpG
vNbaVR0QzvH4aeu2dOLOlnPJ5M6qEGkVxaOk4nyQzeIwVqV+a1jjVnMaL7wv9jnYiZGrvyg3pauj
ZMMJQJzTyVZqNCUVxERFYmqq73kE4doC/1Wv15fzcsvnbI5MmBmkRMpgEIz+x0L6WcXgg3xDeEMf
Ev8uGCJ14f6dgQEvurMVmHgihRYYOBDw612T0dE0r+tPC4xyGTrMdlVuxy9xt/7XFZmzeTNBKSWK
0Jki0mL0RDK4b8qURwXnfT8mBJGorGhKcCzEEvtEADZZgQnVv3GLO9+jTFQZ5VhRhOn7ihx3FJex
7Ke30oqHqOWFFra6kqVQWaU5KnLTRi6t/lABfSo8zsAVgWe3jR3TETh5E3dI5mWWBdKMKwqp2RKs
41WngchtKQmA3ojUyEYXo0PgUzjHjrctWWfQzIxGEkWxeaDP6aO0Cfx+TT1cWa60VnsHJbxNfxMf
utXMwXJw7geWEZaoKdGjEddkoq1h2mQ1bch5V/BGWP7+LJ712ZSgrIoDp4emG47HOuShp3gjMNHE
aEiYxgZOlWqswr60Qo2HNuHEf5PJWXohqoOhwhwE9DCnd8gND8ZmjE9F+MWJjJyXn8lECFPNSRnA
xfjQdgDsKaWTogPUEsEps8qt0xHEg0MPUYOcbIr2ZRBRrEjXaYHSZg/cGJkdkXT3mRK/dZRXHr9c
hfwdvUwmtkxwolKGCBd9K+Px6wb0FpShCtQlwKYQxFGUMhyK/o0HmXVkM3BxVDfBc6874lF5buXj
wswAXIRzYjkRj3UA1WYzLZSlZ5Is1t2oAoaoRpbN3fUP842q/++5ncayudLS1MdSRwrQeoMLursL
TfCQ7kTVR3xQ9+a+Jda8rQ3IjNrSLQqDbrOuPGULm1jdUW6Sh7hcQ5A9y9/gIZe/Xf91y/679uOY
oEVA7UqHEkELrGQ9Fy1x6Dyh6FdN9HJ9IE7lV2N5W3lDxySOyyWtJpvmFXZygM5C7MJrnNGlp2zF
L7Frl08f7ME1Q4ZKAsuVnzuoj8C1GUXfDrL2OoFU/rxoReCmDktCrFwL17V6Aq9OAjorbY/d+DFI
otXmmxweIK3xTBNIc2i7uV1L8Qlqgl4uG3AYe9X6GMqbDXAf2yzalTRxEngORP2XFtwEiuEp9Tog
p1nP3SGJnEmLPA3HCjo3lpJDMwKaocnkGMaNMGYW1Y/mCL0PNXZo/pRm9236lQcvULdZnAushN5i
g9qpZjpwKDAChKn2OHSyow66lZotFN5Vt8O1k+wz43bsTB4e5McqapCN+W0XzDIQdMEcmiqC+XUt
24bf7ccIQtL+0kagrgq6aOuqr8JkgfDj89mpP/fN9+iyAScSE9Uq9p6Ro2SoVRRS9oPd6U6kv6uR
v3j1LI+ENN314RGd4drnVyJ/VnuYkZn7x4wjMZDCAQbs1vwMG5YForUIHnTA9AFahDe8e/2MLGHw
j8PIDMheR2LXi3GCAU2A51BdtjPjOEmiI6FsFyqtPWVccMiPUgwzJHM/DV2W6GaLIQFDLGavXy/N
CQVhwOkUO/d4KNYfIZcZjrmkxrYcBGmZoaR0lgjHoHKxNI05icPPVwIzDHPfqNAq1WsTe6ZBxRrX
i9NSZ4b6KszOYEFioQ2BnoBLQfV4uv4FfyaBzMhMfitO8aRVi329SHu7LIdVLR2pEFh0/CzrTRo3
n1Hm92FnJQK1hPI+aI4Z1Ew5v2J5Vf73jWT8uHJUoxLmGr9igImBOI+rQv1MOnEtQDo4F59Gs3Ag
tbtuw9bKosqPJK5p0/WtbLAEYTFopVhvR7KXZVdFTb3M282Y/BoNum3AutEBe8qhat2k9qR023pB
k4S7bvJE8qFFH4b2BaWordkC4wHtuDrOHLGvHamm3ihJ8MgAPkvInNGYnGq4rXLxmFanBF0eTZog
m90/VOOOCDDZBp9uLGH1AxOYEnRhAnnIGhPPlMKOhVto/lVBZ5lhuwFAytdgyM75EDLnQywf6iyF
VUNNz8YSyzCjVqVL3aoMX8Yux4XwVYUgbtTlpho8FLbckBTuJECubog5P+JHkvvHlgSW4s/foAut
OSYhfgPFnSXrom108vH6PHlDMJESNU9VTXUYyivCnabe6nCGvD4A51zBR/TPSYhaIffpEouXMm57
X/S+9lrdBI58o71DhDtb8ztfvEkxobEiaNdIOoJImGmWMj9DpY4zq8sX6/9fbXCj/3NSMy1IMS9h
Ch/+2OQ9RA6iVVP80kcNoNlHzhLyggITFGO9kbJB+L5IIRyEqmb4qwXCTvJKD9ql3HcpbzgmEnaC
KJFOW/aEr3xNNwDn2Av9E+lL+xeXNSfesEzkQeoMfV4mp00wygmSt3iIPFMxLCL0bq9shKTjHCtO
YmL8oCIHSlFLEbZkDb2JHKpIKngfLTITum0BbVgHHYB+ixwYD8vA2TbfUKGzoPJtLdIuG7PEC09A
gy+Y3iX9vSngXJi+X981P16VfwaP7xzpbKyWhJIhxAgeBVHcQE98GiA7SKaDBG/YQE2AQTZWIiq1
14flTZEJKHOv5FFNMSxo3rdVDZqbEL6Y2l1oPkmEk99yzvn3dz6bYtEURkJGbNSy/jSVDey1OZPh
7U0mkLSoy2ZNgI0iz7eRUW1rPH6bYPq1iHrKH2Fxf33tePNhokqdxFEO5BTZJ5S4raygdc4JJdez
OONbm+lsxUYqZbMJccd9r4r7IoS241Q+q1AbuT4RTgJufBe8z8ZRaTu08oBxAJbyIPlsh4oJh8D3
DkJnwFVC2Vd3TAVJQwK22eDDB83rsn+xmjoB9cPURc3A//+M0bStW6nL8RtaGC1kkCUyudzrS/vj
fAgmMAuJ2OqduCxnJ1qyXDpzBv0fo7CF8TGCUpUJDlIoHkMKYbJuVG+KKrDMRjrBwdiWuvmlLgSX
qrWXKTyDmYtf4PynMUG8lsMqzsEE3Q+Q2wkseGYtKru63X8BA9GeiCW88BBEF6/632OabPIKA7e8
UNLvq16EZ1VltwuTccHywCi9iFZKdpPccK+rS4HufFSmEGLWWm9SgpkWA8AmxANYzDaLzA2LFRSn
tTiytWmyINB0V0A60Jhu4+CYT5UN+W8XRrl2aHauouN5mHEO2xId2Fz+/Ict9+zZIWg6Uo/a8sNk
PPBpd6vUH9pc4S0Yr68ft0sx93wgNkyZJYnC5VTPyns/jn5SQV8H6EwlnwCy4LlAXXyj6ajMSCpq
CzBkYzK6sAZYl2YEB2vBFa2/7Xf9oYTqQG+n93AwtFGggash7wl68d42VMMAAlEGWoo158AxImIl
DM03+qA8zXA1eSuBZe48ENotzbC0Aq6cvLf9TwAvbtLzYZlTLkaJWJgRaRYkphOikuf20N9AQvQ8
3vAdormzZE5unmhZpeVzg3Ibqo4gpreeUuH0CuhG4A1co7bgRKP7F0jLS/vobKIsKq7FzaAP5vfI
UKhdRXbTHxaVheBOtAFBvZlLO/qE2xC/jX5xT50PzRziTMrleJDUZY0nVzKc/i50e6u3G2CEoGEB
MrnmFuv0wN1Tl8oo5wMzh3ROOimVC3zche1dHyL450JCyWn3sK9ZXT+mMm99mffcZAKqjF4rJllG
EMQbncK8UyD130GObHhJ52TVo16kQsY4mE1HyVLXCIknSCsJlOEgeYA9iUUzxyCZ3+W/agKrVOTM
pfokUKBT9Y+pvwkzmKaryb4fUNubFp/2X3FzKM0YhgWQ241aqGfQdQr+tXN9ct/yEWy0O1/IJbk5
i3YdtJujQe4b6FGdOii4R+XwGErhB5xcs0S1peRTKulqSMpVPUEyiXoDSdwS9Qt51PzYzK0JXNps
qa3S+5wGsHq8h1qE3efHODoFdWKrladOj+F016AlEpXwUSrjdVQp3iwIPp6ZbiOPVjmDowsKUvIY
VAmcVtLcvz7Pn736P6MBG/2a2JRJJY0NqIsEjnToYlefXWMZmSVY4lvqj7axQFZBLLRm2StSi4dd
vXTfnS80E+1rY56kUOiag6lo1qygbDIbmzSCT68KjRToSEvzozDwiPPL3rz2eZe9ffZ5+0yrpibC
5+09BYaQ9wtMV3fbL7rYImorvv7Wt8nxtRGZsCu1ZpgClYDTAuabpoJg1zxOE/i19VZEUWx6FMpP
bQytvtjAKQyohedZfqy7OwJ0LWlv6qi3Rg3nIoTkY4ZTY74GCCwqSgJZuY+SDn/jilAhicFLFovZ
bSF3YIIU0/hd62fI1FrYP41qBevZ2S37wgcG3ep7L5ke4vYhLBO70yA2HgHoaoIIAbuKNLPTYbAI
rGhgQZZnihWk/hCdMvONmjAoF2PPUAQrNyGzlS0eQGjvNaUD44tBr92gKrxSK9aJAa3KOToZxTMx
0WFq2+wAaJNh61LPqf7w7pofdixanI7wKfhnM6MVvECmgIWAeNAim1euC1ch3A3Mu1BZoGLfjIHS
xQj2qjW4FXDJvuB2XvsIjtdT7PDgLT+BhH+e2B+gRXVQC1WX/gnx0XMJE2+Icu6bu5CryHkx7T47
nCwbtUxpPpaV3oBqlZ9Eq7EWnARiGnjhUMznj8e5vljg4igrkSgrCAbFbnKpl/stWrDVuvX/4o7m
hADWlVxtMmBW2+X6Qt5HX8TWWrRs8jUAuw+4ebhcJulbXflKCGA5pkqh1ERqMLssyb0+3uljsAlo
4AiG6WSzsQq0UYasfFDfpAHyXSStqzHMv+gIWnyepYVrDiKsA7v2s1crXA5hf6NHJbDgsj7dNsr4
ARfTHYmT11gce4cYNdzVA/jZRhq0MYO4eMlDI97mSYc7rKXaKg2UzDcaoLLh52VNyTudMztvdE+d
E5jk1rZZB15P71W8/XJ9JQuPsCi3quC9FkxbAycKHPPEwOLJqk8nRILwoyOBNRkFHiby4BAAeDSg
MfRistKksUQdfza+p2btF1nkpUR0koDaULzIuw5y64NtZKBZBgE05/bTYOzbOnLmCmFIdlt6TAJi
JzkGz+E7RuEfe9SMjQAn2VAarUj4KPWTmJ3SvoMIaOkZwrZuRpg1BF6qUquAGZMJHbYoFVw1DlwF
HnWJUrtFBJ4RBJob8ZgoL/okOl0fuam+qeVPSf2oqwczI1aGMEumtZZIfguV0wautEps+sPcrYwO
eQmFB0CdO0na/4ozkD5gqhxK2arstzitjgkUoRRZBqFuoR7VSHhUcySCc26N7SYKP9tCt1DDs7Kl
FZN3MKforNJcKfG6IJ3Vz7rXT83j/5F2Xc2N49zyF7GKBPMroyTbknOYF5QnmDln/vrb8H53LcNa
YXbndbfGRwCBgxP6dJMilIqdNWpu1q7ekJHZLTMIgUTJCxmxddndpL9Oc/OUSrZn2H3tVrp6lcbY
0fnO1u/sAi9IvjdJ03jQEIgCO/rZyteWSRxb1p1xekXvIYiGZyslm6SxHVqBeq27zdTMkfLR6YAS
yKLUt/SLuArVMfeqV7peye29rVtusQyOPj8A6gSu0Cup3oPc3h91xPnzHaBoA+CqmOp2OhNCerP9
c4Z6zFJ0d2qUP+fzvonXA9hMMq3fY6oW8uwwPj9DvnAfG5Vfps1l3i27FK2WqbqKM8hlrMmDXqau
nf8c8l99Ix8krRdUXE5Vl46cn8UlhgvmLaqhQoygyd+q7BGKIo4q5Dhgz/4Zn8CD+fTGoBAYgRfq
veyVPGZA8WWLp0A9DI3ldbfidLtyhk6/o7HesqiEK3q8LC4QijH3rkKg7K/0bL4fICShQe9SCrs7
cQ/9VAnheEe5GAgyKamtVFisPH7vjNssv9bItZSISBsEr4jFpZyQzIKraLEmJnptPJZBFmbb5r68
Eb+QguiVh/dpVVkyjR72QEIsdIP4KOjQAhIFyaJHnx+fNOFxu9FG9Jhvy/fZgR9LIIXsmRIWoATH
nsfxFepq6KOC3XsuIDtEdwxY+gNzes0WdAEgeTO3ghSE5aRnrgAPrCglPZEaTI2/4xXpGzKQELgf
T3G7n78xG8ESt3PWuMTOVqcBvMY9ixEp8BvlISe4aZDt3MLPGU+li/FXke6CKI6yOVeijJUBEins
6QL+BTMYwtQzfeNuglZGEUCPzxNsqeAbfplQSKOxyW27OxSN4neYTBpIDEqo13QAHA9VWqWuEVFQ
t0d00EivdfRACjMg0/WyEgEanAg+r8l5mF7TlrJc4EYX3evmbxbG40l/bTbKvWnuJLQFktVrDOS9
9Hud1BdDBpprsDU2UNEBBwedL+L6EuBSJ1sVN4n39izS8xP5QJ6woiqWvMoo4jItVAZ8niYsXHI/
eCBqIE4bUl/wdQRH0OT8E6AZRFIXXObOV4Kx89gs0ACxSkeGcnkSTPC8Qj/PdvnMsedHHNRIw5C3
+W5TDQqAMeJ9Dr8INKbbjCG7Z+kCzjqHeKRzRShowXH8MulQVwsYY9nxB+dW29+VEnu5RQS1opqN
xRe/FCiLGrnVHTLlxsgmcM5TJ1oAuNPvpeLOSN6igrqSXbnVGAdyKrklYqhp2syYFdTi1ZMVDXEm
IrP2iVYIlrJ7RbnCyPo8P+TrhE5P60lG5k6L5KlG5uVxcqUMyW7RW3/ObX/IKxA/IF9BfLJaZgSU
neQlyKgbSRNBkk82J46fUq74ZlSzUZrSexV38nvzNn5mqS6Kx16G9sh4We7EKZMmer8539mvgxFr
NV67Ztnkc90GJEWdpr+cUAbQpl0OR1PRzlsiydEHFFYwrVQrkHII6v6plqkn14MLinlHQ21ygZiu
+jRI33v7G20Qf+bPXQXW9fhNRkEMNGjOFL0pxRMUhRWKOddkcCXlXoLyskGgTl9fZnHu4c7aBKJ4
6S5SgBnFwJv1MEityJ0KAgoePL0WA8jq6/eqqv38V1pqONazthFniV/1ZD6n93yfz1xGwOAmHGJG
RNTc9msQP7MBugJzX5PXbefHfsY7PGCWV/xunPTVBuY3oOAJRn6eps+IC5JKmsme4tmrfzLHhHyf
0bvCMXnkVuAIRea4C2sVdG1AbtjD8VaozfjpQfPMm8mz3ywQzon87te5Xba1R6vj7kw2SEmsTgkz
N9G7HiVl4sXNC+a9VK88VG4Ulo8a6PHh/dsr3bzIlOvf01E7/eIc/RLuIhVGHpdDlfbvIY+eoGTE
Sh3I5Be0m2rXELAKnq7yHtnj4g/d7oZE7rDydKsQlKbd8YAcazCA/HPqFzAH+/hPvtq46+oamNuU
f4Pv73QQdPQjuEpvpJrQWEjwI9jhQuPprxHY0mnu8bXREhFGsqLjxUUeQ6/MtSy/f2/ph+ZXIWuG
1K+yxxowwhf2pHM8Wh6X3AAXRoe8hDVQxYHJ/tFgpWzXQCI3biBxhcJq7mAcTc9/g3X+dH5wZJwL
KcYkHWytwk2Sd+197kGnCBIBWsCSONE85snH/MMUX+4sKFErouHsgvCoKul3oB6B94lFFfqTQdKR
GeaTjyr0aB8lZR1l/cG0OxSkrM04Xa/y4MpE33c96HA6Qw6TuETwWgdtZ2z0RN6k9nKx9pPI/wsO
El8G7auxVi3mONItE5dQNgWO0oL9Ha/Er6zIOfBFUFqjVUABicU9QcfUeHcOI+I0KHISOH1dkH+9
h35fQsOjneacAwHoSJJ1CTmsZfjrCEFx6FjoFSanxzqI7Z9TeUjsnSxth+g5xyRIBjVTKIGmOoBY
1AyVxQMTmxdbnS/hAZc1Eq6LtNGi4aJRIxTbhmCGam4Enq5yeo5ATJBGkbdW9Vafs3Cp4g3qc94E
lvgGGF0ZcAKor0roeuhkk8uF3w6Za5mdk0JzCyLXQUzwG6Q6TK3KawdlA/FS17CvLJm42Xxlj/le
JboX6YWvIdwrNeLVRu9q15nu66nqmrPlyXrsSultXEm+ZYNH19ygeFd+B5GXs8gHHa22HCjf3JLR
ZswPBBLd3Vr/BD1h49uJCIDwdeb687PEJ2udFnfQaKcoRAMiuMRbowKH9kuHHbBkOI81CWrpkKQP
zSA5pV24ihVYUMXCRICfEeqamL5o2jIYgOot8sLLpcHvpUu1sP1mKS/S+HthArrc5Vf9bDkRoJ2i
63Gykn50gDg/m6aG0UktDixDUKB5+P+OfXzEnMaTJG6BiFwQ52oXY5imCt1fJFD1luxMyBT/YiBc
jZUpCndGMwQDxqJlijwS52NJVcLTQfYFNZjC8rI9quhQL7TdPHfkYKHOeCsLhRROIwk+9pbP26KI
Nsti4HCA7C535jWowVENEfUhZDomDEKRKojF/d9Y78mo98g054E1Dfpy6Yz1Rnswke0ZZCN3Bm9+
FRMYEcEX5VO3cZJsFRM2eFRGdC8GZ+3rTVdMB9BvO70meyAxcTWl2ZrZawaJMam5i+p4M5Hab8dr
uzWDydwO5q8a0pXyqISzfTNF4yUmdrxCTvDnrDgQxK6C08CzEKqkAH3yiBLL+6FHdxEJSzhvaj9/
VQAumUZG+ev/oVH2o44exUrPombucPCRL4Gx2oHcMQveGkyuUYSzEP39jYbjyRL10Tng3gfDSmbV
nPBtem8NEstLkNY9RTsWrxrPCKZAF+2xKaQq+I36tMC38PXx2gClYW9ixWyYGQErQLHVDd2yGnU3
ukBI/cbBF9nk/JkEymFdq/FpmU35kbABQclXQ/rcr04LzT9hqPpVDI29ASZIEYimapb9/kYcfdhl
WvVuVBFhJI8gFEIfaHIXF32ln12GE70e9CAPGLF/aUET7QnTfNK6ae4Hc7N4pd/+EuKITpaLPn4P
r9AEgoeBGAa2HZkZmojopK8bw9PDdmM4iqu7+S73wfUhDKJP3qoju5zPmbWp1kwKu1KDt2QFIR/Y
atFPV0L0DpstTrgQEHfyeB+Z5JLQCNSeJIpwvCVzfFn7C3MkD2VhumZjudqwuPkk4P1g78SXeOvI
IJeGjtCdbnIL33qyqSvHYQEltkS/1mcM8rXabUH2mvz9vOMQbSvnNyBWltqJwXKTvHxtuvIiNoVi
OCdvzdGyODcx0ZHmNGI2glj3p9yBOPM7O8w0X8geIlehph0RmeQyylyqtCma301Oj4iXzNZjJJK2
m12uxCF+4cdB7ZsYDcVEhOVJuyJgZ1ac/In2l/MYlQ4uyaLAGRoN3JDqqkakeP4Lik4pF/Kk5qSv
jQoLCvmRgEBWN17G6QlQ3GulIreLrgiygtNZyNHn5KKdQUqjdHk/MgFkCvXgr3nMqAB08nfSZ3Y6
zlyK99rukQOsLI1muoZPWSbTo5ysNyqEk9fb85v4lXzzs5t9l+Q4smJLhWG2zErXRsFsVl6HkLvM
H0AVZY8AVlmXkWzdSsYoGO0QGuacTFJXqE1r7/7U2A3obylhs2WlHlE3TeBceIkmtJMXUrDPpo2J
L6vRdrTHTT74rRYkGJvWdD/SRdwSom/HeZeUFslU2rA5aNYTSXatTh6LvBTcAMGTpLFfcfTt1Lqo
BrnBDTBJ63czxs7N6K4eu31a7NRacs4fFZE1zrVobTTXA9tHWu4XBT3Q1YYYh4Z5GctXp5fzxr5y
pnHnkvMf9dLbha3DWuuZnV/lmzy5JdmGSbS9zwpbYI8G4gS4F7+iDrRcID/wLfH+NSMV9zN4J9NQ
4NRzbLHeYMZkuqwj89qiy3XWHAARFeywwGfy0l6W3g6rzmqgppJ+A5viYxv/ty7JhxPT5c9nxpwM
mhET+6o76o/V2rINZbj+BRih2F99UO8Gojzx1MmxIdWrWYpmyjbf3VsHsP3oCdbVw7dMc4iJA39d
rYsGxLNmIdLh0E9dviNzfII4AbsRDYNF9tNi3WnT6k+IlGzjrWt+VJ0U1tZU+ymm3d+KdLHvNXOh
z2ZB881Q9LYvLSsGAJbK3qE0G1qWBcyN5KRzHzZAflJ0xOveBE9oK+2WtN3EsQzqFgCKzNgzFQze
2XOvg8YCOSlgz6tbZClG96Wh2RhychXRsneqUrkr6kLy6Wj5Sjbu5Mz01k5z8gVY36UC9ApSgZiE
l6bNovygFFaU4YKWtW/XYCyqsIEla/To27m+pZGIeEC0fVzAGS3DnKWNTfYyIEsDSGi6H9r86/z1
PvV2H38izvlrs4Kpc+Yf0fRFPWzyVSu5i+JLfKJav2+WH+fNiZbExZd2OZgm5uLI3iojJ5UvIw3j
Wv3dnxnhfL5ZZpNFWeilp9Rt6Ovahlr8/byNkx2D441jKz12+W38v4dFC1uoq5P3MCQJISkAdXjZ
6+5+owV2yi0d2+Qc/2Smczwb2D3tRn+ONiDKCiQwODeXcL9MoFac9IiOB+f8gcv+X+1jNmZPQ/2x
uxyNcG5kv5VkUPr+a00kePnjFXJefi1pU2QsWI3ZTCsr8UoXMyZ4BR9PdAy5ADLONK0CLRfZ90F8
bT+vl/SxuClC1miKRjePHG0T74TTTQKrPCAL3AutaYMCbb+0DgpmTeRACtpH6/ludttH9MbHfRFg
mmsWsJAJvD4P0FqtUpN6lkWuHfFjpfGqTnVrm2yiJr0fuiE8v7uCU8qDtJoYcz5Sgc2d6QPGNgES
FXXPRBY4L0Lh37tkZBbKexnxh/rwZyvgHEgOUFC3slOoRelhWuNLZbn5Mwuc91imJQN9ICzIWrTr
iIF+gGANJ6uzR1eJBwa0Wvq/rz65dex1q6+C0Omi9NJDAvHxDg2bINIwvgmxKFGJ5lSgf2ya8xqa
hon4/v0WNyB4GawgmXLfLivMa3RoW4DNeL6OK1Gzgnk/Pk07tsr5DqJUuWmygGpKFMwvIc9vlXCI
QIQ9iYI3gVvkWdF6JaWKxUpiC2k2cqmHcqeEtHpN1elSimOnMSP/Dw6MIvMDv4hwFmWhOPKmlToF
+M7q7Z8Z4IINXR1kjbJvVmXpHdW1K6MRoO3On0isgYs1ClsGf+CANXR+tpeeowt9k9/NFy1wHN3l
xHAc8Td6q3vnF8au0j8eC1jlnIVFY0lXWCw/lwcS11dtrd8wcPp5Kyez6L9PH8xwPqMgaGiVrHKm
Fy8tWoJVcmfNNrD/qH3Xiq+qoLeUqpt4tAUn4+Rkka2opqWBLcRW+eSztWup6IEe2UOW8ZUig2c6
q4CIufRQ3Q9bsG0I65Lk9F37sMlFInmbmUvdYVPHRr/M286VwRi0riBETUeP2ABpR01YFvauXd40
+qZHF5VyV2KugZh50EeTp43fCcieprr4po6BbdjfB8N0SmMj57WjKfroNCAuE3yj0w/hx6/m/FJf
gRi3irFTysEIQRaNKSziwCMC8Cr/wKCAuvsLfyFKu06/Vx92Oc/UQxHbztVI3cdFCVhL7MyT4PaK
VsYFNDjfXSSVWFmLSYoqOkCn3lswq9iqTh49n99GwbfnE1e9pRBQY8WOkrzJvX2TLtaTqu6SQRC2
nL64f++aznkkQ4lUw+phJx7qO0iq7cDcDhoXwaEQWeGckoqKc2oPsNLb5Zu1kFcooZUYTDm/Z//g
+z4Ww3mhtk5iUjGU0/xDOkQXyC+ji2yHXukzmHDejKA4VC+ZMN8/ib058g0655X6iCjZYi2sXQS8
fGhuWG9sdudHbSOq7ok2kv3/o4SowKdqJ9aKa63padVCFNxu40QAvRHcJJ3zO6OSmzV4yNV9TxcQ
8H3rY0HuKPxQnI+Q5AgQ/JpFEWiwsaHjb8lD7+gh4G9QhXxPsTBLKgyZvlIUv2c+HweE8xEVXveo
Yb6pgSZhSNzyRfY7J7ox9yCu9Ir7gQne1qG0NfzzR1PgOnTOdXQRHaOFvY9WWgaGdRXnD9kwbGh/
l7aa6BqwP/b1Mf57lTzvAWnmWetZkXtyMfdnZBszCj029qa6jDnS2jZQHQwWL9PcAcDk2AZfpig6
FW01jySt7SXOGxZ8Lzut/56giZeE7eIkl5OngHLXGzyUMMMKEx6iFFDgOg3O2UhNr/bxzCwrxq0s
p8GAuUHSWpt6XLzzn/UkWPfo6vMiQVZXVaq+YqvHILkFvzcA0OW9+tyxOfrYM7wFUEBvhPrGe2f+
v6VoHx+aczxdvwzQccVKpZWEc29hZ28FCxQcXJ4egELYPqZAveAsFa8YQbc1v7wHoh203o2X3IPP
Iu2Caks8cV9W4OsMzg2tzUKsaMTq6lV50ht6mQ49SpKv51cocHbvzL1HHlXSsg4KE7DC5OznfPVz
EZJRZIFzOtky/v9XQg5jy0uQm3/2iPNj7y3Y9GyDPeJZUu9rjMgQ/aDkP/5oo3jYZ6bUFhnYtWrw
xCK4qn42RIRvEWzVl9F2NFekmH0M2e52dQ+cpfVnbxuP5GxsdRlbZiHVFS+nuafSx/P7dPLYEk22
CZCOmsa3NXo1bVVTQhyqq6Anplup/NkNggf0pIf/sMFHhwPRtallfRo7yr1kCWeC4RULBDP6qwVG
qDS+MS0h78BJv3pklAsVMxpDnnJgC8Okr+2ADgwzwaiOQs3LxiiHG9+i4uaAIcT2iqc/2lOdc+ly
aU22FcF0AYSmmtRoHqxOKbpGpwO5oxVy8aOUl3NiFHB2DF21emCC2pUbEExDDkoUEIg2k3PdU5SM
akklsm9s5HXVvB3szNEwGjPXQpUrtjtf4oGjZXFBo1ZWKXI/7F5+2T2CEgOim/Nu9A3wEIkxGYLj
zweP3dBrS8NicMmg1zm0J9QCahCp5p8/Eafji6NFcSFk3KaWGhdYFH1YFr8qQ0ZoP26K5w7De70T
k13/qj5mATja3POmTzZr7SPTnEMnJfiGUFJU92nrtZimAGH1tgK7AUitUPCrnfgRiFA7lHYouBRu
7ife8CS8jaJ95iJKYwRfdr3iR9ibwa/vDdfWtn/NfxUMojGG8hOEa6vv59cOUNr5w8QHl0kjE6uh
s3ygo55hRE4qQpJMxh7cNN/smQKcujxMzVsngUDhdcle6vmnMV3X2lbrvCa+VJMXDIhV4DTKUqBz
psiPmwiRaOpNa4cRTyS5UGOorhq6BeEy5uAZ4w38jBT7ZUcvq65x9aIHd0zkRupbCVk7asceBNNX
0AQAI1rUWdBF/XYcE3QrcYfhhPPs2oq/kRR90NV2qWU4RHkCE483gMrBGnfrejU3q1OY+FeHblQc
swEvt3RpzwV4G3LMom0Guumby1rdTsp1N+IPYMIjbl/V+FBOB4PcKaYCjgiQ8JWDO3axU1YRGBKZ
mtTg08qADnTqUxvqa+NDDCL/1Kxe1OIZwPpowdBPfi8ZGO9iO/XQZK0Xg3FdMb8r8m2Rol6nHyJ7
3cTSd9tS/JI+ZABg2uAA1BIoXypQLdA6p0M5QgXxRAWs00jcSRkdVfsVt5lrY5q5HoDZy4fQSmpX
X40NHec9nS2X9lMOHqJswVBmFJ4/KqcPKGRHwbltEEvlDqgqkaboSiBeyJSGGSkhYtBuq/XXH1nh
YUNJRlSVtLBCtXmrLBdF228tevNfjPz9pPO5jKLk1NRrPLcWSS40LfIMYt9L5X+BeB35FT5xISAY
nfQUV7qKMAId3ZnzQa72TXbdWuAFEUoynxwhPbbHPXdabWaSpcOe8W0NMISGVqdnAUNP77TnFeJV
YmjE6cT/w3Xy8qZakxmTzbx28YhuLkRHFeIphav5f6FLq/ZGq1ACiH6kO9EM8snY8sg0O69HgX6n
rdayyDDdgUKTyLNji+qDIgtcwmIatTRPbHEyvh81HqgmKKOdrkIfrYF79MYJFziaYGG5wf23FgeT
D+MWdAkXug+MkvIWvWDG+kJUWhWeFO7FM/XUxKQN7IJF5m5ADME6qqYbbZWd9qz/RvlAtJWc86im
pNQxzqbu60L2xyXyzFWQCIj2ks9nFkMFc44JE6wGNaOUf5961PsxeCq4rEMCoovyQbSRgqiPz28a
1bDjKUNwVC4zqJu+retbodBrrRAZOonePLrbfJ5jRjTW8hqrMw/tpRmsGxrEewtXq3V/A6QvyEf4
iTVz7NIhkrAuhCV7KyGujuZMlu+nKXPX7L6P0JVMRm9UXtV+s4xPqv1qgJpfKiHC01SAXU5hpax+
Y2I48rzrPr3jf79C72Hk0a1vpF6CuBbi7HGZndyMnUpC9IDugNaKxKVOo1XIhy3ulqzFPINHFmNQ
c7tJMabl5R7d2g/SK4SOFbf6CT797fnVsfv+NbL/sMhdk64ahjobAXboGitowCImTZbX5pGrSbnT
rs/nrf1DzP23uffA+Ggzp7oa6kmDufyylnYNxjJ/yI910F0lV60/EPREwqj3KciJwVsrrCgKAor3
6e4j62D+pTZN3sciV8yVXUEoyk6c4oZ6CIHeIBSDpwPYZGEpU2SXSz6ruGikzIBdJZU25dygvRYd
0vTn+c0VHNR3qPvR6hBT22XEBnjTpdla6S89J048QjLTFEwfCL8i871HlmhboykI9RuoCaGgFxkO
5t+7/TRjkgjDD66uO8N9Eoe9u/4Cj5h/fpmnHfvHEeJe4WGtej1m97FfISsrv1S64I0UfS3uEU6N
slYigjNqkM7Ph1/1ZLr9LHo8TqfUH8vgHuIE4BtrKPC14m2yglsYlSoXe0mc4p6pT4nqYv+Qcn7Y
41yLGpl9ImPyGqA0Y2fcND5o1q5SyDmCGELyu2B8614w0wr20r3uat+V/1Jg/PBs/HRSadFmACwO
pdhm2nZ9YEvdpjWf/uho8CNHtV1NhFLsadsSH9xwntEIPpvg8KlcBStdCg3ChFjGXC2XE8m2diGw
IDh9KhdSZ11Pm77D8c7sO2W8lsYHZRGYON1z+PgYvAraitwO+p6djJL85EsowUHR5DZvdtRrMX1Y
3IN2NCjuyl8Eekoi3yFaH3d9szWWqTmg1ak7RsgUcPRAv4h2+UUBXm07rDzQ/AmNss9y5pVTuSvd
Nt2aSxmMduDLAncWm4NLWg+lej8K/hOS5Wh3uZs9UwWKFSpuWoaUvMvDZp2dmf6Zk1K569yvoLdp
UhwTUwMTYgPGROoO0Jc6f6H+IcT922vw0y7zoOtlrYHbWd5Vt7Fb3awXlpfejQ6je1ddUFJKgGV4
562y337ma2nccylhhE8qVVxjG75iAssIGeerotkloHqXdN3t2vC8wX8o234sk7t0aFGpqwyGTCxz
efxLBnkCOd4MbgbRfKLglda4t3OQQDfaU3Y6TJyOeStptVMDY6pUD+cXJTLEXbShj5ZYGXFCVvVn
0/4qJNUBpErVBY5d5EzeGZ+OggE1NUdlpZWMOc/4p/JsrS6CVq/eENXp/XhTu/E3kCBgBBURneik
CJyJxl21qRmRDtVYo2ZHrqK2rlm+xZmA+ob9kXPHkbtqzTLKmWpgiD3OUGKTMceaXtFsDIoxjESQ
VtGCuHC8sCWofxK8L2UNGMjUIOFQLhaRTJAoGOC7P3RK1illwYepxm5aymE/Ps6REhDQ2hbdwzy8
6gZ4ZpKbJYcuKEDQznVXBgtAmrY+hHoDfp/0dcybb+eP7D9UCf6+hzyWSNVkaVhNuJsKug5bKJSG
8jYPqNc7ym71bRTjRTmB4OPyfSFJSjEQxhISWZYcCt2fQml9u/k29Tdr/yJYHnMjZ06SzrkZMyZt
Xrc18PnoDqFgAAnATQJaFjCVgRgXoBVRo0GUUPLAorhpc7pksNi8WaGcoOueBhnURgEpbvcQlxdC
DoWfkHM7+tRIxcSYPIwr1XYAoNJc9gVHt7gEn8qMF/c3Ji5EG8u971PW16aywOiYW9vKbpxGqbwy
KQJVardZaoe0+1YDmmaMEirWYJCzIMNViFhMBMEhr8YC+aZ2bFecpYTWkLr90YgEnISby7kizOS0
CYZmkD6Dj9OfSmjfsdkScsfoWV5RmvkmZnP9+hoToiqKghk4Q9Otd96NI/++yi2aRDVdD1StHcin
OXUGbmkMBOVQc2jVyVE6WRB2fN3Izya5z1kPK1qoEjxuFU9XdpfvM6hk/eu7+NkG93ToZCkLqYAN
8wA1ZBDUjo4G6nZzh6Iy6BmE3TbRmrhPRyxKlz6Dvc5XBxc9G/B7YyhID/tHMKZBTxkz5aLrf4IT
5fMiueeky9UyShgvE1XsAyEXilnsjHV1FqVHmxEFH3zGho5OknXu0kFB1QwHwJyyUfWpgl7SAGb1
g6UavmJvEwV1zQFYu1uIajtLnYJKtRG0SU4EYp9+8JcMrqvVdXlnet1Fm+Uq8hnf2uqyiRuR5z/h
Gz/b4nK5YcRgo8U4nqHG7PdbaMs0TrLLQj00wIT0nxrbnw1yca2i25IKFsj1oHWZ3+DmQNTCgaRe
eP5oCy7slwxyas260oHfV9sGgh8/0kR1y+j7CtBF1CdhJcTcCL8aF9NWsREnGX0nRAYb7R2jFVpv
IMbpQeX938fPnzeRe1+ytS0AC2ROFi2tMoZgH4WOgbQGU7K45zfya2zw2RTnhrISil+zidtTGB1E
kAGMV0PNlre1GV+RRVRaODGa8Nkc55FySPYZhHTdwSh/lZa802UT8z+qp+iro08XHYYhJoWGRpoJ
DsyJEP6zZc43IW+EIsKIhWph9wrvBG0C6ByzuUXLW0NAEcizeRNdmzt99uRN8f38Ngs8I9/mldFW
a9silQ9Z/XM1WrdbjT909nyP14BCEYTtEAYxRlRM4LtTjWdzDVFvCFTLtz1RDeDES/1pS/nEmchW
UWkqtpT1hiLLMwMG6c4dw3aSa+btszsRalXk0Pi8ubMAfMtUa0UWC+IU9QKFPXjPBrIboM5z5Y3p
jZPg6Ah8Dc8VoayrIS02br61YCSkdYDjcDF25SkG9TDDPZdCvCxzkp9j6M8by/maKVX7LGmxsWMA
pm3pnVbI9McYM6EGtMlDUYopuhz83M6iYEaZdDiejT/4EANwiX5nNn59KDLIvSQgcVR9IzsUxFVB
6Hwj4lb8msZ/Xi/nhMw6kqyUPeERlLsqchlR3S2b7ioDZO78PRS5cT6bJsbYItCDqbZF/2eGIFmB
66EC/jyWblOnnpwpQaatnqH/mtNJUEh4776c+7KcF5rKRk7UGEE8hfbUWixuUVnbLitBKn9hqDe6
QoOKmn69/szBLEAoCBgBrRmbxKN5FEgA8ShwXLmSO7Sbg9Q0g3QFt4Bgk76cP9NSdFUjMjApUFLl
McWynscdsZLoep0vpOapMImny/HDZMteZOw63G/NNG86GTFEavtaqgh+AAvZPu0SZ597JTqiyFUZ
g1NSmaAW177KADCVUHSJpId2ebYVCKQ0qydY9JeyBGeU+zRVTE3bBMf9YdZ/NOv9gPQxhpZLCaCo
1lxUybNO62AZcn+Bjk6qdP5qgl4NeVc+1oLxRNFP4UJaJeoro1NK6aCSXzkG+ZuL3n4WLPdLufjz
cvnG/lArTV+ucn4o5/ayzMygQF0wrndlOXpll7tp9T2eS/jyh2Ec/fPG2fc78335Br9ug6Z8yCTp
EEP1Rq7dNMu3FlSBI/tBEbVjBWeJb/EvRl1rkC6Nrm1zo8QvjbmAWB1x6Ww1d/JgXpfptsPA5/kF
fq0pv++uaaiGouqm+v6MHSWUEs3ytDbnHKKPUDsDmjRz2CBk/qjc9r7ipg65QEYp6gF8ZfrizHIP
R4TaWgSSNvswLPm90YLXooquIkgtRtJFjlS6L7418dtI9iRbXmT1foF/J/18pWECXzWvaPwordFO
M7LRzybFgaSEXhR3ChVmpqdP38f+cBFuMuY24NnQuGvbqwYk11pPoGU0hcjlLiTLcqQEueJMAXwK
FaPeCL7Ol/eG2ybuvenSqhjSGF+HiZuYF8olFOF35R0qOM4SmLsxc6bt/NA8nTf7NVPlzHJurS1o
HBsDzKrjRWtvDAh7WLENjeRvRvwyRPeyAlEF8hzVNyige2Ck8qu6hYqWHaYgbipa4gEgvOqTA20B
R7EYJdAEvcnplapQQ4S69Pnf+7UFzv1eziNigL3L6nnMGR164sQvUGSJXL0H0WEQ+RamdhZPV4Ol
dIY0EAvTnr64H0eEc4KG0TTaUMMfa2GPMmkWKiHTDOpEMkjySWf0t533OvLRVS0QM6/LjMcmVyBk
chUvlq+3W0lZ3Uy+meKfQ0Ev6tF4PL+5gtW9BwpHVu1Ek408lSzsLWNbykI1BJhwIywAnH5KPlbH
nvojO9ZaN8qSDjjqOsjWtZ3msyY82WLObT+yeBLN+EAEuPma5n0+OTxMI68tVU41XO+RRBtag3Rw
dONmcFT6w4YcmbUoOwym35RlJSqunA5dPtbLeUDFrBJt6rFe1vYF8IVJBoA36dLcGReyEPL3lZCU
Wyjnx8xShmQdtayDrry19o80Tp0UYuTaPmsq1+5Q2Wk382z7XXRjgaPXqi+ofqDoLcjlLk82evx9
zr7jH+b2kjlrBYip/VwJC4Giw8b5u55QYC4jw8JVYiAMVv5hY4Wi5OwrRTe3G5yDMyOlTZWhtiHe
ehspD1k7wE390JXJMdMGs/gvsv6cMAEdYNW1dKP3jZsptmtPYd5d5faKeAAsxZqjUHDHxgvQ3bfz
/5H2Xc2N4+q2vwhVDCAJvDKIkhzk0I4vLNvtBnPOv/4uet8zVtM6wj571zxM1fRUQwCBL65vLavf
mmP22dAKvJVPan4BB3dNYlPSa/6JuV399pWxm5QoIVW6eOznyVvq+cYWZWfUdtBGV5D+xLdt8m9o
YP9sU63WXZk5MKRNXSy+zFw0ugDyJ/sEGiYgq1lkh6AE6ab7ZhcCsNJf8Zd4L7MQEgOxrkZSXhlN
W6cIGYo/UIZJy8+ZSpqLy5v7Ge798ybXgBKKd6CFHd5kxPRtbqQO7ZP78+ZUZnH0lZ2L+4xZKgnw
EA9QzblftNoHt7yTW1RJ7LCuPOo8aHjCEtxxC6NI4knvuw20xB0uSklGop8Ok7/PbWXLeNaMaqo3
EAKu+W0/1++K2dmWDjVOYu7BauPjavkksa5CkW9IajoZ8latbO8FTfxQyTatftNprc0Kxc4i9TJE
RyWuVLcYsp3eYfTG/EiGjYJJGJbWXgzPHoyZrYy6H+kPU9ruMvZh8r1W8z1HRh4L6aOT+F59ZT7b
hoEZqIL5XBQj0KV1F4Uvvm99GaxdYgHX4JiBxolgDFcQzDKXbAZT3gxlhtcunLykNi/a4DMF6//5
Oylbc2UNZ2hR8yZH+DSrN1F2FQUYYRsOvXqXFgTvu3ZFwDbnl/xZ3vjbmqwhMygYGFPYwJqgnX+d
TR8m/cWhVDOWF032NlSl3Vq5m+d8q1eZZG3Zw1gZsio2FRzw4nlhKCtK95xedeqNgmmh85v8KZX3
9ybXlc6QpeWsmEBFxzu6Z4/GNnQh0NerTuIvEFuoNzj0QtmApcDnN1budE/xlazXJbFp69pnS4tZ
7yK4i6z66LLJbwPind+mxDCvK52TOlh5meE8tV4H+HTyCYMf7RRJlC+5pevqZjQpRa8tdQACw6JV
7wXoB2bD+Mj6bNujFpCQ3M557p/f3M9C2PINLYPqKqMWR5r8d1xqjhzAHc1YXn4yut1b+wvYJyQV
lRti9DJx8Fs2lLh8DwPloh/rmHfnf8HJ4z36ASuHERiWOkLbHXZcewyTg1Vca7I8U7aE/vce+7qP
Z8ojfpigrmKW0BqimIcLUslF+YJT/fCvR1tZ+wlR9F0emnDhCCwt5X4id5r1YgybllAnqFhujwAq
Qe/4iozqDsOIthrf5fW4MRPrktcMyIF9kwfObFR2H9GDOaFTKvq9Xm2TqvM6o3O0ufFyDi6D8sMM
VAwVh77oIPEDDT8Fk50DeQKvqh9pL1V6E+aYWUhvcrPf0y5ToXwHxtq4wSSTYLNk76fDp6O9L9/g
KL/JR82azQGfcXDayxbFFhTJAX9swNlhE3RWwzfucw+saNCMNIAMkVIpnjQERz9gMYtHPwDCH5WG
si4/sBHSe2Nnd9Pj+Zt6uph0tMTKkeRgj21AY8fR89CcxUsCoECuUQWl0BlZuFii+7CyjVxiGWTX
dxURD0lc1HNXssNoGdtp8IPY8Ke4leXfy19z7vau/EZUxPMw4nUcjOpKQVwfFy+a+pxGqasO5F3l
76LhuJahYzbRro3wgiC4HVaPSZdu4g6CRsOWUk3iY05axe8jX1dH81obdK3orK+MaUnPF5mwbCML
S75c1ZnNryuhPZKyTNdyZGas80Rnmi6zZh0JEBN7Ywarb5SOmjNHiOK6CdSqQaT0TlcN9zqDWrvR
BgM4XsP7ZOh2eTPaQ2e4SdNsAuhvclTtudY9hTlzzaT4NY3p4AIu+RFWDZqsvcsY1TdQv53slIud
hdGj23SAAoyltb7WjG9qWL+Wsx8EFZAQ/Z2FB6zqmuQBn867jk569fnzJKtTlswcJ61vcre6ShKv
6dzoatgsddLydXpKP41CCquUeaA1IzTpTQtCjjUeLvh/yfArnD4V9ksdha0MESZ9G0enlwEYiOND
ke5LZbxsMNYK8GWsFj5r0XScKeSxNk17XadSDr+T0dT3say1YHtIvRu8mqxD4Q0oluzUy9QNN9Gi
okQewrvosrmckcLLssHTsdXRuiu3CH9tFoqC1zgnkR9bo1sNwHlV7RVtgq1WXfT1BdGKg26+6JZ5
qI0ajbrHumwd/taqMLnoHNCYOQ3m00twpJX1+ABu8e15iyiz+uuifpU0qRLoo3VQD/9K1k3hKJ/p
PYG0K7mqdmQvuK06C8yJAMpqk835H3A6zv4+pvUon2bFOQ+jcTHJwb64LRyk6zu6gd7S/11I8O9I
yVp5dzVukipPFwejjJD1ezXAvtMYkhOV+Rhr5UdVMRhVmCKmnhx+yK4bzMpDfmERLyJ+dak6/FM+
5yxxndbKdc55RMq8xF1j6q1G9xWRUd3JrPjKccZGI/R0+LLi9W7Zz7+suFR2/itIPmfGV65SoSpL
MDJpHSpF7BT0fnYampgutCYTpxHJm8iswY5Aa++UmA0BN4viJ1R9BRLGoQ3GQia2SQoWw5b34pYY
w64qm72OWc+R1n+mMZyvmVqo3iAqBfVFgzhaa0WfGFywgEwc403bjt5Ym62fmAlxTZwr2CFSw674
XNjgogDOeeSD1yS65iAi9ZmaPBuK7nNNj10+1ZuWKXZOjauS1/4cV8/UYjehQXcmIXabhV4fFX7d
7Aq9xTgqcWul8lWBd5UUdgNRvYSFvgaMXRn7IbtTxZ8UKS+hG764k6raqUp3wRXNHtP8xWTprTrq
UEUMk4/S4hAYIfc6DXeVqd625S2v88eaVY+9ZbllGz1FAUNmZ2kv1LyyJtWZRu0iyKyrbuo2Sjle
Zl1S2QWkPSFrSRnYhdM3Kyg9wv8ENE69jglnEUtXW+ykyxEysUh3Y8y4Rt1oN3EIbSEU3cA/BTfY
PKmTdR/29VWkRXezary2LZ1xquBEE+NkDz22+Vr2xg3CZ9UOlka8GVDQt6BwAqOwKaG/3Gl/xunS
aga/Tn7HJHiu1A8BOnvaNeCMvADJRppFblWWW6UpvXwOLiMRflhm/A6tRg9yrFfm1IVO3pSSgE5m
tdgqIeGdotVBBqsVXJEP6GbshxtwCzjzq1zqR+bX2cpsJUWdAksGBybexKP2mu/KTbzJn8gddQUg
JTets9hmGRpUErOylRkzUQnTigjGsgaHR5irNgrSG1HdS8z/YjjOvPe13Bo19YL1CpYZHOZnj8Ym
8dT3me7Am3IP2iBn9ECQOHhVLw1bfoKu/nYHbGXTWtDoGSNk10ASavPOblFJxzBKhIIfCtVo20Io
q/x3MO8nS3XfHo+tTBxGa5QQcjLWIQuUjQnBUQsdJfzb5hZUxzDeWST59QB96n5W/PPH/YWOO3fc
qxjRyivBSjbxQ9VaXszvAPiMStWp1dLTxhcxHtK8dAbqT+w5m+4IAuHJyN0hec60Qz2EriiRCA57
tdBgkQRoBTDwocc2DJxDkDOq83jVN1eB+tarTw06z0UIoUI2hnZj0AdK8JcbU5XZLAa+LPuMQOFT
qLJ5RYkzXDPyq0ORNrzCd9Xvxw1DnwZGBXNovUN1519UwP/ZWwHg0mKaalnrcVUkTUE96GhBmvyJ
iJuiAeAokeRRPxkWvq7rP4us2wvZ2JaTGmKRBZWITqczX2i7bGdCOZvvZJrLyx38eU++F1sVlbpQ
0aKeWOzAMD7X1tscoZ+p1FBnqaAts6vmRFLiPV2iB0vc/z/DdduB5UUER56xQ9aUD6b51M830QB9
VfU31OOdAbkVSdgrcKfXitWBvckI7pjRb2kzP+XgkoF+sZ2g/WwHhHsgF0K3XyE+bQonRTrfWsZN
ZFGn0qPBQclFuOBrKvaDYlyPY3qdxrXpFEbzGSr1lZHdU37BQFiaq7uS/Dn/AqWfceU5gtrUEtZP
BAZv4XwLnWQBBra25eteK9dVPB24fR/rynmMgTJD0XImEHpCcRCD97f17+KWX1Pg5AlI2ZLfaLIC
L99tk9yWtTG/TOiPa8S4ahkW1cHJtDKxRCkSQVCkPxDAzyjLgGXXd2ISo2P1ILuqwzS0M7OmnmVR
jN80aORGIhm9qW1De+D7RB/tbv5jFMRW2tqZRWXT+UNAIYhpGOfHkGnPXQ3/kxF/NqxxUsLscQIt
VkmdcnzOwpuYcYD8cmfm+K/pfQ8qyU5ZpK0bu4TMq9HHiGmoR/RPgahR1I0bZncquEJYndoxdAVL
ot8Uc7CDrvN12Kt7ULX71SRsJpgT8+eYp5s56d0gNr2ADJsCxrNORrsaPhvtdtJumvZGB+PYmCtu
rLyqUWIXRegO48ccXTXaA8uzNxLOF9ncXQ+WeBdxsUlDA5t/MC2xSfnwqObBdT4AHg+UbC1iibk8
nb0ffaOVOwp7MAWTshA3/4N2xk8kHiTOK0z69+ibCgcEY7gdYgMnCdlV8iKjGziZoh/9hJVXAo8R
CTWdMyhi6m6i3yfGnxHEZhP7df7xnfQM3+us2x16qBlzMqFGBCCFyp6YIRtXXx7vmfu+7mUoHUYS
o6qCja5CL6oHP8kih9e3ZZ1faiF48iCdnUaRTdE/JP1dFBM3TIX73+1yVXjgYPPSAaXDjyhuo3gf
mr3EVp9OcY/OcWXDOMYgaaah2aiD+p5CiToyELjFwtZq0GnPHcrakw6tiQJ3HVDE8SYrYrsJQF1o
6HYwyEqMss+6/PlR4ThDjJ/QARvOiWUHkOXsalmYehJld7TjVTTMVAi0tgkaA8ssZrQt74nXAuEG
k/0gKxypJ0Pio7VWybyWBBAiy3G61E+fO28pVPN3dKwiRzuYH4FduNBBu4F2q3f+3pwOiI8WXlnr
oTJHNQrwDBtv8k3QlYN3a58/LWrjwyUqQFtZ6++0M+SaiXlB/KMpqzCjzUzg1dtK3PS5cNoWzM6A
9szzhOb8xB0aQdRo20fqVhPst9ILx0reJXs+edhHv2D1WDpmBrwI0BFgV5YNpwC1i+DRBEPCFsRG
3gRhOxuDhZEL6lJXhuaQbn/1jixt7rVWTcmBIuMvoqdcW1geL5Jpm5B0HwbXpN9HvPXS/pWT/Pb8
1k8meEc7X72aQCNI4isdqUD2aYA3imPCTEYydPouHy2yejeqRqAbEmCHyWP8K8aM/yG6Nd0gxyQE
qLyZ3UJTxY3hVF3Iecv6IbJvu3pItZEKqxUZjtdvHvvL9leOwi+HTtLCS1ZiupjvM1e5kD3gkyHX
0Z5Xz6gLAEOKiuWr1rWbm49j1fnNgAFInviBdVUGFWYhY9njPRmxH626cuNtCZpiNcFmQaeEWBmN
HkwRpW7MbP42O+xZc9urvQUtlGWy5/xNOh1CHK298t9pmWdjFOvs0Bn2vJndxANIw+teF80a7WZE
Mo2CpHBASeqVvnYhr+z+HGZakqPvX/AFajpyAaCN71hrJASmS91QyJZvAHa7XyZly9vgItzLtnzy
YltU0Q2GZVVlPecMSlRSBQShBAq9VY2iIm/sCUqIbjjrqUtMDqmMaD9p4UupL2Sa865m73F1V5Ag
Au0sBTeBUuoOD2YJK8KpWOr4h60ufUhUnQZAOR/m8E4oCmavEfeTX6q8BraYxnWwc7zS6p5HbDRD
I4zFDWRB3hYalMgx/OJm4SYYbFmKffILH6+2ut8spJFV1mgyTcibNAzlWe8LB5CF8Vuw6wmp1rfs
HFd3Ok9RnTWMkEM6C5kaKHUVNroFe+FTKnk+X9X5Mwf5I7PnU9TVca4fBKCuoq8dvYMYqaK/tlDL
qLRoK3RIWGRWf1lqUOIOkQeMAaRErMBPog8lYoY35gi2GoZW/agxYGg67ZCInHlVqT7UIOqzrYVl
QBnxDtV6fpl1TBo1pfLSmCm1hTE89Tq/a3UtcgSKUqHW3XYj/kaigBAmw1CHEWWZWypWj6SrvgCH
/VCCltPIr+jQoRTLfQpO4QA0PzMRoJI1xw3kdzbmENnz1Dqm+SrSciPqIN/o97yqLvQ6ByNA7RXV
nhcG5Iw+S0TMVYNqxiDuwtzctcTaNIXiZfSuAat3Pr0qOl5XYeytKrSVuHHyaDuob+dN2eL0zn2K
VUAiYrMXY0HZwcK5zD1wCP2v8yuccrtH93hd58iBHtaLSvDDGA2uCU5qC0SVY1j455eRGag1ulIZ
k7m1QGSPlqvX0sdWgYr0PsMsawiGTL/W/sSW6kGJF/CVwCb0txCPdMFcFK8dSKslP0a26eXYj8wz
8qKUQrGboQoxee1v8EkvBrp31MnOH4udcLLN8CRkxBCyVZc/P1o1ErmSjcYCyAUFtlaY28lMwe4d
epLdLWHauUuzMrm1VacDNVP9awgGJ/wQ3gMl6C7oufYK90jmfGSXdGV4KTVSSLsH5KClf1Au2SPW
kExXyk5uZWx7TU+boAE0N6C/OhCXjz2ga7SS5JHL7zx3bisTq0xmrPJBY4dqClyh695cfkQtUIYZ
dfOOSMJByZ7WyX+FyTzDmFA/5ZhNhXr0JkVDQyuajeQ2SNziugbQGKMo1RGBmLIXsz1csR3UUr0U
KnkgCpE7RomfWoMbcxNlLCEqcugpcXKlsVmQ2Er+NgNcJtmZ5J6vAY6lwaa6wETKQUBvSGg55Eaa
YFeJt4F9pFnjcfGWN29Fe8fy3Embx3AIHs7/hJOR5pH1XPOhoYlamVoJV9m6+Hhv2bbNbfV9Gazu
AHhsuqXGn/1aQhDzjs4YC1ReZUijk9WP49+wXLQjs2LFwGuUNcCI4GbZwEnd5vcicYlHgZMXGMOw
qWKnn7JHfxKXf7zsysoUOuZoqx64fFakN0lXXGRxtYPq1T6CggBltT/EsR+VjduUXFIjlD2dlcGJ
BzzVKljwayUUmYzXEl1xpf9z/ttKrBpd2Ry9rutJoIh86FuIt9cHBCuSp3kqMTs+wZW9wdRgT2aO
mU4tLG9zrnpaBhBAnbvGCAxXUezN8BAlMnKH04enW5wapsEhrf33dVHrEETwfaUfaE78y4ldxWHk
nT+6k+1oVNj/WWPlXwc2sz7O4OmAmNhWQDbVxXtDo90A4ciGX8TxZztdim6XCtnSst0tf370GOIh
V4ZxwMqD+jLQ2x6Ei5lMzfH0d/ve3ermg8Mg6tQl9KeQ0cMlsSM1/JirG51H+0C5KdvXVJNhxk/7
pu81V1c+MprBChkquQ1KM3mFMYNrxfg96sJJMYQl+XyyxVZXv1AQoUdWyw/5pYkOlq+79HOhQaMu
CPeSXRfZxa9yH+7r2J4lnn45u58++HufqzeRTRHPywX1m5eTR2J6Zc3qto10D8IWkijw/FWha7Vj
wXhYt0s4pqIflD6X5R8teZac5Gkj8j/boeuCYpDrfFC6Fo8No67Tg3gND/xu9rNLCPX6mOtpnsz/
YCTr++nRtf5xpEEVZ4Ak6yGKmZvz62CWdUdk57YyIKlJ5yCvO/2QFRc10ZwyuOfFKPk4soNbWZAk
smITCirsMFjPLX2IRxkOc7nD//tFo8rKUJBZaSIFOcAhSLV9id5YMT3nce3DPCL9af2OEdmzki25
sht513CVMNiNyrPAZvWo77Q9aMkuMEEZ7eutAaEHWxEoIIhnECZJws3zb5oqKwOSsqCuTQtm31Jt
Pj7RCAQYQMTO2ey0QlZyVL+YJ88d78qEjFqK6a+8YYfEJBca8vSmo4WTE4I5sCwGuE2fA6fR5tbl
RqVvgjnVnGIQow39ZIgPVdmfdkiUPYk4uuSkBSAtnIEjDywUDRhQvRw1hAgC9zZc9ORMsb4zKHdi
k9e72CwgUATcfKFhNthqP5kZmq7FO+ZlLAUIONGf0PxCf77SXkrTwGRFXDI3AIWcN8WohhZWW11N
c5ZBxaAvMTyRQh1Dm3ds6EA+B/oSr827y3yaL0AbVtm1Oj11cRJBSikFcowY+q8urIaLNM5Me2LM
ulBM3WOkKDZGHO1HQARBDuALupvMcVdVBYQZ+r7yAbfJDobWIyav1fd6nu4bUwXFGhFXhCPniQwv
64ICxB3YX1YuLbs4u+vG0i9IfGj1wAX9ITQB9Bxo8CnL7DYJNpn1hyjci7t6x3iCkQ1j3KZUzJ4S
gnNZT9LXoO/BWs38ua19ofS7Rgm2ZoBiAJTZoGOAiiMQMyqIG9ryujNBHFJFSuiPWWO4mskuWRfu
i1DzBhJ56PP9jjOgAUvWPJpldju0pZ2NkwNmUiOibowmqkjgNcq4uKKBsc2AZIya/JmkLzpUquZ+
ADpVN5xWY7ty0U8PM610p3l8Vefm0mDNA5g33EkLtrVWXHRqQ2xm5pdREg5oVIBtohamn8T6dtJ1
3BjdUyoIUXFEIpienAZHhGoCkcD8cwL92tw8BrWMAOWkcTQoKrCUWdRYO5Uog7wuwCH6oc8Kux6p
bxq/57b9TyLHo1VWZSFQ8bX/Gk3pjfdyAj6sSjZd+hYZztsY/WZa5Ur82MmQ52jBJck8CqsGpreq
tgw8DQ7q2YClAZ/KmNc/NZuleWG+59vui5A897PANWWjbDJvsI4KIjWnYdPraJTfjBDaAOuLxN+c
/G7/RKz4fn9vcNTLouUWcH9B+KfJUDWeH6Btey85xvPRDf2Km4+OEU8rNnKMGWM2ztgohlskngbB
nX5DYqfF0I+2Sb1m+g1St0qx/8vI4Kv7d7S4ZhqBxcxSP8TkDepvOwNG8/z+ZIe4igxAwqqB36hA
QlN89jS1Let5bCX9hJNNyqMA56trfLQNVQtimhCcYeMN3uxmXur2F5a3NL/TVykA/OTFP7oXqzAh
7wsypCMqT5qvYwzuWt9ULWbQIg/tYDv4AEKyAnxCdcHM701btFYsCX2B7MqsgoYxLfVAX4KGAB4t
aFGYzEDlVpoXTS1tuEtihK8a7tHRhqyJy7ZG7Ai8D472C/o6I0BBG2CB3oye7oFbTVMdgK15KQmP
viaYz4QMX1R2R6uTSVc0SBwv80L1DrR/FwrzaOLFlTc8lMyu7yEEOFdeP9ygxAjJHeoqh/5R9UZf
Ybb5rrzXncsR1tQjSNvRk2CtXX/yF5bZGcBbF6kvgwuctEr/GEXKVyEVJvdK1CW5fqiiyCmbO5ZK
qctOXr+jJVZhVJ4x0Sndwkngqh/RNt0Qp2ldGvv6tfYL05lft07L7OB6XGY/XdntO13lOfoBK8s7
MDLyvmf6oVNAKT7vgJ6L7LROvFQp7QAlckw3XIZEcWIqyQR/UheihwpY8j+udGVNupREmqohd1pu
I/vT3ULN0l4Io4HCtEuwbS0afRUKwVKVg5OzUsdLr7KPhqRDMVt4dAu8xtDs4bq5EondbtVrSHmN
+8nt/Qok3JhetoDJtKPUvpCzrpwOoo9OYGV8EqpTXtKMH3oBXWOCez7fDkH0RoOg2HMDImJ65taY
AkzDt1kPNwmC+TK9riHup4v7KubOBNiKgVlhSMmUwVUIak3zNkYPvlA7+G9EZdMCMIydcdqbBHPC
rUBXTXcIGMViTC90mIUrrsy0ssPRwmBDZTdq7ZRoq0fGpar9nsP7BtRWOb3M0hczLNz0kgdXPPgz
6b+y4v9O8bi6EStbaIWBNnAQk36BRxfll/Gi3WubHDIostrc15zXD2t0dParx13lULpK0wCGXwmv
J/5IojtjPMzmbxODIMkMmiztSTQfY7NAL5tdm0Xblvtt/IsOD0mR7aYi2xYcCRbqeEi0XIrcxogq
W4GYX5B7YXNdjk8kR4NR9Lf13G7zDqPbhfAGsEkMeuWasIQFNHrE7Ldp7BTdL4s/AKgOhsJrOkM7
9VHr5qt2Gncsv6ApCD8KP58v5v52Ik9h0u6EVnjcvOUG4Fkgd+zb25Jqdjv8KcHVFEU71RReP752
mbWpiRrbFjKyTNP8loJhoUXlnuCJpzF+c0Z1wzsfKpx0NUfHuzJsmjH1UzCp+JQKBmKUwOfT7KBy
Z9dc94kl1aY7GZocrbeyYxOLK6MSFmx1k3m8He6oEjhVtbDkQTmtyXK37Lgza70f65E354hxEZN1
2h2QFYce3P/nty8zbut4MyyDKUhUGPZuH0B9VPMiL6agu2jB4t7sRh8iRgfcDYgVNjIO6pO4uiPr
9iMKLXLSqNrXjMsAVWG3L0HNwNyFj8G8QL+8h3CMFC9x3pMZ6+gzZBkqevWo/5NBBIPNXNG5DR7w
e3I5YxYCgBx6EK7xC7Nrsh8guQBfeI6j6GLU8nEETlQHP7WxD1Rr06bKZQQGlfMf9nRH6PuircPT
vooVawzgMBuPgJKNQ9vIrneLaBPTbf0u2DS6ozoAH90WQDGm10shUBa1nowZj37DchbHezXmzggq
2MnUuBvbixik2KH5hBqLJGSTfdOVPYYVDIIZki9flM3RXvjTRvWUrYwSXvbpVqbYMqkysaCghzgc
PLMmdl8BNaf+R+35o1NbmaQuLIKyqbEMRjTtOpjtGuJNo2gkhyaxfOrKEnWp2hhpHsASmcvYB0Tr
KnCWi8Ae0tIhU7E5fyElh/c1cH10FxJNNKxsUnpoaeZOo7XPtVcr6STpsyRONL6exdEyQmBWc5g0
HRLRGIWNuAepgE3JUl8fdMhUfrLhPYfGuFoPkgcnuetfodzxwhq6zXVIUBpoUfFqr9oBta3krYxl
l/0kIyAGRwydURO68ObqVYEKjEQIxvlBpIgKZzffwKWjQJd4oWtdixgynNpGvapu0j1s2A6y47GT
O+jsSY3p6Xf3/UtW706d6YTOWU0PSWp+qmaymdghnKpthzLc3OHe/g4NSVvh9DX6XnL1BvvJGKam
rOhB1f+YWfKZ9+KpyWXQs//FLX4v8+MNluUwIOU4pM3tMpsSRO3lGL2HNIZ/JiC2YLd985zP+S0T
vWv2l13z2hHVqQxROSaNQGRhLsCzWfJof6R60C44kpGhq0c7cGD90OxvDjMvfZZrm8GQzNMZP+zC
30usVa2yPjD10gBVoohnz6wOjRncaQPbRwYKp3zqtlFFcAJ1Pe8mmijbdJwjV5mtwudmAhR+RYlt
TChyFgl0KvHqVJTZW36vB+QlqQhG0nIW2iMB5K6qi/jAyjEGYdh4F3Kmv8TpeDeJGlA3emOw4q0s
KIh2VDCNJXYXJa4W3FrBXRUgLgFoKTN+YxCo6J4G4ylVr5LBcDRzizaoW0AUJBFbAWyX9c7zB9Hd
8+hunG774LUuJbURyVcxVmXQQB8KMSaRglFQUBqDfnLWZMGS7Ktof7tSbYorrk+QCCgMZlslUiQ1
81VdB+XeYxLKMpwfr2x1B1Yp7zgkajjwXIHu/W9ivGn5C9Xfz/uD5QX9ldeslljO9MhejknCoLwI
fRXSQZ+t2KUNqOOa+94El5QgTog7dn7BHwZ6teDKbEKQ1poyhqfDy17Yor4MKuWigTA2q3TJUj9x
B6u1VoZxMEjcRgRfC0noc+ejWODMfrWb7v8N1a7ly587yJVFVNOhqYweyoHtpncVL9+0T9pudJYS
LrmRzQ7IvtrKLtaJ0ddlhcWs+WbS74W6L+prU1+UMye31GQIANk3W5m7rOOmmqm4JMWAfop1DckK
Fypldh7IEjPJEzZXdXeIE5plsnyxfE6387g1iSzTlK2wMhJmmCYWWbRMFN36VXX0LpXRFkperbmy
EXoZZDyqoM+CVl/SvRQcgIXH84/oK0w7c9vMlWUIVarFAeg+D/XHdJeAyA8sOBsTM9f9RXTVEVv4
AThQ+G1tYiYy2eS+zBDKjnH58yO7kYMyHJ09HKOl0k0QlA5G2mUVv2UT5za5MhVtOVvxOEOsbRn9
7K7jjxhp6UKVO14P93Imi9O3nIK9conp1DUSKtP1KdHQpD7ESJNMcK6aaC3eBKMMbnz68X6vszo6
0eSsGxSsQ0F0MpUtjm9woPLhhSZzEWiC6H3yzt+XL9rTn0f5vebqKBtLqeYSCAekoeWuc8zrHo0D
qBXXLpQUvXQD9pYv8mPLMRE2ZLZ1bS/hK1KEp/whASVa6WEiuwRkWNk+yrCDP+LXLzP9/eNWZpqQ
ccjHvG4OSQNC0QxDZtm8nUW9qRhKAIgq2/mmzXP3/Jn8TM1Xy64stoAWYE9Rsz6EjWpHLepNaKcE
qNXxCO3jUrVjmDigKUFpiD6O0e6n9jJvE8ew3tVslxUCvGHQzSCoxo0TNB6gGBTIRoJP25Lvo1kZ
+jDPmg7y7XhmYngozOqads8RyA7OH4V6+qV9L7My8GEBAmIRYpnGw/wod0qIlQLk4CiF3V73vlzr
9nQc9T8LQn/mb/PR8LknsYoFIz3208mwBa+ua1FfByGUOqRBx/lj/DHIWac9MYlaQMCqfe/nS1Fx
N6Oq5JH9LKT9daG0NdaKiAJiggSr1M+LEvlC4Ggt3I2zg9YERjRLRwr2XbzV//6uNWXlB4JJDGhM
VBBU6sj1bO11ZXILJbbTVrN1cp12wldgYVqROCDNlmCITvuA74+4MmQKU4wunvERQX9607cXIq1v
/6uLqa1hWSUAxEGuwG4tLP/iIoXMJHE+QBzvsK2ylR3necusKStDNNRMH2IVhkgAYaRriqMNt3O6
b6erYDq0liwU/gnVXl2YlQVCDRSMrjouTOuSA2+dfKe6qTsDcSZA+NldFi/Ri5z677yfg3jb32/P
tOpMiyqsSooXICfsPCdOxj7/H2lXths5riy/SIAkiqL0qqV2u8rtpW2/CN12t3aJ2pevvyEfnHE1
XVM8dwbwm4FKcUsmMzMiMjWReFiZIcGrDLaV652Oxesn043R+q6XN525aMBIshFf0UR/TqSYPk+b
qh9a0M/Df02++aM/Rp6CgrzldA/xg7FK/EVJtvKlfW2SEyCmzk0SZEk24QQ0arLmDHC4HPydKJoE
YN+eyFtZQkA82FdqcmsnUOoFeVhRvTdE1r0oceCog/65pkWDoKIum+We8LonE9LI1snE897tf4Aj
e/M/QFplQxc8T4/+M6vjCACnotlryW7MDVQF35n1zQofY/DTc612VDNw7WhtDbVTKfOmVrr7f+cg
xPz6VKpWyciyAg1ogevMHYLJi43xJlMhuAO28MY80D71QwtiayXKO4yt4zl+vv4ZsskQwqu67S0g
TTEZWklOQaKcrOjlugXJWfpgYTuLtwc14g2b4OiVfAUGhlU57rV0jaGv/p0dwSWZQc/NCYnvY5E1
a7Q0+GBHcIoh9UJllNCRyIYk+KFW6WgTN5i0Ua22Rpn7ZRO6JYdib8HW10clcexikp1qnJAAgg5H
yulWLZDDauyb2Xru4qcZm6NM7d/XDX5tS/rTI4l5dj1v6tEcIbRIZsDMWeaE3aMS/rTQrKopL6qF
+xiIsg7sqbR+shqJQ7y4H3XD1iBybUMPVHjkQsWoSXM1ao8FBZPrFG57sJpJRriEaF9CjzMbgsup
FPSz9S1sVBk9qck+Gio0JoAJKbddk/8Ii+k213/mwCZIDC8/fM2w4HmUZqhqMF8uzr49qB/Q7m6l
3GluD3rD/3edcFnHs1EuM3127jhJCp32GGXC5uMQZ7tROY3D9vqQZMsluI8i76YwQJf5EenYG7NG
Q0kpAzNezoWdDWQ5jWcDoVVhIWMMQUowfDk9Gqh4szcI97Wp8uz0zuzi9czjbZ2Pp0An/+SonxkX
vMpQotKkFjCuhgMS1zcRi9x2JKu4l7WNXb4Jz0wJXiWPVSPtQsylsR6eFin0hdq295vtgrqT114u
vyLP7AlBDsnmJk1mDG2JUBUHAnMmGjvQjMKPyQs5xD7E5sAwMeQrpVhnvvo9cGXNKfqy46+cCDH8
QS/DQHmEb1h6II0n9SaL1hnSc16ySl006m1SBEMgcyygMYcnvB45PZrM/ciXveQv+tnPyRDjoTpp
8jo38CGEA0eGRqhmEza/wfjkkKzfBoA5XD84X8lH/zyeYtwzRcyIEhu+wFjPEBas3OyU+/95uyKf
cosGd6AA9nIxANlABR/UGbMWx32OlIWFVhFbW5tKCk623g+D1A3w2Csa2evy4lPvbG4FT6RAyFPj
y5N52WjGE4G61wLppE/yF8LXupswrYJDsmdTDdnwsaHYm2m5hYdsR76OXXaX5m4AuIGDmHpFHDzc
V7LU4uIMru1mwVMZQ8xHw07xCtOpz8ripqYbw9T9JER1tepHycTKzAm+Se+VyWiNDOYUsm0tcOhP
iT+jXhzo76jJr67vWImr/5j5MzfMbNuOjAHuSbPqTd40a8PYXLewTM+16RMcEpA9cTZMWDsbAbjJ
vpX1qqvmHcRrJfnZZRNcMSSGOHFkQGB5wlBaM9lYIIitbHMPnKp3fTzL914zI8QycRXX5TjDTFSn
eyV/NNSneQ632ninAR/L59mJx1/XTcpGJoQ2LBpLnXbwKgpUVRm7iUl9qEG6eN2KZCt8ePWzrQD0
S1iYA6xoBeRIo/uMylBzkq3w0cJwZsEoWDl1y2arM+VeIzeZjk5hyEz0sewBKrO0zOiZJXOuZ1CG
w1Jcanc0bTdxcEpBqpnKdvflwPrTDerLl5xZAvhL11ry4ZrwuGareWN65aFa7rUa7XEyZyRx9Lrg
HcypGqIwwSI1keJOJHGbJoDCbrrnegFtMeaBk04SDX5tnvnT++rLN50NEVppSaIvtZWI2CvDOpR4
yQegL8wUdWtkd0w7cdAXdv9y0wt+I+zBtpbXmNjYbm6jekW5vuvp9+t7XpPd2CKbUFY1jUF5gvrb
jHdYzaNjaJlPamkmjjFUIPPLSxAikw16/8Gvp8KHocchWNHQaL0gBOdexON8x3PT2FqTorhVCBRe
YZfTwgIOYux6Mr04t07qCCW7bk5UN4rQD9GC8sLNlWT0ZzMmhyy3bnOQzoPBD1o7tFlNw7ErQBtA
JieF3h+ELpwM7NE2aF0LGy09IN5DRcLTwm8MuX4S8g0dTzQEn2sLXeO9MoXMSZPVwB8iTXd0K/BK
HvpR0O1Cfd6ZSDl4XaCruzRg4LMBlf/a0PmesfHn2B9Ni69m8O6Xj3O+Gav2gRXUBzbU5SESJ8Zm
bDXwZrwk6JiyEGcYwAE4Y/zWmvGvovhm8edWifxiah19+gni4JvIhhgAgi3L5tQpUnsbaM0rH9As
DIFQDy1zsNb3Dho6EjeP59yPOUJWKykyp6tQxijm9pcGLQKe1SvdSB1b5Z4BxXpWw27ARj8Po6ek
Ne46swNj6NRDTNBS7oLiqCdHJQWtl6HEkmvtcnb98+AT4R4YaVcaYbdcN7Zj5n6vewvwDLEeKJRX
LAcZYraRFyokTlrkQyr1LmDZcvtMunmj1dmNNcaSe0DiYkQqpLateWMt96iWqZsw2gbkre78Csy9
NRimNVWGbZMewWXMZ/6liuqGgJ0LdQqwlGTvrHesp+pGAUvJ7Eb78IQEGiDI0rhOckeIGpDj0ORx
uzRNoQF1E4Qgc0p+V4G+yTXZbSSLX0UVyLhr09CgS1YQ+eDm1vrFSmc+YNNsIDunbvVV+oYueK8D
esaR3RiyHSPcGLlOB4hpYznpZDsdyE8sQ3JByDaMcD+kZQbQG8kxkc1DC91hrtzaxYy2SrTmo+O/
zlfXnfblcMgiVDcIyGNM4cpVdGs08hIj6psOzrJba9rNWEqat/7mYv+0IsyblpkjWthw/xhwjTu6
0jZLCl8p9gTMjCm6J9fXR/U3mYJPg8I0FqnRJHNtzdCujtyKf2PlE4QYN32/68vMnRNQSofbGRls
Ag50VlG/U2W6NdJvEC7dxoyZ2S8P5trrY4eu4p3tjjsLyM8lnFGkGkOXt85fY2ZC3RV13sJoUH09
5lHvlaaXpgCQtLof1o8Z5yuFyYhKZMsqCp9h60CFdHHboGEcfsSbar3QyfeD1xdrUDOnR+m6Xj6A
n2MUoves0TRLTWERSP633l7rUEK33QaI/pUaf4SJEJ2WJCUlR0SUiZpzrls1X6JSgvZb5XYY0TKR
S7K6f5PD+xyZ4Li7WK9AQ7QcxFWCPMeS22p9tltwZ7JSqGwShYCeN2VggOUeGeSyP3Gzv6E9lczZ
5fvgczSCWynbnCJzjTnrjfRY5NlN0N0q4Q+Ev5ILVrY4gmdRshlBzPIizsHMb4+VF6hk1wQP1/2J
7GgJ7sTuE70yWlhJqycewCtbza6aTBA78LUxPYWZrCtPNizBd2glhz7BkvvShnvA/VzWmeiUkcyd
ZB+I4nlhzazSLrAPYjsG59V4EylP1+dNMgxRAE9jEZl0C/NmROptOhculPm8Sg3+5UAEr9DGDKi3
DGZsVJu4nW5oVEs2tGyuhKRgDLbuLDJhglJynHlwIDLCasmREbWWSDz2eTXCwsTDVdi9pfxFswLX
nH5dXxPZSJY1O4sQydCB0SrDqmdBd4iBOlSpDD8hc2aitFJhq+AdCTGWXBm36isL723zG95EITsM
5uDGBRLX4TNXZGqnsjkUvMEMPCMLlwJBa+qbSMv8JMNVOKFmn99dn8XLd59paoaloQ7HPm7/s2ls
9V4HYQDC0GTLng2/hNzx6AZvYOH7HyoRl2OJM2vLop5Zg+pYUJEM/qDxkRmBTIgT+to35RVZkgw0
5tMm/yf9P2cGhV0CwkqNZhQGLZ7dcLPbVrLu9MsdMmcmhDtirpoZ2UwsVg9GXbVJ77I6ua9aQPVQ
Vk0Z2WlzvZsy4kR2fd/lw41mbA2z2tfgqknG8uH6gl7cOmdfI2wdNYeMoV5iwGNDnq38mz1s5uYn
GvQksfDyO19Snmd2hKvEqK1Uw1MJdsL5ZGTbasQrf3rPJ8OLg9G7PqiL/vfMmHCNAEMz0WCGsSwj
d1P7FNrGY1NICoAXHcqnETFXHJixnVQMRtpy3Bgjc2hFJadNMmki5EyzitmkSw8G2KpfWXHDuzBG
QiRxhglvI/77+qzJBiRcJ8gPVxm4rNBwo5j7zLA3iSE5XZJ1+ZIexrtAC4k5H/Xq1jKCXU5+VmxY
Xx+GzMgyzDOfkaMlps2WLp6Y8h8dy+/6CgB2S7I0HxnLKxtaFzwFtQIGn67Nx9HeVouKY5Z6SFAV
oKiyUw8MdZU7E0hkcf6UQ0mT9bWXa9Wh7isnmdAgbZEVhC+DpoU8kpG7NIo9G4xWkfkG+RgXRXov
DE5VeNtTCAtkSFhZhbSALltxwRXVnIxGtwAHlMJZZE9Mt4c738foRw8i7z+08rJcguwGEdPPVmxz
s14O57gKtPXyelo64Pt0o0JlJT5KKV9kgxQ8jzaCNj9dPM/gquDocsaHxAugNzh4VuxEG0Pacilx
qaI2XUo51wobUUDW2Z5hhqekKlZGZjkFlH6v73WJgxAzzyA0q1J1iZf12XqZ0hPp6Q9ugGUhT46m
7DUgGZeYrYxDSBEqOXpGaKyC0OAlBngYGWFoipWSYX0Foi7lgk/fKqYo+axPlbrcSkGyAU9PMLit
tWmnvTnprvrEe1RvQ7/d0DXS3KT7OVdPoXZrB7edtW3sn4DqWY5crUeykcSkpq0jPTwtTToTsGul
OvxksqYZiesigutqB7uesxEWSo3cauFPZgGqaN5f3zOyZRQcV04SZPBiLONMI6j85Q4Ac65avdg6
W123JBvO8iVnnjhlcQEmPwzHKuvnHE/7rn0ZGslwLuOGzvbKckbOrAQ8Q9NCFy3nW1sFFIqYKxAL
QsD4p6Vu/qs/k/bAOHgqOST0YbxZWmevD1W2NwQnU6n6FKAiiZWbmNtCxQAsff/OghDTQGGE1lSF
hcHq74eov7OjzXULEmci0rWbrdlTnHCE9pH+FiRrZQwOFZSgWX/MZGivy1vDpgAlabalii/kIEff
h4GaLcrR9bs6r5MUXduz7Dxd3uqfVoSIpolzkJcXsNKV9p3W/1YUtKAnuTuz79en7m8utU9LRNiE
HXQukwBBfXCT3yL3uIO0rWO91WjQkmfmlqX+Gnp8GhPcRFVWVatDWA8qWc9KAnnDRPPxovWjhVim
GL20BDEjf/yXQxT8BgTSgkADrwreYqMX6R/Juvx5BtUHsUANJct5Xj5Rn4MUnEdT58mAVnTcomP7
HITFySilYFrZ/hBcRxgnqsKCjyFBabn0+byPUVYZ0Q2ETGQPhvsYlwxDF7ixS3amLPd5sd3U/Byi
4DSGgXZNqFpo4QXbQr9FMzluNALBJlnm83Kh8cyS4Dyo3qbMANPAcXxrD5rHi5vkQ5Zr8pjp1Aww
nmJtS158f/N4/2t4oiowNDWnql36DCBu7Df6FqrWsf8ftGOUo8R6k66kwZ7Er9hCRXWG0kva6xjo
4NoYJwKV9tAAOhBAq6Ajv0n1Nnill0sz9DK7gqcBrD0eogS7NbTIOtHohgbte6RL3k9/c9d9Tqng
Zqgx01iZyQyEwkLGG3tp870GlSB9yNEjEOaqx7ONAbnLlETvrdL/ClJANbrGU2O6m1jsV10MrQjo
NRa5Oxr96rqPkM2C4JjiaNajdMDst2brt6DOnTL1UVGJ5KKSToPoiqiZosoKO/1q8nns0YP6GKpu
3jyx1rfxmNpAJMMbfUu91ay9Ut1Oy6mSdYZeTvd9nipbcFE0DUk3G/iMBCUn3XjQgoNe7IaBrHn2
bOnvWZ+5kdE55fR2fZ4lvlGkZbRAjdtWJXZbXYRvZkYfskxyoS2u58oVYwuuqeeM52kOC7Pxbs10
r+cLG27qlUn8pEWZa7DgH6VTPre24KK6NousMMVkBln0OnD1MZJlHyTrpYkIzdpiZpku66XnyVs9
/k6q5MUGBXMW96dANe8V8wStdofUb0W4vb5i10+GJqIXWAHhybLHfBpInzoj6SJHr45qJqPXuNwI
8deeBLPkn4EIFDGMFqs3H9kAWUILAchMIbJsu8TsfBN0iZDjHpGuSG3byUc09kK7xkzGNcQs/BQy
VBUL/etDNy/uJQa6cl01NKJZwmlFGUwlXEfWB7BLB4He/aQzYIsHvECihq45mXAHpaDZD3FNOS3a
lfqEgqvvtYashqn8BETBy6o1qxtHax9nHKgZlC0tdEKNDA7ABAcZfGBhJjujoF5ByYEQAKe6yDMt
EGoiXaYbFeSNELeMw7MyaW4wv2ct8U3aOXZ6awSGW5eFl0YcYjaBH4TMH+rvNLs3q9GrO0jeVY+g
GtzVYKEYKu7YybxvlMAhyUnX6kMFOFyflhu7qt2+O+XaqcyOFX1hIBfMi9nT237Lu8JvMxnxw8WI
/WxmBQeU1apBVIqos4q6VcVLN8oPVaT4MWYMjOzO9YW8HEWcmRPCJT1gzK7zJXP9jG4lMoHT/gh0
J/hKa19HlWvycvTYyJ5Wsu0juKJcbQY6hTi1vM5BgPsYpPNdNAPxdszNb21TSEYpm1PBD83tyAA8
XCpebXkcS+507MdI9RutO/T9RjKjF93C54yKIVJhZszmC6gp2Q7AU83+f3tEgnvMbubmp0XQjEmc
0cWw98yqECQFWRxMbAEARcb7pGYPI1j5CerIOl1fH59seIIzCjqO/sel/1IxshcAuO4M8pREEqmk
D6Tbl7vqbDhCUGSPWlaXSztGB5jWkDXbFNLGVordiRofSMbR954QZT012qYZdc+kJy0IXRt69wFN
15xXvlEjhhi5xzIZa9yyW659mxARhVZrKK2Gb1Ni5bsWPlLF3GRziI7P3z29VaBHqkIh8PqsS3aw
LfhbDh55PEYx61ODeJsrXpUlB0b4ocnQfvv9urGLocjZ5AsuiBcKylcKBlgF2jGYyI5OluREyrbr
Mt6zBI+RBXXULetbluzRDB84sb53wY9QCrletuO1xRI8TT3XSahHMBT+oG/WLt2l6/SQmA4Ezjw5
DO9yzgDckbqlaigrUmHf5s2IblUG3a2F/bl/KFYQifTVZ2Wd+NiOD9fXSTMvboszc8JW1Ma2AowX
gPLAtH3UIN0wHp3ORI2BrOMKPa8VcSdjZ5agfgZ3FVjuHXM+xdno5qmNHpPImYbXZFhXQLNqfGOA
01HFmzmxULVUwVjJLQhrJm6k306QGuX8te+f0Wfu19OtMryrVHeTeHZUA9CbcXQW4uW8+REpeLaU
PhT83Ez/aag7Ej4Z/WM6bEzUoPTWy/noxeF9Uh6nKAZ5701nfVfNFdSc7XE/0tdxgkCV+pSOB83a
Gknsjnbos7ZxF2kNazcTDx7IafXfqLi6YZjjooJIS5W6CAS92Iq3EAL1tfaedVsDsh0JY85oaE4X
3M5q4Kt8RLPxCzEPdXZUdXwycooj4t8xYk5ctOsZUOJeOxna44y+hXTfBPdDVviN9tBZaHQNiDPV
EBqvAy+tp20Z1yC1i7ctynjUfOsGJXMKfkfo6HCtR+AJ9BO/LeeDyqGAW9+l/W3cPDXQSqsgbMJC
ClHW3M2I9Tq2tdN1gOX1443RFYimXmhzZ9Wj1xvmLiu+DVbltJgRs3bN4TGo17p1X+kh3vv6qqWV
29WdQ3XmQFXvbmjUAsRyLwm6nK3ecoIy+TYr/b4pQVTDoF7j0ah7YWnwrid8s8AprSjbDgQ/YROO
QlFQ3wO1+0RmgoFEv67vXNm+FdxZnJq5qS9pBKbWmzLXndmCXXvyB/WU15p33drlrMXZMREcGs1z
XFsVzOXgCeZbw49WQGMYUHm0ncBZEnpyxOXll8mZUcHFxe1EE7pw4rT1pj/Ux6U+hdFiqdx4JXu3
XgyozowJbi4rVNtMli6VeSwe5uhHjmdrFawjaDMhMHA6kkocuMygEFJFaJbsKEi/ERQPXt6A0CDa
Wom2o3gfF82jqm8ka7gEMF8c+ecIRco1ZcZs5kuqMrjRVnw1boIN22E1QVYqi04vhjhnpoRYKrXS
yNCX7RK19NZsM1edq5dQ//kvR7RcXWd3YGOaAHp0wN4H2kutvpP23SxfungzFqqbIW4ceeZwKHMm
g6yIcznqPxuhcE0xUFF0bOn4iUBU0+y0FQEG1/Rm6pQQBckABNY9OUjh4qV/ZlW4rarSNsNyqRJr
xUtTfiM4gG2ru4b6dn1ml98RtwolmsoMy1Y1woSTZ5Yg1SxLTOxg5juN9pu8iyTx2KWhnJsQztsc
RzTP2h5vJeN3QFQ3xTuQNgBjMhmuUGZJOGhabKX5VIPspyz2qb23eQ0htEetlBIlXNr1Z0P60kIZ
9W3Q5N3yBHtubOqHPCzcSI2njZY1v2gBVLZBt0nftuu0ILFL7PyY9igdKM02Vx6JlLr40iVx/kHC
MQx7LWhZiGVM2HuelsBmH8j4DZLtTdatr++Yj86OK1vGEs4iADuVOc4gKqzK7NbMbRDgRJU3Dfpt
U4agpukGJ4vSx8DOvTQ+mfydFaVLFFBoWnu9gvxRTfcBi3zTeGv0E4mi26yh/gwFyAnBDOFoGkhl
jbUX3iEgdzKoTnHBa1SkgWrjpiVVyTiKN/2BbPoNWUebVlpouLAv/jAjnKaxLEOT6bw6ThCL00i9
5jXE96xY8uT7KLULS/CHHeFIkdLKA/xxVJb5KlIjRwt/14St68JYVURbpXbj5mriBlDk4+TXkNSu
Zk9uZvU+yuqBbW2T0reyp8RkvsIPOR1cmu1p/2Po922zDsBXpcUb9Io7fGBuNR1SlNlAmu7V0qrr
xYDjfOsK/jUfclJqDGdpAfYoDtuzn8GHSAIkEtr/Rfrlwl7QKTGoplomsSHh9uddMigJhbpfibIT
S5zQql7N8hQNt22g+317F5g7u1t3GliOktdBBzTNnyGqYWqz34O+XeuBr1MNbx5KR7NTtwbnYhaA
IsVWQLYbBe8TQ5/N8NA3ZMU17oVMlqC57OQ+P3/5/9lVSG1rLEYOBuGAUVdJqTNaC5wvXVU1lxz1
i3ff+VQJ+5lqyaANC8lePoHJzEBdt9D8ogcFxYhsV+m1ppvP0mYCbflZYXv/sUKCH89pnihQ+1aP
DcTgwHqRARKonXq+tus7lk8OVR475MOCecWCCejPvWmuB21ngNyxNNKX6/7uwpk+/xiRtbvQp86M
6hyuNTuUBQp380Ogb6/buHwL/7WmIs11qRpZURAMOGYQuqKgy8ykALqLNgz0LVvMooYlEpw33Cij
aYKNUottSGRCtpmPrpGZT1FinrLsfpwS10oCNw6NO6slbkjHZ9PUdxkgoteHe/EEfn6KOKV4Oqdj
CzajY95AVoucBrxbe013GmXelvAyWWu7HdhTr1u9eHDOrAp3ZAc9xwkIFeyqyIRiZOMW3R5QrY0B
csXrliRT/aH6dHZEGcsTCALBUkWZ3xmjV8hugI8GkS9H5Gwwgtfsgtzg3M7mo8k6n5mq5rRFo+zA
WXbMdFBhpuS2rwsO8tMZfDEceZyBdI6q4eVvR+pLzczcGfSyQFM+MAdj+BA3wx2Q/vtCo6emaLcx
2IWcerAaN8gaF5lvJwy+z4Tiqb2LNO7UfbyzdBUq5htzqLwW9ZRRibZNCSHU4cGq37mlAJgZ3ueZ
5dtJemqq1kerld+Q4qSEYKotuGeNyIbMw+8y6NBzYMVuAc5WirzCUMC1dgRSsGiLQaWiJt6c5U5I
G7SFZ5AkBZiEdQdDYYdOvVPiEXsmyR0y8QatIO3NAAQKgIZ66YCESV3BmWyz8j6IIasKQRhW3Jfk
ezo3AIAzTy+b1fX1v+gyDGixGgz66/qHfztbf2KNpTbpqQqurm9gQXU7dVUNksD98hn6tCGEAFkQ
0ZAOYGJMkKwa52+6/pDXg9/06z4EhgwquKYM/HD5AH2aXD7pbFj5ULO8yDIcIHTI15HTRcEt10M/
CGTNXh/A4a/b+y9TYnM5lBimpOARLrn+OHXAhNPczUFNHvdHTsEL0AFTRPptTqxVAkleHZzz5bck
/2FPbyOeSiaHjG/IHcPC8zDx217d4fmTOL3V4unxWnF8vPpMSL5F1UgFk0DhkErb6GFxp7BkHZBk
pdnFkiySOPpL0Q7RqU3x1oKkFsKPP+ewnoxQqXSzPHJlFXTQYiveAcjyaT46SvBQtIeOZRu13CfQ
VkvrlWXm/+BO/+MLhI0DzbhBtXDwTpW/EEUb0KXKXWREV9UBPFJOdKdIGmEubJs/DArbpgL7IKeI
RI9FDbcxPSkt2ybKLbVCSUPRBbd7ZuiL3HtdIhlXqLSE1nt64PqaGp2kAWWZm2vbUrhCUJtleJTj
0Jn6g0kGp8t2HBlcNrx20IGq7Xxz3ZFcjoQ+PYmofVMTIxrSFp6k9QZf82I//WW+cxR1vPiQgKR6
icJW9hbFR95JGhIu5ucRKPzXi4loBbxwkygsYTvtuFcgOwaEmoeKtafM+TobvzfZiWo/Ve0+G6MH
MsqaaS4GgZaJEpXBoD4uivFAqzupx2aaj10FCfEhPKR27Kj6Xc6fe+3/raGEhmt6ZmzZw2euLSyG
AIcfJXmQHvl5+lbRbzMaB66v5oWD8IcR4eyHtUGxnDXI7yfwqHZbvZ4dxegdiqfZdUsXa4Ln4xEO
OXg4FTWyKkxezR4ya15lulHfWQoI3Bot/ZGF6DmgFTi/LKOErqCxp/l0rFu+DZWeOHHUMB+S262L
Td5AL1Kv1oFmumr3T5BK598p+IYoL6uR5OOMYH5yjL5wLIiex6MsBXV5L3+urwiSjydNG/sRaBXE
Dmu+WmB7ZI244H+D7S0ZkC9u4sya4CbM0Y70OETGa6zG1VjfpPSVt8E6te8YayF/jhumweFlWuEY
6mlqZHjIi3RDZ9PKhBSNmnZFBj52dMEwCEmEP7PC7bpjmXZ+XS9sOK9KjSQNUDWSbSc5syJmHsxU
pj3G2OHFwqvjB5jqyMtdq3V17gC1cJtvNT/xhz3EzGWucol4r036cjucHWHEYkqkMhxh4GrWA/Td
gCIC5z1b8JnPMaqLK1mL7kWiyPNpFjIJekhR8uE6gvAoX7flTVr/LNOj3pPbLqEg40nRF9KWbqtA
LBS9N07AJ9fs29ckKN7MkhMHCgn3jBneZETQ4US/Qz6/xLrVra6vi2xZBO9msjaotA5TY9flqoqI
M9e1R1W8gIjmlZpM/+7CPXzu58SccsY7k3QMu6BRt5EWODGRIb8vFozOZ17wb13W6Hqr4TwvFY6F
EnReA2eE4tQ/pMU+tyX4qI70I201Nh/BI++kgLT1xq8qPMTVG4t+oTQPOer3Qek2rd75mV05XfFb
z2WNbRefFJ8uRcw4B1TRBsgszUcC5rCJ/whIil61u+v7ZJm1K0foCyphDhU+mQ0WjqOqPGyAJUTU
TZ0kNDYx+92hBn7d4DJ11wwKfspG40pGNbh/lYLNtPyZxNaj0ROXtBlEi1+TEvVhO5PkASTb01oc
yZmjCII26ccM27MLnpV6b0l5Cf7mtrENyzQMSkwRKaVpNYr1FZvQ+Q01eadY9Ztu1WxVB8xj0grc
5aji05jg93oVuqdRC2MWtLvryE3jyk+hYa3EqcSNXIRug3ya2QbAaRYjQgAzDMZUoVtxOipsW6O/
PNXaNSQ012H2DHZq3GXMV+3emWN9k6rktbKD+7BP933/GgaNJBQ3vmzWD6noTyFB4VhWcRAjxdJD
SHDQHUO7M0fuRLhrldEJ5td0PnXKfQXw6MRjRwnBHK/FyJH8KtvJM9h3lrwiW++i22OFnPdMCzcN
Yr+2NrRK13n0LU9HpwXfGhlvVe3IgueWaa7SIG4bnxH/a/FtmSCGACbVaJ578ymptwAouWiYeO+1
Bmqf7beam2DEActqYw4bI5sfr5+dr62uf06AGNNMjdIpQaLaR0WHtChIM6cwcmvkpLNUdUt0fqHI
7QZq50AW99HM4l1iYLBDiBLLsbMDvG41yXH+eiEKnyQEPlFdQucHnCnHYceO5a35Q1vZR/YWoRXc
7U8hmJA6bwxuJ2sTbXRv0T6WISC+XHXCFwgexWzLcgxHfIHZzzdx+b2s7NtMQfAxnxSZra/nXDD2
xZPYM5vh648cvRHr3E+83lF+zHc2WKGzG5lI7teoTjAnnPRAKYIqIDAXdaAgQzOuSgCzKg+4Zgel
d+Mp3hZxuYlkj6OvFT/BsBDnaGk7Djjg9hFEnbclr1a6ggSKMvmBXe4M/cVQfk9GAD7BArAW021o
vLEbryL1viMlMKqgherpzgZJYZs+WgN3Gd2XSV46A3jaQdhmVo6azZKA8CuIVvhqIeohdpvGeYyt
0Ph246uVO4ELMXNG22HHeRVuugV4rbpJ67wtcj7hc7Lps+8L85LcSX+tpAgfI7jOeRjMtIy5sUA2
akffIZdlAA6UruPSmZ4t2JZDyL76a8GoECVl7awyKy3tY5zea+0JJXESBm4Z/DYycGjPrcfSHgRh
ndNH38buPlB/6cN8V5bUu+6qvlxRwncIrtroxlZPwtw4knZXJ8cyKPwUkqWxrP7/9dn7pyExSoIi
VEPmFprz/Yo8gzk9c9AA72T3igtRhv8j7buaI8eVZn8RI2hA90rbbJnWyI9eGBojegsSNL/+JrX3
HLWgnsZ8ZyP2ZWMihAYIJApVWZlhEyHSDiZoBW7SKUI0EMySj556KqUzk+AeTEKJ+uboSnBlc9Gn
HbtzC5qI1LlmBjpz7C87EQ3na0sQN3MO9zJoFKbygMuA+t1jdtveKPddyHaZa191NiTFFk91Mo/+
QILPT2pHxKnSvkRy3PgcFDKK5l8okVqHkqSuZWcXizw/TmbDnLoEOzKNJXAxwIG6Ru7G3BFtnt2y
RyuGLjlxTDwFftWpOT/p8GuC9lE9OVKevCT9umuGKG2MB1j34SIj9m1Wax4ovs4yfCsN/HHVzexr
U/uGvivdWevk29Kv3+S2+rGk9R0bC78z34aivZRsUfD6JY7kpszBcYU5xPbMrEO/PkI9Fg84Q3Bu
RCNwuJstc1PmChAMnmD7QpJCtVMSwZ399SnFTYODyaGn1axZJW4VhCqJ9qyOlW/3s5+h8SNtmWPQ
yeus18SQDlUllODY9uWnFwA3OoeLtQzSjKZgdAVXGtIF806+GUfnH5v50s2eziORKGiyOEgk6N8o
QcrHOVnBgFB+mcz0FCgD9zN4nAv6g1h3WGU0IkgvPTpnEogFa13qasCQBk2qRf77/A/aPuGX+du6
poHqrMHdhTs3JWt6o1hmCyEmOIHgWkgPxMgE++g0OhyNwm3VvJ906HLBQ5yE6F121fIxhrPFFNCr
TbkRt58LJm6/JwWKvy/lN+i1iK/Ak5HZ0W/gN/M6xMBm1T5U8+hO2QsqOxaknFvrdTEFqWvRonJb
GkQVtaoLzTq0UIfUJ4gbk8dcKgUsnNPX69GMuL1LlQECzB1M2qlfMqcHhwnO26q/yZcvwVI86Ouu
po5meX0oynadhNujoblt3Mcqyait2Id86QKYr3Vd42Za6WWK5sKDFC4d2X4tTPf8Zt3+6rnNyt3j
NuzQ7IXiE6bQJqQUhuNJ5armT6sLNHWv5YJ6zrvw+5nx+CogpUusLFZBDlUe1fF3cyzctRwvOqPp
fTziPVpvthyQg9LgP2Ojj8WcgjK+tJZgGPILGVYlea2j9HrRloq31ncl0R0DbIZ00hyGKnMDd480
KwWrdDrW+/g476+kowSDXq05tPNtYNpBdtH/tk92ys7y1hA1aTjmOWKf23dtinMrxV3/KxJUILgN
1mGUX/R+8BscYYjQ4pzd97YKp/hB2i21ETF1xjtxg3aSFUhDk9mC9jjLfIkxb2h0NA3MeFPkUhsW
I30pDOseOul+a3S+Whug35PnGZxUyAEY0Ma4HvvLUb+MaRqhM6GQCdp9MxhtGL/t/jcpG2+cWEjr
9MIcbf/8Vjx5NR6tMY+bWUlLs8HZK1kW9qT2YkWw+4SfkQNNY5H1Qu0AmtRXghHC8YHW7ho8GgZ/
9Scjal+SwBLsHdG0OJCc13bV+21aJirVQ227+rw7v3ACGObNFpJCjuW1whm2ABlS8U3rDgOy422/
+7/LgG53+9E34vBRjpc46cbOOlgWFB7KIoKmItLks2DNhB+KA8Mp1017HvC82HQkVBeqgsTZKISj
10X5BRrfv4vCbeGQHBKq65pV9ojvpDvtpbGfruEIh54FA+rgkCPeXpAi3TAB4vNSV4XRzKRQsRvz
aIgoQvsiWv1yL6ppCDagxmVw1oRl3dJieygUlAnm2BBZOL8BBZczr201FtTuGFNxOZf3FG+iZXqb
M2Gv7vY7zwAin4JtVSgiaT0+kLzv0VrGoKush1JoXCTCBt2T776Pbc6rVhU16ZV6wpdZqtWXljEo
dMXN9cTNCkF+/it75POJeqfNHN0sCiV12xl4EMwBIvMRfCkvDfCm9BX6XssUCzsJrnxedh88fdss
+hoXS/d7ofK3VLqYIKMOp7mmNW4aQxUdZtFqcqBh9RqbmhwfjvrQV5MO5T3x28Mme7pZBKewBvpO
duLoVLTvOQxplyxPaa1YSE5QXHW5N4PscH7jC78eBxpyAX77QvD18giK++gb3FTcIPDsm/H132nD
i3CK17SCh21RS3jeYTWlw2J6Q1SizTJ97C7t3tlkxsWdK6eTMB/ngXAQ0sjwVdKl97xb9arqwQi2
VWXU3ibaTiItJDRahuehMBxz9tbK21hHkqcIrKz+EJ1bpikrxESTKfczzEav1Kp930hoNpk9U3WG
9Q6WpCFK8B4FQ8i6mK/EQH0a3z7G5UKxsVJImratdmhH82DmKogUy3OtCDWNTr6c7Y9xuAio1+oK
FYZky7WvgeqXwXxBok0xAt7IxnUjKLf8YfN+DLcdoCPoUY1FgadJtT0hq+vN0zr1EI3fzi6N1B3E
HgSH5fR5/BiOC4TUxpQLlqTkUJSFX6GWn2YiqDkdCX0Mwb0SS0UfTdls8LqAmJDc6D5LFU9KOkdp
Zche3J8//adx7WM0DtemmepIg2I0uVf8db1MaxTGQVjXZsGzVLT/OCSr0cgfWwTRUJsxZ+jf1hja
65BaPT+dPyDLx3w4MNMyq0rQhbvhtKa54HEb7qapRb2hdGDOFDtzKDajFOwKXi9iKtZxAksJc6te
puznUon6hARfidfPMhltp3I7VFWpBHpJA1t96RGdVLGIIy46UDaPE0Vl4O2JmxVZUC+5UBz9KfVs
N4vMsAkKS2iO8ock0H+/mM0BhpEl85pP7yFRAikZbw4ICke1r3lNaCOGYOMt/YX6HDJBDi6Gv6FS
fFF8e49fPn7C9n2PQIRIE5oTTIDIWDxBS8XTZNXTCfQpYOOdFje2Crb3XVI9C/aqaFgOTMAINqTJ
RsiJrnJcgTQc3vu/1J0oehZ+VA5ThhTNX6SAV4CmTT8ydcwD+O9sOajUS0kdWPXwtmoJ3NBM7Xoq
LRDQVclRm85tlh+CSZ+O3D7WmgMcizKLFAz3UHoJ5aM3RFFB7oHW+GT7G20UnSw2eoJRDfBmwdUr
GplDIFaAb63kjXZQZ7DNFkl/UTrolI2ZQ/pC8UZ0SNVFFgjmu23frxH/x3w5QEI+CIGAhVBnDvTn
Clk4CFs5TTT7OWgXYhfBkwBoyTYqaLJh4e9ym2qcClIZdo371+0el9mj7ur0PwiMiQcLrVE4P2J5
v1OPwOMxue3V58XIltzYNrLsbi/dzfT5Dtzx/NAqLnyG3Nkf4BriDbBZ+p4/LMLO13fGMb/Mxz+B
21ZrB8l+BV57B9j0ouQBIRlo9AfpCgwzGtVTc/ZCpvytzqsbieg/iqFdAyj5S440Q3bBgAGNA8Hk
xdUrXBSDNLWOVK2dj0fN4sy98VrJFh7xDF52VTof0rycrk1k7UFHml1Vu1TRNNynWmhAAX6CwMZA
f8BJ9OcCaQdNg1RHUv6OZekXS25t1IS6ZqfrYG2N61DtxiyuHUOTnhdYqnTsPutw/LSLtWJupZNg
qQx/VtSA5TAyamH919kXJpRE43Yvod6+yoY3SeishWogSjLouLQ8e0ncOkn2KhQFk5xF2qKEaDeQ
0iooM7wBGxl/sYJcV1QtSqTGk5OplZ9s8hP0QrKvUWq5gErhDdrbiYN24ge0pERqZ5luU0JDRIVn
m5TkUWcpfm+vu8l4ilm3Uwm67jCVuLhrpyuaIZDvlYulyyDVEWqA0MpMHGpCp0u2nIo8V/Ktkd9S
ejtNb0S+ro2d3V9b4+TG1T0yNG94+Lgpnvmx8po0qIboKXPtSbsTnM9TIHy8cThUkGcNiN9g4+RR
squgLUMcqK5H4rL3qQDoeCAOCEq8WROD4Z6TZsmbmB2oeCi33dv5+QhG4UORlDEcBRnHP4XeWj45
K7tEzHV+DNFh48MRe1g7qxuxZsbVcltGeqD+ZhFae1/yQ3wzgEPuFFedN3nqpU2c+XfmGYkj1DE9
9dA4Wk8+UFk7SKqgG2cDOpzMxzqI8Ygrr2OH7CZhIVu0rFyQYqZjmq0KBsvRnJuOqgP3YTTr3Z5f
2A0nz4CYzcUhXdWhAXh7zGjx6i7gQc3GfSa9piLtFtElwWtRrTRV4cGKtzAJ1cVpo/Q7dXNEeQiT
aQA/E1/sBycck7skFIKukXx9f3/LLmoB0PxH99yOObgd3tTAhBKfUK34nTR5bkW5a4HmhTTNcGk7
aMpbmZQhAUMW6ke3DZRPUFw1f9O8NwOrLyD61X7Pc+kKyovPtTynQT+qrTvBH9MyVrQDqvNNDLrY
oqhR14DGDQtXa3607DJck9IdQN+R8l8JCETJdaU/mzmKG9W9jrwrUWaoGkV0Rj+YhP81HksDmufS
96be62bY1c9UvipU4qVF5Y1ohMzqSNX27czCTr1q7PsJLBlUP7S1R2u34nTzQUfBCA83xyhe9eS1
LE0n1X4V5i3DtaVLjzLEkCZk0CdnyGJPrdadrLLIZvrVaPdviv2QZvuuL/Yz08aAqcsVhfLLqtDv
Bm3DfpZfE13xz+/sE+V8W1Fl25bRzmqAPsWlPVplTbuFlBJO6+SP15vWAeq80XolVvD6+hr7PBT3
gknrQk40iAUemirZugncYhJxLL4e1M9DcHCQrvL/nw3Jy93Irhb1TYYHp14Iij1f7UzwMjkGOe52
Wuu8pCyNNST0IaR7W447Fcn828rvrtDFDzEpnFpfQek8SHebKW35kAWQrcpG7DV3vbKYw0KxnvPX
Ff78q7irrCCg0yWLpB1qpdnl65WZZoK8zkm8VVRdITJRDbBpP7/IrB6xg06QvIYmgruoijMheT1l
hmhbnoxcj8bhEJdKjTHpDV7uJCxvsmu0dA5wqk126MVxJVe967Lwn+AVvsTiYP0kg9E6Gn5bhuOH
p6I0U0XBhFND++d8sK50D/nlS5BUX2eYyCZ+4SohLYLZ7V9rR7/qov62CqZdtzt/PEXLzWFzm2hN
Y/fAZhjz7Fls+OgSivSmDs4Ps6HtFzQ+mi6HxnM7WKVuYbUtUF+78goiDk6/IuDM629sbQWjvXcC
nhuOOzxxKlmLtpFuBw8cGfT7dK6ioENX94flbioiyQlw7aWO7aZg5JUOhdFzfjubF5M+uIw6Ym1q
0TpzB0eyUtSUdPyiBLx0xuILdBg+MFPQ2XryuX+0rYwt5j3aVknaNTGbwXojYR+RBwhEwd+W+fJl
7+Z79Fw55z/rScLx8XgcuLPcjNWFTGDZgSW3r6DNloRsnz/O0KASC6UJzqzB4TvaOtuaDoOG2SU7
DQyGLCJBvhcSJzeM+bx9bLhgGIpu6bZsg3b+eRV7UqVV3ACD4ofF3Xi5ye8CqYoCBdzWqX1I84/R
+YU8gQefh+SmJrdSalYwzj10lXpLtWVnJ3Q3NzX1C4YMlAIGWsuizJLfsOavi/Q2ssaL2aZKCGUO
mkle25qXs9pEEo2DGTWjQdJq18htvyhQ/k3MBz2X9vn6fzffNT//cg6w1aG0UXnGYm33+2aX3jxk
eErZSBrGiSMsdIu+DYfbiVoWoJagy6L3UKxB2r8gToE6N8LmywZNfEKCnmhADqmREYyrtJAtOJOa
Dk3vu7S5bvUC/CpLup7pbZLIASSLNLaOjgE3nUF76gdRceXrvft5kTmYXobJyuIEyXrQaeIBGW66
iDBz22HnNj0H0Try56a91fPTCP0DkZ766ffa0y/mXXJZXea79mov7ZuoL2EcrbvlPhNmk07A9udZ
8rC9LvYybx001svoxv72vMtvyLcFnCVkRixnBYsC2mWLY92xFBxBBXyD9JtIjflEoe7zz+CwOrbb
JdULrISMrBD1k90U5l7jFu6ArAouE+ReMLS8U4QkAcFe4ztomtzOMrhAbIztZEddSIKExiX1SNDv
U9/24tfzqLPtmq+f3NZtAhV6wDg30SZrVDJCeeEgDdo+bky3RtOEXkL3Bo3Y54f6ev99ipt5+gOR
jXai2yugNfMdTRYnr9pIKzv//DBf44zPw3DoYFupZtO2lQ45mxylWW+H8Zc0T16qQYQdJO7zo506
lUdPG579MJRGv0h5Yx3sYV/Zvwv2dv7vixaNO/WW1uVTOmHRYpvuNTKFyIL5kAUOzw9zoo/n86px
Rz82s87Oc3PLhNHrTfZ4cCC1cy3OhIkWjDvgplark2ps5I3meqWJI+f356ciGoDb0audJWaV4otQ
9X7OBr+AWvG/GoEnMGAh13mC3t0hXS+T9t5CEeH8AIKPTrYpHoVwddLAtirBxxing8VwvyF5Wmsi
Xt8J3jl+qqJpmgWXBwX/fR4mS2Iwy2X0bpHQfNbYPkEb3m6+qCBDYDy3S1RfS/utO1RksrR9Yh5z
jsfdrqGj6fVgMMptnaMLj2ROTjtXArWTjI3HrAXCddSz61rwyU4C+vGYXIhSxCUWdcGYOcTX49Ty
O3pgauqQFi1ImjvjMutqWF7Mfj3CnMP6ZWS3KvqgTE1wyX6VT0GwdPxLuI8Lp7BSiTs0rrU2qu1G
yNRfbLha2ks5JR7Nn1bIGoKu4bUaiFRUhdIh1PzMzs2heGJaF3oqUkg4udt0BeI/igmHR17obVzt
NLHMFh1Z3eOY5iGVO281+v9lTx+Nwn10dEAlWQIWwMFMruci31WZ5lpG5p4/Oae/89Ew3HfW5CJO
y2o1D5lxsfhokniS/HqHfks8gbpIeYSC+hAKw4WTd87RqNw3HWZ5AUOx3ChN7BJCymHq2k/rzn7d
mvha3w7bvfrD9uzdv5zt9mmPTtIKHjqpVQAF+sowWX1HJx9v2u3FN3kynNJcFN3KK1EoeuLNhz18
NF/uVtIa0pWjDmr3YKHuo8xPXauipy3GS4OgxmQ9av01WoOQYgzjwrjScjRKnZ/6SQw5+gXcfWWY
JkXaVcKTA5wtlUyO2dZRlk+/qmF2iry5K5bs9vyQimjM7d+PVjs16lyCk/C22gueOXBg0r1eQjcd
TMM35pGBRQfRNtu1v3tJWIU48bD/vOjcxWYYiz6xcTEhr+daIfHzoH0y4KmV3K8+7ILFkpdfq2Of
BuQzCYvZDlPe4izJ+zgcwyKkgRT+DdFRsLD8Y3sewPmHKx2CKOvHzJivoY+/ySrXUG/bPIna/uX8
lzzRE/55ZhwYpStZ10lL0aePup/6YK+XeWq5ahKhkptPAfneec2l7CV4zlF3qlpf0q/1AgS9vyBR
C+DX4BArNtDfmjQ4Sxa6dchEQ4NdKJIiAsYNgr5cuh8HxuAgCp1iaqnV28cM/7GV7lzITKJg10D+
RnXqUER2/MMiE30jOxqq/H4RHh0XZoxG11uzeeifmQcW21P2jfh1sCWkIKf5Cnk3VAl1d75SL2At
kTh6dP4rn45vUA75zw/gziux5QXawIn5XiSkr7IPnbDtnJYIben9EFaH9htKzKKV3sDv60p/DMud
UyrNVdllOKfrz62xzb4ALxFFfq90kMW+ly9AFnD/4rRu0dqXYfGG27gfpokQ4zM6Ia4w9cbCw3Hr
OFgvi73laSGMQN3+6n+gFOH8HI3FnR9pMfpBntBWvHE+WATXIk9yQetzE1dGS68tejpuS3ZubtwZ
MSZTjycSSwdzvbEH6iGU8dEvJUMRVp1mZ0JKhgj69U7fcUdz5A5MlRplCqLIFh1Pq7v5x6LANsNa
tftVeXVYPZ3frSfP59Fw3FWedaOpkgHVADt+kM3LQv51/u+fDFGO/j53ZU/zalSJtaDJFNlnMMsd
1SYv2QqVoOkZGlz/bjDudlbilUKYWpIOdcWcibTOgqAabndOZ1kQgRfJ8p1+vR5Njjvpg1nUTDEL
vPm3RhQ3xftVD8dIFvrIn7ypjgbiznZqTLKedTNUJ2wIPeemZ8ap01UwBtPlw0YNru3l9/m1FOz9
L002Y01ZO+HDNTOUy0Beg7+8ayfqN6r8yqZu30nEWTshqWo7UmeOHN90U9Yq7dU6S27Qada8d5Bu
KV005YYkQNt+ICJXi6bJQUorS/DTsPXkxqT7ObODYvipsu9KB/eOEvVVfQemsqDAejqg+/iafEaq
GJa26lIccRasWzcdzHtSUCH6JwbOWg+KntU46+vGm7O91vt3n5WDlzhdOlImaXKTGJXLWLLr1KhX
B0dKbbcF35WV9EazBSHsyVjjaMIcyCSFXUhjj0XutO+dcafHOcS2RcB58v47GoRDGlliaptNc/yu
D2pAUMQ2HfbU66HtM9/aaLx3OrvSI01A8TwdIB8NzKFOleZWPRsb6kB4lLSXeSX/jCXrtW5+zmza
mWPl5CUkH1RY0dXyj3XpZJRURG5FoulzWJRDIrquoMF8IBKCm7F+yUvmxXp32RXCCvZ2KL4eUkvb
KuUoiVscHM3VykiJpmvkEqIYzQg6wlVtsNxJM4OFYNPCTqF+YDXxdDoEldyLYh3BD+AZZyTV9CSl
vX0Y93OQ7cog9mp0Af7jziaKrE7v3v/OlmeejakZ51VeJDdKLoMek0VWih5bGJKdP5mn40bjYxwO
ijAhs+sYYKFCZThzmvbdrNp04wOcUn4q+xjtlIVXhqI37enkxdHAfJijV2xUELOi/tJfyj6IHqGm
+IMDuzsQ4EtnE9YtQ7nxz09YtK4cFE0QCpHNzLQPhfmUKPoVcl61JAlO5+n442NROeipGqolKzoQ
b2oZb4Fad6FbsUtmec+WB5WE52f0h+DtYzQOgzJiVnYR4xC23vimBzSE8ez9FKy+tWtDUSL19NX1
MRiHO7KtEGatBKJncn2gy7SjxZ4k7EVZwNTNf5b0UZ3kH/9yhhzM9FI7JBMqEwj3F3dL2cOPAkpm
Uti7RSBK+IhmyOFMPva5LeUG5CyjDLoBRrRppsq7/0FNbHtX/GcldZnjLlTlOC9WhSA4j1hUHrKw
uQQhEVwMUQr6/JaH8vnnx9IEBfwEPsH2oWt/dmvYDjdDcyf4QqcjqI/JcDDCKJWUclO6+k9VfHv5
Znj7SmEVJEGzE4x3Hot1mUOPspqNPtnuXfasBJvIk1k5pr+6sTPeLULWkOCIQRH78xLCl3NcCh27
fniePeLivfkd0gCh4ltP4lbYP0T4H4vJwYdSG2pjZNjuWhqC6w9FyasRlP4MPVCt/Zgm3xsDPgO1
gOx8Otz/GJWDEa2D7m1RALSI8p0myCCjg9rs8X7KAcXS6yRkSp5HSV3moESVJ4glGtiXRuHMAey3
E6e/0Xdbt2qoJ84WgM+vcHSElYKY2Se4+HSZwxQ1gVlQY22lM1/DRzVcEP6bULpWcd51d3CbA+vQ
FiskdGxb5c9hjC5z8GI1Eow5um3nBm2k+oVvSc6wg1BxUPpSNDyUoUj9TXD+37fbUW5KkhoV2sbW
dsVHaEoKJUD1Cr9xwZE8nZP57/55J8YeD0Mme5VnfE4ZeivSj41lPQXoL3gRt/gK1vD9uB4NFWdl
qi8KBF6SAepJRHaKVtDEKRqBw5ealUZsT8jSqgVxofDqZJkswjABZr7zyI9n0Xd9lYOOiB0Yh9Tt
oGzC3CQsIojqhLGr3Z//QOfvNRj+fsawsdAk+A8hohys3LH11x56bV1yMYLfzYwkWNbJHZkhABVB
mKe/H8OjSSYrLD0VA6Nu2bP5EinCH9lLFprh1vxu/CjuxPgp+nYcrhjqoDdKiZBWNY3vWvJkz83t
+aV818g4c4jfH9tHs5qnetFMSAwdemr4tfYTymXemjzAWZvAque+V7UrWlmjV0GfU6qazE/huygv
kD3UiwOYb3uYgFzGSucmBN5hiO7ndXAJvHDkzEDvrgkvOCsLa7n6WRbERvcr6IVqdwlhmuvOXyrJ
1TR5ds5PSrRsHDDp9TzFm2MKSi4XM7SGOthrnh9BdLG9d8geLVsar6ZSEoi/bS1I49XmN53u/qbI
IoA8Pj9cxbAgVGEJcigSy7coQv0ecCsrj+cn9J6POrMPeHsQqzGXpMwAExZ6y9qmv9EIpJeXzm8Z
rq8JQo+9kT+rSnNlyvENlaCooU2duw7jPh6MEE2nrJ5fOxbf1hYMfdQp/z23MKnV2eyYSxFAA6q4
UMzBeICi1eb1Nl9pE9AoNtXGpWaY5Mm/PLC860hbpM00pgh/N+3s4qK7Mn3jEO+YD/NhV4pML4/S
h/PLKAgE3oVkj7bFpCq07hbDPtRgCUhJsNrJm758W6pDJkHu/fxgIkR6p6YejSaZw1ppGzywoDGc
GHWa9UK71a7koLnZDI9bt3z43xJ+/70bedEnKPDCh7CypQODuyZsC52SWg9ZdgOp1Kinj3lsO5SZ
//KCUTkgXAuoO6owwgD2Qm3Qgd3A3bzb6uVNVO+z1Il9wdIKrpj3Jo+jpbXYqrSjhRAgK53sWnVT
t3tIfvf1zrrUwy1Pkhz0CE3XSUCebE+UITqVjCKg9hh4hBpwtOTubHSm5sykdXxY7cld9dItS+pk
ypOBurVgoqew8nio7d+PJlr0aBxSpBJJElTHZb9LnHF2Us/0tbC+1h/6vzLpPnVMjgflLvB0hMmt
AkW4A0XNaZAkdyhH0EoYOmQbLyGJt5KbPim9FUZsMrmmM4PAN4FlwsL8Hk3wpX6tdUl4filEK8G9
Gox5YCnEZ+ODQXNnWWJXGoSy96cCpeOJc/t4kcpZWnq67ePxjV5vaeviQXkxQwjjFY5Yw/zkPXU8
IPc2mGvWDVoDqonuTH5ygTJ1tD32yIWITCPastydCwOaMWGWJh0I5ILH0tXonbI2obk+n/9Kgq3D
X7wSVKSyLsbRsIaHJrnvOoquxOcxvzQMEan31NV7tHb81WuXbSGZvYTa3lBEJQRrSf7a5o0o8S7Y
d/zNW0v1PGijtdG3tyqYMmyKc/sknAIjMHYZmPHAmX+3iBy+2FmzwnCiQK7fNtD6O/pJ85DIN8qC
zHpMROAt+mQcxKDxLtHqNLYPy355Q5LSM5fLKsxAA0eAeNF0fukbwd8U10Ury8FM0Sp0tdUuuRmn
6dqQoNNUCsKmkz2Sx3uEA42ULPlo5NmWLWJIp6RuighDDrZWE1HD18nUzfFYHHjIFM0LMF9AwnI3
B2bQheCBoDIDhaG/ICaI1o4HjqaGfaqOSGaxu7Cpl31ltoJLVnS+OMiIjTFV9S1Y6nALwPnRNWZ4
aggS2AJc4uuw+NNSbY6KdOjYj24NGqhB0ORRSkQbQYDsfOG1y9C3puZITWwbYYtQcI4LBCh2yMIF
TBlR9kXwfXjtw3SV5nHIcZPE1nPa/iry/yV6PtptfJV1XksF7z48ojRIz6rueN3fKT+UH/1O1Vxp
Px6KIG1cURvcqbDreFAOKsqytSrTAORmw22+vq3zGtbstzF0niU/6XISxvMqiIAE6MS3Aizy0Bik
J9JhQGejlHxvV3SJsHq/ronfSLZgO54sXh/PkAOMRmfxMndVfFC/IWB3E5g3FKFiIQpyoTyMJhko
MPrqro4vc8z9ShS+i7YNhyHl2BJd3rapLZmuEYcJdBHO3y0imNI45LAGpA5U+s633Fzb8sCokT2n
l5rfhs2TeS8YTnTwOBTRgfJysa4biaS9l/0xZBcEou9gDG98h9IVMQAEqMW3EciZ2vcNwwds4SJu
mgEpFvgy0PD8tAQHge+9T1tIs0grsP4fjdYBnffoJRKKfwu2A1E/R/821WlsNX1y04zQzgIjDwQj
TegXLpoMF27IuCSloQfQq1cLbPSAJ8hE4uX43ppF+j31oJXzjd5DvPFm3GnR+aUU3dF8X4ZqTmRW
cJQPDE5n5th5dCy8VSFRP6R7lqro6u29tWFXc7Hb1ILODy9aYi4IUSWtYvGE/ZKAKbL8sJCrPD/A
+9XCp26OIIVwkKJrutHrIzj6atE7rGgca0WKbqoWD1JIo1tn7BezxgPs0fblmERzGXtjctUytEn0
1LN0NOcVeF6yNTDI5GupFMrmcMl06kGdydG09Bchid8qs2OZV0SBkZr+zVpRY6jg/mGkIjm7E+py
KL1+vH4Jh1ELyaplrhG22ZATIvD3HqB56bQlC7LOCLP5NW57By6IrtlIDrKHYd/IV2abRyRRA9pv
nTc6dVDj2jXVZccqD515/+7SeHcUO3o1owVOIxVUiA5x/0NJLo0xf9CRJyuVBxN6Uee/78k0D1Fs
YhtwltaML/KjWq+aqoGbmD2bmmsehsAKoX320Bku8aAwIkNaMFR3ohfdybrS8bgcOCS9RdNYxs5N
IyNcfCTtvmFI5SJGcn8FQ3XaOm/+Qtvv9In5mC8HF1KiZmsOR+sbZbg3JCjLiwBpu4G+HpiPAbYf
cPz1pCZt1mUBL9VYg0WSI0pfixoRTrZujsTuXAu6+0/fGR8Dchhgwe/cTjTMaDXf5FF2NeVFyogn
2CenylbH34vDAbsq85Ep+F4blRjiTqD+Z1G6k+HTI2IWnJCT2s7ox4y4M1pJpkKVHFFTHhlvTfWO
5fbtgItX/g7ccME2vMTeOOSu7kh37CUTamWL1pQLM5I+ltXVpvFBbhRfsdtfK7LJrJoFgb1oM3Lh
xdL1AzptsVcsq3Vz+bWAD8j57/YHvPvvWvJsLBgujU3dI3UiIfLMIGkRat4YNmH7w7ijl2vnbpzG
jfFu7dRnEshCrUnBUvIMLTWRQRyysXHM8qUGXtLOchQmynNscHHm1PHiX3nPFnWd8viQZbUJe8M2
aGnsJiZE9qvCUSkLJz2L1FzajYoFLFWn6yIjwfnFFnxOXrl0nlcCOw08B027chp4SkE66t+NwIHL
XOtyp85TcgNJN5RIHktUQ86PIPpcHJoMVF9nqUMKjGXMzdsiGosHTenuzo8iOuI2ByeN1sIJYSSb
PASMcR/VVxquHkywHvoLBYbXTZAdtD14bg+yoyMhbnuihIdonhzGEKkYRkBaclNB6CVfb2n6IuU/
z8/yD++xj8PHwQiFzga1JRSJdKlxbZVZjqXUXp5AS1XLH+TsdmT1dVP1UG6soqqmh6H8MaU4kVLs
rmi2V7t9D2q+bglw5w9R68cP44BHny003RsUCdUQshXvvq/19WYp+Be+xOdvDpMncA3T0I4j9GMP
I1wNC/2pN3/NMimjtMAVssCDtEUpa7nKs/3YKqoo03AeGPDI+HwdV1UJU2k4UuIusfb9ASlxtDLX
UAXcUE8SXMWn3yL/WVZT3n7M0d3fywpLQPqzUDOz9pv5xSZpJu6XF3w+k6d1taxrZXgPA+0M4mko
QLOeBnCZlu3vYAA6SfX/SLuu5rhxbP2LWMUAguQrGDpK3cqSX1iWxybBBCYw/fr7UXtr3aZ6xZ3Z
l6masstoIhwcnPOF42Sl90b4V5GvzefX58ZaQrwKPlBe593cZLA3Mw6p2oSYU/2HPSNgIUVVrlKL
1oZchKRcMzveztV/wIE8JX7KOkhREHP79WH9Onhb6iIiRapl5mBrQIpCaCyPDj2kS78e4T8UL35v
j0XMSdU+bbIerOo5h8r+KqFQOaO3uu/Ffv3cXfEVvcyirCVyKxVTmnKJna/uzUA1PbTeSL8jcJtJ
vVh3C3CC7bsRrdzDLM0JY08IGZknOoVMt/Z5oJde/75WIbqKx/+d2llLWFekkKzUKSSu6U25K1Fm
BqkdFAD9/21B1uDT84z+57TAWmK6aJ0Mkw6Fk1PUCd+0gRaoKtaozp7zt1T93y416+PYXhz/wR4c
E0/jENLO9S5+VaDA9JT+nN6LU1Yw26u8wbeD8k7AFRJIqaC4oeCRnNZ0qta+eRGEtKTUaEywkfXB
CIxq2uqZwjoVvrdqvSF8jYe3cm6W7WQbuqtlSzHFavWrAkBjtFeOzUfX/6tFXCQ9VZiHFLaa0Du5
EWjXsiTgG5jytrvCwya+VyDqeJAJMzaqpzK3GzfdTek6nnLQ78yEiZevT/FKjF/iwzIFXQXTnHuR
G3TUINE+fhTPVvmUc7z56qsX8YgbDWh4M/mvd8nePI1+LSHuGHvYVK9qkJ7tgGzTh7XNs3ZAlwxd
SKFHRR22DvbwjLZrbhSLkd386tJBKQMkYV2re86CvvrSRZak9TGvC2pE53FsjzGxCncyKBwD36fw
1lISlpUhK+TEGqdwdXiIK0Jz6/gmtdM3TqLAgUxfm5Cz4O3fFp38I4J+OMhcnmeIRsAven47hXIz
idZHvhiIzFnb4FczJIgEqFBb0kDWXVxwMJ9ONL38EF2Jz7obPtd/ZYG969x8x4HgV0xGgnYD2TTz
0XT/m37c1Rv24gcs9lphJKMAeiA+Azvt5nbijSEe+cQKvj46VyPTxTDzn1/MJ2D8XFWFCE95NULF
MvelAjNRaJQTdaOExebr0T5Y8p/21cVwi30FsRQIn9dQVQHhnFUVYW2k+A1eTIqOkmyluln0ngIg
76ZmtRVmtEvUep8M8q5ONLDPdUg4NCa0dAutc9igNTXLR2TjKti4schfIm6hRKlHv6qoG3/GfQmI
prBfZPRUwN6mg0pn6Dx1PDyYPA1ax94NY3oIYS7eq+eSHp3iJYeUS5q/jpNz7qpBbIskPUeVBqfg
sy3NjFXajWw2Y1qAczTmtUvU81DqN6TRz7FZR36U4K0wVMkmxr8VitJveZu6QoX1cFVXfGsYpq+2
nff1vH69WbBp/1xFRxdTJ2aeBI1uRBTf1NEjSqK7rwe5Xpf89+LZ6uJM5E4xTtGApxOuWa/pj45O
Xdh5Hnv+kJNzSQRUbsfnyLwR1SlN5UnreWBIWEdHKzn9p/uN6rrpOJZDDEpta9lxolajQhpbH088
hMmwdmhbZeX8f4r0VDe02aBBszGCumyGVo0kpQ7F/JPDVTDL6gD6Gn43Sr8z1kLN5/C+GGuxeFYI
2g5VhwrlIHjMhXinUBDLQhv2CEogzZCp3AzqsAwcDr+IUWNWr0LbuhAr33xlVv/45sXyjjLNZEpH
mDpmABtYZ0VkK/n8Z33xxacugloCr9GphcD4SdYBXp7Wq4YCQw69PhvJdu31R+iybNYS3M/9ksWo
ixiXVf2QVD02pZmUfWCnOQj1iauXrcs7NBGt7q2hhDCiiD3R+nelz4+h4hHY4zqAxIr6r3T8malP
RrutbLD86K8xew2r1yR7tu3nBqaYbJDvWnGv27+UkXiZeiJquDJ1a4uzCJwFiGpDrGBxZNJvByc7
5Mbfhj8tpmlRgNAUGWbavDhObbsd/RnG8basnr4OIivf8anPqddKFnEMokobAuuOq/T+/zaC/mcs
LEHkiK0UI/QGTBsLHbI/K9+wEhzIol8hjUhrudlXJxDBfUvKjcFbTxaJP3UrIXdtpEVoIBNNiyhG
GIpamNxnlZeW1l5KeEsNiff1tM2n+4+b+c/VJ/OfXyQCkwb6sT2vvl3XkLj/NQHMJ8Lg60E+G/wt
RlkEgDwanU4Vsjolhe3GzntOEzeU3WtEX8M0c2vnjtYV48m9lWqsqYY9DBA2oQLTlfSH0hiB1Dmr
ZueYPnJXftp8gr6agEWUqCIq296sK1BDwevXsmwvHcef2jgwAGkXaN+MLTwQa2CA05QlXRtY6hbZ
x1YavpaKNxqGu1qmgbqqf/DpebOYtMXZ71soEKjFvKMho+KR2/R7dq4NMI9Tf1ZZpcTX8Q5Rd/Zr
v0s9ZbUuu3ZDkUVkMAmdJgNWO6fK7yFsYbjtsd/Yu/Gk2ygMt6gxrb555tn+YjXMBcWUt2IqNRPx
LtnB/7AOWYenZRxYPiwDHmcUXH/KcTMe/4kR15/TvRTai/LfQ4vb3B+2MnA2M79VZduerZVDVgKi
uQhX+aShLjgvruPIDXeygK8eurUhFvEqy1OQETIMYZzoXjlFh3Q/I9VKy/uXOm7oqiuSHSvBxFzE
LZ4ZphrOwQT+tls+vAr4dhnTymPicz76sVBE1ywbqrRkWUfu86jpLRt7BC4bkBB8nQnktlcCwpBB
uMqG/reyy1/IGpj24739eW/+HnexZJ1E7TM0MK6677/D2ym6J5AemMvYpcmiGxWwDygvZ34Gh8uV
NOD6xP4eerGUsar2opuHbrvCtdOXNm69SFmb2PkDvvrAxfIpnR3awDfiggO543lWCo+9Dow7KCQK
UKLJ/dehd+2jllcPvDO6slDK00AmT3Xig53jyUtWSSXXY8rvyVtcPhbcvsewjeY4OnyYfVOUxnXf
9girsXc+AGv5SziifP/3u9eLvTr/tovrdeQ6H5QCY+dJec6jaNfo1a1Tr6rTz3Hxq6Vb3BUZFaOg
Gpauq5ObtAD5zhr9qIe9UwjoNynoz1rCNy1Glz78UViAEL0Y+pNeHwWBJnuZa6CLOveOFklX7ept
aq1pkVwPRr8XYXGX0Boeo4CxVqfCQdlEnJPOXLnJr20nXSWmblpUB1tusZ1qKYQiy8Q4DUPFcuW5
LgEOMl++3rOfGwdY0MtRFt/RER4T1OTKU/6suprH9/aZeiNYwzk0HteeMNcygIvBPtXMS9PgA9ct
MNv+VeA0Ie/0D3ABf37Tsliet6Yu7LSqTqX6EsLszezeB22NPPy5CbIYZRE+KSpNU6w76jkFX76Z
Jte2YOUp7a0pW3csyNYu23uSmL5eZx5p6kNR5F7fE5+0045LcxtazSyLlrPIRPdQFCzmOYxjX+KI
elaEOrMRr4Tdz7SaxW9exF01GrWkm2h5mrTqpoSzxYOdQt+zc9qtTSvI3tfEDHLoEgdQwPOEU65c
qNceApcbYBGROcyaekvHykztZmpeTMf2GnJU7TU/lqt32+VAi8PT5Tnqa6NdnjLOhrO+J/tuh6QB
eJ9uiwJZiS9lEwgc8be1Pf65g7qY40V41gbDyCVYB6jijz6yf/Shos0YGH58t5ZefkBAl2Hy8jMX
4RjbXIVjUWGcxgJ+BUJ4RZp/F1P2GmvDxqGw9IIuVc9Mh29lS700JV4PXSqH6sxsd6Z1L4bcN+nN
JHFIksdM6TwjrihrSf3SpDd5gSrNpN07CewUu5CJIYNl2B6FnpzFKnFbCc6AbFqmR73wSfXYwUqM
mUb43VDlyarKRyfVToDJPFC19dSV+3Z1kReXxNQXOk+qcJ7pdpf6OIYyZXjU9D/TJ+I5G7qFq9o2
t/fF5u/DtxervIib4QS/sxEsDdgp2Zt+U6FbgyLANxvm4+V/IR1wteR0sdJL/hjlRqGZZjPfN4ob
Rsk+Hq3ZqNOXot/kPVTUlV2kbnDzeUrTHHpSvwugormS+ys3xrWb7/KXLGAPNmSg40rD0Wo9sp8e
My/cwerAtUAvrRlV2bqcwNUM+XLIRaiNRFIlIi+RddTPXYPvHyamA//b14VXEdMVYXPrTPwGS43a
eJ2jrYG5wtbcaJH1T65l4mgOiOS6qjuLhdfUmLcDz8pTTX+Fie4a6YM1dpuvJ/mzGdu8vf49irFE
tmiNbhnjiEBNNnzbAgDhly/Y2W3LorusD3jqQYQ609z0J4fl7ejlXh4zrs7/ranrJIwIL/s5VhvF
WHXEmYPKp6Bz8dsWG6AdZSbiOi1PVfSaFc6+anYG5+g97Miwhhm7utkuxlqsfIsMDtQazEMEgrY0
blu+tp8/auBffc7iTkzVERmtGZd4VpJ9uC8DeRP2rjl5Ag7CYMaZL+nAFP9f2GER9H/NbTLJZqAF
9WH3px60n+qBnzKAHFZRDR+OKF/9usWNGbZJHXYNJkDd860uPQeR+GcChN7L9I6+O5ug+YtWNdSy
vRkmQ7bji2QGw1l0G4GI4EUxM9/WtPHWtsDiep2xpaUwSXmSWbwJq5hpFdrmjtVuhV5Cd6bSVtRg
5n/wq2lYXKq21CQk1vUScNb5gGvwTQfqostWzt31y/tiv80ffvG+GTpa1tmEzTB78xHXOIib6Fjt
us360q590uL24hGhBSTqylNSvWV2uXP4jZrWKxnf2iCLaCUzYmZ9jO2jo7ne9M22R6e9VmL/63i1
Nm/LzL6M9STR1VDASInHvdt2r7b6atnUk/CFrOEtYTWWL+WDtebeeDVAmAC/wFBi1kZZbAxzalK7
ixwMTO60aAiipNp9/W02/dRE//OuXwpyNEPSZIkyWHBlxcnrDcfX0caqa+VuqpStPsLWtnfTydh1
FX2B4z1rh+QRl4JfqWHQ4RZWB+6qtb1Pcg1KWnXmWpXmUbu57douSO2jrdusa8MDSreM53RHhMWG
EPIUlJldd4+yJbM7yWpdeLqoA9MwPAH+ShwJn08RKyPfrsSTqSrI3u6r7gib0DLdtuNNV/7k2jdb
5q6EiRRMf/0E9X1ZPlVJ7UpCPW3EUcpCd4D+PUlqpufcrSyolkb4awJy7UV5qwMeEEUnqwFLBzaC
SRUUtPRz0hzlZBx7JwyUPDrlZQpvGst3VIHu3l1ogc1G4LWb977DNQbI2L2lWUw1NrEzsUQHoUq3
A/Qh3VoCKm7VXhK+SYOCnFEaXon/z0rgyrXmFNHIHVRrCwain8na1WJIYoI1zyv09+LQ1XQSGG3l
tmK+iMoDMRRXJqqnaCiBNEzh6WY0TbgPwwakgLMm1O5TLGYmlADeN15liiBVf2lJEnTir47LjdVb
u6QudjUZN7kSHWiTeTmv9w4kCViei5tZnK3oqyPCxSYsjIdqgKg/kpM2CFsI3huUiS5xGw0Dk+in
kPxYzeqMRlf5k43mq6UwlC/wWOy3pj0+ayHfVtp0boZm20qymyR+YjE2O42Et40+/kxaFJTA8Kry
dgP3Gk+vdmODomdSMqL/0gG8ylXwacRTadcgacAMw4PV542ExgnjQ3uekuinRrHSceRqRv6OVvG2
V0BfM7VvPSzreQgdpNxiYZY9Fab+rdaqPSocu6RXPF2Rh3DIWchLLw41tC4kUyqTGVFztAv9YDfD
c8YB8RXWE5xdOpYCB8htPAHQbmjDGzN5m8bYlyT1k+k26Z9j690h6j6VQU8il8bPSv9LG22IMxnv
lFtvHdrFmRlu2wRsdPOX6E3fjl5NJX6kKd30trEjk7ZHE/8O7dB3dRKY7IeuHrBxslCwaHiP4L/V
m/G2pa0HveU3DoNCw8590RTo7fPoYHODDe0xF5scbDLdqgBmK44h1/al4viqhRdbYm7yrLuFlzCL
rdcMBSUjBj6sTz10t6EgB1X/Sd0I6dwkfbFHthhMpN2LCT7kjeVmUzMfei8jtTvZD3Fc3U1afxPH
aAtD2CkaAfgQ8N+ZXhX9pCEgjAXKAC0cxGzJoKASNLnlp+agslyrKStos3Ps2yrHfV/UHtWnb2b5
g6hVvCmoeqyi3qtNcYjjRLg8VB7svm8YGezvtQVtp2w2eYbgGJCnIZwZyyZ2ZTXdqwbMKNLwUYkH
jWXwEqwt3bX6Y0Wpq1oDQwvfG7nFckPbQa8VJLrYJXPTBO89VSmA+9RxUlJ/iqCi1zo+VetjkSlB
EkFAtlRcCkw6GEtwQhMwRoOBCYdmqN74Sf9TakhTi19RvbfQEBz1no2W4sdjv0/FaUidfWeErwPy
fVnQ2wpCebItfZ6rflg4gUzywHTE2anq7TDdoA7HLPO2Ba9uSF+c7Nlp3kdB9nbyPZlprvFLJO4q
+atCazyGSygog5U97iZFwqc1ckORu6GGLAqG2xL+gxLrh0bY1CIgx/d6Z5xyB7pRFnEdlHg0YmxC
1cTjFwQChCirBqmsVOnejvYUziw6KHyshN24CTChrcYsw0ulxUtF2Lu+3VIIxY8nK94WxqNutW5G
b4tkZ0KBMMtdJ4NYx0MZtu9EC8zmx6C9hkbtxmbAX80UHMIHBTOrdIiDR72BoBDYBUXFsAPRQUK1
i2GNoVBMYwRMpuavTenmCc4qqNppeijizWRsM2pDJQ3CmRrdWE3itsV3WmzS9p7TH2MHe9pJxcF+
tKHCrvpEfUHB6JsAwnQIv8Wy8DL89STQ4eyp1jcc7iVZ+Ay+i99b9Qlmd6csBC3cRmuz/6tPjpWK
4Kvke1gxbRsTzL/2Nq4eEj0MbC3FATXuuXKAiC3Uc5RAy5JNShKYXU7fasc4945FNhoac1OYvAxU
4jdEY+LaZNYnUMaO6WOWuAj3QeYkrmWOrhrJvTnBlbwUfmGrnh3yb6g1bROu7PsYD0YrA171SYf3
ASvKXzJUf+iTDXtJsHjSUexz3IxjGe8b+xWpWAgduc7i+0KBOQs0xllW4I2bx8fJGd3SUH2bJ5Af
OWS99NKQ/xiU7CFXwA0yhgfepZ41bJscGu+jcAlcHGOzwpqMLM0rl9CgwTYmzV2LR/Ows8BWdYr2
sU8qT8s3dvldNpGLgOfXPA1xHRuPIxa6F9wz2n1Kzb0kyWkwRyb6/NHJMINKdz+1vTck4195090r
Zn2elPymrqsddXKfK+Y5S9LboWy8tFcQy62NRmoIjKJCyatjypHXcOpsq8RxVaC9lHTy7B4yJzXx
QHM4zvheJ/uGW3hDaPczMQDRh2JhY3yLlQw7sQhoCS9rqW2Hwr6JeL6rOv1bUtZ7PFYr1WB5RjdG
lh3j5N6oLU/t/VZaXq39MqfIbSDEpidlYA/kNrOVYDCpT/t4U5r3MZc7q7qNraPUb1tFdWHe4zbj
+GOsBkDpy58GGtu8ifzJBIirityYW34vOZYo8VqIYFGj2EaK5Sdc3uhKsa0jlWntax0Ze6O0gh7+
bDbynXS6G1IIj0J+0e4nJjsDnDyg3pL+0GuvRE1fplT4IfI0iIgFUfMtDzuX653bI/sj9Y+mkW4y
Jn5tRwya8awcb0jRIsWCxH5fbyNzeMCDfiNwIM2+fE3M3p314EnOmV0jCuFX6cUR2jYbiNkFNH9q
It1FahdluN7QvpKw2oLbCrynWhbngGlA31ArJ2aJ1Fei8Yx0xZ007qEsA7GpF8CIzzggWysv/Bbn
JLTfIuxG6kiG/YNWO1w3iWA9TqhWvRDQ9HFwgHELlDrHVA4/hKieNSjJ18N9KjJ84R6QAp/adgBS
KLYiFGLN5yT+UY/GNjWnR8AdnnWuvmUq2pbYRJZpsmZwWGWiHhiljBfKTQb8F6Q/9oXVBY2M9702
iI+Tx2HKV1WCmdCUDwUJBsBDJ3VXCsNtJNxPONlUwCyOSshG/R3irU+JyO6oMfnAnLGWZicblzrq
oF5ToyeWGkxBolQqzcZsIi/h5RGFItx7xsOER3qnDH9NQ3SfqNztbACo2l9xkvt5JI+ZI4+hfccj
w9ND3c3V5zYpPWHBh4JA+RfFrWiSz7D+8IDcC4oe1kZVx6YWp7McIxjxlpue9g/ZeAfGx1ubDrtR
GIFNuGvmsHvXNReqNNvcFK4Rh0E6yBmPETSK9dRDPVlB7phj0+n5r5TOFozivk2OtnqblN1GVV7y
6qmNDqQ9iOIAoWe37DMQLsAwb+FP6yiMhxtD4uUaA34a596YpRvLmbZqBgB79BNGgywcOAtbfkON
zI1rrFxleyBQbk0HRoTFGvhwflt+erP/bmAtRQXbpMvTLkEDy6StG4/Nr6YcN7R909PiSWjjLqma
cyVfvn6trbU4luKCtdob7ZSg/N7j1YRnYyCRQCXI9avsG5JsV42fyzYY6+ifvLRVCybeloG+hb2o
HEBFDJZIIcYVJbiw4IPQ8dBGf6183VwU+Dynv0dZFg1kY+K4KdZZ3czdGm/uMHDf7u841L5n6f6i
gEwkFES8PrtbIw7Mn/DV4ItiQq5HMYeyX3nq8GnNFKTVrm8KWEBAVb9ZKbN+PKq/GMxZIGcsvHX6
YoiNk508RMVDmnUF0h3OmaonXmPepwBFg/rHKolcMotZUr5LvE6tg40nZK9RhiwZjA0UhyPIGmWQ
k6aTN2QDG2NjpTh1FQ6m/177JRE55FMXWUqG+vQELxflu2VAX3fqD7XW75zwTQjORgqry+a+smNm
Z+WtjfeDyTcgiqLr1+3UFLHdqKsjsNabr7fMyqIt6cuQCHKSMSuqUxzuI3439A5Swu40FFrghPnK
IVgbbFFLLdG2dOIpB5RFViyBNAsRlZcrdwUQJYa+wqG4WvqB8ZlpEbAbHH1Rh5aaYdlZg4gnpie1
NDZmMv6PIyyqz12t2NmoxdZZpJXP1WMEKfivV+fqeb74huWExXLqoWuEbgIoXTnF4wGvptJ5LxEf
bQVBi/5914OP1sLvaVtUlPUOjiNRyQHG1B+jsLxPyYTOFWotmtEHoiQWUwqsXEQz5sAj9uvvvY43
uPjguWB5UWAtAQJMM6DAT7wD4ijPNyHnft+Cp9c/NdXcwDA8JYdjN1qRGUkSkBCalWLl1Sb0v2u8
ujNv4oufEBFB8XZH4XUMS0ar71Zr+4Aje7m+CtW5egVeDLUI13E7oGYptPJkdofYfBYqKjU9Z21v
w6xH509Fs5cT3ZQQO3eFVW5Fwp8LPsauXusBGAOe7MVeZuHIcsBeCvq3vUTmvfDv6ukn6FkHN8gY
FtnilHbZjWjGk+kogg2D+UjxEiRRsQ1T2E7HSr/Su71al74YeHGyhDS4XVuGODVIQweiQ5XqXcm0
lfN7vUN8MczieIlSFjbsYMW/oVI5sGyRm28qDwVPWAIfeABB73c0Sdam9mp0uhh6ccx6OyJjKok4
KUS4idUHGmzvvz5MV6PtxRDLs5Q2djnmcwDMU888hqHuj6ghNQJeBtnf56r8sVMWdXbLKrUiTlFn
n/Bm0I0XgufvytfMi/Hpxr/4nMW5pBPp6nRq5wy2/pFp3VvkqBFOQYKGUtynWDg8q1GRLNHTcJ1h
+JnprevYThVEtXjrku5ox9lWlPcFORtO9jaR7E3tbS90DlQVG0e+6JSw1DnPuh0UvIMoVF2LnLVo
OkM8gdktyBw3UQo7E/qWi/F5coJEj9iQlMxRUpfDzWukd1bJ96bcNWnntSjn99leqwq31uETGceH
qqt3k5H8lFlpIumtg9zJn1DHiL1EMypvpNqt6MYCXRL+jLeWUZkHM59sBrds0+2pPGckvmnj9LmL
ZBjoplCZ1cHmCkcfz6m8efh60q9ioi8jwCJC6Sr0sUCXER8YChQ5VSZth81uqfD22aCEzYp+t5ZI
Xr8FLpZ6kUkOtGkSsyEWqP76fvRRkoOlsXqG/F2QntZGW4k1y96UNg11lM55AqArlYJyAUWBJV+5
2K4ed3CRDcvAA8D+mOeLS6UXdGi46O1zgvIpNGlYHa/1ws2rB+RijEVIgYxqWjWiwxlMyi0wICA7
ptUW4me/Sv6E0gJ2dT0GYuJHHpavOSS93CmtUHnN6XfS0pKVJYwnSgmHRTMan4sK9i5TfShRF2GK
CgVt+y5BqbCPDPCZIJqZpds+tkwvHBvuSpmfQSyA/yTqbNCnDdRMeHGssSF2XvoctcDUwUfjuV5K
aJFAjL95hlsuhmtQLrVcmKiy2ZMzDOcbxjBfTZLgX4ZDQ7ehcGa3orV1vw4buZivRXykmXRULgfc
biVxkWrUZstkfTD6M0XpHslGoqPPJkfmZJsYsplcO5aq31bpioTQ1Q148TsWsTMyiNTttLbPzoS6
JnqhAwQewbxcOcrznfkpfl4Ms4ifKuENH3VjRleqyLyB+Ndu+2D0dFbB42MN57b2UYvA0TYJig1J
jxt8kG7Xk52aN27Uhbuvv+rauSKaSlHYdXSDLhX0VWCqJ7idWue6NhlvOwhJbL8e4eo2uRxi8SVJ
bo1DNGHe2gDc9JAZXrpPHmCetZPHYgL8vr1BkdBfGfVaFno56iIECpp0dBo4RvVgCBSYrD3KTYSi
Jp7xA2zdXZxUd9yupSVXA/7FuEth4VqjTY+KGsW4GiyfGjc7KbeVh5aBV96NhzUxpP8wu0SDJTel
mmMtXmmT1MOpouW8K7VoQ77P6pkUghWzrAuq8uC/ADD3D7/y96iL/LIyeR8pUuKC2dO9gIwDrCIJ
Q8tnnlcO8b905fRdDc5EB6QBHA7NJMYiOCsVWrCTLpI7XU/2ip4FxTQeoR6+byl5JiYgWq3mh1b6
qMbpPiT5kZYAY44EjI/YCd1YB5KGRyXYWmiMFp2bEf2prh0wyMvS66jGeuebLZxveS+O1IHpZTn5
VvlsRIUPwqsHkJDXQuOK7xLQvuZiSdP1bgPz3rQqA9pZj+PQP5C+3ecDViLnXt0230NCd1EJ82Ki
eWhozDV/tFGVuWscbSewktWKBl9v/Gtxg1CTmo5lGRaxF/Okxv1Q9DXmaZL7qDHRikS9tVg7Xdcg
GwTEauhOUkd1zMXpQnc9haCZimZbpx4MCnUJ/tjEL7ltnorqTkWKw6ubxj5COSF1v/7ADy22ZRy+
GJsuKlc6N+D4MU7jSfJml0YVE6Q/lmQ8FoK+95Fes9hWQM2L09ilZhxtm9IeAwgrRrsaaDevrib5
FFn15NcO8AWqhQYUiu4afnRXwS8YAlfox3gC8gJdA7ZJLHcaAKBkyJ6EPdzFJu79qATIhMfuCKHB
JOWQIz2njbadYCiqGq7IYUmPJDgejjJ7ayp612dNECbaUUNTeyicrVNCunpu/GZpMEZ4jzaHKf0J
VHXgAHjYRwc1PWkgMerlrLJFGDSUvg8SMAl0G5MQFqZ26hP0Kob4B9HOETrc0FlxC5TnpP402vfa
eCtaEDsmD6/vH6GszkbzjTbTXWPHmyT8RZs3PT50o3GgJtSmAbOztP0E81VpbceG7jneOarZukXn
rG2da9STy+VbBCyEMDj+hSY9g72+q0/hLkM8Bit6u0aCunq1AdoD0BJB4mgs9qg9ZVnaOul0MkYo
Tevo2Od3X2/Fz1KoeN+T30MsRZ+rzlGIZSYObLXraAOV6W98X24T20UyZm2EB2aJ3FqP/8RkbzHy
YhYhB1vwTE2mkylKVjcv9XTbD9/UKNypku8KC6bIpA0aKwHswfA47xj0hFhprBAOrsyxaesODGkQ
bcgnTTFa9q1Uez6drFrfUAu8hlUxgCuv8D+GmAPeReZfKl1vw4DFPs+IUAdSANwfDto29n7kO4nu
l6seoJB1WBPSv3ax/jHuIqucOE5FMkUToIqG4Q6vfJv6nDDab4Y7iLG7A97pWzRqlW4lwK2OvEg0
UaaU1Cirf32xuJ2JddVPgH1wTgC6D9AcLDarn3vl8fPH5y6ytDLUdM3OBnp2HoDM9KMP7qeE7tV/
p1tzLU/6Y7zF6SwzXRohSgOn59fZRyB2p+2GevnO8HmwVpNd2ULLFypigA57IOzS1pmdl6sAOtZE
Ci+poOKy6hxwjUtw+WkfYM6LHduNaNdE6jBCIDnNQZJ3KVZwVkcW0p1Gprnd7bp8xcpJ/CgJXAya
WZyUaoH5zNXIK4eUTebjSrS7cun/8V3zFroYAqYwiLUWhiili1sVOsKdCly04RZ+D0+4lWNwJZH5
Y7T5gy9G64b/I+27mhvXlW5/EaqYSbwySVR2kNMLy/bMMOfMX38XvW+dkWF9wgmv49obAgg0Gt0r
9Ibgp+F8rAXNMfLBEfsdkg3OnHjLxkSXBthWEneILq3doI1Ugz5eWcRpNzM9KKm7CGsSSOzeHpU3
KBNaKmg9+9KIqRHQpCAenKan2wPwTtdX4fZi8aowhyWMjhCCi8nVVtU9DH3t4mXxeGr3fNFl3oSY
4NEqyexrLXaGNHXm2KCIQTlXLW83sOGiT6kBE0/cd/SDQiiTpIcyf7+9apwwITGJ5URLgPsKhIkZ
dYRqpzc+EBnnunlLp8a+PdTVBYOFJTo1ii4LbNewMZIhLAtIE3Vqbkc9ynOjwNlk1/fAxRjMcUVz
pEmFPjNOtTu7467apC4gcrvFVXxclXuVs+eufqGL4ZYpX2y5UqgiIFKAv5OA4+jb2iyk3wmomrcX
7npwvRiGObDalCgAfvjTEb6Sa9KRZ73qkYbHH6HfepP/ICW/4O0JvFS4g7DXsyGJNgD6r5XE08Hn
fULmEI9VEZEqlafjjPZRksEtoeBpPvGWlEkE6gBvXrnEksZlbAkkMmcIYIfZ/e0lvbrtL1aUObzQ
U41jRVKmYwWf4Xz+3WbVWilfQhi2pgknX7zG6lWNfw0mssSrOoa0m0AzupRHXlovc2qvO2QbYL73
wd3C5YQK2g4CT4+iA0xmaaer4Rf/sry9sCIrCaHWuj9EvoiF1QAm0Q6Kch8BiXx7XTlbVWQ1hakP
Om4KlXgE4QRZ3CLDojsBVGlAKWs8IAY6rvn2sumYt/G35WXOvBxAOittyHSEeRFwuE9Ztaf1oZo4
W4a3fsxZT4KIyEq4XC861O/To4gKi5hwAgp3/ZijHoeNmMd1tpS2wlOwXiqurSmueiTfcFbe8l9V
X5CGW8vHnOkiHMeyjwLjhK74o1+J975swO6YPsZifE/QUvJz6EKHz3JsvFZRAXeUTOtsybgTKuVT
MCJbEERbF2Eq1gPWlqxKeBwroHpwNtZyEd36mUxcKDMtzKMBJ3aqOxSwoFZfY6hirQbwPa+jrYYL
ZQCiL5U5t/A1JI5qKFAfXBT1DFFnP3xbjCoK0xAx2EeVNR6HP5IF4ste/UBtY23Ysma3f9onILwH
J+LqG3zdwD8mfjE8syNmHTRFcM+XHaG6qWh2993bklqPd9OLjE0BV9KV4SZ28kA86ZkX8Zcc4+fo
mm4sBQUNyen3Gw4cmCQpS4Vi9H/S39pZNMJ5dYuvmvutcZhD3PdB3Ne6EJ1kYL3rBCtc17tMLe9h
eGOm7XYEshiYxzG6X/pNetyvspauc6W1wah1lao45cZ4L4pHIwzB7QCyUymdYmhiUNh90C9ARIkm
CwILnqFzNsg1Yi02yN81YjaIBPt1uav16OQPuiUW6llNQGOI39tZiyGfXzpCB/72VG9aKFyO4zpR
4NIhnIoWvWf51xyB00CfjOFPEJOHFE5y+bD1gbVP5k2VdNsQJj7yqNpVW8KKNXdvnyve92V2V1Dm
FAHbiE5RXwOmTVfA6Kwy9BnbpDKlMN/mqoFWN8806FoV6duaMVFnNKauV8t02VeQ+x5NdWGeetJx
qTIAvQ37kn1uhfvo+fZ0r9cZLr4VE0Y6Sghqqf7SqsBpRREfVPPYjlajJbnZKbCENZ/Zuqzhrb3N
JBtFDV2DQU3QOIBZxPDahJ/qwHte8b4j81aY/LGEdqyG7+ifwmHSTAPt1TpdjR0gAPSOtP5oRjoP
pCjenhkLqIQH56SIqBWeoFgAlnO2atz8sDSZ/g3C/hJpbqwi+3zoglGSRwk7dQD/JQNsXw+TvV8C
hOyvOx/cKD3rTbTMTYCU7RlQI7E0Vrd3D2eRWceUkCbRoIkyPalSZqcNYNXw8ytb3y5lV1Xuq+gD
6A1O8r9sjlvTZoILiXJ5UH0xOtVT6kg6HLenCND4U1vGbjOoK18i2n+VxP09JJQJCjGao0o39UsS
NzhVbvuQAkAikr1oKY7JuMLVu3jw3F7c62+3i1GZkBD6c63qVIpOpRyYIuwuKw2WP0HoBM1pIp1T
1ZmZG+GhndJVIBgHVV9oqzyxR+7PYCJECvpeWdc4SW3lBdWfCRTVoQHJNNW8XhUfIHUqq3eD4MaG
slXS5n5IOBAsTrigTLjQCbhkYzLiB4xA+Aihk1Iwxg3e2V2W89bGYiLGLKNtNIZKBHRQbCaiV8aH
eshXaqCuQ6Kvgeu3ewKZKzEG3L80IQlsK0O3oWEFhgF1YBTIqUvdPl3INfCDLx7TeT0jw5tVPJN8
9Tmmkxmmu2ECSzVNt/kYQ0SfOBCW5lyAP719NOniJkIP8fuw5YRbqAkNepKP/h15AT7LBoxvr9nj
Vn0OXeLUjrpZQH2ZS70SLxmbV6q9vuUMRTXgT6gYqrqE2cuZ97TWSeFHp97tnmZbSszptwGzjcFW
Yc9rRS4PaHH9GrwYkUm3wGbKRzIP0WmU/5TlOizqjZTTHlDh/K0BQreosnWBjDrQVxLBP4s+CvDg
dw+97mVSzdnxypXYroHbSRVDAENbNZgqlBziZE2URidAi9ZCE5mKCvLi0KyiQnWnloKqDpYUdmEd
t9soKzcG+LXoz5yqBLpWmbAXMuFtLkPbBzuZlIU91DN4TsFOxERMEOaOqrIZRRCpmk58UGMRqqXZ
eFDQ7hTV4VVS3gW1u0cKBKrjw4g+IMlls8qFdSRMblrRFWgDpkLRIBUyzp3y03Vp2X8Xn4IJtk1R
6EHfYe7q6CKbFdZL7wPAIqcbt6BPLu+/isJ3ZXYyWwLLaX077F4NAxfDM1FXpjlVYZOD4fv8EZrf
stWjkBnGoPVrwp/bY11/a14MxsRWJPhJkw0YLKKNlSi1S1QfGhIEImUD/Mis2e/uS7/+YxS4bUBX
BlF5LUOUKIuVHbrfpuYv6K9sckMBdgN56VBgrxI129Km+K9e4he/lQlHtTH5AdRBoxMVoS3ew+A5
//CVTR37D7BZ2AnptJYCwx5p5A1h5sYgkoPHh2jKq5tevQ8ufggToEibhbHWlPTkZxABmASI/8JS
O/p1+9ssecSP6+DvKCzCINJqQ1cLMKtCTYGGsm6p8e/bI1yj31zu9C9NjIswByq5AEOhSD42TvGk
bcLe8jfKe2Ni3++oO691q7PLA4wD0Efuwapy59EW1r5z+2dcA4p++xnMkzaQQuDERbCAVFL9AnbE
gsGwM6SdpeqCNSRorcrFE1wUzKx6gnmU2ZbZw+2fwFtrJvqWEUmLIBPpqSufKvq7HDkv0uuvq4uP
ySSNUOfXMli5RSctLtYTzsycV54upk6hgr6uS448Kx6kJ6w6SwDlrFcgcKxqHQ1zwCZMre8E06e8
Atr1N/7Fr2IinVFCVUUMBNy06GrXHt1WK6htwL81cXpP3vre0uGGRoFkjoYlWi263JAJEdZpZU7b
eMXVeruacFz8Hib0NTNUQfC9KRDDg7P41MPHrljVR3UNFCngZPX7e3nfr+grXm6FfXsLXFO3+bYL
mVAIRby0hDdHdAp7chcr+Al0WknN0Y8h4JwAcqWm2yk7J925l3lXzpXr9tvYTGhL+0ppxxZnfdjM
Lnixa+nLMieAwBO0TDh5PW+VmfCla8EQxzH2YjQbz1UEoQDcr0CHu73kKUHq0aVoAzj87fU1OMPq
TEohFsMIF7YUWgvdOR4hvgWJigy+hrUPLXXIbiT0KQdsSkWg6elbp36ChWkTCQ6xzQye67MgPuih
apE4PlXRxofoa9yiORAr2xyg/jgX3iF5U4Aq3cshJDWa+BDod8Msb5vi3Kr3efyoBa0V5NCimQPI
soBk2H7ozaH0P4UYtiwCMTUIpzdQrcw7zaZQ9SjoOzFap9J2arcBM9iSppU4A4vXbED3ybv33LiX
xCcI7FsVRFvU9URhZ9KZaffUBC9VW5lFss1yKDeE3phvNe0hh2xDHlBnFM8TSDFiKa5FsKaNGC6V
RNoWabmaYgVeTcQsYEeGtKfLN5Oir9tGeyp9432efM67Q/pCZ964aVj0ZkATCA3PGjgTsQgabVA5
Y4SzN3g9Hd2sT+8nkKB1aNZUQ2dVy8LFoQUzHlMUdsaAgmev2HlXPnRKeC+DiBln1C5KNMd6Yye2
/XGoPlErOxENVlRt6fnSo1H2thFTL5wLm+Qv0YibJ/+dQRYbiWAF9ZM4qC1dax1Z3xBQ9qF66c7w
Q866YpXE2UqAAmA/5FvaLQpuxUoboVOQ6K+5CL0JRfXqQXNJCaNY/9gtovzZHxkmBAOIyL2vOUod
raHgacnjZ1b8rkb0Q1C9qKXQqvLyzm1M/6lcjbW6G43UFaCtREFql2BoAqWEdaq3ZpqpAYT40l3X
9AdDB+FrEpqnJoN6jxFI9uBPfww19ASiuXk74dtRJNBNaOf1QzekTjQ6YENZo1paCuSb88JwJSgf
ZLGwlqribYLgRhliz9N0LVazE0+DjehwklE5KuHZ4YfKMVdftGJwfGRdaW28Z2H0KdfJLuhmK1Op
Y2jF4wiLnVqHf1wpn4Gg3Myy8tHFpRUq8k5dOHfD8DbJFajxIziABO9IKNQUgkXAV1PR9Eo03RuE
50LXV51P3TQhdtimvwXf8HQKSkdYoTwJP6OJCkdf29IoWPxePxOivcr+Q60cNfEkZyjLBIqbTQn0
kzsw6xszrZFQSIalQSwpJ/LjQGuw2zury9/7wM2i9ZgEZggYhDqdZeEuad7EEjQ1iCmAnmQF9VmH
yIE+QpSxQ3F3OkvdSekSJ6/QFNGiFUStrAIPlnJIeowVeC10Tcvc60H5MXyIAEE9EZgOH9I+w7HX
qwc40NlhHdiBPm8gd+e18OjJT/Iom3OvOyVqG0aSeH6ZiBAIgNkU+JtJBLEOyOsKZpSQD8gyfOh1
3tuzmq9aaYA4BAj7HXTBKyiA1f0AsQXxUeyAhCOzXRWfcyObQh16RT7Yoj8+Q2FyldeeSCAuABXo
8K1fhILh9eLORe2lQQy21xYoFEhuFU5avPS9pw8fOXS4hA8CTSE/OMEWy6YdJAFj2ck1fVsW1G0L
46VSEpdAtRq4bdf3z1WyGbONHgleApWQUvJAllrDSxd/hy+C3j5TOngzNMVux359yZ9uRRgmwysG
YYR4ky4dRxHi3b5bkeyYR+cp+S36+q6R02NMAnBj+25CvzXE4Q3m185oR3vq5ARSM1AH6XbaIOwB
Djv0IZS41HWglXcAH1piG+9b/VdDXurizZc9QS1MXZ8sOommUc6uLICTAXPRYkabCrBwIXPSBFq9
U2s1vrqdK9x++QuKHVYS5ZB7eZKTQ9F8JMaMF2YBRZd9Dxix/C4DuiBve3+fh6B6N/cNdjw4DTD0
yiCpBvCqkD8Z49Pob9IQ8pFTYMHLqx9hGAvtRDlszaGv19rorwtD8Woh4CURS5Jwa5GZJBZ6dAqB
xshSwYdl/LvsNlaem8EbcZbCRXtodo2nrbNj8MDLKHjVC7YjpyilrBXABpxir84scIMA89QSu+6c
5C3By3l2DD82p9KOuM3mJS37OWtDkERZMjT6Vcq5eMO0WdTPuYwXbNJBhaML8e0DYYdmiRUGQD+P
heDe3szX61PG3xGZrLlMoPOmjyjVQFzpkBERSgWtjhR5mLujIVcChLOkTx3Jo1ZLDpGeib+vhX7V
iqhfKfq2kaDp5GcdmBG9f9DwVtZ0RChNgVwZ6XeZCJGz27/4mvop0su/v5hJbVulmDJCsEaZ/wzv
LlXrHWpsdBAmLTkVfEjttx32ujGsuoa+dyMQl6noCFCnkWpqC83zqDb3sSqeyw5SRXPWOpoaHYiB
6WWVDJcpmCtCGC0LtE2KaCsl+wI7j+A5o9WJlbenun2S1Lfbs/r6sj++PDVkiUqqAOYJMysp9aUe
9nQRiuIiLu1hD1TD4hUC4wewJEw8zzmJ8/XG88WITJreTb4uQQ8apRkRYO6u8+qyP/XKe1/0Tpn1
v7ohaU0lhXSaDKU1AMQaWT0AYYUSir6tDHSAGjnbEsjE91RGmqByUrnrL+mLH8ik9glJhVqqsSSl
qFlSN7gdWBFgXb3OYwqtvn6rIzLVnXykQrlWCPwhW433mr/2lqb4GpoqSaBm/HCj9LUozSpstkW4
ZPSx7xfxErv4DKCi48iqLUj/Rlf+agi6HJZ5O5YG6qfNgFMpbCBvGVoR0MMLzapHexzWo46/5b+k
uIMyWxBC7ITAp23Zgv6qw22VgAuCFmZoG7vWyUdbf6/a9b/h+3PtwXg5W2YnplNftrFuoPdm9TYM
Dk1o8S1xvvCUdVtY3fr2WVsWjz1ql8Mx+ypA3iY1Mb5p2cGFuIitUtuT5qSoXJ7elQYmmtdUBZWM
UpxqZiQtMzoaogByzHfBetk5EMuC4g3Z/Bs26FdmdTkWi8iWxUYQpGmp8stQNcx6S/JR1FbexyIE
r2Y++kKyl/R5H0kPzVTZJVWdUCnfhXlcR3X02IbRx+1l/gfzxSz0t5/ENB7moYjjGaKHyNyDCU+M
Gk+EoYZSVTyeumzYTD0cUWiiQM9PT3c+bTqzzbpXmjpCP5xDMflTQxy1FaBXN5+rPrR8MtkF5LaQ
HbyR7gh4PVy8W7PFfziAeE9FWBBniQOxKMhuObHyK2/xCon0BIJ9abOGbIk1hC1sxfSD4Gum3qIi
B4BPgPJ/XKXIN0vHxwOiMz4I8vm2BtQ834eLtAiEERdxmFDoIOZK7doXzQBYsEzAI6b5wioW2lGR
HiCzZMKvwJLKAk+/XWTsIxEKGtKJNg+qBJmf5NRE5zK3xWo005BYMszqa+TeEMCdjHUvnxsIVka0
e6zizivz2okkAD/n5t7IwNVIgj0Z4o92wAEV/4jJOZbWhnTXxhSp/OdAqYXXSqWMjqZBwzKm4dFQ
M+/2d72WMlx+1q+/XyQpYRjqAKUG8Uk/FttyBwz5sXpS3QI9DAIZSfDie7N1JnuAOOdGssXfkELk
I5eu3V/ffgaTIZZ4s0FLGT9DDGGO0d6pPmI0bVcKXgiaED/FdaJAOi1C2SUzVVGZzEFrD5rmRSCN
178Tad5GbbttlCMUmFe31+haLP3245gSqRor/qgvP24p/ikAdCnJKXQrG6oxdosU3GzvBCDvXm8P
e+W2+jYqk8ypClYkyhADyFxsDILuGgoat4dY/hc/zvTfXprOxOpcn4nRLxMTchR/dNnMiz9qnXDS
0h8T0WE2bSg6DGCpLGmsRnaEf4wbXabHKDguh8CoO84X+mINf5sIMwRz20WlkSqpHsZfJKjakxw4
MO/1bfyS0g0p13iSt5IlJHY1vkKJA72DyYZMVzAc5sGp34JiDwFdFFHrFZRYyhVXCWBZx1s/j1ln
1NfrSJDV5U6crN5rzl1gVXuFABHYwCikwOOD2mgbFscAj17OEf+ZjTKLw1xcUVEDKkrwlbU3lZrl
YwObNVhm7PoBy2C4Edd28PYH11kQc5dkHZx+isV0W0ZlCjIQOg/6/ZVC/1xSwNM1WUO5kXVAleHg
K08K3nU1FELN4r31qr2YmePdCoBTl9yJTnpH7Wz7H9u7fi3m33GX9OciXsYEreUyrOJT2BRuqFBc
Y/qqHktOQn99Cf8Ow8TDgsz5TGidnGrpINISwpW8bfHj7DMTWX7BxUTqUsnCFJqhJwJR5qg9T6M7
g451O8DwpsHEsFzWkrmHTMhJiX17ahRTTQkHCvKzgcVMhDn7oRp0ndYo9Ni7wh8oiQODZAu/xv/f
FdqQVbxNuKiI5czc2n7MidaUvidB0CbI6SGevoewMpiHAjpPt9dv+e23hmGOLkBkeDIJfXyiEPDE
xrNyqKwMzWOOZEONnm4P9iPp/L6QrFmogfdCHqZYSGitWnUfwuPnqLZuPYjn2wP9xCkzIzG5pDpr
ad0XGKm1096EIHS3Ah5wvzTSmp365JvtBhVyC+2Oc+Ly8YGcVVWZM+yjfhYmGs6wL4YnwOSKzI1y
OHkOvh2T+j+9Y5m5MieZ6qMWQcEZn/Ao58OZJvFxmv/cXtCfwBBmEOYwB9ok6ynMDCA0BiIgKHo1
6Ld+bvUWvSsemxMEUB29cMvCBUABpGcuPZa3pMxBF5LS77p8iL+wskbZmAsIMLFmi4ZW8dg9lmgX
ag4Uexz+5/xZW2Bmv2zsi1BmjEjGlTQCPG2nm0txcXwut/9crOFGu+esNe+YLEtxMdpc4mozoi7G
zTPa+anBez7b686MLSvYeO2swxVs2Dm76CcchpkjE3CgSdYkJCMhoGfyJ2RXbQDeIOJgtw/oOL4W
g9nDgcEdPGUr2P0e7x5+TYE3cSYYxaVY9O3Q4hsbsx1A3JlC2TteV8X/ePmx+BIYGY4D8XFriPpZ
yZ5DyuP+caI3iy4RRQ0PPWifAET31wiyXnHBej+IKN8/msYEGmmSlbJSsFWkuLdH6CqKFVTTpcQR
xPhQpqvIPwjCA6l59cfr+ea/sgeNiTnpMNR9GyC4icflwVI+hCj1ByYcSa1kJ2/EyMps4imHGA1T
YN44uQsvvGtMNCqCIo8bqoZId6NDin7WRqAw9u236SJrZA12f4C8vfhUPSrrcJPuee54nGCkMcGI
ALNTVnhan8ZZh+ngqYNFWJfUr0nhiQGvsMlbayb4CMIgiiCXUyjYwXZatttjhYsMoFATQid2vBHM
AUuuWv3+P4bjMbuLDURVi4JmhPNoSIGn1w+JfsiV1wqy8rcjHieJ05jQk1URGboUx9EI9XWojF4g
Us6W4YQWjQktftOEWlM08UkWgeGe1gNEWyDtovmvt6fy8yn/fc1YqEcDWg0p2ypEWXS0NWs2IzPT
rN7srfYd6v3mOq7M5Pn2oJwdwoIYhMqIhyBFrqhVJx0eUU0irUm1J7566hID7WrFuT3g//Hi+9f5
19m4o0kNLERwAKGdD2sbvDhXBO2HwoPqG1o8EK3nsrI4X/Crz3pxK9ZwCY6lFGcu7iEDih6nHq/B
BrNyQBBuz44TvNmOnhEim+qTEafbNcDZ7teJNzv/hTwOs1OYIOKjP12pA2J3B6qolBt2NxLv9ky+
4jCT3ksCBKQXPpgsUnbb13hJDlOIN5g/w5JJbUBWSeF63k/JAxWUwA5FMAomZdqnpLrP0y6wq6b5
LEmsgNUCNME4UvpYwuDlLeva2hVbuBhoGXjWZZU4ATguQZE6/XgegnkPZt64ilUD2BL4BVToruea
uJdo/QfZOJyOoM2jpO9q2v7ui2ILTENcaE9tRXdjGf0uch1OSnO+VsReM4dSu9PQQzPjCT22Xu/s
Jk8hcJ7ZClEOQfRMI8PJYT2Mn2GGsMuiBnEAbbaixRtAb+y8R342y+g7l9Kq0YLcTFDYzg2yvr3A
16oElwvMHne/i6eiRoEZOmzIi6Fw15yLTX4ct4o3Wt2uvJ/3FbSonnmtpmVz3Piw7JGP5jmSJDlN
ThNEzPym9npSuCNXpf7Kofs2PeacqxSMhLafUYaGvV4Ho4UWvhboeW7r8NftleRNiMkoRC3qQgF0
ypOMAjYM2IFVcHW15Hwv3ihM4jCM0mi0qBae5upO6Y9CSFZFQXk39o9GDphBF6dOZ052GmmwzNCQ
F8Te8LSwpuGO9ym4yxuJPt5eNu4GXL7gRViUSppANyXHCd/3u+R9SdxhzdQBtnw/HYPH9BAC5WFK
vp1avDcZb3Mw6YFM57IqGhqfmuTZSCMr6AZHIPs54VZglm12a7czCUI8CiEscYME+Z5gzfZSX+zX
viu4sOpbVZx6z09oOPP5mFwh6/RAiib0XipH/My2LV5hyXpyUGLMH2f7LQe1sLLV2gSqTfqEN8ni
s91tuQKay46/MWmWh1L1pdwMRr5MegAmObXhAwUikFV5rYVrb095996VNOxy2xpM0cQ36hHMUFwW
evUYDY+ZeubsVc7pY/nbdZiHegP5yH/424A3JxvgF71lUmQlrXFr+If/cZMaTFwxWhH2MaMQnwK1
c7rK64DthsVSPK9uT+6nsMb3XcPqPkLT36+EvEAlcpXcw63nrCyijBslPaQECijrFGQgqzWXspPk
m+ObOFoFUFTax2Js/KC/cvcPb7WZKOT30L4eMuyfxpmcDJjSdbMvNGsBBnQ23vCJiUXgazhcK5d+
20ZMRNLGCHDCekxO6kO904CMMQGoTpzQXfTTQOlBnzQ9oCPhlgMnyedtYCYgKXNFxRIuaqcREPYE
tNgs5yRUPyUxmK/MRCKh6gCr1imqJA/jS/MOXCIi0bip1/G7aCk7FMHs2/uKNycmGIWDPwIZiLuk
ITDDDDSvTEMORJEzBEucDonR5VWr4FLsXtRiRj024Vy7vFuKNZCRxFklUYNlg2GlZANtvAjOldj4
K3Ej7ztb3Qgvgp28/BdKM98/GMvUHsmgQOIJ53+k73OLvZiuNZ9zY3AuQpaKLStBYjQ+KrAQfrEn
0jiRDociTV3LPW//cQ41Xb7lxXXfgpZc9QOkXhbgF1xyNxGke1okGIbpm/0KAkLDmof9WrbYjYuI
ZWBnWl5Diwg5rrBZZDdgpuYq7r8B7FmO561xmMAhFHNdV6qGzpf3pUj4MiCCOgnEegY7R7l1sltL
gZ7zOfsfvx8TN2BOLQaqkIAVkv4hs2v0ujsCJe7rr7fPMu/jMcFDSjt1kAMk7W0PQWwKGHf0p2x5
VuK8ZWQiRjeXvhQIBMs4PEigUYUKNKJhhijMve3zKmE3Y4cksJ1YFB76bgyRtgso9akaDPp8hRM8
eEOwaUkaRoNEkI4BwGKQXxPeB7c/C28A5pHTwjBAETNcGyIaF4UkQxal4eww3hBMFjIFYGnU3YwI
AQX0VlBMQeHQlq/1KP5eu/gSy0+4iAw5LP+CCVbei7CXG87b9lcEvSvokMPR+NSueFo8Pwl0l4EV
4zHpRRqWulBhxRCJBkd2ocqKEnDhtYUHhZwh2QbJFgmrAVXyyks3LRgWRXZn6Gb8huK+8Qm8KirE
gStxBM6468BEkZzqWuGrWGojkzaZIm5q7agTwDWMP7X8GHYPIcwSAKB9zBogtfL5fHszXSsAfvsO
TDCZBXFOpxBRbJHLXd4q0Z0Ok0wAFBfa9HiA6fNqHDhb+GZkwcdgIovsK7TxJWQJUhmblXT0odFT
6hyLnGtl929TYyKLNkkk9SlS3NhrM0vctUe4ca5aTCyCLRxk1RawvYzSf26p3vBBOONzJsliFn3Y
fKRJgC8r4BDBF96i+ouWvNz+fjfvciCrmWiTRGoriOoYnjqjPxBw3gX9I5zIQfdl+/ZIvOkwYUcW
4A6GrQp8hEEsiEbDmbN1mk7nZHfXarWXX+3r7xeBIYUVWlcOX+/I0ZaAXgBYEip/kysCmYSA/b8k
4VhAJg6lswqR9iWatsq40YfMiylnH9x+YWCIZWUvZqSpVSHKM4ZYauxSdcqhUvDLn53cDl3d6h1i
WLVhU+NFWv/HaODvUe/rp10MXfqTPjSwbD6FdAU9B9ABfXfSWnOaO/f29rjWcv/23ZhAkiVzmAZF
hHcUAonuqjOsjb2qOifnxQdzdlqojm3zZEtiWJebxj2vxMj9AUxQqYuxUOsOaS1Zd46x8jf9Kf4M
tsu10rn1e+Wb1a/CTtzU4kGHONflF5jzYpVreRr9WEO9R0J/oRsgaJCVvE3EGeMr2F2MUVVdEkNV
cNlE/qp8Ld08NEN7WVrgQgAqf4vPvB47J7awho5SJXdZlc4hOFmKI/mp58OgnWSiR3uFcyHwzggL
u1XathA1CbtHWrXeYkcPSDKq4AChfDTuCKDEGHjhXfCQ7nlNaU5c+yqvXSwstOe6PtRQ5ZmKz6kR
bGHKnZKPz1t23//5WpCEr3rMxTA0hnLCGCGsLflO+YoaQ5i43Rvc1dbRTniBdauXj7A8MhvEui3v
Wc47HBITgwbV6DK9Wd58iEHKE3kB+QGEkhQaPT1QKX6wKlF6DdIlzbGLj9uxgbd3mRxHBqa20CaU
5VNoANUR8MHT3e0RfuKlvwe6r/TvYnkVISA0X6LPUn2sTPDV3yQYf4mAlRIHyoGbRRqv/51JTg9B
Y4/35uTNkIk9Pfzq6qJBFjVPTw2IwpIh8ar0vH3KZDNtDk50nxcLpT40NTDVy0KFmTls1oHRV+Xy
0JYqgak1sDap5KYECjDFfS/3u06NOlNPQLfjrPntGqIksN5Fs1xr2Sz5IX5SeejHzDQaGEcKZxiQ
ByWQZECDZvVWADzPR1tBh9l1ULoxVfdT9keE14UKi+yihnH3cBI0eB/NBlzLBBdUX7CG1U1SfQj6
Vi2lA9Fh+UGEtUjcIDj2wzEo1jNaci2062LDK5TIHTP1WENBLkhzV6kbzwgauzNiV0se5241ZDCA
hjdynUKJa4IcfYjNATDuoIXW2K0b/yETgfslAGiIYE2c5saHR8vvseutHjxdQThPUvHqZ/UBskeC
8tgkGwFWgGr3a1AdFUp2kyzALPggR5uuCNZj5iL/0mC+slidER02h0ludmBFEFmD+7tm0vhhqHOz
LVZhEMEFLbIIvGQkLdul+R2YcvBpO4fNg9R32xJJqirZiaIgR8hNte7t2PDtKHhXldITK93s5/si
hAwAfNLz7gwxKFeMUF6plYOup8CZ1OrvEPaIc1pb8zA9+VN7SKJ2L5PELNNfsrEaAs51xdmsMpOW
diIFOmookxOpH6V0/k20LbYnTzGZc+pkJiVVxjATYcGXnJI8wUtYOdZlxKmB8ALnF2HzIrDEkUFU
RcM7dajNdNdsWqivTGcIFmR7GDe1G30l7GAxn5g1os5vHnTodgEXR2xZgovhiQHX0qjEQi5xDbIX
ICqDgrIoQvdOuM3f8jPvqriGrLtM5GTmqlCjYp5AbvonkVsKn2C3dxC1Fz80/6lfyyvBFez5jGex
T7ZJaSvhaySfhzUv/eDOnbk2cpmUs9Hghyw6p7BxjIFtCKA2Oluq9f9I+44luXGu2SdiBB1otrRl
27da0obRkkb03vPpb6Lnv59qoJo6EzPrjmgUCCCPz4y+NWe0plDRwM1kFD634MQmSrKaRYOUVxZX
nsUiJ6l+tvboNLkT60RXGvVGBJsxFNOyGSrCU03u7kfpYPJJbHIUhLzAgt2YJbuf1aIAJWIA1tbd
GKLY/wByxPvc7XwMm7vWWxPG90lY727bB8J91AUWGdBVVbNpI9cWJbGvy3vFrJw1gijmQCV3iFMT
Zx/WbZAiy0ZFoCq+pmayq/InXR29erHOm5VQmStqNQF1BiNe5zjDuXFXKhn96TkLMLcSNK3LHhWX
NxMV5yxUZccgkkXUFxXSclMa1dG4yPlDWh6m3nhvjT/KWXWGxKaC8OsroS1AswxT1sR3sMZyNuom
yvTjodoXlavspLtmt95H990nzFK7KtjUk3O0ES7F32DPr3WFN9FNWd9XKkKOfq2cBbTPHz6EHTsS
nJwogzypXYG/PMs3d4BKXSZ/SdYG9K4qmPfqfQcqkyLPAzu2nAKkZEOWB12pPyacgvH25eY/5Hd3
/tcPFV6VuaBlVisRNfRb7ZQaDCt4+PLFPlVrDm9M2xml4t1e8m9Sdf9bU3xQMHc6xLlQG+J84vKr
bPuZp7UY32o9GdkRhbOPPcTPlEG4jlO/lhVsOSvieDZ5E0q2Jl6jf+vMajdqBFj8Pnf54cD/WkV4
VXmtGi0kAhGGhcr3BgRySL3uQdoXy7sOfVu7/ADw37MugKStjLbLdwZKwwC0Lh6VtyO/s/DMhkJB
FU6FyVcmaP2VdwxcycpLAzdxelTqFwnutA4lqCSKPLQcep3an7PadFSTtP580zdumS5Y/25QdUVD
n/SDPo0ow0NbqINA7/pYqQcpZp4JLbFpUI8p+2OcHhKJunHX/atfZyJ4AvKqLspqKcgNa7XH8O6a
8tPtO02twHHowr2Je0uekDTBp0a1pxzCVqYoC6nbK1j0Th3LBhyQsLJW72wm8v5oXbRXqhmFWkYA
rsqe7XgZ+CPBzVwemnlzajkjQIe8mQLq1OhhytNEg+n5Kd3XT3waec6cAmnsGGls+wCCL3J48W8q
FP+7BeIYVKXWmzwOuAWgnpT3KUqqoHxH05vky94QxgHlNxB3QmT0zWezsdsU6xVT4kMw2pO78Pat
Iw5LnHeSM8aarShxWFDJBHNRpoIGB3LZt1f5G//114cTcCQ16wz2DJDWfZdib1VCLYD3tWuOmhya
s2ceNggZUw1E5HEJmDEmQ9QpPX+0jvWoqE59iH0FVJDft3cIbcUelfwkFxRQIqtrdNEqSC1t6FtV
0UZUNOe8uMvRwptrIGaSntROAVdddeiV7/BDb39l6iwFBEFwxOZERXLdVlVnUt4l5WWmGvoIb4gJ
GFIPVQMFYdQOm/jBXqqDhDK1it6kCRNl/203AozEJkTROhU1oxW8ZAvbnFF+sEjuGX7xbpgVkbZ7
7iHCyTpMF8TvSrA8gzIZUyhg7lgdAAjEmMlI7rrL/L+XIA4wFcmU2NoIdExALFgVs79Mha/0/d1k
PK3G7KgpiJrVwTWmzxmIHaGK4LSm5VtImmhgiMzsz+327faXJs5UHHnarCEBCyAszwQXVzV3doXc
EjrFBysjcpPEDRWHnnIjVZSmxiTAurkGZqzmSr5vCqJiT/ijv004SekEpxiWITFa15om3+jvlO4M
zdev49IHMoSnb38/AqXFmSarSFaWqW32ULPiTh/lJwWjxreXoPYkAEskSfM6ax2mxcYWPImy0y7x
S1X1YCczwfVqHoxxILKs1K4ENNHAtJimCi5qocqHUct2Om3EqZsnoEmhDapVT4jikv3sg24Skwk+
u+veeFJn8WNXfSsO8TPVJkytKiCLXekZuLA1pI/bp2bA9ELBHCRY3KivPt8+tr+p5fx67YKXYljx
VtY9PuIUaNlrjJ5ZjITa/gAtgA2C1aWPYbfVA+8eyZf7N8mO/y0tzjdg0C2WMgNJ8sFr9ttJ25nR
MYOAaunoz5A5vkOR5SB57bd6OUkoLxGYQvln4piDWTNbyxJMoI2H7Xv/ibPR82RdelL3mEThTcO2
pxAG8G8K5r/2rP7Vh+6GYjbRrcj3zGedC28DldYbiGuhN4KJ8dwnW3V5xHfDfoizTbYi20XSN0A0
GxSCYGJkyiGXTDhqjbvmTwlrQVGHDDVrHCNjhFtFwKk47gSt+BIMQSqKSfb4YE7QG0jAWCJ5ty8x
tYqAPYje1Y1F2GJsyU43P2gqSpEaJVBDwI0pwI1k1XHPUjgv8jSERmt6bUzYBWofAtgkWTZtMQiD
uN/im8XqLNpLOvzHRQRsKUFnCXEHZIvUGa3/2WHbwrKb/NsnQt5zEVbGqsz7jOeGfhqHGjI3zp89
2siAMXfd00ofxOmIEw2rsqbZpGHiDWyJDthqvLT4QuyJQGVxhqEfFuiadDgePcSwxonPzkMqp/Ul
HzY7kA79M2T6ZpKegNqZABmtXBZpsmHZJs/ApvVHK0nEK6U2xl3Qi8Ae8r62VHS4EvNWurE9PRZs
OmnFp0Wl8IBaie/1YqVObkENs5r5Q2l9HuXSXaz0czl174X6H1+rSJdYpNmcgBsNgXATOT3Iw7Wc
eEh/07L2Pyy3BEDQtBlu6QT7lUTnJRt3mfWSDT/05LsBpI2Uz5YNaurqzWpeBpScrGID+p2VDFS8
7OvEdkWGhpB+J9lUDpB6fJaAI+qqVuuiIzBRw8mT0TcQ+5MDgkHQyZRBEa4h8TCIEMUSIKUzxxYi
oVhvCiyoHCDLmd6n4KnSA3lnVPvkTLUPUU9CQBcri5V1luG0rMX4bVSN574m6j2UXyQOLoDYubSt
BK+uOA0BHwxTX9HmMu04KUn/ojrlPeZOXao14aMF8Ia1/m2YYdW0xiqxbAf/II6d/GDf8Zb4Bd10
1GJUAl+cX0A23JAahskJNdwCqJRsqGRPTl96LOB6n9nPcq+tjnVioYXUBOhPYggTkQRjhNUTJxzA
S9lpCrfeUfmsp6ZboQOzlbTg9iUlrow43FCU+ZivKwK7uYbmJnLVvfp+ewXq2YmzDF0yJt2a8eoz
yr/bFkDGiR2XHR6eP6VneHfklCS1KQGBFl3vNGnAbdEwLm1p0AbU98SmuHW5dSEFLJlLuyoR2fEM
1eznuxaTdWnI+9iWMA2oVnYOFLcWE4AkqZNY12dcBUM3PBncmLYGLeVkBPOWFmizBoW4hPJUqOsn
YMnYJGW1jB8vDp5Dt+8GN19Ar+nUkFTFyKvfhZGv3BtgjYk84uNeoVhB9f7/WxD9twkHyOrVI8p3
vOkZQ5hg9/MxswQWnn/BtvGXhYSy0MIg/z23SAD083tUrHt4snuQ+Dsjo4qR/D78/RHqoi720G3m
qjQo705BvLOPylsJQSkQuc8OHw2MnMyRj3Bg9NKBFgJp+W7fVtAk/9W/UEsWyUUFSzQezGcwk0Jz
HGoFK64rhy9qudvejC6ORURos06VHG+jXbODHsd+tRUu6zJnWhiRXiGiVV0ciRhyra8kE6URTv/M
Y1Wm+NGPbqc7EZ7Hud7XUO3LKPl4AtN0WUCYNt4qeU6wLG8URpqzCbhOGwzCZ9XL/H+QEb/9HHVZ
xBu2ypbUdgUKGMM+GwA3ZeugfdZ4aPzFH1A6Blntji6c/s3Mya+3KGDPWmRQgjTa4kEGa4UPQofE
iWandOHmg0De3S+Js+100KbKnvVmfeugv4ppuMFFN1OGIe1/8Cmo6yUgkxVt4PtOQNea2phHH3UH
5XOnmsBRHOe+WrcB0jZ3JvS7pulnjdam9rnNoZj6qc01r4kYAVa/qz//peiriyMSplIWS44eLpyM
FdZvnVftmwA9guDZ7fGyH3QUttGynUNaGFwOvB3Y/hhMwVQuZsqhXxpptMbZVQtogddaMS2L6WI3
iTknRS8bH62y9buUcMbu+wUCaxjfB5MZn2Unje71gdOLNYWATIHWzJSVH2vO/tDcbxB1i2pXhQYL
2BvBxxD05dftKzSYaMi5/iAvFhcQDsWNtgJdAS/wzT7P1UGVV/2ihXrwwf/aQtuIaA+8XjO6WJKf
wUXQJlsNuO8tcPmye/4wsuDFeJm9E876nspWUcfJ0eFiKdvWdKvksW6KWaOoebWMH4TJpVYQAK2f
U0jiGdjMEnCyPeWImqX+kKJPjUcrYNC1mUvZCfLQBFDTWa22iZLyYML4mb2wID0YXnkaVSfZDUit
UgtSmxSwrErz7s+AbBhtaLaotMYheSkEcEpbCWqeEQxDsm/2pV+H1mnDoDCnj4jJ/VzHnl9XUCxr
Y7K1NAcdaVN0ce57d3sbz9NeD+U7+4VTaOguhqnix/FLDWyCCT7wCUDwDe26sDtkh8htqJTJ9Xbq
i18keFS9ptRGvMDP0cNuPzxMz9V9mjtwd7ZDGU4IftG7bKFW5sn5BwzwHPcxfS6+UlNDFByJBfJ2
S+HemVDPyJBEh5XKPo/n8lXfRzvpzA6RU/nq0Wr87pWa7afuABOwaNUHe1K4cujsLhhHBGHBq4Up
FxOc0NlXik2WXI1f+gtsMPUtSUfkdfBy2WfO0IlQ1SsRiufe7JCx8VXX/OJ8BSTqRn1WmIrVUBcJ
Kq89szbUlSPk/NLzlLncEUDB6QiCDQ0ac5unQDVKgYId5fcRT5kJeNVAtlZlBfJY+lnTXN0dH8cz
L1NkhVM55iGG5BVND3O1ZnCxeQGv5tG24op3dYxoZw+0HdJZJ4k5kDz4B140hY6iHvaqq6sVa4j6
Bm/yktTbeowRToibMeqCfr05pLVR1au+1cUOBfjaBiUvK96eV5yUIN1pn6NX66sSGG5+QPNktbcy
R90PvuL2e77n5DU5mO/sUAfrsX67bZKuBr2/fopYb59MqO8ZSo5RuBH86sp3EIPvigSpXu2h3P4w
5f7H7fWIGyUW07VsWze9Rt2rhLpfmsKFQZ7p9hLXo5WLPQkuUlM1hmYpCc8aTJgLBaPuobhP4BsZ
TnGn+Wkwfvt3vTQXawpoNCdWl2UzLDvXbpEwVZQe/kQjzQcbdHh7h/wF/BbmXiwmgFGT5uZsGzBI
rAdLfA4FouxrXX9ONyhtFrF3e7HryciL1QQwggBBZygjnD7OURUfCy+Gjoi3hamrgbm7C9s36UHZ
3170enbwYlEBebQJrS0VwxZt9rSC964fG3fW5VAv3+2ye1HmwQfxwNFkEHfJu/vJaJwBuiL6uD50
6fa+lfNjhV4mU4FoiPIjK/RHxaIaGyijYAhIZSd5kco8AwYyXLjhZZi7c2DD8+f2n7xi/ArdOnXB
r4qkaDDsDaaWzwVKuNQM7rZrwu9ZPeUVw7JUs/z1GvnFIYg4tVZGqW/8njmWcphqpzlhohSDgPHr
8hRVTvZJegRJ/K4c/4GwCYEUYoE+GdWtMhi2aw7P3fYtyU3KuhGG5rcafJv2amrh+Hg5PD/2YOwC
yadrBfU99SkJxP+NVhQtMMXaoUBotl8abTz0i33XyH6rvt5+N9enG38dmVhwXySM/+oxwsPZRQ4Y
/td+BcWajVebBDJzoVV4v7xXmOj8mnv2HhTGt9enDk1Apg5NaXgRgHfIUAeKZfvtTHFhUa/OFPDI
0BSTxfpHBLz6EhS5MOwDhRtfAb3mD7q2+5FauPHuxNJ7oqM1KjIz7MmOD5bau5D43kkbaAYKJbDq
8qFheahosrfoCvE5yeMUECaJ87KxZXzP2S1UJ/ux3q2tM31jKMtsyA3PR/XUfdoO4z73qnP6dvsw
qUsrAA5EDaxtWhFlbRlcDzaEowmFFzbtqjSl3iK1lgA1i9zVE+OZW07/BOL7R2Q2jjyW4WTQybEM
Ej+tHCriv954++u5iIX7Larj1F7+L4hoeQ5lO0KR4rHfd46xy++hKf0fzalYyK+SqFg3Cd7Jx5HW
qau+8xopFzmcPsnfZ48VzgKv81+1dV1sVfCKMtlOJaW10N5u/GgGKAnmNZiTkn1pU7M5BAhYgi+E
joGt13keZVS/1BAmjb7dvpf8gd94kCIhYTzD7ZEibpa0nxH4cSWjCzqofd9e5fqcycUHE3BmHsCq
2y88+Anryp/Hk+JtwSjvvuobuEZi3/DWoCyDFbRviMem8ds/U3YnXoZY6F8SGXMIOSBgTIDpq+7O
2lOlj86k/rfnLhbuq0GZmMkp95NB8lENc9AH6KSln0VETo+6HwKumKWeW1GPhQawMc/TW0Qxw1xv
jrg4OgFNYklTjFxGB23vcyXFwpuQlYV4LBxEb/ipBtBTDjNX2ql3gyfvqAQYcT/F6v3ca9ncdoje
+/i+jv9o4heI9hG3k/LKxVp9rEEgIY0RcGz3xkE+Q5L3NT6vP+YASb0Q5fqndWfuc+KKULZXLNq3
6dIPmMThbyLezSFiATR36Jz781MXUkOM5B4FIGkGUNszbv2sc34Hb2lBN4ntb48YnIHUHWSKOhfd
yhsXEac+L//XNzBGrNgbUpLPlQSMmd3uxMmuMrS+WycuRItyywMV0VGGSCzfm1WqKnWED1tBhxFU
BZrTuzFCHFTXTAQUNZTzTv9gYocAF1FgjplssLUKGFecKoyHnpZTpDv963A0kUSMvsMUrS/9c3Kg
8mnUExH8mmbBNCkEmpB20P7o1hmcknfjloYEghNpNFsAmlXvuwYlPXSe/7Qeez8JNUc/9I6SnPjF
TcEU1fSO9Dh9mt5BiNCRzP7kqQo4ZKVyWW8pQmfzeXXLuzlE6Fzh2oLzcQPLCCZXZXDHUsNft/GV
/VbY1yAlWKx4Nmn8uRsSB1wRxPMgEtBMFhLQxiLJZZk1xf8p+UCehVczVHCzgQs84JZRQhq8cfMH
yDb/YX8pHrtH41t1Np5uHzE/wb9/plCMxt8v0rKtUchFXUigUET8a7D1OBfKU6GmQQJq/QrdxdtM
QQO1pABKltWna8qS4sGuX1YI0rQbhi0bMJMXtcMg06tGGtHWcPuxMLHSb0FWV227uMB5Lo7SJu6A
ntaJ0jAj0mZMLPJ3KO71fVQXSOVPe2bcgxEF/NVIQj5YO0wMl89a64D5xL19glc3Z6u2bpqGqlmi
NvA0jEvdlEAgI34s5k9K8kjS+3Ew+e2S/FpCrB2Xdq1GOWsBcmvnqFblbdYTAitXr78YK9Vkej1p
crGa8DRSuxpbSFMUMFrzzyXoAvmgBTbm+ZAR3JuumbjT6kSfK3/dUfxxxLf8sN4XryGNomSoDTge
Y5S5mVEFTbZfcoOAVepzig+gTIxJj+38IWPfJ+u7zuynru991kdOTpGqXLVPFx+TQ93FjjIt1yKL
8VRu/pUZSNFnqFoOXj1LxDW87tlcrMS/7cVKZmVCBWLCSsVJdSU07ML88nSeHsD2/oNSOrUz/veL
9RRjHFVrwqPWw/FTe2fuYn94i4IBqYzNRddC7pSVY5PFTG5xbr0FfrgXyw6KLUtjC5PIH7lyjKG+
CMIgspfuel3w4nMKprfpEalMDGpBamiEvEYKvSDfejAx2wPRTwfZWiRJK3chRlyouykYXJ1XBRcL
5Qw1U3xJBkdahyXH0rEXJVS199vYRe3yIw65+JqaIdeGDkm7h+Yz2JXDSsMmY2xzHB3lkL5sB84Z
irxF8gf7QSzNX9mNg/xIoF8s3cV9IVXjRxph8hr0Iv8oAlCW+mqQKs8yxMLIBDRxYz/i5YsV10az
B4jTIqzJn9MtRK+pz4bc1zKqgHO9Pvbr8ohEe8No2vZgRZziL38aXrr75rmzkMdHUSVKDhtS/vd1
qHuVo7jyS3FgyW6aPH2H+ZsayfC38UiJkVz1qC5+kABD6hJb/SYhO1VVXyYbIt41JY57Pda5WELA
nzFaJXNMedAIzmHllGD8Ggn20eGiy4O/+bEZrtwC061eBCR8nMbFucZLxKwN04sPK1jQtd0A3qZ+
nx2oXBthnD5a4C6WyYasn5gFV80YCjfuleO0Kv7MCgrIr/pnFx9SQJ42L9WGLbg8PETV/R59EaDj
15BiM7zB16Fa9mN6nF5RO69qdz6SZZqrQcfF+gIEpWoeLWoPnt0UNMyynLmrtO6UsXds9YsKBrdV
sc4xGxx5GbzbmEA8UJFkr2MYp1Qnhkm06rAYr62q3iX6C9ekur0O5eKInG3NapQsNcz0wX42fiag
lQgij9PTQtEySPfNjndoW0ETRq72QixNvESRyG1s88Keeel8AOkWwkbwvUD3BKtrj/VeK0EzUbnU
UDq1puDwSN2C7noOfAM6W6oAgSoRThFWS6Ruy5JttZIJHlXazsEcM2dgp8FGk1ae7NaVyL5dD0p/
XVBNQBpzW8YVGpO8ZadEVgVtg/sJHWEFUhvoL7mPXDLlTSCMJvg62jZMVpxjgr7BhIepmedYy/Ew
83NcxpA8WrfPqpGg8y22dVer2lcwM8j16sfy966MfFUGAaSUmzZ64PMiaFkOeplx/Hn7Zl2vOF98
FsEzMuaibirukFWn9q6qgkpxtGMNPsbHdX3UvnF1mRV0dkr/qsve+Kx+06egOlO5w+v9KBc/Q4Av
aYSOo9zpvMprYRwajAshe0LW0jcCEBK/ygRRGGV3NAGuqj6WOhQGkPXF/M1JPwzoJwMHh8dVD6Pn
tQbJfXbsQmqfhDUQGapyC4yM4EpEak86Da1xMNRyl8pEdoDanNigm2hGNkoZjCrvtxzu13IXd088
h9jBoho9CAkdVfL0KCjv/9XQw69z1IXMxJjLsm2nafFQal8S8GgnnIRMX/0FtCe3by4BT7oAT73a
481kQI9NhnXRGeZwlOD2EtTjEOmlDKNIaihO8Q+pBOw0n9Ov0Z7FznKUvuUH3neMzsfVKwPotHyQ
zu4zWhOYsG+6AFxNGXUzGFH/7LFp9A/C9zpcHu0n7ZHHTDyd9mZkJP5fz4xcnKWAX/HaJNUcAxrY
ff1uHfirRBecv/7gDJdtUHy192x/+4tT70NAo8ketMZONdjypfbtyb7DW/lur5Q5JZBZF9Amkk2Q
Lza4pXqIm7pTQbgM7vcRuV8PhGE+QsPYk9aD9Q395Nlj+gwizXZ3e6fUqQoAtKyqPFk1mMus/Fnd
onM6TAHYJ0JZIaI1Yq9iG2/b8fFGng2eguXEte7GYD79KzlXVf51WURSKgjUTHlk28i+KqWzDH1Q
InnGlK+KSSmCXC9zXSwlYExrJ6D4Mj9ihtmHrs92gmZ1uPpW6rLhreBck1BJMd/X6YAAKW09WoWK
OD2xCzceYZINCcOwkaGlDmhYfxTyvZaexuH5P10TxlHwInzY5EGRUaxIH+peCeP6foQm41B1EIQ0
KNpOnqG7EVozAWeGOG/HZYUJ7mCCZb93l+N2B+fIS8F9entXVAZB7LBNUJbv6hoz6cwxwqgKmwe0
IDim3xROEfn959lTkCjEwNqik3xc1NmJGKNWi5XxSMleILjlGPphSpIQJI6EgaLWEUEml9SpAaXM
w7pGHnKHjmS/sWJxspQK/j4M+q2jE8AEQ/dM6+uhAOWHuZ8mzGbPEAKprec8kh1z/oGmsvtJ9qUi
hsBvFELvYm/6EMB0942vbBidK0MQ9AWlfiikt0p/r6y7Gt+jZi+F+SVp1UdI0L+0+er009GWc29l
izcbP3TDumutBAmgL0NeMidfm8hN7fal3TLidvJDubFDsWEXfkWD6BGVl4b9WCvdm7c4LDPJYX3s
zYNKHB3lQYn9ukXWGrXZQIzAOvMs3gCard6djho0WKUzb8kuDtK+nILtC/Ew+KW4tU8B2/SqUJNF
rQrkgJpTD2WHE2cxjH3Tn9b7ZPZsZBHRZnnfHifN0agiD/WVBZ/KHFqrKVLM43XdoxmBNx04nmKo
LG4rF5Lu/u3NEpZJZMhiaaoa64oznZbEZRtulw7LWw+BibHOIgaFxDq7q/F4e1Uq1DAEnKu0Itog
Po6MTIwWsrz7Wi6L2w8x9FgNv1/AL9WUOzmNz3X51CUYNhxHvwMj4X/8GRw+LpBdV9TFhnrInwmb
aPS2HVcrWQ52CHmN1zp3qWZMKn8h9u1a5iCBUv//BESNP5QWSVte8FY+xhp8PimM9HTijG/Jq0yh
IeGuGwIadlKUtSmX9wA0+VO5uXlBQATlrYvi6CskpPR4wRflDfA6GuBTEIbPuV8il6gctjtOA6p6
Q+toB+ZWIDxQvrXsv4Z4YgOvZFRy12u4XiCd8puy8S2rczsmE/4jARRiF288tVpvlR1KwMtbXBzR
o7hb9QcF6uFqDBValEtv31fisYqtvFHaN5XdFxjVPbBgPFv7cm8E2YGcrCK8ELGTt1oHZrYmABBT
EiH0d/0q13atDuFdHf0h7KHRY6/cJLeK1EDPSEpSAgFF8qyRrVKyRlieN0dXX+o7xcv9LMhfeTpa
D/LRgTQEtG5Jj4jat4BKQ4/WG6nPiw/heTQWIBcBmT+kP1SSmIAq+omtveqyGJ3alXzee/VnhLTF
Ed5JWOwwuhtSzVPUReVf/ALn4sGUErtGfR0ynPDPn63I9Eql9PIo9crusTCS4PZNpQDeFKCmiEo9
XXRc1eH7EkAs6Tih4Gefo3vFz3zbo+h4qcyiKXhf05qC5oFHk9LORAUMA03bbmrQaMMTwtCg8LNH
/YnYI+Fc/tbB20GdGjLCsJ1wEeQDXzQLKhAFmK/VuxQaO8Q8X6gkP3GUYg+vrJhxP9kw2LLB3ARi
LU1ve4AFZyrSXWchXWmqxGFS+xT8oU4uNnkdcJZzguS61PhNOrv2/DlXSsIgEwZKbN/d6kyK5wqP
Ysbom/3DxGQpcWYEhIoNvOWo9TKrsg+2g2bPmY6LZznzdA9GCGa43zMXORXP8Ne39khp4lK3VCTn
AhVp0VY1viSoQkPVb8Nx8HjRfT11mB4u3PFAFWsJLBVbeFe9rPR+wLswtjNEO9exdKXlMQL5cUSN
BpO7E1DGGMaxjmx82yGIwvWcBZrpLKYT7zNQWvLx6A7J5H/TcYYJB1PXdFNnlkh7DGFJkMmyNX2I
9C89m1GqJUdir93KyyUELMPasdJtyMH1/haom1vfVS5osMJKcjAVdpCcylPA/4vyqIfBO7/VTu3k
rKcpLJ+p1O6163v5UwSYK1sz6RhnOCtAnNOHecgJENTjv+mRvFhGjPTiXJLyRvpIAX7V7Gk/Z4Un
ywsRe1y1gZfLcHt8YZYspZzldkFarMMsu4Iyx0Pqo31gn6A1kjd8USf5kQATI7vLBQUky6tNklcT
lyW3u9WRk/ZUQKDMm+XPGfupo7dgjZwuOqiYtOmj+Dy17bNiPllJ7o9w0IfkLulaz5LQ4ZTY3pzc
y31/SsY4nOLUL6oJiRM9bcNZKby5apw2qVw7Xt0UjEp6ByFx1NQaddL9eEEvUalDqAIY3ipLUDE8
S9NCqenHkKmYj1hceX2Lq3OR2uEcbYhHZrT3oV0zxU1rktRnk0lAI3dubn0bIe7UpaZoWlVGV/dm
e3ZiuabG/Lmh5BqoZYRkWpeWJjN5268xsKPSgmVmOCxrRaTsrvoflyctuHL1aCWqIn0kt7hiMIhh
nkv3T4HW7ZVuZCDX4zb04ipPDeR9TF2PH6BWhqbtysuC8qzvwZqHpu1/MD50zSZf7k/AWt7OoPYV
2nsX6T1GUqiSa7cbXhVwmxIWk0A/MWjsl7nNpx6PlEd01eSq5YGHc5zdLdqeM4cDO1X2vkoHeLk9
AedWu8UDnZHJrrrq2C5L4eSdNjma8SQj5tCK1h0b9gUUVB18INT7K0rKlPi+YgSp1/GWrxVaRpao
dAaocI+zqybtnipQE4AuhpC4p7JpKBr6GfTxNONxF1a/T2XbYWgMr54MZXFUVgW3z5TanACD3RLF
6aRigEOeSwfTHD5+RKixFwzFeLdXujrBeHGQYiipg0M/bSLcU0XtA1VjTlSYTmuoniGDzkQBPWcz
BYWMviaNKC8T91aMIiX09io1Lw/o6YpupsCQdSIcJ6BMnAZl2byMyzykD2oZO0ayX9Hto6R/EF+Q
4+4NXBYDxaIb+3GIsI/e7/ZtjDa/0k16kM5EjnJeoZWRGDtiSep+COASl0mqlR0wWocaiJHvqo+y
vO2OQfPGEzj2z0R2y4BKjlEnJvhZY2FFUVXxBhvwyjJMQUrlf72OAq4MW51bzaamoMqGo6FYISi0
3bS0wNG1eZNWuu22QAaO7a16IewrZSLEcFFVS3vp2IKk1KHZq356QJ/vvvcUCAViIJqe9rzm+l88
PTFS7BN9aEYQanx0o1Wd3yYvSYc8CvdR1WDbQKvmAl7AfW4ue3RMUYaDo8iNi2sJKJPJi24WJZ7+
WN+1ECBbKwzbxOelq73VaH1WdP7UFG7dZEFdl25d1tRp/3aPDRWvGiRpqIrasvrhf14YZSneUN9a
0SO75eZ91uufsgnSuhBxyszGYzZ7KLP1RdqsuzQ+SEpqOXpuepYFlB9A7hBH7IBu+v3tx/X7bKfw
owQ/qzOqljUGqomSzD51SXNvSfvFPs8GZtlU01VX0BpOEEdVK99S0RFuSt7CIjeCKPo8RketqnZx
3/h2qYVF0nkRS/6Q8ziMDWL047dEg/A7+Wu9+HjI21rDMGE+ua82d0vABWPHpWtA2slpo320jbKj
6xZFX00dGcfci1VlY446EH2j1roO9xMrXs0OIrFy/LQkDSGjQS3F/36xVImqsW5qsIJG9oabAlkg
lt8ZOWJWXaHsILWWgKiQIohaqcVbmMdvefceb+tZ1avD2CiETfq9aiYcmwCiRY3ZU8vAq+/jlz4D
QZT6iP0E0dKGqSRD/nUcwGbSf4vXo9Hmz4Ol3jW5zIXTTtNauPO4Edbkw8T/BQeEXyRgbi2PSt9O
aIy37Xe1L48WhIlWmzmsLP1i2msMHVEqGAwlzNxXlgv9QEcrjUOxDZYjN9PXlIHms35VDPOM/rRT
NWZho7dPeXy/JKYbyczv4y+lvkCc+KhqYTQg/rbrwEwUx5CV/azrjZsttpub3d1k126pm3dFrB3n
eAvWRv4KweSfCSYtWow2mePgN1bmd0kSDFvhF0YTWuUhVmzwwg9nq32y5jqU4HAPUV06JntvVNB/
jQW4XtWHTepPcmJ4epb8UTW55Vj21LtF04Voyng1GvvnNKlg1SxTthv6DMZbhig0xoNeFyOh4Pc3
v+Gvn10cEDAlNiw271rgRlxpEP2Yz7z/rPekECPr7sYe84BKHPzeVCCsKoT0DEIBplTjUU2d6neN
6el2cmbTfi2VvdqurgmFnLyxTtp0jtCR+f9Iu7LlSHVl+0VEMAgBrwxFDa7CU3voF8Jut5lnhICv
vwvvuKercZ3Sufc87djREc6SSKVSmSvXalrIgIAykhI3ATuu2We7qH24HnGXkPHN/3SMeSGLVU2o
fP19zht8qJjKOHspw6OWMifhmpNPL9etfL/el5WfmVnFdbOniUZJ3Qb5jj9lh2VoV7nDlbJZONPF
jOnfkqWVuVV4Vih4XWSKQBnpld9AzR3jpoIb4PJVdbakVYQcc05YvyyJSJioVFW/gPfGBSoburWt
cRGUoOBpZD9u0QearRs1M/yU3UVT7mv57xTYcwxpyCBLArQr2UwFt3U0HiZNVEi6+IWppuq6ZRGN
rou6rFdjatWDfjKhoVPLxTHue8jmtaIM7mIUP7OzupwySasgvgz48sK9WL4agFY+GBgq0hyMhnmR
W+7Jc+mIxhRFVtdfobIMwudMP1VzMBnP6QRZeT5sWX533YO/5va/HZSz5a0uqWKcwoYriBh6W4PH
ttM2NQcTMMTm0Y5zjWlbgzeITxrU3Q/G1Gyr+EGqwczLDoYROpEO5mJ13rL6p5qAGWP8NQ+aW+iT
C2n1ht7JnJ4alm3GqPYIKvzKgz6HdlGrgZW/aPLsWw164CzxCLTkk/mFtvMN8FAOo82+Tru9NRob
TBmgoZw5ICy2AcnaMWsOtPLNyp4V9JKxNLvATaJC1VbWmJMhx9WiJxOFg45hoqWS7CG+GyrpNA+W
XbHuUOmtr7bpIzP3irXnM8oLU7mJwCzNtNIBuPU+IZZj5GC7Sg8mBjisJrbfOnLsUSHkOfeTHOVg
3jp946rhHVQG7dK6YS2m5ju2n8zcrpJK4IUiZ19d8EOWsbppTHIaG8UuzOhUmEepKQRBU+R0q0u7
7MKxyGmun6Run9Bio+dHRWu2silwOsFq1oQVpAi7qk0lckKXHgxy1DPn31nINwLXvnQF/PHsNWOF
OtVSKZuobRod5inLXaiMTjS10KmHOHyW++CIX9Cn3nWrgj1cM1ZUFnL2KUt14LMeSPdRhambZ48p
VwWJ7BfM+srBXStJZLqSVnW1APf7xCfhTYknQVPsIAYPoJg96zdUBXEb7Y9pm/udVO+15GetPwxh
b3MkYXOW/x4jsNtRAE/0sWwcPqLQkFXlZ4t+cQsmex00FxXEo2v2W9WtJx7lHs7zMbS40yMZCg1U
yRqpwLxjA1Yac8MNxTNA1dlIEeJ+5TKaPlDNuLcSEUegaJNX96Cct1kx1oV+Uui9JLV+CeTFaLbH
KhSMHok8dfn3s+dCq1Z6yRSmn1SQ/GmDcgjrylYAW77uNMvxvfYtl/WemVFULqVpn+inbkJ+mU9O
n9ZI4nVbqTC1KtdON80CP/1epFtyibPjsQr8YZaauTxZ5FR2jxX70YGNiia6x6Rwb4FjbHwa+LBn
zXz/3y11FclSbULbvu31k5HJTmaZDqYWvFx/MWTiEqDdKikVPL5FzrKKalnc00aJQnJiFYAsauZ2
ibWd2qPM56fra/tWfPlrS401EUai1ajZJa1+SssgtX7VybhJOnMnN/s0FjW1r6/KWDNiEKkcwzhE
WpK1utdIeuqEVuuPsvFcpZog1ohsqX+7Z2XO+dDFuBc6Qwckk2z0SdlkZXsXx7NoWmxJzP/9UTDW
ohalNuZaomEPI1V2K33yag33awxeaR478nzKqnt1nJw6jkHllLnXP+D14w6X+3uhrKwxKWYhrlQS
c7UI/21b8GBpznUzIj9ZRZWxguYsD3FHzAmxSxVMInK+G3r0O4za61TLv25u+dXXtnT5vGfRpa+K
0dSWJh+llW3y57b9cd2AaNtWoWROTbMoh24JX7UrFWRjwusJRCOumxFt2yp0mNwKkTgoqOw1msP5
I9phTobnZaNadgmk8HVrokWtwkaXVtMIUib91HeDkzPJmUwVMu0iXxDEYePr38++jiSNHSqZ8LUe
st8mjzwGwE3NjF2qdieuqZuygaRLaBygZS3wQ8ESvxpyZ6a5Maus7yvEYgNiQDjXLGv8NPt1fSOF
K1yFj6TMy96MYEabMicHzjdH5hUrxCGT7PNCReah3VHrrm5EumbX71Xj6/l+tkBFwTO0kjE4/EUl
DBbSQNnGQQgSttsvDVInkxzMGrmYQvghwmypot1dBZOw7VAC0znmXhPUorrCsbT+kHBqeWFoyV7c
pj4EfDYFLR10/I6SYm1DlMWQcrjlKDvESh21DF9UlLRygrlZJQURD0ZBLcvvJuYbZmsP1fSexaL2
pCBefI2nne1aYUl1I5nLcR5+gBBlb0bm9rpLLGfnSkT6qmeeWUCfdU4bC2/3kL91SrFplcaN2p8N
VLWbLt6aXQsmZS440N/JTf++nr/KWGdWmdIYSpUiui/e0N7W/Naivm7s402C2TPFM59Z5vT5Qf+R
pTY3wTFsyoITJ3LIVQhrZGlkOkEukpHJp5O21dHCH6TbBCMhVm7gPS04AoKY+bUnZ2ueZoy2ZRh2
PtH4ODJpwxTZMeNkUzeoolrJy/XvKljeuvxYNXknNTqeqa3c2l0CdEKlOBGwxG35NI3RQUrK7XWL
32fS/v6oX9j0swVymkZ8grzxqbfAB8Qnl7LjKCk2tyY7w4xaEvf23LWOCpgYzaDFJedQ9nufx19p
k7ntAL5uMEtLxQH4xo0WYyz8+g/8eodd8fU1jUmBsnXamiNyiax+ltXXPJFsoyuOSYitGaZjFmsb
FSMBNY1sKUHRYUi9WHnIeaTZdao5Q1J5tPrg2qEgP8cJwlAUHLWWfOSVW/RgmaiGQ9hbQSp9UJZs
xlbba1be2GrcbocWZXBeKP3GTKGiwMofBQ893lBfGrMXGQW+kqheRimEyvAPlhbbPbh2NUwZzVBM
zprfUFOGaPuEGnvrjFT2m/hea01PqodtP25ps8upfMrZbE9y40zor1rKtJ2adMOMBNH1puxqcHnr
jpbIjoVOhGktqk61V7Ee5OnYCc5OyaT4fK4DphiHxjBfxmHmbqeMiAlEb/GsTPFkZROUY5rOdNJC
TjZVgz5mC4ripAMsNc+RR80zvno2F+9D0fs9Lxw9szpBCBFExjVRTI53WhUOyAlovbxWQOlZvV13
F0Gq/UWEd+bOBJKKYx7ieaSQYluXn8Ws2Ez+rXLBpXx5JZRaikVNVV7PUQ56TJo4SsbAMO6V+snq
BTMhl3sC9I+B1e2XsQmd7woGendmTid5ZuxE285feA0WREi2mU0nulW8hQ8Vbn99G0XLW+7ms22c
DTPjDO+voMHUQjtJNoVWzHUT35GvX5HnzwpXabXRqtwcUthYrhNFBdxs3AIu4bKbdLb/4eQXQaRE
y1ol2vo0FHReNlUZYw8TE3abPFxflcjC6oKa666cssWCyTRIwj128L/rFv5NOvivfVvjTK0ZjUpi
xGMg7weAsfvtQnpGtuJuyeUE7I+h5al55gTjbA2NsXygzHgpx49eerZAHiNYzeUL9o8R9W8jVgm2
SyPEauoXS7Fdw7JRob7LXfMVua7phOyfuUEhO5bI/aj2t+G5liUU3WCYO+WO6xudOf+ggztXbh5l
t3WSjSinFXjHenBwJmZCOUh5g4Q0HiRLUV8UEKp9cc98vy7/7Ofq5PZDU+ksD3lgoA0RsmFL+Zb0
Pxs2QxYxGZ+sQn7W+1h2uzi6J7OBUP9aVehQQS6iTHBZJdINr5+keD+Yb930EVaSM0oBJ2+UgwzV
KI9pdsMJkgKtPKqAhTQtBgCnl8LQoPcLfJqk5v51H7nkh4oMXIRBTZnI1urURnOnGc0Sa3MT+Uh2
SLKfhH9et/EdVo1odG5kdXApZ0Wh64s7lKCcSkDvXrzqUuRp0ycUJiELGkzRALHX0M6HEoQ/onfs
Jdc4t796LoNhV+2gEDoGqtL7Q1tvWLoRLPH6Pirr8ho3sgSnLVo8PpO8OQbEF5BQKEW6aA45pN8D
PWb+B9yJ15emrEttKk+MQVmOOCvTmzmpd1S5FyztUhQxFJXqYFu1dFVbHWaSl3WPMiULgJXCgPXC
krSIEVixU9yk97gvzZvlwZoe/gNO5uVvr0+coVLNMq3FR9c8rLwg5lCSlgWLFEL6C+TTGDFQfJh1
eGznvkjP/KKrGpQoFqG6IRvr3KOLYp116JUFw6bd6TeYMAR/L/81gv5j2lJRzvYdVoyTcW5u+bxn
1wCkCGVWhlhfeFQ2mhvtw21+SjHM/R+oZV7cy7OlraJXCEq9bAJ2MyB+/EEg20ZAaQuI//4fe6LZ
hn+zlQbVUMmXLWX9+gG9gNrqCZ/+tTYKPwltFQBtDsFWgZdeOoAG9vJ/ra3uupkZVmfNsvqV8UT1
IZS3FJq1S9IzN04CzNZsY8CBgAleYPnSETy3vDofA3rUUWtOUwCpYxsFIx9jGLWt/YQEi9tspN38
wEVz019ljm/n4my1K78xBpWVssIw/R9xV476HzpYYFme2211aw3vc6nt6hA1LdPOlcLj/IMoNwak
v9jr9cWL1r7yKUoNKx0qRQ1Yyo91BvbNVgRqvlSPOd/eVSqr6FASm3O4UbpDUxyUjEtKpm5FQCHR
SlYXoVFPczk1WEliabs+b/2qFXQqLiLhDMOwNFPXVaJ+FeXODjtPIKpOc5ggPlAnXeJwYMC8f+gC
FSQPbo6RdCgri2VIv7OILnHmzPRqE3NmhdkS3AMC6Gv0LFUlCu6vQ71IGL/KEffnRHW5rvljhHpT
qu+i/GiZ1DaR2dTAVisGcSDvA4xsE+jduz7Ps0vVbKcz6pv6eGy7wh6YSHNR/aJ8+ebnZ797/VUU
0nSyUrKgqh4kCyVuTM+CclBKibbT5ilxkTAEnPPWm/jIbTzMow2pcPwwl1bavGLNPfRKVS+fBsXT
ctp5oUVHx2gHapd6DYHgWFYdYswD/i6a4k3nN4P8oxmN+0yXncHMdrzMwTmR2awZ70tUxZToIwS5
rbpQn6pPankXjW/DuFcZGtsNsYkBpcRymYt6T3LJaUrdrbobKQbLvYK5LGtfm7FtVnhRFLfxsOfg
pJdiyFr2vTfpiMgl6MMyxQ7jxzwNJv5eVC/T9C5Jkz1HicswddWXGAwFrXzS2kn5C1gIe1Qmh7Ju
Q9RtlY62SXLblH82cmezrnWr+Ukhm647xQngJ0Vv0zS0Sb3vtXsQXjkSmGdIKDvAqdlGgQ5y+jGS
3kkxtshq7SZvdKcaIhtoEp4/ZP1jqEMDO+lcCuBaK1O7l+eXZCGfBHouCjWvBX8F6kBg+40hGml2
ms1jULcaSOySJDCz8E7ilY2L1k0xG6RTqNVNqaodNA2qFvRFzu7xrXa19iTNPuDp9xTqK3x+gEjK
JgUWVi47ENm/t2Ciwbiep2QVBtZmp55vVbnwyNC5qdzs5BBCoKM/6uAEiBp7mnu3ZC+6cTvIvyN8
ezKaIK5VbWu4gyawrU4fo4IZyki2YwkTd93sqMojqS1nmhs70u6iLLDoByVgWcHcDdiX7ExT3Sh+
p+mxaPd6uxuLW4Y2sT70IFjd0rqze3wrfXym+i5TmE2avVzfkoXKkf9S21ObfCgFhuxM7PiAwf6h
cpTwvsdcI6OxE/IE3xuzeOp+LB5m7VFNXi23NG6Ytld7uiCCXdNQ3GZ6b+TZbqMglG4n+dmAWMYM
THmpY2CvhYNoR6IdlXEbSxDMaWpXVbd8hFCJMTpg/XAxrwTyn7s6B49wDxWRQnbVMcOUXefEZumb
o4HS74inCR4qJgG6AEQgKIQPJqQdKWZbUchU5Q8ygVIjfuegBJosO5RRbwBZp9HZYN2AVuH1K+fy
3fcnJqxZGlOLpWHd6xNSNMg9Mn1TP/5D0giilAnFOKDfxlO2EbE0XsRTnsXQNU3jGGtyVUB+ALlo
cTJUu7qjt4Mzeph690p8A7FkxhKVr0S/NWVjKunjXPS4MOR9g1jcOJoJBoilSoUq66c62PKSTiUu
P4jSqYu34Z89XjM2SjMvcQcuV9Vo7uu+3nTk/fpnvHitn1lYZU3M6OVKkgw90M3R1erGro3uNh0x
8AI+Kn1CmIRC6SiqeF9OSk1Fw2i2SoEMWpmVM2VSWjUhwRwTGz2dzRw1d0kHIfBlvocOO0nxJ0R6
iZR2woujlFD3+sIvftSzX7Bs/VkWYISKmVca8hkr/gHxhQwI1qYJhlL0bLuYEP/Z4C8l7zM7Vay3
owJa9K+nEwPTJ8ZsMOFDX1Fe+JJYzyD+al9f2+X3zJnR5aufGVW6MLb0JYsaNsl9BQHuxVWrx4WJ
WFTvEaxvzfBcRQy6iroFtCahuEEyOyOfqKRcX9DFt++f9azZnbuun3LVQKzRYq9pUJ+IAx1ABUyi
maHAL75+8JXTvqZz7pnKrTnC3oFerLJHF6E86+zxIe2ONUiY1NtmP26XbmBeH9hj2qGO2+JDVq8d
swvkL59F5/aOeqgxkieMfl/J6bVftzo4aN+A5xozTXhfcU9B1Nl2NvfmG+hqWocMfcrlSxt7605x
CnRsIBoNXqWb+l5MKin68KsDxOW2BnRQGoOY7Yv5xWR71gtGNS92CM5i/ZoXuqWsNyLw/gQlg3Zo
tO0D7RkIxH+Cb+8xkMsiVVtUuPciRoWvptu1nV7l6imGFEwzx/oIfanb5kcxEMvWBuIDKQMRnwiD
IX12P498o9fzi4LRROumz/og1T6a8TPVOptIr7Km7k2qv088BYrVsAEUEvir6DOsUnOzNTWcQcSx
gr7kGvJjebSTXNgYX/zq2m6saoehVKuMcoQxeb/IV/MRmkq9HT1Kfu9gdMNyJ//6kf+6275ZPAvQ
y8LPYhgYUUjYxwUJVG1yDWU8DFnuKuV0O4Vge2pvh+Ydisz21JTbppK2vfLcqFVAsuRYGbedanyY
kuYz6UPq+H3etdvMCDdqn77W5ls13GvSHVfSvY4RJ3P6qem3AJw46AJ9qsgEp0J7l01klSrzy4Kf
SItRBWpVP7Vefisq9baVUFCcgcq6vuaL3/JsySuXa5PRrPWU6phJlD0wbnsGXKbSRcqmy8m8trMr
l5HYmMlDremBNB2GCDooXS5wyssX0NlKVu5iSf9bLSjNH7OV2mnRvEIGwat0CgTb7DVF7tKJHwYF
+Hvt+fo2Ln/82vpWt1+nWCnaOhUNSu33WAEm0xI0gf1Wf2istymbnOvmBMkMXRedU5mnCquLpcIW
+hZ4nnC943IHSzkqiMI61/XVYVLt73NBCE1UyUinYNxM3sIs1b8r9/QW81Jet1NhUdrlTnzTHGZB
32Vxi3+/rVRW/zacGG0t57GholdWO0Nb2Vb1mpWRW2fFIRufBJt6KT8DjzDqlURWVPJ1NZwd/zFO
5QJ8MwS4LClYiDOaY7KXMO8KFmjT1hx6SPcD3vkiHblLh+Pc7spzgXKfJwtcOre8RQRPS7vkr9eX
dinlPrewcs9ElwajDyMSSMl9z1pPadiNRFqnmNlWr3GbydF2ymtBPL3opWdm18Cbhg51RRVs6EIs
R53GXxJRHTRBoNRyVMGImGCN66Iz6CRzDl8ht6MmOXLzMcr5BvxEwIhoh66Vt3MM6A0I2a7v7MW3
4fkaVy5KzTLqeUvJLeRj/KQF3ZJWSe96H9ozraHukv9uyeROZYn/l3pMdkLTKgYsVOpE0ziXTun5
L1nlabpeT1wBhcbtWKTgtEgdmY5+RWJ/VPe5grFQWfYEi79YXTy3ubj22ZGRwmiiJo/xWlwQkyat
79uqxbRhFwESXR2jccJz3GCDU1aGdpeU6dMY8odMi2vQGyhQVxhlPw9/ZHP2WIMD3anCZvS7UGlt
HcpHIA9eUouoeRn0ObcjPN9QPkKtpx0Y9I5NTLWyu1CfXagb2FPWBqEcepiANZ3CUvw5/2UN7Yln
xbOszKEDtPiWqShboDiVToUzdp1bW/tSDt10eK7VEdAfHPJyO/WGHQPGmD2jYGJnnzPHxBc9qeQA
fZL7TAbDXkxtqseAjT7OxvtY/+6lXQWpjKzO0G2YbdQhj1H5qWBFfJoWPEQHSiVzuu+j0tFm/WhZ
wybsR5fkzA9DxRst6OJVoLML2dGioCFhRxDCavbYHOSi3U5YjlQMe4lARqyPf2lNYUtc+ZF1xymJ
Ez+WJmesCGbYxl7zCjXazhF14ki6h9bgi4ySdrHX1YcE3AaELFoixh7opKDuTS9iNQp471O7I7TH
dMd0DMf03uwjewLjb53peJ6PoEdF+QdszmaPapjg7rwU5PFS0xBzgW3Hy/xvH5oKWS1ZRNRgyl2o
Bd2C56DXj0yugmwUZfffZIlQDT+ztUZ5lHGqVtzS1KBK6lPM93kwJBrqbi0YpNP7Ts82rAEPhioY
2Ll4s/xZ4po/emwSEHqmWKI13QIA4naYSJZlzP7trh/IiyHgzM4qGEG7msm9hOVZmf4jRfMp1Tch
Kh4tUAqM7YloTvMi3ON8P1cxh3GlZck8TwHf0z04dkFNjS4YZFNGBxLub0RIVipa4Srg9EOHML84
S2Y+qKgCyyqyAS23WfheGvVerA2xbNk6BTlf4epNUFWRJJUYVAh0u9yxt3pT+UuuBRqo+Qgoriix
EznocljOAuqopuBnAHYUj57QV9xkXx/4hm76ozCpWz7NtYWtsg6LsS7mkTwFC+Pd8ukUcMOfFi4t
GXoQkouK+HXnvJwOnHnn6qCHtaXPGWYHsLb8g/vhDlIMT5BLcbNAzNt16WFz9t3WrFmh1TQtW046
mkhA4LZug/J+qDb/5QczVrkxRi8w7R7CTqWSh5mFGMg4NIOxbxuU7s1HKC6ityLhKZje/3fbuaZg
ltM2ZAyjdMG0j2+JV/mYuLoBehcUPuLtvBikTcCEqGUClbGGY4x5XSSDAWOKnDltNLlKOON2gLOM
sZs3wrRq2bZv3nlmb/UujVTSU60BPoj47Q6P8GfMPh/TkwrxDkVEc3/x6WidGVsdurDKMrVsgY9Y
KlzJoXFit9zKGw0S56Ly+kW4/7mt1bHTcigXhGgh4S0lf0Lx6QmtuWxrHCo/8kEEOXujDwEjgKgf
spfYMwUZm+gzro4gKdCBM2OEzzKVA2s4WeRQxvuSdaB3FJUWLj5r/uzqF+LyLJS1fVqAcylkgRYi
4y/AoCK17vUzcPFe/fNi+ypdnpmwJGlA3haTIKORCwjIz1y6MVFqKTAJeN2SMM9fOSSJGj6MESH/
EIS6udsD1felDI3G2TZyVREJpjC3XnnlMGtmXyE5RICeIdyVbbsf4zb6De98ifa/AC03HXQukp3i
lJ60Sx09YA5/7p7JSaw3ePFbLqwW0KXTZcNc3YJmVypkQJYZ5Hie1iUkFbXu05iKUwZRBnviHXWV
ephvFKPoPSBihs0khao74y/aiYF+dR03HM1cHbVriLrMxqse3Q2pT8O9Mhy78FiQt4b+npVDowPt
X/Z2mZ6a6rGdQWAvvRGkMlky+ErxrstBR9GbBtHDhL7m7AGA9KaFD2HVeYCj3Oczd2KteJEHBvIe
0h6mDtTKk/oIVXKMNCbPLTTL9dehOsnyO7GGxxxp55jpDtC/djRAZSO7w1qduC72g/SBwqtj4PHW
GeDVMxUPRaU6+dXRcZNHudO34N0lmdNUlVvWP7UoqLPc1trCjhLkC0P/mGBivcigpQCWVrnG6In8
QtUnCQ3oNAcwgGubbvhse4wKAj2Qg5UHWEErMWzMWdkdCCtItVfbfZFtEhrbQ6G6avocg+3XYChP
4xmpSD/T6s0yANTQUHxHjatheHRwdAjSd6nAOE1aYFgjt0e0mXX88uqWawQd4Juy/NTCwlHxQ+Pp
IZ7x2EiBQOhqpIqgYtMqLwN8SlV7GwwrMgUXfPkrnG67ttt0BvUiCCnFCejCPG24+/+ctbPIsbpT
eTKOrFoSBeLTOZjB0IjageV0bq4cdclbiD7/f+nQmc1V6twoeR2PE/B4xCef5SbdSM4v9CHvIUEC
SJ7oGriYxp5ZW+XN+E7dFAOXFxgqO4XTfgZOgLa/S207U3rM01+CHb0YKM/srdJmZZ4VNF1RwSOA
5xfsNBXPownu7X7TaSM6/mOWe0NSbmRgSvI6uh209LlsAEWIODo8tMQINxPE7q825JUrfj3Q1zYg
V+P/IDwp8HPkiOoigpuz9Curl8HTIEEi/UxwGXe/h+el2KjfLarZLfRqM8jv9IIfdPkxc7ZJqxCv
yCDUiiN8FEBGdj36aoNNHQw4+Qt1f4QaYOGIuQkFN/K66FhrUQ0efdzIWsftUce4Bvkwq/u4z49t
LESdXnxenC1xlX1Ykpk3bVyoAVRVW18xFWcEp4Ni5G42jRvWH4Gk90X7KjK6SjqUUrGUTKcsKG+i
rX4ABsXOdtaeHIQNtMubCeyuaumU0C/+t7N8ANMHZCimiQZ9w2enVK0JcTyLbEy8HmrDr43WLqLH
dL7t+WNRgKZHhvBMLEHiZ3ZDvH+6+i2P2GMbKXdq17e2ajQnOvX7oWfb2ZyAz4rA1RkNdp6lQD6L
xiK/vVnQeFQ0SzctqhKqrsmjGgiPcbmElNs8DR6RDzXe7ZYkgrN8iz0rK6u7XJ26DESTlAYhhYRs
9dOq4XSQNQQCbsioa4L55nr0+baspehyljyszhUDZhA0riO5JUhWxs8peWeJsCNy8Tl7ZmSVLala
MpCYoNbcauUO3Ho3UgG+O8DZdBr90tp2H2M2j3bNLszCg9SCLGo0da+tVYG3L878Laqd/Y71CUsB
JYMW4BiEIACbLM2p0nYDiP4GY4R5cmq0pzzeXd/fy++XM5urAxZFDEwcYHzD1f7KoOPQAYNn5gAm
KZObMrLTy5NRVr8zo9lqzBQ86y9+XaKipaxaVDfNlXHMNUaptRRI0mlyUhwolTROnQil4S+e7T92
1vRMNOxnjAkM5LaKYket6kMfAwbV0W2VpzKWihHOvJdvZMv0ayZvyVT4KbYeuDonB8BNwjSoWQEo
qo+CdOULCvLtk5/9slW6orYGN4A3QtUNfKRLtRd5mEu7TfPGgeztvVa1Id1m7gdXBuvfpnyIjmZg
lb4MIGTpaRgePWn9Tf9pxMByYibfBkmdL0pwLmYAZz9yld9wFoGty0B+05Sx3fJbvdtYSTDJH9d9
UeANa5RV35QZhdwnC9TqwELZC9uXshI16kVGyN9FspJPdddWKV6xGXdnE++jFD1eM99eX8vFKW7r
bM+W33F2nXAk4mVUozFXx5BFi5gHYopbWdZ6p27aPUbONjGVXLOd/QxDv6MyutkCpU1qP1fI2wTw
PTitwKVitA9E5geqh57EMsGvvPwyPfuVq/BaaBlUGfSeBYoEsRMcihkaVYuUW26d5A0o/zciWV7R
UVzF2l4Zu8yyoC9GMY4ZTUjN6sqVQSbEVfmoM1F4Wz7ntfO1Cql6POsRpoHIbb6jn+njuIv2htPc
8E37lm+hVrMRVUn+TaXyXzHNWsW02EQuLMW4sYYaFJLFTuqes0z+NLIQqp31ngPJrD5UE+DQMTKZ
gQvukOv+ba27++Y0dtXEsb8aAME6GFBkXvp5WwrMXP+M1rqtH6J7p4B2WA0okfwOSDNM6duUP9XZ
7LWpoD17uZzxLzcFXuzvw1SlpjzrAwKQ6kNy9Ib73WjrAXQcbjsf0HZ7CD3zMdlhVG5LbugBokeb
Rc8Bw6p3IEC8frK/ax/+3QfSVx6s02IK2VK1XaakS7YfB5uYziKDtCi+J4+metPd6J8aaqkDFT42
F4f97tB/Ol4rhwaz79gry5WZWPzGhO0ZV4SmM8+U3nKISoCOx7u+4G+f2rCIYVID/OOY5dO+Ps5Z
JKsntWpUPvFAH8aN3vmRaQHziqp/SaAWJCL8FVlb7a5cJUlrZg1HGyrEqEuKaw53DvvV1ZGTUEWw
tm8322ptq92spKgoLcaXtRXbqv+ZWxisL2XPMnX/+i5+O5crS6uwQKawNpKy5EEdBobW2+Zo2Xn0
cd0IEaxnDW81I86BAyx4EHZAniTtndKiwkTu6DiD7hQ48D7ZR1X9o+gbYqtJ96CBs95LdER+YuWZ
nbYJKl91uC0xnKCrLNzRijAPColPpTwfK4XvK5BVgFYTIkEDsmRL6uvdmLNTl1UPQ24dOwzalEXx
EHXzjyy/icP0kw3ts5SDbzVrP1t+7HV+A3DOrm3eQkyODPhp5nL3FdbgAakm+MKCfV9jcfFCBoMd
hu0CnkKeoITyPJ5hGIm4vvEiK6sAZYEmOx9U+FEj/4yi3jf7rWGKBOwER2M9UqsUY2TVdcUDFQPR
hh5hZgKUPuGPKGPHKs8EcU7kSsvNenbsMyigZnK4HI3mMQG0uKN4ECfAUhpMYOk7fwLOhqURYpkI
MWClX3b3zFRSc51VecuDUuo2Za3v2mFyoF3jzu8ZB7NKIj2MFforACP83z/bueFV+jNZOUtnq8dx
4W9z9NpFh5A/CUxc+mrnNpZ/P1vcRGEAuhFaAPb8n5JKW0jaq5s+fJrUcjtklZuhylqN8obHcYDk
wR+16u5/SPuy5bh1ZNsvYgRJcHzlVIOG0mBbsl8Ylr1NEgTBeQC//i7q3DguQXULd3c/9Et7h7IA
JhKJzJVr+RlmZvTKOfSgSEOP6V4z5m+ZgzaPVuL/zyCU1NxVEBluu5+1ru/S3jhYjRN6Jo46yq1r
v8P4fFJndgAUz97Np703POZGwrz8li3WoSvHg+eKhNT6Xa67N50JlUnCTn1WHnqeYvJqeWHD09Rj
rmnoQhD1Dscas1H9UON5AkHRnD8xrj+sBuhUbUEV6cWl83S+aVJcxsjdrM+swanloJEC1TJdv28z
a4pvI9+lkt9JMVnHPOBgCXx+G7NmxvzLWW7yclAYuXSOzpZibxWus+/v+UVvov8AI6zZ6xV2CwxG
nfOlIrXiHKksSW/Jws6m1NZwjOahOtiYfPOa7xo41kYMOF3fOJUlKdyNHndn0eLz5GmWGBhXzg9F
eWpNlRr957Lqxy8kD9ajmJaO4JGdT/QWCAo/JHtIiFchraNGBM29uR/xYAEcSrGTl88sZm7RtPZN
+/3ZdPbNRNfMFutLcqqokWS6cXQae5fOYI4Xf8Atnlzfzc8jvu+r/GtOCrViXTyTWhk5MYu+ls7c
gbf7S2P9HMvHpf5eC/BWTSxy80OHDg/rLR38HxhWBVuJOZmBJlTqJZ8fr9IPkgJyVQ005VZOAA/o
UCgBd8P6BqYPzYgxmxqZr1tum8f+dwz50Vjs57d2f31LLp//vzuyOeDZB3CFvrRaUZBTveph752a
8YdRrQovvmjE8jBUrQO15sjl836xeKevQAjzdA2hSx/kza8hV8xvX3SlMyNSJDMsg89kcv5n4Ii0
XZy2TUB5HULMJ+zrQeG5F0/mmTkppJl14SC8C/OEGdiueW1n68gmsnPnSbF5n59Bm4/8tSQDdM2x
pfNIsXsY6oxKzIeGuheXcIg8AI3+hnOC5uNvUKbqb7nzIF5UpWjF15MxuwXonV27xaFJ+9u+FVFf
I4w3invo82teWqUU6VbXEI2FkjsgXHqY/jH2ExixltAIxXP572sjkjHy0etXt1k0fRv1L40vjkCC
vjzO/RR4lQhFrkSuKFxFJmbjKy71xYarbC/pOYb+a0JeJkDG2L29M2KwLUXekyqyXs71ztxGCi2r
Z+sGqMvIiYPuRi/ErtHahFVukmndo9MQTJQ7h9kdAn81FQjOy2HtzLYUVWoTzLCDBZclz8XTklhH
Z1c/8WctTJNNM5kHbriJGC+xl5SJSkhMtd1SHqi3GmKag4/r60OYLW7cgzDB6gAR8FUliu2++FAj
kPxIijmQxXENjFzgywonmYoWOq/zw/UArTIhxRmv97O5ylCGIMAgFfpNP2mKSPZ+gK+sQn7LmhYk
LpipITyDlhuUViirJdqsRQ3Yx7n52+9fBi+PiwJKd0ASVOauS7M4c+i+9IfQMNKkxmM3d2dM8/zE
jFW5qPQnt2289gOlfCsth25oUDA5WdwKt2Fkd+aB0EAj0IMqFBf0/Pv6pitCnjzryZeV5zUEbE4T
ySO3cYMeWnRVrXr5Ka4s+Z3prW5BC2PZzABNhpc5Z9CgyqAsZoLheFIsSmVt87Szq37IjAlIpdUE
b2N5azUiqRZ676cZyGTxZR1VRFccQyLFn7R2Cjeb0TNP9buJUpCUbiwE90up4nG9nNX9jTZEija5
zkq75ViYtcv2ULRfbzKQUIlX/keHmBJUO968sHvVlSw/n1rmH08/kQKNXXFmp9wHtjMFCYao6NHv
/9iQaHaLRwP0CybKeBTMokXx/bp7KmICkcKOiykWxxsRXhl0z3L7i6/cU5WvSFFnJIaReS0IaVao
klXEjz3WgzR1DfsMFVjotF9fkOKAy9wNTV037UxxEBYBeUm7yJNy+TIVU+S0tR5UaFxMmoqEU7GJ
MnsDYzr3fI6g4rpDpPk3Bk+T66v6PCq8OYgNoTkXOlM2SpkfT5xIi4ZD4QTXQ8l3M4TgGrzhhbUG
o+vc1hl7NGzIP9kGwGhZ4uTpn9V+6bV9Me80zK/Z5NFuSTJXNMQt4wedX+O5Asm9VFPlmMpfKh2h
ui38vMclcNL89Lkrm3AlX/XeRW0IaDpGAzH0wQSmXMfEzEBnQ73LjgCeTlbG9jYx8CJt4nG48Zfb
ZnpD3ROlzTVoqa/wk8tZ4tmOSkdO1yptcLLJPGUcyP7KL9DVAsW+z8KJ3YFEJZ5JfrDS6iXTeLwY
bMenSnFdXrwbzn6CdPg6zadLn/fIHakWZvQ+42AEV9JDXIyeZ1akA2hBKzjXvfekf46t0AiyR/dp
6m5Ax9MD/b/hx+2HqXgAsdN1p1VtsdzCX7XUmYsOUS2tgdtsnP3ir4d0GUOIKNwW2aNO3UCguwrO
r2/WdL+STJE9fkZKfDw2svrSUBiFoFmBp5WDVzAUDNxfkwX4JAszbQ/Gk70NXOX9YKvKvpdT5r+b
LgswDba96quBTS+mr4BLJIJCGMwDdDibHztX3wL6vgO7+6znu+u7bpoXI+6ZbelJMluEuSbXxlO2
FhTKNsZvZ7HeUHoIaXHLPWMMBbiw6220fVgWJ9A6hyREdPQAJYAsyJbsODoLJBE73wlBmoT/LHdw
FzrLP1qVQ4zMeuYUDKba2gW0L76WfvHLH73q0E/5q0ar7+UyBq7PsrAt8zXgFluTSkxtkFpkN1U6
VCjnSEtB+Wzzk9WQN5aB3qanw6nOnG/2guZ7WXr/4Ja/twvGQrS4zLBxEMucVLtdyPKVWuKpXFYa
ZI7WYkBXtBFdPVwreYjGO6CEqxV5BZ8wNKfPkeFPVUyHrADgNs3A5YWz7qWozHj9gzZgmMhyxltz
Hg7OkDYRrbT7Puv3Vc2gB6e/6OlLDQRy43tQKv3Dy2KXGRCjddzYGPsvpMrCrFvD3Mf/+iwk/vhI
x+7JBken5oA61i6R8Tk7Z6zD3DHul2G831i5OvDKZnZzO+ZD6Onf+yG9TTsAkhcCpbnaCmlKEY/c
N9zNfwB12o0me/JEvXNqsEdBwAF/pXfB92DcjZadAca7dnE/2rFN+6+lbYfdxA+GNh5L/NGNpdzw
MX5jsyJw+mLPfAymdjlEQ0lADHqHNhKoYlz+BPrUvairH4KDs35cezPq5u7ezTG+meXTV4FaV9gw
FKjLStz2S3vnC8z3h9A6/m4bdrxUXgK/i7f9dtDEXX3wIrI0LNahCswG0AmWgyt19ECBixthMuFj
wNCg+xXUwPT4zZ/cKhPOOgx38hdWtV9W22s21vVw9vA+6FrwZY00WgfzCaNMe9PqApNq8dRjXLKc
7wX/QuYypqb1IMzqG03rQ7EuSdWOwFubZjTofez3X5cWsgCOGTD2p+MvbfnLA+fa3H9fa7DyteyL
YDxYxiZqDR6Pi7knOl68nRGnxgxfBFynAJZmWULfAr+xOzy1A417EIXl0y8r/wUmeneT5vNAlwKm
uDJdwElnRaVpgMLJ7XeM+qGpzYcJ6sKFV4SrZxSqwKsI+b6Un0/LmAEWjgoIymjBAA58noKWB7on
ObDlrg7iZPPoZwzvEC0gztcZ9HQVxaR7xnZLa4a5smynvAqk/AXsgTZ08Gqgxg54oHAwGAwB/eaD
2gOu9axkDLqYT5+FQCkJqZBv+r1eTSfqZnZcz4iDo5798MqjTgB/5n+4bRwtstwUmnjUuxSoQT0k
3IA6AQ6snmkxS0VUTxwST1bSVAPiCg0XI4/N2f22rOVuKKaHyvvOPS8eIJXt2f9g3vi04MXVF6/D
YsUztx9A/OSkHO1wKK5XeWggItmdlqypFrARFJ5a+0dg3Br5kLZESzH/8QsN6mB9+c3Q1jLQGuM4
daty2Gq7AD49gs92R0p9bLM0qV0gJTfsA1m6IMWV1IW+DcJW9pMApzFXIPVD16gn/7S5F5JZxfd4
uUkAql/Ml+jgo5bfq6Sb6VwXvvEOyLDzaJuztCIjDwHDQEICXXRlg8C8uOwzm9Kp0KxxBNEfBmz0
4wCIT9jbkbtPj/0ujdrItTEHAa6fIeRAGOk34157TkOUQvM5VpWVPhPbbWnJ2S+RTgPv3BSUVngw
dJuwpz1tpIspuKPnKCffakuErByi0cPQ+WBC4aIKPesPgf6EloMeqlSJRV58Mp39GumwcN8Wdd9i
X/rUufU0PWDQIukccbO4zn57Ljh1FV1PUi5Xos9sSi7IZ5tPI/DoJ8z95YEljMdhMYDEKTjm9tmR
kp8gwwHBIyZrHDNcQK9A0027+0TLInatdoqAqIFOj+Yiplmq+HkxfJz9OikxX/tV17Wt7meAsmey
v+n5dEfzp9IygoWMGIiCiJMJqEv5H1UBzwxLufqMVrPwjAx1gP7rKp56p1M8OS7mhn8NyM9jd+G5
GBzMPIjJidriWDXl3ofyrea8zLNK3fG9evAp0JxZk6ptsw2lGHSDUA6EPK1XuxCxrSJCgdeBuli+
pLEYSvg5sBfTneU8Vu5r3mU3uoDaOXRwxbzzqHuru7HXQTHLAd+Y/eIuQHJnJMzHGrW7+VePu9YC
V1IxiBgT4bdE6/CqocPRsYqXnMyR2TVBk2mJ7pGgA62otaoy7ovPuLNVmh/f5oTmdW8NiGUs/9kw
zJJqHo6MoielOjHvSqxnNTcwMpTLNME1tqFVbIK1A+1Q6L78D+/8FOdvyxFXVlSdVITJKp+R4+bs
8aFsYNk1wAbnToGLq8FaMYK8OnGjaYrYsPn4J6fBrYfZY093QM3zcTtL1y4d5s7b2Lid8GTak11/
6P49QHqLwWdmpK8Gbt019eZeP3VzDjYIPYRKR0BbgrRQJNej3cV07MyU9CCrijnL3GXQTzT9WoG6
ZJp/aTBop/vrdi4/d88MSV8q7VbXAtRQx+SNGSLHgBYMSPSPbK8riRm2P3XtK0lX2Ni7vPKqTj+1
YGgTvzLoYioWc/G6PluMdC1RjfBas7CYZWhit56CloF8l0TrejIFnnbUaoMSIrh5/7troXUz6L+g
G6wAiV30/bMfId1TZBBEG6tRP+VI8imFUCzkiBdHw1WE19qsGti6GErOzEkXj11aZsZFA3PlCCKc
fWX96b3/qId+ZkS6ZCwX8iatPmEg3Ly13Icu+z4gub3+9RTu8V4fOYtWJhS7bI/N+slAj6Utk9lW
IWcUW/V+Fs4sGNWcFX26Yquc3ybEbvUfbFLIR72/k644+fur5sxG6U7u2DYoSvZseKwYmoyl1RyY
udaBQ+jP1J1u+ywFmUwrhogBMxQKW4Qg2XjooRKTpE2OFBLP/0DHe/Km63DrQVUQgvUCMMyZkzDV
S0TuyXoG6dFNnv9IFwsjuP7e5uRxrlbMh2y0yyJo7dcMGoEU9VK/fHOq/gZk2Q/6lAbE/LVYYLvL
tbuyR2EGQnOY/YiHZv69oqfFRh21hCoY+UGwuAH3l+ZmNyQtwA+NWTjon5Xm8DvdJM1SszroY38v
ihrxsP7KND8RpX3MMZNslOIWOM+gSuubQge/FTGgme53DzWF2nZActwIvPJv56J94LaLC9gBrFx/
nIbhNDUQ/espdGcc4H+aBjJBbrD0DnJeGtSZCFN0jsXCwGJZvxrFGObQjbOcDNd8GQhIgl/3TJXf
bGHn7Jt2SDtAEg7PJN5Ba3goxn1DPcUdZpiKW+z9AXRmBpDJtQdZgX7KrDroVuMwEW/PweY+O+6N
DxZ1DIKiWtM99Vs2uY4tciMONrjpYBId8rWvWe1FFQIM7169+lnwI6tBUM7LMEU1QZ9O63Lf5Azz
CUuku8+6zoPMumm7G2sok9YDLw8SedvDnxa/xw4ENs4vwshNO+Sog6IswYxHp3aerLQHRPvVtO/I
SqBaeE9n+gNYotAetMjS83szRfHJWX9qADG6eLEb5ES9N0F/FxVkWaAQh3pe2TxN0xcNZbWSzkEN
mFeX3xPtKW/vSoGfuLyOEzQQiiJY6jHgSPiH9pjmUFaih6rHWwPDt5TcCv5mdD/Wyjs4bRuTXg81
m8do/icWjkKNuRO/h7KiS7Ao7FVjCRuwlWSl/N6iv8f5H635Yi//cO0fzfqdg92qB/qwAB0MLzyM
fbrIXVzMPYjbESS6OfCWoSm6J48CJilW/dtgkTay69G9y/0BiY7vPDQWdFpGLHQx3S86wJ43dPQf
TZ6BD8E66nx9ai2vjkxhv113UkXGIM9KC7cp2pYjY9DsKR7ImHTUw/yWCDDHoHjsqM6DdM2iijet
3MdFPna/MPQXeCZYuZmpOHWqBUn36KiX3EnFdo+6b2D1DZgmYg3UoxXUAq5vnSoJek+kz04elNDa
GnEKSRAxbiuPveaph7INC+rcOeBTQTmBP2QozWhVEdlpurtuX3XzSbfrvFS1N3a4wnvTiWr7l1aq
EJaK0CKjuIim1YOlCf1UFUhZc8aeGSApKdG/TFr/6NHynqEB2daLIqgpPEVGb1WLVXKjg6fYK4in
rafSu3PF6/XdU9mQsnLfSCt7YchNuhnB7Oc0fO2Wfz3B6vo2pvZMwwXDqGHLmYOojRzUrf568nFr
dcaX1HvyhbLCdWElH6xIK+ENhMIn3uqnOqYH+pDdVMf2DoDMZi8SI8ZcAxoCsYpPTGVUutwKtjBa
W/Z6cvznFGS4Ao1WIzXjf/2RPixtOwJnJ8zSbM/1elhhRg+NkW80uxug5vvfGdmWembE08FQPPEc
xersZG6dsuxbUzFFsFDtlxT8sgoIU+rDCCO3KZLgbsDIC3UVwU9lRQp+jY9uDsBW66nM0BICMUtZ
uDHXK8WOXSqqfvgu0uuBcn9wSj/TTwLwTnBoh91zHkErI/R3DjhY/YMKGXghqn8wKMW6dKj72tMZ
nmiNmdjdMZ29nddjvE45R3OpgXBuSg56nHusdDWE1S4q74cDuVlvvKiPROR/KxNVxUPxwT5Funqu
NFeHW9jtHWt8EJ+9QM9J4RWXwEYfliRFiNSzVrwptngaTFARBMWJF2RtAjHlaIj1CG5otEEN6lil
bOeFO+qDZSlMLHNLFuKl62k2INGGdlee/7l+elW+KCNVCWR305og/G3CoCSp4qoMmhf0CiFk0P1o
7sa9aiRJ4YwyOZjRVngTudZ6aurvCwdjEUPvC4wgq/miWNtWgZKehR+2b/slZ6GJYvZ/6IBlOFWG
WQWrbe5LY0JLc4mQTSULmutTBqY8EASDwD3MVerMlzCxH+xL8WTBRdy5DT4fNLl3ELWKxXos8SZt
TuveA5WdcxoPThmO+a3GHoa7DGyg97Wi1nQhCfnwG6RY4/a9IVg1ANuBWU/UykMG6t62IoFVf0Wv
/jTUbxVXMUyrzqUcb5ypyhsN8YaBLsst4El4vrRec7j+gRVmZBSr5UELSqeIoz4ax9mQRUDpoGjn
xtfNKBxWHnOslwWZSFbqJ52usU/WOK/soz38sDXVhIFqQVKkcTjq6RyizafGP7jgT+jGp5Qb/z49
PPeITy09v28qvwPPYJNBpqTnkQESdxcvtuu7tjn3lcP3Lt17dvic3nMWc96OeVGFVZHFDXuFXoJj
UTBxk911Y6qN2/79zJg+2YvuFjhpmTNGNrlL8wmK7m//nREpnAjM/ZJlgLsZaI378xoN2RQJ4Fyv
m7mESfrwgaSw0Zdj1nUEdngBRiZca10Wr5tSgqmF9XBw8fjXp6BqVe8GRaiQMabexDrBfHifB1He
ph/iarlp2p9L1QaG8CIHq9bbTBGfVIdLChVuaYCXZ8WXa5cfYzOCC88PU9RsJ+X89nV/lDtqjd6v
s2bgFLuFFrH0BcNJyfUPp3BCGV5Kc0hWEoGrlJrfnPzZQCHEKFW3p+rCfhdLOXP1pkFC32rIeawd
SexbfvJj6G9+EYl+Wz3Tu/ygKUrrqmVJSQiAf65pTti4xXkSrhey5p8V88PX906VZFlbKnS2LLxT
unywcFdvmgRpEYqfKIBB4sFeoZ8hwGISdF/xusiUOZbCAeUBaX3Nxsr3Cv000BFEhktcplngaiyq
G9W1uK3hSkh8Zxg4W6Pvd8TiGt5jBeitNOcGgDTFNl7+Vo5jExvURp5MtNbyAjOqlYmgm1WBlztR
n/50eKeIUJdD+18r0rfq6nbwe2MCBaTlh53/3dfvBAEtJYXqlarTcvnz/LW1rfhszzQIJ9C2H1EE
GF9ODl8Og3E34Da57n6Xv8xfK9uvOLNirwVbqaHjy3ArqsntmqsqzaovIwV10IcvQs8W7NmaWBwD
fcPRsv817+57xeTvMqRkbx5IOTlsXk8cKE6aZRhvhxuYTswzXxG3VeuR4rZtpbmV29ixDlD9zAQa
BrAXXzVwobDibQCQs+9itV5ZChcLotYCgU8a1cwKBBL4659fZUZqZbvCdjqnNtZTuu5BNRk79WlS
esD/417/36/jSdndPJImh+IJygvCAk1w5/9wIeOQkntS94dMG3cOKUHenfoQvFCNPqhWKAVxrTA9
N3OwwrIDqY/fRQJSB1VhKzZSERlkpkS/qlvdNHFaWXrXpY8NJteKNgtr7TvNVRAZ5X5uaz5zjqnX
Z3MEu/GpLMuoqsbQApdD/1bQW6OyIhzpWFsxNGZUu+veojQsRQtwnCHV7MkWLUB21dCobd7ININ9
7J9hMkNdS2OXlnFT/bxuWBELPSmGFAD4osEFu9QtA5PXcZoOwIXywM4cxdPqUkC0wbGm2wYGuD0Z
3GG1NoiuSLeeBoBpW4jKtqMSW3YBvWWf25DOQ09LAI99BpjAMH7p8+Uhr38IWsegVuhAlmx75LDk
EJUdlNRsl07DuWXpNBATWsqO364nIEV/FhX5Qhh/hKZNwsr8u2eh9OukJKg60Bqb/qHuMP5cO4lN
ITQs/NjRVSSKqt3e/v3Mk7nhFlVD+vWUkzKyil8WtGWuu45qxdJZgbLWXM0FLHgFBJ0BOin34MdL
rhu55J/n2yqdi7Yc6gm0xTj9xAnaNdtlJA81YNZrU1UQvhRozk1JR2ExQJhp2AOunxnodr8/eCBA
h4gF2GayPWQ7Q8XKNl+UUzfbdx3gWJBYGY583XkuM6s1RykJPX0CRs1hvLOAdls1HThUrSChZozH
Qdfv5sFEQDB88YwL/62GIGTbL2Jndt0c1uM4QSRtiIbaCnM0gInHEqhh7K0OwwF1uoREeHFX0B3I
ZlowZBbtGrmsFgEAFLeatz5xNPvzJk9EBkZ9vUGXdinv0n64c5B52Y6b9KDVzX30emfIcWN0iAC0
3wzbRPRzapdRyo9U/wJp8tfMc9C0HkzQH84lCmHWS8r4C01RFNOHHQERGcNoKqabw6X810SRyFPO
dlMWAWEWtIucgSIZotqhX71dWvn3o6ki/7jsj//70WQNELPMFr8ti/UEHtawaskOkzCJMEHFZahI
dS6f4L+mpFjmt4sFIDeqHRUAyjbIWsZFhRpTmZCCFrguh3lGCerkQNIr758wiB5f93Jb4eWuFIcW
VlXOgmnF07JsGHMIAgzPbg8J9qlNRNUBpXI39l8xIQAZdS8EDp4ZYEL2IIzBQCwXrHUejY0Rsco8
lI5/54L2dcXvnMDJ00ceFYHF7MAiP5jJD1U27lid7kj3CJaYG4HHXW0nmfEm+LO+/MOyn7zpjlkJ
sB+SWJfm+wlb2mvaXWvgfVh65NEY+nvMsb9prmaB+mer8Q4Di0cDsyS2Cj36Xk2UQ4CjA43o+b4L
wkQpSfQmtxsKp0E1t76p7fs0y6N0Ahl6q0cWMtKy7n5gJOatxGI0p3jMRQ5pWIjGg3dh9G5ScsD4
536py5vKmSGJUAXTOMUmzSJnnV8we+sGmDsAXnRyCsxD9RjwGusk5a+9oUgjLr61z1ciOWsrphxV
f1zurp9ug0ZI3P+p0ue6H+O8b8K0+0b9Jun8JwMiBKX1u9Axp87tY+qawcocxdV0iYzA9gzXtkAJ
BGJLuYuzUGsS6TyRe3DGhHU+RcsMdLmzBEbVRj6k4+bybUyzmwyIettt0Kwnod/kX7ZhGZD1hA7A
LA7rIs70nT+ykGOWLPdU5KrO9n3l73/+M6VdoynSIAKJmPsUA97v14Bu7oRnASPhPmkrNOpYWsZ8
5j9AM0JBRe7uyMD9uMwRdEvAHo+1NkBmzh3fqGEnvQb+CB3q0QaLcioSSxsPos4A1h0ivwAXUUYw
iIfzlVI/KhHA9EpLRNPiSEy/y2EJXI89AzGEeUnOEt03b7hJcNCaPbOfu2kIcsP4pvtFtGAMTsP0
Jh4cMVgVTkP5m6VQs2lAKghAlZ5DRk6j4FCH2m2m7eqsjWvt5+QB9VaOj3mFzpabqchj3yf0P+2m
CcUSgwAo58ldoL7Nq9llM7kHEjaAU8TdhFvNey78GzpPUZueuKDAWd36GnTfjducnbr0YVpvjAEe
4Iw3NC1eXGDlJrvCi10cTQzilFDqESuLrHGO7eqh5FMfDnORIMk8llMZ1qb/He32CrIn4ELgRZQO
6YF2uiJbuHjAvLPFSYnQ7OvOlDvwaDsY0O7BOJHQXnQMMIZFXO66eMVQkQVAFubSwATjRoowfslR
z6xLuRFg2Y7wJk7uMRVpEPfOXAG+XQ0V0H27b659QanYUIGnrNYmnIeNq9X7Y++r3ZhkD0ZoBvBF
pbr8pcv8fE+lDCx3UwOjlBW5r5g4WGi6js4viJhGrq+CTVy6aM8syW2lOe/8DjIMOOjDvAOHZ2BM
i+J5dWlKwD63IV0m3cBMmmYtvpHTAPQ3A8i3WjvPgaCcSU858AfMQAzQyMFD9tcbabSRf3Yu1G7y
PPEWvgO5oAdBBbXzXnoqnP80Kc6Jxce9OuCn6UfxbcHpFH64gkE91ELgu4+82nvNFHT/H4LGqo2X
Mpy8JU3mQGDmfnQRCPrmmTf/QS37fG1SgpMDk2no07a2zHlteoivptlxYd/+qwMo86AUGMvVPBR7
7zu/PVT1glGpGlOoTOVElx7Q56uRwkxj2I7AoDpOoPml9FFSqtZIrA9G99ADmttDLrW0wGRqKfIH
1WeS4kurdzbvBeKLOSPk4qFAaxWPxkUYyfnSpODizo0YhQUb1g4zgIj40BkCRCqkNwb05pV4LEVw
IVJwaTtWpf06kHujvWsbvhHMhn5Fd3RR6aFferieLUxuQ2Wlz01MvJJ76GJAH7cF5bMd4i64GQd7
N/v/wQzBeZyRe1J5x03X1bCPzMojAm2oTuzNQQnAv34VyD2psl3ModT77WsV+/JY7jaSM1M5y/KZ
Uh/vxvPNkwKE50+lPfY4vkviHOs+aJL0YAVj5LbhFo/UzSFFLJS7Us3q54Sm8AvS3S2u++RX8y3o
2YPr8UJxoOQWFG3x+h7fnb3AeDE3brMxfb5uYjsvVy5rufU0aNbstFu6JWZ6qPs+MEcoEAx854Br
INVQZFPMZKh2Tg4SRsF63UcK1LlFMNgMDAJLpOaZVAUKSwoUNJ39mRWItUtiJPZ6Q27KXR+ZiQ6F
8f28V83LKAKFJQWKORNiNRd4OsEkwALd5sXuD6PwDkXTKbxCYUomtzU4PtXcwPcy1B1zwADSOQ0X
kC4sdZdc945Ppjbafe+vPpN0LVrowRfuCCaSGYTh1nDP0YBvMWcwdV+vG/rcvZYsbW5zVul0AQ3t
nE3o0vqRCjBh3Joxha4YJPeQEdOv/aGKxF6VEH+KuZLRbflnRitvAA3aiDFuAZYK2uR7zsAd4u87
9sNCNej6Et8Rcx+OmmRN8nwzEwYrJu6cLLrv1m9m9wsqWyClRnXCgnYiUPv5PWXwnBLQGzoGhN6M
y09t2c3bFLWLcTW8yC3/mz+DODlPN7F2jDGhn+tAq/D6b/0UeKSfKh0eL+//rxivaI1H1yKHGUDh
/86EdGBq8CqQsYNgrO+CuQ9kG+X4cN2CwnnlHiF3tCZN+9I51RNKUJBXGtCRtAcvagpVE/czou/j
hsk1oBRgfVp6YAlEJyBBS8BjAa8SMmGyKuBjwJI0+rWEw8+V7Jp6h+lHG7pLexXsVfHZ5EYiswdA
TcpJnAwT+GFfC6tJRU2iMiHdtBTME4w0xXRyVgxfYDanqA2FZyhOpdwrzNladpC2nE6aBZbQigZ+
+miOd2B037ejQuj98zUhfTgp7iwOlKlA/D6e9B0IX+MNWwKVpxd3x+P8qCoVfrr7JGNSvGlTEz34
jTZi9HVU00Gr2XoJJrgUG6gyIwUao1jHznYQtUtRQUd0CXiOEm2/hNfP1+dBHWk5UpSwwAYnhgVH
eKx3pj0GZn6omBXNnEeD99pXr2n/NLW45UGAcd206mhLwWOeHBDEoDB2MlsalPlpXL5zHcLyriKE
qJYoM6Cxce3wKpzpY7aMP+uiixeMu9lkCTrQcvJx/AoCzRcP2oIeyrSdmBTrVHxJmf6MN7Sash7y
j2v1g/Fyp5ciLMDvcn03VVbMj9fgpJMlGyYIP6d2jfLfjyV3wsr98d8ZkQIHy8DktQxwlt581LzH
XryMQvGIV3jF+zTw2XU+8tky+gkmTNcOdUvfpylK7SnAYWQ6XF/N51b/R9/3tz09s2WvDeqXmxaT
aYJXhB87H6GwP+otugAv6MaHq8P3fvrnulnVCrd/P7MK+eLK1MFcdNJ0cGzpNkq8ZmI638pSRa94
Mc77LqRHPVBWQoHyo6WlX5hf2GBXZCMEM15B3qFwunem90/p0JkFKXqk4DFZOszsPHaR80heTXD6
sKTcPdW7MvQhHc8gPR3mR1W5/vNbcftyZ3al2IEmUSXqAV+OHngVjj/dZAW9+BhNfbKVXdXDGhc/
2l+Dch7S9w2dBTDPJ4y8g4lvDP8PaV/W3DiONfuLEEGQBJdXrhKtxfJuvzDKVTb3fcevv0l/MW0V
rRHvzDx2u6OPAAIHZ8mTiV0CR0qHodfEvX4+Vr7aMgCox2BQkgEsoy13xCK3klSyrlu4/GCerWZx
jztaBjJUGv6PxoSSY+mEjm5OjoJWO+RJ3bUYfW1J89/PjrzUNlHYaw1Ez6q7pN+0iJ2ur2j+3lfO
4ZKZNcQUdQJNkvhUDRpER5HPV63ZqaPbF7GH+Xmrz0YrDaYVs5c9yNlGLu4yEZk6EVbCtzfURB5u
Z/UITRoEbkNx24FXirXDgei6kdA16oUfEdZCUXbh8MeoHcpKkBTwwR8CMMiySPIErTr0U+CW7dq4
5s+bvjC3ODK89yue9ITcxls0qE20tXJD2ZbP1OUmOPUA4NUO2Y1VPV//sLK6dvMWTqyJxEIMO7iY
hviHXEoSw9car1baG63zMVxPEYbrTttjnBn9tDRX70sIVStq/p4Kk8nkD33yQDBp9SHoKANQ2fjz
/Dlx+17dxm0CRvkKWnC0BhNob/h6tA+i/EYL9E+UKXdDl3hVIwGdOO39vjalJn8SRuLqomBPYuyR
6jHv+13ZyYbfBlua0oeSzZSCsUUSsudJuKHg5swSkzE0+4rhZiKlU7WDCd5JI0Fnbsynk1jeirFL
q+0U/RYmCap8v2gN7lsFrU4SbDrM12C4xwIfo4nZB8MONISETYIhSRFaY4Epp5nbsuyuSEJjGLKd
OCExyZgRpOOmadDsJ8CGcEA48360Mm2wdb9zY8zXWEWoo1/Zboi+61rUDyP9lAGE4oOHMJpeR71E
B4beFIIKEorRKCTyKGdzLFqQ5wEES5hlMBNMLaAh70D25VEd0lNet/teRvBRdoDh1zboQje6FDLQ
K+S7fAi2vXYjSQkeBjBLKNJNO/N4SYARgchUB4GN1scAxHRmOgn7CjXosW6h/owIsQ0dibw0jeTG
YrYRkvuxjjwu6EaTBnY9cJDEAf7UgzAvFsykHCCQBh1zJj1Pseq0+m0m3gkgjszrD6VDegC5DeRA
BhyHW5HMkIi+oblqFkAXigqzRbLhFegR+cmX1CMZ81sWgRg4lDZqioQsEoZdNmQvsoCKtSh45dRL
xkDVJw15viz2Np/1oFod6uKRlQsxvtdplPdp01lSYfOSbBptMID7idq3JrB8FXRzEfJOsku00Cpa
lyd3PDvJwZ0P7trSA0WMLtiU3yjBKQr2RPiNqMGL/W2WxC4IL0uQVERB5uj8ARTOJcHqu48E7JJd
+1Q2ZocGu4aGSMrQcze5fx8zrwXrfx8B3/27b2wGpoYI2nSKeGLTSzJZcp0YMjsouR2V+yZ6iqY7
DvSjdAirF5l7WvEBsNxUOEQe7XH8kxFcCmnYqzrAHpNFisYBs1iuu5o8AIiUuOIIFkU7Gl7Z9Fsq
W0NNXwRlUzW/eFUAkU2tXHrsuGD04m2enhrfFdStkOJmggWiSp6j5pgM6c0kP/QMRLY0s1stc+tC
3k6xb5UDhRjxnSYXdzIDvWr6LjHMZ4AtI6o7Q6lTS2v+kB78p8nTgOcO0zWkgwQwgDCzqozcP4yg
JqildDOEjxDvM9EhA4E/ccYysclY2yk58SB8qeTexFcMqh50/veS8CI01WuePflje6cDslm0LaoG
msm7u0R4QWXIywffKiZuRZKd4b8ZGdjWMUk9Wn59agNMvs8srSUge9IvKb/hTHlTJN1EF8bowggi
gQOmQl/ALK5OW8kvTakgbgmkxED5ax+equk+Bjom5vlxUug+Fd7iUrYmFj+IvvonqtColRtwM4H/
e5DtsZ4sKBYamvbRC/0NqCYtDEfYqfKqSwcly089nGsDOvNgAB67LDcJwxlVJWK05K6l6qHKmQUV
Txv6P1bL3VbCoGGA/xyFn3B4b6cKhOilJQDSoEifGlAMFeoKWaLbLMdofyJrmykmVgFkTJZUjo/R
Ix96PlIFCsimsiLgIv2ptaWwMNXMt/U6MiumujzEFKVEnbHJzBI4JbS/bWgD3U9qso3jCMSFfWix
kbpNpHvV8DklOwJ6HsCgx56+hV1kZnm96+R049PY6+B56krc9lW892PpjobDKRVdDoInkf7xGVAf
OlxuOtw1Orxqqr42SW7wprGjPDoV8n4CjUydB2+Tz2y18Q8NEW+7hO2mftNP7KQKxOhKTysLp+wj
mxaROVb8t9AQk5ankKdAv6SRm6dPjYznqiBgZsHYu8LNWIEDLiO3qlQDIINDWrOVTPQn5aUiqoJA
RVUBNEP7oReYyrmq1MCvnKInABaCDUQdrdApb5g9/a623Tb39Fe6kmVdSEz/srkIkaZJlOqWIPtW
inZT+BiqAw2hGj1djxMuRWJ/mVmECarC4l5pKJrmoJnNu9CpofFNp+ex0HZpBKpYX7sHJPmxLFcn
/n9ghxa7ukiCUi2WtFaZkAQ16jEoEotjYrWrAqPsQjMYnkMemR20q/NY3ojFyvb+5DhaWF+kQqTp
Uc+TWgUSiBhXb4R3Ir2Qklsxhqu6sPREvfYgdduafgzRSwC9hUHad2oKRcLJADYJwDTNTSN6l3Xv
kXjb9nsSdeC6gisImJXnoCbCG1vx9153S8WKhOBz5dPNoeMieD//dMteSBKWYpfM9RkltZrPcgue
8PvIBeOodArvlA0mp8MVXeQfsfPfe8YWAA1pYlUF5UflSP3tABqoFr4K5UooqWaWP4729QX+5Lxd
mFuE6kqug3aLc+UoQJbOkD9nRqTYBK1o9DyY3MHEutG4EVpOuqUWdl4b5I1/tocCYkprKts/EqU5
jIfcjKCrjMnycj54EqDiwvlX4ix98Tp2DnFbt9lcX/KPDV6YWSR8kSQJQiL08UkAjxYXql3BQa2r
KF7OIk9D4HHd3M/S/cLeopITSBnm4TgkBhobQdqtbEs3iImoUe3JAeOG4HrRT/Gm/2hRIoBi+maN
g+NHgruwv3ByAstVmoGR4Agc017TyD4GcuL6Gn8674WNhYcb5Z6UU9DEJ23f2aMl2/kxc6U72VKO
zRa0cq6+XRuKnn/2XzdzYXLh2YSuUyU+4GbWY27HeMy7FHynSGvBNLKyujVTCzfWlVFHAUucv2AQ
mXg12wdMaZq62VjJQ4YM80X3MgvIqP/tpC4hG+MYVc2gzHbDYa/Ev7NoV4LkmE+ZTSHcu7LKH4/h
3xu6RGwwWRPGsMK9iLdTZvU73ancvNhglLMzRcCJ96FdAQ32vtbZ/lkwWxheuCCpVOQOYy+owEzH
SsuOk6Q6OX2d5MyNoIIQ0sBqmO/EnTM0fJuokjGBoO5/XP2ihgAotMAInRRw2BqIcBF9z62awJaQ
5JiNZI5PAZjo1dfpf17+wh9xiWC4vS9RLKGxQ4sOQigHHXTrOUPcrmx0+TNC7qHg5LVR9zANqa2Q
NSf1BcP4eZuYJjNV1MUfY1echFoEKPF0QtnolRb1b9Dif6IL4tC8gVhoI9yWnS5DsVCpbMgevIsV
v+d58N6X9aGsptPUqqrd+u1uZMlGVD4V8U8MkQDwb1q9cNLAWtMR9lY3vsnjIrWgY3xSNHIC+7OF
KTAoJ/DXsGluE7XapW23bchjhbww4aNVhUJgtokKxZAMEGvuW0OK4L7RhD+c+3ufPvPk4/phuHjf
JSB+oAEpK6I2//2sJDgQDDN3PcKWFKSykXKo402kBIZO7q7buXjjzuwsvKYCXvdGSHzlGGQfEJ4p
fN1UxqfrNtbWsnCTui9WaOP30QkzfBui/NGn0eRtbenDirOa/0c/TtDZYhZOMivEIhNznKCp/NSI
dEv6Ox58hhgojbMbxtOVXoz4I7Kdvca3vWXnTEUSkWctKlS9M9kSZrBseiPPOYOlm9k2MhWDmgC4
PRfWdBN7gfWfsxP8bX8Rp0VJKxURHiEosj33g5OgrNmBLfT617v4dp8tcuEag46mctA00ynomaOF
UB/o18rTP1uQi41ceL5O18IuJrARbjWvhPCGv6m2LTQWAmtNWOJyLHS2noWvU/u+7nyGQ/IvRqs0
NArA6AIDLA9m9Kc/1G4KBDeaJC49kj/qw/X9vCA+9vdXWwRjEtqdVSIO06l1RK86hCZ7RupB333Q
oMUHaqde/gGY/FfZeLqht/lqv4FeDnO/Xe3im+Zp52uYGUDnaxtshr04Qj/GKB4RY/sOlIlsfbAT
8OGb8Um+yY4oq/43Z0r8tr/43pnSSUlQifjeCVhVw9tB+8+n2udA/tvC4ivXaipX6gSfkxKMlecf
anAfVv9pu/craPi2sfiQYLqneZojWiG1cBdqkB0q5E01rsFRLp/Ys7Us3oK+qakUUxyY3hmeVEPY
EIvfVrbsqU73SOzIJG+Bp+34p2AV9+p25bhedHJn1pcvRKK0IRuz+b6kokEd2ayPM4AkMZMdN1VP
sVQ3cIvttJ3Ba5OXPF//AT+7cYttXjwfAgtkhkGd6TQnL9xKreStvQELrofq6qu2osb2FdD+eEPO
lrt4Q0JtgihD31XHUghNDqhapqeQA6pyjLAVH3GtbvUyclIW3YNt/VXSW1dp2TPTEtAiaeQ+UTJz
oIobDpCZ6lI3IZkJxkMzpKNbjIUFXm6UqTtILv0Jcmkr1J9BEliZ+MIgtgZVEZQVtPgYVO1Nprd2
GotGIYRb+AxLG5LXkGj7QGit6zssXnygv9f8VTw6CzamJppJ/iB5LSilp8a9RfMdaFs9lsdOKT+N
bev6VLCUqcM0X2y2IbEGxiSDtp0pKG8DWA58HdiYSkOHKDbySt9qyX5SQSAdlU4zIn+vGjNuh9P1
H35hkuSvW/71rpz9cJ/rkV75g3zsnXTbB66W2TNHYQOiartxAtGA3hs0y6xuKz1C2et/82JfB/fM
ei2rqa8QWI+60omT01wxvr7A+W5dOYxfacuZhaSLO7AowU+PWWyFDAMwHXNipfeAerJSYU26+/LT
dHYQFl5TJGqqyCAuw35S0Rid0sxtzETaoMwARTa0GtBJwtWr3GRf2iCFR517tTaydhgXXjVMCJqp
ahWfEtaDToJsM+0oEhCn5drK8ZlX82N3JYUySWGYbRUWlupK1/KibvEQBwQUxWjSJmvQu4sP7ZmJ
hesOMOxQcgUfMN8Vh+nQQh3XRp8OEqcm2DksjMm2hznSKc30sWiNtXf24vk5M7/w3T1Ec9Wsg9Q1
DYu7Qnke8tfY30h98TvN65WH4nJQcWZs4aeDsk2VXIGSZmP7rs/tGMJktxM5ZCUm/4jZBgb1dC8G
VM7Iglst3JXuqmjVxcfq7DcsvDevaKbJeRJApkfflOK7NmFMAvyaRRaBMIS7rC9vKLmVfPVGm1ZS
qQualnNg9895WrpRURwTgHxRRJDdWjREE4QEKESVstk/SLvI0000bz6pR215E24aB7qDW2AWbd3L
7XV62MvP5tmvmbfqzHdoUHPouYSjNycnoVkeYyszufuF+gRN/oqnupx6fa99EVEmfVslpE21Y8lH
YL13PgRxYza4fnmUQsX167WbdWFe/+/dXsSQNavjkvEsOGmhsGMV2aSx7FG0+2r1DW+q7Ve+4dfB
VhLae1ltBiOBKgqGfKHkGiFNGp9m4a4Yj0OmEsghPURibvTJG4v6gzw1HsbXnTKGOg30g2KCiowK
7U2uGVWZQvEkdXtW3vciRgZUMUc7nTmD8srGu0r3PUb0e1LeEiI5Ra5YMw/olIt2J7cmyoUeEyJ3
EjtbU24zRTfaSDaTGv2zItuwcDwVWfMRh+2m4ZNZicVLE0MDYBAgk+yVREFxA1FIo5tFcuCFb1Fw
ZTBX7lMbc5SGSBRTiB/9DPQ/GNFPh8GM2gpACA0Vk3EvtxiSLnJvVlEIoKYJK/WELiI4DKqYWQ15
0IE2yMdTmbzzobShaO4N4eCKzYGSfJ/EGJCQkm3RA9yf17jjFFPHkAsJ+GNbtA/QytwnnWqUMds3
BDQhonbo07nVrpkhL+1CAFr8WcageFXoFoQXCjT+ff1+iO/qkuDnvPHqTo73PPOS9hAwjA/edukb
aD8MUviYoskeZkiCHwGeSvvNWKdQgRwNTDhYTa84aR29M9TRy6qzB/7KIKIY8wzQ9BL9Ufl2BNyJ
0fpQ+NxrovhtTHqvLdaYPy9XEs/Sy4XHx3a3Q00QrKfbdjslNuRUUjQzQORXG4hHINPQoqttX48T
/o3v/adcpC8c/cBkgF06WNVgodf+cLDAlLUtQgVUJJOlDhIkbjGYn+lvooqsM7wryE1AmVH1LsHY
QAGyGqWZqZtW/MLl5OXMDS1CirQaxiGM8Srkwu2ss4P2kaDc6AN7FPQEcqop2JVmQYdHqh+4DG6L
9I3xyRtYiXP5xgUgRTqoIrz78Vq1eeVt/moonDnIKKpFxkUenUan3jZuuwGVpFOvxjNzFHElyvia
lz8zA7xuPgViGZ+64k8+I5OAHGlXqaxXXvovfNqZlSqemN8LPlCRFnUkPDmCldM/yJQ2qLWZ9V2U
OELvif42sYiFDvr187fm/RdPv6YIAmABmGwKuvBB4nvkzOilhk7RuBrZ0cK9bu7fXLLv12bxzJex
KhM641t7p/klPyEddSDP48A/zRXy9fn7laPydcjPdjfqWpoGtTofYpAtw7VpTbmFJovRQ7qYBv7M
1LELgfi5vs41s4snnIotYkf/y5cEm8ZVtq0dQiZtbaTmcuvs+45+pQVny5NSzJ1PiTAh5NaMPOgh
yRTpVg4VuKoM7brWbqANZ6bZCRUXk8XRvq1f8vooZbu+ntbO0uX78o8rU+e/n/2YNAxiCFfnKprP
qkshwdwG0FCDHNP1vb2YZnz76S9c5ZkZXlRaNETSdFKBduvlrdi7FDA7XSQrhn5CL/4ubi5h5ikk
oWNZQymKlpMZ69NticQ4jF9lqwQ3Tq5iPq4fzYlEK6dnraqqLm6l2sikHCbkN5iE3wLjXqenguEN
yHZJ7JB8wjjaViPu2A4rltc+4eJ6ZlMr9cJYTCe93Ov8s2m8GOLa17/f5bvxzzFZIs7FJmFyMsFG
jBLm/ykwErd2u811M5c927eZxRXkYtDm2ggoRNkN2wp8GFNxlPLB6MYAM4uj0+bN2jzOZVf+j0l9
8dlQKaJllkxIS63o0PySkG6DfSJF9J6YQFPeBSZkyF/VrbhKKrlyJ/TFd5NIq0UZ8IlfpfFZmwPC
svBxlUvvEH0ZEsbFwLIAd7dWSfl6BH8+kv9aM9APf196qAo3Oo17YH0hteYCd6UZCYhb3lMjeUCJ
GGEriA8CjIwaq5NkP8dy/7qf0pLuMRGGBGpvWPX8dGab1JIodpqe5t4NgufCSffqSufocuHqH+8j
CeLf69X7fIypwqdTZQPxZecWQHx0Q8x+BmOYmpM5BEIoLfpGayWBi/dGVSWNSZICwMDCvWbAvvMo
xlM9Qr6vVd84OPOK8DCkxA56DKQ0bq2t8eVeLLSc2VzExDpSNbGEnvtRzfhti/njkA0r7uALmfPj
BJ3ZWETAtFNQ859tMCOHcLatvqR/gsKVEki22UngNI3R75TU6GVzOHBAChAuKE4OnHVuAq8atBuh
MAp9G/8KWptMBsC+hRXawCKtddvFn4Cn+cSd/dbFDU9TqZhKLQ9O/UjNEZRnYeN7ufiIuwcSOB2V
EwQxvWoNgg9OOXScRSRRAb/FJkL8TXVEzZOj2ujjeeSRG4KfPwDkv1MLKMLlCTX4UKOhI276NPLq
GKTOwMnqExjniM16Yd8D86dFwBirqZnw+oZm7R4CIe7ANMHIVdUtIlRvkEqi8mgAgqx02AnIbVdg
5KlbgN4m32sZsf3pXo8eYx3jBUpsNcCwq51q+XOiqhBE+g0o7FjwAFFgQ29f5PgTbs3tYxnz4I8T
EK8dsg1SlibLN4nwRlht9pmL3+4F4BGs9NgeOlCGSemNMin3uho4iQ9kAgkpJo57VyF3Wr2Pm+GG
gP6yxMRg1oieWuemMESmSj1Rhiwk8nSU8UGSFia7euhcofDtSMqcUQ53dZPdjmPlDeNLmnDAYAVb
ByFRDfo5CC4ZHbtPqQQsub6VxxizUyjiEFcqkc1TdMnDzJ7ZtHyFWTEhoVFmnaujthV1wm1USfua
F9aogyCzAEMgld8SGt6pKI5o8Nt8Ssyq0Z85ScGE3YD8XwJMePJUItyRVn6ZcYeASZk1fes4slsu
3uuhdhPpIJoCbTKrO0/tqdVXONQioNg6ApeKmZnALF/pzFqMnYSkd34o9CbY0rdc517FS7AMDqQ1
mAppDSDtwbD2pw5IC+qxvjRpD83DOugqK5vYwzSKdjm0TihBeD6AJI4/Gn3THoe43WsyuhJ5DjlE
5TDqoyEIB4HtI7JvRLjLabIzvbdCNbcqYOqzQHAgZWbnpbLBPMRH1dxyAexOPN0OzUPWgBgugWZ2
ugNx10fYyTumFSMg1tKpqOVH3hbbQJRtmRRmXaFROyGHljGuF5TPCvcx9UjtHFgyeXz3ExFzxr5R
1pGhYhA476LXTtZdVC7+m/Dm+/p+0budhY6d39a9GNYYD5O8Gh25+lYf/qsM58zGwp316hBorRbO
SCjot7YOu9G2/C7bUm6XXnY/bMS764HOio9eCmDkSp4kkPmcToP+oquOgtL0dQOXk7azJS2iC5Ck
s3gSELGFmI2qMXzUQfwtBjqc3DC2SVsF6JrAUemWgHwzlmMwAmXb679h5fFbotlwenDeKywy3c5c
PfUGGQaCmtWEan6+rzxGSxwbAZNzQXvUJhubOoqJ2+gK287i4AUChnUlmPhJuvH3c7JkIGrZINJ0
wMY2tuQMLr1BQgNpNSCsfa9xdVsGOtD/zczaDWVD8maSOqBRHOJc39zLFefvD7xUfx8KrikYs8Yo
GmQsqIWKu0UPgzOvOrCE/+a8aoImUokKiqItTlNfgLSe63l/HPSD2ovAchdrB/bilfg2sYT3DERM
xrSaZNRU4FPEyQBxJULxuXBq+kdu517krNXRL0fCZ0YXCUeTiH09NOhRzCwbdG61uSPoUOH+bjon
21YPhTNsMt+c1qL/i8H/meH5TJ95NSEMWqpoMlgiCr0yiAg1ey6/E+hbBpF1/aRczA/PTC1K92lU
iZRMZX+U0DmmmP7jkjehS3zdytrnm/9+tqBGpj4tAJ87gqKhJh0ehjULl0/82UIWwTQv2MCZrEcn
YAWCDd1kiGAMsDNacyExOq7h8tdWtIij46bLqynwYa771UKUdshO17fsYrZ7tp7FqxOD1hLz96w7
yjWaCeGfJH7QQOqv02mbQSFm9KMVh7y2okUk3BdJ2tclTkJbvE7zEBGGna4v6fKzc7amhaPo4nys
mhiOYmbTq6qdBlhXD9oljKrZDILi74AmYKRtxer124T5jcXhq7WmAiwIO+nO5Qn/lv0WFYw7G/l7
/FSJFrUZ8ltMf5prbcjrl0tdprOtxOoIwVZ3zMCxHmsPLWbrKv11ZX3XT4q6TGCLBB23motwU173
JGOWFosMLbRbuATg4/zIBCayCRA/oXXfbMqVr7q2yIUHIaxC2iFB51vX3uVUNeUJnI/TGvJqPu4/
nvF/jo4qzKf3zIMAbpxWvZr1R10UQSf5QHIAeNrf6jhA9btfCfnWTszSl/BxopzjnBboU8YKlHcx
kyn+EgdlxS+u7d3Ci0hEKqreb6OTMuKJBvtwSUsrUNb0eC47R51ClUOEjrEmLJyJIueFH4GtGHgA
tMNnCorExFRdhpMRo5azWkOaH6gfX+vM3sKXxBHPKSEjuc0xzUWhCp8oj90obki1w/U3A0g0Vawy
ZbaXtQGkS8kKKfDF03Jmf+FohkaJpE6GOBnpVTcLPlrlJhvxkk5ou/Nu5QJcdmvf1pZgA6JkfkJn
BqmZdhKKazNFrbLD+LRZTtvIAcHmGnJ21eQiNMFgXBdypN5HwYs2RfD8L5OCBYaH0PZNTG1ddzMX
78TZIhcxSarTdMoDWGzIrVb/kv3PGHWcIl7ha1z5cl8LP7vnrEIXXOxhRqehmYXEo77tgzOUiA/i
eh508Zx+h8lfE4tn1hq9Bnl7hW5L/QI8464xYgu6kGCwNfkvwKnWgBLzsftxLb7NSYuXiPdZjMKY
RG5Hf7wvIHGRipD1BkfLSSgw1V3KUWe1pD3S3MI0OJil8c96KyACxBR3N9p+DYYtYRwPMmQPRgFV
j3ZNB/Fyk/jsNy5OVhlGRBJKtGIHb/gs7gZ3xqr0XvXY38jbxpozp9zOHOEGsoKpu+Y5Lp6yM+uL
U5YVpBPhCwMUn/WNym9axUvbbDeIj9dP82WPeGZo+WppQ18o1YRlmoMdvobARcE3HMCVbxeYUVh5
UC4Xmc/MLZ4vXavSVptT+pl9aLJB5uXM+wrSfkwoKNhVakJPbp+7/9W1PTO8eMqmcpKHWER9Uwfq
IyiVJ0iHgvUBWoYoTl3f08vY1TMXsVikr+o1H6hAbqdCvEPSHRpdnm9Y0wlGg6kd1a+g5fLs+50h
D6CwyvVNFeRgI0ncYvCNdsKrpFS7ANU0JrVuiBEnAYORgviZtLod4rOQBvoa0WdD12R8Ljcezn76
YptCKShZ0M8Mb6BO0aONjyzvqwCZn/zhHpPozphBknH0QtxTsXwkHXBbDD2o61t4uU949jsWAYEf
xVnSCLRDjwvNF2njWyMIP1zkMKfIWY2ML0aOZ9YWYcEIscE0FpBnNnbfej3Ge0U7uqPWsKfoa9mT
MzC70jZzkLDeyL8Y+5wZX8QIUelHaSc00SmuHzLFv4lByCBWw8qhnM/cD5d7ZmURCXApmwiR0/7I
wY0wkD8dZhCuf7MVC0tAgpZJscBVJGqo1doZdEASja4g4S/3rb9XIS6cMku1utXluD/2em8Tkd9E
AFjT3MubELgrZkXFUfWRSQEucH1xiA2vb+ASkFCziJGJ691RotNbHWQgL2LabhLLD0H1d0XIPgJC
PqGoEu8ESZxcWS24mae6ZLAh682yHSur1PMjNG8Lg8dSb6k82itD1LsgIbjryGhTocSwforWhfLO
RGoECXlvffYYt8VNIhYgKJB3mfoayoUjZaqRKmDmyMaDSFF9CUbXZ6XNusEgZJaaEsBIQc2hJ84w
3bfxk1aXhoDyNCrom6RRzAAFGxGAeUhRgkbmaQKSu0XLQC0+eJwA3PaRSe+oj9dxYk7QT8oh3xG/
9Z0AtpTGHPVPGlRmFW9KsC+Nf2LpNHabSeLmCDYyvXqoRt+oS99Iq8cYnPcztw/GD4BxfOHpHf6N
2bGPQnrM5R2FOowqHmq6TcPYCP1dHD4l/QCqXTAX6BlyHGpz9qAIiVVLT8KscBrcVeSXilWK2ack
vghdY0wMUGkZtMX+VqKf0P01OJFQvEU5Xt5nPkRrAdYr063YfYRiYAU15uCK96k5lFlrDHHsdOKt
mN0MfmKE5K4J93E4V/bvC4Rd4fAot7eZ/KeNP6FhZQylYJfaZ8rw7AONCVEEWXWR0kIlKDeEWLKy
brKLQXEi5sX1R40Cq/wrHLkp46MP1UbG2SFFDUIB4K1V3QhBAKPl0PkSA5sCRM8VtIea29QHF1ku
Gw1JTZpuIQJt9g2GeRrN6SqgiKGanCoO6JONOj752JfrJ/5ijHZ21RaBga8OsgIoK8og829AJydp
O7xNkj3kyJgmx1cSE8nN9rrVlbD3q658FojWvRZTKYWbalj/0nb3WshcQf4EqZ4ho4123djlwubZ
GhevXdIpdOpSafb75ZbucodgRAOMzyinmrKTemSr3JHb1XrqHLxd8cVf8cPZIoMkLZOcCNEJNGe/
VYwWylb+NLf2Eyda1VNec8uLt63E5wPkEsFIx4mhRYcC0N+VbbxsQmYKEwVFoMriqKAeLk8FqaMv
jEbYgOdg3GCY4ImedLewgP5M92vh3L8JEL5tzr/pbA8TDOxOmCPojyDS84T0Pa9vw/FDj7w0Ui01
lGytTzYNsgo9W5uAWbW9ODZlIigdL0b5mILGyNdUe0rJRm2BlaZWAzIZhbwNIkjN5HozUypd3+3L
4cL3wheRkVKMTCUKWGOlhGxJGJi8V9xO+PjfrCxPTVWimgYU85FxxazVAQJun32/RlF4+bZ/r2UR
+qBnXEhBP0xHtKUqdN5HuGWCubJ62OfSGrb238S239YWIZAg5Lnia/hssqvgjIDHgSDx4J/Jjnm4
e1ZwXAssL/vQfyyqizwX1FSDNnG1O041gEpw+75W2aqKzo2gFzd6BFlCdqdOKxXzyzmd/m12GSXV
ox4kdS8f9XuO5lvgNQ718BL+fw0vX8pUJVmU6CxLq+tLHk+/IRLzR0E6SgBIiRj/zILtUOTPdULX
ygaX/Oa5qcXRDxRQtYwVKqxoQG85kGcy8gIkR87/I+26lmQ12uQTEVFQ2Ft8++nxMzfEmHNwhSk8
PP0ms7H/6UWtZle6U8RIqqbMZ/PLBCjK2OdPa0QjV7uYlwsuXkHD+6nMtYkC09vt9ecBAm3uxJ0y
cTVw1XWoLndorIQWdPK6Q41S4hOpreIUcVeD4sVujQnomp29/DmL59JMUFim48/TlxEcvsv6Srnw
mm25XGDxQkSuDgYhDTlFxZs8nUdeQtZ4hcjpB/a99H4XiyxbmIpUKmIg5+SklAcFEJ5aeyvYXZG+
FsNBL747AmVfRIKUnXTQK+f099hpDmjHTRYNgNlIkX/b1F19Lpc/aPFcarHvWNTiWqnn0B8P4VZA
ezo6Cl7ijC9rFZCV52LMd/zCb4Gqc+RKWZNTMGQOIDaY9K+SjRauqTn/pEK3tnnhlAW0+/uywEL0
NLlV5I01iHIsCGMCbAZdBl/exHvpK/4WUOMrgS6qzOwNOK11/qqrNZ/L/V246nJCqAgmOYKedWdT
chzlcxdsclDXoOXVunzDRUwgxGaeHEJsyBlWccVnrj3kJW046H3lQicMbArIj9SRgICwNjXj1ENV
MdRiK86+AzBeyQQkkz4GE03K35tes9M68YrU77q7iBgWa3u/rnrQGYqffRY/K+yIHNe5fR2lH0jr
rZNbmDkD4gi8HdAMGWJIvTY6dNQ5IFzsKLepMw6930+Gx0ZuZQKESAJi1Sn0gxKAyQp61rQPpm9j
bRsJTwlawCqR7Roks8Oo2FJBwXOLzKMEfy5aE3YTqG/oCnpcarxCV8w+BMwUnH9qkLpFCBaI4VsH
2n7G72lS6SraZNJil1DoovQ1/tpjmkk0dagnFn0C/DH3S6gIm0LH7xNqPKTVQUwnO0L62Ot3Kf0d
RKWdEvgkKIVW4ORtR83tamZqPN8CiuNOCia41PwsK4MVxuKZx4KlT+4Up2aLxCiq5F0sndMcjGwA
QepC+VxAvFnAQdGUPBllfj9ALXPWSk71X4MAzhORuOHUuiRNv+umeywoQUqsb3NZdngJ0kqduz3h
D9oQ7YcCKs2xdDCQEKc629JG2yuNZI00PGRNfaf1g98qKI+raJHKdqWUr7Ug7+RgOItKtU1lcqQS
LnM8AIXWYKwKbLVpBoCgYo0tsUO0HgcybWRF2ncB6vjTcWxea1Y7upE/Kdqw1wbBHmtEyzC7GMoD
xBKaNaBEJCNWBLWoJLw3uIWR8RbH4UarK0sNVOT02hYyqVBjhVZpHB9bmkApgRdQnH7pDLJhYeKq
QXSKhuwQqqAAVct7EoGvUsa9LqYdyn025q/MTJyg4ylguDBw5PpNnyDXeeBC6tHgTRj9KhwOadeC
JZvaSp0izB7v6Mh2Ne0BCwxPdVvbItnqsm+E7M5I8T+d+o0Ccjwd6sOEa041pDZLys1UJZ2p6lBU
jGuKhB8KxPqx4ECunUT1RQ8+g8qwYyne9mCy7SvIntaFW6BrC6Ijk+nZW0by/VRApVGgftceIRYB
ru7UzJUdT7/UIbRCsXT0RHLUwgHwMY8wM4LJvmASNuXIvDAAMkeExw7LA+CpjzVTnTBsdhAL3kUT
cYOx2ySR9lXK4W5MCzst78qiB3S0RIGEuyEB4tT4qnPD0ktceGidjcpGE7qDBM7mUf2d6+G5Egsz
6T+TLHzJRRqaGDA0I566Vdm4WtuDbJc7yVBsKr2/z5roMcRsHMsbcIyObkplx1D5Q2UAI5Il96OB
569PEH3EyRLZjQLVAfvNgzQANEwxyEcGZnEk5mrMN6VUYVRUxlHohx5zj4p2J2EcUwx8ReUnECT4
PAXtSPIe5czmRDa76VFk92UNVU0jdeEK30MqfadZ5GuQ3Lht2q6W7y49wSKeGtoG1U5QR0Kuh1ix
zx7g2NFoiM6rKfbs3f5qQxUN7GxgaKPKwvvxojXiXuLkJMYdRK8/mvGuUZ4y8akV2pmQyySZ4nTZ
b0wCgqoWeICpXVOdVa67+j+/YeH3wgRtaGGm7GdG6dFB+5SV5i0bSGKJPPoYQS4cJKVo1VX8VqZB
bndJC9LxyYBC7VieIcjukoiCDwyctlF+TAErnQQo1nIN06txZsKsbipW76u23rcA8AZR5Aiq4iEp
hrGJQc67jwrqgcr2WLJ6W4u1KcuN3RKGWopC7bZ+6Vppp40h6LUGjK+Oz0NAvSh/I3FvcozYJonN
KViMm9+9AvVnrqIA9XtqaidKk00FdWoEbbdvyBzB/uXYFJX8qNFTWV0kTD1ArE3doeyfj+BtYeBy
GR86ITp3YwvO+NjVjTWk4tWQ92LFRfCHYnsH5IGK2YMisRRV20T19BKCRvX2h60tswj7qKByVRwA
Ksrqzwql9zAYzZZ83V7k6oW7+JbFpa9iETNOmhadYw0JyvQmYuQxYo05aKskEmvfs7jbEybBKy1n
kFXfY7TBVPapE/8SQC0PQoHRBnsd5g83/29eYoBK6cX3zT/qInZuwZIaBCDCP/UlmGzysz5hQIA9
3t7Eq2UCCsK//zEdi1UqphQJKEeQtKt2vpGdxA6g0mnPmFV2BKk9BmCklb7G1YO7WHIR8XWj2FHa
ogVUt7HNNHnT5aIzgspEaBv39uddfWEXS81/v9jDRg7yNGlw3xGGRIVih5pkT0ridSDH7yDA0f26
vd7fpHt/tnORU0plkMZcxJzqjMCFap5gePmb/Ct9Bwe8A/Ltbf0NpfAs9tb5JuZL+Bdr8udbl9YE
fUmAJ/QyPuONm5I6a5Hf3/66lYP70ai/2M1grENxxHTFqc8f2h6c9RRAf7YpEtX5dwst7EfFKTSo
4o6gucZ9kmUnXFA/4cKRJ9GKqbpWlLu4/8tq7tgQGmoZ0jUN0yINWCkVzK6kJNmD6Oc5S6KVL1s7
pPnvF1uYcEObxBIdZ7TRrLLczBTst/fup8x26x4o/3sJPUvERNJqAILC0h8izaprdgYlwiNwJBB9
z+lXQUYwwkxGYxkaMJEkECUHSeNTrqbnsmzeWNy6Rtg5KYh1y6zwGH1Qe+1RacITSMy9DCOrGGz5
KNiwb1Bfl4e9qu0GoFWECUM74bshPbSDZmnRr04UzWYOJac3pvZWVlWmws8EFP5M/lVFfsQ6qxEl
t8eMVRIoNhnfO+0o1qJZhrk/IdybgQu9+ppN972Igom8j2rjdap7O5bzk5IPVlCEp1R/a/KHgSBg
Dz7zqbgDae62lZKDOvy6vbt/U2j4zwNXF8YrhARHJPSoxHduvuHH9gAuUhUM4NANMcotunSdOQDX
CkKhFJNukHbwouZd75/ZKsZjPsdb57wIL1nSx3ld4DXK5D2Q7yT1u4rvbn/t1Zm+y9exsJ9qIVJF
LPEQ5UnYRrrsdhNmGhLQxUNJNGLnanQFgD45h03rTpzDLGxi3UU1xhTbu8bYUvx1kF4IxvyS7JFF
T0lVoKf6lY0B2EQMX+oDtAQ7qmBuznCqWN0Q8qA3tUkU//a3rBmvhWVWe4YdkyBbWciPAaYf2w51
EYqaJpfXAv8Vr7MshFcBH8ciVEBWkEguVzAbJ0ELmCEJq/kzCaHKIxt7Up4T3B1W7qvoI24fsiqz
aePm9BSTF2har/2oFcujLUO/UBBFMsvQsj2Q0JE1M27MHIJshKSgqWwlm7ysyqBdXfRPDKMs7iiX
McRIGELa2gGxPyh6PNFEncJpnCZ35gr9OrPlVS6Fi7hJWd7ZsQLLDibkZngLyn+pU1jptrDiX+gL
APlaPDDZXKtVX22SXS66uF26nGqRUqC3OvW7IqAbLoXbMSoAcqCwg9OpQpaaVoo3tAgI9LVmz1Un
9mebl0ZpGPW8YgHibZBjmZH82aPPHhLm0GFjSC+339FVppuLT1UX+xt3MI480yWAUKHIkAhbFFqJ
o+nmsAGIw5nnemXFEYNjWG+I4SmAEdG327/hqum7+N7FbjdBArohWY3OJWN2OQimSvZS8nh7kZVN
Xb7inoJkXNbmeeZ6m1ZoKEnxPsHsaW3wjZisiWCv3aDl+5THtilDBcMyRRXYE6jHKYHkwobmKIeQ
BwgHNeSQZk9huxKNX3+ihmyIhkJEXVqEC6POtCjQABLX8+aORXfimD7f3sj5NP7iqJQ/KyxcZqWQ
qpErGp3BygajgxqbNznrtIV/s4N/1lkYm6RValXIgFmShNYulPQxZNLvSuUeN6JTpY92NwGLBMVO
sTc+OhJ6tz/zeuyPiEnXVFWiurZISIdC4FScA3AUOStzKs05BwCTix2exxaAT/EI8gh4Ntlqfq3p
WVxFYdKLxedjvggstSIPxyAAKmFGts4U2CE0O1FVfRiPw061IQv9nG7afXg3biqregqO2ecP2wKC
FFtfm2S7Xvq6+DWLS1VMXEvzBLmrJrxTEBqA7kQJWWyVBmTuOkcb096s49LkWWPdPoWrHICXG7G4
bZkqpaPBoT01T3523/WvyEZBXd9ImwgQWDM35+lL4s8tcA0jftKW3v2W/fghdUPwTd/+MVff1sU2
LG4kVSURRA/4LfoEGnykZc1qO2922395XBdLLKyxiPJwFMfgtgm5dqwxkygV6Z0RlLuggUwCew36
tyLdGpVxQKK/0kC97movFl/YYRkVtGIkQDQAY7Bl0AsEO0tqzsO2+sNMrdhWTvm+rnV6Nb76s+yS
eaZOItQ1BRQQhqGHYhoAq8FzlXskQu+h35OkWWnFX2+oXSy4iJ36cDCoMVcs5seV7mIHhEjGS2Lr
m9SKN802OYL8zolt3YEcsFUB1ZR44Pnh/u3rdNXtXfyMRVrcYECJ1xquUxrOzARvQflWy5vba6x+
69KK8azo+gCL9FZ6bM1sJ3lxZsexpf/m2+wMAgunAZrvcUZwgbCjAzAaDUS8pvVzXvvehU1jdIrA
qwcrUoWaOxNiSWiPCTRcMRlr1kpfWCtZCxQZnPrzJ3d27NdPsad4ugtuixV7sLrSwjgZaFKLqohm
J1C73jwO0O2ol95J/po/mP9HN8yCvrA8XVNPlTp3VYWyA6suKCPBu6iqTsWMNYTDfOuWS8mEaBJV
YdCk5ag9L7SxnolLfth70EX1DSgaUU8ChY5xx1ee4s8k0K3VFm9AhZC9iJqliEGV4Bz73JvHKdAf
9KiV4QquYZp+gM631ls8h5SwNoz6BOtZ0yttLQ4CG8nUPdFmbueTzWSVR/1LPYFKGI/hGbhca10y
4Spo43KPFy8h0qesacYeNzTs/TguDnwg20hSzCHCKAkgvrp8iNUOnQ4/1YF3gNTjPzALl79gcXMF
UaCSgPk+nLK8NR6G/SzeEPrUh0anj/7vr2Dfu8ZWc9AYtSpwqJv5L3ZYO45rFuHyVyyudRrFWiuh
z3sWUBoqYhCqpbaRrNyxa/Hq5SILlyopZSuq8fypQ3sMKooeb+6FdfnQQNvUAERXHUCrG8lrD+ma
W7tcd+FNB6HQs1xj81WTRycAYKZ6VIAGdrhnOOkGGRU0GH0O8dj/vutrKNOVzV3K3MWxbgSVjM1N
Z4LM6bfYQE5lqFes7cruLqXtkpxNFWF4UJ0LGUvvf0g//5GpvdjNH/bii4AYZJFiLMmAVcwKGzl4
0xs/2+hQrFvTZ1gzScvua49mBhOFbI77gQ0RTCy21RFxywVAiBjjWwU5r23hwhr0BhgN5SgVQU3T
IKHqwJtab6RVVsqf1O+G7VMWfhEcon0utrA6KAKbGcCckeakhvC75cLzVPInHjxW5QgJ285s5VcG
zixtrA5GRfdlR30ajU4CNWXQK7aQLhyV2tJ72U2YZOdaZ/Xgt8gh5nTbTq1ZymX1p9HFsQvmvZnh
V/CwNhpaG82ZSbfT0+po52xvbu3Q4skWcgm1VR2rFZi3gFvYgvEYA34QBDkHLt227mSJIF9pd2sd
1qtg/ovrvez2hDFP9CqSxbN0jo/lZuYorHzGMc4IvkAH8RiQShjVtNYCi7UNXjaBBg7lRqDsxXPw
NNOjxJAfEY6YmnFVd1375GrAdPmZC3efc03MeaaI5wlDsfFAAD6d3o0ELP41pOwRfROE40X8w1h0
+yZdtYYoiVJRUdCIlReXf1RKdexLCVULwMQgQz0ANpgoa7HnVZt/scrCraY1+F2JgCcWFahKA0ZT
jBYRoZw2gKcZatdrtBHX45mLBRceNI5YOyCImo0VZhrFfX0I/WlT5qbgMFcFXBDlO9EZ3iGizhx+
GndQUHHX5n2v5cXyxY9YeFjSDlSTW+ztkL632gf6U//u7BbPspKKWK5VJTpT4AMbv8uBDwHn/O1F
rlYaLr5i6S/LAQg9RRHntCH7yPf1VrNlT3DVQ74x3MLTHH0DpoNT6oUbjJcH/iwopbrVFkDbf0Qe
dvlbFhnqJOt1OYpqdK7YEyevMghSb3/tVaDA5QqLl5jWeQkVc6ww11WgNK99DqYAOtTwztgiQ8MQ
3WrwvfIEl461qxKaytlcOGygaVM/CNU3Ratt5cPmH/4XG/7nMioLbwozyo2uwmWpRQreytGRgGGU
UB5s+hcjJp8J3aXxC5HIlikY1E+eb69/taN4ubELQ6NoNTh34mm+Rr3TPxdgFHwAciBqTWCzrd6N
70SnOqd39Lk5oxMO7al/FFVf7MDCCA1DVpdpO0bnESkEa1KrQkdIBDH87S+96iwvllmYnipKdbVs
8KE8gYoxxmu6jPloAgsaWqX86fZiq9u6sDEsoO04tnDNUGA4km0BiGtlU3CipV7l5B/q6+jqr9Nv
6YtuwbXpQJzIuf0L1m7vwgjpSh/UPcWDKerSNoQtVaEzP66U4FYWWYYBsdHSGoSkCNFEaouoqlJM
ZBX1y+1PmS/AjSey9Pl6UhFZmu1pqUHUydAtvSAOMIdmwb3bK614BnVhZTSt0PikDriK3ZsQcbPX
1vARa9+ySOg55OfFQsexdHqzozJKWVmJJjBUcuJVVcWVG68uTEuqtJRmSRCdhX5w00FxIGF7VAak
7Z0KMdd62wuO3ocWgoDczPJ8R9vWarrSQc/ElkbFBFbk1OXJynGuXZr57xep0SjUJc/mOiIvfg3s
MWXohJNVMd21o1xYlTTvRB6MuDQoDo/mZPceNK/R+yUPExJYWYC+4780ZOp8HhcflqVAk+kCLIwo
DiZ8INDs9x1A2bfv6NX0648dWzZAwzQgGT4OZVhdNzETDWFk4OBBsVschfYxlVD31op/lNdcLLqw
JnRKqrjS5dn9dvZk/3dCqzjJEZB+31ghtKQrF3fZ+yRFSss0RYAG4hKn3DfMKhHTZIf2LfWZC+2x
nfoA3nonQD+lfPlCaL4ND6LHjoqFIXoPPOGbuXgc3GMM48BWNbFXTmDZKyXNIAagVYmQACO59FCG
30RYdi3XWXkn2sIYpYwCvA+MyHlIMmDOQf8OpyyVfMUvXk+p/pztsnEYV1k0MoaXEvb2nMoVnv4Y
vcR74hZ28r5aGZkt3A1rri2skqiomaGoPxUYWbfE/UxGA11pNC0x3DeXL9cKS2ux41JRgmMIgE8p
bG6yKZwRtJqCSf3GZ79BSGOjbLtZXXHt6BbGpx/StGIZTBzbo9DuTH4NEP63bPY2dXIvewmOxFNX
OulXG9AXkdxSZ6KJe5VUYzS3iTCmdBR3qaeeagi+jP5aK2jFiy2VJQA3GUtFgZ8cSGQ3HDM82T3o
+x0AXldu51qaoy0sj5iowogSeHSW3jGcZEdW/TTT5KuPoWyDGdwmQA6Y7SvfgPvcRaGHeJ2r3QEC
81vw1SNw5ret79rvWXb/WkWVRjXE7xm30MmMzeoRXLevE+bw0em/l59EH8rxbmHNlZDWTnwNsazT
7vPMr7bSbu01XYXIXRy6vsi8pLplQzz92CKZmcbXj23eIoDXPifIJ4ob/bn3FL/A+HW6l19L3UaQ
PW6GFPNSpup3x/Ru7kX3u+lQvcerLnHtUuoLI9ZDIVMak7nCoH4JeXWGKJoD6o2RPzSFNwKMjIKv
DqL4oF8byrw6Cnm5NYtQK6GVoFEOu1Y76THxJI/CWM+Ys8EScTygTjlIMHGgnLZv35GV168vLNzE
ggCy6jDcaoIrAv72SikcIXi+vcqa3V72DXNjLIZ0PvrBBeU6jAwQBhjv+2G0pnfTChhz5cnrC5PW
cTLoBVjBzxno4Arwq48kt3T1Q61X7NhajWjZPNRYGGD0DsZT8iY3cKDjiMGAwsPoELSpmZvbYK/z
uY2xTEd2JbP0xH/5qYvcLWwaowaVPsIPTP7U8pFimpCrOzAh3T7BtXuyMG2ZPE5Zh676SYtBMdYN
NiTp7DhRVkzoyjLLGXDU9PJ2KpGkUZ1Bm9dOCsg+jCsx29oiCzsUDgP02yMsMtK3QCwxZRqbsfB2
e8NWYnpjYUzEcOACZBLwsKRdVH3W0WqZaeWWGwubUaW6ovOYIIT/GmwM+oKj16782XHPcNGZMLjy
DCiz3P6utQjFWFiMMgNPlazgyjdu7xBccqC67c4HRTGocWRfuVvjal/byfk4L1IVwFcqeRAQYU9S
DGK8zm1TvvJRa0ssDEaj6l1VQvvvHGVz+IrSjpDbt/ftJ9K+EUsuZQ9LLrICIu/iWRmhowrevhRz
lXKIEexkxINNqhcpGTb5JL7GUvlaQkJkykuvNerPnOmByTE1YOqa+JSR4RmaVWZQPjUlRS87tQEs
sFl3KKoDqC+7/kmQSkzlYYRh4oqrCi896GSZMZqB5o7svcjnaoTkdoP+2aT3kghyrkg2x+Yo871o
GKZGBKTdmzHKrHYy3gJZf2Sc+npWQ7dyLrw/ljkxNcxPguYLFnaoP4JeAnassIUUE5S9DukWtuPT
F1EgX4oRhnTmw2Fg41CzUzBiOlzD09bWauVXqTkvvOhSjUrEiHOL65mAb2hy+T2URVGt5/BruxlH
jVGtZ4ND5nuOIczy3L/A3a40xK9fJFlWNQXdEO0HBnZxVw2xn6ZpyJPzvN0h1HEwInP7Hl0V5JHF
P0ss7upYiKkcYf73rFMMHEf9iyipInhm9ceypLsgxCSaLNgCDjkR2J7rOURcS7tFWSWqhWPVcmca
mM0EbhcyIqtJs5TopGZuBlL7eFQ+b//cvwmq/vzcRaFBMESFszIU4fmju9KN3NyP7yTQia8TJl43
iH+WWvjCDIzGE3jYkjMmlu1Y9CnvfYGeMca54qWwg1cTwz9LLdxhT8paZtCsAtnSUyx+amrnlHXp
1IH2Nai0toFiTMxBBwlmGdSTpbDsGFeKBeY9Yikx1aGeK4VeKvZPjIhOElUgfANMTD4ORLvTC+rK
/V2ef2AsGpn0OyAtaAw/YS60K9+H5jVD6B5MloFpfSojrMfg/kyzML23lGFiDnIZBnPC6igEbiVA
86a4C6u3uH8WxOdJBUiis1X+WY2HdgI91qkcXw31IdMfc+Orlf3GeNLR0moUwyyarzHcT/J9MERm
PdWbqtU9VcosMr3LCYaTUZiuMRShPCjZR9rupPKYy8dSe5laELZWRwbBnQR6nl1iavIbFfNnYvgR
1HniYKNA5ZP3wWYix0H/neLy1RMqJNlXLH2wIrQEcLqAqwh1ve9G5WaBmfVM+RjGF1n+6Bs2EwKW
ao1Q5FRhC/j4LBq/9AQV3bAAu/q9wmubBn46y9+Jb9V3gn3Qh6ex+91LspmwlTDsKtT/4lUuSS61
ihVlFnP9xB3hAd1JkHjXNQSXAH4cXhQ01WEqMXP9oaNqCZj//4H4bA4o/upf/nMlf6r8F6ZHF2US
VSVuf1+ZvaNCD6+wkgaUdaNLnebXmtjg6hcvAhzGlYzWrKPg6AK9IQozxJKS2FVbyRyAnS4Lu4SU
tVmIGIGSH+ryEEIn0OPTLhc/+kTYtCrjJknfwyJy9LRcCb/mt35rNxbBEZU5yjacGydOdHRQQm8q
0j0fFDtSIE+NwhTklFcaDCs24QcuenEA0dhRsYajPKkYSpfgfXNIeYW4oy2f3NtW9W/yjj+HvYiJ
dBLGpBNK+YTxE2vIn8v8NaxAw69gbj/hZlu/lvm5zeYaXLHTmzeoQkK5s2+hMK3olhobiK6r2JEz
7RWy628TiFe2VBNhhlryffu3Xi+Q/vmp87ZdbMskc61qu5KeRrzvYITiCCFWkhpeBaKZZNRWTuEq
0vryJS4cTqTmPQoNcMFQaj5TKBq1JbCjzRb1LCt+lWESzHb3D0OPP1+58D2SoRV6mYXyqWeQ6aty
OFgXpDUTbl5fiU4HFTRelM8k4wJkIdsXUO54zSSqZll+ix3nblvUVhcQZ8h28ySk8Xz7FNYu58Jh
xYaehixkEySImJ0WL0E5bEEjEyA4u72QtPLylhzuaYvPChOOOBdBmO4RZ9xC/h1leH6IHhoIAw0O
Q1t/svQf8Q3MmnhgLAX6q0Q9dS13AALltiGgi2RP1cqhKHiSnEftVSlLr2+HzRhk+6mrtnrA7CIo
vIlkfjSia22kkLBXrQK9JRBvWEJdYLIXkp468yEBZAcahBihOhlRzZNVeRfJgxllozUhhAaRuDdo
MLsQOtSH+z7ypaYB5W7lVDTYYEbXjnL1rlYNk+Y7KCJarajbiYKxijxFUFobZtVjGJ1BTlxotykD
L8xwEqc7pRb8uK7suk3A3DvlGyThZiyDpjbkJ8gq5LCwv8c+86mORCwBnk5SNlC3OudQIDCGfRgY
WxZlm0YOz4nWeGhhIyAowGTT+A0JN4MK3jpF20VSfa9W57BRwWN7L3Q7xtpN3KLxFaH/9tlz4ArA
UZ60WH4yDmpwLvhLUiqgLqRml+9Drbrv68jJ+nyXifIp7+R9AHKiYPIEo3CyRsGMA/SEjdFmUWcn
KUKDJNlO4FUqy5PcPTWD4PAGaP1+WxGQ3uIdFajWjsZJH77VAvq8oAqqPzVlNOUixxlVjiEYLsuN
Q1qqzsQUF/Fvn9BHJQltRghiW25JTTQPMkH0Gnw4/YSq76PYFFaX7OR6oyriXqJfWoFmRaqkG6Xj
cEWZVaTQI6PRt5jGT50W2VD4u2csdsqh2k05gq5uNateu6YLbxpyEKpAsHtA/GCcyg30DbalCzI0
SKIjpoMImiPcRd7tp7pmKn8KthemOWwISWNVoKf8tXaaTbYNt+XndM9twYt2mR3atb/GaPE3lcD/
GEo6Z1AXa2qFSruoRZjCNlw1Z0bYKjRxm63C5rmJwZCVfGltYxeeUg0SzHtJin6CsrXDmOHGbe4Y
leKs7OWKm1sKLeqVGqf1qIPrFim4jXt7nOGN5EF6A9cK8Ex+dKQI/f5pJ/fPhi48jwyA4QjhbPhX
42jk1O6VX7G6BhaVfhrCNwIqunAgJQa0qJQKwylBRBOPh2nA2fUnFrzQFBxExFLD1yY2XKq3sBsw
bOZYoV4T41ALhs5vNsTNbyOl4GXX462Gf9/IvbySM7NVw9LUuQZyfSmsTQFy47VY3WccDFqQjQVO
VGskM5fDx4mQCBx0UuOIlSo6IaoLTO3eEzW0Zw1IIR7drINmal9gnjc5jB1IxhBkii17UzJ5F2jM
nrTMzwNwK/S5MwSRE7cp8oTCj43S7kcr6wxL6QtTDyCoUHfeUA4eMLyWWNcWRD99OilgbP8cGjTL
OohzEQX1ZZDf8cECd9qBKo0C79A4eYf/LiCuAPgXm7KnQBgsllDLkDsrK37F0xcDW3pIQNmkQPYU
vRmFfUl1YwcJeN2KnUYxIKyBGqB/AJEqyNNHs6a6K6FIT5AqjUpvExH0M1kwi6giUXuAWKTfix9i
855xqBhGEWQxQycyepMlz2yI3LEDxJpCKk0qnGQi84HANeGrkZ2Rl6EwDajP0umDCKdJuEfryNQg
hMv2qfabR7mD2oqnVYaVcY/NXGb7SjjkynfJVDMfNFNnHpqy8WMEUnBJ7K0K9Y80fC6nwc1UsK6p
o51qIuj4BKfXKicDM+oME4UdTkT0NUQkmyK0FBTRMuh3KfR2rQlgHuuRO3AL3J6WJmQWOBgNA9zx
+MeJ4krkoRlDGlfdEw2NIWUDMSP4YxDgIyMUsm1RVaCwIXYmNyDJAK4agDFBcKvwkZICjn+wjfi1
SkuroJXJIZ0I3g1NRlN3eDNATzEOqUM6BI3pYTD2iNUAoXXH0S8o6E+gqKtDcbgyZOBrK9xcGWyI
iieJfCMUZzYwbySDVXeGHSVfqdh4UxO6ZQKx0FyyYqHDJcx9OTrJrW43k2rTHNNNxWvWzTehc4M6
3VGE73keO3DMdPyuSgmDodt44m6MR4P7Cr0Q3RznsQ5+HIlDsOPKCA4x1tpMJ3aRP0d5jJKDcVfm
+p2mw+EW4C4V8KqwRwNI+CNwYeC/j5PeNrozp495eifwXzGKCSSezLGvzZ4RkJoEK8XQv4Gc/cdo
yQsv0FcgAmlgCBAk9o70rPjcql5CHyS5FuYBNAtgeCf7ltzGmvt8EfjG1jzuil+QF36hSCZZyCA8
fpLjzmZG44+DYRNQQt72Cytxt7zIRlQIt5CIo1rXYsYBnm9DJiRZIco0NfuXSy0cQSTWbQYBKhQA
ksZORaCUw9CSDIpUdy3IX6vq/QVvygZuNOk4QwbRMrzL3canXnmsrNJbaxvPjuWG41mCTluBiEXe
UvFMBiiTJRAkd/IIsSKRstJi4MfV5ScNqJMhWeWvX/Hpy6kOA321sB6x9CzBWz4gMYg2hTerEU1O
IFgT2Fdd2UWg5K7Vkf+LtCtZrltXkl/ECM7DluOZqcmy7A3Dsi3OEzjz6zuh7rg6gumD1++uvDgO
FQEUCoVCVua7hPGtUVO/ukqTmpEU6pjOtGwaBRqyBvLFMr5nfuKAQGbeSYFwjpAWNs4YgBjEa70o
VDzxq4W3HxkQNXv10Ilq2lOogMn8XMq4ZuBj668QyeFkPtu9Lx8FaZa5RBbXRmsnfKol2WBBdfNl
Z70avthCLAzS4S8Uwxb/NF9loOWjr+M97X+tHiBS6PNwpLyyCNvSMgMzqwsiPqV6Gd0ZAIzldwoM
9vxUgKutwRwhzfSFO0puUj6JLp9ZbLvD6WoymDRprvRRreRJApRv8Qb1IHrKLg8mP/6VEAgxuv+B
SBGn8McCW9c8qSFWDpO0z1D8Qa8NYFOyiwdIInHTaV7+zgJco7TJhFSFNfMsO4LdOaDj3uPO6Kon
wt379Bi4sQtYjKuqV8SAyDDWcx5Osyw7M0gmbwdozjnAsppZAnpyC2nAgmU7IQFjYeu3hIfE+cuj
6T/nHQtv7TUxBX8utRLIb/pz61B+eshNPxOPlkNS13q6Pay/IEo+LDLnW6P2+mBqsEiFtlWA1sLY
yx3jfg1ow93kyjbywSKAsFDIw5TwVo2JXQXJmj5F/f5eaUU7w/OGyNOH2CIQMUU0EkiIweAQYVsj
5XJYzU4sqWTD8IwMwjk/vdL7Fhg0VVv0ZXd5VY/c9sWN8+CTVeaSjt4nkolppYa1V+2Nl+V5GE91
5YI3KWhdtJKJO5D/6r03BuD65/S8biQSn2wzBe3cglp5M2PE+kBAP/5Aom8zTqKs5GQRG/vhkx0m
M9Mss9AtSVlCUJjJ0DmrLnryjeObGw7yyQbjm+OspJk6YB6RPYDUVryoDjI/6L13YISL7C6+4PB6
5C0fb2SMW+qVXmuGOCuhMQQSSvJGujcLsuOMjecjTMKnTL1AzLFWQyGmqlKgjf01aD9rHTDkEfdJ
ggxQwbk0KnatRofaMo5k+mWSFzAGRqp6IRZ42TmfRF2DiaKfpptJDKFiZyotoUQAjk7QSkyJhfJT
8dyl9uIiw+aCynjryxyCFclWMBOjrgRCXydbKjsXzH/npuyh106KNPQJprkXfqDaGGtvFa+5fYvf
43re2KNOMqIpMqpagZu2z7KjO5mffmmDSLV7HeIpeNdyRVfsHRBHmr4ARaMUJTP5Ihx56GrOfLLH
IPrzxEmLsyVMs/FYVsPRiLi9XbQOfsNJ2HMQd3i1ymLZ/D8K7uqRgkIpQC+752X0WznEp4ml471K
bvUpIZnWYvE0+XdLoAtA1uepHfZdrH+BouWRSE8DZOcSou8URe8ccCK+3N4Tf4GK/HM8quLnT0gK
sWyKprRAThnvCgnQWPDKg9/pVNhoJUXzYXagIAU9tndIZ/cNT3aRdz6zXCCSpJuShlMyNM9CCPIr
pz2/aiXYqFAFd1e8UrvFDi+V/nDkvYm8X22ZpTauXshU5hgjkhkTqcHlW1zHs1lMB6Vrsv0yDd68
oO5RqOCTH+T+BDhsZdMWv6w+iJCdn6ywwIuy0jwK1eroUnyakiUApAfafr6hCYcedJc1XFMEKzj0
CEVyL2X3gohSPOgq/X42D0mBGxPQvB1JCjyrqL8rSJ0oLVCTk+rlYnvRVOWCF5GgWprAEslOAKxt
/U4UDk6HcxbozAnUWqksJGukhKZ4bsECFYP/vOC90r7XspmJ/uTnzIlTiH0yq/QsAMrWnlG1ETP5
SbBiaIbirhTjOgCmpNdxMp+zyjpYhoB7NN7/hP4HgYyGlD92I/Q49CfLQAjF3CKu7swRWoJIOmLU
uJKCgDZZ2GUQYrTzGY8xpib9HvsUTLMrUGx49UN//ZzgZU2eDm3HAT3wJpE96vQma1YZkzhIKEem
J0gNpN3KOb14RpjDq81lpM1gnL9X4h+RCNJhrdoJAzdB5xzbbBvPgoJfHqcFlZAiezwHzXvtCAni
R4reLfeLmyq4S5ePRQCyutuhiBPc2ZYWcH5ORhOhyBCZj2sv+HlPvNsWttBK135oMH7YiINA0JAj
3bdtsVOp4mVdJbqjtKkBotUStIlSYkP51El6yRMFUHO0zXrfzYmbWZ0XDdiC+qOaLV4hpQCH31XT
uW+eBQ3l9viUtni0Vo46KMWgPMBZ/a3iAj5dQ3c4pRcQ31kPro6KUmsEKWmmNTRKyKTkgZqgTSBZ
DEAb4zeUhoJcP5fowQVVCrS+oC1qonDblAHENTyIie9ANuI1g4niNrroBgX6mZFvZc9ZNtoSRFnS
DC9/UN+8PeHbPvvx0cybM6ohQpQPFXhV1XsSDQ4UukHsz8mi6aL9GVw+jDBR3CRiN+ZjroaL/C3v
6gxl9/KSga46VzjY77/ctj5MMXcPuUVNA/BTgAecaq8k3nqqVjyE2vQaSyu1IDFdf4C0F7zWdchL
fmiyeGucdP9ceUBSJq2ULCDNUgPNp6nrhJobv4Ntext+jJGu6ZWZuSqGMc3BEV0Vk1tFmbOmv/+d
VzC7UIjTdO0asMFmY3VXKtW+WKEBPHDuiVs8IJ92DBOVy3kwGgmNNvdWbhzrrHEJaVxhxqv21LqR
Jdhqg7cX8rMqX//d+JhIrXdmPGexBS5nQ8ejSO31iA49D2XFWyfmbkFWPZ3VjFpB+bcsngWLh9Te
QrZdzyCL5asTIS0ySOKExF08Hdh64kyil4O9i4LrLQDdTdD4idABbqGD4qncfH+rXPTpC5gA0i/x
iEAH5bn0eXHAyYR+UryxRTtaeJZ3SEqnHQ8MwIlZ76XVK/9PKzzujZquhJBkQ+YtuWt+SNrFv+0j
nNV7BzdfWTGgYFZAPRF9fwJOGz1zyombWXMCI4vDi+VW0utxXiErB6DZL8WFnNx+yj0BF5p6X+Gd
DuBW0Gnzyl4SzzATQiRzmoZcM4r7aCW+AFlveSTnEq+4uvgtEipHr57RDBLh6Ok6xWnR+UwkwTYy
dADUA/g4udrknND5nhdczTaEoLJMNsF4KuouSGzeVqDxL6UHnFF+NjzBs5wIwKvaTu/6h/pO3PFq
VrxY9N6gePUBc04qte+1JZzF576YHqIRtO266BfQSIC2Q1DM2Q7QaJGXmb73j944NN5BaleGl1jU
y6HBoZFm4NXOi9OoVb5WtnfQyiwfommJX6ZqQCIddgakR4xHrUEv9hzbWgPKhvG5qWO3rHYkmtA3
Ntt13TtiYfrF8pSkPwjFD6D9KY9ST6wmsJ/EQTHJXw2yF5NA1r6venGooB9eZ5cxA2UG0tWo7N1Z
eDatV7E4Nxb6GZvSAY7ZmZqf3fqo9KHRvM4ogGUNaqaJ7vZiHSjNl6ooDlBS8PJ6sVvjoVxOdfqQ
6yuYrhfb6s5zfuzKt6gDMiutvuWy7GYNUN89es7ir0sPDFWJ5kFBC/JM2ana9xQMG23/9P/f1bKl
ioaOngPDYmOHZkSiWmgQ0CXC6EViYxd1xQkcWw8r5rUNJgeRFlUB84uImkEI+jDc1ShBiel2bpmf
rAOKMB7vYYueV6wPXVuksezKh7SlS/N+gUV5asMUiJVl+qakydMIcob8VcLWvT2LWxH42h4TPtDJ
1beFtKqhCKWT0bpHG5AnW5x53AoJ10ZoDLsaVJpncb+aeRuaaXSe5jgQ6zSsutXvrDWM9RnFmDxz
E4GXyG/eha8NM2mJ1EGtUKrpbN4vb4D59OhbOA353vqZr076AP1RvKZ2Ni2y0WadtvfqJ4DlZ9PJ
foBn6238ATTfKT1rQYSe4Okx8bhlKd4CMAnMILUdZPMGK6QPabKTOIUfH0A30uC5dX1TvCaIXw2F
s+pbUIhPjs0kNLM6t2Y+ZwBzghkqk8luXF9T2TgY0YtF5MQum/JoFTgt0W0hDdp+VAqnriQHfDnB
UOaBppy6WrxXCHSGa1KdZ4mAhxikdre9c7MaerWAf+B6ZTNH5WihRXsDpwZEkzzK7AqMQZ3bUo8j
xQKjKS4DfuuT++J++Tqey18EG5N30G6ds9dfwmRHDUSBwOEFV9InxMEZMzeci0Z5Mpvd7TFvFQWu
DcmfN8u6QgkgJUUbDhq05M3oMJJvy3gPSM2hyyVOL/FWRfDaEVg05rDEKtiqEUUpJ4Lw03wzIMnR
BF0geD3ec+sn6XmKAmCeRLRbBNy3860C8PVgmXCXogg4L8v7+iJt6txIDqAMlNv5keqhEy/62TzH
d8Pe+GH8hncN4MHjvy5v5YfXH8HEwDWHfKgxIAYCNvajXp1+L+3GXbMLcvAW153Lf2LmbHoWt9k2
4kSEAs4kQtRBV86oCttoWXi97UlbgJlPi8uEvxnYyXTswVFUnMj+nQrYTvcGaswpQLYcW7whMXEs
rqEgKo5wJODIAqWDsInbHuYjJS6pit36LJ7WDh7E25ab96brxWMjmSTnXUmnsgcc0zNUiGimznqi
jUiW07krQnm+n8lzIgcFSP8qNMXH/hBzAtXm68LVZ7Cl/QgkmFqawZEprylVsaPKNmVA9eCF4aTu
eO+KvNSELeXr+iBOcgQAIX1qnwKalhAvBjF6BqadyIm/3l7frbeLa19i6/cmETJZTDDAZL++YJPk
gDXuKM82eVzQBO6rrla4oi+66/cGLIqA0KkPtz+Bs01VJhmLB5KY0oxtSiWJp/JhJJzS8ubN4XoR
mWhkjAWZQbXXhq0kfxn7u6x/UaQC6AziKdrB1AsIWRIHUgMvt0e2hYn/NLlMBAIMf6nrGZMLnloR
otcBUF8Beibopb9r7PjJOsxfwCbh3LbL2bMqk5cNYoLzZcWMdqOMyj8kUJLSrXLeGcNbOCYMNbFs
1auM0eE6CA0xjzw1/owSd3dKUzc5do//AT6JOsONPFplwlEiRVK0FJJFVZAgVg3GAOFiXFSgUPD6
vNrJQeWFAN4omUA05Kq6CCUCYLFqrjbctfnk3l4ujgWNeT6MFSxRIb3feEwv075HfcexwAtjLMQl
71Rd0qepwVEogUgk8xd04BxpBUp2m6Dm4WF5I2JynSRLtT4d4Bk55UxJKievxOD2pNGFvuEILGhU
VlurE+sODT3L91IdgWO+S4HwFtovg1I6ROAEKerLt8zREV9ddRa5lTM5QmKdxOOdJFcHaXRasfPT
FJI/Zsmxtlkkv4pYLFh0zqy+nyzsYAhWxGeogNDs2EQyQTEtg1PfJUDKX/6XNmywb8/sn9HDFHVV
NFXd0lUF/JKfhyp3owGFUcUCtKWnovJviyr5SRtzguOfifdnM0yQMpKmsLQZB7wiGr/MeW8oZ+ja
fJWX37eHs5EtfTbEhCkVbIgdnp2a9yOcUpPHhwiEOnhf9DNevZw69mc3+WyLCU94Xaoac0lbhMQo
yF5SL3J/Di/JBVSykDLghPk/d9lnY0xkqsEbsRJVtkKIy9tl9MPiPWxvJAefLLAPmQTcmRLey2j2
k18K3JUXewa7O5IwVP1AS7T45AeEJwLRx01CtqPY5uWBHGdkKQextfJ1ID0Wj+yXEszZhhRIQ85b
N85UspSDTTPkmd7WFMGBLBeVgpP0DjhW0WfoGqgI8e8KPJNM2jPr0SxptIZRtASC8buiSp5uez7P
Av39KmYJWpery9I1oZiglb546AVzf9vCRpX6s4MwsUKLdTEeLNKgyjF4kGUFCjTU78Q9apKDS9NF
wcWBTHt2OL7PtcyEDyWWpDWl01dChNWIVU9Z9KCL1aDLsiCuqjtD2hto9FCt2W2S5w73brxJNyi0
9fHDYnIc6M/T6PM8MDGG1IuQFSW+JpaVSxYdq1y0odVrG53i1929KfFoXjcqPZ8tMpFmSkA2JZXo
dm2JdlDX6fuKNvweSgipdKyKw9Csbqn8FoTazsXIlkAQaOIyWup3C2q4BZo49OxkDHejXkPeFylA
yQOsbOQcn7+QCU+D0EYSaYQmtKrMmbtHK71LStNOtH3ZElfNq11srOA1AUtgloPkv9A51FycE4Zl
LEy7Lh2yEYsiKdlukFSXCMtBnCTU5f+lJaaItCSjtiag9w2t5SI2Dz3agQtwMRml5nM2HOeAMenv
V3t61AtC8hoRefaz3qMaNeQ4HlYD4EFcDy8CZ2CcEGIyQUovI1OYGuxvc0XLo+gqVsy5RfAWiQlS
kgy28FGCl8RGdCBgu7GkyFMVyRnygTMYnikmWMmg0xwEGjLAsX4gvYXCwtNixa9VwgVAUt++kQew
pIGJOo71pNAbmJd3vpU8aGRH9pVPWRiz527x0cCLJ5fIi1fK5PcfaFfxVo6JSG0+ZmhdxWCFWnnJ
pvEYo+x72xk5Z7PJhKC+kpfJTDBIrY0dE1oL3XCoK94Rw7PChJHIyM3CSmFlHeziVKPNGxUYwauO
+ak+IZZJDkiqXF4dhrOALHdgt9RRG9HYoZTFAdwCzir0O2Hqn6X8YhIw4XQ/I0APb08ox0EtJowI
PYBUIn0kImr9UokI2f3iJKa1q/m6En9eaD5FZ5ZSUKjari8TYFa1EA3R9BplgwH5fj7ilgGaH8u2
KMeJ+ES+QFfN4AyUs6Ys26Bu5Wsx6bgfFv19VJV2Bs0Vyfr/39w/D5EJLYrYSlMMJq3Q0BX0H4NK
aDKD2yvG2WUWE1IkVHcKPYMJQX5t18WL5Z5HQcNbKOo0VxF/lfKl66xGDYfGmaHzrLtGWF/AtevW
Z3mvmI8pGpP/a2myzzPIBBFllAorM3F1MvPCGSx0DooXy0w4+NmNmudnM0wgwaMVpCBzwwResrzk
R+BSQehnz4cRWuWiHYfy4t5etg0k4GeLbFBpWmEeVpxrFJWjOkOAWmcBLp8gv88qW5G8YnV73LXB
L+KVYfMF2uXJvQjU35OQ2dZd2nM2xAbRzfUHKSJTA2qjxswgsKiE8zjZUTsDY/hrVK1nsz6kZZLb
ZZzEHsiYFhnN7mksnNYYBcUOLUpdrQfNav4qoZGtLQIYPtBXmmkPg7a0vtTKmo3kWNKmuzweXCsZ
Ej9PlMkmXWIXo8oZx8a70+dxMCGst/JF6xMLS4kKMmCuh/iB0vXk3xFWCstVH/u37tTtS385Rk7H
2yt/Pjt9ti5/3isxFMimakJS3HmzizovmrjiU71fzxWXC1+9fUIoIpMagYcrU40BwZrejXUNk4m7
cf1A9kIIJiArHDp/eINw1mg3KmBXSekruBWhpu/E6HD8AYw+2HzzfXbR3tClBDnFvdX+rMArYDeV
R34MKWQtB5BTmJBsc7NLV6OBQvX1o+Dy7th/2X+qjFq1Yko6+1iodfKgRSpoTQBQCWLgVk5A5kLf
UzpIOq71jcOlbN8+AD4sMqG560rNjFACCvtBwnuvvM+Pizwc1VGGhCWx43q0jUSxpQS/gtlhHiZX
klN3kV/xVsoJBhvFNuo1Hx/DBPF0VjJSp0DWk59rAVBqFKCu7Ca+fAePtQyn3CteDoxX+TpXnBTq
L9fYD9tMdG/zWa2SoTRDLbHNc1dAsKP04u+CRwne69pWX9CJfYw8npDdtvd+2GUiu5W1LWlyWQmp
TKOErmINziVytQy3D68PM0xkF8ZplKTYVMLGNGypWO0qBVBqIMd4LXd9oQS34zrPrZiwrotgoIgV
qwnLtTyByvpey5ewBhPtbTN/uXz/Myz2VTDNVmHJWpRI1bMy2MJgT8/rCfRR6JZujuIjZBvHN6/e
T6fpiUKJMkfZ3/6CjSetTz7LPhMultmWuWhiA6m/Z2vyczSC6MpTVuveFGf+bGbhNBj3Y7lyxs6Z
Yva9MJlNozWWsgmT5ZgpQGq0kCYRFM6T3TsD0J8XqI8ZZqLrShGr+WI0CKMNOMPkrnG6evCrbgr7
sgQpSbl4vUVexfqtUzNXzy0A+k+LoeFxepq9GF2RwLUN8r1aOX3dOuvYOVrd7ARQ/VRV5Y6L4c5t
fCQAKQ1F1IMzaDjLYpPaIJY0nXG1EPeK9qvUVYqfd+TnJM4/Yj22Tesp6kKDpJx53YDpfl5RJiTW
RMC5XGZNuJDXtUuf+2rdycm3vvhNqzVr96pTglV0W4wXfTxCht3u5NW77Vbvkf7WtDOhMCvLRZgI
VneZUr9UiW/1UBpPY8uupt9zgn+aozqhQ0L8MYJndu3MoJ0NX9XAvJQ845eTSARfHiZv1o6WdZL6
bof/6JHpooBrwmjeNEvbq6U/EiR38vPYKzshd2Uz8eMs5rQa0Bm7NRgmtkqgVTaIjPq4NFq2MJ1a
7fft6eKdHCwhi9SVpZhLBHHgu35f7efTELRoKpjv5cFWzgBYP1NMBlVhfeBY3r4qfuwPJrBmfVx0
q2mayHTaCgIPOTTr5gf1RfYN2IX4Ke7ElltyMnXe5mfi6wTucHPS4B6NehIT/dRYj1Y8cfb+duEQ
zROWaGqWbryrJF3deFCOmfSiw9U0fo4fqrv8YHnCl+SS7ADMPPCgSpsn1JUxZiJ7y6xBths3aAEA
AXGs+nPypCiHFHDBvJE4xz39Y3945JUxZv66VgdIWYKxqHgeBtEn85OShJMexuPsqbw+tE0f+bDG
nlJWrudZrwh1ONWGLWKL6frPRfmxkHh32xt5hpikP1YNodHBfRkuww8hAwqnvmjaUxPxnhs2N/TV
gJj0HmrPldUWGNBaSnYC+Ruh+u8KrFc2mINHruUq6VWjDrUa/RrohDJL3TaW5CD1T9ooPZpi6Zb6
fFgy82Q2xnFYZc4tZju7uPoE5iRotarBHQbDpLcYFV280BfOa2eO3DLL0elvr1jOx8WvI7vE6323
G/DQgL7xtt7xHvI3N/zVpzDnQYOWOZUQOCyUj5zMlB2i174MXrF/50BMpO6VDk1h1qiHWVw6llw5
E/oqSgWmtIEzu9s31KshMZmvUEmZ2VhWHZpS/0WpwfWUPhHF8rvpfjRKL41+FuM3ufqSJeux6CYv
7sF8ZA1OG4MAUPvVxmCYhqrVfzMBpihT0LsGpr/PF1dSpHErGUod5kAHtTXeSnRPANM+2njd25a2
V/TDEjPVs2qpVdrpCAoSKFCte6VK8EbGZbvajnQfZphZXnWrhWSJSn0Y28hJPSUNQVK49G58mg/1
U06LtrHbuNLP6X4aft8e5Hag+LDOBPWit0o8Khh6KBtQKMgsJx54BGnb58aHCSaUi5M6Qe1YrkPB
CqHLMI/SfoxwU+7vmo63C7fj6z+23i8DVwdiCYn3phvgHbO5K1PAP8w9oGv8xmXOtL0jKa7sjNWa
xG0N7GGxrG7RzC7c5PbC0Fn58wD8GAkTwYVebcYEz95hkp0SUbLFpvd1ixK7f5HkMBe+jCLvpZg3
eUxAr0wDNABlb4RGOx8HEUQbsRBM2nLSFV76vAFaRQ6vfQyPidxRVC066hY1iHcHUIU1d+VuORdI
ph35jqgBIrcjupmH7SZkbvHbVIPb08vZ3O94xKsFBMvpXNQWdt2MPuw0+pVrO4vwnn3+kp99jJIJ
IW1FrAkCY2qITiFvzhs7U88EkErhqYtRswFFS2mmdgmyVCWebXnm0SDyRsnEFkHXhNQs4UR19FKa
hluWpzHP/dtTydsLTAhRpJGUklQaYYsbYqy0rpYMnKDPM8GEkFQQ5bTKUHdq1xCUvydt4L1L85aK
7T4toeC1NhUckoDBDhgydzzq+wH8MqUPsdBvt6eMs7nf85or7xPaKVszGd6naA+kNW2CO56g+S2g
8EY4GLJdGyon89x0BUszZRknOhRymM0d5ysZoQoLtV4hxHUPBbTML5v+v1moKyvMtl7iVsuFDrF+
0jt3kO5A+MGxsHlcXlmg47yaumnN26oX1joszeMwozqudLYhA01TVShdgIUs5fE4bN9dr0wyu1iq
LKHIRTQt0s5W2Sk9su+c7py4zS4+5Sfdfpd2FW2Lx1Gx7ZRXlpn929VaZeXS8pHfmhlE7joQhZNg
APmLe9stNw+AK3PMTu5EpCH9gLkd4pehyf11Oq0m+hhXHiSV54zMfl4kBZ2eJU0JVihUpUsg087c
KeL4/Gbm8TEelq1qbOt0qGkFrsu+ZtbP2Kx9LdM9rcY7VqPf35687XT5yhpzt1PqdBmbVaJHmhqQ
U3QA0zSa1+XGVko7/0IfyaijGLXffeWprXImlKWqipqmAJsiHGVVcidOmxMusG1b8uoNNEj8kZRc
DZEJIqRp1GUSxvqdvgn8e2fyWnzt7dHT/SaQM8d4uj2nvGEx4cTSE2JW7YydNwZgOdlBOiPPde+2
EfpHbg2KfsRVRNG7JOuyEeu2LtlxES/DyINIcPaVzgSQjpiiFseIvYr8prTlJQFTrAnRz9VK/Ntj
4Xk8EzCiuWxWjWAsHfQwpOW5aEE8OR+1Al1IlsyZON6wmHCx9pJQW9EEh5dDK00AftjX0b6t/jt8
3JXbMeEilcFB3ICwHFekKIAqFQhuv6gugN2UdbcKppoTBzcIbZGdfhhk0bypkQlrlgOsUIvJQ6wI
XqoSV1Gnpz6TsaHj3TxNoIHS3EJFoTxb7zp18GT9sZ2VXZPtJKjwRb0jjcqpnMmrIkDeUNIem74I
bi8374BgQb9WkqHUoGAJ1KDfk5CCppR7ivORd8Ydr0rG2Sgs9LeuFlGOZwSZsY93ZnKacc+/PR6e
BSa+IC8awQSA/a6Z6q6bL2LKQ7ZtPyNeLS39hKvdLmSdNes1THS4dtDrdg+atFfwr1no01Mc6Swf
CzAA2OvEqdzwxsaEmcUE93kjwomtpvP75jhXPE5dngUmzIgiGGBFC3kKEBDQqaxsqx3+5QIx8QUn
XBynOd3y875foZvA3ex0Gm5EY1Y3HN33saRHcLKpvHRCFxhlAEIAzhPSOwPGn1YsCJBokqVpLCFK
bxm5mGs4yGjhUAKlwUgeoS9QnyvTBsP4JXpSbQBwj1gt3EAVG+oE96ZnhLkdeUbvlhq3jXO7g8D6
+CTGMYu8WSG8h0+i/ZOUmXUVbfgmqMEmzZkPxgHCfrvcH3YyKBp/C8cBHP688skG/zkNfB8fwTip
PC3rWEtFE0omnmLSX+NyLHE3aTXAi2pQ8IiFX6PKK6nSXkEvVL6OoORAaxSIC9T526KAdMWI0XKa
h7pueFKFtvo4O4gy8YtWwn8z3dHACzqAq6LV4CkWQuNx6vd1AgIEs36GdsneMrPXvCiCdCgSWx7K
bzpYNpSu55yUGx2Hn4fK7JZCXFVTNHo4mmPYlHYAoeDVeKDp2rkEX82y04kTEc71ZXuPfkwws4F0
oo5lV2GVjbjaj/nX3tT2t2PoX86EDxPMsdw2Asg7ZQxMj+7M7BlptWuSxJ6W4iTrD4mqBQMgjFFS
27IRpETgjJD++Vtbizmsh940+tzoMMJ8tPt+dfGy7puLZJdJYy/m3jBa9/aIt/OQfwbMUiQYU6yN
WjbUYQZOBqjIYJKh6/kqpgbvuKWrc2NsrKqZlsyyjgo39RnRGaHcBBIhGdnIeKZd3rRgFUWObvrm
g6XYFi9ocXxHYUqCRgRahEKDdVAEvFF6KqLsSH8RDW9sA3M4k6/lIfF7QKTIc7Grvqd++jope0Ux
HbDi8J4DtwP1x6wzZ7UV14UeJfSFk0BHCDyl9frWK4+3l5ZnhAmK81AlKjrSsLTJ93EAWqGHjjPv
NvqXm9vHUJioNy8tWmRG7BiQBbmo50I+Huo4mFETPTBHAxfu4QT5i6CTUCIHjw8H2P+XnOTDPhOK
ZChYKmONLUMZUPJd6uW/xd4Fj+Gpu8u82LV2Uig+8IpQPHdiQpGcZoUmQ6wp7KrDRCZ35fdgUCzm
rf3ChCLBUASjKTGwpjpLypslTwHJFHtpd41+NwHkVLSXJuNhm7ZReh+n2B+iWUYXaVqC9ZQD+YAb
g5NBh6J6pVQEioeHQZ4oK8dL2efjsZittFLgpUPyqMRo4VILiEtpnARyE/diiJamA4Inifo7VPcq
dRXx+p4PeU2TFtFRHdp3Z2RO0gYjmuQhq+FGJZhoea+AW4O7tso4Z7uUMWniHFtwn92V3robld0y
gsRsAdUBCXZ6tS9Xt+bgJzb0tnH6Xg2WcZ3KmmRFyDszhGjPQux+sqFIXIP9BlIsQYpqClSfHlFY
gdjjd9EfXhafaq/wuVHoccW68PV3MMdZnVbdjNSEDp+yovQ7DeTc/B7HrZPlygx7hilFpYBaIsPd
iuyz6c6o113dviTTSdAqTgfe5va4tsUUqqZ5XNIYCrXhksy2rn8d+5c0Qq+Z9gv8qU6dgnzxRUYf
3gRoudofspq3uFuR5/oDmIOs6UUN2NUCg62RDNZ3mZzsbp8bm+9L1yaY00nSCmUcRngtLRlUbncW
tbs1c0hxr1zKU3aRXegHkUC33B68HVC9ghICx4V5o2TOLryEjNIiEzNMh5+luV+Xp9tj5GxMlkJH
7QDGM3CtDCvz14zyS69+0wHou22E4/4swsjQI6PJY7h/0Qe5cSnleyKi9rw+piJFAr4sa+7etriV
zV2vHLPxharR8Thn1WFaVL7UY5nqL3M/+XPJPSd4g2P2tiCgu2bQqB/6ij+GCKTDnaAoaNjWAKrY
K04XNkE54YWuORiufslHn1dT4Swie3QsomAqjQY/7c2HWY990H+2Y/IvYziLgW27VZPrBsGU6oat
Li1Mg39x3qmucgBAx61dsO0rnIXkxRkWACtM6ZpBMRJWD+VlDGundCBM+5g9lC6wvg6veMRZTZYd
ZyqzSlIk7LehNg9q+0tSHmZo0qDVPtWtQ11LdgVR3dvOSvfwjdOBFdQr5kmLSI3lK0ziCtadkhD/
tgXOdmAF87RViMlSYJfr+RTk0+RL3bKbExQpFp4GzebN8WrrsWw4hiQKC3Raa1DGpDvshsqOvy8T
sKgOdAdQ4U9VDshh8xJ+bZHJQZd8lBSTwCJxJ0/E2Y5LuOSAZm+UvNQZPfCi73LxlVfn4E0qE2OK
Qa1awywxqQQUiCD5bXwp3yspV56W5x9MhCEKcPaQfabjk0Cdmfm65NdfqtfGW51hj7FBSJT3BrCJ
eL+aVJYlB7T9EnheMLpFCQbpqS1fNetB1xcnL77UU+ZkuLVK/cTZ7ptDldCPJUPkwrTYTkUVdeh4
ShMAVqLBJobpVkLOOVG3HfTKBv2Gqwy4BF34MrStGZbPq6+ipZsSnFn3mkPpE3ihefMVwLiyRmP3
lbVG1VEe6uL/Ie3LluPGlSi/iBHcCb5yq1VVWixL9gtDkm0SJMGd4PL1c6iee1UXXV2I6XlxhMPh
AgEkEonMk+fgekiOSwUSKpCHqMXKL7vryiREEmzj1B9NggQyP6TKqcpf7ea1LwsvXiDiog3h0pJN
UeNFzougZvexKUVArnHM3xzQxTeuln7xjTxzUqUk9CuRqWQ+uW+qSHvhLxT6WJP1lzDXtvCns/ED
lKoRh2SAIgm4ZLsvHGQa26pZ2lgrFTFl3zq+PsYSX3v9PrmYq3BqqzEhvVIgRh59aI+F4Et9Qgui
feyCdJvtK6S5/Nu+9yohzqUFCMd3ipNymjnsbdVLjff5vj6smnurV5KRNl99APxnci7EWYSNLGPL
0If1+EyHtmn8XK0he+xA6iH3FvQGSGZ2024wnPAG6HRlHnWH47LcD6H1Wv9qfKRbZ2Pt5IQW7nfc
lJYUzrBu0D8aKwYV4/40L5NkxW6grGMMDfjAoRBs415W7hqH+9YM/WHb8qF77Ccj8yEcHIw0HIeH
Pu6jqaFeQkG4bBqybZat/bpYF4eoV9u4chIwZK35F75TNH95iXdL4i0btlvC3i/286H4DX4W+Zrc
PDhYE8GlOWM/xjxRyvO4ds6o/gh8VhJvVdfT6MNQfy/TJ3X4bqP1IyN3LiFeP9HdbWOQTV/wc3Fj
LOo4xyXA4rUHeWYG9qB0+FWjnyWeZZ3712+nC0MXPBYZ207tMgsey50PC4xtmM9JNvgkORm66eU6
qqoE0FBLsstXI+2LcQUPZUwLtSwHB0zNEk8z3E3TvDZJ++32Wl7N5f3XZWA/BSfllPm82HgxIV+w
Sr4pp2Vj7krVA7V4qDzE3ormHbaaLAV1tQ3sclzBVfEkrsqSjM4ps9iLo46wFw3VF+QxDWc4WqXi
5dCx5kW157X+RHvQHc5m2JONyiaI/IDksTHyN9S7F0/t7d9pq9+r9by3syZMdf3QpDzfNTlzoRuo
Zr5SF1A450O8Sxul8yCksxm77ltcYSMTI/8YXeWVuT1EYYz6oMzFTkstoPAVz7YgqCRZcon9iqBf
s7aJPlS4F7Tpe5fv9JW2svXgR0nym5eBoTmeAmL51DrkRji1JEzanQkFHVJHifkvNJqRuPqyMxEa
rIGjs+s4gIQj4J1JBs5manmom6P6lfiL1oDRmIRDrm5n8Jrk0EC7vRoSM/8MoS58WREPSl0T0D4O
QGNatPbU5iHWZKj1qwH0xSQFj2kVs60bK84kz9qNUiGuTR28kpWtaXKJd5I4yM+s6MWEpiWrphEE
mmdmgBEc7/RO+u5Zv/bGvSSCgQc6uWaafgZRf0Hwx/LRgcyg4SOjmHl2fJDFlrL1E5wgbra60hMA
4GjxggSAZ0Nje26yoM9UyfJdf2JdbJXg9wbWdyPJq5UyYjmnmxX2oIZAtsAtFX/q7+Oul+oHX82+
EVt1TFcnuJM+EZWXe8aquczd6a9n3aqyVz6N8wa9jkp/YEit3HFcrcu+2vENX6BlPPn/qgp6+QmC
H7ZyXVtyKBmfa2hwGCuTZ6D44z3498BmKGsyvuaBLgcTnK/Cip6OI+ZLWb1biiLkHYUOlurbzPKY
PBJeozPRYC/GE8HKSl+XA2ndEnsKrkEjWLYWyPvt1+kE4hGJe71mqpdjCZHi4KrL5KLt50z0yquK
AaweRagv42EZpHAm2byEABFSE0OZOODEMDfT0TpUfg615m7H78D0IZnWVVTv5bwEF+ZClZaPNtZw
3qQ7fY8rAVQGoHjbkV968cj9KSzDcYuO1KV6/n930ZcjCyEfMQf0C5cA0cxGHLG02lQEyosL39we
5mq96HIcIa4rnYzaA8MMV9bhbGfvjW28y6KVr0KNEATpUhKDz3zXLcMU/JrbuWNOK6c8q/ZrZRqR
7nRhG3+gSXVXKU7QxiEBif2Y5ZHr7rT6d1KUUOTZWA0Lum7bpEbg9s8NgAJTzQI332c6+Kum0lty
KPVAH3NOdgpEc6ZprVH05lNtHfrxl1E+5VXr2dNJ56DA0Cr85gdpFF9zIiDkPPgiz1aClsSyJZYZ
rOBcZ7dJ0KVKEDovL72agy7wPI0miGc3ZvGap3ow2LuSP4EAQTbytXv+cnMF/9ZBRXUaYvi3bGdF
+UkLNORz6y09ot1pU0XjuytNiMiGFLxcWfaW4drAH1guf+7y4hA740symZIb64puIlEvpibWwpDf
iYd6wNQ4GDD2S5D6+eQNj1qkpF6PxvHlHe/GZav4TYAGbr9/pEZgRv335Q361cHy4/YxulqJvPwc
wQGqdTdSaIri4WB3IURSIwqh1KJzHnSjcT3VeS0006eEBpU+Hmn7a2znQKOnaflg2QhihcQfwIZS
ltkv1PIsTyvTn6byRvMfkyEre0l2SESIuHU22k6Hkj6J0UEYK9ulAueOWWxvL8nVTMzlkgi+U9Et
I3Eq3AlaAzofM91U5fSYYXJAx4R6vxyTLvPa6ZwXZkDp89DPToT6Q3T7MyQ306f2zUWUUZvD0E8m
Dl/OHY9Pqd+i+p0nSVD0pqyCIjnohuBLUT4BD36CN3JpDsCv2ZFuuh4YN7y5PHZQs1zcJjCyuyyJ
XFWS9ZRtquBTlRGkQ1WOiF6jb/WcI/EPQrP5z+21vPosv9xSwZOpja6VWfYZUvylwdMe5siO8kiW
evqHO8LUiKXbhqMRwY0UOE2xbSI9Xeqt7lfJt5qVITMWH5TQHnWQ/liYT+BMgcPXmoOOa8o2nx2i
w6Lwjk6h1ttsCbtDEO05zlF3VM9w0XlWwAeqrZfRCmgB6HG2ZE/pXT6rvosTWUxPdtWEzQz6APdJ
s99SCPl0TTt4aZf9iBst9kH9+p4p9Kzpy6+5fCh1VXZurlvRf6cuciWWbqHH/cr2vmjmHdXQjG4d
rPxoLCkIgX9M4G0k8zZevsvYKNbL4O/X8te4ggvTs6YsGooyhAHUaFoPG7scNqQmUT62h1UjIOta
iRdf7eXWkEIoBwk8SKklKxmlbe8zdDsmlQXK/r2RTg+Mynq1/8F8v2YoeCT0Zbe9UeoltNAGr+nf
h9QKlfIP56CF0SDG/E2PX7OYym7h9WdvzVII5Vw2Z8O0igfpqLRs4s2wiQPqo5kJidWjBukqmTra
tdcwsb/mKfihKenssh8xIGiL/WmsA9b9K3fzNYLgbuZlokqsY+MUrXyMC2ycqaG0kYUSh7MawK2l
ExzOwuwlZquWQ7ZzPpwIbDCISy0wmoHI8N++Yr5mJYRLFnrYElUzS7B33nH16Pbl3qkPCdo5bk9L
ZvaCcwO+3611jhNegzV3BjNoZ78UDdnP+c/FkuEGby+hLtYMSAYl6c7UyrOdjU+Vnp57Td1ovN8n
U3+yEjw92zvHsDylVnyLHBq0fd6e7fWr6T+rqotVhNEu9b5tVt6g6gc6AujK5Q2Co9uDrEv2z4ai
i1WDpqNdq1uY5ZpRNQ5/EbCxSNakdftk6argQbTG1PJ+5ejl3ejZCQSXU//2RP7hQfa1XIK3KJdJ
14YURljswEMUTtv4l4WmuU/oMMRuXzjouWQ2ctsgdZEvQyEaWUgKx/gfdT3twPZxcI/KBn/TvTQc
vWorK5zdvm90VfAhTQu6TRux2XlR0YyUxHsVIZI5KR5wkuEytU+xTMbtKhXMl2PUVcGdqFrSDpxg
SPCU/sHtBrnX4n5+6++1rRI6yI4Q6C16/XckXSclbJGFp/IHkmyxBS9D6DAafFFxIGm7WazhlOnT
a6y6oUmh/zr23oCG7yWOG48h3vKyRHdwL7JoGgt/JuNeS9SI5YafjlvVgvDR8NIQ5i+55ZMByDyU
VuN0Dua28pdkp0IGOQYhMZp9BnPwx7kKWav5lan5RUwB7ynU+7SYtyi4RR2HdtL8kthvZZNsnAXJ
+LoIXYOChjrxG51A8fG+qACX0UnI2HNq6aFhA4yhl148LIeqMbZWmQeFMz7ePhRXCWYvN07wmBmi
QJIp46q/t7hQY/RMyzPRUnI34Vm7BBQ4d5RASWCCW8if/kz6HumhV2vZYpohlVJ8SkxXLCZUtWHF
6EgGnbWhojZlvCTt+C1pf6hKu2tAwekmLLi9AhInKhYMhhlEo+UaQ3TWYWo0j9e/NCA0bg/yD6/Y
//oesS7QaaU2xhMgYEvDtor2OFr2ztFAm8ney6HbsOFHveDapacu/wVBOY9y0LGCWDudpmjsLb8Y
X1XwT2tT45s9uMR14HDjeKeotiKJDGQ7IDhiZ2Ilpet69IZ2aoH9HUzwghQ+acCcAT1YRYZdkK6N
4Jcp09hSKvDLKw6wDJbDlPm919Z7HCcQ1vjgVHtH05NvhMqO4QniBnzaWCDl6TOJLayO8cZdJ1Yi
StxBSdVi7gWWXVN/O+RnWn03uYzb6R9yLF/mIHjotKemzRQ8wniUbMfETyNVQcPwMal8bm3cOnR8
a/NiB+5pbYRz9sP9dJeGdHnU0d0SH0w0nEhuR+kuCB68bEo6Dqt+4uiDxDb33MDw7IflYwbWQ//N
0BYRBxypNQ/s4WtR3m0hB99vZJVUiQ//bBa5yCp0KDOBsgif4XRk2816oNiOl7LyqcjuC/vH7WO5
Wtat/Rac36z0xMQjYh0MpsZHrytzybpKjpNYK+goqqNEx8GPIR3VDR9Jb20pTz0DKSKn/5HLJKMl
UxK5TeqFoXvBhT+vm25Dkict5tv/r0UTda8rkEakiY6Qpk+4p2rWpnJnCTBRNgnBB6VOMmr2gklA
2MAn7Tc7cyUOWRLVfur+XpgZuimnPEYJ/kwM9XUZedAuDJT1aB8b9U2s4aZ3w0qXEDh8suzfsDex
haSmy1gyowAmHSUj7Z2nYN50tBDYAc+AdIOa7MBC7CFdt9U5iJxHFzTqeD+A811Xtv1y31CQbbtv
oID1atwECsgYLDAYNc6xMZKg0l5BQweM3NPcPjMkyFS73pv0ZJqoOYAElSVPZNk2We8ZaC9doLI8
O/iRFnhgdwqHlPpO8sEr8tra7xMQ+U0/eK79XhO6UbnideZ0T8ryqBt3sc29Ed4Z0vKcfAef7TKo
UM7Z5lrhp5YWzPlr2/900Jlma++0f7ddxeM595kT8WTfg2qcgyrWHFy/cvNINYlfZeQ3N4k3dc1j
7I6Glynag2NkTxnVwgzqkNyMozSeN9qo7w2Kcv40bGhnIoTuQdXWTpjTS9bEoMXNbckRltmK4KxH
DcUiS4GtWEZzcCzHywz45PbBguio0ewIsNw8lwEZJGGJLrhjxYmbDnJpBMDjJ6V74hYJrCSObh9l
WfT3yfZ/cQxiu6YdXzXseaSi0Yf4M3Dhsx9v1HxbnbqV6mGTbED1YG2Q14PM9eBDBRo08X4ejJ6s
LC97oemCP+4KnreN+/k5Y+GxzoMGXghOhU32pmy6Xe+rch1bye6K5Q5HKbSysBB9rBwORcTflekY
7+geYqSn6mhHkB9Yw1xkmPxSeZRO+XZOUhd7WtMGSudMM1AlnJ5RMgjKBol07Yc9/AJqHs17YaFv
a7PBc0IS+V+FSl1E/mK1ogJgtMPTfq1PGhEL0yhWdr9tqBDo6GVLouYdEH6vkaUTJPehSOFfD1kG
mh5s8WQiOdi/tEP+3M3JvphR9c1UbwHO8LaRS4I6sU4BAu1ljnVcJhZcLCsnX+X3zfg0/QuZ2bVw
9t+gTixSoKFyWtzhc0H/YjVIQfx6QhD/sfhm1G5yaCNLXNPnu+HGjSJ2IVnU0Lm7BpJrawlAZR6Y
07ZQXtkQCFfIuPilowlOqWCtqrmoVPzfbEaH0djGCWf0ddKzjA7rHyACX+u5mtKFcyLAazeA0mHj
PHsDUaqgfOpToFfwht/04YQYNH3on0fwpe9uW8w/FNi+Rhb8UGVXYzdrGNncwC0ijxCkgQtE0trl
qIIpXzZVibMX25DayunT1EKBoCzqrYvCS545UZ/LZEckZ0/sQ7KdVk30VSO8sEbfMLKoq1+6PvNi
O34pY1BvFG+3F1I2oP6/OzjZmJW1yicp7DkHUTsdd1n8bNhzYCiW1+uz5O36GbbdOA5iExKyK6mq
pjU59/UDTiKGeB6Mb6Sa/MTMw5n9qecPeyyDacaGLh+K1XlxxTzGMg8RD+p6QJ2lb1lShBpLPEA6
n6GvBUGN5XtFmORjZYuzBsEX5h0vLkrDCxanrohPtWoztqXHS21jAWZsTFE1bm7vhuSmE3uZ+oWP
abpq9erGxuVmmBgqUOf0Afr1W8s+zgS9980k8VCS95zY1NQZU7c4QCmAU0hBpPdAFMh4NCdX+z6p
klfD1Y6RCwcsstwXsWkmagcHnO7K3Zq7AscJdBQ9yOZx8Iv6xEKNY8UVtn4LitPMc3bZvC+QS7i9
0DI/KYp/67TvFjPH1q5wvxXY1CIzHw2fjRLWD0vyrJCFTZ8KQBeWVHKtLXgPBO46nHso0G5vgfpu
iBqgC8kpOcvIJyTvM7HFadGnqaANYqa5+pOqzXHQqaS0cbX342IvRSHwJh0bN1sVfbPJOXdmfpoh
zlmoeDngleBYKqo7UYMC3DTVwfxvtEMuBxf8Vk6VzhlaBGXW0gGo3h0VVka80GQhmMTvi6ygVg0V
i3l95ybfhz/23tqm1pnexVGyI09rvst8yfJTI6kwSvyOJfidwVCKKV5rmFRJHmqU7tNkulfUQ0KM
TT4jBm6f/81xcEzTNVbUATCp/+vpWDxZNk+XEtSMs78Ciuje3H18xijbVOLkrvqbr7HEGr+ZuyPa
71ADcLvyrhzvh0LxshK8nRSQA1m+8Or+XQwmFPZ5khOL4n2IVMjJMM9qv1fAb3F79a6etYsxBFtU
OqVfCovDl+RPpmX4RjZLRrgaIF+MIGRbeNeMUDnE9tTkvSuHqEOvYju4qKC83J7K9YjuYiTB9DSb
Used5xKisPRR8YqovEfuGzDTuvDIsQ9jD1QTd0rtVbKRrxr9xcjrTl64yCTOnKJQPvF66K1d9l2+
ccPlYQjgIv1yDw1csGjk5/FYhCVKHcHtictWeP33i9GhHdLGznrz5nl/LCaUnprRr3Il7GJZa8D1
EOhipusBuRjLMNHwkBXAgK7UCxYSS1t0Q7rjH674RR3wl37rhGPUHN3NgNsBWiKqtZnJg6p6aDrj
JJQBjq4nli8+aN2ayw9SzQI5GhiwumePEGbvj+p+DJ2ofqp8EihFqEYkcoAyvNfCdG8FkHtGP7xs
C6TrIjihvqhHTlHqOZuW5VtTAna32mtQ01P7n+4aeRmlT03DM2Me8QaPqBGtOGnnJTpUhMaXEvkP
IzND0n/T7OQhLcefHbqJ0eRTDi/GIsVHXw3W/rtqf9NZnJGUyWeyojBRFCEmpMmPI/60/TSL4vt+
vz5FjLCFUIFnv889pvGSbW5b7fV46uIbBPdW4/E1pRTXvMoHv2jKMKZusNAPq77rnQK3MNQZ0UdY
cOivKrqfNDxwSb1NNSXIVR4QbfD4gk6DZERejx2JsTB0s8cQ+m4kAEHZaglOsuFVpS8ELqzsiG+x
MbDiB/BGe7x4amvHX0DHmkpD29un+m/Cip3SWjSucdWAnhqDNlFf9qgDK9uqk2IXrlE5kYutEDwn
GhfjsUam6kxd5tc58VN0QhfuR45uYh2Z1US7b4gWdUxGxnr7ijNEAIOqu+OwZEB5puOwXWy+q5My
si2peuzta84QMQuFmqbNUgDhWYHvADRvOI+JP+XaXav+IgjVpwbJSUfd2PMrXWxfG51vZouMMh8l
4dH1D3Fc3dUg7GRbgv9UDHe2VtAGlHL/4Gb0UHSTHKurKT/nawTBIaoNo1kyw1jXow00qZNuQBu9
HPLQfFZ0D7W9wL0zK89F2c8szpAQQgJfjsmSTFSk5x7KTJtpD5Nq6VvV5lGu25Fkptet9r8ztQUH
YpKOILeJmZqbZGt1AeufC3vX3MWBHSz7Zlc/0szjDyoyEXFU9b6+zlPm+a9ZMPbS0U3iaICjCle/
ndYmMRrkBKCa95KsYIbejWa8yG5P9tpyXg4j3PHF4AwgtUjcM/hZQ3Qm+B0UJG8PcfVRdDmGYJuT
G6ejiyN5TtjHonbAgzQvdu+EeUKCpiuDcYQemPpeFPazMuxuDy5bRsFqBzNLSUHxbGDF8p6qL0md
/Gog63t7FOkUhWva1RiwoxOm2I6pnzXfuI5SlZoH83gHRI+vgOilGn5kBQQ7eigN3x79mke/WF8R
fdLzvqyWFQxjZN23qRi+teZHX6FfWYZ5uMp56GquZqvEhIySI8Tc3aQ1TuZy9wwe58jeJwfoyk5e
/pNv6c58tamnU8TCKzEQomFFci7/YZG/Rl9t+SIkI2Ouz/H6plhG+2lo3t3kmMT03nWh5Dj1QQlh
X5LYL2BE2gyQJL+9yJ9pGDFJdzl34UDSwSXuwjD6tMw/kVJH286G5fkdoOM4l6Pft3e5ln03HZr6
KhQvK/Ktcp9V9yFT+W4hpd9NOzTF4XYYwhxttkZzHorT0n3YJLkjZbrPnXrwQT58QH/4gCJnafp6
VrgRMm74X0x50MsYQjA980xUFbty5zqOZzPIBKgOZIW7yUv5YoDAuQB+rrCLx0XJ3q3Wte8mpdil
nexcX3cdX9shuI5xlYKOS+DADXR0J0vnQXkvkCw6dvTWmguegwH5li7rjmdxuoP1Bcv0JhlhNdlb
QwgOQmOZk6ckru8LNu01C0BUNtdGCCzbNqZTOHdGaDnTnVayBDV9fd/hyTHCaRUc2mZjU2xiF01l
s3NE6+rBMHPgIxqj2Tqc/xor/idLmo3WauCJJtA274+cKAdWFnu9iw+kp28F+t3qvtsllPnQWvGN
SkdY1NtT0JUssmdygkK948+FQqHAaqnehPq/39P45Cp5IrHxqxlA19Bd1XRMFS8KYTEm3ZpalmC9
B5TzBr/e1VEaub5lRunp3xIYXo4nuE2U0VXboAND/1sWNuO7rdhebj5nOgFfjinxH+vH39ppYbCS
L/lScYOduWZ7zVSjMwwNYN17WlAPERyFGvht27qaOEBEZtrEsW1bI0IgAcZCaFzaFjvbXe6ZLS5Y
1XkaKdjp+BA2rPUdVQvS8mfMhp2mQht7Kp8WBmjvxHZ0UqJEdR5trZahe6+a/MVn6f/rRwF+yZja
TC6Ya9Nv4xs/U6ib9h47unjm/oxP0lfhekz/tvIXAwrXhs0ILFdbDDzux9D0m/1cH/Pmra0DEuCV
v6nAA5565nKcX7I7mVLH5/V3a3Th2qB9PjArmxg49Om+SGe/xjFzHlL+NozA1Gqur/APtZ3+je+6
mLRwX/Cyp0OSc3YeHUhptOFMEolBS+1L8MC2ugwt6zAEj4pvdDturAP9md+tTGE8tAABRrfu/OLc
y0gq15Nya0UFt9xMraZq44gwwGRBVtRQLz7m1ne3jwz65qCp1gB6+fZZunrZXKym4JlYUnaZDn6f
s0LfSqwmd3XJaspGENxD5eBdMWpYTFc5Ew7+AZ1tbs/hKqvChT8Qs7yTGRfgk9HYuSv02uub5A7c
vH6dVZ6auxs7B5wBt0JJ94PqRpAK3M9L4xE0sBpFHiioJtz+ntUCb2yjK7inpCxtYhlwiJ1ZhW41
HpyJhoom4+uTDSO4m6xOLbXTcP7s8letPrXo3ytTGUX+auq35iK4GIdrQIF2IKywrc53M9MrugNk
h7fKJMnZXL8jvyzRFdwJNztmUXV2zsZ5vR//8p2FN31fSXpk/SXa1QTgpc0IbgSpDb1FLsM4A7CF
ZkbWftSE/bZaB63r5bxTWPsbCWqE/aYaFo29N8cGnzEonZ+55NvsMiWaiwrytgYFO1VsPJdLY+6o
m+u+SwETSBf6PY7R764PKCvb8zB5WQ8CA42aIK/j+dY21K3dUMMrnBSMZgh1TjTO4UiXLETOfZfS
9nnEE9nIrGgBdgR7G7isivpi2alZbWwbwpeo5eSdsfwYE3Py2hxJ25rTXyQpf/NGe2AOhKGz0dfw
PkrcyUO4cxhLDGmWEa2NgNSvcHOByZ2N21h7ZjYnLaXgRSy2y6B9uB3z9aLdGnrd+ZSWj0RHIEEX
C8XzRLlTG94GZkqXQAGbCCjnzgsy9+bEDjSx961avUzlfLAX128rfMBS5C/cUT+lahnaoLoHt59f
Oj0P2joO0wWkD+A7cscWrUvGFiVFtGnXd+Bm2Dudta9a+gcqFXFzYPZmYZupA5zGGTxQAqKi0/gx
ErOWvlfa3I/z7hvT3lm7bZd9b+3LNTlmFD5vFK8x0QXOTmb1I+ZUVnldD/bfDstXmCfmUFqdJkui
ww9BcmwH+qx4N59tT4+qqKh8qQlfvf0vRhPcjFoCxmRlJhIm++YExuSfDF17+Q4ZYLDiZV7xMG4z
f5RqK8uGFdxOY3WxuhgtOxtd4zlNhab6lzH/oaJFgWlSmsGrV+LFJAX/Y9uQfzJ1jZwLZKbQkJMs
5feFQeLVTIOxPdpQxAMhuNfb4JcAQHVAMqJ4piSy+OMa+5bJecme7ZL5t1381Uvt4rMEZzVMEHvP
ByM+pUDj2srj4ErfxVfD6oshBAe15Irqom2aPyhZtSdK/ytuTc2rFe1ETedPT+xwpJ3nwtj91lmA
j6Tjfdk0+9EaD0Tlz056N1E0sk19OOgxCHC2LflZIRGUFeqhGCCaOE6Bgu4RSz2XxgjuBPyG+mOx
vmG9QzVG7SfVTkk9eVxbFZjeeIXMZJcHWhaja5uC9F3v9oY1RnbcPc79Q9rFp87kgaMWJ6eWBSpX
b7uL5RBisgxagTTuEahow2tfuB7Q/6b+dntXZaa9/vtFImSis92SonSRwneiuI39zAYmZt6W1glg
KYkJfWIb/+YtLi48YUYa1204ezW5BwVf4VuODV0yZicey3sgbOe+8uNqODd8/EMayGuTItO8jmjM
7wckoWB8zdaoUmPTtQ28rq0vkZ6Z+35y0LS72O9q2W3KGmdDa+v0rk+W2bNJ8QuizA/Uzu4XpgJe
OkEpfM5QpYaYIA2AbxgjRXUOc80eby/tVRaqy/tWXNtqyTIFkmxoCdT3+h6aZYtvVYD0VvBafZjH
HnDFfPF1SMNngB3L8r5XT+zFaguBbu9oSUoq2M9oR8yA5+LEk0xx9UW3NlSIdDUjZhlpMMQUxRu2
dpQGWuIVUE82o2zvBlSWZJYs6t96jnHks9x2EQKaP8GVeaz2zTNFBe4JgchuBL7I3upbGlm7DL15
Mo7Uqzijrx39W79xNWgm9F8R5iqgb9Sh1Kvss7naLk2+LYDE79Gx54z5fuIfuuoGSsKDyTE9xeyC
2+t+taR8+SHijeRWscMoQrnRtzf0ZADI1QZk096jd8mf0FJVBkCKos80VNynJczCbenLgCZX4+Qv
9ySCrpykbsGrxEDM9TaARA31YAMBzMhlBX3JfShirdA1rzOlseLTXKhHRUuPM/oALf2RT2e9QMNE
X2yp2kS3V1hyFYnoK6Bfs7yoGnauYyjsKuCLL7PAWAOwAXzu81M/ycjHrp7Wr+W0hC1lMQd+up8Z
EmbKgbhbGNPu9pyuNt1d5siEyKKlVqOXJq5wjtNqvnW+EYFu1SVeDGqu5DD+LCIF0AjU1XNP9bQ3
9GZROOBje9K3yk4K3b7qPC5mLEQUHePG2E1IHhEelKA/Q0QblAf2qtw5e92bYdO353/dd1wMKMQX
hCRdSzN1TXIYUX+uf3TINKPFI3nmEK3SIOZpbrMyAKbgpXiWTVdyXCzh7jPGUZ2HxoxPk/Yrr/4U
hgPxrB70mJrEOVwvblxMU7h3GLNYWw4VXKSDzA37ZqoQ6Il3/VxDh8v0tCJM6RNUdL1Oxj5x/Yn5
NbQtXDlWlliaQmFhfQT28cCNyL7Y1d9UKBKTjemjt3W7UqaDEWXfQZgtiF+XuzyS4TYkS20Lt5IB
jleL1Wg5rMcn1/mtxnmwpA8jPOJtg5IEaKL6qR4PFWrIuIsmzdoWOaS6aIk2okQC6/2krv/bLfu1
qqLwadYOFpTI1PhUT2aoJJln4JJ1puyO5/VThmse6uOQDUkd0M7WlfLk6vZLOlSBk7RHaIy8T661
r3m5tXtaeFyt0NwHBrM4+V0ljy6vfjWmrb5qNRg6Ks/SwHo2zfOBl9mTNfItekRBRO2W6Pb6k4Eh
qSRaUI/gbUA5g8VO5hHzfeleVsMe0e5W3EFmNqxnHpnOEEKL/QioQ1iVLzGj3rzJwZz2OlV3S/yH
5S8pUWGdyYM+25A7o1HMjLCzmJ8MgC032ZFwbR8b7BF9fL5OVK/pjE3LtINW/Fi69AA2/rAxTVAu
qR7LIF1mOuGwsEOZa+cpLR77qj7gpz07YxFzpzbIFGuGrCTC/qo1DrxZPIjWMPAguSb1qTqFuosa
fCMjCrvaaXTheB3B04HRpjOUBFdYodbhZB9rE7SD7Rzp/NBbPwbU01Cs87M8D3Iklnmm+/rQ+/GE
v6MbSB1fb9vtJ/z6lkEJjtBsmKm4NY4pKojBBLrt/0Pade1GjizLLyqAnsVXmmYbtZOXXoiRZoYs
eu++/ga1wJlWTW/XxTmPi8Eqm2UyszIjIzopt+uWbeZoK9cbyHDYXd+sIMdpJ63qmQMKLWUFOkPo
j0bSNmfxiaZAKgZALeqh3/QSmBGPMci6h5G+1+HdFICjefxtziY8z+wPUJax8s8pgi5ZHNh52Tqa
YtjUjFxJvodIkcd6HX3FyZXaJ6kwsDiKTSUGDohulTWHuPqZKi2kP0UaMaIbzDnlWlHHKDHx/CGB
5eSNYqdlbFeTQDnxet54cYE5j6yZeYexE0Q69cE4s0N/l6MZBjz8K3Z3Ub+BbJh3e4tFsY7XsZ0V
K9DpYnLakuPwnN8lL5gbXXU+RkGAl9hID9NqfAYlCfsUS1cIP5jzwEaW5pGcttlROof3wVZ/AbPM
sOjQV27vKS6qacRV325/8rKINw41XbA4F0/ZrCmDKElRpSnVyBnHUwzWIXXYo3VqJ0MjcP3XW0F/
tpRvyIHSrZfnVu/PU4piY/wG5WgHpIybwUSdPQTbedruZHXyJKkVmRZkipTLFPtESeQRNJ/HtjXd
FGzqSnhszVUypZ9tTdembm3V9gX1Gqed4l/EbFxles+ij9vLLfoVXDJpWCgGjSoavKxm60YtMbUj
OsMiE5zbJIo2pDLDh+bgCQF1a3GClhpujumMAXhRXOIbu2QlejZ/DdneOkicdyTKJE+IPCj3RcFz
F2dbVsyu2p90+Xke9lMJGeRc3rU1qguEgR42cZXeN/M7FfNWRX9o8jcV5YWkwahNiYjYlXYy+lH0
2oYYtgrvk+ijJYCr1s9AM7m3N0UUaSjn0DqaTYkawaFFd71lE9lGou/Fx2CTOEbqNK/RwfIDO92K
JgYF7yXKebg56I24zFAI0EtlE4dPZS7bUgYAcXgfksFJ4kqUzF+D1l3EVMqlmgEoUdOwwOGYS+b3
EsaT03RLc/2saLvWYiDz6bcyKzfQNRUssuhYcs6tmCepbMFsfCTmp2qpnjxU/u1tFIQlvrsXtqUe
0rnJjrNuOA3m82ilOmFeCy6YyAxXTqdhDVYEAOqOFbQVQoglxPcgG7r9KVcx1Bf7ZHHeyooitVEG
rNaEGhjm6n8MTyFaS3akeAbaQhv0CtyGOJYrb2oHDMq7RUX0IGJ3udYwlXUFSBRDMQxd4/FmRdgP
mPeGv17Eexbx0tTYQy3VDFdsr/rRuvZNqBinaCAI9vJaa/2b5eU4XcSlskkHNRgmXEnFRvKD3eze
lwm1z9ExMFLvlU/lPZqNmI8WOtBlbTlP9s0058kKQ1EC1qNf8s9Ho0hDwWTVrRSw0EcAIQnO07Wg
+M3eX96nlsahwl4n5cEytqkGbfOm9hQVxAkKMrlwwutz2+QiYMYV7/PNLud9eh2PrtDEfekZ28jg
vB9BKhIBPBmotVOiX5HXocAJXLk730xy7oexvilMEmXHNhvR8Es3Tb30LGTB6bnia76Z4XxNIMld
2zaSdZTyXwmgioYQWC84I3zaFEZtZtZVuXTwiOosRJiG27xmG4jeP4kHva9VLi8/iM+b1Ahs1d2A
wprml5sMCjWgGssKp9NAj3sXdbYMjviln0d89Ve8JSeU3KjSQqrJ1d9EFUzBHvKJlJHSsJVMsL7J
2nNr7AlayZMI7C66E5TLkzJVraOmNvrzQq+BQTkI+E6uYpe+iDhVaIlzNHleKEYywlKp/VR0yWtD
/SUqGztrASSGimg0rWlZH+NKJG10pd7ybU85N1PHmP/IA+xpp++scj1qlt9X93HIRP5lOe03/Nlf
2Q3myCIQxFo4PCl4CV0LI11H4qm+tqItRCJVlPDQ09l0J7A4R7aIiv1advXtQzk/o5ktBjMkcNKk
ryoIJbeL8gU91R/gd6xt87zoRSpr434Wddmv5Drf7HLOprBUS6ojOBs4GWes+hUtf+SQTFKk0Ta1
youD56lea00vWPDle26tN+d9MEU3qnmC+BFI7C22GsegOTLxrVze57MIQyRwdXzSo4ZNaDQmur/U
sI6luR+T6v52LiKywOU7kwHlaamO8ULUI8e0gFCaRT1bkX/7K90pDU3RK0T7xtNQIdmEUAVUfPZj
ZjbKGk4GScQOrRrQDINayBkhzbTK3ORBlHV80SPd2DpeDlOC22Ed0vJz3tdPFLqtlQkqmzb5SPEm
qfPKNcfcVWr9XknvWnS8Ywoyu+I5Aa6kqvZJrTsY0FmVVuAMXem0iWkvcloqzl/V0M0ElmsJQ2xF
cs/qTDD6Ljh1PCwKIp4g95dZhokrC6khGDm7HuIa1QqZlC3T3//boeCcV6IPQdBEGFspyTGS3tL4
8/bfX/7/WxvB5UQLd3CTzSiFdNAikfR+ldM3Ja0EADzR0eY8EwVsKoX0GyQEDcTO/Jc6C8BqIgOc
CzJJ0TfGjLsTqOc2zD2M461uL9TtKKLzbNIJwyOHlgnAfUHgTKRyBvnQQh8XEty3Dd3+FMCFsWMX
Cbkxm/U8xwj7bfYoRffd8PP237/GnnPhrnWeMTqClmFCzaVuMQNR1h677BOKcA8peZvayia97ipp
sEf3paRbo64Suy5Ess23T50ucVlHLTfhoLM0O9bSSQOpLRmeSkTE2x96+6LqvHakmg26pYG+C3P/
FXNk4P1q8LQ39eQsVPioo0oCzyD6Ku6uIgp2uaKQ9GhppR+W+gqIxhU0r53b36WI7HB3ljQY+hkr
nJAs85c+lrRXFa9IbPklAMp8dtrnwIY0G7SuKoT88gAaZHpE9wCwTdH0uGiNuYudVo0+kXppROvq
MZcGp6lzd1JbrwL+i4z0fPvTRV/OXfMJ8iXxnOPLQ3Joi61VPaedYBNF95xPKrp4VogJ3EDcgEFv
bGwAvfTsYMwftz/lGrz28hp+5csX97yb5wDwWmt5/Y5umLvlalwzkFhVoNTchUKhMkGJQf/qy17Y
I2U7S2mHtUNQ3ya4EHeVs0iIaXa1gT4lJv1ttLi8//Erl/fdhVU6G6RWki+rCwEaaJFBpstArz5s
pnW1FlgT+M4v13dhLdKNPEUfeyFsKUHFCTWkdh2szQaFfQCZVqDFR2XHFxgVHMqvbsOFURO73Aaz
CQb1VxgtDpHTOP1ueutW5bP2qnqlE7oiyRKRE//a7QujgTVbrJrQRB5XIB3RV/I6/wBnkiODeK06
1WLRQsG9+Hp8XBhEQ17WiYRkewKT3Qw9LX18NrQDdRu3ZCCclBMvTBzyOMcnUcn7X46uSi1F0SSV
8sRoimwEQ5YhYtUuYM1e5qGr+g/jW7OZgKfzQMbqdCJIxPV9/WOVO7qyStQwSTFRaw7xyiyIlwbF
oUxfBMfn+uvpjxkuFoaSZAxxhtQl1mc3B1mpUiroRcmorL4p07NW7SuKcUlFE4SRa10wHM0/hpfL
dLGjUmtIvS4HKVZ14UMEoew+ezK93iF+6pE36yRaUOE+Lit+YZFFDLVWCWngolVRzEuzj7qlp32q
Tgw2N7v+hVJriBfy7SW+fnT/fCgXLxljU8wsmh6n6ZiMG40pTpe+90w0xCk6MFwwlIgaYDRjKbrV
e6o2bpW+lUkqyGr+5eb/+RouBrLUCDG3oFDwtWi/ta32nIL9UPq5MLAngNF5Qhe+JJx/PxH+GOQi
YqUqyZASE8s36Ds5p5uMDsA6lI4hxYdOSx0zTZww3KmF5pAoF/j0ZdFuWOfxdRGGdzp9winVUa6t
pM6uU80rKyhW9PmOqprgpfIvydV/vpaH1pUDCJ1MZqTALgb+AF6EBtrb63DwStkBVygYJ+StCm0F
4yV+j/3JD1DxsMNj6sP/dB/9ILqlou/nvFDUkxnIYJRYewZMYfQS63lqD3K3syhYbeo89RqqvDRN
dSpjdSWX7GFisWcCiZ5p7L0HL7M965aNwrd/+1Z9UaPf2hnOcXVdUxAQ9KDR62KWI4JoreJqWwMt
9fQELU2w0UfECzOngVRCugw//j/CkuDK8WRpzagZVTbjVdblfkmGVa34KMB5t7/0GhvApafUOb9V
0VAxaslK8aWDJ7toj2wq5GvhOQFajPjZKnxoVwaSNpHHFG0+57lkRsqwWB6dXSgdSrV3hzDxmsI6
5EnqGEksuGv/UqP9c/iX33PhoM1UT6Mo0HH4ISAZvEGs3Umgc19aGXBJ4F7S7ts58drUFDm164nb
H8OcU4PJrLYknCUDrOJOc1iGzUY8ZPQzOYNg3AtXQhLI5XjeOr6cW5MscH7JBI5FGkKvLFSHDJMz
YHYKU2Zgt0GRmEpuBpnUhhhOorAXDU1jRRO95kSHi59RakMzyoMlKIJ0jTmYbYM710ObVL7lLFB1
yGyvSGXX8O62/sZebp9tQWw0uGpDoQ0gDZoQTbQBZDeoo1Eo3oR666RJJbhGIlOcJ9PramhbAkgG
dMXsoYSqdfVTUTZS+HH7k0Qu3OAcU692WgUWi/RYNB8qCx02/iCJhqpG5GNC220SbZUa96lZOEqW
OzWqnKXuR+W5iQvwdRmrSWtCO4ktYO3KDQ3yfQhQ1FgZUNeQmVtFfqkk97d/sygZM7hkbOpqFjUW
6ITayYBc6mkyHqkV7Uu6N6fAC+TfQRh5XUftOPuFwT8XtJ7It4UADYE/NThPh3kUCm46OACQrLmS
twyDQIsgwyOxucuBikodJiwGi2xyTi4JmoxoI7YrbefV3Bwo4BGV2QkCqcgK59pKTZ0LukSrZgJp
i/SAAtS6yR9vb+O/1LX/48d4hDHGnsuqa1AcjlPiTexMoW/bDtIqAltOLVWOmY1OPKu7oNPsRHnX
286TMgtO1oQLQvhUGgx8104KKKGlHCe5cIPA+CjS+tSqe739sTTMNMJcloq2XnQ7OXdYdiqR0w5J
8my2kLUgnhY/MeV+7kQlo39pU/1njczlQXQRZGIyKwYDVviodcj+K31TRMfamB1w60Tb2Fil0MKo
6k9Le64AlSNsejILUKcrCsDB77f3SxB2eIh0FIDbH1SyoAHJf5OlSZaJ8rery6pqmASSwYth8aTO
9RwFYU7gX1OUk9jY2nKv2k15VkfBI2eJkH+FswtD3C1qKtkqKZXTYynV9sB6r40DKNgER73FKDqE
SSIrWv0Xq3dhkrtSejswK7UURND0MHYR1FmFb1TRV3F5QWqU6E5kGYGCaO8aZ+qrLjBtq9BjPoAb
K93JHnXQRYsxoldPxsW3cddBbnKNKomK/q3VOTV6S60k+beXb/kTN3aMf9kY4TgMKmSmoHdIt4ty
47Ca7gD0ERwMkRkuwptqPRZhgF2Cbvims2S7UGI3LjKfqg+9ejbTk9yKRimvJ5J/lo8fF6rrYpr7
DOEsrjc0qrYx2no9KvAD3oetxnb1ULthbGznTuCBrwfSC8tc8Nf6OumYrNEjOCfBQH3s8Gys2xdV
hltTGaBVRHIx5+kPhK1plLmWFPpUqby0FVGrX2+2XvyU5YxdODqMIsQNIzhDdB/dyUgwAeBwJq8+
jZvURaGn2RMIqAUPzZ3x2uaetYWAypeYye1zdr1icPE7uKAOsgCdViUe8P+IUESOCg4cWJ6dwC63
yVEE9RDcHX6WSG8TiDwmOHETtew43lTS/N8E84sv4jzPkIPsuyYqPSKH94tq8IIEsDkQC91euas5
w4UZzvuMcZwGgFAqUJDVT63hl8mE/ExwYgURQuc8TW+huAJhTHo01Z8VqCBIl4LQdidLIu4+gSPg
HxoW1ScWBkuE0E2/B0KlG94wrYr3uWxX828zfFOQGd9eQYH/5p8XnZybYFztkU920LuKIycy6Wpk
ht1iEj4EkbXUhevbJgWbZnDPDIao1CSsgltNA4dBTyaUZbuw/rdd4/P1zpRTBr5ccpzhX7Lxg/Wl
0yFdk/RCcAivQVRl/c8p5HNyYhlxJ5c5QU7ODt1z42EW+6iuImdeAznlLoxW1R1AVPSIl/I22P03
FJ0WxlgtKmlUlqnJE8Qr6JcGaiqHJ5MGttob9gSOA30SVTuuZIbf7PAYm8A0pUkux+ik+NBlcMxd
jAHal1qye3t0FkGZEikpgn0onNv+22V9t8wFSTYGIWlBJXmqLXsh5kZxB8JWbDOe/1GyEeP4Fxf1
Pfp/t8gd05CYoAqIKyBxpsrL2ZuRBZ4O1ZVRb7ypEoHCrwTk7+a4sBgFymgNCsOMD3RUjABilb28
6ntlw/oYFY6nsvtVjNC1zGMBMuPv6/jd8LLyF0EQdz4c4w7XMZzXJt0qkPAdBQC0v53MdxNcfBsq
qZ9jSQ1PU6HstKLYsOYsM8CYIKGHw+wUsoiS/29X+t0il2ybloUBzrImR6l7WkbNipzYYbY1tMaf
k9oOssG2StHDSXRGuaDXgISnknszPLWAEOeohBMQCN32nfKVIezvX8aFvCGrWi0w+/AUBVsrAfd/
qJ8D0Dxqxouq7awGnpv0u8GYbCW7r63QyRa+xgC13qxYy4HmooRgy7m1G4l5qLOo9eW2AvJ4PrFi
2nbdhKerhAHMtym6z9PXoJbcWLJeKdXWWhI8mOBgAgvoRkoBvJ37EDGjR+ptuGDDcLrod19ND0qJ
kXBDcpMOBYq6uMsmfSOrjZ3IJsIJEqoMCqgdsadcy2xrYk9j+9Lk66HD6Km+y7NiV8ejUw2mJ+W5
M+Zv1Brdqn3Rhg6yn/dRjEbfU8A+k3plga0vV023s6Av0h7BqQuElw+EWRk9ymkJGqXJY8RAPwLI
+eSOJIem+ag0lO0m1c2Mzk6TE1VAzj4bXgXh2ITYhjrvezAkZtAxANO9Zuzi8lXt11Q6JsonRKnL
Gn0G0EKmrQMpEBsabEl4F9X7EEqSaQctxZ+Y8Q8nND2n1iv7j0bbV8FLa30Y8c8J0ac1GhsaYE5C
jx2IeW8fENEZ5JIVohkMfZg6PJH23E6BbRWiKuFtC5THWQ1DU2AAswlPYRXaFFmCmSXe7Y+47S8o
j7CKU5lMxCiA060+oVfp6TTy5QKKB1X5K6q6VTCYgpzktrOnPOQqAbOrFpE4OuH177YZRojj1IF6
IBhR72RJxFp45Q10eYkpD6+ipqoVkqLBU7iSEyJLgFt6iYANUrf9oXSmDxGe87aTpzw7vDkreTHJ
YwDi64dSGu8UKbSVJHm4vW9X+sffv4vzgOlgFHNBcDb6Vb1pUj/OHVlyx26HWrnXuNJKHl1Th/il
cOpOtIGcWxw7bWIFMcJTAu1TEgQu6xJ7VIOVMR7HvhVkzSJr3C0r2s7MmywOT1lC7tOhdTK5Rhev
WhvG7Ma6LPD6AnNfucNFiO4kpHyyRnCpo6fS+kUwfd9g9FceoGmaKAJjok3kcUig4TNVcGSRY7ta
XsO5qwJ2hGZhtUkA/UUDO3SbrUhUSXBAv8BYF584WBMwrjqhR2qdTJA4F6XdqE+3j+ffD7lvp/Mv
8BEIoCACQcOTkj9E8l1iSOsKOnaGVvu3DV150H+3tPjQi6/JEF2olrThaVwUCgqvgxTDTj2MjuwE
u9G6Y8Lz/6U2+u/pKv3a1QuTOaQCqwm9cTxC8ke85wtgqraVz9aQRpB3FPuXHioIMDYugIZutsr3
umv4YOryINfjKytjpe0q2RaP7IhWnUvF8BopwlpBRNKMwlbqyZcC+Rm8jZ9oTQuupcjUco8u1gDY
OUq6oAxPLJlBQflRKB7JmQ3yzdv7+yUCfmuxOW/TdWzucwP3P92wtfVAfahQLG3BZqX+Ns8LOh/1
5PveT322AmeBLZyUE10XzgGFWWmk4TxEJ6Dv7zSnf8gSIOlKb4A4H9KXfY88ZPVfDEF+O9ZfgIOL
9dUpODnGrAyOc13a1DhMU/Ej0Qy7lrbj+ExGaC2/JSOz1WajQ61CmyFHm9erOk0EGy14LdGvDbr4
JaRZgAUUGzDNqkdLMOqV6vPQW14qvas02YPk7yVLJicJBOomAlf8VQu4MKwwJQpmEkCBHMT5cZe5
M6YzklM+gRm9EiHNBe9t+lXAvLBmEFQFSx2TBQsxOMAuCz5T3n3NfvZe/wyCQifeig6XIMH7Ium5
NGpEaBpEbXSqlDeNffaGIEu4Ui/5foyWw31hIFLbcKijZfO286q4z9YA15rtpoJWVHPCmwHsDmAe
g5uCzwgPyWb2aL43c08MmhRco6/H1sUv6ZsWg+dZS4519CEjax/prrNE6gSibO+rJ3lhhfZMa+bl
2tQuerbPgQ8WDR/0KK/F3eS2DnMVEX3+7ecv5WXJKRsbo8j66DTFL6b0QBRk6ZOCF3BhGwGmJqNd
0jORUdFicj5JG8K6nyUNb26MlKkdKLhGMPiZTFBuEzh5Xm+8bAt1muIMri9Aeq5JTo+vq+LYi2tN
lAoJbrvKVZ2Mqo+ZMSOgzAv4Y93s2xdQJxmn4gkjpVDbU9zWT6CLbQ8iwI1gMXlxcX1Uw5To2MGw
PBX0JOHRPg8iTlaRf+HFxIuIUYyW4iYCTUC2ZXwf7uQ1AZggPaigpPDBdNQortTb0I13b8dQ0Qdy
KZLUZYhhEgp6Gbh+4nR2svjcSII4ITKy/PvFzWPDXChou8KV0deuf5yCj5gJAsIVzrJv3oxXEDfj
Vgq7kkWnYjZ8kMjYo1E4JTRQpvGYjr5EDkmq2jGwYFNgug2QQ8PoB8UMakW5sElM7LmetlnS2Cro
dNIJLVTrodR2sgZ9ACGQ6wr25vvP5XIkFqnT2BBcn9fWbTf6elyjdapugrvis/UycPt0oFfT1t2u
czovuE9fTdc6lZ9i3KSCtb+RQ6lcDhXGUV8NUOc8FlO2kVuw4JSgM0XzfWAvMni+pGkj0cbuwq06
/yhVS3S3RX6Ec1dGGVks6propKGWDa3CuELn2vKWHD18M9YmQKTz6OS+aBxB4Jt5rXJDD6iVqOgW
VHViz92hpmAY00+plNnp/KtMezesZIHPFPgxHp8v97GeMHwuaLcCe8hOxty5Rl3YVYUqmCbyXVcm
Z76dMW3Z+otr14eQgigT3G2zco1tvprx/kgKm21ASg6yWlHd9Qpj4Xd76nd7etUFqlR2/6Tj+g46
UM6wkr18K57SWU7ljVOrcW6rjXsNlLUBOWpR8KNQqKvV0H3vUkcJoi2FYpkEDPJtTyl/EfTdMsq5
sZDSqY5QbjupkXom/bjGTLVvWLo/BPSnMRqZO7IYxO5J/1uCeq+Tdoa2LpPBNgv6ntLaB6niilk4
WTEGYKhi/iRp+zZY9WPGFIylycRvu0+5AMUfGJOHeCdHEBodVppqgEj/h4byZv4rV1DUBkYmNCp7
ykIv60qf0p0a/1Q1iNDFpa3ASWBe1bZC1GlxYdMqdPQGYMlWdgs8C8z5ENc/0w46uczOrHMQ7qTg
HTzDdiNlo6eaJ6VaMYqiqYYCwF6SQBeoYG5XawHiVRo7rj/1Bn8Guq8Yr1tnkuISSJMbVmlrUWrn
ILKFzmYGbKDUn0BeaFt5bnftQ6rsc4ilQs6SRqVjGge92+RS5Yzy2pR/QWxjJbNfU9c5kFmFaAAE
CJLAITLYliCepVcYezBeo/xOB78Di1/09DRWoMFsZRvTEpuoeKwpJnORNsahXy/jIQ2QNtG9HH1S
AlU5kApYQIdCd6e3fhn6WtU/ooE5pHxHbbgGmYLUWm7b39N+dDo0YaP2OKuPatKDqfwkRR9lY7rS
CNEuc2/IzEnHdRkGEIA6l7HfYaXlCEQpM1puT1qLybEemArN69XKBoWbE6raqgwZUPGFN2jxeiw+
YvzluT4pLLfD4pUELzLwlWr9IScFsFwKhs7xLxFLnVr5rUHWQMcBv32gBQ8MXtI+TcKMVrIenvQ5
QmP7QRFNIYoMcDFObUnUqcYSWlBykEG1bggoNUUFHl6gXhrrQMpVFHAndHlXkge5m63lWHu9ttEy
2DEh0FxUcuDpko20g+hWXQAuZg+eggm2IDnMa6AVwzO6J6tqs/i79Fw6JehqOreubJx3URlZVBvk
IVFTRHKwo2JlG696Lh+TtbwG1AtDkc1j/xw6yySdCONxBX/9zbvzAx/9BPb+XEagbldDbfev8qq6
l8C/HtmL6dEhZ5BfTr0N+OFejDMTpJA8UMooayuQw9o6Bmm+7vPt1D2UAfNv3whRPYMXslcUJW3b
HA/eGtyZkxHeU0wlN1Zkt8qZts+DjvSfNNsmqh8FlkXfxwc0VQdAcDnJgwOW+aW+INmh/au174Bs
95bRGVf0IBZkI/y0RlaNABFQdAnkHtSuk2R39EOllR03xC6kD8EHLm+0G8GTBzt1xpSXNVRGTvEm
mKDmPe4w8YJpU/DgtsIpTIHn0TnPE0/MMpQK/HmFpG2HFPJeVi44KyITXN4sD2lakAgYDGs6kOGg
qaIes+hEcInx3AJVD5mf8ITmqjvo5xmVrsASMmAK8m8e7QSaxCZv40XMwZOc4jCjZWv3LyijrVQv
WZFTvKud3BEpwAlWj8c7TRgdq00VhVO9MkGDU64bJooNgvXj8U0FKUgdL1XoBc1H7AUC1Eq2pjtD
7gynYpN7DG10exS9REWfxmXB0GGKx7gACIggS8u07Zj9b81lymOqaqsnlUxQyi+Ld2Q6PkBR/+Nr
msdSta06SHOEPlDjAWVU2+G6P1b+UpKQt2CiXCmnfo2GhW5D/mKZ3E5/zW/FuluLXmlXhue+RR1j
Ob4XbxjSgDa7a/BM0/zhmTyoq9xt9gyYUJ94SKAcKBRmd8oKXho4iH3pi+ojolBrcK5Ek3MJwwoI
CWnnTI6Bh6iDyS6gJGxgxdMf1m/ofjjg5BDFeFF5lh+RgCBcwkwdDjP8EZ2Ahf3ZY7q6XMu7wok/
utelu6Eo3vzUv0uP1Wl4APtPcBBJ7Iq8A+eEQDUey3GFfm7Y3YXpM3BQ9b2aiCSDRHkcP+qQIC4w
WU+hIRBPdq1gcNNchC/wmKIFlOgaSFNYTyMARBWEmvpAOtJmXpeQkLkdpAQ1AX7MAaNdkdJ0KLlP
aOvSEOo0PYS9uqp3WJqGNjg7vNKyfhUV1HVuWxaVAHlyeCXAS4gmeFvGm/IueM8BdTcW0KKnvo/w
xcnjdNeKueYEPpKn0yyt1ihpDR9pnDO8OBoP9P5e6P3CZKwESQVIvPbJ/wNpLThVPJF6ngZaN/fA
9FnDrqx7DESouMjnUo3d28sqKBOYy/dfeA9Nyky1ShFDR/kEFghnbHqnDwiGBpnbtI9xEJ9vGxS5
C5PzVwVoz4u4mKJTIPX7Bm+5Ij7M0vuQ/kwyyRkS8MxakqtjdCdofIvIntW1dow3J/5PwZlaPNON
jMvkPNcE2TrMfuOnNB0UmeJwM+iGbRqbzIwgpiuSWhGeYC4hCq2p6MvlDmt+fwe8L7S/oRQRr3Ro
ua2IHx1MFJfBtqP/vL3koj3mXBRNgILKSY94G0vOhJH7sCKPEWg2KpQSpx7vNPDi3jYpKjbzbJvQ
FZurLgRKVLfBCbE8A9n2kf3KEjv6lF+se1Di5ut5u7SVkmPcuSqwz2DARIVdsMciz8kTcQZqOCfm
NODFgqYW1OXQl1zU9HQf79BzLrQnOFM81yYY2GlmVHj+dpPiJtaMmccUVSaGMrtJXZJLggssSKZ4
2s24JiNmT5HqxMV73/2UDVEzXeDy6fIDLjwEMJVdGncBKgg1cxPwzGokcIoht0dgAjUwtUQM/7EM
lQqOkOA9RDnXFNPSgIYHntOLis0orWJwCcs+gFI2+Cli+8dLsu8dyx99Bs6WkdiQrbv9CwROmPKe
SgFr8shwb+oSsmVd6IIPblvkAagIBsHHinwDzyuepKSqRuBVj8E+OOvMtkA4BO6tNdsaUBLo6FqK
PLytY/u/Yk/+lkHyDONp3xUa7aoAkvGp082bzlQO/WyuorGwLQWq6uS5R71SqcnGDI0Ni01BVqF8
6ebe8MT8XMCQBCQeI1TaWAzFF/ODVuBXYWui7qzgx5QqUPyt10kDkKxU9/3SpEoA3gjB45HMvyoT
3mRuO38yJydWKnCF1gWyhDBe1Uq7HSz1JANJi5q0K2vqk6wUgIP+TvNNEwcrPSdOT6Euah4KokDB
VHeztDlNWQ+dF83vAEomOQq1lQFCoupJnQonK8ZNplJnDq3fRCOyMwXJa0V1XwXLwZAw3RkpZp2r
IPUCxUTDMtsYmWkzvXuoi1nZN6yDt6uHzJ3K+W4A3UcNtC3p2saJ9AHl3il/raF52rVK6k1K/ETp
88yIW8fxumgDAKPUCZOZ0X7QHqzmTh/mndLnz7GquVaguih9pW5ZMMVDPx+tGl9RQzvPmNPOWBnM
BPVq7zS0tFN5PcjnMMowDguBWPTZ8wk/Xpfyj9GI1sQdMhWuq+9yu9F7u093oJ+2p25yGLgKFfqo
9MyT6OC01Z1StF4TguIgHJ06kc5abjnMGpxJ/TEOWyu9q7QeKwABlPRRNueVVr1N1qHpJyfHyCe4
dHTlxHRqNxqYMBrVtozJrdvJjaGBpjZnqUZdaUTVMnVCjFGiJeTEU4ehnNesqV0GHQrg9u1oLN0Z
+0C1/B11m2bdF8Zzq8iuJe9rmtgVod7QnSbAcExqeiqbH6Sq3auh5qZtcjAj6mZxdcqqtVQ3r7Ny
kMKjCmkEoDO10PKS6C4u0b0AhCbSQuBDc5wFOsm2NZeYtIcUddygNbmbS3c65POA8zW5RI/XQVAd
CGgKuvZpBuQ8pvE6mRp/DMGooqEua3layPao054iaX6fWvSEhnU3EqjqKV6j6p41qV6RZv9H2pct
R44rS34Rzbgvr1wymZsyldr1QitVqbiDG7h+/Tg1M0csFDtxb5+3tpZZIQEQjkCEh/uplxK0GCJr
jjIc2q7yTLV761GxTghivILKG6OOKigiqH5o7AdT2BpUPZj9T1GAGpP+MMHFSCFko1c9vLIhEGHB
Ouk3yWXIVOCtBp26yDWx8Ia0a+lV7y5IrkDs4LUuFacToaJRiW7biC/5KOBT+WEM15AMia3W0c5K
45+wk4awRFHcSdmECsxbkdbbsc32cRfZUS8eDLSKZuC6pznqE/FmlIkzTTWo6LD5zX1FOsrSBe6U
xITTUfciy5KjCcSh5keI7J5S0XMGWkiJhwftUHmA8gO4rEFNnRqlCyvEaUqJp0e9o6qhHaj7vJVs
cei8eoK9OmSOoNXc+CWfm8C5IC0mikygt98nfQLd+xr6aeJLV0N0X4JQzijvO9WAAm9JuqMZ9vf4
7RtjfM860SUFkt79VSCK39P4monDR92i2iKWILHevsbme/IGtlpM2InywtjHBp4wc+SZPNflxeo4
4d56IVVRIKpmmBp06pi7ekQPbEM0CEaHBI4g7V07iDbUH2wJZlilBYafiGpb8NAZFVpaIB/ddRy1
pdWwa/EDmLs6CYMslNUsvvTgUUrBtIla2ZNaPNkG465Fx8TtNV3PuizGYzZdDhssKSoMc+6ssEdP
caF5DA1EdLVA5wm4gEQQvMYc6lQPo69wIvov7tBfe7oYntnTIZw6WkVI+swtZo1tvPQ/xNEmb9ZP
8ZlssnMEGm0xey6ZPvb9N8F/ZV7vN7+qY2CLdvqgGzYv0l79zha/aT4ni0BxKLI+yjJsgZjDFV1s
HauSPMhf3V759Xj+exg2HVsUsSSV4P2BDkF3CEGTDVBbcrWt6MLcS4Qp9tRyojPOzNhcbKQ3GYLg
TEAbsrITCD2JsF9oKp33NP5bwA+B2GJq8p8raLb9EMsmShzJrttVp3iLxIYLw2a/8DmLOP9LN74f
VthmFCV4dQgYKToSjDUd4q1xmjUfZwUEHk9zpX39z3kxTwglgO20JcF/BQ2JpiO5/ba5InszIuWM
qyHcxzg2xm/y3HZ2/5A+6hv6RPYxBMU5s1Y4s2ZQqhh6k1DDnHUSirsO3gR4OcBmiaInNKhdtHzw
iZvrBbPFnjLAFBmlJCYWVjrb0V27TbfxTtjKPp/wwftIGUSKq1QfpzRGIlITXbhPuL36W4ws9/Ya
rgPffzp4TbazliStil5TZabvjyAVK466j32EO+fwXoBnoz0vZqg6/TH9OYFw/Q6bAs5PWJ3o4hfM
78YFzrRa2+miRQIUOms7Ajc/jZ/VRuYcxvmb/OuELEZhzmLTq4GgW2i0iuTncXykEq+4uA5kixHm
r3Uxj4kqeVeb4PTGpoYS6rkPYB86EzYk4uoNwOy5sX7qELMsm9YusKahwk0rryLO4jcwJ1O1er0U
I5TJo93cqgzCDkoFCeSdecn6FZ++Px6ZFnP2mkkZ0y6ncxVN2mhHPDai0oalmj27ac9GKJhgqjoN
qiU6/rQt7wVuPferAn9rU5nDWNSyGHUmsp2a8psEs8fnJ9I0jjVd6HAvC8VdbGIPkr2mPJX5O9qL
oGRsIrdsPhIi3XV4+BZW4wboVy3OknFSBc0tE3lTqT2Ev3QoF37WyXsRXCVJfEafEDqDVAgGGLYq
dbZUHmu0EffqjyzbtILmJKHpoHXbyUfJNdrOjfT+IovmZ6TPzIhBO5jddFGGcnKIUuz06S0XJU5o
uJoZXIATE0YUo56IGnIPZ7NPPYgnDQM86pWXqaBuQd5h7c0Bj9VDtRiPCREgFFsOTZAKZ5KX/oQO
wgSmzH0rS3YXotG5uFLrjsrvo0n9sakdDWnZOMMF3+suEfcF7JuTGNpHw7GOR5i+EbS7x05hCo6o
/UhyXmqNh91s0aUSGxJqEF2CyqyyKTf5VtpaW1wbDk9Zhxc/s3WVaajlODKxMFXZb4V+TmyAUpqV
z5lxJ+TWqYKMVwiXYzLeU/0V9xgnnpXm2+Gvk/G9M2x1hVRjq7QtVCh60IToxnhNf9e73JsOY28L
jV17zY7cW5/8fkju1BkYDBRDSyPQBpHmK+7abb5VHyanBkkmdi2XZ6C1zsBczJMBvC4JUtPSzQhx
e+/RR90J9+1bsStmHhIX8zjH66/iyjS7cM9Reu2Ov5WdYpc73cnc/tqehOus+FkdoXjdNTBJ4gqY
ryL7YqIM1FlaZKRTauJFpowbI+3dwgTHVbU8kgc71ao9VZd2Blyn5KzlfEycU86WVRDGBmFNMbRi
XKfxve44wvqrD+7F1BjUsobYkCiQAOIeoY92+kO/aXb80G1eoVtHggGrUBOaNK/wntG6hwhEywh1
mgx2D0PC4RJ8sZpvjMQWS6auzhU4tseXCrekE3bR4FjGtQAeauFbH5DjAM4nfG1w/CdbJ8VZrHO/
rdrXpO5cZTR8U9FOXZiCjR/qdh+2TqdVoLlOoSMkO9j9unITwyQyeYlQOe5qVLeUO0NO4E1IbRmZ
rRxp/Bwl+jIkG2pYPyNaGTadmqsoDT3cg2qIaXfZk6jJnJCcAztscUaTk0BNG7wMyjHxAoC5YWlO
ZSWOVP2qlI/b1896kv37w2FrM1JhwuvHwuGfYxB0BmYby5vNiiI3dpBglGD7hNAnc/p/1XG0GJjB
uCSJ5BGZ1/gi9Aehv5jqr7LnHArOoWPLNC2K4+UoAMAlBBnNUDroKLFvr99q4L2YBRPC6UqR0n6+
vdVW2dDubpZXHJHf+u9GYYBrNOKpomMaX9p5S4xfFokcEnFZXRxsZgsuyjAglaXgW0COqNxBSwGF
LNdyyuf4s/RAM3cg2evCbgESltyWIt5eMQBWSIKaEYrPIQFpvOt+ppHA2SoOdrH1lKBs0xLVXmjX
BfuavBrGQ1zv65gjl7POwPn+ItjHoGpqmYiuGAFVXum1dtGoQTeDa+6rd3ImH8Fl9uA0kJe6i99m
CuPwP6C9rvcJLX4D8xysVWrmWY5Llv4sPPOePBoy3hTNE96iqRe42oliO6O70Z1VoMejhjbGZJvB
c5FHhFpdc0MSFdyihiWzYiDFlLXVIGBXR+NVBjk/rd8C66HVOCbrq5C5GIZ5mGbZlMLdrcL5qMo7
kULnAHWtiB7FOt2STvVvn8bVT3UxGoNcVA+VIc+L+BLomp2jsyJJeLr86xHgYoz5NywewnoMyBqy
Jr6UZeWagfbad8KbVHe+FkC1Bq7KYyXaEqTeuiqyM9gTqdLT7Vny1pRBNqrRWK3LHmuq5GfLmqCo
W/qyqm4DrXANYXd7tFUcXcyXQbg0h1dtFNMYnJvB7gCgQphuRYvnZLZ+3S3GmWe9WNcsFKrCVBEn
hc8xQuqd4oPe2SYeKpkgXlSbbE9OyXv/oj3ent/6W38xMINvdEimRMtJDMqFtGkne3Lz+wZuNnOq
Fqm2c+QnSEZbv3vUhTzeMVzPqyxGZ+I2bOFQ5aAGIuNGHifXOBRP6H6yTbu++x9xtTjb+fWKXCxz
rQ6wQSQYLzQzV4doVy/c6zrv5bLi1o4Eyve0vl42i2EGkO3RHIOTOKjKpzrCPU5zq/4CK1JdQUFN
VLqNoAlOLrYeaZA+EsxfKBkibmvvdFpBKt3RkWtCabCVy2te3rXFVSS44HRyzQZjJ076aazLB1qh
6Gw1qa9p0QPnu+CtFANdoZjFErqH5qKJ8gr3g00EJxDIh8aPgV3beIsk2+ioXjmjcnD563tZLpzY
F1FgYH9ORmtHjzWysFDUhtZF61mnHvl12beA1tSueQ1xqzHGYssYYLMaWJh2FFsW001qoR4/XE2k
2OL3WHHTIf9vJ8qgWJgn0yCOM1OnRA9X3cAtftgqKuQPUwGmv9PTUEx+MsD5ssUfEpL6soWWNBo2
b4IpHxMTunOopHCWf74h/nrcLBaBQTux1E0pHiwwKOH/EHfoZ5DzyVbT0rLDFv1haGxTZFczmiOt
1NeQ+gSMilaEgv7tH/Ll4HHrhzBw2OhUEzIJuzE//a3NTB+N97AKf4g2GoiPH+abBA0Cu3oKKzv7
0I6Z4GjwMN8MnrmBGQ4EcWK8DcYDGGub1jdP7WG0QT6auwBc4VIB08AJcHs4V3UncppO4RlNOMhs
ciqdvOvyqw1p8T33Y0JooABdkYHH86XYGiKKjb0LmvUWY7/dXjYenH6B/WK4GOYVQ6Libmy8mVsO
QtJF3gV+54HVvi1e4g/OePOhuLFNrHYLBNCFvlZxXKNdclGfYw8TvFMhCKRAV8P84Hes8QZkAkit
h0DNJOM6ruPJBnNv0ww8p9d10uv3IfgKpBeLSLR4yuQMewa33H0Niu1RRdp7LhcPvyWn+mX62Z6X
fuLgHqvJAsrsKPZji3uwf2ljPG8a/VCK0n2lc4Q5OdETq8PSQVCjkYwZd7Rii64ftPVduxbN4rIG
75eaM9o6tXSxlgzMwUetEDoD8xq3ynnu2q5Sj4BRkrqDnzvFqf9M58LpRYdTEHQvnsZqT55KpJcv
BVftdf42bn2sDLhZw1AauY6pzy00+bXddv7Pyake6bblBOLrmcvFtBn4ynRd7Qsdop1G+ENBK35q
ZftSgfAxIsh7y6xfo8HcJFQ+dkV3Jyiq4N0+mLzPiQnqEjFD8STDsrd49uttcYn1x6jYx0LLQxze
SEwAJ5tJJhclDkv8DLOswG4QOAqOtA0vImgNvQut/s3sSXp7fuvtm98L/MW5WJxRvQ01KOUBeMgx
uYge6ISpZ17UXbOZ9sJWPfS+UdogxaFsxO32Wi81LAZnQMhU4kYsC8w5OJn4pOcJK9viUfYbTrKR
F5yzgi1qJcm99P+vQRTcHFg1K4HTDLs0Q9jgZwd46aF1hhogo0dDjyRIyxNe4ASCrJxL1WlyKqJY
fbGk+qgoYIy0kJIfn2/vKG8UJvxSe23KCjCQQI0WPBpq0PjS+WJ989d4AwIUBo7qus4M1egwF9TA
s5kXqTg1SIFqrd+VOJJZTY9123CuyfXUy+KDYZAnNGnXTSGyDcGpgOMJvtbcFelRoHu1tue33ixN
Bc80+lybDgQJlNGrcqe8Bi/81mPOBaAw0IRqglRlJqBhiJ/kfrgfdfVdCtVdnIpbLYo/b28rb8EZ
IOoNqzfInP4X99qmgZqctlU3NVesgxMWKAwK0aYMaQ81kguFXVav+63JydjyIitWYKXsBxmaPF+R
lbRBYWiDZ8lFRSlc38yRFY83wZkQq62St5DcgJQhyiYpWrc70SYp3d7emvUhVNWQ8VI1NJ1ZsyGC
xPwEEjHq2LKjlc/VxMukr98N/xnhr5Ks1YtDjk77C4ild6RBv1sYY6TM0WjACbTXv+rvoRhIVgxz
7PsRfolBNUsegTosRF4DwR3rdSqNl9srt16ANb5HkwEzi9unCOIWjHBIp1KoQJME0stjXMZ3wqTa
SEy55nSIqvogi4/q8CMMn6VGv4sE8Vo3UJFOGhgBUcUOCRJkt38Xb73n193iZ2mCMaRof0APBETM
oAfk0OgQV41D1e7f3b/fK8DAtdVNJgjvmgU7UgMGcl70UH6knxY0G6CR6cWusaNPySnRHUg+cWa5
flN8D81gOAUxPRokERlIuh/SaNOPcGWceHIi68D1PQoD2aom6UqSYpSq/ZHU6e7SRO+Fkth3udvx
OHe8GTGQnFW62TcJ2lLVEqqEUeuoMpz4tHh3+/P4h7jle04MGOsk6ZJKm+LL1GggY4u7WJrsARo6
JIdsPlSbklZzFAiXh9P19tBfemV/X7zfQzNgo9ewAy8zeWYV4gHsgPbqRsROQ4egj+IhPsH77Ugh
ETH3tZu7FJphQ4CHMgSlNuCTC5foCXT4VPZkaOhs0ufWaV6EHY8Uu3p+IDcK6WzYu+hs/2gxWeFo
iPiRotnZQVn8ILkvT+2TYHBqMevZ3sVIzPEx8SxqWoIdD55mqmGxx0rQA1QApS0IAPvMT934ATVc
HiKvB5SLgdnDowR5JAvynG8tH3NYenyZ/ZGzdUjc3Km97C6GE/SeeN3neOBle3nry5wpQSbwFKi0
+KIETxE6alIDbR4QLRCHgIMR6wi9mCdzpAJZK/toUmZ8Ku60o3GonuiL6VYu6CO4sKMTuZ9TRLwZ
rjMuF+MyR0zo07xtS3xCc95KBX9EMOHOuyewSt6jxPY4nq37+i5/U7HDwRVsiyK9v33U1k/54icw
R02eoJHWZzGeRSB7giLgw/xwN1OFJQ6erAYQ3wOxTIgoFmtTLCboIKJfqQbnsh9Tzj7yhmCu9UYK
NUjzK0AsTX+Q5faoB8a/KdEtZiH/eWnSUJhKeOpClECBbF3xEVYtfBagd11mvlSUHEb8KtQvRmOv
6FFNrd7E9xFRf8okWx9BBoFq1+1v4Esx6S+4XQzD4IuRdF0MiezoEndwHOimqw71nzEdtxF0+VKi
wkk0zyYvaqfHLkUtlpLHnAyPVlrtVVH3Q/T/xIEPFyxnTOT3lkA9rcGDsxrrbZVELumDvTzuSvmh
0gJXFd/yKN/V6FwLYs0e697vlGPUnCoFTMhNlhxG6bFQKjvNdqIOKbO5P62GXk5/saL0ET5hni6S
PRG7N6m8DFriVgOPqMD7kBjcM0w97M22SC4BeulIepIkzsauZw0XS86AW9gMOpF6FS+d7fzWUT3r
IzC97KH255ioVDYxKDx7nnH5jCe3NprBOWjbh5PW4GVpdsmukVUsbOXItNmqCvWm8SmC0Nztb+tL
QvPWkAzEFWXV9WOAMzn3dKiqHQPnrBdoZ0n+4EaOVfrFfm7/zUD1GjzJgzuWD8nP++CF3EMUzzE3
8U8TD1vNiUA5F/1/lUpdbASDf3HeGXIu40AbVenrY3G1sm7Xw+A3LAf39lpwTjNLqSBFmxRqgQtN
jODM1T9nJNnm4/W/G4TBQEG1MlBQUgAUjfdlkHq9Fh1p3XPmwjkhFoODkAnr244iMrDQVjo2Fai7
PE4SbwgG/EwaBnGtJcklFh7C+l0DotxeKt4A898XD6CogNU0ShLI3Bud3RqmU+qte3sI3pYzQNJl
qipmWZVcJiI8CIVlG3LoQjmAcyutJc5lSRENVVENVTNZqYDIakRRgcvSpTHpJlT7+xEt9g6ZlPew
uxaD5lh6COW6JxUZJD2q3AGpzqbJ7cSInUbvkEUynql4hv3SMelH+DZF2TZHnzIRr1r1AWFP73+9
Ln/8XmbpO9MIypkYfRlHA/yPNxOUvdDg2aavZdL+GIZZfpLEKoSRcRjKztzVkuS11caCiFN9V6bq
MYggYlSJli0b8kcnjZtqTLehjmi2AzLmgm2UUO/Htasl3aaVw8dmmh6xyJ5g8gREVj7FP34ocx0U
StzLAjRwLpUI3yrzp1I93V7wtVD+jxEY6DdpEGSDKSdoQINv86xOUste5CLShPCNjbwmyFNp6UX4
/yBKwjOHE/7NS83cA3+Mz9wDlSKinTyVkotefEbBW5n6WczLaEi8ZWTAPCnMMEiImnzVbDQk3qgA
c3ILAo2jq0OHFc2SXMbfWtF2OTMW1g2tt2Qtw8wgH72hc69Nvu2Q2sjDwyz58q9eZX8MyEB8FHda
J2g4PL1TPBc/8us4oO+uuEeFu/PbzWQ63Y/2cXqHkAK957Nw1l4tf4zPYL+MimdlQQX3Ql87N73O
sisahFw9SASgV/Nn+QJ8wT1OUrc6R/e8R9NaMeeP4Zl7Qe27WhPCMANHvNw1d8W+OYUINrdIiCPB
KjkWqpRefRpfrB2PqcP5iC0GtqhQ5VUjWeklzHQ7IP09jabtKE3e7cO68vL9Y4bzz1hcTGOrihpa
rJNLmYEyrcLJpT5L0AUe9IBTcV17+f4xFAM8hgiPBks0UoRnJ20DIYBwAMEyRy83eFUgAjgFdSzt
Lt48cPeRN0sGkWZSZVqOEMZvvMEtrqk/8wHiFK7D/3cfxUf9I7pPOKl53hYyOKTLtdLnOibckJnH
+dxR1c3z1/9uAxkcqsNIa/M2SC+x/GjKJyEod3X4SMm4vT0OB/As1giPSoMYFhKgIDbVBlJi9aZR
BLvC/TXARlDrX9OkssscYhBwDS2hsWHHfZraNfnZpDyuAAcILZYlq9V6PA64yr42dOaA5SfNy+xq
N9d0hcfbU7+9jxbrlpeIsLcyofxxaXrZKRSyDdUnlFo5met5o/751rJYk7xKayo65MjrTjpIJClg
LRC2IVwpTAhUp3Jw3zePLW03t+d2+xqzRAZmYgTXZhcV6UUgECDoTBsGIJyJ8ZaPgZi6J0mgKSS7
pObBygt3SD7REcMJsDlBh8Va/lEal2VuFhk8Bg37HTY7HuSV2lNcOJ090zYVh56gDSa1Lvnkvuw4
9xRQ7E8YNYhpNR2Bu6YsvJiKP6baZYRUTdofS/kXXBdsS9wN2vtYvyrDr96AyEkNHRuo+1i5nesf
dX8uqweBhu7t3b2Ne5bIIBCNlUCOOiyKIB47+HfCT1tsSztQeCJXa3njBbhbIgNDYlYTsRxJikAB
rT4z2cLYC1fj2mzynbopNrgkDwJUYA3v9gw5HxdLm+0NLYfcHmY4wP6KQITIxANRyrjox1lJljdr
QUXRVAJ8xLP+W+grbn0WrsgrTVeo0NceTDSc1EUloCh41yZvhkwIRPOorCwpTzHyAH1d4rZ4bVn3
+bZyq129DxH2QYrD2vCyFWsS7MstZRmvaRFbjZVgabVzhWKhPb5HLUQ67eAN7bVf4c8EC6tLs9Ox
v+U7Dlfvj9y6wDy9G7D4dS0tAhS9zuV8kPErVLTpVfcF1FFUm9jCnp74snscNPxKpS0Gi9NWQH9s
nV2ICB+9dt9ze7jWyvV/rOr8oS2GEKHITMoinT8kiGjJXrU14aM3boqd4oD7yXex49wrX2HZYsCw
VIOmaLGAU+ZkIENGX61qP8lvwUvg4TcrLWTX5pyewaLlID8PFViSaSP1mllKWXaRzubW2FRPwa4+
aKc5dJ4boAUXpGk353GTeCeGwaK0p3lN9SQD9zODlxM4WJ2fvMC1o9lYW7Bp/blitwk4SDRj6Y0P
lWWcShWZSNFj1FwLQUR+18AmDJJnpX2S4t9N03GG42zr1+ldbKsgxGMmkv93LhoogsC/ZJNvuGYz
HOBjOaej1kuaEUaY1m8Kd4kNyDJOjKp67Rvv5nl4Tg7gLbs8y2DehcrSTrsyE2kqYXrUDa/Bfb3L
3BD+ntMRBYKNvpPPw+/sqvyg6MGyXPF/z9lYnlGWihp3PbSfQny2angi+llXAQYqOruVPS1GzhW9
lp7/Y7D5a15spCL1sUIzAELjwUQYnevkpUlgFu5otRPuql3mZac68VTCu1h4O8sgUQmdOyqKMfAd
FhuT26CByLbuyMMobToHbgg4okibjIqPpobblzYvfGctAuVgKoWoKDNEC4OrHDPy9RKDcpAjIU7Q
r5zhOIDA+gMKeShbiY7Lew5OOmiURKh/FltYlTn5LvFjCYRMXsl+jvj+hgNVMixVNVVZZrYVCcfE
kCYFSSi5KOy2AGcwEnclEAHJKIeEOu99tn5Rfg/IbGclpjoCSHAoNLtzoTZzgqo1rkpxo/2QuQHv
+kX5PRgT745N2iYgZqegtY2osPqJzjOB5o3AhK69ZOWSWWGENHhQ4Fyv8p8Mc/bm1hYx94QMYqc4
ETHByQu2lQXuR75FTuv3LCcsfcIFmncdcubEcoPLsreg6aKn6LkIfXi9fca6M2cM5+gxfxAEuz3w
PsP1T/8/G6UwCbwiJVlMIyxjq8A9QJftKh/2LaS5bx+xNXEuoNj3OPPXuUAxEvdg30IFBmGa+ruB
vYVQ7NrqmN9XpxQ6yfkuOkxPsexU5+Hdip1yX5zpp/DGu66+JAJv7CnLCe7hjK5rMsqORPtpxj8p
TDKj7FhAu1FAZ6sa3OVhDl1Br+wfLW1HrdM03mvkUCQPhS4/afVWIfBTizuoppj72KhtY1SdKUk3
GbyqWvTjxhBLqCF6YEn36hg6FfIcig7fyPajTiY71wo7EExUkJWtJQZbMZFBKow6N4bDVNc3DyNE
V3QCRQWS+WFZehONga+VoxQUHlXGQ5dFkDNPHAhVXvqo9URogd7eKpWDTMr8lS62qpfbUI6bITjT
Xt7qbeeLwgNEPjbRlL/QjtwNkEUlE0zQSvhppw9U3wlow4gJTAJiydOEN6uYIOVbXCXrTNP+UJHQ
j7Rzk/02psptc/VeSKajoW9RiM8mCyJE8Enr6kNitCcVdZBG9LtEvrfU6KDL/X6i0VOjlT469G1V
SN6zsBbduoQSx1yZN1MFFCRomEa8khzvZDAAbYpSrU85snNQqiBhei6LZJ9Au/72avNGYVA5H/OI
msKYgNT8A6GEVPzWRd71xttQBowpcKUqBMBK44XXucBPzngjBgjtx421F4+QffbFQ3AXcfKb/3CN
fx96BqOLwcTWCOhbmTlb5C1Go/yspV3Du+5/IG+0HvF+j8bANTTGCrBpkRHX9I8qTfZ5Z22noNxY
heSVUei3xbtgSG+392+NtLQENpZeLUXQz4IMDYBt9NGehImFCaST91ER+pNm+XkhH4Mu8BXjmTPy
/GncgDKWaW0JDU1THfOl80sRUo7whckO6Um9dE79PLO7lYsZ2rzQe/0d859lZt0sjWxo6YB2hEvW
Ve4kgR3yqy1DR5IfjeKHf3uO/5Bj+B5svqIXWFS3UVaQ+ZbXHjp3AkmjAvrZEfpW1LPhTB8pbkcZ
6QX9Iz4Lu+aDx1L5hxfq9w9gwFDvk4KMARa5x+O48ubcTrOdj462Dbeta21RXOJ6onJHZbCnRSek
RdAWgBP7RcbbUG0rq268lR/7TXAO50yA7NWJyxVP4xwi1oxQDUwykAAjCz28zvrMrZ7Kods1+T2c
tuxBaPcG+XF7k9crByrCYEPRLfBXmYMbZWKX0RoGaKP10lShLVho09Zhiiln6rYwRTtD+X+cKZdN
7khBaWvQOydq7JjV1HPweK0BXpa+fwwbg/Ud2oXzTky/lDT7q4y1dpGEVSa3fUpQf3+h9VbT8AnM
PWKKY76gtIm2R7iK0vSgHgpEoof4HD4Ed9ru9jqtXhWLX8aEamptDYkMGh4ohb/DBG4lyesg8O6K
VVBZDMLEaVqM1wgp0PkgRtTV8SqhI3Km6GjSiXnJTVggwH0YQnlRg/gEZgWF4UUo9lYFnBaH+1DS
OITj1ZB48XsYAIAzg5JljYRJW6ozqx+qVsphrPDWlTniFkFZ06T45GFOE6bPtXBXqw+3t279QC+m
wRzoEV+uVhOMMUf28JgFiGUPw4sR2qXXu6KLyFcVbfGDnHi1Td6Gzn9fIGgexnhJz2+KLEfTz2T+
1Mm9EG6KtOWlYnnryIQZman01iBgqxqltctI9WAK6uU6hyHK+yCYmCJtRzFU4N98gTRrWb9IOmer
Vq+3xU4xYKRp6qBWISgUeVLDLFVy6xqNEzL8NFUKKXzBzQreo2SdMvU9JhtDyDDGUGoFcRJF8aC1
HHPf6HYLZowm22nh5fGJ/FI92C2INvwVPB3Ka/Sn3DlohIZSHP8hylljNrLIjFoShhIYGGrjNqg0
v0zGDedEzGj1V/SymDMDNNJoiXUkBmib3E3H4j6AKtYIk+rhiZ+1X8+pL8ZiQEQtogltzUZywart
6x3ZoIHwMdxRb86IJk9cVUTe3BhEQQ++3kUJtPDhgkyRs4NAlWKnOxHpbPMqcOBrPUG4mB2DLeEE
r224ls5P69AfdK95D70Ufb3avr4b7pozXknjgdf5w11TBlekNB+jbITSrtzXDkqbkMC/66vOTYTm
oR97N1IxZbndqFFnD1L40oy7OuGZ4XIg5+spuwA3IhNJ1nRMvRVKR+wUf0hjaGwS9/bHyjsPDOa0
cTtJpTCmFwm22zS5BvLEGWE17FrsIYM6yHU2MfQmk0ub+E34KJe6W2igq1d3MtK8VgGrkuj5v5oU
610cghevN82Elyfs/XK6Ty0OUnM250smebE5cWj0FbofgNQ03ZXix2TBRY/7gObsjcbgSGrCbt3U
lDlgTR0iXdAN7N1eKN48WPTowiI1Y8Rd3XiYQs3P6SMNZA4err7Rvz+AL1mZxWKZg6Z3YD/hMVf5
UfipZnAl0h6QDtxPwuft+fCGmue7GEqKRUVU0fFykYSnKm32OaI8fYLLYQI3FmRSb4/GWz0GJ3I4
EUAkcEovIoSPmlA6KzJUn8BovT3MV5nyxn3CWg1nPdwgRx0LCEsm2Z75/MqhvqCNyTFwgdp9DIaH
7Haf2RMvhco5uxqDDkpLdTGJAUJz21K6tzxlq2+QT/Fuz1CeV+rWDBmMsCI8TGDPOb9MpA0kFdCT
jlKXE9yLnnIYT/A4SO+jc/0BrV9PdMv99FkPXnSvvFlv3Ew15xti7TFka5J7q8Guzq0UKPvn78XT
rNgz7S043kGFcS9crLfoiSezxfmadOYNpCnZYMG1Et+uDscdEPQsX5O5XKEZM26sNGtZDGCMh0TH
KBTKcjpWeiaUxseZPdYfeEpLX8WsW6Mx+GLJidyUc0Sb7JAohl40PtVNu21Umz7MYqGdo77qD8UR
bMiLep5Vq/EzXooP+S5wRp/3NfN2dsbbBTpEXSXNmU+gdutgkYcJJkLWwYBMktzxIpd5ZrdmziBR
CKm4KJS+1pnsRK9xQjj65tu5DN+eyVa+3j5BnNCe9TAmbStVed5kl1KtfVlK4cwBga52V6hPkYFe
hSHn3Oq8tZz/vljLIKAthVFbegkGv+1Nmyrn0PilRqXHS1bzHpisSzEVitEKAsDfXDHN3oaH2IM1
GpBAQS2l80KQ6olTvdxeUM7dywoxED0wtTKgoI60r7SJoJsvcLgaHMxjhRgKsCZoiK26wAHZzZJy
7rqFX1iLB/O/o4V8X8GsOn4UgQQjzvmVZBfsc68j9kwmEs/SFhZhTiDaeDV7FWeCvOQXK4kvx+hF
KFAlwsaJDhxMbSiPzvlFHZzE5gKd6C0vj7TOnVAhHqsoqmIYInPsmm6aYtBj5wur27WdK36a476p
bDX1xNTLItt0IS8FB6fHGpmK0h/Gzq4/efyxf7ixv38GExkUEfqdQgsG7cOruTdEN3OHA7hOrrgR
9nDZ84bt/yHtu7ojx5Gs/8qeeecuDUiA39mZB5q0klIpUzIvPJJKRe8NQP7671Ld05XFzk7smX7r
akkZCRcIRNy4t7kDY/61zPD5XfvT7uJUmmoZsiTi6W05vBLOPYWqm8vn4jzY9GSGFyFBNdRiCBJs
21liqQMhKXLUwsmF25qAVAUPjT93JRAwlnZula6V9Ebes36+OeHkSyzihVTQKYtDLHNyBSlrE1SE
1a0BWAP1+4/gqvYKKCPdsJXVrPledphke2yJu+yMlmXtNMAfNQ5bq8cZQZL6muYic4/vMIP0ckgU
kXf1qtqB91ASLJ3jMUMa949FXuIxxyCIg1KEs36XhcMsNpWvrgKnW/8f0gvnn/s/bc3hxImbN4Sl
dVVXgDgM7bP9MYTnta+jzfAJTitJmHu+IHIyrkWw0FV5RzIdrzay5t/AttrfZZDs2aNf9gBZq1u6
zu6sHIKH/rAG7mpLt4DoyFKKkgO0hFyGSWbmLccBCuLQD/p7FIslw/yL6+znlC5c1Jii2h4nX+yT
aP9+K48NRDSmjXkzS1hb+8kPOaIgmUDK/Kl/jkd+Wl14pCwMJytosGmt6VCAfEDsY/tB4hpkNhbe
J51Y1KjkS6EoWJO35KMnDu3QLRUj/2X4Ct/kPeBGsohdZnbhkaa8HkTW9+ntWN8YQbtV48IbjdK9
PDqZlYXL4ZBBtIO0mKXOGzdXIqeofzDZFEqMLIGUOsrZWqJglWY4t2YeYq5BPvbl8kgke3wJnwyp
YUcGCIpv8/Kz1g+lqUmmisgsLLwGqVvol4y4/upkdCalvkGS/iEDPzcJxL5R9cYvhuK1IdYhzLW7
ooKWVZNZx7YEwlKB0tPAFQsiwUCoaPwaIojuaNMMBcHIycfaMYNdRVdKkK5C0HFXHDhXJOdIGxwy
iFwXgb3Sw3qFHM16HBUI9ubdp92Q3m3K9oOU6c5qkEa09V05DO9VZuVgNsAX6PWmdyN+/HtzvfBp
QTUFgYixN4EmdzLV9IJKRucp2zPzYpy46CFuM4W1YF9VrI1pHQp2E+vvf28U81c4MaG1wFKNGrYl
rZGmHyB3MnBZsHhGbuf0VvtKEZzYmKih9lYNrfAuD9eR+BGlCNbGdsNA9pp3r5xNbqlQ19AM2W69
7BmXgMymSNOhpHD5IT9Y/YspTeP9RT75D9+7xGBC8FWkJAUz2dzGwJlXrYYNBrWFQPON/SlvHZVF
CMuqs1Z0OZBvWXSbQki0sD5tgci3C3JPdIEXR2IDiRA/HJrCqeNua/Fvl7eLZEcu68wNK4Yc2Tbg
FzsQm9SfrUHXZnB32YhsVpfwvqHXlAzEcrMQFbRovnezZKszAFCI5qNsF65k2QPZqBZOrcynqGtp
N4/qW8ODI8gZbi1Tklg+j7n5GQQtQXxdaXSqWauzyp8BOFO91r8H9zPghU3O5QmUOOklFi6eFEHU
YHZN5GqkwwqQO8lbQWZh4TZE3qaMpojS6+6RpLoL9MXq8hhkO/2L4uzEazR2FGdgnQYPRwG14gz9
XdFdXrxTiAhE2gfS2Wa5Mbt3u3q7bFg2tEWoI6poSJSxD4G1VPd9EvqAB0gyEPNHXIjYvihfToam
1iTLjRi57Ly7msxHNgauOb1rQ+FVvJL4QNmbZsnVWZNpEkHD+gMIRkwnHat3kYJpHpolJa7HwBun
0okq6wh9rG+Q595C/HynFBBoZE20CoT11APDElEEsKnpZkoKceQ2dspe4lnOw+5+Ho9lOZkbGbQp
TMz7fOgV00+/tC+RMxlclIsjX9rGIzn1y3qxasZBawgws845jG47t6GhHcMv9pAZdbNNeZA/hCR7
a4lCC4zMNOIKF5LJoy2jn1Yse+X8RV31jxuJLMISs7BU0PFAU3e+kYxZ7qdgDuEu84C2y4CdnDsg
RnOdS/m+5zD5wq7+Ch1PdrWFDOyoVV8JmumKfCLBLYKHmt4mSPF/QfaHm/6+ek3GI8uvE+Hyvey5
MD8Hlt9At00LpIEao+Yy/LVsK9frEvLXiW45lUCbR5uv4yh0oEr0aE67Ivh+2Vecne1Ti4ubwy7p
RHMVbYzgiV6x0B3u7adkZQPuAFHxyg0/yF7+Kjq3i06NLpY4tmM1SGZ6YzNuPoIqfhxyiYM6t5Sn
FuZvcLKUZZaM3CiwiZJtfaPtG9AIQ/76WprvmKfn0oItrhEWt8QMLdj5jb4PnOJbJO7cFiWLcNVK
WoNkg1q8k3ldMZBNVhBPiMV7Vpr3Rt94IVH3GhqidEbRms7dvpd0XZ3zMqdTubhOgMlh1DZqVGXC
1pugUpsLgRyarOP9bPLu1M7iqUxJP4SKAPMzd8M7eqi2kDZ5RwLpPtzNdOnGrkezQrnqQlcur302
v3NqfJ76k/1SW1qNcAN80KZjH2jp0FWJOl8GPtHiRr83V6BvdoOr3iOlUyK/03CwRUlinrOJw5Pv
sAxNkWEqIm43KKlvrGP+Zj6P3/Rv9r6+rvbjR6PcKsfQRTb8oFwNMqloyYFcxqvJNE3BYOHZHaVX
AtFcNQ2S0c1788JBWRLTJyQKi1jB6lY2OP+R5A/oVlc/2oFLDEm26zJITXJNi9oRs2i0O2G+dVix
NH2QeE3JsV/Gp1xJytigOPazSgtocFeBZ3zlyJp16E0vl62dxamdboyFk6GJnVZqgawciJvcyLXG
dZz5CXOQ26Y3w074piuI094rHvNnYBU8nau2biNQOpEBkL4W6tJCLpzQECcV3sp6dCuyvHWDhGzC
IVgZ+O/aRH9iRtc80ABhrl0lnfyyS16nlm5SO7/uJ/5I7GiXIU1qGd9F/mAmT6nAodK/N0rw3gXK
3ujbGz1m71GXOiH0/jjZjEi16Nej1UGrWNekzRLnQtnTyV24t5ZHed/W2PpkDRL9XfUdDmd+BOtb
/jGrUej75Njoq75zZGnPszWoU9NLj2exYBICnhXx6ofmtevokIKqqvdGL38BG9dK2nEpG+zCzSlk
5EFDcTjIOt4Mut+LB/Ee7mY4/1wZwVqge6G8C+8R9EjCeMm5XEbHgYi6oppgWleBUrPYimnEFYmy
vnxYZAHNMig2udIU2m/ydIMHT/5FeuEVT/Z1u9U3utOs5dLzMte9DIvNSunY/KScXfc6WIM+wA1f
te6rfZavcujDI2ZN7+1b89bYSgZ8rgxysouW8bJhdYWw4q9QJ76DkPiuXVnPUInANSlbQ4kTXwbI
ZZqbeRfNIlv6C52ilaD5drDpShsyTzKqOQS84GbIwudFts5Tlf0eWCmg+e5TdJjXntF8MdWp77T4
mxt04dg4SytBE4QAFQ0c0o1OFtxyUPxKBia5OpbYyVyxk0QNMDDxPBObp375iEokNufwKa+Rnb/X
bTSvamCgY0ul2NJkdY/1AsePMJzSUlwEj5fHc/5Y/2FhSX2nKoGFsiva5IfgEXKUnpZ+6iCIv2zk
bM0acnX/Hoc9n4GT8Ay3SsrjMJ/ZOUZ/ZvXLcOeiXD4zvKhoC57FfG1PpqkhNTuv5YnZqEWH5ahg
+mZJacMbH6uDiQjMj+GjDXd8sPb6PjoGN7I38Nm23dPxLh5IoRqbORofZ5oFdjRWikOIU4auHu3s
ystSN0bxyp9cPXa61/m2Z6hkMX9KPV77oKWStjKeS4Cffp95n51MBAnMXqfhzKo43GUN34+EXqno
CAJlpjNUuWeEBjJo2SZi7d3fXPqFI9BJkjSDFSOeS0HgD+1yJ9DjQxolu2rqPMXI3ZpnPrVyUO6U
LkN/bB07Qb9lRbThRupYbbCNZVDz8/foz/248BV5Y5oRrYEbHuojm6ijV9RnEzR0s8SHULDkTpNu
h/nrnEw/dOozUxmS+do2VtMW7VrCfUjs4/TUoQsBbXggTnGhNocrfC5K8eOs9QT6ydrnUgS6xKXY
i6CFB1YQNJCUvx2TZGeWaA7WB8mVJvMpiyhFqHHV8SlIblMbrXZD5cYGpHSVWPKcvryIf2LOy62w
LKtcAceicq1hA4M9yxVt66TaR1vk/9Er+t875k/MeAVt6qad6uRWE9BVz3S3CRI3EZKSnsRj/YkT
L9L0BqS+wClwEy1kq2o7U5FmT6GCEotfX73dZL6rbqwQkGCJj768aH/iyROakgeawACn+iHh3yLD
dPtQdnvKjCz8EJh3FQtd2xnK6R9WVWy0NvBUK5QAJC9vcXsJ1NL62JjKBndaqNwX7EhCSSFFNoqF
92jaklPMVoJKer9RoKbF9kQkkqLl+Vjt54Zb+IzUaoKsj8D2O4bPk7jRQOtr1dlOqSSTJRvMwh/k
bVgCiI2r2SqIW0e5X3MovOqPl68B2ZIsXEI+QQ7Nnon8Cs73ib03M5lQ+fw9/xxw/jFfS+SU3edU
VTWwjpgkgZYvQZcrBGWKd0GbVWZCntxWXi6Paf7OlywugppusIU9ahESa9ptUoAYfOBe2+L+0hwN
fIygcV8NtNpcNirZFl9FjJOrpLBH5GH6mUMJugZZ1/lhCrppOjlD+X7ZkmTJvmqkJ5ZobyWCqzhF
cc4hGBc9CKmEwvlHws81W7iDxEh1o6bYezN/7AzN1zZzobXx5/7w6lGqrii5Mb7enidDMlPW65Hd
JbfG/YSG0n5dX5uJOxMAdChlozcdStdutbZfamlyUGZ64TP0yWZtxQRIcTJvCr1sS1czr4NoYHqi
bhqDqleHcAKEwCVHT7ZjFo6k7WlC6gDBR54BAp8Qj3e9g8vfHTLx7fKWkQxyCTGKEqoye8ZyGCx7
sdJ81ytkC9bylZJD60mTsQxIduiy2qK1etGMTQ+mrfEHKui1kwdMllk9WxX8GTrbS6I2otAirOeU
yxf/E9J35WOOYhLFDo3ljMqyGVw8HIwKrAFJD6x9kM2kCa1TvbSvDQAW76qBZLbm5oYzvQGB9CLX
VDyLejgd6uI4ZmxUproCCqH2m6uZuaxGvz7ZDm65Lfz8Xpr5mJ9fFxzoksvLAOjKTAxMbedxX/Og
Ffw4t23QdeGDlkaGX5ZN7eIE9sHQ6/rcv5VF71SD3hZ0f6ouciLks/q2lPhpmbX55yeuphQ8a6wE
GSVd3aQNsMNaBIQiu5nEPillcIuzUIXTlVtc4jroonOVoPKpzKFj2HjlBPXxONp0Ab2tsyumrEQS
HlSIZdJASC6Kv8iD/uHGl5AgZttDn3Psm25FduIq3oPJfR1cmX78kGz0zrG30tK5ZOssay1haRIV
AMD5VI6A/xde/hp4HxQdZNmrrM9cdi6W1ZVxjFvFnovmdvzG7Bfc8bx8h4jTjZkIJ0u6tVpbmzID
NLvcxmzfRsX2sl/9gppcOCnL6ktukMJEIDMD4+MNfaqP2tMQeNawqSJnegLBIOGO8cSvxYZtgysQ
2q9GpL7L+yj1+hhNdZBNqGqHIwd+a3r6mrmh4lqAQDuyArgkJlpWb6Kp0opyxiTqZPTAJrTOY4Kg
aGMP6abUQFVKIT7Iyd97CS7LOaKJTQgxzY4Laf48jv2+KrwQzFp21HgZlTZgSWJmY/75yeGeCpoY
02jmt7apPtT5JjQP1IqdSgeiXKhO2aKKYwc3Km/2hpmsW7W4aQEGKAzbyVUuo4uSRL5LnJJSYJRK
Q3IgYp/UXvNDEBebNLmJy8qzR74hVfAY88EvS9MBfeua9v2hri1gXo959S0MQIPesJU6TRIXKLme
jYULBHdhUUVTn98a/TMfn0EE4Vw+FjIDC68HUZyo6Mc6v43YW9TgWd4+XDbwhZ68dO7m7X6y0KEd
Bm0YYKHJ2kQZwDP36Cx8Th6El6puAzlB8Fogjwkt5+/2Z5+vRkCFkFHZQIjc071gP26H0pX5I8nu
W1ZixsEOqBim/DZAp4xhXJdC3CTkSTJ0SWy+rMMEE6g9p1DNcTkLr78br9XasaBEcD83z8a78pp4
PRhY9H32SK7CF2sT81X1KCtXysY63wMnC1Ba3RRY1og9JJ6GMHxXaqTcQeZ/ebASr7UswYzA5SLE
gxUteLcG+1rNQFvF0eFVc6dQ6KrPkKaOiezgyswu4i2oY/ZjV+j5bVNHfqmD9lykYp2x9IVPz4M5
eroZbeN8vBYtfR2KyQEjgNeHdGegMarVB5+HxarRdORIq+s2kmWxZXO/8HJlw3gF8iRs/kp3e1Pd
hErjlonscpOc4iV1VoxltcMC21lvx3dNe01jW/IskVlYOKK8yHNVobOFoQkdQylBk8VlLUYyI0tn
FBBU1QcsZh5aLgsix4wNX7JNL6fxbbJwRxY1SUonrAjV0AvbVyCwmzbDWBhgESmf61R9i0rxPk36
MWMsArec+BHkvHWsOCBONlJ2bbXoeypMfsxVsbejlnudNWZAtjKnUqvCyZB1cszsxg51MMZNsTP1
zAW0xJmy0gEydRvHhYvrLi9CRzW+Zfw6F5D4hurj0LbfpuKVppFHWbZqrQmszi3qqHn0kKuN2yjM
74m5akiwJwMoG1V1PbInI6o8EiRrwpjH2nGTGvXboIWVozf666hEx6gEZrD8NiJCr0XoxOXHaI8O
DaF9UN0G+c1I+yuuQ/mqsZ1aFI5OH/spcdQKFspVOWmuAK1KUn1Pte+hqb4ksfnGaX5dtP23SI9u
TCveQMsB+Vyx5g25MpJoV/YyOcqzLAR40GATaBpRQdf2qyOLSR/FdYHMp360AP4oHZ77HXuMJ1cB
cmB0cjCp4j2yzX3jaW6bHwDNeM2bTfUjhTZAN6LzsQOi4D8546dfa+GCiB6LVLNQISPIRFTQ6qQh
gB8A71/euecOx6mZhSsRJO+1QYMZq/res7dElsSUff7ibdeEo0lIDibqnu1V417DRXV5AGcRAqcj
WPiQHkrGKhhyfuO6Tl7aY48e32ucodCheB83d9amec3vo6P9IrsDz4LbTm0vXEtmow9nIMCZJFtz
Vd2D6vXYXleVp7WunaDXGpkrCDgDLgSO3Uy4xTo+tID2uJenYB7hMhY6/RYL58OqWM/SYX7R9iMc
z7Ab9LWW8aPN95MuSX5fXE94gtkRnlz7sV61v4FNypyiJviRDGx9eTTn7t4/RgMLi+TtWJqVXSvo
wU904BT5Li6Q+wvzj8Ts30RNXdAWOVojIwE9d6WeWl2EM8qUN1kyzemdwnYVBlat1nYTJZJcFGcL
jqd2Ft5GLQbBuACtAVkLr3XUHXLRs0RF5lF0zUDkDYzwfgBxjNJDQba+NdZQsNlI0bXzJP7llsEk
L7zL1BiJUVdfdCf5Xb9W/BRkIFCoAMhOdv3K1nPhYeo21IEcxIjVHWRkNtaWgxUt28mSSGfhSacz
u/A0lqn1RtciZV372bb0O29WC4wOfeLoB3qcZzF6lCbK5g+9NI8L5yMGUXc1Q2wxM6rHuZPuGuRT
t+ygg4gNOGVAvGe4mazH5osW5pLdheMhZLQhEEtzsEOlXoMeLwhBOVXKX0Aes6O8WZEMCTQ6KKtW
RVfGCPYHtQCLb+bySQVZ4ypTv4fFqwG9Mi40UDTM/N8WoEDfE/NHjf9bEdzqvXqVq72TQGbR7m+H
8D3u3gLKnNwAb2h0VHXuJDlAX2rsV6WCy/qWxQ9VHENX66oYb4ss8qxJPGSZ5TbEdMNJrCcBGlYU
G5+Jmdiu0VF/sPr7WogrJMUeK9Kuk0K40Yi+bzCVIoXjtqHtXfYwZ9Nip1tl4TBrMCsLcHnlt+za
9H7bKEjY+Pp25t41UWeQXeYSr7ksgXFq1W2p4hmjGuU27x9Mu5FUwc9a0HRmQuoToPElj1BOgq5A
qhG7H+7SzAIHdLqXZ+3sLXNiYeEhedAPKc/gMozhqY6eoGx7xTvNGdWPSO8lt8y8ff+0vU9sLbyk
MbQ06Ev4jNxudzbbdQxgUQb6SJbvODS92mJaXR6dbP7mn/9yrw1GyQbcOqVe+0qwbvROcq+dd/0n
g1o4QsueCMQKkQ0y7+M39Qfqkogxww30XcCJpN8D5IK3Sao4+ZX9BubIb906Bs7Qah1NhuT+yov+
aX5N1YKcMS5YRL2/jlYoUweIbNvdJGG8IyL3NQDMFIU6tV7dWQN/RS1u13bjIdbV0rEDkd7kGUmd
0u5xcNM7bEGHprWb12LV5UnlNlRs0YxXgjw7dudaT5uB4o9GnatCQFXFfRqiYrk2LPNHz4raLS3a
rtJRTyTR4BfubjEyQnVmGLZlm7pqLSZZqePICo1OHAbrfYqhQ1egRU2hH0Wa7awAXeNlwncDv4c2
OuuB/5qgrl02Lo2aDxUsr5kBPGTUfxjkbqibj17UIGXWmhWU3WOk7AKnhjiPyFQkIMQmEbHXdeWL
0vIfnVmkQJ9Um2yYoJvzHJhoa6DRW6BeqTkImQp3TKbbvgp+FHF1G01B64q8fuwi+jxlw4tZqOtC
BMgV88hTsrchrcDNmu+zEWpn5awZba161NNopr2MXQ1VtCj04qJY9VF+lw0mRCizOFlXnfLU2zmQ
WwZ7mgrI3SsqdaOi3JFY3UaWXrtF1h+son1IQiteZ1H/DUBDqPdWCZioq3raQAKiWYlWuRlasMyZ
trVNifZRdN1Vr0DVeIo0Py0Mj0VB57MuRUMcz7aXz+K5tD6hWD+qGUzTCVu4GpYmStilNj9grjgU
5owHqmpuy6BTTzOXDuYBawSZi8FXLNVJhmoXhO2nqnWby1/kTOhCKFrQVWqYJjCxi2NSqb2hVuaE
DnGrdae02kSWcBSCel/2Bl4lh0TJ0S4fLxs9E1KcGl3SWOp1F4BCifCDHl7X43GynhMUUojEG83n
4E/n5OfQllyWVjrSJOSwopmxo7HeMWpIfUSV5DyeK9L+MprFUrYRjy1oKvPDDLDD4w+AOqC30cvl
K+vMb8utjMJLNn0LR96mVd/YGQzqxjHgD6q6ivF8l7c0zl/80gQuHE2HvpEuyTCBZd4fWrUJPbik
XR0Zvmo9cuWdxNG+T0PmTES4cZBemZnu/b2dMk/FyZ0VFYMZ8HbkByrmLKXi06JZs/qd/idZAkLh
VDUQ0VumbS7uY9LWOrE1iHYOUebr1icHUvbyWM5vlBMTi3ULIWWa1Lh6DkMR7VP9ueS9m4nWa9Be
YIZuoR6rNPcqAyXaOp28uvEvf4Ez4c0vQ1ysZ1LaUEYSHT/wrHX4GIOJBN1wAPtFCJ6tSpZ2OhPh
/GJusXZGmVWFSlqYq9/HAnwNdeF2SODT6w4ByKBJAqqznuxkdufRn2yVTBUVFMEETkUeOsGYbDMy
QuKNO01suxRFyLIorhVBV5cn9ayXYch+grVYJcYSB1IqiRan8OGHAvJuZGqh48m9TMq1cfbMn5hZ
OBkTzY0Gq7F3CrEKfpRh4DXTq2HIOENko1mcginIU8oJJnEY8g0gmNtGQBgwkT0q553+J89yMprF
SSg1y4rtpuYHJdz3w70OptfLq3J+q/9clcVWH/WW8IxguuzOxOPubmjcvvHH4diNv3d+/8+H+H/h
Z3n729du//W/+PdHWY1NHIIO49d//utQfRb3XfP52V2/Vf87/+kfv/qvX/+Jv/z9k7237u2Xf/hF
F3fjsf9sxrvPts+6LyP4DvNv/l9/+F+fX5/yMFaf//zHR9kX3fxpYVwW//j9R9vv//yHjfn6n9OP
//1nN285/mzdv+XL3/58a7t//gMiG/+NDnNm6IyZlOhzHy7//PdPLG0+fkA6QyBv5pUsyqaL8EfG
f1smgUyIYRJEOurctQJ10t9/pBtERX8JJPWoDTz4v7/UL/P+cx3+q0DJtoyLrsXn/uoBmAYhEovo
0Lu2GByPTRceoDfCxGiFkh3UY+eprvotGZzkVrddVE5XybsGbQBX153pR/oSvINjTZZy+vWM/m6f
WLpuUQ1gsy989YkHQirNUtWCZQcE3+qAJEn0o9CIp/SHk9X4feCnA0V//i/n58+WFrmRyqg6ao02
LDFrJUqySrXCmTi74kQH9lO4E54dhaK+DHrlhxBK63F5Y302wmB+mT0MdrUuO6i5t9YGSoqOJtpt
zUpHHyDqmlfb0GSIycNVX0yuij5xm4OeGajvHEgKUQFIEGQesUBkFEJ1jhBoFUc5OgYa16iKW1GG
h0hHicaiDgiWnFZQFDSjFUhVwf+LbgNFWaeqij+m9qZF6IBOW91Cz2ZtqquhLLbtqK0LzVrpBnWb
ur82YxMJldLax/G0HprOz7LJH427PtqEFGo77XNSNdBwQjcDCNJy3Sdqu9EhPWbYwVYE0Qsct98F
IDMUiZvVaIROEii5EV9X7WuhF25pD6vU7A613axsHYWnftQ2ajBs6sJ41Af2YuTHMGIPo/EyaOiD
EiALtN4ExxC651Rj6zBv/TK657TYUOBw7I4eQ5btK6XBAId1VeISLPpVjXfRXNMSBsTDEyjlBhMw
O+WK5eFWGPQwEmWf89DTI+4m5uioZf80ksxNy2yFuGWrqM2GtfwmS5ubPIFszcwSpCiI0vPAGYPB
NQBda039wa51oF3QUlILp8sUX6OHyLgLbuofvDOcLOd3XM08FIAd0uh3Ni7GoqNezqCHmrTr3lUs
yy8m4TTKXYnsmJnlm06t/NGMJrdq7ZWVa7eDEm2Lidz1BfjPrSdDE7uuar3CQjWpMZRrUzE3ac12
jFU7bJUHFbU61vfbrh2uWigz9uO46tCIx9N+hfSZcOpsG2T1hoHuK+6h5Dk8xQlHZbBzQz1YCR2v
ab1Zwc1syGAfUiu7K4jYGb3mNLRzkw6aTt2A3y2cYQQehqDaWqKZONMPsWlt2RS7tEGHPjG8FgW5
Mfb0vrhvwE87JCNaA6eVUaNwEdgOoVAP1TXVS4JtwvGsLdFInNkuVBehQ26qowt98iNNXkebOM3w
lIzjlaJAbIhAX6jIAbUxb+OqPAjqjRVxzKNIEM2hlXytfFaBm9yMOAAP4WMd+oYx3jXR6Joi27QW
BJvWdqlSH8iPtV5Oz5A8XrVxiNYkwtD4iiyla6fTnV71EGBsSQTqNzPwm4g8WEG3zTn2VQ9WDCWB
wGE41rULlfHALXH4VBtl1BHgHKQ79qVlOEMd7xvs+45oG2jmeWB893LBMDTNSaJwpUdAS7VsWnUJ
esRb9arsIjeFGKBmVa4ZXNFuX4a2DxGEA+34ChiQyszdZKo8XiVuKz4n7FBnGsxdxq21UlGn4y+R
eGNtsY/gjeqYfQ9r46hlkF/j9Qa0TV5qaB9xA1C0ibQN7+8URG/DBO9dvtPa9qsW2YuwfopaAIgR
r99XJTIRhl0D/wbRNi27AvdLidbx5KMrxgNQKvftEHpFP6w51bZJyZ9JPFVOaNF1I/pPi0EHSo0+
YvNbYLYbyOZC9nSnGMGzWr6VyqFI6WuuVs9pyZ8QPLvEQuWUfQY5WLYHEPOZP5BNcLq8ShzR4GmZ
Qc5U5MXOzDI3rHUkrMneijGtw2uiPdI6WiPp69dW8UML4iv0Bx55z64yim485CE0/HXXXNXmYxzu
cqU+qpXi12Xu653h1dnksTFbBSY02ysE07F5H+XoDibaddcZfjeAMX9MfPBBcdBspkGzwly4uvmc
UcPFcfXart7pRfI9zIZZEdLR1XyT1eKQoku1Nvi2C4a1WQa+USBiLlPXHJE2EauEvoUthoUpLbub
VO+8IvsepGJTmh+qPt0Z9q6EABPhkdtpzNUr7UaIxmM2gF0WUlMW+hFs8zpKiJ+kzG2AlMrGVxDH
XRM2OkHDngNlFqbCXyCLYw34K92Pyh8GcvpB9aqpnebxID6YhN8HzI4dxvINcu8JLvIiNl0DbpLX
3wJi+5kNNqcHlr+O9DZVMlAxwnMJENiSrZLmrgUwmuhcoRjrgudzysuvSb2zIviLABCWPn+uoQca
ddqxnR0hn7bqcDT09hbqUqkFMxV6bvvSQVGBkfw6DRTDSQgSa/pdjYQ+Y+9t22w7FBK0/i7sbU8n
n8aoAg6b7LXaukpN9tAp3HJ1TXlL6GPYg/elhPA9S7yC2U7TKQ4Cr904mfdt/l0HHKB+BV7RByG0
k3Lmz9PTRJkbdbZnaejJFT2kTOm+Had9oyKGnpRwOxV7Bi3UNHwtlNsu2Kg5B1Pk6LXpQWHIZXcQ
H1ISv1PX4JpkRdCBh7PaKra6LZXXIdL3GrqX04h9eVTPFMY64M2uZY+jaa/qLl5T9GyLgd9Qe0pc
xVSw/qZbtOp9WUArhLXHyiwfIha9j6PljNpRxx1UsPGtEOCYGfmOBxTSFc33qcj2doF32ZDEngHe
Pr1A/cSM3LArPYPHV80In9FcN1XutHrl2sqPNCKHYnid9JswzDfxkOwILRzj/1N3ZcuNI0nyV/oD
FmVIJBKJfFwAPCWREm/yBcZDxH3f+Pp1qLpnSqzqkvXDmM3aTPdMlUTiyCMiPdw9XNcAb8mqan/s
VdE0lSDztPURz9AKILatBN2GJYpFgbDt4fVGyjNyp6c0U61YkeY62qDVRblnIVl5bXWUAtmq+00b
XErcgE8pzkH1ysGoR8pGbUND6Z5t+uahANG0zhSkR9wxsh8tfW1iQNkypZmRV/wcutyIA2WMiobJ
pbdUe0/LbNyl/ZhA9emQeBxq2PPaCJkbTKkkZvRgCAEj+AJD+Xym+zlZHJLJH9JSuZazLnG0cNn7
W+5hjWq3NP+SBf75SPfXVYSmKdpwAtAfTlwJoYWX2UhJG9NmmMeWBCD6ZM84Wu5xdB7P8JJRfP2q
7PTgOvzzdR9QhjqXfTdVkPQPJkqDXzXYRBGMMLAgDcfUpukExJUZmf0+BX/Ab/+8LEOFTdc0lbNH
uMiBEysJNBEti1GwICBiRonZNNDTaMbQoApNCoL97y/5YGX38yUfDs1FJje+pDGM47K0vJU3RbbS
mFRd6haYn+Nu1od44sHyXjwXxHRP7Cs9ynCA+vex/fsdcK7JuqzIDGyihzEmpd6xmrrRsrWlcRYC
zn/WAJgH0TPxdr9/2l9NWrQBAuSG62k4In6etMyVfDQpsMOlIqFp8SwV+/irBn8fAPDj4/x4jQdM
RSi6gxppGy1poaxdqXtzNNEattrOJElCJ0snn6rZu5qvFYo51d1qvZ/kaj/TkxJx5+ZI8PzXV9BV
6Ei36sgDyVkZB6I/y8Qe8SAy0rCEyw7XRyKPJynJFjZs0tCYsgNTCEnbKCzKsSy549x+y+Fl5KWV
IUcIBsyd5uDxuyE8B6O+epGrcJkINB4sstqMo7R7YlU06iThIDGsd6FLX6Lgi0PmLwZAh+eDIoMz
hvPRY5XJQ4XCZ04ZLxNomwjBYuJnBg7574f5gdLwMaU+XeZx+Xa5JKI6jJbkGizYOJvk+/CpfAqf
+nk/8keQg9pm+wXj9kM29TDwny76ABSUge9EcLuPsXjhW7sILTGOZyo9dN/bOaClCdLrem2PkfI2
lo16iBG5X2qCfrFjDi8Yk1vG3eiPRH6kR0wkWR8vHdC5ZGRD4VedQX8xhoIMy0eTVZ2wRxK8ylxV
TqQyWgY4vQBxmnTYMNr6K3uuXzzIp8s8oBEec3Me8RjbQissOPQa1P9KIP7VJR5iGAV5FjhFEi1t
dHhMshREkC/YBQ8ypo+ZiKdQUaiFf6L4SbidSik6ysu4BM5EM/E09ONDZx9LeY7GX5HofwHfYF9T
KcRJKgWd4eFpbC/toxJMLCgh9BhWVREOhQBGouZSeU/oFYBY6eKAaX+peR12tIeJjxWtc1VoOtG1
R0uXQg9q1ZYRtQY9YT3TK6uFhz2bdBYO+wN28EV18aHk8f2l/nDBR4cXHYcem5dVhOjcmVD1od1V
DotD3YDdx9yd/H4z+QX+9uPTPRq9eBpzC050zEMF5p/9LtHvNQrLlf6F4udXw6dQDfAT6vBMe9QZ
8VrpFc2to6UOJpR+knsJdJ+lFvomFJSGnz+L/vDxZP8IY37xrjByT+7lZ0D5/zkSTQaDhL+Hoqfv
5/z2x6wIz/Htj+Gfl6uVxOfwr78rfsSpP77rO1DN6Tedc5UMOyvQWNih/gVU4ycAoQVDyVYBif0D
wv4TqJaYAnQbuDHqgIpMUdD5F1AtMfoN51SBLwWZBHsq8tB/AFXTDxuIH1YiU1FiFFzF1sy5kPXH
FoilIzTJLp1grkvPfQaT2kiAAQ8txjjl2VsR56jAB1Jv6OC4SQOaqqsetQJHfuGOFpid1GmmVqYW
pJ4qDpxg4UPcRdDo8rlLs9DywGyw4jyaZr0/t0WPBV41OM1IQDz8IpQMP1HRrJal6A1daaYTCEAk
XjMKe9icoYP7SKpJZcJmIjI8XQ7GlCUwxsFHQi3URpHs1ZAxyKAgegJt1RVWWpyFnklYvRRxkkxq
Uj5leg+zIZmiN0AHq5eBQ2iGMewnWTFH/4JjICXjtOo2klLPpcZ1TdGImarncMl0I99QRVeNafQk
R04+56U2K0q0ss4jbJZZY9smpGehCfXnQo9c56mmM0+uq5Efa2bQQdEeA3JGCkcvPsQ0U1WSV0Xq
whGmVQWEBv1UyfLISDpoE5C04cliy67Tpd+gKSlcDmzLj96SvnBHeeMYDcqKFoZ0zkBsNTKCBkQF
ZQbRGvGSxOV73yEiodp5cvLimWhAHd14EaPRuWVDHIvsqZk0Cjk2ktMZRSwDi3AAE0oS7gCwQ2WK
vhh5IlropFQN3QkgqYTRZSvXjZmkyjmSOYPMM+zN2gmomTvyBYElMkutOUh1PPfg1gMjH2Fv/Mid
VqO2AA4Yd+EodPIXpG9TTgP0k2WZpfdaDOYigAYJVQKjEc1GdaEc657atDBUzTVVgj1aA2mrfa4A
ZcgRSDm4lTTdodXkNLL7SczIQcl0gLyefPXoPvFwanVGalig/6mXwDJveCSXF7MEWIUX0sLIW0CD
PG6BD+qeSakzDqIB9IpH0EzUVAUJMh81vTQqCvkYcDTw0gC+lPUiy6UJyOdPQYKm8jbO+V1ZrFhS
GOiTtdarRSxlAPwBoRTPPUBVEu4B68SWl2u5EYTyKFSkSZ+oVyfFZ+W0A15UBaMiDVtAm9rcbmEH
LTmjOtGmCufoMmH4gOlb1h8aWi50G11dSH+ADKkynSoNRr7qARyJ9AXVvUnHmhfm8LdYZGCxQXoX
Ao01XWomSSEASpWLrGpUQ17VDEzFNAivIQFEH9oLGgIAFtSAFdK0QHvaqi/GFQBVSY7wVqQJ5/HE
99HDXhuJ4hiwwiyZD6SgM33azpiEAgiBbx7eXcINHU3BXRfwo+avs9h5KiooppImRNaus3EXA8sr
JZSHvJ5cSgwrz4sty0N4d/QvQdQ3hmITwMaFB9gfcDu4s2kqID+rYrR9ypUpHNQnwvbnicumhaT2
oF3WcIjyb3HavJLeB/+LpkZbcjQwkUpl8CXCMxZWBgqbQeDpEsR2NPJr/EixTZ3Lz1SoruGVcBPo
4kiC22g2ZwH2uVSHlUgfO54ppQAjRX8vsuY7CeM/EEk3SYT//jbY/m1I/lQB/u8o+RIZp5zfBFrM
iCG+fg+1n6MqPvg9qko4jH/TQFdjXOE47MkaEszv9d/vP0JWxBFdGWWEITv7M67K35BsovkOBMka
iscId/jGPyvA8jfUioccWFZQU8bvQUH8DwKreMjNVMR1gQ55w5lHY4p41OaDDdrlhd3oq5oYXjCP
PcORRk76KqnvrQDIbZQwAWzIrGnRseap1EZSP04gp7UnDnuLPHDRRmproCjpNoBTLbjTtvSS1ECW
526z8NBgM4K0rsCG0NZoyrQp1TPZV+0bDzZe+hxor1394qqzksF0VqBZ5VIkoy6z6nzMO8jRzKCY
OdFYruZ9a9UjQIgbwMZYDZkVsCkn4ASN0V9Ojt4UZSS1iVH52Zi2ppqNugYUTUsLUiwdkzr7hG27
NaqmrbdOqW96PSoDHvAfdVqydSfGvWo0IDMGls/QWAHbqxVdIrpsIU9b6Vvpydn/8xz1tzyIT6yI
/1dLZ2DX//3SQaArQbP9YxbfvHP8x/L6jn9v3nP8dZJ3n5bS8EV/JqjKN1UwHVQBhRABfjKWy/eV
xMk3nCywXNAEXei6ogP6+leC+g2ppwyiBNMAwGkfae2fC0ni39AHEx/DGsLy/Kdcis/qGV0BC05X
KHgZHPxprEys2B9B4yC0uya0g8JSzEiVzRosWMk/wnjAAAPPEAVF4exCJTQKDL+fdT7RaX5kN3y0
5PghNf7p0g9wAqtkSUsUv7BKWpqunU/stjDlBrGjC16InT0DlQKRIUDWSsdtjvpsdtKpNBUuJAE5
mjU60axoAejI2sjJUyDr2UKoKCyTfkgGLIf05kD8rep0HPZi3EnkqZDpTPTBxFamjgoaNDTOveuN
AVA+wWR5wkPlpdTZxP1K/P3IWfn+sMNMAPsWtBn94WErXtgh8trC0sFCl+zQVORqxEHoztwDpxeG
MN4INIwGF9pXx3qhvuSoYUgcj1VBKjrymIcoXY27KvvCm+0REPl+a4C44cjNccodNvQfp0AdoSxH
Y5T0KwV24bSbSGCOF/6txT110kBS1qyeSIYWHHU0sv5hCf2C4/LLqwMZ4yAbIWwQ/UGFF3k+oaqX
FRaDNCd3V36HymGJDoLdmwJtDlWRmwVQF6OfXAiy+BdXf0DOPp5dlVWgn1RREVQehiXygqQHy7aw
gAnB97aG3tebaAXfcHgvRAwdWZJ+7Gkuckl7Ekv5rOr059iBNUNVjiAG/YI6+oG2PqwJoQ4MKk0B
YVx77LTVhNBUyw6micwkFPGQhxn1MnVVqC9LHf6MSnOmUYqCpjxR4alquAxVN2JTzch83eKesPoO
zsu99u5lDToUQBCliWBsp9UNNLneREtgnAljedqyZCmqNDSjolIMJ+q23MWf3K5lZp7NYl85B7kz
k/t2RlC7dPocpzF4GMlsklU22hV3CqizkUDY7e4hrFTlLn8O+lwxtaTojUYlUKwiLqESvuNpeXR7
DUz/GvPH4dWCYdexIAqOoSmH5kCFay1MYosQdVtf6JewyxuD9KQ067pqjb6o556kSEbV9l+QST+4
Wo8vnDGi49CvM7z6h+kXOmlqK35XWL5zth0clcqLlL9QkCH5i5dumbsBgQHn9auzUfiVFFtVf/PW
UvKlePkBshtmIpACgQMNoAoNydfnVVhkPkQ7RMZMRIvGIIXGDNjlFfvaXPZFb1ROHJthV03yypFx
xLGvMgrZUQIrGm2v5N2tzclZCtFbmntzLnnPrj8rNe/aNmIZh9B+xw1qZDmbDuyxnGqvDl02RH5u
KjAztWhFew16j3TBc/01pOUGTEMjFY1j4mBbg/RNLD0nR5RXT0nZrKBz+AJrexCyfQQioSmAcggM
FKFReNiFEpSjSc5oAXdibjSamOZFt1BhTga63wT7x5g03aSuPIAMulnkS6API+LgAJsX499vCg/q
pu+3wpFZUh0oMRoJPcwJdHClFezSC8sT6OIOalzjVJdao8uoDBeEl2D+lNVLIBfHtqxeZciGpUiY
fYTKnIPjep5gn+rTxARV2TQGpkyZwQGZuqvCVWCc82Vjz4dc+GPqQC0HtBd1SmCVD6/ODblG/BBT
p9TyvSO7wCZrsQgVdQTJx1jyNLOk+lqN+KWW9TUKV2j/maz1TJKM3O5yU6C4Xugg3Qja24aicmDE
TocUFphJ7AypJqZ7F3PXKPo3r9e2mo5oVDrdiyggNQQCVcf0CanTJFGcSYmtQncLk2Xpa5YoF7Wo
x32eLrRIP4XKUOSXipOMM6On9ltJ9Y5hJ852Q9ZJGI5kOcJUzWB8XoSTAp3+LBg3A0Lx+MgFuSEP
g9IIEnDbGu5upOjZSeIv6mGYbJ/Bc7xOcFfho6HCgFdHBjC87h/q6Kmb1sAV6hJ9w6KRN6D0fcPQ
9gDsGAdbaBg7A/ENh+XOe9PinWDgIXRRVeGBSGK8ZCA7GE1FJpXWPEN59VrRYEsons/3bvIgPeuQ
cQC18PG+MzTx7CxeeJCppVe5VEKDE+mpU7oTaEwTTw/NGNVCrYaNbZ4veqYdkR3d2rLdlWB5pA7d
u0q5qSdcDSduNEcL9idGUytNcAlUFRu5nZSNfUhJupFSgAC9U7xorm+2yOdKWSCvG6Ic5+FT0fNl
o8mhgRX/Yuv6zO3Re5qkr2j9uC15voff4i315GW08mt5pSZ0F5NFwMH+IbBDNRKVLe0ihKEvyIQg
ftkIG24XrggkZVL6qukgDMT0XXW9wqCZs3UEO5ZdMBI1mXLRLgtfLALbOWazKKCvkdo+O6BODv+k
sXqu8bReFL1Idv1WxdoXS/6jjP85DHzUMKhM0Xj95zCgOj3AIh3wplqVExjJxnD1ckBQRnE3D2VD
ozWOWmu9VW9MKjaZ1u19KeNWXyTzFCwmx0cr62xgHroRcKGimCO5f3adXJ3xdCqA79Iylo04D2uj
D7JjA+0seEUjO7O3UptuygQsLJxkpXLFKs024Cpy9CNxCVXx7EEnpkl8FTRQ4ECxmIwKRufqwPrr
ohJBIZUXtosCeo0+SCWHRjyLqBUl+RsmHoA0yaxitm9UVnyRPH2csT+9NJw/MHF1jXIKfZt42Hfs
yiZyloB9AwT8UHsypl0xQ6LbGCBcjaQKMFuo+id0W3ctd8ixspuaOXMRzxjNJ4oDY3piv6iKs+SN
JSTlxWnjCdbDAe3Jgena1STu6yfugrrZ8WtdNXcVtoOG7oXLUPAvisU/B6CPpwGWIDjBNqoNpckf
lj2VaIujXg7cADhcBC6Pn3RmKTxsOv6YeOOOjJk/122UguA0bnvUhKkj8PPG+n34+Wk3x32A1g4e
HJxcgKM83IestWlia3IJuZAwI/glixYJ2qBjr6+g1Zn+wJirlS8G85FfozBcdqiIKEPFcBDTfn78
2PeaUtXV0qrK9FVm9aLB09X6SfXZqNGFlWf2LJO0sQYgpcmPCOVWGKUb9MO7RdIhjr/yznhkDHzc
kPjIyjUkBTg5f74hZvsZARmitIT/LMsvDdBnJerGLsutpp0rujcnjgZqRW5BMWnxEo7+Q2yVnsPi
q+6SP2eJDBpOSB7wH50TVJM+34sv5w0U1RiTzAH3h6gjAQMiKZowUo8CP5s3aYuWCuk8ZSEKLaGh
Sto6z5znLHXWInJGUbyppPSLTUsb1tfD+kPE1wjHhNUpfxyywC76HAy3ygqLDDVdKLsMwXMCVOst
KkLFoDoLDReOaYLCV0nX750gFmsihuipQr9o688yVUdaIsaCoobalvNIhgOb7OhWSQCpSXUNZJ+4
tzDCN0EM2GbwD6tJSEHT1xclaiestxzJtVott9zWnmYBu2id/O70iolCUAZzbNuKXnoptfQgfgIf
cDqg0LHSWWqrv0NIsoWvNEzHko7CIXAkC6ir3ChFYyrCXoiaUtAW2Z0pKEtRB9UY8RIPXEKmOwI/
mYED2BiF272KMIOcjyVoACnNwlL5ijXw87vWCVUGqBGrE4XBh1VJI4qspCSVpXuqGaXRDE4RlszB
OzeCeqbQdoqxnsAoz4t0uKvxUU4aSwrUtwbQNsoas99vEg9WQchRNfg7qdh9BUZeQYn/84xkXhnz
Li16C7HKxGsaK8hC2tDsdfTEakcyNlcPko3oOfanId/A9QpVvhDWzKeiPJDsiTq3L+5oeAOfZuPH
HeEgRTjkxWCifL4j6oZdq5G8t1q+de0tKhWinqge9MxTPXlx88AIHDDRR/mb7DzH8eqLy/+8RkGF
1VAhk4Fmgcr00SDth/2bhHGIya/3loyTIppuz1pFjAlO2WBJp6bqyI1hB9ohaOVXre22dgb3tAqt
mPp2FdXtm1dg+drOqHXcMTaj+VLJuglaakw92Zl0sneMGcQR0LY3HipeKtomxL5pe6Brk3rs1p7p
FpVZxJ3lB/Dz06ASKMSz3cA6yVMsNwOFv86XZci3WVTNUHN562pnAs7OG/ye7mEFvjSTvGlWLpGx
+al2k+1iqZW4tN9NnLidBLFzyGSy9ZA8xjQ+wVz7qW8ODnFXtLVRiI1NRYcdKmTwTBlpvJ80kvwS
+JWZZZu24Zus4beyTM9pFeJMa/RytsxtAsqtj/JSME5iuMnrogLxOsvwNyiYNpX91gTBOsOejxb1
zVPrtbqhFCgHSvJeAkU6a7K5C8fv3vZguJDpIyUhYEeUUCyUGvQaCtk1DkQuESqypZ/a0GuCXE0l
pLxagoUuRfC1rKtlDxUVKapVErYT1p5RSJrnBLYBryockhSHfRnsfsJ9hslCVXQL4uC0AXH5PFm1
PEA6RVzZYhQl9VyGXR/QHFSAIZZV0CcvT6sXx8k6a8hvR2Xs3XXsQI3eztLczWBUWCeWXGrQfnHI
qnBowUkGbgcZMRtRrdukxhFZsrqk2JEMryp1ImNj17o34ElLXeJzF6oZzvOLX00pKTZVB5v2nuz1
wKlMv1LWQUBe9bh8LfEurVpH1bFS4HssvIUfD+6fYM8DhlkkokW2BRsKA7KNGkREMc9UCuddfaY7
kL6FtoA2AiNFbSipvdCzSNceALZaOTr0UIKTVAist4KmgilgF1aFSeIAMgRQe2Vv2kBa6zlijqaX
015SJpCGBY72hCbfhaGTaJHVwIhLcYPYA0lJ2S66vL7wkGNrfsm1ZBPIPfQ/ZT1KGSxrhR2cPKWY
SfW0isDKD4PnIO5MKVFwBAUG3EnBJJc62O7AZq8MagsNjhwLQQttyvSVTX0Px9TshVDpvRKzIRFx
G8BS1LV627VI8hLWa0ngEOlocxG0KyXgVibCqaNB6iUh3e4QKLjjjPpanWZ1++RpGsQF4pVXAUW7
bRyPPAULNUAvX07xJ81VT0wX08DhACWLbod9b1QlwvJIO6lrPHIlbxdgkoCLzo/ovQMpV+yhRNu9
dLyRUNmXnrUqfWbUmXYwEaGW1McLGiSWBs2HUqZTDzohz7ePFP6BQOr4u6+jAW0sNjmHRzmopr5e
HVxPPXzslv+B6ujkPRnEosVjffS/sfKpoHjx9+UbFK7jokziP/63BJLwqVwzfPCvyqfGv8HWG/oL
Aanqd9rQvyqfKHAy+lG8ZIIOVKM/6zWEf0OxE7EYdRlF0wAZ/avuSdi3D3BRICIpCkGc/gdVT/oQ
Y0EjwkELdVQAhAxwvfwQ9RMStpKbtgS6iw49j+aS1vdUBR1cpvDauHhKFADNhSovcNwlMqhaciA2
bKiSvidSlPtxNOJJFFdVNvofIqQUcCQhG1pxzRllHNIh5A6Na49hUgf2aAu01x83RZtjPXCXJpaC
7Rv2jUFXQ5BHae3NRN6UbAptn4AQI+Yes6QckNlY4iLPJ0DAKorCgc5RjK3bLrQKtSeQ7MBBh400
4HfBOCY1/B5QbJa9r3KCh10er4uhpqHhVD8kJWB9ft7lWaG4TqJ5dNMEjRihKxUUgfZIRMRDRPae
7SxHVlm3z3Gu4ValOY6Yc3TmIqDzgHDhVRLKx6jN/jDrflHxGCpqP+RJ328KjaRwxiODDcUAP/2Q
p8Q6lxyHunRD5XepzQz4g8KMCBQZyGdTuKz//mqPzMyfLveQlqHtXp54ES6XjfoDG5OpNAIFa+h0
7c61Rf/FKfohTf7pasOI/PhwbeWHSevQTeBDQYZdssAT5r2YEu0rC4PHFPinaz2MbgwGCfWHa/E1
TEOUEZkODdgrDOlCngWzcDE0WgnGkpU99evfv9Wf1yEm1g9j+FA1LR0ZykxQnjYBNFWtixNxmG9+
f4lfzt0fLvGw1N2KpRwwuLLpI/DW2gSHGhC8ovargwS2pt9Ox4dMiHe5qkUu5kc9HvpjeKDEkwXa
7Y7zibCi7+WW/0Dc+S3D4L8x+Ay0/r8PPqabe0UZnYtfEW+Gj34PP2C2fuNEgfKGgnQswzPhL7bA
8BNGEZY4KP6AKHX85C+2AJG/qeTDXwFICbAbzMa/yAL4EcMnNKGjogjHApCD/kH8QRwcUJd/714g
9TAkzghkKBUjQlL1Yebng5sVQ14/FYrZX4ER2KfuLT44e3oj6/Jqn4u7enLO6ik8oHfpG1I25aV9
5bf+VWwQOnp0NCWv+BhZervqHt35mq1Zafa34belTX31dmxNYFKcAHg1u1Ww7w/OmePL6oN0FDe+
kd/41cWv87Vzlt/aJTyjk0u0C/YpPL7W8aF9Zdd+za/NW50Y5aF7Sw+uYohNe/D2zh7A9UlZVfcm
NJAUttcKCexxeILuzq/VWTk7i9LCT/hB20mH8Kbd1V1xxmG2XBdv3jnQn7SdsivX3Rl5f3qsVu2t
3dQbZ/hDvcExAv86tPhHu4PpVl/EXtnK7+Ua0o9uyy7FO9uzEv8XWA1gentXnMi+XIdX/YzeDf2m
OA2Wv+/N1j1Ec/bEJTN7a96rU73szuBQtuvmVJ30s7IrVjU0svd6U6zUXXhkz/4xPvabbiFd5G29
CanVbiLU7TduMK5W8ku9kXfNOb25R9yqttPfezSlOSDIF2cBq/IVRYacGPENBYh+U69xrW7RbfFo
r+Wth8j8yXnyj/lR3em7+rVeh+Akrt0rvj412HNykvbFW7lWtvnRvyqBIQ5ISvS7e9S0MX4jvcFP
tDv7N10aafe+nhTRPDwqoH+nt37jHz0HF5V3cMcEJbbFQ9TLHA+DyxwzmFZstMAC/inhReGxN80Z
xerL8IYBa9Wbdq1gRPDBcol3p98xtmf3hptdcwip3qo7PwQ7kAqUHe5qRzAh7/JdvyOuR3u2xlvE
vLFzo6yNCjdEakM+x/ATqQ2G+vkB1AN8BE+Dt4MXBWFyjjdSvbmehc+p94GceYEFRbtWcWXpMPxC
OQrOqBVjOuK8dxOH6IwW01pokKtYZyjwbNi6v+oTfxPewltyDs4aPpiv1cDSd3hYoDTxCIVy8M3O
6o5d4P6sLNUNSiyYCW/yTj434K/esjOqTWJTAujZQXHdvvZX+w6IByPpR2O8mmj4LTwf+ladK7g0
erLZbvAM5IoiD7/6V3rBsRvfjqMZLUFkNcQlOSUnugenIDgx24IhxgoytuAE8jfe7onv5W2+RjaI
2csv0QklsWbL90Iy4dUHbdOW7eFdF4zwV5gPzUrZVpid7Ybv6UU/tpsiNztIejEfslW/UbawmF6V
G9xwfOsW7FmGhyCWBl4hhvm1OPlXnP4x5WEKsq9W1dsw+WAmiINsdCpOLkazvOFgrYdGURj4WvzG
1j8UZjKv3rHY9hV8Smqj3PADu7aH4o5iMpzB35QdSM09ZOW3boeVjp0gO3tnjG91BtruYkSkK/pv
3JS7OIgDBOF4XcNMUwz5rtx7Z4KDdoVlsqTXYIf/U+dWfQ0u2inY5QqMNsDUg1uEgQmGvWxT3L0z
Kl7NarjNc58M06peujD3li7VVlzaC3aFtw7XRG0IV/KP9c2GCP3eDnMPpQ/3iBckn4k7wmolB8xT
zFYMq1+O5LukjtLaEGvMAnw1JgRuFEsYzzRc/kwO/RI5rvQELwu4NMBYt71K8B5dY8rs0J/uVbrR
Y39VVsEZXy4dsJKwDeL+uzN6q+3ym7ZTd50w9V14jVOjWaQ3DM1SYH2khrpzb/ZEn9t3+GLiohqy
eIwIWNvFuYCf/h3fgwWC0cTKj3oDGwGeDy9MveMhAONLV8AL/OChhds5OWsn/D7mL0a036h3nAnk
nX6Pb/adAsoevoUfxBWPWGUmXhUs6JJ+hBeeK5ZfzKIzuyow/sFLQLyQ7wSnfEj4dy1AEYwkOfAN
wgfUBnv4zwc7cXWPGM1Vc1FXcDB9Y+v8gPWsrMpDjO0CQ7bjz+3V2SV3tqZrZwe1AvGN/uqj1ruS
NsoL20ib/oq/Q8UtfXd2yopey417DM7RpTwke+WFXKMzuTL8rbYrX/EE3g76juZSb/mRvAZ779zX
2IoRZ9SR9JTtESv5FVMzOWMOYTg41BlXvC45N+QhlvUHjlPaxd6mB4Fpld0RsjZwVbyqK/nN2esn
dmzw6X17wOSul9Ke7fN1gyjrT+wRbgbObLdh6lwRnBGA182dXXGtXXyUrhglvDpl1/mWs+0vcPOh
e3ZRNw7gt40HGvimusuLfi0v+LFLLDzEVeC12r6R7+1j9h6DybPHL4PJ5hj2MWqN6B1/dLbYWMgC
ewi91IY6Sy/aMXine/3oveu+oR+Td7goJu8g7HNU+U/ONr8Q9DZ6by8htHLx4LHIZKPd4/v1I4oc
2nFwXbw07xxtpi7da/DeI6YGJ9D+63X+iigQHtMjxwKFkt+Izu26OIWXbqks/d2w32CnTsdsCtIh
2LL9AfHrKNYcO4m9g5aiXuq79lac6lcbMgh8h4IFmq+Ldzezirfk1O4rRB52wfbyXr7WS3kbBdh1
6luFKF6v1TOsVGTUTtwJLl5v4ltxxurDqsOyBVg6/C8KRPizfYp2vT7DqtU6rGIsYawahIxDf/Qg
lCIXZZgD2rBjqVv0HTpiK1B3wQn7bvVeY0Pzj/6h21VnHalIu7bv1bnClukesZ+peGjcPJwNhjhe
D1tFdUZQKVbKTtpnJ2w2iwjNIOFgcLY3yXu6VjI8RL4uATqCgWdgEx8GsqksjhfdvGNTjk4Yi+AU
ndgQ67xTf8Hg6kf8CwOD/RgfaE7NFj9DJB9mT4GMAO8GMwffiezn/6i7ri1XkWT7K/MDzMKbxyuQ
KSuDcHphgQwgjPDu6+/OOn2nqzg1xfT0013HdZdMkpkRkTvD7EASF7pfwnATwYqT9w44CG7m6FRc
mWKJD4BWB3/jHX2x/DgFyC4EIJQ6uybgAXOsYXmafeawylJo1VYHNOp12sguMFJIcIGrE+BEwAFW
4VfDay1ErbiidHswwnOCK3a8AGjpDIAtB4d8vcMh5ZP1NOAaYHAY4bw41VveIP+VIPMaLw8eRPxW
78QrA4xH31AiYmMlUTM+mMnljrOENiIPRooDamlOvd7gOKPsD7jTHkWv3kEOQugJ+ZBdHe5ncoLy
ZnvENlwZn7RZkAAQASJ6vd7hQLhiCasCChAbyBVqfci1+OpeoECJC82koCQGNKzbJZZ7hMdeMe5e
brk6ajFO9La+lT4iUNfKpgzlBEoOCN+RMekt0rdoW3wdb+jaVzwW9K6/dbu72dntrb41Z9yZmX3o
0efxfdj2h/E2Hio82Qnfil+Jh5IR7lCdUQJyxNMcx0NpDrval3XmIJ9Dkz7zR2XfLmm9HxahN5wp
g7Z5fbBpvTRfhf14gAM6tES9O9P2eKBO7Jk/I6XYPYYe99bZ3F50guvdO8jHxAT3ho4gI9COdGJ1
dpeDDN66m8LhbnGnuy9fxNdw1DCXvVir7qXHNnP7bhe8DjZ3wNLgd27h03jh9e7TjnRgULZ0hXkZ
fcHCQj4ph8SXDDmH6Rp9iGds8A5/RBgEHy1112F34w0rx7yLTlos4ivCvoOdYcadPewam3lPzNob
vUFXzNQJ1OapuIjn3AucB7KoASdN0XZf7qCof69Piil4uaeYrg3alvoQXGInBo47Vrv8ECGrF/9f
HRWTM5pt5hVH2RaM5jgA2Z9dcBgt8LYTdV+Ifliq1bHeN3qH9jlAWrkmeMGlxHdjfSKc8EZmVjY6
8dicx7yNhujnYDvxqh0hJFu4PrIWWKvQUd0+GuCWpNXak23uJt3g2OZt98w+QEiyEM81bBQo1jzu
Jp9HlXlub/wZCct3szZZHSb0zL2NB4SXO1W8DDt2x6Ww8TnQIdKy+IXIa7DqwYndiQ6OBmg/BJax
4tPYrjh5BQYUrDIoVWD0lwUkhMayiQ6k0UQi0rCTddaW9f4w2K3XepEjWj36Y3iVXXtIQOPM+EJK
IZAeekIEeDRl3N9O41u97+SFaI3X3mt28bk99d3yocOVmQPQOoiBINCH72mOFEi+ndLDFnFmdxkN
AWCrWhRHOOy5a33tdLBG7ntPxNa/lQcEpVNhyQDHAMff3HN5qK/hqdolJvfG7PMb9lM+i2STei/A
mfTGvDW7EZKB9+fmAwJvVkgRtpPb3UuP2CXWpqCStA1mmcyjbfm1skXsGH+GQt497APZdsw8cDKP
vAGqQBQzyZaijVfDcYnEgvEm24mH3ULpJiHzujUw8GZwkQCk0N+HiA4+g7954P8U3XcXUGQEeO5g
BUs1RCJZG99OLal0iffhUXi7s/F1EG3c/jxRf5QaBIC3yxvego+35sdT6+y2vDF7TAvfzdqMyZjS
LTN7/AxKao973s6wnGZjY7wHCmKsuze+h17yTq/wKKGH5WrQQww2hD5zUH19fMcUvbuJsFrm9Qfa
rjAp3ETZBSTf7nbUCV/IHfBg2wLPzL1hyc6oTsQQ43viyTqeH0aJiH5yG7bI8yfJbHpcaiJyVSGn
vI1OELIN3nKbuYl2cOFt1o7QL/SC6GeBl851qj2AuWEPz+Wtv4k6kuC0+EnAyasXUIpxj2fCm+Uz
dcJoeFLlVA+qq2PKen3DK6icTMzGYW3aSUz+KOqU2TkwaY5y6hz23J1FXTnlH++EQvE6WWHxFatg
jnv2mHt3iwzb2LCbzJ4y2AtWxBrsALMyIV1HbPUxx4wzTzoVNtatvuWmtG6XisHcYHZ1GoBj28KQ
c28DdhKbyBxYmKnwFuJ1+cjsFa9xOjvzGTIZFkueebnZH7D1tI79FXXU0MLekm2wKuikCAWkIYIi
kU+9hVUZzv2NxrEgX9gzstvG9z5Xc/9hh3jEwSGGkT9GuAliWAAyXKgCLbWRfI5GWnePMlA8uL97
kBzUEhNpom16y5/vvqvLR5hdvQdrJcQNC4Lby57ZkzOIMmR93Lf46vGWWeM7CN2cCpYXBueAvMkM
t0n3KABV4qBwYLZZVDd2xH7DzEuH4Aqi0U7NADNRuGWxzt0PfaTfkdwEv9/0L8MOb8UZwe6wWk7w
mnvuJb7C2I9g1bkCqQQGTldw/LzWqD9OcVBJKLpy3JwMOL5nPr7WRxoBthiKXVo4CN/xDnorvn68
AUepI18Uw73weAIRE8WrDzswWB2cedH1boYWewHbl/hK70pcAYtr7UNlcFxhH7fk+Ka3GVRIPlIm
MTjucYDUY8Kifn9oiY/EcANa987sm3Nu4Sgb9/QOx96F3spHQGgcqMPWrVWEMthji90bHEDvV8Br
K/Hx+DhSXuVL7QNMY3rcW+7jAUtLdGDHsS4trvG5Bc+Ay2s4BAlGh10v21WEYgPrCTgqkpc18R64
Dt7uEiDYBJsDaBJyAhCHLSKoLBkSY2RAKgWawB5LFFujOldQZQczwamME8XKsY4Ztii6Nu1Ti7sE
D0gqX5gDKpnF195i9ccVxgA7a0QnxWB3eBCczHp0zW60417wv1hhB9bkPGwfnBqd+CM+mluBwWDG
gK2QIfIE1wFyk0E9Sp+H/qSogiBoFFOmF3KHuNcCD15aeELU8o6jxvgtudDgLY+CQLIBRRAnPEu8
xHUFR50TnYAqcdF5nFqfsxKkmZyAMYEnFAjRqcSZ1Gi1DjcbHHvw5oCPDTh4T3tAs/URzgB4MzzS
ZdcFo5nBWYCiEBb8qglIia+YRHqtLe6AGcoOSx6z9XGicgdsFbaGhuy2vnzsITiuA9EmP3OoA1IT
Qb0ak78ZKDLSqUbrYy8ZWhUO2MnegojgDwbI/OAKFG9wB0zcEl+7HQvzFBjihdvXN2ABWAs4E3At
t5FvjCPsXJoViGehyxcGx3HpoXAMYOYSXWDLIEHgK7wIt+oY2YEj3RgT7SRju9Pzg2JWx8AJaVUy
y33qIH0cb+dM+kgfgX2OaFSVA1K5BCOVqEI7SGbHq3dwvzmD3hxHABn6WB8QKRuQPHbCh8z+vTuW
p9EI7O74gGtCH0/5qT3Q2L/tw6lP5Ym5xrbol/v+yvQLzij0HA6rZX2NgJGCs7jBUlzB4yFatcFa
2TW70hbrU5cAMmqxFpgMkEuU406CiwMp01rUVwASY3SQOk+u8YOVX6Vj58MjwD80fKqx4A3orH4r
G+MOXgHef/jZtXXu1xjeAHiZfQpdHo4p8UDQh/u1wKAkXReNdIkLob4CnSUnwDT8A8GsQSGwYH39
oZcnEdhtxEuu5fp4JMzu6lq8X22RJ9tfkVrFXXujPHFX5k3GhRu8eHhS/FcTq4UOsASKhPrg+ty1
O3Y6KAkKhzNGY+xV1+q2rl2emm1yQo1pC/wTONUFbQD0ajd66YVCHbzDmcytwf2hBQ4CYtNLYBr5
DIk/4pAECBDtihj83GtNDufKESxEZKlyYEygqRH91r0OyM4FR6cHEOPa0QU/78VFQ/DvLnCCS7sH
yzBjpA6KXgExBpwuOJhzpAcdql2754xKp49SsogvwG+RE5yzk2u1pnhOnW5b46HLQ3ButhRB7oLJ
+8h3AuPOhbaBOngfLck5o/fqawIlwTHzAbZKQEze6ixgY9oagcCbXXMETIjQ3RknFZAV0EVu4jwC
MtZzDzcWDIMeeF55IFiC/AK3La5Uoi68VeduJx9zq4ROQqfuGmqFT/SZtd0PCAIqz3LPGK3Bee2h
g0w3dw2cmICALP4EFyHVao/xFOBvfH1kY/2ug47JYGmggnBFn0pgRXKA40bm11ZppScex4V7/IBC
vZl5rh5fBVyicPQ7koEOPN05ueGON4BwcNFiz4BsMhNIBvPikxX2gkBq3CFqr9gl4wIzB6C1WxPb
BmT6AZ9AhZrJmnvGnqDkCHAUpXjn0sMiKuvmVbkFF0BkGqjK6dBN0sZxDTTaYemOpQeAjQcPvTsw
x8cWYSgYE+EGWmcZSNBxt2TvehPfx6u91+4xQHRpb5hx6Skh2uHCRlQ7UPjGNv/a6GW37N+rY4zN
xi1Jl0zGwDWn0UG+CS2lLWxzbaBFIZgdy+vggwNl8MNuKTg3zuGQJ+VD3RSHYlbUhXFQSQJ9LayK
uOqcB3zgSP/x6ffIRyjJZg8RYkUi/IGt06SLbh/7hQV/IQJOrZ1ao15YrsGf+i1CW1vuGJmZzQRa
fx7P1JlFWIY7wx+HqBV8dIwWm6mHP/AfhBBtxA4WslHAscicUUNQ3bhzgZdKICdEJuAjxgbh0ksi
ZyAdQviiOrjmw4NnEH7k0S68EqAVOVtedyNv9eCYpojPVsIdjlo+vMrrWQ1hFhb+vNGGCwpYF15d
eIbxW4BvGhcc/LbxYQaZu8JSvtEQO2w+XNdwTpPXCg8/Ci814urEg0uCFPAP4r/oW0ce0X7AtVlg
UjFxKcPxiuq5U2DGPt7Snt1Tg9nBXbuJ4TJl3zIbrsk9epcwdgmltgcUpiMg54w7+Lt8mMN+V9xk
g+zD6IiAjah0dCp/1MFC0W+VI1lr+sDhnqZX1rgVT5ktOZ0/7twTs+PTBX+A+x2Xy4NrSBd8HvHF
Fk8Itxfk3nZP9LtyfCDUSNzikDBv3NF7+h1OXbvbDwfBgT0Hve6ecpIraiCVjyMA/kVH0JsbccBK
GvqnsvvHbURU8WP/2INopLfQoPcomqb3HCYpnQNz1IcDeyB/lzami5WWT9yxwXcdkaJH72tbPImn
4sbpWDkTZ8bo4Oyg93jgYZ+aH05/q/JLfnG/ppZ7auEOtIXjxxTBh4Pp0AhoBWa3rw+tQR3h0B53
/KHwy3Nqsm/sod8NoPxeoFLvIl0wPH1QjpElwMuPZXn4xaBiAWoWQkcdoS24Ild6s2OuEdx41/4a
xgvpEvgpUZTkKjmKA1LA2EIUwy+veFx8RGqIrn2oVoUDxh8QzbQ6eACgcB/Xbdq/n3DeMB6OM7z/
fm18BZoFJ6GFb8XvO7+IZdQdQWEbQs8fXqnLw0qthyWeUiswU6uwMBaUs7K4Y3lm9OT68IN6gaju
kQKd/6k/Y2qczlzYN7jt4eb36ghOfeL5D0zhQr93e/YA1YLHFfJGXPiPG/HC6i2iw9ghQM9SRdDD
Yk9gINaJ3KWQNvkNALuEFjY3RkdM4Ii5uXAeWQ2CMdiD0MDZjnA3MQDsAc+XXyvEDyByhgQLMOxR
u46CTCkH6Tsic/2WOva7wEK828Yu4cZxuGOfD5h5iiPnXXFSSzpyeKj63G8FhzrKp/qM95FRxi0D
E8OCXUIbt/ThQy1G8CRaiiMcifUhofH8jEXQSwif6+Fz4XV0EAmAJjL4MSbf26yfXEOIUuvUTmyh
WgirBa/4rvGBM3zOgWxgbymibPdlDzAC8X1Y4RWzFY7SEcsUky1ifWxICYGgjsKHYtLvj5trpH5o
BH5ncc4LLKirZkSAXETkYBnpA2ND36izeJMAxwDerBDaOhyIVNVXHu79a3+m97CspmxweuO7foBa
bye/ikT8IK+0LxyJ/EFE4kV4AiIbLCweZio5jQ+lbaKV4PS8dj/hDNDrA8BhfgUyI0/rDhrlINJP
L8B28/Fh5QiJbAEkkKBr1EYKp+uu8IG28Bv+JQwjvQKJ4dn8ZgvH3ZVBp74T3gYZyK/4Fw+Q7HP1
j3MG5Dj0sT8hv4n3RSuy2xPAJNYKnEOKk52EXgUehU4F53KPtluUJluFUwDFAp5hOMasD/VB9EeT
gkMItwanvZb7YieHWnbIveiSOv27ZLZ7wZAtxsDUmm3/zngc3HImi2e/BnYEcG/Ab3XiLZpSB73D
tz8uzQ5Y5yr7ALxXgCDMDnDCL0+D1V4LnfVlwMh8D8ZSTApomiBgPHZ5JT62eNlfobzA5HqPu56M
yhUyfRq4s9kWjmvJPlhKIiBGvEtEKKs8uegQvu0NLAd8lzoSabttVasg/RFUwQOU3ImIVRL0w1vA
mCfGvHviWbhxJpjq4QtttmiJBOt7kIEI3+MGqwlIr3fb/FTp9R74IwJEBE7Ypw3eXB+is2y1BhDy
CJed7AMnY194HzOFUUquLHlEw/WxnZAQvNTjqVpAr3pfYd9Fi1wIsCZAYrHmWqiewUziMxZv218f
qLCDUcJP6gOchEd8/H5tr7yFsUev3Iu+7GPNxmvYauUpsF2/w+wJ0GCxuJJZOEDnPG7BiMXhfYOP
tcO/4Sm74nkeFny5AZFi/IwdNZh5aMzp4Xd+jb1v99EZZL6EtwU6hHYNQCdErE/4KIOGz5LmniRi
8jO1eSF3D9qPLDDmO/Q7ThvAkABeYXL8KRfECDOcY+SIRGMSKDOJ9cpGv6MPFSzsgFMvgt/YVJCK
gNNpdPCcjPOR4PSXcr3+p6nq0ksIXcqiKa9e84/H7R96DXNc1dH5/0VSMY9Eq3+f17XzknQovW9y
isnn/pVTTLKwkDgMekCwSNMicvD+L6dYBE0hanh4FFGCAYZFJtgfWV3iPxmWZjga70aJMiuR+rg/
srp4ZCjjFyn15hiwVnDMX0nqYvBgn1K6SL4YjRoI8BOitxVJLJvkUYLVLx6CkAr2D9DCDQtejZex
AUY/3NzeK61fJssSNPnrT8u0+5Ux9pn95be81Omok0SyqmLlQKiUYB+WGjqHrkCIuBH2yv4/a0E/
LW/8bZKTdEqxcCuJTzEcqsgovX3ll+m6WqFYJVi3qrxA2fuG89BybjkzTezSj4s7Sa/kaTRiiZFf
uccs3zuzRJuEF1crNPEcXADQ/V+dUf/eoMKkdDLls15oxjTcd+rIqR/JTcgjQ+WtWoOKCjEMZBuL
i3I9u6nT9N/JpgoTNu+wRup6WAfhvkKzkuWwrNCGeYlF5vV2GW4qHewNsEXFIln/tdbcvwmxQNJc
PyUe39sKBJl9hE7Oz9EmehafJGQ40y9/dz+FSfa2EEmoQ0kwjvjGrEKVWTzWoDXUXC1aC2vqebxS
aHQ7s53TFN3pqhIF/jQ3SWko1LTJAbazW4JPYB1DZiV0Uy9V+mV2D4lE/pnh+ftKEon+NJriwoTJ
GcwB9vAJ+Y2vj2cWGcidiqA5eJKl5/LA4JSF2+mKA1bQZiY7Y42mPCAoGI+aSIEI9atwl+3S5WMd
qY0W7cINmrqrgZbMLe+EAmtqGoSJJRpk5LNyCUaU8nI3PloZjZNkg6lFrW1PpUitlJhSs1LR5Crt
1UCsZ6Y8pzQT08SWYOJAMnm4V+Rekypm0dFX9NLRmmCO6YnM5KetnRijiE4SPifCWy0RI0Vz32bR
bqq3aB0/AZiq2T49oiWuFmigmPl5W2d2dUqzk8Y9Wj/lebhHLxO1QZEVGGj+3ggT0yNWLtO6PUYI
ODh5JRq8GTNH1owpJ6f4Z8Uo79VYlxJMOTe2y2E4JrmEkrU5QzYlxJqKozixMAn4k/ISvU72yVP9
hDzcYEmaXDBqu0/1ZvPzohHR+kEgplXNfVVXbp7EIbD1oIWZ+9QVxcpl4DfL8tXAJaqbuzNDzpgX
cWJe4geVDaH0CPf3+kl4vJLOTjLyCcG+9lYVrw8JXcWypJ4RP2ZG8sUJxol5EKq6FU7EflU+5a+g
DdeYTagBcqyZNb0K1FijnujNrDGdG5e8/smY5l0eNyidIhqXPQ1LTivWROPA6bsoXpVndhFrndVt
ZoWICMlPGzuxKWIbhGx+h6YLiOazMch4aWnDCdmCVwxaOrlDithAgDBepNIak8J/2vk/i9acxk9s
TSW4lSwyWHEwwy/5qAJ73xxTD1G4HyYpTWBO3tUPqm/IUcFQNtLIcPyvw0q8a4mCjDqXYUy3Ed6b
rFwKRc8slXsuIwjdvf080RkdkiaGpy+kNhbQkWk/NGh0R3UrKacNqUnfKuaOLlUdsuAe2Ywln1lc
aWIjhILUCWOP0ZwO1P4Vipaz1c+zmsPnEnmET5LLpFUuiwUkt9ZaLd9lq3bTPssLDgElcPv8zTNY
mliFe9az0viAvHaqtGDVUI320lJa39E9QFzOzGzmvJcmtuDOSy3XpR8AB/m16/alWT2OyCMGtpiF
bnNjTfRf6dKsBqM7rN1TtGne+kWsxk/hJlej1ZytmTE10kTlay5K+PSOG87IIvx7Fym1Yi/3kQd9
Ur4vOXtmFeeUb6LfacPfR3RNIqC018odt1GWcGcs6vfkOVPn1nEGIk2ZTsIGhFFcA2FkmRMd37XS
NQtEPSXXnJnVzCLKE2VOXRFEm+TmFAjo7dMjlczlpaXricMa7HVqwQ6rigYhWUMjvJLSqVdm6I5W
xoilsOmQqo8RfFsB3S4yOmO0mYeb0XqZbMknley5vGgKAo07lVlVCJkjCw6H2Jn02YATkc01SNWc
Zs6cJPLE1EghlRTs+LHPrYa0iIVQrsMVyB2f6gONBgWb1Pp5mnOznBgeOszFRC6BScY8e+ly9EtB
Be/h5zGmbb0+QBbL4h8OXXwZkC19Xcqil+4xSHOIdUN8cLSqcE9cEJJKr2JEhyVUFszejuGW+f28
AsOuxICyRxRBBvx1ULTtrMuYD8XdKLVULm/JE+B/F4qCEtIdLY+ihMgn06AR2U5BR6FQWjD8A+1X
o0RG/0U0dIm6dczGcGi7LRNwq4imx3LJiW0iaFHblJT2yLlW0bIwFXDblwi57oi2wMKaZtBtYJMM
Q4u2B4pcI0+XAyOblvSi1KtlRTOEbEsQqWd08+34xxF0goq8ku4si8hvgysKYqroxznWIPr42Iu/
5Cf8tyzRX7ik/9/VhBJE8u99h+/X7h+ql1wvjyzyvvARkM/9URAqsf+kCQmhzCsMHIEKZOaX65AR
ZPBHgx6aAwM6uNUJo/C/CkLlf9LoUi+gARC61pDK93/5DimW/ScYDMAYRQssSphJielfqAj9iuZF
kO0Q4lSW5sCXiWLlqadJ6F2FH+6NZEhxhwR/RsnUbGTBgHR34fUZU1MKknhdMzL4IBn3+mm5dr+Q
3hcf4lfbJIJ8Hq1dfpW1ou4Vy/RVoUDFmY9sOg6GbLR2cCCOGLgRXzplUb3SGr2Z8/58NU2/jzex
GmiUkZWPUBmMpGI3aYsQeVQi8evnWX096/4YhEe3dLJ/ItzGXyfF0QM/SNl9MAZ0LUZSL6olCuqh
VnI5Z9rJN/2Jn38faTIdNPlEdzQ2GAxyhBPTzvlo36Het+xT8CSeuWWGNo7BSkDXh5nL+swcp9xu
UkBnAtW4gxFXzCnohucoYkB6ifAoEyZzFL/kWPxhmvzkTOdaTqLoCIORYxMyskKRExL40L+xXEuO
dPl5+76VkT+3jydP8+mQTkY0L015jCZQq6GgV8V9DsB+tHP7bUICVE4WSAfO6YRYKVPQ4atApWTK
wrgAl/RDza2Evn9RBj7fdH3ld6z43HHCW1/LpnzHBbtEuUHJ5S9RE6daWyH4hs5JKH1U4leqoryH
dN+BlpcDlWv1WsgDkjy7XqXbPkBtDYfbaiOiES0avCzyHhSmYc7GGjcgyCqL6fUxdvyL5CqbIEMt
ANs0a7lpk3UsKenMZWtycP8hs6LEw3jRJPIxgSOPmgcXEUX1xv21tzN02FGZjawJSxa0m8dAzVHq
9vN+kpvHdLFFRkCnOELQzEx76xVdKYR3cN0ahKy9lNCkXkQPp9XPg3wnNIAhIF9nUeQPy/1VaNyg
E4s8lxBFRV/cGDnS8unnAaZ2mljKzwMQhfwklZ3YgKwyVnoj4jttrN2Xpk1XjzbaBGO9HbtsVfKg
BXbBcfn3xp3cf8RISdwRnTYNfk2CPO2GW4eb+UZ7k9vqL7H4PL+J0UzAoVQWJXYpeXXX6bJ/yZft
klF/eYxnvSvfma/Po00MZwzeNI7NMBppr4dqr1xFhfoQ76hlvUAZlIbOHgWLuMu6bbRq8/OKfje2
hI4RPIQSbVPFiTUT7zXdhuBYMXpF3EUU/5QN6PWTtNqD44yfh5pEBn+tKtqsyCJ40gAVpm4Glyse
opx3ndGv6Bu6LGnIP36g8icx0QtZbeSFooG0/+dBv9M3heZkgB0Z3QD4ydqWBfqfPfq4NwQaRS/g
o8skO63KmVEmXtZfUwMCZ1iglm9YeKQ2pHk0vepxKHRL8fnx3G+Q749qIH4z52T9dkafhiLK/0n3
ElwoCybDjmVFf+mGdC9Rw+qODthzcyJHy9RUfZ7TxIqU1SOp0Ky8N+jnAVQuzZv81K2G1wQu/fkr
+SSi+vsKTkxK3PQ8GzHRYNSavGZcFKreNXANr6TndPfQil2tRlqyludAy9wkJxaF5aKYDpKPjUPm
nQn/zSZ+lZ5rtVxnqqT9LIzf2WWF5XkORDs8SDcngwlpUudo/9wbD/ACJ7G46NLjfzECRyQdKJpB
P5evwsGDwjUKkr43imAvdSbN+f/F9/M4UVhgScT2JzIh5EFHi0KFJJgQ9Hjw+CIp9+cRyBr8JnWf
RpjIwRijvWEdYo1AiofSBmlECY7QbDCQ3kj1Q+3BVf7ziN8qFDpy8rSApg38tK0q2HMG+FWT3lDA
0Nx1xYqq2kUszUGNSc+WPyT8z3GYiX+569Mh54ioNfe+RGsW97XOuS0/CnAE3VmQ+T0kP7rTyGrP
yg3WYRtH3Ss1Ssic52tFC0ThWgoNMtJZKwal9aqV5a08tm9KTCMdkV8WPb0MetRMFajuZ2uUFykD
GlHdXQ4cFjEK0TJuG7qsFjOlvMzD6LkPgita+7IqJQbuMhfziwQm/kULdPsyBPJOeYigiCjLLcO6
6GgigM4tcaVF4JLs7RHu1Ajc/J2CajOxArsOkDHKa8UXt3ZfHyhEj4OOWjUFDc4JLgO/W7fL+6Jf
UNxdlzoR3a3v3P0pjytQ+Evh61AX/pB2u0xARc+A2ltaAve/sC+F2GmyYBe1wzPoDjd3Bg1smPQs
JWWujoWwrTgkWyNeD7ISkQUnpUBtCrputKBoTtnAsps6UTZ5FBzKR70GVaMesu1eTstSFbg7kqCD
+FyK/DUSireAQaevqmueu4zy3ZLbs3H9NgbIZpJq7iRQ0rqJkMzVJ0hAo5TiwghtubgHiDOxaKIo
Bc9yKcOVBd7XBZZs57LwbcVwBMXDmesAZWMWC8lFqfIS3N1qxpT9blyQ3cMi6QZcpECXysS4xNwj
67Ao4PphG2QxFpt7zs2AhW9OcIyBrhBgCwR0haPgq3mp5bHh6STAabqg4+dgI7yka2gps0ZXg+qp
XXPLfD3Xnvd39fw65gSLSXHUowNSCIheV0fZ7Q7wMb0kcfbXOoYQ9cQ4OMHRKQu4GQTdX+eWK2hn
LikROcILEHqAoXSD3mioUkEvb069L9NYnfOxk0f/auu+DDmNOI0sEzB9J3dIxwRcllxa51xmhT6i
eyFjtnkBWuh2jur5d8D3dcwJ4JM7qZAECWMyyjMue4sQVMEdetIIpbT82a5OGPV+W1GJnL2fkErL
yEUb5lRnlKDM0pJQA4UQSQfrX+QnHj6B8D3Mlmy45NRU+w/yXMhMflrdyd3OHeisuxeYafYabSqV
UNF1K36FxqfzgZm5nSTK+XmqdChT8gNjJa/IiUdz+MKUVsiRWpYWmlOmKFs5oAXDBhnXL/ncOn+r
IDxI2SC5CtHLr2MrXfXoClHAPLMOhdxGHdr5EMxYl+8HAcUksgtZqAJ5/dMEcacLarEnezlEViJI
mz6gX/khmPOufCue0EX4IPFHnt4RkjDjCvR26ow0VCU0PhkW3KpS76tYHUEy8ioqC3JXQMBrdg/n
Rp5soXjvoiINYNskaduAuQm909CWARk7rDajF0TwfhNMXPjAeSdhMaXJholRFLkUK3YGieKjwxV8
DtJ7/NQv0Rtnka+rmTVlv1UEtKMiRg1LO00yAwt2wddx1aFI6FEuqg13RNr+sJRWwVJ+YnUGB7Am
vLsbFGf2y+aJZBGIh5k5fys/sgKWbBGsf+CB/So/bBchJNu0ndGu+tXjnVcrFd2rSQCTx6DUM9LD
o9Usup8bdWKBRL4sxbHAqMkrbA+jibAC1BIFqwgGV0/3TbXtNsP6b051Yne6GE3AGK7ucJDEXvga
vPcaBaYY9ynb5KkGq6vFq7mbxb/Z4z/XdyK9TfwoXVbB3bpTaULGM2qJVj7xKvfyuKYospe3vfnQ
wmUUq9nyvgy0WS8GOR9/k+pPOzyxEHw8dtj8jydAQ2gUxqjZE6Plqw48oEgDU8FmsnJl1Dwi3kmC
4/SMiM3tNdHvTxYqQ19s9MbAXqc96gmlRSyinQdKB3/eXbKOP81yortCVqIPeoxZChzKNJVuFbn3
/2YiCP9ygsiA/Xl6S6Q6Lq7ZGupas+UyhkMN/gtVdgX955mQJ/06E9KbBmnfosCx6Bw6mQklPNIH
2w+9EYBuaQQBW9YpahTfVSGy+Zyf04pvT8hPs5rAuOAhwHecPTqD2gReYWbH8UkBIt6n6+QFueHh
O9KXXnkUjqhQyTkv0PfA9dPoE3CXph0T3kOMjuZhcNqnS0IehUxQcRHtOCT2Ss5cDsq3gvLniNMU
RZkqWJYLsYvg9H2v2XDtMrhb/byF34r8pzEmRlVJOi7M+7wzophzXJlTxah8Q6OY/c/DfOMlB2b8
NA77VbUQ3k6zkM+AGbfdkpju8SVek+xvftW//QfIbW5eEwua9m1ViA12i4RY3Gd2WYKv7SlSyflE
aw8NlVGBNmdCv3H6fp3lxISOFTrL543UfTiX0bjAQttlVdjzq3qt7JSZlCt2bo7k9U/mSi5Kmrmn
OCX4fat1qF1aBMi2aJBJK6zSZ/BlgvIN1QS9OiKljt2wWrDLDtk+W88J6tyDTOxmECOpp0B7TzSn
hIuUCpM15NZ0+cj4WYq+xVefhGhib2K3yfuaJmYtgQAV6L8Lzg4xx92d6mf04ht37NetnBibQi7r
MaKgGPz/UvZdPZLqate/CAlswHBbhMqdq9MN6kkGE41t0q//Vu3v4p2pbnXpHGnrSHu0xwXYj5+w
wvoMOIeNU0TX9R1cetNr996X195fj3URWdhgoDTvYa/2TrnuXB1h5dWYuVHBoH77IBBcvWspxpVP
dlk3um4pXKIkOrNecUtlfTdq5wW1wZWx6rVzf4lFzDSG9f5szudwTAiao+eutom7G0zxkIGz7fc7
5OuC8f/e5WXBaJysMT7DZ8uOBUxf51W2Lvd0A2mDLXBnmBKchz31dj7Ta64N479+p6EPZlQI4MF/
5/Wv85gTX3uKVWifZH7S5M22YjIp6/Bam+Gr/eLAuAGK7x5gFpcd1LLpWu7aeMZ5NxxIMv2CRqmK
ZMQe2LuJ7VgkJPUgpNG8A44Zf/+CPx9BN/hvKugyTJQABvg35rjeBNOpDHE8t/qNJ4IbXjebsO3T
Ph+uTAg/v04sxeyztQSMnD41VZkVDoBqcCwFJ5YhgE6g3ydWe+30fbHMebqDNOaMS4GT1sUTGV6H
eUDMKQvqKGv9lY0Yxudr5gBfLXMeHgXnIRkst89//tfmGBw1VTNMoE4GFq491TFxaWzazfef5+tV
MIBHEy/AQ118HmGL/wa3wykbP3j24IL/s7x+v8SZ5neR9bmYvsFtAF8fhkWXA2+TdSKw4AJzGn4u
KWSD5ncV5TFpogltoBjvLkQGFsbDeCUkf14X7TOYAYZwQ4UR6uW6juxQ/6nJnHryG/5DcFyHw8I1
0saXi/igPaKZzyhGjf9+Jh1M8HwnjTlVFfjMmBkV497t1BWg+OfEGY8C5xYbcxwXmKmLiK+9eihq
U5mTbGY4WVPon9wokUU2vwmvGb1/uRacmc/TIgTby/3tOaLrbemaU6PGVV9+cKjGhJa7AgoxxsQs
+n53fLUaoAlgZDk2+qCXw1Jf2H3ustKcZgE964JHtdyyHiRjcw+nqO/X+upbAUUA1KBNYMh42ZSQ
Ctr/rKDQrEbXvrXoyu22VfHz+0U+BzycVd/FRBYz7rPRwb8bopOtHZKW6lM1vhhpQQNoOHA1rQZI
Q32/0jmj+LeawkrwTITlPf4PzNyLlaYAJCEzalzJcKaCo2dnD/FU7zv9EwCTFVNX4usXBxkTEKyH
mARzYcz6/l2wEDCHsyRV6G5aISTA2AYNzpMaI1AwUpoMEDrQ0fXc/KvPhr2IyR+Do0RgXwRc05R9
3vYu3igc4nSF2Y5r30hef3z/Or/6cIC2ArSGYSa4zBfLDHC1EUXZ61N3llt1rFUFvUkr6J7IMFy5
FL/a9H8vdVHcgKVXAFHfQumneLd86CY51YZAJr+CrY0XXtkmXy6GmwRWix5e4iVQ2Iylh39Z6tNc
IN728LCfhhguvCviZYlXqeR/fo1gewPs+R/kCDjhfzeJU/XTiH6COilWpjXJotFM6wlSHuHS/e9P
BjzpeXaCy/gzsMmU0jFl1arT4FoRzHsj0z5JDW91iJiaK7PUL97iP2tdpPe2VXR1rbCW4kNsATJZ
hUAv996KcSiUBfzKW/xiz2M5iqQJd+ZnOFWTETXrsFbY8xAA8m8pFOvm+fl//1SODQdkOKsAIXPZ
jnFUY4NVLnCeHR9Ci3USuioKijqdrIfvV/qcgXoOxABCfKYz6u0yyvOmaMs893sUR3pbpf9/KnId
n/7VW3MIYiHMXQAQDs5//lfONIGt5WD23J+sqtpaEJ1wB28VTteMfb/aC4C6IeHClfU5A6xUyTPY
yqtTBhWMoeoSNi2RmBFyIXY9WuJKjfJFnD9fxIFjI3fHnXxxo8DXm7ojzC5PSOJXhf3ukWYX1kvU
hwq9VTTRxI/vv9YXwBiYsyK7pcB0nHERF2d4DutplJOSp4pGzE1oWiZnDudyXzpxjpoIKlvr9tZs
2JUOxRchGCkAviBwEQF1LwsiuiAq+qSTJ80/aAjpdBvK/W8dhN2+f8DLN4pEg50XQTp6Bp9fPh8v
JrkIuHo+d524kxpaf+7O9e0/swvxeBXQP7ksr8SPy615ueRF/IBzm0cn14IyXbDP5GaBp6O+kt78
h+b4OyG4XOMiS2wxBpmAaB2ez1QtWN9g0jGmYtPcX8ODfcoELla67DTmhkvsIKx0hg9aqzx6At4j
qkHqn9M2TuyXa2NrctnbRB6PM+0ijceEjiAJ/vdocz8cO76M8tknZlWPWar7IaI5j6YSxGJb7sr6
UHTHciIHlkOt9Xc4QxnWfpsgv6MYWzX6j2K/287cV369GdiQyPIeLvQVKEjfb64vPsO/P/XivNpc
KV/P+Kln+vP5vWhwdPONvbnavHAvIxENsYVtjPWQQMNE+xJ7FUpdZfjHnIiBGGzW5U06wpovycDY
jQOrhgKebaqY5tYL4rOFpHdEvaUcf8VmuKIHPZSCaQAnIMnGIK7xv6QdGgjv2M7PLDT+yrcbKPUo
JuOwz2AtOHAgLvAp0GqagRZaGFj4HAYzyDC2qg7+lMz20owh/Sx4VsfCqWmsZgyH8uXsqtI5e6qt
7FBb6L9TQIBSMdHhlsOT+U54PY1MbrXH3h18mPiOexj+QkGwNmIvSdFuuoZCOdadwI5Ywu7oSG9Y
24un0pIZkTZSyLRoxM9mCQsQgtSjb5NNGfj9IRgxh8rYzi+6jctDqO5TAlGGooZAWzbzhAg4Orpw
gF8FTGHMG+K11BX9PZf28+JrlWQE9r85sFo8LPFyvTWifAOr7969BQJTbodcmjgzzXrIqqNlOvAI
NR0jGoLVVBPAMifprXKzWDG4VfKGSwu/1xoxs/Ig3wQGSnuLFVDxWCcQqKAyXsORp+ZbK5Bp7bpJ
1nVAbBUstdBogDybu7OrYa3H8BB2UKglIWD6JONTWg3hE2ioeSR6FsKSw95ngXnLWXcoa7YrctLE
/uQMm7ysqpUGCSDOTZn2yNhWg5O1EdO7vokKg+WXsE0ohSKTwUAc1uZVZhJpxsfRcX7Pef/UB/3T
EC71BlyBGy1hbVJgvr5D42LcAsT5kbUQFlPAwa4X1+h0mcfwShr9Xy75d8A7b3/kf8grYB+OfOki
ZffpVKCB56j/JpBndK8t1iwRN527he3YWaEGIJoQ9cmQenZ65Zh/dfb+XvwiIrm9r3g7Y/EzMNxZ
ASu4zh/hJ2VFMPdIPLQr60ftR9jY0fcrX4ZCPDX6eHBwJ7gkUYhdZDmtb+djU4v+1JHf3YzMo6uv
hbDzi7t4sS5M987IDiyFUu/faOvyeRpENcvTFKgFaotVH7eBb9LFsn+yZnodw/NYNRzGuMx6kNN7
zeA+3Kkrv+Pzk6Ll4SP5YWdw2afmSu8GzjRZljwRnkdGQF3v/vtXeZlw4AD+s8D5B/yVMBZidrLF
yuRpdoOV7EzijO8a234yV7bqVwuhgeO46IExbNaLq1kMHe60upWn1gbSQ8L5OoPf9Z+ClFde2edd
iYzm/MWwCMq9y83hlUQJRws8EQ3MynPpELVzvfEWFSub/S5Uf+UVfppznrcjespI3IADBCHvIlls
zmzPytHdSSyUJWPLMPrwWQWX6Sm7JWiQxYLWVSShbrRSonzlJdzNnGxTSJxJBf2wGzFSuv7+w35C
vuJXgVnI0BB2gRp0LpPmqRVLMQy8O9Xd+G4V7+NSpDmkFxmVKbirUdA8EPrLBcAUjKCkgODyMD5x
149sdbQ7P+lHd1eJYwvd8yu/7Hz9X5wt/B4Q49DHw5e6JGgX7sBrJ/dbgAYsYFrlRguIyXe+eaat
n/ZeFk0L3waYRoCWeG88noaABfEMav7f/xLyea/ACBNTeNhg+mhXuReBxK0zQGUnrzllTR85Qw7i
8HCDQQLUTbmoIfku0rnOUuA66bBeFgdGx08uYoIEmWqyIU/x2EIVg9mAVgxeTLm/npiao7Bt3nhr
1pxVkal0sjjubzir/4+1Ao4uohN4zy5U30LnsvvVq9wIXg76ZE30fQz2FNBwH9ovpJ6ugJk+vyac
23Pr1aUoShB1/w0S2ZIXILd6qMXVslWap0u7LSlUoIl3W4ZO8v1X+ZQ+nh8MvRN8kxCU1E/nKZA2
tGUyqz8tjbfOODvmC0wem8cZEGheiM0wD5uM/WhC+0qM+jQLu1z5okahwJbk7Xnl/HDmX7iRXNcb
voP0yrp8UqmJnahNrTtInF55w1/EeYQOvETwfAMgQy4y5jrrs8WuUVB33oNbvFbVeOXKJOTToTsH
J7Q5sARx/MsLLV+KXAAX15+YBYCL4x+XoAxX02giKd0dSOMlTAVNDUNCtD+0lkkxhZDYhU1I3SUq
/wjoD8tAl+K16Y5T/xEo7zb0mysF3FcbDWxntGNAhj/75/670Zx8rGZbe/1JZKde873Ffs8msSyW
LAW5Uo9elsD/feu/1rr41o038X4ZsZYy/rHwIExa9HGBNDIf2kQDJa8IvRJvPlWNl2teXIJ9aXtD
U6AL1LnloaXQnTPyvVbwZjV07cFOsdDQBXDCtC6s7SJ1rDQmAYS9yYqsc3Fl052P7b9xGFvi/97A
JYPXGsIGyhdoFhWKJx5Z0KgUiQ2i6Pfn+cu9/dcyF6mU9roid84PHdAnF6ASJq91M754EHSFAEin
YJKcQQj/bptBBG1deC7aeC50d0kIv1p4cdnO5vsH+WoZHNJzRxKzoU/98RK4n6aUEsssMl0CyImH
3XqcrwEoz7/24rNgTHzmEoG2d56p/fs0dhHMtcPPJ/VWb4uduz0bvYvdtYYChfbAFysx7Ek0JEEu
/TSpQenMZtfJevD0zADNMLXr+4CncxHIZBQQ+K5HBS6wmtfS4XkSDO5mMjCGGB3/aa4UzEKMt7XL
4NdZZWjFBuLC5LP5OWhZbEplvdeiPNThGOvJqNiZeivymxkI4/wud9humqttbqz7SjgPgcu3Patv
rLb48Evr1Gag2s35W9DIflVaHPKBavgtlA42+YDWEe3rPB3yVkalseFBYed+ZLKqTvE6n6e5VTvq
s9MY2IcMwN/IKTn8WChMN9X0agUUffmRwAjBh4ynkScrUPsqG8z7aJydKuRhoXE38u3CrdsZYhlk
CUG4NW++8mFZMo031YxCsYdp0kheWAcyzejmW7aMv9HgghJ0iOtqqm87mq+tRUGBLeQg5g+w5a34
0ads41h6S8dd+FPL8a33AF7BdgBxeDzankq448CSxmNPENs7qLor1qNgP8pB7twmexpbiW5DbaDN
joq6yaet9qZupWsN0+slEyl1xkfRu068VGEigf7ZVoCsoJyvDtMgf49DMMQhIJX4S/JU03lMQ1ff
KBX8DgZnXhPHTMkAqFTi0EbceNxncY2ZaCx0U6bBUt6IYIDlV37MWfOQg5Iy+QUA9/49y8tXDRZR
MVU/VRiuW6vcGu7sytELt0W9bEs9ichRHRDBWv2gGecruXSv+G8fBlrZUcg13OsdCN0r/gvI+5sq
s9DdrZq1EdkLm50bacuHqV6cpBfTpgvJe++BN7JMT3kNUzUF2eZm8peV5cnmnoaiOvQqu288+Hiq
uUnR030QzHJWvVvd5nW9L6iFmcnoPuCDwEoCAIpIB9beFZxtSrPsOCP4y/Lhye/gW1ENaOPIwUFl
XfmQITMQbgER6k9hwCcvBTFbNYIwPI+THdPe2GjUnDstXg3TpNqUz3lF0bnjyMGdzEeLqeo/gPzC
/i7LPzQnr2PDbrlrHskkxpUOl31mgVTWE+tmzKSM3RmuU7kga5GzD9+B04GCc6wQ+IUmu2NT82fW
zVtZQelaneehaIzEcp789yDsxCYM+QEMrR+KWJughX45Rs3VpliKLnYnlQqWeSv0RST80PSUQnLO
jyZfeDvSO36yZHqDjXQf5lZCgxZHzT1I6DOKCp5jKgM+kXovZW9IVCKkrbqufmumCpd2+JqFSm/B
mH3tRntaGUK3NIDuka3hs9EQgLMxhysDLmNP8q3krFsVU4e+nG1HfevxI87njBM1v3C/B3CUgu42
1ne4s9u1qZYKnc9CJQEpIeUkYFoXWo3cNBO0+L3gThv3XhfeixOMUFfT/aoKLBPLyecRl+hw5XqZ
QCUbfqDbVMFcWU4Jrf1DNZD3si9iggpq5/UuiSWpfhB3otiu3h/0roobB1tnWXnBkkVo0cAtTQyb
kQxlQgf5UnbFD8lgI5AD8Bt1Y65iyswvr7KhBjQ5Gu6jEGVdMA9vSmvbuN1zWLMeilj8VlPvkdP5
CZCpE+/Kox2ItQwm7OsAbAHe7YHzh593XiGMTmqFbA8SoIMN7y7SQMlpCm49Utz1Vc0jN5AcgpAM
rFdNUF8p6LmDrpfFKCtOQ8j7Fa2XX04//h5aGEfmsn00rT1iJ2tnFbLx1fZLBgb8fHtmcMJdDuYk
mdf8rhoBv4gAnjHl1OtNrsldD32OfT3ZYC4uBh1xKaExV5W/ur66d1pKosYTz9JVH05WjWCDVyZC
mTfg6BXHonHuaEkS7UH1KO/ZIZMEbqXtXoclwxfzTlVbvTogakVK8VtgMm6CDrZtZwTjoGkd9T0k
6IOshoBWZ178Yp5WKrfXA8o9qNkUdzVgQ3nuPqnG0yuRk0M2qt0ykXeNM7Ga5kbEswM8dNPus7A6
Grm4q2EmN64DjFZTHwD52HkcPgiFbTvR4lj7gvllZBqYJyg/j1vRLUgaHXtV6fqP57ePFTZeanIP
SBXeovPA1rRcYil5Ogq913TQcRM2990EFojMHfDAMH6cgaqKy1HtoR0KmEn3p0QRMHt+eQTbs7oN
J9UmoAp5aEYFJ3/OOkzLZ7S8mWrXuNII5rA48C1iXucFv0yPu9FqlYRac/MBEa0Yip27JYA4uMNn
mHpS/QuaDiNm/BV7sJmEfKwOgIgD5TOyPcGjkTOYnjsfXNaw1CjsTVV4qRtCzZSI6aZv+KluFXS3
4FMsGtioBQjpnl4eoFOeAq2DtvpsbSdKdq0twaqt9LZXsH8JnebPNGRossLJqGPD01Q205roCZ/P
Es8hGZ6E6E4VgRmAP8G6IJ/0jk4w88gLiKTV3Y42FdRCzqxWF5q7sUJ/LIJYZtpTAQN7EGW91Brg
dDZ71U+0aGFs4LP5UDpdGbuy3+sSFwC3oIzS4zTEvtXRVWAkaM8ACEb+XLRxlil+k1HN1n0zzGvP
KlALjlxFkFETyTIv8D8r26SB4GovuvXSzlCKsF0eBQx/PPZ7hPunEv85QVTgeTFEVudt57ZGKmEK
eAlN1iEker8EbIxFU+8s3JIU/Wh3Yl1SNOVjSMcxNn7X4lvwu272yqRnmEUSTwYvUju0W3EGOL0M
4MFW0uZYz7mC35A68hxfd9Aq7ouw3qLkvO2HCdlwyWmMXPCuUhIiIbZ5JyHZemFevBdWWEAEmgxu
HIR+tLSGx2TW872Xd7dUjQSHmvHIs+16JwfRx7XhPPJFgEmExmkXjeJrb7J/0LJvt62gzzqoNmMD
C5cRM5nKLUbYUlUPnjeppGzyItI6Ewfim/s5HMDH1je0rLq0bnWxawaArYAgclfYR48L4e7t3LW4
L1RpHS2VrSYXw9C6HI4e69toRFoRL5kPanAxwImpeFxQWq300qwFx6VYsaM/wb8PAwZ7RSzfO4wC
IBDjBXtHjFs+Qs1cihxtmzK2i8KKut5N89GHhX3u5KtwhLEYDhecV7t+19WzmyiENm4FqZIQLKhU
HtU1/s0c5Gkg5sPcMMzbRQY6l98NG7fMIIOpmy1+VRVNmJAnc25jvOAAejUPwBqwLm7JwHDLG/h4
FMU90D+HzMt/Sih3xKTNtqYvbxQZg+dx5uHelvVbJvlzN4aVxHWEDUQ6LfahcMb13IFkBDJriTp6
1QsL6d0ypay3nTXUuygGARpda7ROHawexiIIH0PWvQCucmqy9kEu80GLc8bjB4/dhB3rQ8V3UM2t
0f6fEADGKGjDjSzbMCajy9Kwp1Nc9cSJ6AgDxa77CauDM+4goCtU8XCLryw74uNAV8NgwRUQ/vVh
wejR6pfbmYzAQBq3vssDt3/uA60PPbeLfeOO1lPbw83Rzfom7SDPmJQMuq9gzJO01aB/h03Vrkcq
yx95W1UpnbqDBmlnB7KLxtwM2bayAjtptHbX8wxfto5IE7k9xmas3QUColi+j1gx1e9Z5aWDyJKc
qdvMl0262M07N7D5k6LTsUtsuL0X8051DC4z1XyinneSkGpaXBVCisF7sXnzBiGX9mhZ3Z0ZzYie
HyZYLeTIk0C2CBXhsbK6naOWtwrZ2nB2g171Eg4nqt3T8eya6uJQ1C4oakQ++bL41QR42dzvONhU
RbjyZ+R/LbWGI4HQ+YoF5bBaRtElZT6Eh9YTDPqV3RBzYxKIOcVjqINYmcKLuFcf80AlcwZDvIyL
HfPhILyUNl7FlN+1YGevfF3qw2gHH6oNTxw/N1ZhfgjLdtsVYlfY3k0o+U563VYagtciNjoL4bvr
Qm8gb6wgqkJ4urvDFNsWkFV8FFMqHfLg1vLRC4pby29e88y+W/IQEpuG3JGegixPksaGbf0EmvLg
FAlC9W/PR1eRtv1t2dUnQ8R9y7N1UOFED8J6QWvIgh3VvGZUvHsz3sE80TTwRnj7BJCN496mV45J
dIcIxkb6EoCNvOrIIhMwoW5HYok1nckWOchPsSDTHecNdflHKzEG1TMgTR1z1mQp7xQyLTS/iBcr
zmBiyhg8SHH9FVn3gswMLLsp37eNvQ0MjaFcHA8aylIYeuMCGcjboFGQWdo7QRkCPqtVta+W8I55
LUuUF0LztMX5p3Z3H+R1n/TnKXUWVOBH2k5icvfXaOl2tXjN/ODM3XEszaPnQTg8pI9T0e1zUW57
HzvbFmCWBiLbOoMFF1PoIxhSY09aMLCRdJG7ynI0JoL2oXIRtCbMZAuA+RTA73lD3gIbKfRAbrue
NwA/eWmFVFG3alPYzUctTBu5On+ki7XORvHijTRCvzf182aXB/qhRjhajb134xO4EdPyteh0Aa1x
EPmd5TgUBM1TaGMoApw9SukicDCarqK80ZiL6AOtwr1o7ShwQDtovcRzFExzCuuHrVjKnPypcZxD
OPgbS1pxGJYpZ5gkUz8dG7LNK5k4hT5gU0RzRt5yginvwODZM4sfLvKF2Xd+9pRuDONvy1B8uFQc
TZZvmKtgLztUHDfgdINe3GnkeNV9O+/q2exye1gXEOhYSYIbrgvGcdVSGIJJXiSeH2YrrWHDVmX3
6I+yld2ppLXL+86W63yA4HGNkWdmEPq19WDp4gedxTEw40ZM3j6o4JiurK1nN1uuyXtgdxzFz7jT
nQcf73aikcPmn/5SPY4h/yjzKclmfUsNAraFNIAYiPuNPgBBduzR7rYLW3QirC069ttgqmPfTO81
h+cWD1svGphxEuir7GoXs3bom+A2CG9tZ4TLsICNcydQe7R0eQNsYARqVm2E7z86C18Lq32G5vix
VQiNeXU7FCjdS3iDjxN8/FSPAj88+FX+w9LLoyIoIkKIpuQUCm7EX1A9w1gYHi3WyijEQFdlsEwC
92LlO84LdeRrb5X9OhsyiJO6kJgLmmHnj/KO1NmGh1UZMZJ5US+CoyYhbinevk52UCQ1lIqxp8VB
+EJGSz67sUb8jWUI56mGM77u3SxH34+8GrfCGCv4M9gi6V3MwRfrtZyc96KACIJD340LQarAChOr
76PJrk3E2nCL+wH4eLfZWabYWEHDo76mG9+ffg9V9eQam0fQJEHSNG4qMEN5ba+nksdjTVKl7D9D
ad8JxFwXwo8A3ajEomHcO0XUZGdLYgBK2s4yUZuRd+iMQ3sPaSW34LHcj/jLIOThcP82BDkrarHX
e9vd90BZYrM8t5b3kBeAjix2/7uf5mXNFrizKjjZDuNHp7LdPPvHchEw910ejWtuZghjrZYsvy08
uEB4FGLx9RoI4lj53q4m7lGP3jF0mziA9Poqy501a9H9I8AxBGWytHDjIoG5bcspLUx1FAy+oKF+
GH02wG3C3gWLfSy1d69NaUd1Fu4KwFNqb36jotnYTpZK8zCIW+hD/nKDYUVkuc57MLIaz96W002A
3I9hjoRE7LZvzSOyqw+nqtd2t2z8okkL2UWtX++yZklHIJCReCoMXGq3S8LOudNqvMfwARaYVZNm
fY6MsXpaqIiAO8cdMHevlcEsLK/h9q2adS9chEUEc73PB4MeJWAduDthy9t38ois63cweysqljWK
gSi0MGV3VsuAbiFcMGHT1e796t7WEZqb77RASoyboGJVHVUF27AyfzGlt6ait9ZtjjywXvrnsbbT
ytQShR+6oh3nBe5jKIYXwXSH64esZrtKUfCIlHuWj3tiCZLFHb2kW7wlsR21tUy1r6k7rey873bo
YOZxxYL7YvThcN1YSVj0UVfaj9rIdav0MxPqrpb5ZvBhoNyOiG55+ZGhGbh16uKoUOvuqQyXuy7X
MspK543OuPEFqXsELVen4WT/HGSR5IWIuTNsPZ5vrDZDAxDtRkfmiemCjWfqFCpX62ZAOlcMywsJ
i0dKceEj1XoYXbTusoavgZLagpDerdFOeSWLDa05nId16TUKCc2AvgXUlW6W0oVle4vtFcBYEs0G
HeUt7B2pL9H6MmgkTZ2SK2bDP0bKAucU8j7UqDe7GNZkxITKuHeh4FMksqWFuPHZDN4FeKsR2b5Q
qjqXVY+ZGjCxxbcu0alfBbnE5WSypzwLgniGNn5kCec+a9luXkKMZMZ10Td3DfDMidKYgFclalsM
iZakawDf5s7y7DUZ34jK9GnbMpS6/lM1kz+YFiDCFt1DJQqGhFi/VJXcte3ynHnlr2qq+APNgCUr
MKxHyj+fyGD/7LzivpcoSoHF/yh0VqIntqBI6btjtQhooVWI1iDnwe/VOHdhB/dNq2l+dtPSbxdi
RZXgR1bYWKLwEy3GemNb+h6i22Kraw6003wgQfHK8sGNmKDLITfkJgtUrPPugO9ymKU6+saBmr3j
QiWavrdk/tnA5ypZmurRU/XdHHQLyhfEyQDdn8iYs0Z1wWSE4T7sNhwIF+r+6HbIxJSLaqtz3Ghw
mh92fq5lAYtbiblETHBR6s813NOXQqM4o/BobNiTAI8SDZT7IQwQryrYEZcVeIeBfM+p2cmx+ON5
3QGd3F8F7XdazEj1oEEsGpxObGKzkh7ca3mTrZlF0GoRcohVVq6zEr5KxE7IkK0BUVq72gYmyzsX
jQBB9VvJIJ09WfNhbNGim1tQOJzwXuVlmHgquCVlg0b18ifAnh8bLz5z6ZoRJp1D+9AbpVI156ey
gPeeKzUmd1LBy4/TbS9EjWrdfe2U+G3ZJrXmzkGfJTtSp/xlbHnTKf6KWHas6vDXoGEmqwf/TxNC
ZTkz9U2mR+hUCcSXGslAK9QR1UxwwL0Bd5Up8FetvSwRYZgQOkQ81BQ+ZGOLcQP37LfWRUloKT9h
WbA3FnpRFhumZFJoD0xzWazrJpzA6La2ACT+Ero8UAa9P9GrTWX7qduX6ylH53YunY/G9/eUefsq
PA+K+Q2ZYa8g1Z0cwjdV1yIe7Rzd6xZJ8+DkjwHhB+F5SV4Vb/r/kXZey20r27p+IlQhNcItQDCT
ipRk3aAkeQo5Zzz9+birTi2Zk9usdc6tyzYIoNE9xvhTVd6XdvBtFtoytqtvJfQh9806FcmkM11r
HpoaDAFKh3OOzXMqFhpsyOeQCUVgaolrdEboiDQ7KHaxGVrp4FsQkoeZmf5sxgwFdMx/QyyikiGH
zkPQjBIUEj1iIpyizO2F0tC5NSGCC46P1ux3Q20xiG6UB7ONX/wZ9UeXl2ja/fZONZrHokHrojQF
bXLV7NnUTQ6HEruxIlmpEcVR6PdkrZG3nlfNHRPcpZUYnkzD2Pbq1lDbdWxTOdMTFe383tuYmw1h
kC/8ZpjhKkaLqe5XwRiHrqobnoWvmp7kJ6sQYMwzkwi6yWljSabiTZHyFPqTtmbg/p1bQIx9k/zD
QeJNPakWjJarQF3Lg7bkTdEb69JBCZVdomg9ozZN91Ql34Pmje6YR59Jp9jU09HJCgIk7XpTr+o5
eYR2BIeiyg76iD9SNOi51xlNv6hKxqedbvrOrMnxcuwNQoua5tDkVumGsrIY4vlRH6V3QX/ryPPQ
eSlkWy9UMibDhgWQVT4hiYFomnxYRrPTMDl1jXQWDkDiHbdEz1E094UB04fpU4zKl0wZNdd+QbB5
mLthNfjKYyJNET+2Vlw9Le8DK7hX7PmuKv17aDQPkHPWUoRVculL32UVLotA+YxbYjRnf1xMc//Q
x8Ypm6Sd4c9UqdmIrB5urksDvG/K6B4ZrrxglrIiS4iFEVF2KQzRQ4ZIXlblhKOZpcT7j+5mPXlK
gwKgLKoqxKdK7c5SdZSl9G42lWM0zL9mI38eK2tl+WBuVj9iL5c9kLJA0lNXCldKOQna4bOrlLdE
0Jvnfb0TSZjh59fuJiZ1tmxukzo4TL1+1ML2q2En6qYq2YaBarp2qY9nnOUgq+oOgvMi6IPG0UoG
wKkpDkL1l508rAsmhbxQ9uQk6d/Brf6ZBv07zIyV3zT5Ih7q81pPN2XdZ4vEyO8SuSg5gyP8hwwG
k3KUR65lVWBiOSHIqbxuzOGD+Tm7dnYf1ZZjFJI7JDkF6FhIC1EamMInIv0UHSyoTPSruOmPNa3U
pBle0vVfIlUetSbTF4pkbfKSvq8j7V22VkbRfvkGdPPOaPf2PO0GKwQkU5kKV2O5azMKC7hoG8Mi
7kcHxyGt61OiNNSGmM/DcIsh3/lJQ/rqaPwWNdpFJP8xXrroTt71YrYIfRDhgsAJMpypWkefr7q8
g/eyZrS2Z2b9Fp/5bFOPaATf/ZVQ2o+BAlgviWpHD/IWj9GLMY7LsWm9yu6Opjrs88hvl7JsHWZ4
81Ird04s5umX3efyexxW7Rpr/YgGoh32oglqyu24n51iwFg7aaffSsTCGq1gcrKqeWslon0z3Btj
WVv4Cl9lPpGwaNYvbLGFk2r1ALt5WuhtSbuZKuais+PPqcdHwZDfko55Q4Tq0Zmqbm9oU+YFc7rH
Gt0Dq/WidPDCGqGKbm7lud1Ypn/y/ezYy/PGSqaj8P096SipmyZRwhi32tpELmkQBN2iH0kn1vLH
tijIt+SLL5Koc5tM7TxT68/H47iiVHpscFw4A7Alg8q7XlFXWWBvFQajvtqN66lItpRYu3QKMVSe
QwZPsnyAQLZiZHYUnT67KHkIMq/BW8xjM+kOMNZ7axWe0QxbS4zvndjZIfhWxNceh83WlKyjKsrD
XMAY7TWy3FnLx3KKQGnweCzwD2A9lB9C4duaB+R8YTFy6o3TUsntJ60pJMdIDMCmujsNfd3wC8bH
eqgOZOy4eGGs2qbez35wzHszWs5q8V0nUFTkItvIdr9TlBh3MoMJ67QgGuolspknm528K/XiSHG4
m6z8VxaPi3yMP5gier0Z7ERTbEm82fTj+I88FFsMYpdT024HFJVWNn+BcwbOXBnrUMTbIVbXkTTF
YEuksZTW9Jn3474L+5Xp5yMvK9BcuWZ0bZXFAkMdCoe5/VKt+FFho6kDbNOQGxhpuSqmmug/2ffy
Sd6RVfJq6elLHTQbS2ve7MlmBiZ78gSoIzOdnU19JNZL88Iu2kV18TpOkulGTfwLfdeub6Lv2gxf
OlUtHZEn6zpmqykr424W1n7UfE8iGgkX+WbbSzqzuGYgV6fh5DE2HHyraqREU5jekrGj/GYf2JdS
eNdY09aeulXka58lhehkklBeFr+lSP8o5XGn1yDyg0wMipDIGc0Y12qQLsaQtzgq83s4zx+5L95K
OXlO/HxaSrm0mlFmu72U0kXrO3uIj7o+bOtyYnRorMGQ1nITLoHQHyd5eB0LyHxmvsvm7LnBbxmZ
cLEu6ng51/XeSGwVLFH7XfaG5mKnsIvnkFeRpF6kKJFj61S2dYmxogT1Z0g/88Zs3TSLf+uwBCR8
Ux0MbX+PtDh2xXAzr3ovR2vlFkq45uNGNQksoXf03DlTab+BwCA/YR/ntVa0NMZ0iYfDigbI2soS
PswGRLzBHJ/kxGQmNA30Akm45E2clHGmIoiTwOsja4NqdycH1nKctd+tDHVDoGNI1fGfUSL+QZxl
HtmM8XfSrzphfGYV30Mdhs8QpfZZhPA8CLq9Hep7vcENQw8eFBwyV8EcvYw1XXshMWIVhtsGJTXS
9NynHQPRvlgZk7QP/PQhTZXf0JGPaW+9laP/lFTGfrabtdKo3pTL930/VdQX0VtlNuuxyF46S93N
jbzG9OOhsEm3xjPuzjwPnvwGQ1tK/IwhL5Iob5zTRVkoD7VV3vmV0Tl+kQBEJ23tFmr1zlDpkNrq
m9axb7X9uE36fiMN6X3v08mD465ySweux27K0NZhnq5ka3jFmGol6vGBeJMtqNk26KNXeQ7WCR+H
M7TROhYFxoARDfzoE6Na5qd6hPOR2yZpHn3ou2aD2kGuGGLWHf1QWDAMHWhxR01eiSCCed512V7z
kQSISvLUEknMrHSNE48G+KDdLKpcBrUw0A00w7NZ24dMAxosFDoN5kCDiH0Hf9RVLrr7qWUBZhbQ
mH8O/KHugc4zZXe9rOKaXEfuUCVPmpwfAv4LPVYWIxh2bH+bM72voWwSsN9cHu/Pwucu6Y5Vn71L
dvECLe8QFOeSO0mWiZXtmqFxesbe4WjthahkVEunVkoPevruJ8NOzoG7k4res+6cVpkeaFdWbZpt
29HfWlK5gVWwSSYwb/Xb1+OFPGrHNpu2etl6Za952RCehtB/LqFbCtnf2ORNVPQU8AqStST6fSXU
vRUYj5bVg/yayJEMjrOs/B7VhgESDIwGsrUejc4cCG/qKPvM0JU6LBx7YzXDyQ6M+HEqprc0BmzI
OdPdRsb2VwiaPiqi9TSck/aiRZZGO56YZ3BOiHnw5NJnNKR6pYkIKgz9e8NoXUwi4OZjRdVnD7kR
7uEWruJu8tqqoLn+kJpnW8MHQJve0yq9K/t5FfpB6zZh78aEZwD2ntCLAHvfl1wibzqidUJ1WcnG
oWrHX76efMyZdTRQhQVR8zQHlHjdGcfJJmfqsk3Tjw9KEPlYxGHmApQSJvJGDupgAc2kZZ6QbcaG
KbTZUg8rcEPU1WCEEQCDhZ/bW9fI1OonAdBWQUDQshxLO9ktquRFtYPfeqa5tQTqUWfrqiVBD3bc
IglSr/L705m/1GuaZxj9ScMYt2F3nOZ2adr9wrDKxJVgA7IvLJvRXxU5VU1YPwH4rkyRLw17WpA7
cFDahAlhdNfZdL6ydiYVLqQ2PKFL26uiXbV9QfpAwIo29nYraEiqlT3JKyyXlyqFWs2RXtu+ZyPl
ykd6FZzPA5E8wCd05y52/IZiQUDZz+OPsk1dJiVLUTyNSrpNUrGPeuabTOYVtXtlELHozGxRC+UF
lM12KhNSzNgrTIJsqABUSzgHMQtPHamgqI3mp0ghZ0MGu4wsl84AApy6rJWnWIzPGQCOykRmkPlf
y4CxUr6s2nwPF+hJnfpvv2DpiuYVYsW9lh6D3P7y9Q9Btz7IvMrQyN61NtoXnNliNrwsl4D+8IMB
WZ3r5n6czGmZdNkriAScyddm/NIESLFJsCoYXp0ogzNzFkHWUqg8ZZdQMlceDReNrRvUESKU4L7r
xmOShBvCWpf5NOzl2nctJpezmb5mk9igk/HiuHZz2X7oUvu88zIv5DscWtozE7KQBORhN/FGUoZl
23TPdfKPbSqHqVIWTTnuCosKQYIqGU7HeR4/AKwYi2Zup73XNeQowYFJ0va91Wp3PPpdPkcbRYR7
LY7vk3OJH0Ku11pqNcotNenvJ6l2q4k4t7hfymAMCC6dgXrISTsD2hZzrzB7PZ/lTem7oQ5VZlSZ
W7Szq8TGg5DbVamIp6iDvzQ35rPPxuoUcbVoDXsjfNXzZ+01DHP4YfFaTa0QOgnd5TTcRfCF5kH5
tnV65Xj4R+7CXRMAVI7zcm5TbNZ1bVWz49KAEavD0SN6hnNKeTdBa7Q6HUpd88nnvehQT+q0i44p
RjymRuVFBcoF7YVYL9FPDMW6kUj8CdiZw8G/n6X6XmMoVZvmruqUDVKel16KduepsJP21XddhSsx
NJ+qiNZFYx0zuVhPzbiDk7K0O/s5zdiK0mJtteVS+NlKYdTcEdduKIWnSgO8KpmTPR03lOQvo0/f
FyEA0CId6U2Vn3p6pTiAZgL8iNKsdhM1OvLbTYKCJsIY4mmnxhDH9EIN10oFKF+bE7R0RPBY6TlT
ONOBKcCs4wiw2bF70ojmMydEUrt1KW+DHNEohiqMMEKya8cof0CxesgMY4FmahuZ4h7LkxURCnsN
wFOb6nVZ2QfEs0xS2uYd8pcNn+VQSeMmM7sdJ926b8NvxUcdG/oAbPpeiat1pjYbvG7fOZxfw3F4
NbMJxoUewpHR+qfZqL8KhOdBgPXlqCzwCXuivjyFdnbM1aJdYKXwgHWwq7aR7JhZZ3p92W8jo9uZ
U007prb/8GRPqc651M7VK3+Pcyirv3IgeK+bkeCCLCsjeFc/NS910XxECaSsGMY4Eop6pQ/GV6eY
m6ikZFNnOMNyhryoVKwv28xo1wBtgwKtYa/aG8NmqG2J9r2rYQue9a/gX0zHk/yXMBXkW3D2O/+t
l/uH0ghNx6Y2cJjhAJ6X48Eyni0lHB2rGg4UZTjjlcXaluZlNs70doSRDWaVuVmt0kcWkCLMFoh/
nB6wmX+We1DbMkxC1ygAcTJl5w8cF4nyVIbjrmnmtaSTZBCDoigWIfbl9DsIwWaFRGJcO21jBTM1
W9kqYds5dtg7aTlu20j6FmpwX4XSJ4f0fuziQzpmr7kmnxRoXXBRN6aRe6YCkaezd1LST4ugtV41
KVHduBuWEtENfMvBWxTmMjhsuQyy6ljklHbdUK5zbeIwqVC6x/mHha6tMvtfWXiG4UMNR4MUunmg
vZXIOLMp9nLd3/akTRDeuK9aYBAQboAm0FaCHKxFIolDD7VbrxlPNGd4FhReTX5VbM99I0FMm+Pn
PBueBwi9AXqhMzlg04XQCVn2b2Fo3WuV9Lsr5sDTDUrDtEsSKGvFS6HHg4vkoofDIX7ZZfYo5GpR
Dd1C7yH2BvJGF90xQ9E/a+nzNGUjEfL+Tp5HGuIROmY5lLGTlMkjuBLI51AMjuRHG1IIjhRV32mo
v5uANEZFXTI2WQUFNS9cZSqwLBzfTC39ZQdgGW1eL9F0PY1V+d2n0gTinazywZrWQ9duzCa2Hak+
z4N9k+cfz/dJax0nGyhFhDAsULkdGaYdtBROrqH5sBUSa62OZMIzUiaVTPyKtJYWw7fuhnJc9xIT
wQLiCoeYFBaHYDYXpa2vez36IiGC2bwBoVj1fzGuCxlva3CCdYPyfYZHaE0dqFUhqO3AtV1Ytpzb
tVE5fcAvDOANuzWCNJqAtVbaMM61xVSKl6Ko6Lj4DEoGgko/rESYISPop19+fU5byimdqmUpmmmh
gcyZOdU7tWntGH7tttP4mVfzZrSjTUPkFjYhdwzp96QpLbDx2fgQX9uZzrfrtrmWvjKK+fI14FQ5
i9ZVTh6XQTq5ZLGD2Gsg1YOUdIdSl1iKtomJAMS6QnPLSKJbH1aSJe5tyd6O1AL0MNZjlte6Y45S
v2kibK3MGHYk363qSBBCV6aFhn06j1bgw9lFA5Q6M3X0Nd9FN/c1gtFCM6FRGudfFpwwGi8ceuTk
7P4NebVg/N0N5l3S+i8G+4Bmdkt58u9TqYeW24NTjbrOR6BZNgEF8ryOOrRBeZmzOwYIM6VKjx2i
PFA9lMa7OYRPidLCoVT0X10EoJnJlI6RUi1xsTzZvSy5sx1mHjoTrmX7zwmWSIrZvidNcCg64XGQ
kBBVyK0zT9KqjuKXLAu9rJ/4a7NA7yEt4SqCTMvjIdOpbilz9fthhnUt2U16IGEuOVY2fK4mGO/5
mfei7B4DWPKulmB+mFe+vUly9M3+EIwbW05x60KMvIpjoNK+b5Ol2vn78lwLQpn6ahpzoylttvAj
8QTHMyB9GQyqA3dNtSc4OtuilrGF6bAFYLCrMB/jk1HoDHS2dwsvWQ7YOVIIEVbvo6xZRTF0dNlY
lWFKoLg5sltMG7SniGnab0mmsgSjvA8pLZizyPNSY2KfF2KT6u1vbUxPmdLuJXXoXV21PjtDXtLZ
AmU3Z0TVx5ZXisJfc2gdU2qsnjAnYLs16YWY/wSEE4i5vjPIiR/N8NegFGvNzz8StfjNYoTz2uaH
KswfiwSEo5040fVkWpgpKEEc0rH2lv3Iz/5ojfHZ940d8quCnGJsxeWB/TLZ5VW3sbXkJHDxX1DS
615qS64qado2YdrtQZG8y3yMiCRr3kQtHvjhjOQYUyETsLfb1ZHvda2G6LHfzz3AZKg8hsWs4jAF
T6W31U85Vj2spzT+IUMRhhZObgQG9Iz+Cc4kNJ3AX+Sp/miONCXkGL1mQt2BMTtl2W7asHqrGA4x
GHo2lXJryBCDC4N4iDxVdzHMnUCVnvQu2iud/mlP0SFMhrc0bw65RFsaJ5SUMt+VFgwLevx89d8r
ykzT1DTjbPmDwdGfUq+o6Uodr8T6BHT6jPbvs1S1irqyuWVCek269vNCZ3XoD5m/L1VBrYHknlSd
PZYqO3+fmaj9/W6Ufwu7yXCxwFbPlnyKcel8NllUd/GQ1LhRRMd2D2qkO/qv1mk9/625J2ZavnHF
K3pRLmgaOgo2hA+Xdledn/iWSNP6FNTiQ4+q9RBqv80xWhtt+tJnxQ3J6LWnaAk2G5PeBc34pTyV
6YQEP6c+pSY46rHEwPyWI9nVS2BtgefE2UvzUrUfNHmWaUzmT3ONQC5xDGtTZ+MNMfAV2xDkfj+u
cpZs/lgOSqP4Pb42FWEY9WaanefmcAY+6Q026tJ8+aD/ewrO+4dzy+BKvyK7xTRMN5Ei6xpWEBfP
sMWtZApVBXE3AkhgVqNfkH8leUNYvtqiqJZBIa+UMn0MoQ2vhkx6BDJ5kPW+XUlth9mnzZqayw9/
KM/EG0EPQoBVeOZRVUW/setUYho6bUWSvw26ATvqTNWrEpqTdPrU+h6sI2P8ZM3zCYO5Y5ZZa1Ic
IBUiKwzPqfEjfil6qp8MyYoWRWjFsOG1hxzZBUAg+G6i1uOOM4tELPulga60K3uJSjoc4xt6dPXK
B6Vhi4xtMH5dMivvz/c0G4VBJqhd8kENXvdovqJHf2D0Vh30TbYtDranPSBYXtsv5QN7bIdM6B+A
3Ft5ldfE4z9/h3aRoqYEqhbEilSe6oW/Ml7iBTIFqP3lb+sfEGgs4luyPc7802ecb+5ay4OSy/pR
b8jDr63bP37HxX4JHzrxlSioTsKxHkbVqX2o0Y65jJf6vfnus5qP1hKxw8PtrMRr/iU/XoV2sYOm
MwG5gWaVJ0X/ytJdPXCEGx9TUns3NtErcuk/7vFC/lsYekcfwrMmEUfyquPZKtj2GB6j+vwqjzBU
l7dstG5d8mI78CcpyKuCxypVFCqfs3zLsOdf3vCIjHHaYKxHuIZQOIn+XMjIXIcUW8LyJG/9bXPI
XLrH7Tm8OVjesta/djMGeepQVGRcsy7PhBp+NoVEXp4MKAAVkHhxY/e8dYHzSvmxefaZOUc6oOkp
mNZNmy1rVb4hNL/mQ6EZMIp1/GvwwLg0yxG9SRRg5xes855UbyjUyQ47u890N7qKy1f2VGIz2+I7
N3i3dOFXbg/InQMcXyCYWZeeKIEx+tWojvmJspmJ+bqmDbixxM/bxYXCXVdRGeICJOPwKS6WuGxH
grBrKAPpRizFjsG7I1bFfbitbjxIVb5SIXALbJ2cNFzycjXEOE2MWiNnJ8ofyjip/qfUo48uyiQv
7+0XBFfPmaXQSeCvdgdyQnXbAnSpk7DO6vazCLYSD0EwoLWW/TV/fjd101ZRiNRpdAsvOatqlvoQ
zg5UFcj+OvKLWYflWcrF7NCNeEZqf/YVZPtMg0gKOQYLhAY5yhxN4TKyinUyFrObTPHoFblVL5mm
rDvsQI7wuPRFjXp5mRnQQxuW9X3fjOjWpwHYJ5I4uRhC74Yxx9Knw7xJL8wSpa85r3WsyJxSUeiY
zGdMn3tKbiN8nFSBrW+cn/Ihy17NUJU2qi9JC3XsW2ySotLTUm1ahgw/t1NGoFnEge0NuPiw3zeP
aKI+FVhkblwxWcxiqVo0E0QfcZ5eMS2e3SlVxFFMinoMJQ2qLFXURkeqikOs+llFADb+EMpuZaSw
qCzlNRigV8YKo2whx81+jlGb00fTJNW5XeH42r8ENiTrYrZHiGNyssa7ZFcp40rr8W5DYPYSjMqT
WfhETcE4U2sZb07fOE21NK67LselRlasfWumLdXhXJKhRusxpf4d1gL6Ej2QtJii7imZS2Cx6hNJ
KyRGdKiunfX2uq2tzhNTCAFFTfj44kRdKznUNd/GY0/O52/O/nxZ+ObvBKx9NANiddC3OP1Z9RvY
g+WpaTrdKaClztzZkRdlonDwN2t5D5nsRgiJHWTR72M00BmaHeiNKJUFQmZG9UYabHufLBtTfjXL
/I5WEyth6U2fKdb6oukW1CVoaNI+PSiSrC+gzRJmqJ8n8VaOmC9NHvj32yCSJXSbOum3JsoXKzNe
JS3yrEHbynZ8YCUOlDotBErFq77bAIqDDbq+ZRCO1VGs1susGwIvV3ppy1QZZNoq21WGqgjgLNBf
hiR7V0N1QmI266scGu9dV/NcKkntFrU1JRAdpMAl5I61NqvpdjbB8uxkgscqJDz4bPNTSLOxMWoL
2PPcotikLTMYszylnrDxREjhtON5jpAYRwhdyervm9KVwhsPSVVVZYPi9F92WZTiBgaJIU5r5K/q
ABITBQ5C3lt735WSDmaMrKk062d/4/Pv+HF6CNOEIGmcO2biwDz2dhjdTr+L3Bk68oqEj6V/o6K4
cmcW2yzIgXy2kFMviqZgaoReyCEFRdm7aXdM4CPl5ePfH9+VU8NSZOAlRWCNgmnTn7eVkwI2B1WE
25gv7uZK+/ahyNx4djeuIS6q0JmxS5c1nIqwzh2zKuBnPPz9Lq6cFj/vQlw8KimOLYXJbXGaznJM
qFUoyP38Dm7gvRVZ7xxpN9Jert4SOekqxzxGZJerAQfgRusjbqkIrF2qlUu8U7//fk/qlcqVbOr/
XOOiXpEAyKY846b0VXEERNkSuOwNq3NlGXjmOl5Krn0QK32JdnnbbIA1WmdctYdh/f9Qmlmqapi2
jLu88a92RunLqlKHpDiRliX0d6RWN1bItcLp5xUuG5UUnUmvjEVxMtHmMOl5TDnWzo6UlUTeYrWB
p5QshnX9EO9ST1pom78/6yvNLeACjEz6NYOJxEWZe3bi1As/Lk5pVjKytiCk6ncati71Ga0OzHkp
59GtUIIr1dQfFz3/qB87CgUuUp3zDK7F5lCqGHBxXsGSU9VFKSqUjQBUFipSF2asF5R6u/j7TV9/
6D/u+uLbR+YJL1blroE2nvP95FEaHA032cZ3EA8W5io/Ki8g+eXq1ljrWkP4494xI/3z3qdSluFr
hAWNqbIE1nNUV/6YTgUhYs1i9BhqInFZozi7sacqKv/xRQn7x4Uvdgo5F/qo1ixloMNlWzrpwr+3
PfvBWMKMKk+3gpKu7RP/WVi2fP45P95xqqVzJLdtchoYuyfzG3XSjbd47ZT4eYWLmpwgSVtMZVac
eu2rbjeSULwC89a/L5XrFyGNFONWjkDj4vtIy1a2Z3VKTnl6MsdPmPTwLm/sAbeucfE5GIEUgmGz
BRThcMDFdYXUdy2rw43W4n9Zev+5l4tVHw6iMIrzZgY6CjLiyu1yCbeZlp0VH2eL3LFXQBAqfxQ7
Nxf+1Z0Gl1Pzf0ItiAb/c0GEXaYyO6NLa0q3+i43wRpz6VXwkFM/LLuv9KXaK66xTLeD4iaff3+L
V2wz8d3VDK5NYDDGkOdX8GM1xoGVl1at0yKGwbioR+s0VTncNejDAEDoeMrpI6gJgEfPHOj0kIMk
Xsuiei6tFi+Y0ViFIyyDujiz09reGyIVGyYl3pHcezZU2xUdllhTLVDkSvcwzl8NCXlwPJc3UoWu
fVYYDQoSVFUyGS7na6YeZ7AVaYfoZDZ6l3qWpN4w2bu6TnQ6abpdoYl/BQFz/E56OWkZs9ZxsYgK
L9tqr+2n6VGLLzQPRZNNm/XfJysycrGYgJzN3fCLZ3r450sCp8q7bvbTk/pQbkLCzpLTFyKi53Z1
ezh29Qgg4MJmFI+SV770rCuVLhgbg4/OOMh8C42DFVy8kNyv2RVb7dB6Ggm44YPvzv9tBMr/3OaP
K59f8Y+1iMNHEZHuxpWhQcrKu9acJZWAWfKMdi+8sYFd++x+3ufFQ53SBKVRmBanQCo2sdQ5ZSi4
py/sDlYN0sVE3KgorllG4posyITAfvXfURtB38LpTOXkNC7hrDlas6qf/EVCDmgO+9yphuU6Wtyy
ILw2r/vjqhfnDQ1s0BtiQh/vEpR57A7tGuraYtoXd+ENUOXmHV6cPGmud1lfUD6cQzkn9pMNuEd4
x1SIGE4iOKnbOF8fbiV037zuxcrJ+tT005br+u8Y+/7G2AiH+2gZnaoFjJ7n6QlTqkJ2bnaA1+rx
n2/0Yg1ZaWvVZswbTTeQZuGIA466sHxg/NzNnr4GgliYz8FT+N93uH+804s+AAZXWmXIXk9F3K6D
TN60vgJ/7dYZf7U0EjTSFt4DEO+ti/dphCIaAqYPxP5O7AXaonLDZb6bCMiChH3r+7i2hQvN1gnE
YLz3r0iuzgqNMu5EcYpegCbcZnXuZ6qF9HDec85hXOrj30+/q6+PsaxMmY8fifWvGkZ0otRMCOH6
vB2sdlVV4rGNtNcojJ7/fqmr9/bjUhelDNpfqcprqtsgidA4IpOCNfn3S9y6m4sqxswDfLuCEPXW
CIdutJ8KzXpgdHWXz9avv1/q+sL4z+3YF8V6qgmseMYgP3W4RsCJ3OTLwMOc0/emhWDwcbNIuvH8
LtMRpLQiffq8Eid2MaDAj3I5rr9GNyHLdFG70ub/+4oX+2aVpjNSDG5RPIUqSard6mxs4FQYRxtL
LD2c2z6u1x8rceKMS3VToev88wRUBxO1YxAkJ+1OdgmKXmUHyUUq64a7bHkLCryG8VsUMf/3apcv
sRPJZCYNluntEptI1RFr//68UaNAxM+NiPmb++X591+2WsJkL9Gg2yuGfXF/hdXVRlLZqLAyMEV7
bHmWoRY409yUfBXVSammZ6WMLCcZ4fpBIpYZQ59dIxN9nUOA2jDYZmdoxV2IJgVapPZc1+EeOYXu
3Fji57L7f/+tROn9+S7qbrZjvN7yU7gpN4jztv662sQ0obefy9XFTUHwP0bZii1fPBY5Hc1a6qXs
pKPPF8YzdMobN3P1wf/nCsrFzeRyzEOVVHqMbbo56CB3w3vyAElvY7+LlW25eEyu6TfcB4SbN659
/r8vHyQm5ZpC2pFsGZcZnBasQEWLq/jkF/YD+QBn5bLm9jY4jGrGGIfNcgWWUu8lDe8SxFM3Cr1r
T5ei3Tx76xMEcvl0bVIculzl6Zpa7Vl269Ti199v8drTNfhmLc1U6QwuIVFcZGr8QBGDB/NaQzlj
lpsyJOAWqKFXXyOUeHp+o2c9Vxb/fqj/ueTFeaIE1tyLsM4hD1Mzak8RyoVU3EqdvfroFDA3YZiG
SoLKn99A0SH9lpSoOMXCxtlgo6s3py9Xb+THJc4/4UfRn89dYUgmbyffC9Aq3cU22Ps/pJ3HjtxI
07WviAC92ZLl20mtKrWkDSE39N7z6v+HGuCdahZR/Gb+lRYNKCqTkZGRESfOcTe1rXKtQMD8nHxI
vpb7NdWvNbPT36/Mwh9W+ox8J5cCzizbKmJnZMwZstOVFGNtB2eZGq3yougb3jRomXU28EbFTpU1
eeWlm1+/2sNZHqOpzMTCkJxeMiWm54RctGPozXfOw69K9YfNfW+XFtdk6DR8ZbqxAH/e7x1k+oab
ZzRi252ys3bDxf1Q/IYwyW633IzMu/1QV3ZxMcHXeftKKHvp4NJmNZLeiCGA0+OQR4zotMeC4TzH
PHrH/KHYjM6UjaLosdZyXlznlVH5/To9oxN8oW2DS82kYB/RazPW1jX9FzfHGMJKky49ytjznrbv
AXEGUcu6TjkN9GIf/C5hyrUZg9mKB5i/7n+6Ja+fIqAG/EUmIs/Oc6KHipcFanKhv2MrNCkhG4E8
zLXvm1naOIMyCTeZNYm0z76WBVI6YhItuRAMA6gxOz/9LwuZfEG2JhXpP5Waq+PrwSHRApJOLkPa
vMZRvper8UNnmSuuvrAQS0GKSyZh4dU+byJlnhgDFGa2Rk2lfdP3EACu5hlrNmZepqamy25xmoAl
wC5Az9npnqLfwmfzU7cR/so20ac+XPlAC37wbl0zP2gMiEOZaAguGkzagfTI5JLA+PR9L1gzMi38
6hvpXt7AYo4XSP0npf0FcpvxkfsmFgIf2iKIe/N4M4FyztZRJWUd0ImPL4UuOrH0s9WkQx/+Fbtr
/raUK1uYYNcAPpG8Tou9WkzsMkBew8bIV+q21XOK7Gtte2eQJWSEwkb6cH9hi/boraFOjXAp1N+z
IzSCZ9YJ5skF/MCUfoY79xdt8/6jdoI495Lu1yrBS18L5SGOksmxgt/l/QJTqPi1Cm+/6Dojtrmw
K9x+W5XZv89bLEsiTaK+KCo3AS+VB0+BawnaJeYAI1lFvPlHVsnH+9u3dKaYHJhwywCYb+Q9cgNh
CSWLkoup+R/UMT1bfvfxvomlK8ma4MMshI90o4KW94YiCdHIFDQ9WFqStLAZoLWTfbFhPIGUws57
xwrttSLbks9PAZxyMDAoRF/ef6ixSxqpUFI8MYoe4qT8DdH4pYkbaJ27YC15X9xIS1ckQ0KWUJx7
RTmEkhF1WXShBk0CyFPUSDf/eiPpsCoUnGVF4mafV+7VsITNRdWnuz36np8likygUl+F79K+3/oP
6g9EqlYS9ltnn0xST+dEy7cyb0jXDi21EvZQ/UtQvg/NFyv6fH9ZyyY4uurUQUZT7v1n8hLDtcqm
9y5h9jUKalsLnsp/H/6mZfxjY3KV66BEdjJqObOMY8hAt8gQT7dpGCODrXTlI906HZaQ1VbRV7Nu
S3NRE0MtBW3XRZFJtPQg+MEI0FNgFQcdD9ne37pbp3tvbPa2Kes4EhpVpUPq9j+bPPwGDGANN7/4
ea4WNAt3iNUEdRIb0cWHj8lUGhTJ4m3l5itRYvqp7/M7loL2D+DV6QE6v6CK0U0yJizCizw4YeUy
bNUBEFQN6yQP6Z6/+TZQWuf+/k2//Z7RaX+v3KKXUIJWKxmjiHnmu/YQHIEj7dfqR4s+cbW2mYf3
qeA2cF6EF9QdPvWp9tgCMbPDSt9MRLv3l7ToEle2Zp6uRtmfTCy8qMawRx3ILpBtuG9i0SOuTMxe
NVHEXAIKJNFFlYaHtAw+cHzfGB/611J/E/6fMAfRkEm/cmYGTtC69AKfEh9VrrB+a2sm68uz3q41
z6Wl73NtaX6MTCuN2skNmMLfSo/Jc75D1trJvrhHsJ6PCKf8rH6Ir/d3ccn3DBDHYLZBxVFWf+97
RsVMWpGF7OI+OEAmcpiw4TCRrbRip12au/i1mZk/QHRYK35bcWdA9ICYL1vo2lpVOwrN5QS9nfur
WnjyTl/tn2XNvlouut0AeHHaSwmljB18tRsAvT8YdHRcWJId8bAG3l7yx2uTs883jJI/ilIcXcoc
fLjxChJj20TdSmBfClDXVmZxMBlHkJviGF2Yn7ZF+SkPBzhYXv0q2mZwsPvFdmUnb6uB73ZyDuvy
BjOOkppjJicCEgIRvLSDojzkgXyWUdLj9boTwv6zKsI30vry+T+Yn4reAByncuQ8oRlhX/GzRgn/
wPG9B+Uw6ZlDIXFYKzAtnT4woYrCbamLwAnfHwQxy2TP9czw0hZPWQTFAjji+lsOrGRlRfLCUUBl
k1EMk4E2ZX7FUJM0fdA+4UX6NDhTI8bfeE+Mg28nAOpaV2TJKUnUJPQcOd2aPnuWqLy2uso1hXME
EMPR1OpLm2YHBi/XMExLAR8qGFGk8sgA3Rx+NyCHDnljFF5MZpKbr0IrroT7xSNtmWBF0IAlh58n
aHXW5WqpER7jR3efbOk9hI58jt+mdgtwu32J5Pkavm7RKa5szsIW9EioQykN3ld9aZhPh4T2k1am
aCWVK634xQ91ZWkWsDIpqDq5omBWwlyhDZ9Vt7cl2BFWnG/63vM4PIFuuMxQABbnjxFLHvymsajt
tzuUw3ilFrzobMRVqV714VrsWHR13lyqBTWGTAXy/ZmCeBadSw9X7+GJ5VGMWlLpVF/6rfw4DSCt
ReA/yKub1Vn0vTUGT6h+zzZxVD3Y4lSVTeQGhbB/U6O7jKYclKDP04Tlk3GpHs3D+DtHHJ6rQHOg
2tFy4ujh/j4vfs2rHzK7C0K/CfWM6h2lFB95g7dMQJRtWNneRee8MjLbXbhs2pH+CTm+YBwjsXse
RRUyHy1463sUFu+vaDE7sf6xNlcshUBIFUIEu9jbYZvKtrKLtv4OWu/wB/Q1BC/hWDCOuK9WSkYL
mYMkguglNutcmfNKchwHxahk2DUrdyOklLCDiYQRXvIW8hJdW1vnFOdnPoQ9KgV030TAY7NdbVUh
NRVY+y75z/rL5LT9wf+hf1U31t48ZC+rIIqFM3Jtb97p88NGqU2Z9XlUkXfFa7MvHPnr8DJY9nRG
gnElgVgYbNWhdQBDCLBpGnGbHxJXEOMK0sVL2/UnUe4/1Kr1UPudvKlaCpiyAoLXDGDEzCDnKurh
q9rkL/WI4EoL0nGgsS4bEMJD++/KBUWTsH0YACxtO8GCQzYbdrHHUupJOea+Cy4cKkmUGck1mNmH
7Gp2Q6uMN2WqyZcxe/0oFYBNWniHSn0l4V/ydOwYEiMiosV8+8wDELfCA6QouuRfYLb+TofLDj4m
jvB5gid1G5hQn+A+WLupF7AEfJd/zM5HLJq2GQS1CaeyCpR4uu0jlbb9G0tdg2U9/HtcM/YAkKrM
o1OSnZfkk1RKcq80g0vjvrnCrz5ZmRhe/FxX//8sBkISy6PWa4mBxcfcy5AeRLdT+X7fJ5aygner
uPlYbmOkFjd09de48Z3qkv8IHJ16XvoHgwSF1sqy5IWE+Nrin79fvdajUajdYgh4WnwZv9SP+c5/
MS7eb1l3BBA13aZ7bM4Iom7T/bCfmP+O91e8MFMyfTegB5IMNONmrNJTEez1Ubu7jDCKqAqa9xC4
CGhehU4Nx3kuq6DpFKinYFZ/bhPIeuQKnmOkFb6IkXARzRH+yOnkqq0OChYeYVs0m1OUIhKQ+RCr
pBlciXHYI/HiCWh7ljDelTI3tycFK5u5kDWylgnMTC0RqtXZkdaslNHJRsPn3ccgefW1tXC+ZmD6
+9XHovQawdRIWqrDO1m60qFABPP+B/nzArq5Ma4WMR2EKxvMlyKvN+Z8kLxFqtHoIV9K+p9FI5x5
veyDho6u4jN6mnpCuFGU6phZUGbBWuMp4eeBKGZ3bXMYE+FRzyCWqXLvORglZ5Cr1wKKYASdfiYK
DUCGDlH7aNoPQikJO7109xB+HLqQMq8fKu5KHJQX924aFph6nZIxfzuMcghXrzvQTp0GPBIn3QQn
8wOQSeCaKEhteOlCx6Vtsr0BCEmBasixfhf5oQKZEjlryd1CtkNEtiAHohEhM8f+fperEg03q9CC
S1xZA1OUyUsvBtB7FUh61P3m/jddvANIIKEW18GN38zUhbHSh7XVBQRjhkcRtLgkjOg7rdNv0V98
QM+r1NGBsVF53d83vbTriJeoqjr1Sm9AlVyAVqVGrDNIleNQF8eUavd9E4shTCK7mW435kHmTCfU
RqwqSFmd8Ql9jkc0708VBAR7EuTtsHMfESQ9qo/whXZ20u6C/wCHBal+ZX92KjW9RsUrLIRzg3qn
oD4wPcXk7loNaCmTA5YH+B8uF6YMZldD11hNIriCD/p/2OrfjYP2kO1Rmd76B1eYhj2d+9u6+OVg
DYCIiTcqA5nvPbQY8loxQVNf2mAThT/EvFyJNAstLPbtysLsOZqhN8OkLq+3iZugPYYbE0GIX+hs
biD9A+WP3hlcdfWa2emmnge4a7Ozo5ckMuIQOQvzj+POPVkP1cV687blm/YMN4YDN/tHRHQn7PTa
jOb0P9+zPMshXFSgkcxpokswCeY14STdpzz3XBiDJ2wjVVhJJyaXuGdv5jKt24lq2fFuE5hcHOHD
U+v4WUs/S8TxdIhtOf1aFGsZ+VJku9peY0o4ru6P3hssF6wC9wf6AHYlidDrjS54+OxDpXYr6cPi
juJFQCTgaqPW9d5YNPYR4mtueBFz5WtSkC/owUdVQI8DfSxoilcrsYvOc2VQfm9wiHyrciUKG6O3
aTf9BtDq1/xT+AXA/2YEKW6cEK8cjuHJddZq24spNT3l/y12ll7kQWuAQialrrbjTt5GW6lylNfW
qWDKIbZlb/8hAFyZm4W1UlarprJ4oAgu+ioRw6B5ublvYu3zzWMMwncV2PTo0ghJ/ZBI7mdVisxt
6BYk1374jOBxv71vcjGsXa1qFnSUqHLhJCGPHxX1r8RDZE8dmn8/X46FKyPTuq/OgKa1SQhVdMg0
GMMuwS/fK9ai2ELp652JWSxBGbHqhgm6pUQUoxDNOI7PCnp3R3Qc9muPq8VAcrWeWSARJeRbgoSQ
2eACAWyntQtoh7Cd/KrE4ugG/SGIV0qIKydtXknwQub+o4aHSYo+Bzmp3cnHFJKkIkXg6SPjn/9/
jvFnkOnqm8k9YaMXyK2HRj71hXtwZX0lHi9nKrxNZYb/GZGdV2MkiD+qMWNNw0fzY/KagjUQtuGb
v4Nv8CB8G52RfAzKyw2KecdV2NWfN/DNffCP+fmWil7TAUvpwkuxNemPGQ+I270g7YyIMPn50TrR
vNoIm3EFTbToPVdmZ0FabVQxEQIhoCmn7ao97Ck7nVrQWqq5ePFcmZmF5tzSc1cbaHlYVhoerMLc
FqjB7ER4L4fYOt8PI1NkureVs1g8NgOMR30dgnklac6PUSfZmfDxvpGFYUgOnQnyheFzyHbmpA5g
n2MjqAWut4/po/DSPiob7cekX71tHWMPrWX9uZrGy2i05GsPwQUMGMYZDKawrgEhmBeomjwIkE0K
PYrrE3WUDixm6u2oTCObB8qjh/uLXQzMV+amv1+dvx7ie1OBk/4iZv7HpoJQh+bIfRN/HHz+1eAO
g3QRTioATLOvJjbI37VkYdyg5gldHaYfu11zjE9r4IQFnjuIOCfUOrAL+tDzk+65vjrKDe+eaVZ3
En/0bFB0jPar3NsIUTjankTTyZ/6ffudfGFLDX/tjbl43qcSnA45DFjp+SPTpAFj+iXLjZnqFt6Q
owCZ05F17hUnnEZsdu5DhF7rYTis1f+Wvua16dn1lKRu0Y1My1wkr0GY6zlIVgauVxc3u5PQ0bS8
EelLBOfLzOYx8cWiUbCz4J/duj5QNF5jgU1RkOmSTv3SSChiuEgzy5F+ClKtcArfFA/ZGI7IUQo7
ry1WXmwLyQ1zRrRE8bMJBjhz6EKJxthoeBa6sneCcdZiGLXoH6wYHbN4LVJMwW3m2e+MTfHq6vQM
uVIWpTsZ+zbBARH0+W0ee+p32vdyFXqzWE+4+rrmLMcXQSXCCeWDh/lIwW5KPyZoR4JduMK5xKbJ
cH8vHFeniZeqlRwp1bIY0oR3dLZMT6lD2Lm5wXBqMaeap6Bqkdtd/QS9MSKWT6r7VWvWoMSLzgz8
lnY65DcUj95vLlMopSvUpXBGYE+1Udb8LPThcSU2LRlh7lRltJ8n/s3gOz2ONHI9BsKngnmMzjAT
eM1v63UivS2OUoS2xSqYc/EQQflgmrAvyEhezq7mUOzVQhShnmDCdus7cIodCqclL3A30rPKELF8
oDlQvWmb+6tdjI/M/tH4UPWpdzP7kAYC2cC38vyCkN/gRJ+tg7xXT+p2PNSoxdjlNn6G0kGw1RdI
so/yY32xVm+cpYQBkqaptUp96ga60PttYeXJND6N8nku2EoKiZb8WtT67v5qF19u15bmoQCWXrge
C8Zwpmn/rjFOWiG+CBRww846qWjsVJBem2kYbQXEficZ0ec6K1cC0pKHXf+K2Z4XaaWMwgS2aUvp
MdOlH2aVnO+vdDHDvbYxe14VUT20rcQo/FSl6vbjGT6+ai+dlYP6HVmhTcU8dR841QcZklkU3dNV
itmFsCtd/4LZYWU0A2ntiU9Ha7WNZVbHNEOCBG1WVO5Ka62ItWyNqfGpdyEDTXkfGpI4bXyVcSQo
0WjeVo16EpryE5jcs4tsUN5mK7n04jeEM3rCpqD+MscENClXvWgxEjJZQolnXJvNWPbVCfLCCDAM
q/OZoNgdYgB0jDqnj4zDyZxIFAEctdz8PWqwRui66DFcF6ahihOR89xe2PlGJ4/DNIBifowfo+/R
Zzey/8y8eo7gCJf4ObPs4Jz8qp2Jceu/ZCoTEJLmOI1kaf4FFa1PDDVLmQBsdTuFehgs+/7+qZgO
1uxynuhj/2di9jJBLqluOug8L77+2/A0FMdegmLNExeiGX0ECREgbl/ZmlfBDSuJahUuzouSQXIx
/soUeTeK3wZEje+vZuFhTtxmTpigOc3gzVw+kyLa7V7MuHCtflLiBFFjdQt9LUJsRfMQtgCLcuYs
VqwuHDTAbKpkTu1yoKuzY21Kg1x0vh5fslJBt7Z9M9rgFf3iHaCmkO+mrmRUS35JWxLm9KkxySNo
ll82gWf0iYRfuN/QgxTlE0SvNYSOWxjOn8ttXe0MDWUqG1JbZFuMv8h59t5m9aJc+KxkkBYNBm4q
8wbyhqapbmb9hG/YeQc4L6UDasXQe9KNPTRP0SHeTBRl3U5+8Vwb/RInQlbokkcPruQgu7A+urq4
MYwlMsYHRQ/Iv9kjKhtQlDARFbyIe/JuuknK4ahBlv3b/SDAlSbsESQNt8Iv61fztk7UtnCWYMqY
IJQ6T9MbuirXHRtf6wFF+V2/KWAsDWBPTdeJ7RcTavIiHA765Bt8niwXcRoGfXChkPAqFTnyV4P2
SW4HJExl8y/NU38a5vBi6JWPUF1HvdJNHopQ+ev+YVuI9/TG//kZk3tc5/WZlg96m9Db0iB3Sf4K
o5WkYAly8M7C7GDpIsK8iUtyW256pCc/y2g028Gp/TFlYbR6vf8DtG1tVbPXoZiFZZsF2IxbNKeb
b2OhOvf3bclNrh9fMyeF7d/LpY73kIqyy77gbeR4Vf8dPqf/T0OzD0TdxAzDPseQ1W2kDqqOBMm0
tcrhUjHm3ftu9pXg0U2HFM35c+eUj/kROR/KMeUb+qxO80teRX//qXbOrqx39mZfCGnKGg23af/2
MdT4TvXUHiZkZQfhySpYeSnneGdtFmuFJB/CKGZ1wWckKw/VHlIO1U7tcWtCC7F2469t5hz8hygz
utmws57B0n+Jj+VROdB6nIJXj0gsC1ytxEzudmc75+8sr9GTSEWRmEOWnoPvyWtyCneSAZNov81F
KvarFhfilyZB9MVbXNdvZ63lDO1zRg8jar3hWdmMB5ircRaPHArWtv3907YEGpmekdQomboGiTfL
CcyuzvsyYVqgRuLCFr54z/0jcx+Heh8/5ZtxF3BX5bvoJG3gQha2za7auC/eB8jHDe7Ok/BR3kQ7
MbHv/6wFekHwDopGBYw5XQ2i2PfRUx9ifzRKN+DybKiKNM+i45+1F++1PvacIEhrt/VfPxGic/qT
+YjM93Yi6/05HIOXtYrgQpwlK9NArlO9MG6FCzyiuNWiE3JOf5aBHXz+M1a7QUS886CTjbfwyH5c
+y63qRqlJxXKPuBVzIHNX9mDwJB1InrW2ZOtn6HmHsWGcQClPklV/iuVyodoXMvTFrr6PIVIC4Es
Q2lpzcvGCSxaQy+4Bodr2BrJrv6EsDSnudukrx6djQd/660PLE8O9v6AGVQT4AuUNcjtbjhQehme
lXbUjbMcqWDFhiSyW1TWIPt+KBRkl8RKfjZyMXdMweuQUSxey6Q2Vu7S20vn/Y+YBU0IBi3oZgwo
14ZvQfut7d2dKCTb+069UHzDyjT+ADSDQa55NSrycC5TRG4ACZWP+l840B5Rgq21F77l9td4K/+Y
im/3jS7A9N4bnS2t71XUMHLJONe0vUOHXGETHQB2brVP+j7+WvyeiKL8l/o09bDGExKT0LW8Kdvw
4xply3QX3HxpzjRvxekZPE8/Sy+RS9cbjHNQ/rKEn513koqvo6zYuTI6Xqo5CRXfldVPt+s9m1M+
c5WFjW2lFePAlveUyURc6ycjbRsQhsFH4ZmazXbcd7viwwieqmYWS3G6Y/lkHZH8gjlm7cW86GW8
k5l3mAaw5w9W3YwCT1b4MbUSeEAZ/Y9RFexblAU295e9eJTlK0uzd6vhKh1SRJ1xjh+Rs1A4xRMq
VN8ET9XGOJWvUrTR/w/38/IX/meBs9ytyYIBybTWOOfjp3IMN5Xxho67XameY0rpsTBkNBFWus1r
mzr7wqiiN6ZXsdSyzHaewGj7gLhy3B5WtvRPyL1xJQTadMrJcKzNJxS9LEfKoSutc5k33k72unDj
IYP8uUHS2aniPH9KEebYh5k6Hl0VlYe4UOsTgvCu0wcu/Nt5RfMmasdNJ6JXmWVGtwWP/KqrFYhQ
hgkgNMsc1RWeaq9SN3WTxE7JGL8jI+q3GfReQugxZ54k8A5KZxzjztpk3vCzHvwfmRWcjME8Rjo1
yLiKdZRdM3Tp5V3raxvXA5KcyB+8yASeKx51o3pE9aRDVV0Rz40luBul0o5qOT6qYXoKorqmgtt9
KFiejRZIvtWUGE6CpJLtuhvaDWzjtqAn7ZPstW+N6wbPo1SO+7H1s48QPypwv9JkQCZecJlvQcJD
4DrJLGvjZebRirNfjRjqtjya1baKUaxUJiXeQLBp8Xkbd/QPsmEdJcPfB6b1MkouZUBDMic00pOp
JEjIozvRQ5ZZ6SIAT6lPnDJWfkZd/MNLzV2FHBdH/tWKtMsQjm9enJ48tT6oY7lpDaRpFfOh6bvv
Ujx8qDXrZ6Wm29KFq8qvO9sQ0lON3ms5JDsrtR7A7r2oQrwDsryLZeWoF8UexacPQemXD8Day10v
9dTZci3cJUbWP/ZqCd2ygj6m2GqQ7cpS8lwpzYAIZddA/h6XCNcLcXBUg0j/YJa58kHvzRHtQq17
8y0TsQ0FjfQHPRF2ml6ehT4LnKwJvyLTfun90j8IYxg6VaJ0SMGv4XoWT5NGwUuULLD4c6wtUsWu
l/e5dY4SfDBN0TsZGsYxxLFbu5huO0JcTAZ1GgpRkn7DBhVmVSxXSmidC1ev90pjjBvLTZ6KrBrs
SqSrOqa8Z93YKJ4tbyJgq7x9mRTMiEVx9zUeO9UB1NU/SG6xHw1kK82ARoumj+2WCewvYt/VK7fJ
0uZQTmKCTFHI0OdcLlIXAQkOBvNsGtE5CFMEamT3u1tkazOGi4YMGIo0cgXAt7NXVdCOiEUEiXkO
9djWG9eJamSQ115TK1bmoJKkFOqgHyuW07VU//RfReM/yrW7Rs98WzMwJukRU9Wh8ZvEv97fwWaW
KJGUWcY56vuj4pYPXhivFb9vi20Gm0WKDp0Z7BxzG4OQI1U+3QKjnL4icco5y5+8vKvtKlA/378K
lvbt2tascJD3KmodAbayzv0iDfWzHApvnTgc75tZeMm/X9OU21zlLm3VmKKAqvM5R1KVvvdjXPkb
t2pPGuKuqAF8hIlpj9BuB4OMuBk1Y6VjsbhOFMCmpgyw+3m5OI4CzW2DhnSl1o5C4x4UYWCG0dzd
X+fip5ueu+oE77Dm5dqo6GHUS8mK1PSTMAla157dST/FRFrJilYMzfGtVsMzM+rJTsweQSORV44R
bvpU+TqE2YqphVIr3+6fRRmzZ3UqdEmpxlNWglqi9RCg1AQ36Td3Y2yJqBv63xt5Vzu6aIubaJOg
qb3iPUuJL/iFKb7yiLzpDzexVmXcTjzmUvEx9bRtbTaHriXbrtPhoTO1lRfU4uaS21N5VwHOzEMW
gyZD4tcpzgLjI0wVW+zb6GWhAbmCH1m2NDUKJ5Hnmwb0JKykZ2rAyio+ne+/GkgXOj6TO7lVfv0P
vqn9Y2v6LVdHMDelQqHPbJzT6FGVO0aS9N2AY3ron923tBQkmSbkVUQ7H+HcWcj30dvTw9TUz1LT
HVNlfA7rYuXGXXIJBBh5f06X2A0VWea3eh6TvJ8NVJEjnwu2fg586ckNX1Pz8/3lLMUOHT0YClhc
lFyY7zeObpevDAIfySTRs2JUBCXUB9CvvG9mcdeuzEx/v/o+Ulanmqhgpiu8jWq+tv5/uVhIsnXq
YzSvbkho1bEoYXXDAqJdhaPmzbNb1b0t+4KNavdK62rBtVXm4WlbQaZmMhHzfjmI7YVBAEHYWRrM
R1fTLkXUHiwpegUKsb2/cwsIRS7LK1sz1yaNEf3YH4yz+LHZdqU90byEm8QpoOE+Wo74Eh1dGyoI
3/Yva7jShc/2zvbsZlOloi+CVDTOeiq8QnfzVsjlirMvlIpZnyJCC/anejfPZM1BNQVRqzm6vfIt
N7t9VyHVqBYWAIrXAHFzlIZpQdVoilNEVs1zZ0r7qNBXPHShkKfqlHuQXqOaSdvt/SfNBUkQfIW4
qKAQH6Kp5zZPogcHQDhs1PqtMVZcaOHgYY9GG1qrPFbnxAqKXEVNooUkDdRr2/pTalW8RuKVVU3R
aPYWRuINzmJKx5p1A3nSKr9XJIIhcZF8vKJ7KRSvVZrZIWQYgq/u8/RHml3uu+zSVlKn5mxMbIo3
DwYtFkejsDztPOgxKseKIdmRGQeOkfunLjc2oaZ9TMzVqt1C2NRE/EhSIa6F6XD2BZvUr4WsC7Rz
U1Ke3HqvvbrteRBup0YOc9FflOFFy56HzYTAXisZrRmfnVIP8XofynPtbOk/dIByhR/YIUSLme7Z
/n95EUwlYAIPktLiDU9GVZnIPKqJdi6Fwbb8r4nL/HK4Nj//p841857p6ffnFqKQMu+pSH1qep0w
7Sil5cCOJAjhnLJ1UFycSvutXdsiRN+fM9nm1oCazt/28n68oImxue9SC7hig8ccIE+uXNoM87Sl
SnUzNGJXPQfpJ3xPdpq4RZjyUz9uGT8+hvJRHIejJ0Khed/yQqin4wLBn6lDA3mTXDdBa4k8WNQz
XDi2VaZOPrBcj2dv3nrSirEFL+JFP31TnkfEhOnvV9dkn8dJldS5eu76fGNEXwVJcyBOtGuPitm/
ZeABWkKDH9ZvxI6AXs61CGqPBrycBjS+qyep+eAbaxM0862bDCjs3AS3ROtgzosgJwGqZDINfg+a
RMejDmZbJkKmqrLJAvlfPoL+NkYnBv+YYI+zrRvM0qR8bsLWqcZHpe4OlV7sZL1eGXKex7a/zRgw
ajFtyzeaBZk+Ec2uanUfJnjzQdbEfRJDSubGwV7OQ6fvowAd4XytzTa/h/9YNUCosJ0Aj+YVeS+P
h6R3WVwcKZFdyeLXKjC+3Hf0+YX0tw0G/IDui/j6LLENqixXotQPQFDqNXU64INWHr9Fub7GQzP3
8j+WuPJk9KT5UHMcVdaalm9UqX9BAfLYqG26HRXlOHrewbOyD4kbrLEy3eQYc4uz9FNQx65s/Mw6
W5/KI8RnTxWy5pFTDvbwmH9zt+Ovf7+XODwjEH9ixxxK1aIVII7Ip1zAxf+sA+sv0aKaKJdg4u8b
WnJHOhQaTx8KNzfYJWsUsqCSR2AeBcIecWML5g8jp+Grf3clddcY0orBJU+ERYJgSNub7uPM//mD
FZRxL5zDSnkw+v4xGddIT5cccUpYmMehugns830Q1MPSC6VxEM5F+ssv1WPjwk+RrkmVLFrRYR5T
iE+Idc0WotU51S0JyoXY/d5VmuO1Xzx5Lf1adDy2RKEtCTsMV/b7tXRlqUEOyoRP3w6hPfbGj06M
cqeUu1OjDQhTQ8qnZ/1OrYLfSWz9Dt3smWO4Lcpq7VW5FI2vf8rsDET9GOdZ1XkXKZWPmfZJTZqT
pzF7/vO+Sy6veaILkwxgfTcMfIAlCCWITwNs8Q5u7/THgP7dNClB+7CLmIlZg/AtLg1FaJ0cQQTB
OIv9cgolhud2wjml1xAFJ6mFf6J4bOtue39tC4bIacna4XmgOTwn7ba8QPXrRhTOYh9tS6RE1aS2
m4iBrWLtXbRsiufldNBY1CwcF/Gg+EXOyR5bquuVr4iO64XQDJvSuW36diXzWDgOrOx/5uZkQj0D
DJJmsYVmLD/EaunUDbK0Wb2/v4E3r1ki8Ts7s3qbVptx2GrYGV/Ufbf1RMfIbOmx22d76Tn9bDyJ
uxx6k19SAVXGWpJ+M4wxty6/P45VHKV9NkQe2HnUJDxbc5kdPjGTsQ+OE3Kng5/EtD3NqV6Sl7UR
34VY/W7ps1jgB0NXJSpxLbCs42g0jhGpzqh8Umrmo4YXeVw5iGufdHbgEy2NUmFgqxUfoh7Iy12Y
kNHv29z/pAtmoNjmoYeLwH88v83zOO1kOQJ41bonHMcuq5hTvlJLXDMyW0tflk3dp5ZwNsCeFP0h
iwDGqt/vr+SmG497sBRe5YZJPeyGwCZsy7pLATb+iVxZu5FV291YTrtVd9qpezQ+px/FB69y7ptd
OOlYtagETAiqG3p0LwAHrUTcREqhHWivHlCydwzwXMPrfUM3IMC/1/c/S3NqVghu2xo6BwGIibtX
oTv0d+IHZT9Nk1mbVUmq6Shfvx7n1mZH3XctT6g9gmWXoyDTtxfLCJEx0h+BWoZ2U1af/SB4Futi
12R94eSFtAavmLzi5hcoPBun25eLaHYveJrptV7MTVR3e7+59EhM39/RRbecxHU1RlB5IU5/v3qv
NX3th1FhwEujVRTure0oHZR+rS+3/N2uzEwedGWm9mNNy2oVM6fhVB6nAW/laWpPTAywa6w0S0GS
ej3Hmftbh2drFqeyQGhGTyFI9jvBsnnu+9RPvK3/Ijjat95BJuBnwyji1AxZ1xKbIvDNJ+OZA8KK
vu3NczsRkHZg8pH88pg8K5v+MO61/QS7jzaMb62cvKVUxeKRhg4fmkOsdOYgsmc2ot5lwrkPBOoZ
bv7cy0pgN129pUtyCnvtVBXdmcC9bTKpsnMpe0UyMLRVb22WdTEKXP2U6fZ4940DS6agYJyH6K0u
ThqyuFrxLCtrLrt4JgjTAJuYWL6RGvYjBpMisyaFaeLBHg1Bshvh38rq/Dn6FKYsqH0Zc5oXjspA
0JQsDmARDmgVvgSC8F8OHsPfOlOVE9fY7MNB5ypFTcsqZOHDIH3RtC9Jula+WNopdM9phUOzyKUw
OwcNWEbBryl+Z/WPsfsd9z/uB4/Fg0YyOVWzQMXc9F5QreslNx1dKvvhuaw22fOUCHmniGmwtnAs
pt0eh+OEl934lxXbS+eMiMLoDYNht2ow9BP8FCJRl3OmQ23wdRpymabQJNPRWzvarSU/S5FyorxD
JYGi0E3dJCi0rukme02ZOYVXOmHLv2uMJkuHCGQqZS1m8qWbOoleaV2hFJbGVfrVCDpbsjrbTb+M
vrxZ2b/l9fxjaXKeq+NK4T63YuBiZ82GsKWhZ3Yoevg3NdiC2r/8fiNvmgjdoLXovLhCEyyOOWm2
wDjw3q5huqWkuJ17toRdUyQ8Hr82DCuskZsv+v6VmVk0AuOFYp4vu2e1bx/SerzA+He+v4VLJmjX
gCVm/Mukxvx+JclYIAtYJFwzTfRgKv+PtO/akZtJmn0iAvTmlrbNuFZzZjS6ITRGLLqit09/omax
u90k/+Z+OtCNAAHKrmJVVprIiOROH2TvtonlR0JDRwRWAXcLQN5FaApo1DC1IKDXM48GkwluaXPa
VDVfLoS1jUR0c/CI8HCf1wshaZQmXYNrrHOvPP53DjQIt9exZgGrwB8ca+Av2DovDhtk6cnUtLri
p9QwRdRSx0nb3TaxtlUsWddAZcFu6MzZ0U5p6igmsi93P+LojRZHYbOKufLcAjpyYYSt82IdTRcH
gTGlMOJJLtghT80r2B9tFsckjyoePPv2otYN4nkABzCKjYtSBJFauQekU/chYTyAYYV7rVXLcFB1
7EyUfECYu8lAt7qReFnxZmAMYTG7pw98ieCglH1wNJti8MVLL4oQbgQuK0bQo9TQMkeNTF+QsnGk
JSh45JIfyqEdMub36iMrt9TBmS+5jsWwdaBdhIYSWGoW1ycLxCIcGg19vPIhSGQ7AXGAkR1K0Fhi
ie7tb7VyxgX2HIHPBXpH4BC9PhuFHk+TLtaKH4+KHaIuUNINAPJiPgQHACZQKWVv0LJrBrySAnrU
wfAbcNk3e8ZhGX2ptv4oWIrV3Ucuv1lwYL96toV43aHwhp4EEyGY5UAdZjXSVIxVZFyDXasuFFq8
CAmlmpsaAPyP3HanbM0kWIWQj+MlBAH7zB1FSVrmI8FXa34OtmQneJXuUaTCLZueI9fYbxVSVz4c
YzH6t705WotONY25MeB9ZRjcKc/2afbj9tFYNP/w4ZCPM3wbQ3QvMUs5hnfBSsL7ef2Z9gdpGJxO
vEtGGWHSSQwMV4kGCMRMG0dy+dZemZ3jLumUqRmpVd7v0fwcu3dN7swo35fV6fb61nYQhAMoLCLW
RJw5e9ODGqIbIcjQ/V6o+50eNMRE9ZFudK7WrOhQlYOeGERdF1wcfR9TxEb15BdoDHCD8Upr9eUf
L4TNXTHuNdCOLKrdYQQmMNJzkh9LFVoRfPkT7/IWVczaabiywhZ68YoITQ2oKFEkH1Du1gqz8lXr
cx1jRwUw5mX3keeQux5LzVUqAczKkZZsOJIV73v1A9i/X/wAMIZ1NbDQow+FJ6+MdFSkovCN46b9
7e1kN3XmPHDawVyCFAFt4XkJOEjScKhJI32Xo2ovwQQMY/jfGmFbWw5jytPw8q/0kMRq5Llp0kYA
cARTlc/tcM64aSOEWblLgBJAlRZKabjD8zPeN2KW9mI2+qCGtEUiWHry3tPYViDrdHvX1h59NBfR
1EYTUwR6bnad5HBMEl3P+O/xOMa40/FmIJmq3YKKXzTFVwjcbZhc3i1Q3ACMIQAHrgOAMjsRckDV
Vu/wsqR30YN+AODEVZ/Uz8ji3dAqfkVu/n7b4vKbAcKpMWlUQCL0RRYfcGWoB5Mu+Vl7R9LcHoWH
nG4Jpi3AscD6AvahgdIbepRwObOnREw6guR+lHwAhoSf4Q/FlVEKAi/Uk/FDc9D1OPGCObr8HYZQ
Ua/nzebtny/z4gfMC5a9UIhpp+o6lgnFcEN4KqTaqRJ5wwGvFNiwUCBLAHbRgCCYQ4cEoR0UKrQ6
UMCMiA+H5pDhnR5d0f7nI6NsVxXG7AE6FgDf5sWRMqtEZQDI2Re0dhdOwkun5h4g4ramxnaq1W7P
TxvR/Uplm60OYy5gmhYhiDmLQwwxivimhk3xJP9JMsB3Gu0A1ro/vNs8QPZYrC18wexxK49cNQxu
BZTUZXRaFyx9RdVGeqqW6vdlxDSB+FudrOIx2Ac7TFrlZuunqRdtRkFrF/LC7Pzp1sowS/K0EXyq
7TP5RBAf3D6ZK40svNgqMgtEqygdzo/M2EOYM+EQ2TH6QVZLj76ANcZ4Nqg+J0feMdk4SDK+QmJq
K61Z+lK4NuwpigCsZzA3LfMNMqkYEdcgBZ5agsVLmSxVBJ6h3AruVpzptS32Wy7eOr2Dso1UIgZi
DOISgQQU+MPAQBf5uS/9Js5WnWghIoDbcbW4mfc2+MSowgaxHtlrYGhLdvDfk00L0/jgPcYHzZnC
Tn3iXvK7wYl5K/uoz4XV86b8Y+MLLwNp9kvYLqNohd7yLCOBhmwVaCmWPp4aUCZQ6GwahsXGrCVn
3EF74XnD4IpTvzI4C2y4hnLKVEgKGCh6Z7IFU5J3nAOhHDv3qx+iCZ4GzdlKUVZuCtrmiAgB/kbZ
bJ4utHJeRK2sTD50837UiXzUaGHfXtiGiXmG0E+ZkVdVzftyUjxggvJOhlbubRNr5xRJnQA0BTw4
v+DSB3QjERqxk33RE1zgyzw2waGee9ThoNxo9RsvxsqnYmxa6JDIYCVbdOdTqsKNqyqAen1qZkDO
5ZVf0cj6i1UB9gUsLVNwWXRDUAbM9C5CQD24UcTYCj0wKTiNGY9O8UKdwuPoRiiztjBA2nHqIZy8
5E+eZIw8xzGCQQJ/Ihm4bNWnWG0xaW1YmbtnLldoJDSIoAfpS45aK2gOYbIl5bJlZPbmdT2nt40m
jv5Eqpe4Kz4KrjtkQbYRpa+cbsAm/rNj37HFhYdU+yDuRoy1+pGmuAaIoaRh4xis+HsM5YmIGSBo
ssQcklFopzysRr8syQ99UI5JChFUXlQAyh03vv+a/0USwBDjiBaWMEA94YMgbnAA9HsUzVizMcQ8
ui6YgU9tEOLsWpCM5PecpZ6zyOTd3KVe9ErD3bQlTb4WlaEWhKREAQkBLvXsA041UZJqUAc8sZIr
f02dq0N7EBQEVvmY/w+cq6yofZ1voY1rQDpOY9K2C9w6JIF5LkhHlBkql5Ps4q4Dcgkj1tkp+Ypf
tWdQkaW/tT+5DYSMpfm37/oCbI2HD2AfBRkE1GPQe50F20El8wiWEqB7FEwwx1B2yCLV1Dr60IFw
LGoTR06P0VRaQcbbXBlZpYxR9Eiw+aw7hPE7VxZ2VfF2h1ljXogfpKR/aJXNj7LyKl7+zDkxrQqw
FQKQCUURi7f01ATBuV0ctRPZVVb13Jt/8T5d2ZsdgraO1AipFe+XIEiIp5dJ3xriXdB9sJ3HSCpA
yqiuM3ad6xinaPKyyKOE9zu32acg8umIqfBmec9IwJl+T5w6XGwaT1v955WLrWOWEQBsxKpLjFc8
9hQQBXn00Ww2lfZVqaJ7PnoLimDDR624QkadiYwDpUjkc7MVVg0fx7TPR7/mXnX1IZP+dMr59vld
e4EZKhThKMDkmMGand9UUtsxj0rYALZKIKb2zsi/s73gJC0aipG7dTJWvxukQjHrheBlOWfSdQnQ
JYXafsemxZP4LHAWQe3ss3AMjzptY6YY4R/Qhds0vXYLLk3P+mOdLA7l2MA0C9Vkq7ao4SYeo+YD
cgwa6Zhv3wiiVj4h5ndQHgc5M9pZ81wcZNy0jSicU5Ls5CawYhVabb9vf8OVpwwy9mgyseIJm8i6
vgjgwe+KXiKNzzWApwpmrW66D3HpYy9NzDN6Q40xAZ7yva89sjgtPDRm7+b7f+E7Nj8Tcw7XHh0V
Lcw2qmxGn+GerheEJDAMIllv/UHO7EK+q9PMFKbjVLyQkZhF8JymJ6H4gxGPjYR7uZOovQNJDwIZ
JpQ+z7fFSsiLQYLhUlWsAmzAZitBFe/251rJQRlqhYFGWBa4AGOrqQLC4ZhrfDFwIlCPOI2v7Igd
We3P+qPMzdIPQDCdOgw7s7m3ywOJxxnFBGCFQBMECM313gpygkk5BVeAsVARaklHQQBFOYzbZDc9
B0iEG3P76i195pVZg7FVXIRbgHlFccpuXp2DSSI8UagTFvWfSnq9vblbdmbvTq1HmjbwaedPvWQL
IFEcjNIr1U+QPfyFIWBAWNMVNd55i2jiOlEYVKnyR/JTSP50+YnjnoJho/q/9rUMCJWjwAW0+6Io
ytUhoqxOrnyD5oemyB70STpOo/6PcZps6A8td4xG48rNH4GwLVSRG6fSF2OQdgb9YUromYb6xrDP
SisPdnSkeYwdFVXX2deZ1Ews9GKqfPmk/Zzu2EiHiONwBz4yu90Lz+37GG7ctpXIGFcaG4isD1cN
4fX1ydPETEAnTy5w4BUIvRp35Kt0WLnQeM1B2tS/0Rzhaban/yIdlJzK4p7y92gLArLiW65+Bzu5
FzcArQKp7Mqg9qFWhTtmmFr8cvtIrlTtmIojULCAuAMdNMe5UygPaUFrFP953ibknGcmZ2h4vBmb
CEj7160Zv5VyM6xith7UI5howTt0vbBO4FJVqwZ8VI/61R3xmCo370Dc8oFR9QvH5jidwFZQvFTo
IWxzZDLXcf1awD7GZAGHYsxv8xZ0VBZx0YAU3k8Nr43HXTTF+8dpvFelF7TVUGziLQjfWLf3+vvY
zK1C/g8cCZjEMxYMgko0VnpHcJQnw+QPvEU/QbnLvwSaJYPMEYQhKYa9Vbtz0h8K9cCe3b2EFsQK
uJPgbDeDlm5PZ3SGLNsCFzQQDLNvwI3g3iBa5bexeFQLMM1NgQsmTytPpI2VL13Slan5yMHYG5g0
G/G5RyUDTdJH04pWPv1jHXLWIUGx3WBU2hIqJjNXEZYT4EFiVH1HieGxvP8GPgPWrXiSQw6h1YBU
eut1ZEd18VGheIBBETYpOH8cCzqEnSSWuEDNezPqFgGRWwnwTl50brnJKL/20cBJz64NehdosV1/
tEKtY6PTm8oXKswwZIozKrEZyC9J2Xq3T+vaunA1MckEUA0KYDMfGJY6pxmTWvok6D0jkNw2rb1h
LOyOVnsxjLb8/DLOBqcHNhELY35t/p4QXo+NiOu676QClHG2Cm4PcPLWe6hbfYXU3HKuK2k4Bl1A
R8CKAMBaaXMnxOdpz5W4jm3LP+QYhJEa7hRNUJaRpRZaCjJn61wLfrWAH828ywGbRJsBjFa8KYba
0xDrT/Fk7EAA98YnWWIB+jmYddarDh9rvzt5Sjeu0UoadP2LZ7nIqMnA00eUuc3eSYBwk+zWsCjy
Eek+8qNPGWDtj1E3s7Pwdvs0rJy7q72aOQu1rkZZyBC6EK2NTL3HELjQhTYvZwGkDKENdNvc8uG7
Wui89MD1QqRPVVv5nfwVDvsm2SpLst87u7WMlUqGgC9KyagHXN8jQ6VNXitZ5UPkFozF/2q404O2
v72OFceHqS4DxWP42JUG4DildV+R1o+jZ8K/liGmujBHdtvI2hsOWjjAw5AaoJ4070knpEtloR6R
HHio4lnlvVFDDI/YkEMFgWhaeIlt2NJGMLsSmKFac2GVHZmL4IRIEIZKxq7Bhc1/Fy7yb7N23zrQ
nFfmNy/yxun/fpDm3wyRM8Z20KOG6dl9pTTgm65sS8Baer+v8/tAwFWU++GHXsa/x77qTQJGe6uV
ya+ARu/SMJ6ntgfgq5fVAwhkW7AfxbEHRW7RGhTpPgie4wIi7a3WW5wxyaaatJOpVsQBi19q6nr+
S+aTj6EnP0W1eNCE6C6QgTXm2zaydL2x655/6ACprxTjgElnm7E7ltPws0pTwxZ18piUdeUk9aTZ
gZCNZirmYCuUQZWhi8mImTToe0MipLDausmdjVOxcofQz0LGyOIrxuh3/X00vEqt3tPy26ESq79X
QWBjaxjO5O3ql/xaKTb3uWFzJa66sinObE5tkJKuL30mktbfE7sz8zvjUHnK1nOxujqUSTBqyzL+
eSVPmgqlT5Si9HlvcgXFURE0qk+RFf82Sos+YFzGTt5vr25ZNGbUCf81OTvwalvqchp1JUoMemyD
uemUFPVBCHTV5HvhhROrI8BdW65wBQSFErGOtgBeKLQf5s8UjSZZKAY4/XivHwSztNS95LV4FbdY
tdecFSAmQMIBVc+AjNcfLyjiuK471ITKqPL4TNulZX3fpFtThCuBBYAmqNMwSOuSc5jrxlBuKg1J
TX9H4up3qnEmbqJGoGtcaa+3v9naMbk0xv79wklh5Mwg7ThWfqIOVhrv60nc8L5rYQQyRQzIM5ID
ECrOnsbSKGtIm+S1n7zwyF1qT0cB2ZUCs8gstLOBPMaYR+Vk/oiDmh0yO3TlH1vwmbWM6vJXzIsl
XFz3wjAJxXfsWz+gCgVdE2hPaCZGsq3iT3PUUOAWnKixZMONHfqsPtze6pUn9eoXzPxNmMp5L7LQ
tGwSzPWO0FAxTJLQPRGCd70IzGyM74sg2iw0sv949i5cGZ45HTrwIpUTfGOQ5KNCmx+mnbwXDvGu
+NoC0K2UvlFd/+/Hns8ZcJQScBbyiIP2aNzfUZcJxoyPvct5mcvt5Y09Xan7Xdubnd+0KqamEpA5
1U7gQXVSsqXwqfWYfoSOHomJMYeotikGHl6YRs3XFkjj/1gwI70H0wrc7OzRrSc9LKsWQfJ4GGww
lO+Gd+OhdierMpvT+LoFxViJM1G3Yg13EY05PPLX9zUA76zWS1oJAMHLUJ2l/Fh+Umgh3j6qK54O
kDoBGAKEZUBLsVzkwisA6lG3uU5qX45fM6W1dfA2D+NWZrh+J8E3gRFj9C0WXU1acyNfg0QD4fqY
mh1KKkfgBc/dEUkwuCYB+fDAinpHD/Exs7elOVZ934X52b1oJHCCqV1c+WoQgFEgslHMs29v5EIU
Aik3U4rHGhF6LhmDw3isywEcYHicmj15Ak9wsZfcGk6H2BBbHM3mdbpjWreoEZ81B0S2ArRaRRss
m2QwSWtz/sYvWg1BLn7RPEcydCNSCvyi4ucI/0ssYSc/a0B1Q4zM3bOqNTUfgtQdqJPbCSbuNsPx
tX2/3JPZgxBFaSjJGHj6BvOWp/YZQ/nFkUn9Ss7wRX5pT1sqYmsZwOVnmIuwTDlpRCNTSn86N3ax
b73gjUG3mmNp6yYIvx/73abNlYT9yubsquppRptExTLFe5DLwWbmDcSNEF8KDr+rX8d/Ps+Ks8bG
WYETgJLU/KHFMx4mXIuCVUY/ivwY9H9uH521SOvSwPwNjcCKjNhEZh+u2UvHZqedZJelMvkGM+vq
CfnvSozZ1gm0V4tIhyG1BFUM/5Z1W+/G2psIsDCiRTCLoiQ2c9ukreR8GAXcAlQvTB56WlZNjMQq
glLxorDQTKOl71AeOYNlD5qvIJs3BXBdbuRsK4Ov+GYMrsXqVRicm8WU0yRwAdfjkHQfFHOSLwjE
dtIx9zQn7EyItbCmcXsWZDN0pY0UYXWTL0zPwvUUugelzlwTp5M9lwC/X4mft0/Mmgk8I9hfhrRF
jn/9jrTGSEnWlcgIMrIDiazdbqmWr71UlxbYL7h4qTItaQY+rJFQAaRFDNEStGNYbY1/rVoBDROb
AQMD3jyznlKRpb8BrJTVs64UO0jZuhHf/8WxB8YSJMEoiaCCOduukWsVCkFFlBTpc5bcqdLz7c+x
oOdmr9Glgdlu5Y0+Dqncl2hmdJBUEUziGk62V934sCXishbtXpqaHeyojoZCDrGWtARg1XiK+69W
iq2ADlbR/gblgUUq4XB7favHDXcSwxVQ+QWh2vVh4AiNVZpheXz4U2gzM+y2POBa+IWIAQAZxoO4
mAOM+CocSkMt/CI3g95GssSU6jmrysxUt6oXWQAOjEdHRnsjsn17daux7qXx2ddTp2gUpwrGITD1
0vnUJY/ZIfzR3bF4V/KC2sk+MSIf/wptccNfrn7Ni3XPvmaihWFDS71A3QKef9ftMDe6F3dbGfZa
ARe6VaAYAEkJwxHOQoNqTNUKTRd8wUNwCB8wmQgd+w7lILtxRDDPcAf5PTpvtdvWSnVgmsQ4mMza
XiD8uD44vELjitToZ3YuCoRmhajHSbzoTnSpY7xVqJVsXY/V2PfS5Cz4FDISkYnDx2TjkMM+OEBi
dxd4KCqcZaw5s1o3yhivSWXlj4a9iWZfdWkXS575mrI0Ki6cYB91tp5YP5s76Kp7T4YlAt/YAtkd
75JNMbzV63NhdHaCx6GM87jFPgcCKH7LV5mHb9A7U0i2kt5VS2zMSkVpGQ/P7CC12SCUdT6hQz0M
FnhKdiXlzSF9CrXT7Vu5Vq2B/i00ShXczUXPss5qEHlpSECNAo1wKfqtK/VnIJJ91ateQyP3trmV
dWFyhdEyI7aEH5qfVIKkTSmxg4oomlJDrKCU0WBITS74c9vS2qW4MjU7oSV0eULAoll2lj4NSFgE
M0avMGWw09qOAR/CAMDR2IAL/R9mUZSFGwdaaO4CcDpiolIUahiYpnirT0AUIB3sHN4e9/r7Noxm
5SZ8UyKgOQmhswU1EhxCpYxVji0tBZOr78swdzDj+89T6isrs7RLGSiArEZa+TqVfL6TdnRqvLxu
N8Ata48EqhAK2tYQNlhKU2RJEDTD1MOvQIVQcVM7sOWn4EnJd4zZTTmIdnaGVC8wC0+9trHGNfcN
hikcT7BYIOOdx0laQBWuryUGlsCITGRKaLN0O8jaAvwo2ozw0N5terK1K4EYE4O2IJ3QxTkYJUWc
UQepyCp7vRM/AYjLWK4Dv3ahsWjFO4gjPYebkMuVWIN1fuFfQB4E8syZ/+z5suiDoEMkYIyoIkpW
WidbD/7Kq3tlY+YuQbXBRW0OGwKAXZ3ZRUDGmvi78chwlsRV9+OjAGocgENg/wFtC+9v6ltXv2H2
8nMAaItKhd/AH6JdcgIbPIQsLdUsfqtu94Xm+tb3XLuOGG5ncTaa3Qt0ZwOJLaMLgReojO4jFoEE
qWJMrQrax23/tvoB/2tnDr+UkWIC5g47BuS8ROEuFrfycWH1+4HEARox4PuBHsN1WIF8Ukwnvf4X
dkj/k6HmEz0Px2wXu+FXsDO83IafEY/1OXpMXm8vby3AwNg5QEtgW0ADdx7TDLLId1kZsgCjBgl7
eihTE6yuw54+RvdseEs6ZA1mZwgALXuyy2yZN7fau6t7jJWjC4qeJHbgegPEEKPOqYEUs4iDs1Sg
kKds9hdWHmAJt//fNuYjVVImJgy1jos4lLbc/0pR9dWN0SoTN2v+ImdmXK7fCmBwNnNM0NAHpCo1
Ofd59FELFOn4gWw5Ufauzsr1lzbmYCBe7TN1CLkcFHd0H+2iA9oTDnmQILf+N9OhOqa2wBIvYawK
1DCzeEKlPagehyH3qfzVxqk15b11+yCufR9W3IUBUFZgduf6DCDab6tSRg3AyH2lO7QSIEDlRztG
JrfZC1zzHRjVYkxoAJEtxla0yWi6ro5LX8fk0RS85epHouV/syAVl5pHeRyGZguSu1wAsWGLA9dK
jyEnv8tkiNxWh3AgBaLCqwsIkt7ew7V7hCOO2ASzGTIAE9d7qGSpmmtGBZP52Jrg4bMbPf+8bWNt
7zCYDGARCJxADDNbFjdAgHPko8LXhcaLNf2BUmD3jXIrSV+1A/0bhHaMwGSOLOmrriTjGCMHaCIX
TEs80g/gY3ixpPbtFa31ZkAqJ2GoE8UndYHgy3k5B8eNgpFRe/yTPUQ7zLNAHJhMlmTFGFzdrOat
r+0/BudXt2u0iXIaDGISOjIBCwMHs0NczRI/xg71bZA72akn7W+vc+2GYapcgBAyg5vMoy6AKYM2
ldUcDGUYDEpq+sE3ySMxokcUP3dZuXWjV08jJoXA6cSIvOcXwIjjpmolrLJL30b+iQ/ebq9nNYyU
2TkHcx2TcZs5pRCzeIM6TLnfGJNVyoaDUdfoqBl4r3QYt5jAgaeN2V0AMSWL6DnkBtq6d7vQqExQ
QbxKcXiIK6pDnjfd/Mgsspv7Z/B2oL4EEjI8AexzXJQcK1FPw7zDG5Bh/ls7yGVglxOyoeQVmhwG
RFGlVjK74VOeXhP6Dn7JjRRwfXs0vOsMvQ7+GvYDL39ArihRmI041pLFfZS7wR3QxgFVTmB/IByk
kwVPaxV/wY4Cmxd22bm4sJsNBd8VUo+3Atd2P8UG1Jd68SUMUS/YOAGre8xgHWD0ALf+PHjBcFql
pWOdfycSnEksDKFxFuNukqzhfnz/mwqQxK7Ovw2yR/lybWLcClLXfN9cW54siB1LoKgadh2GOAwQ
UXz+D/Sy/FrqgioXFFUYjfqCuyQTiFCLQ5H7EWINN6XNH2OcclMVo9iWleRFVJPj0JQUI07DSUzF
+z6RlLdGo9wuqxLJkzvyLPYxxD3L1pKE1MlL3cu72qGD8SNvAPxX4vLXRLs3vJlvYS7fYf7mK9Q5
Ypd54lcg4IfScvNcFeoRh+2gK/FZnpS3pJP2vMydMj61ukJwU0jQ5mO5JxmSungIj13dHKJA4syO
V5+1BmimXj1xPWUoFVfBSyhNrVd2BXBkvPEqg2Y/4fOvAmyoZp0LD7WqO71hvIHlFcgkdSAgptFP
qlp6eEbhprvgFNXtQRVStO71X8lAnuWuPo/ZdE6F4SuVyX0Mgcc2IFYeQCcQW1Hn5NSmIUpmI0p4
SetpeusCkunl8eAUDbnXWu3Qt6qVFvRuannQ7gTaLh7zR60rrFHsj01WOUqQuNBzfw5jQGGa4Ui5
4o004+sY8xgr6ndxXRBzAqop4vl9Oolb2fta7IcbjdwdnLSoQ84e+pZCqJPrVcrqyzIAcG7tZTj2
IUQ0ze4BR9C5fdFWng5MUkPaDgOfSGTn2CnUk2nDZEj9gGv3/BB6QjbZOv8adyhj95tMISvLuzI3
K4KQVpUDKRIp3sfeGXyUdt81R0MaBBXc7cLOGvJIxiArnn70U5bCFi1elgby5dQXSpsDouABHFkP
7YsIGufSC/zkObxHKnvG3Wkyh6mpF96WY2EfbPZYgOkVEFo2noOJrNlTpgEuhmknbHCZ/xkyxUqp
dCqHnzwPfHAKIF6UHRtZ23ohVtznldWZNwtJnE0qsI1AiRjnknC/odQUmnKK29drJ5ESsCQZ5hRn
qZnk/D2AnFZcKWbT9Fsh2EqsgF8Cvk42FqfhO1z71SIhbcDVLfVbYkk/o13xCMf0kYdIPPm72MFH
9xRpy+jqqf6v0TmnQgEd96qRSnbMRieWzJi3M9E1frBhWEGFjmmkeuN77PWHcbf1wb+jrcUXN4Ci
MHD2xEXPU5FIHPMYUfVrwHx/D3fNY3oOB0t+yz8UT3Qrc7jvQouc+p3h377MaygHULv+1zT7GBeP
GCpRNMIINwVLpWH1UbnrhH6XD4nVyRkULFjGtW8UN5HGJ9L+kFXEpEmNlgoR7DQ/b/wYdrJn+4B5
TBFlHA2aCAumQi2MaDEoJcIkgGNMRHCxqYXpbhyGj6bo/9Syskdo+liG0i8SKK/pIG/G/2uHjzHe
I1PD0VuMntDSGOssl7Jv4JvmAmnoKLGlTEB+KAfqUC/Yhn1/141m6wYUDC0BEE4yCZbZia8TcO23
E76/zMkHCTUgHL9Ec8e++6VRTTFztXkX6z8dWGxNqfI4ENqDkZd3u7y5D8j4gIxoL4jtVxIWd1Wg
vyoxeUrkztba1M9yA6lMgvwlzUH9ECc2N1bgn4DueVoUwLnlzSen5fXGhVpJa8BMzAPfhhaHsphv
jaBCT+s6TYHQDB2pyWzM/pnKyG+4rQ0zc3gJ6bOuCY0s9bkgs5WAP6QRdQM+28A9rJsB6sNg+Ys+
R+wFZa9nikBSfzB6a0qavda04PoNNhoZK4cPJQhs2ffE9WKCIlTzRO8QxPla+ECEdyn7m2r7lYWZ
l08LSeDEFhYiqfGGQkBD5pc4eY3+VSW8FRepE4IVUtJ6u+jfm1D1koz3SvlzlAxLbf9s3PeVtx39
fjYLpaH8vyiL5LgPSViKiU+M7CELf2YKJtnV0UoRhw1DbJJGtiL+Qefq/VA3uyoczdu/QFn9Baj9
yN94QijSXrs/fuxVNQgR1zZ86xVtSd0sF056XOkokYsnIZzuijyZQIMuVE4ryLKjdsYTJYPLi+mn
GNUfNOEmFiwelBTUhWDMAUKP0820VcFuLgQSNSshoQeoaAV+2NWCizHNJzVIIS8mG+W5agVnaENi
kUh/MbSaOGELbtspk99JTDQ3HlukZ4mMsq+hJ2YlkZdKCMFjLcp7wPipPcJfIfoXy12EQV8vmirQ
rIYtcpE6Oit1FtiF2L4PscFqj9RMJ/p2ew+Xk71oYeIJgd/C+8mKCtd7KCRlwQdZG52hkeOxmYG0
/6L8uxIcI68za6DlUDpBZ3g8tkew1QV2KFhyaGqCO44f+evtX7O4qfgxTLMEpwnVtgWegyYAaUEv
GT9GHe5ClXNELvsh9Zl128yyTgQ7LDxkU74s6p4dHJCb6b0G8i9gAwXwOkaOEZrVKxvfl11+J4Jh
YsPiwjfMDM7iYFAJYKRbz6NzhdlxS5YSm4jdJvvnIvacWZm9RFmnRIQIJZbl0rsO4OTsMNWW3PtV
D/3O2qqO0X5wyif9SJy+GWylc4zP21u79gUvdva7SXERkUQY9ENnAIc3SHdEKD4apXoAhnnjfVrb
TrCOMjYXhrSdX/wmgnM1AOA9i2XkZGHjY+Zof3sh7ItcverYS5DPgsBCQtd9Me1ZEFppla6QM1dD
SyFrCyshL5Tk3qTTkyy+R2q7cUbWto6JkzBFaAyyzksgSTjkDZhPyRmCeMFrMpUYK5xYqCBAmuv2
4tZMYbgU0+0I1JgO8/WlT8Ug5QpRDM+8dFKaye5HxZQ3R3OXWwhMAroA6IYB37YAldNcF4eRVuQs
jhgeRSQhUGqOWe40Bm8JZQYA05ZE48rNhk0dunE4HWiHz9sbUzJ0fMfn5MwygeSYH1okmkioR1dy
+OJ/ED9eOlAejhP4W1C7qAr0W2d7CULmoo6jHo8ybf0wMo4kI5rZi48KX9qaBp2Z/CfQhG4OMBzp
QlNNIzscwRfbQ2m0FnYt30LMF8k43gRCsqMU40WS8welw1CTXDmcXm7cnhVyMaDZvgk0wRwkLaRC
xqEv9bZJEp/+bOxqX7jcD0ju1PYAADj92kqQFocNdX8oKwALD4AHysezDSJSE+tlohNfMx47olsG
GMXDqdta1KK0BjNQ+gZfPygrl3w3PddLgHSpEWJ/BnVsXyAmBpg9fU2AqK3veLtEJ9veqs1+f94r
P8HMAsKJyS1GmDkvqCRdGNa53EWYnBgDM8nifU9cnWsaa+xACxcXcY4x6jowOU12J0EK7SKqIerJ
N6ItTp1gVgFwRI0m/E4KqOhK6POYfNCcQj05VGX8xkXGmUdYeS+OzWGg8UOtJM4gcA2SK/VnPhS7
LON/8HH5GQsV2uYqYIlaBLDObY+x9LjX94qFYhd+XS6FFnP2uFc8l7sjXx1Tpfn6/zMxOydBwuU1
kxI/R9TYjXS0Rm2zzLy6DLgi5pCg1zrvTUpGBJZ0PSOIdr5VOA5JaapPsj1ZjF1ceoNmztbTv3yU
sXMXJtm5vdg5IR3CAJS8cOvA0Avfg9VkFx82cRtr3hbhm4HclwkqzT2fgR7FBPkNcq6AL+Sd1BYi
2YnS6avbqXeDpZuVSVM7satYe+swWijXxy0CgVXvC5gBOkWMA2fxriQtygMFBK+/vS+4JtxJPTD6
DkxAWyQxu3xTsW35QTW0sdGYAvABJbf5qnEH2kIpETGOOmiI68d6UwT9/7H3Hc2NY1vSf+VF71ED
b76Y9xb3wpKgF0lJGwRlCO89fv2XqKruJ5E1pemYzSxm0RGlpgFxcc05efJk3mFL8wKH/QxOEyiO
32EKXdInTSqP4QOnXbSwIJAQW0goOyXQ3QfO/vs1cDdZ5ovJaC1DWAPbjFuSUdhPXYzjC7vJh8kC
EVfr95e5GzVcBmsAYjNoh8DkvAn6e6nmJi2Ug4c4eROr1SQe/mfff7Nb8IglcqDawQOa1winPmXw
G/3bV8DyRe4JyG2OMG42i4xn8z5Ba/VDF8CoshH0EIjX7y9xt6BwliO9he7ofGxhjn1euGArQa4H
dg8HVYZCeIWsLYwNSQosPqst0M9woDAvv7/kPV9f/C5SDkVExIEoEd08mIwbxpSNI/5QZL0DPVpS
h4s6LQ+pJFAB1VDPZw213ODTECIaNPrF5e9axebLz8468ItHtfeWEgDaG9R4Wo07JEEEEu1gQjZW
rxSQv5iBKmVOfYExlVxaePFXbt53U/L7pRGNzg3D91HCKGUahJdk7pD2sRFOHB2CLyblfRkVl0Cn
AOYM+FH4qpusr/QGkQl7lj/MwoWNk8HYEZIFsuzEudmbyb49hHpCM8aKxS8kmu9CIFwZCafAIz4E
x/1uvUVSy6DphzvkqU9K/lkDRznlvsJD7ocQojvoigcIDe7VHWonN5IKGhHHHrquXKtedvYV/qsZ
Mq/cT+EO7mP2sUJ1A7kD2pg+Lwqf9aIA9IPpIAyBDg/zhexFGWET7VypMvZ41R3L4cSE4A6nlZpS
wJZkAEP0i7V5P6CQvtQQd+M/SKHdJjCeVNaoIvrsIa4bknXrXjmm0vH3q+Fu/c+3yM72PmBa3D+0
oswqfmii7iBFtd4KT7GXL3wlX2Q5IFm+WLGc/3fxUJwwIPFiogBSgyb5zabGTWIkyIjxDgPgPLXS
3EqITZCmTr+/sfv4f74OqN6oOKJtEPYnnx9iLoOxNFRBBPijN1AKgBRlZxd2b85uuMpXKl93gfl8
NQgLozQCT/Q7OYBpHGMoycvhQZ5WYrAbZPC7oTeShF8JQ9zN/88XuoWTVSGt46FVgAqMkL0oX/v8
b9tizleYrccEFngniAqfB06tZ8i8lcJDJhfMUilYzUi6YfrbgTCuos6XAosO2eXNPhVko8YwUg+w
KFiGIPuQEZycLxbQ/WY4fz9cq5G1KNiTbvsQ+15t4yDGYEVOuUZV/bkInxgDZVMUZ6EKxhvQuUuB
hO6+ssX45VP6cOGbeFiqAt6fYi48sP6ZjRIi5Kz+xfy+C9nme8Mejy0QunJ3p+gYpqmgBWN4GEzf
jg1/UcLCQLAhR8oNrvLd2qSwpCdVcIKuI7Lx+8vzd3vkzeXn1z9E/KzaJvLETSHOGWj10UzPV4pC
mOG1yJxCNWGSOesqG/mkF1Z+6O0aPO+eM7z1V5n3fWvF91/yF7h7S8et/c7LxnAIDwKyD89qLZEh
SmaHYOfPdkAsbL30Lvpiat3tzZ8vesvPbaFNGXFcFx7S4bmqZaLWzpdmp7+4M3AYAOCiOIV+DUTL
n8e4yFkJ2kEis5fIZM5N7YmZr9DNOxd8DZZgYM+/f6q/WDAzawKx+TytoBF8c/JFfgHZLBRg9tyr
Z5ndFnLjgS4rBraaU+lAdqKiPNA6S/nqrLs/h9CGCvYdiqtgDtzZR4Hi2nexN3j7WkYelUAEToCG
Sfw8SQ+8NpFJ2//+Tu9XD9iTc7/j9wo+RM4+D22feVqGvg5vH0ODHdpPJJdKwufwwm7ewOP8Yrbc
nw64GoBcAcg/HF1ue9hDxRvAEZe9/dj6RgOjUq9hdM5z2/6LU+9+3wF/D80is845Yr/bNqOYBTc/
YXJv7yvLPLgO0U8e93+8Dv/Pf8+3P6Kg+l//ib9f82KsQj9obv7816Z4zw5N9f7erC7Ff84f/eut
nz/4r1X4WuV1fm1u3/XpQ/j+n9fXL83l0x9G1oTNuGvfq3H/XrdJ8/0C+KXzO/+7L/7j/fu3PIzF
+z//eM3brJm/zQ/z7I+fLzlv//wDSdCHKTR//88X15cUn1uHLU64H9/019vfL3Xzzz8YtAB8g3oJ
Mgqs0zmXwmPp3/96CYgZ6svo/UA2KmDiI3Zqgvlj6jdk3HDsw8kkIE9lsYfWefvjNe0bUn185Sxb
D3hZkv7489Y/PaR/P7R/ZG26zUOwFP/5B2JjzOcPIS1MD4AFCcqs84RlBk7g5/muNJBYgORScUyT
YFtpiRnA2l6XC+D+dTSt0twSqwqtTdVg8rDtaLGHwkw3pmwhFXpRSzy6LLKDXAijoQQtGDfKaDGT
aPL+BgVEPVOTgkRJvwl6KKXVkgwFqWlXoa3PTVnZ4uXc8LXiAktl2qLVJ41liwlLR4PLKW3HFQhp
S1HBmQGF3UZwFUahatZiLQZk9M+K8lAo8WvBjU4jnyo+WoaluMublkgQbWCuA3tOUPMZE7PngPAW
QF6ZUx30q7QX7bj0zEoYnVDrCCP6bl5M60LaTIlEPV4ipaaYmQ9ppFwkRcZvBwXWtRmKIcwzG3PX
KBU2WTus++kByjXuVNsinGXVMNS5qDxqeZwTJuqXrdyhPyuQjKTl9UixggRkeZF/V4d2OcXFkxc8
DdOTMr2wTHrW/MdOWTDsaEb1tVb2ygD5/GzTYNcBD5o000vYQF6+3NbFMUjOkp/rWrsvgfPHx95r
aIRsoyyOU7HM2KPGOqBa2oy3TUI4ZV5Z/yL7WzXaeopHyijRNXYne1btAS5mcGBAOzIqX/y6OpZT
YeD500pIYfOgErVb+1BtK9att2PAbsQe7GkJKWQrZVaR6HW0SGPYw24HZtS7TjATj9VVyZWygxeu
q2KfqGttgoPnRpkWUv9csi6UPVEzP0nRquPTjSoxFJpNBiM/9In62BZPIrjcwuPY8gaHukHXNq4k
wB2hiS0tiglal2lbdgL4H0uOhTY3HlGjuAHP00k4NP0lYuS1JztJfVKCN6H3jYpNtllxiBB0e4Ok
YzoCYCbNYEf9az++wb+AFrxC4ENtxI2Pur1K2eCliR+15JwpD83YDYSNg+VQHPqApXyw5CbmKKjd
Sp1EsE+hxsTkilH7MMgV2koEE6EbrTROOuLl1SXI4mtSdg6rWOX4DueWYdipWQ2f9/UgwJ0Vert8
RbgObW9Z9eyJbizHTgKrxMT3HzK53/Macwqi2tIYqHxybHsF9zUUmMc8CUIra+Q1yJs/4ri/tZ//
l7v0p539t7v+/8b9fJYP/Y8/N837/fzSVu2nDX1+/48NHZAhdmZsyyjTo+IlKAi8fuzn31/Bhg1E
DG1F0PbAPvvnds5+mzXD0UMLdypem0EYfOzP/RwvIg8FgQoeMBK0rri/s52jVPp5O59pl+gjht8e
gE0WXcU32VMi+mkuB5m3jUlMsOQNbdNi3xMFK48bQ3gQNkVPmGUTLuU1BwrNQWhJaWsCCVb5st9h
4/NPLaQpWXXNTqs438r1nlGcqhlpGzlVmptTDyc4U6xLO7+igln7pKcpcwbqYmaCTwrprYqPXO3E
AcRzycAjYNPl9zQxhkOInV9NaIWfMLGgNuuZo5ixgcQLyi+jIx1aY+goFo0SIKbVXtB/vQ942hew
YuQTQ5QqExrgBWuUiM34TiCNvFeZbVpxhhysRlgjtdVaVLdMPJga/L6VWDQS2D0o3TsrQbeCR4aP
0qP24PvgcASSnvcPiceQPHdrbjmEG4nJSeq9h+FJRrdFBnHWJZdGxPfsBOZHAvx40OCbOmFwElmf
eKXdMibqVoTJloFakLGlCWvLlc5lBoRwSRF1gE6gw5Yi+18n3KpCr5G0KCXulWvRw86upLDTa3XQ
C4HVRfRu1GJA+PiZq5IV71vFmmv3NYZSc8TAULAn5GCZw5omd7tLH5DuKuakr3DIwlhVF1/jh/Ip
FcC0JYvjD+cHXjQF7oTdC/psGn2tTg3MxGxPeIuxjb7OUoAdsqFR51b8S2oqC4mKy1AXMqq5iSNe
Nc+GSim38VrI7MN9ygIH36xeVBf6qm6KevK07RTX44zmOFg8xLQkN39Lxdmn6cDrnVUeGt4JFUsT
CZe9alxB602z8gezfmud2oVu3LqxPbtH0Q9O8KkZ6gNDSoNf5AqEucEbjeSDyhuTpI/eQ1GSyUfc
Ack7qslUAB47vXkhNtOCDvyyiZFlosSiTjh5Lcm3ecGWtqDtDCQ8BDJVowcWUy4Ozao4jvVS4Ex+
DS5PsBMVeMVYMvjzkEFi9mLQ7tplREuj0VnumP5Ipf5vY/0DxO/fbazbsHm9hFX2D6dOLtlb/XmP
xUf/DJp5EUEzmLTgZQEO/LDJMoDtvgGAgusJqHdz+fLPLZYXvoHdCOusWUhobgLG1/25w/LSt1kI
HvxU9HTMDYz839li1Tn4/hgxwxMB9SkQvAFUQkf3jncXJ5o3qGHAr/sKbvJZRwUEo4jLzP46Bhs4
pz1rUHQLeOIfpmMBVNhQ9MEUFzxNjfC522TuaMuwj6ic/ppohPMW/UiVh+wYWCNlr35JIW89e4vy
hreqnODVNyCbi4pY3bi8oqOpmUmpotpSZxXQ0JqMUTbb3MjX6HsuGJPJ3VZaQL1wXg9grmULcR9C
6UEPBRs7E6x30p30KE/Q4ut2vNV0BErHakoaU7bmxqrMLAQUn/WxIgF2F9hRxgvFLC1lnT4GG5W3
Zj0/yEmb0XmW1wR8aoCf15ogkQVPoL1nDlROTX+nTCTco6+jQqmhLkm+hrKyWS1jW11ANfLsv/su
E5Np39iDLZjxtRzx0VmURdrLrrDLbFFn4AExvIqLuS8k0FH0Yd/4J/VJdSJTMaEIgDdUG+6ltSLT
c/YMzezqRVlrNUHELKJ5SjOmlwpie1tvpz7PonSIcU02IsOSO+OJAeXDj/J3+OVRTBWqQJCPcfyH
IqSIb9mWKDUJTvPmhOG7MBFNUT8OzYwz8p4U5+rsP9cx4ZbBQXWmvQToJVrUm6fqWtnetslw9lHI
FkFuj+a74g36RaD/wxgLjrR40R8IFO0TyMQbDKCbkNSXWcehgTAgeHhQAMo28UBay9/1lghV0VVt
otSQLOPVRMZjZGqU3UywSe30xlR3vQFhw2Vnz88iO7TPpRXTfqvtJiOErxmH687mQDm6azgMNxjy
EH/tndRMiMWgN36CLjhkTizhBVGpvwKp1i71agmzV0goe45iY5CM0oVyDR6noE8mKuxmfhR1bO1U
sGQ9dzhLsUTHg1UIFB2fwMWIl/6C3/amduQiqkBpej0rzqKvB+MkehAsnWhyKq3OSXepkdNuCZZe
pndwGVSdzPaeZm+XNKfFskVDaXLlUdNnIMUANxDosmDYLsq4wm1hzJSUTC8qgNwErS7TrJ/EQNtR
pJLT0xZTKDHhT5SdZw/18LGyp+qgwhGcNb0KjAR/DdlWPTClnICxasqoBwQ6Iol4OZ+OrxNVDEwk
zA0PmqpSAguUUO+d2Y4QFmdWYcxCutFmFmwaDGXvma2uLIYzbpUyFfGfVd13Wpc9eIAayawl4xF/
JbxUy9RFEinrntkZsI2JzLkQgZoSZb1F+Rh5NEXP0GwvD0vhcjNR9sAt5Jz4rvbMmgX0rCPDN5kV
8myUx72W8m6w6AsDncXlI3y59XKDMAWWOLNIRouhwHna6/hFgYLeEOKD6XuBTRRcbRWO+rjRFhKu
fkFgolZFtDF6N8YdlI73JpPSFbeaOdnstn1CU0VBfFpZJUsyichk1GFG+i4dceEhcnKBojmSo7MD
jq8jCXv0zAGnKyyEaZrR6opnbseHcpPYzUWiobpQRQoRMWnXGRKtVTJ6dMgpbjRPabz1qbzMVWC2
FJZkwQNzQKgl7+GrbpQOT8Qzrw8KhUJPr88uYpm1K19AHs7x/HEbIUkzQ12IRinpnjUuZCM9cU7i
epfI8ShrqTS8QAMDked52ox7CR2PQP4PsNZ0Aodfy2vlSXI0R9LbJZShCvTImb5wZBEecQUE7T2D
twIXRG85JWjIjdxO1CMG4WFry3vehViYw101tF3Uo8lAKonDBOLxIFhHomju1HO7x3YsW/6Fm9Ze
QbPXTqbNcwXB+ccWMRxtaILt8VgcPYOxwczBd6vn5pjR8qU00G4I3mKmawHE9pVQl1tQXHMTHRIc
zLxlJ0QyjwZsiQZGgiav9NohykXTbIaTQh96kL1JMaCHF7AtA4LsQKTAiRv45SVUC0hmtYfsmBtV
C8VU4DfxmsUk9+0uozJr1ABH8rdEoPEFKs4+QJtCR2buq4TjEDZ9CBF+AlYfAarbat3daTvjwx/K
CQ0shCuhCfl15IwntK3ZnNUZAkZnnmFfOmrM6O4HNOzuare1QY9PRTXB2T7r13YHyKLREqKU6vc5
35+/vLsbWPbn9RDPAN+G6Sp/c3eQ1AFlKNPQIgrrxOkBp+zLrDejIPT/vh58/UvNuV/f4r8veXOL
Y4eSiBYz3Fo6DLAvh4UVTgUEMYt8y5Ng8RXZ5pbUcXuLt8IzMJnqG7/CA0ycQYcS8MKD+O/swFNY
9ReCkt8JbPeP7697E27AzInxhZhvcW+zRWm5jtzJLPeCPg+qZjTGa3qUQXYDGWxR0ITmdnOqt+LL
VzIw/8Wc/ffPmB/BhzkbIdlUmyTi17ylWoMze2/goDj993wwAPjezdlZXQL5PlimuOjNTaOfF403
ZcOvuAM7ArtyxghaaWDMPGaoYjYpZSWTT3UNSG2DQArcN8KshtTgX9mcCIixYreTTA6n1ZuCsxsb
pput67fUUVbyA0ConGZY4wuOJSnikif1QXkWsKWgPcJBXsdwdoMyzKqyEovfw+gIYebwVRHoVw/2
0z3OMfmHEa21CE4Kfot79HUJR79ApY6Uz8OyOvcZgqNMRZuyPizDFcQIELkNFaAA8I/1AbEctFGA
sCFqe/lSZv8X6/fT77p50uXAQnSvqPmVFxNPmgWHFIx3YwaKFaH2GcMdTrAksKAroqzc7lpCFuPK
I5QQljDtRdQdvX9FogM964sJMf/oD4MFRmCQSkPJr6oSiAFpR6JitFLGmJhFHTuZ5sScI5RPSb1r
0RoVOBNchqHJKFOYIrTveWxNHU8m3kD1K2goH6/bgSUyNnf4MGcUdiU1OuHrNURhBYX64j5FFpMb
cgZFCiIHJGbMTqFSsAnO3HMy0qGCiRtPpcp3hPyVAWDsCUYagw+8ALsbHCu2QSM2euEtoTLTQG9x
7ChgiR/8yYxFyNxStPgF1ZoRSXcMD+2ZeZBj4P9E2eJcZBGxRmZan2eZt0lHXZl5E0jidE4EIXfK
nbOGaujIRGglm0Nqeowx1q9DY3S8ngerCWfJa1iR0kPbqO6fy+tQ25JG4oSgLaBoLKQwiD74Fc55
SQ9PpUoBmaW9K5YmX8H9lUiHGj8+skeFBpGROIUjWoGF87de+i+Tr3uj3WdbxOgn01tprtQTSSAZ
Q+BUArUviQRullGfcf0XHNLhVXLUwoBYNlLDoVgBXpNFqywMeIhqOn4D2v5ZEqpmtlIlCydvBB8L
xDKdGV8ij3i75lFzNSeAfCCE2ngyHKEiCHYXCNk2v1eAyhEwwRMDFdu0IF1Jx9fo2sPw9VVsSYvM
aoIIZ2IgNukJj3W99UVHessQSYSOpC2nhRiS2Mkf62gJOGyRuqwpmwULOTZtB1fwvqXpg8ejAc3w
BYLZLmEhumgT86mImL3VB+wY8PeAfWFE81kPjH4RL6BSdD/952SfE0ElhTnDLdEtaUfFU7M8Xw+K
hUAwB5gJWo8JicqWqseq0sPsOhriqULXHORpPNov+skOgsuIbA6EIYKa1oCtbnhIUHhBaDxAHHsp
43kex6M4EFVEAsYW5pz7+c+RPOEdjqpskWbmlD2yOU2j994Kl2yJlCI2ONeDJqfcEEFGBYkMb31i
tWiDSKcnQZ4H5dCVKtEUZKHVZkBUnuQFhewSkiarYN+b0q4Ti1GetRC5tzA9FWNnKMJgoClV4fZV
G9M2Bqh6AKTXvHWHeA9bgVUdGxMIAZDH7YlauqExLAuTsyddADt65gvMuUarvw8qGc4JVmED1RFA
DGQqDTTe2qHhow5isEgC2ueafk+d9XSlLcdjvZqQ3YEL6oz1MUysaVm8BJsOpiYpUvjxqmAGvyud
CaOusDdq1IaCbFdEZo7lqpksiwFXtoLvJtkuYUOi8YBChq1f7adgmadoGFf3ff+S5jwagAy+Ogmo
bqVniV1Lj0NHIlAXRaoq+uTCQUHBm3KLE+ngETYz0D+o7tDlL70CdSjIgPM/cUarp0lqFo+ZI8B7
ILUyCI9rkjEhfcDrwozcGABlMCxw/loGTxVPOvgVsYuZHhYCAAn3HhK+zAhtoC2FOZ0VO0eCLW4m
KyH5g3IZH3sYkCorVBnhQ7qtXZGUOoo7i9Zt9h02GTiu8ByRXf+oUW8TnWrXhwaUGQAvXyfr3qwM
bq0d+6e5U5t9nVutqOTDP8vfckZil47kGaNAZ2Nf1WpffVwWX7lGevcqu0gTX+fMGBJjOMQZ7qE5
+SkcZtgD8ji9u2Ag/Y5AWRC5X8Y/ZNoauIv6OlAOtafQqowR+4NKZOxqozkWq8hDoscYtdnA8yrQ
1QPkC0A0Ijnvk/ax4RYoYMXYGFCGlZZM+VKxaGWyUH9s0GxeLhuWKpUbKiexoRnEmJjokeldgCZR
YSjSAql/Hp4m3uaK8zDuA8kKcj1ptnm7C/JFX+pdhaMKwzel174FjFPNEEZm8Sio7qpr6TL9Ebcn
TE7/EHuEM7C7LXoHO1mvK8+5E404Vimw+BH6yRCggOZCvcQygOg9aVhnosxzdVHNBuf1sn2Dn+bV
C7FPZrsOa0xHsq1Y/Vu+xb+RDoPwzhncCoBz/9CnZrmdUIvzkKUi4FHtpDGrC941oGkSY/zE1ii0
btJioxTYe3T0p6Rzdp8QjmKq0fK1Fg0Ud7nRUOHbxMP+Ojo1V2nFWJ2VsXY2AEap8SsvyQl4BeA0
qBhgyEUUdq2iJphJFn7zg4JGcRrY3vfU+NQ8o/dFoyq+7qE44ZzD6frKYL/urNaNILrYXPDsBCpj
+jgePAyuBQDGjo4AE7aIRdxoj5nVnLhTlhLhomHKpinN9h08e+CobiKxr1g7ASpOhNNUo+xCmh0L
dc41c5Xt4nl6Tjfdc771lrw7usUC0KX7veGBoLAroscLuXJ8SBaqjHs4+oqFD7QkG2wedGNDkGkm
QiPAqna42/gAfAYDy+PmAMJlBv+CFHV+xKxdLnuHxX9IW0dEVoKZvlZHDijS0UuJegZ2wBLBgE/j
BOfYQpdZXV6OS+D7LMC1R5geIHoAliArCz99qGKdZSiqMsWil1cY+gWaktTORPm2tz1DedAQR7ix
ZsIeCYHFytvj0GScbJFIOoph+8ZiQ1PEvombqzfdsYB32tbbhyxJjvnZN0dm2XZmBqDPKjcYYkAk
8tmH7zitwgWX4yxmngKSmtFzVpL2BXWHRqbFaOU4mu0Irt18Q7j3gF9GVrpsz80qwnNnyWgnq+nQ
LxkTh/O5f8mQv7+3S2GwslWx8sHiXnRrfEe77QBUgGGQUyT6Ib500VkhMK0NVCmqudmHFqvgXYvw
KJneLizsuEv2pdvHb6mOKK05AgY1q9VoVxj+I/PUH0QcXxE+/A7cBR9HFLjqxxNcGpwS/OPoKdRL
G81dlLeb3fTurUVktFVOAkcg1xw5V/8Iq7sZYNkouhjDgUR5anZQPKM4+kpYDON/2Uf2EUF6ufA3
1RGQBE7MDBEXqnBOorqI7nKgpptsV5rs8qgsch31up40KxSN4PR3FIE3HyYGcaoRDYR5Ss/xFVMD
Gz/WD2UKHKtm+SI4ilPgGSICGUQdCkyot+mxCesXHbEkdJ8iKIU66AYH6JKeExotPKPHUyMZJPZJ
YEG+z8k3iBwPpQmLHtwehGJxdCDMJvg1oPmuNVHnWco4CWWzBeNEiC8GsFhxhoqAYvBAYoAvja4U
5G16iqzSgHR/1xk1SrXySjXKM2JD/NwB6h16tJJLUwpgDWgXr/4ZLXU9jgxfF0dHaY3A9QyVSg2d
Nto2tzlUKg8om5kCnhUJz+25YFDtRH034E3VANXRvwZO4dYXYOG65Mg4YezmKcDjL23xWUhQ8qrP
AmFA3UwGyz+ptLUVcY3vTQNEn4LTPHY9Co4IqCQdcuaQjrcYB0s0WMwGe+pecbVtJRBxj7mO3QPi
UktgWBAjDgaKBWAyZjWrs6LabEHn/QnKGj7N3pujvEeKdEThsdHhgqRLGUVAYBbPrQthNxpu+nO7
xEcEgkFLrOiZL61MBOAXA20OFsEzl+0n0IysHmYmJlYpQrBz4CqHlgjbyp/RrhFkihVGhcHqgknk
2jOS93xTLTKrXE6vuY3wexOURDWyx9yobX8Tb2CIGDzPQzNswpfg6OEu3rWCeCwNjv4hj2m2Km0o
TqhHj+5QVLjwNiL0iSAWA2bHFbvKDIj4mBlYW1/4E9yqrsygCvTX4ZmniHOr1HdM4EOKhyaVVg36
aFpXOqZaTjq9M6en8RwtsAiBYKZ8i0PfFU+SZqsNZLF/hHuybwXlu4Jaf2d14i5aTkfUJL4MwW84
m3e/DsW4jwmo4EthO9bZtIb+BlwjSj1zFaj8O+yOc5CVo4agbOLWBatKLqlYw0qYgF323OhBaooq
bdyEJ5CyCModMqCCO1WAwVISRgeNO0uIrD1ksmYDGavEHIFc+JbWWj0w8lP2Bn6MTMeJKMuEI3my
lnx3Yp7a5rnHXigdFN/lUfwFhwYRLM5Bq1nA5lO1wgeEFU1yHhDUB/sBtRbUPbB97dXaLqsVSFxx
bY+iDORcnwLKKk5CWo2InAsprR5/lQCl/c6ZLPDgULy6QMKMQe4P5dKrh1AQZXNhSIDSp1vZ9CRb
RriKoPUyPuQmIi6ZIiUEnDnvgv7L94zo/+rNf4Dk/iE5vCPybC/Jpf1UZJ7f/5PII6DGzHNIHtHc
AqH6mRv+k8gjcN9m8R80BqCvDvRIQE0/q8zqNxBnZ6kjKCyBMInmhL+KzPw3DdzouWMBNB9eVrEg
/yQY/QS5f3Blf83KvMFMISavgROsyeDw8wJA4VtID61UEG1pu2nptf6ZLzSrrydU0ITLmEPB0Eeh
gGuOfNEiHRLkU557X2gG3SCY8w8AYRUEIijWggeNIvfnFVxqUF2QhkhcKsgixbKyioIH9TrpDSUU
4HEqGA0fm6XmH7R8dBgWOume6Mvkw/P6Ffg/Q5f/xnN//AyQUkE3R0/gvaJ4LeesH7aFuJSb2GCT
HvlecFRjXHkSFloGSKepdTHEITL6lgco8vfXn+/y4+VlkOtBJYCvhgZJFqiPfh4FWeUDr0nbcpkU
EEWp0ksn9kZVf+VRd2M0hitgAmLqgAAOmwv0Xd1cR/QZNea0NFv28ZlLs1oXWiTpQakXoridYm/V
e6WjsEFB8vZvjzHUIsBXA40BehG/aOFHn37chpDBWPIw7yOK2OiZlxrFMn+UOQadn/06ERK9zyvD
m6ovjoq7AQZ/ee70mgcYK+dWyaTwYeUhylHlyhyrdzyH5wpkGfbqf/M53lzmpsoStmwStAUu02gv
4ZDSoADCo3whZvnVvdzUVbSGr/tBjSu3l5ZQcyUTh1xk+KKVkvuM7WKqzLeC5isc+zxc1L6//uHg
b4QhHxrFK9zZcgK2CCTeqajsTygYqvZo51+sAPS93q6B+YLo9sUkESHGzd0QCjP0fLGxx5ZuGfrH
CfyOVEGCXvVWpDKmipOrhsyjELyngJibpNsN2WPH1JRlAIuVkhkWqZGwzGYUgnU+4QSsUPhpPZoN
QGkYR0p7BJTw6iZiwVkSYHwpTSeaymASNlNlCNmwFMJkI+UD8QTRFPmayGinDhAAQtukKFAaFSMC
qxGzjKXF1CsmU3lWWPTPNYx2Yr4g07TPR3mRcBA/HHH8t8i9kS2rE7uY4jcV+XvHrbg+sfOa0SsB
P7tobF6cWcBXiR+XWlC6Y4vYhL1ULGclNXct/enqRcXO44rLUHErFhp7fuU9TilL4z6iLVpUsFth
tTpCsBOSy4Aq6RSAX+EDlsW/R6g6Z9KpZp5KsSIdPhKibiEHwDJaqESmvcF7uTtkb81MxAG8qIBj
lIHj58eREwnCEhsTaWpkh1O5YrvInqLpHMgF1bhjpRQLLQBrJRT6GH1X8Slj1WUiCBUJS3A/6jLX
SzbesAljMEpxHtuSKlgUwlA9jlG8SXIA/P+ftPNabhxJ1vATIQLe3BK0IkWZlr9BqKVueO/x9OeD
dnfEQXOJPbt3E9MRKlahKisr8zcDVp1eWN+U1s++MR5MM964/mNZ8bKXX/3uI/VNO5V+DyXbsEYJ
IOftUL+IrnXV0CqQKm0RUpfX60enqVZ6QPFPeAvD2gaYnrbgO3S8bsRod/mYq+cOB1QGa/TxOSOM
BLwPpmWuZIeo5AES6zVwbsm9cusnlfafJazr+JjK3ktbp6851W2M23eqsHW1Xy0Vf0EKP8rqReNJ
rsbiIk9o+/s97Y/UzjFu6kElZA5tDFTOvaTdhJW3gqRf2GUn2TGFhpymuQtWyx34yKa8LPv7mDIV
0ZRKm3J0oSfofRcujaH+IZfC/eXJTzhh/4gMQN+QNKLozYmdtAG7gsPQ6lp2qIA7+A7Ic3cNhGVV
4CTmOFQBBJRAhSWIhcsDnwkQYJrJUVhyFICmVEqPhKlXS6k5JMrKL2LbrefEbc5E1r+NMHlOWBWA
4TBM6SNQIzIBdJX9s1h5M3fR+Ff+dtlDz4Ee/3UREeem7NaqU/uqNSKKZgYgOlPd6vJn0LxW+SyL
/Nx8Tkea9Od61XVM2WUkbWHcOBvnCWSTLe6EO2mT7yogGzjC/v8vp79NbvxJJ9eG1Tp+iZh1fejp
aVQWnPUa+d+5K/D8EkKRR1oLxPt0C+pSUlZBm9QHq+UMpT9DaV/77yX64pe33J8J09e3+h5I/vt0
jFYvc0Re60MemKvach5E+WiIvt1hhuJHrwntQWEQ7Z7S+MzIf6cHfp0yFvJ75DEEnSxkX5ICxjVT
VDfWh2xnAv0EbSU5dkWhul9qNpT1ncg1FiznXGInja1/js17ZbR9Ank6ZUYX0KL1DDE29s0IywTX
R6gFuLlI+hXSYhCXqY1Qa5w74X+8Bkg6kFT4HniSPyWio1V+yMCjX6AIMUtdjDLdxoY6WLsWZt36
zi7yyXiTVEoPK1Ptcc479PqLkO4av1g1FJI92E9B8DTzRcc/9se5/2swHN7+/kXR8tDcoWZy6e/E
XeVgEZ++GLVAJ7YdiEXrDhkyI7P1D5FCobXUlpd/wNz4k7jtK6blZcHX4rpbGlCbdu2hODmHwzkb
dGSkSsGIWOzfyTCebHRSHLOmI7POGw4t7ZkgnKlLyeNi/bGYJ6NMDmZWWq01NELFTglAFSGMr62K
H1AvjiQVY5qaP/RLR7VTH02k8Maxt3NQkXPXEUJIf81zckDFJM/bWCXSxaBbNDmhCHR3+YOdPw4n
Q0zit1bVvOU6Clijkkr0imb9ZkSzxrf5Dbi7mVh3NqaeDDaJ3KQ6ZRN4zKdMdE474Nvo2Y+oYmoz
TwveszMfb/wpJ7HNyPENVzzupRa8ROy2B9mtNor504t+Sj6NLsC45D5RcJ8o0rXQJNR4OZ2xGB9k
ody2pLFYMwZLtwAPCPFkKDKaL59ox4rBle9lx0b+0EZgCaz4EnR5qf4oCigeOW5cNZaj6j6VXof+
k6O/CsL7BFhs1UMCTH+2SXJowxYplR6bvb1p5cdW/KyGbZ9iGYX5gRJSlaf0Cn1w7fg0AAz1AaPM
hRV2dqmLdmzu1R6KiXRrOf5ykCqqb8Veb8UfiidjS9i8yXFzncjljWsIr67lrCsZc6gOHJXnkzrd
oPD3nJTRD6mtbKMFPgaoFAvmhayD76DKborlPo79fepYu8Y1VipZcJR+mtqDDAC8DSjag40Jqgev
fBl4x0Tez5R+fd+9Q3bN4pzOaLZpFBnO4LAvu/Ax7a6lJlp22NIrw74Ta9LJN4y6Fzn1cy/sr4Wc
CzxAW/EpwwS3rj/L4DUv7iMal7EZXBkxiFv6qEJE/6CGS+CHMGcRn9SSQwqTXieeWqG4lfrENntp
m7c0pKuuWKmtu2u14XP8rFoY057qjUWjfljGfaq/mPJjHQI5R58JPyPeEdktXpK2FWQLM6EzXLdI
LNDPaSU6jHEaLdMYmV/JX3gqgF7LWriVdINEwsHtQijCw68uBWoT6Gs0I5aa8tOqwO+q4m1WAOuG
29jpjx3oIkfrVwJ1ZFeBZ5DTRVOgpQqAMaS1Dw5Ii61rQ0/fqtz5HfaDrYO60VLpOtTNfZy6lJXb
5yzX7aYrQaRkIqjfgBahUh6kxtn5WbpKcnldBemBItayCdnDNNO6FliTWN6EjnbtpvpWpj8gex0U
tWyhqu3SyxtbNqpN0XebQCgXnf420BEMWt92rX4TNSqtaNdZ4ROw7txoyTW2T9P4Kgn6jD5Evm4a
4AFKcUV1utbSteUkb7LUPYnuXaKETEpy6Ix693XGJq6AoEa7sNBsAUJaPWi22aAqp4Fq1uiQNMUS
7eWFlW0b61eer+sysqFsPwceatimv+p9mMBbCfzQoD9U8V2mPGd+vk+Ke0nHIyp9yz3vGk11W6FD
CIHVLlhaSwF10MR2m7pAW37D1rlzofZ6GRiySl8UYbTOlGJTZciJaNpVW/Y0lpO9G0NAi8VfYv4g
ix+VqK20rrTzTuc4A2/ns5Mt0eCiiN6JGs3sW4ene+pqyw6F/qKJNrFl4C+tcesKm7rut6XybqbP
enRjJq+Dekzokfq7ILjKHRgvxac1iGs1yO9KQ901rbkxi3brRc22cKKbvh6eBAlotpc9tjQ80/xu
6LZ9ieYL3aAAikVE6anLfptKv2gKesdseSnaiMGdFsorNXoWNF6w0l0SrkI52HbtfeXfDsRixc+O
2eCveMqt3Sa5aUqoP+DpEIpcyL23VHLtVrUeBQN4u7DS77ND8pEPh0BNN07w2qfHoProg+YIH/7K
EKPrQmhe1DoAECNATaj7gyLko+ms+SMqs12cQbgZaC6pDgKXvLrDl4ROb4jYtwB8r/QiNgSdbqG9
yawMjF/y2pTdsSvcvRoVj5YEB4i+XQJcJ/90jPwqT+HK1OoyLU08ZDr2hQCR+tGLw7uk/N3yfzuY
c4YTr1MKLXlGm5bEQc/gwmTWXoilH8gG7Gov2UZdw+YjHurVU+MVC2246wy6UjnoHY6wVKW3GeVZ
PNbcRePUexl4E+Leb51r2a4D8b5Kl56UbgiBtusdy4y6DWi8ygifhz5ZFvkmdjP0yC38xWgk1xsN
flTQP4QNYB4LCGUS3GQ68DbP2yeYm0RxtcXBZ5nEz7F0H1GAcXWiVbHoAdMNox8fDdimFG2fXYBO
TYj5j3kXtXuT4FPzBqt/q/q1Rr27lVEAt5C9shalcl+m9yld3eF32kS7oHa2Wn+jCMBme/c2bB9w
mqi1Y0CfSZWDpVLAa62cnSK+OybnuIF3mgAAHoGp6atl3KkiFYpYXNXqz4SOu/GuRf46B6EgJ+q6
zXI7lz/88qGO7wLhQPxfqFTLmnsHob++v9acYOUV8TIE92BC6A/yYl1noICgWCpRuavFda++R40D
4QBwXvMqAqUIPgwPbHmAgmoKW9YklO4MTh82YwooIYvvv3MowaEEswgHhLr7t7zvsB16zZKDr++C
qtkExW7gvm/8ZYjNRSV9loAXrCheiHm40LMn7E82KRdfHexz8AGwZF0NQTSwpKm7Twyopc4qMQFn
Fx4wTIhBXmsrPsGTNfXN8k0bNSNitLhE7UWpsqUrQzGGZ0HfNjaMrRyHdigiNmx6OCutyyh/U6DW
6MloDoWDAjxPv9wXUP4lbyeE1XLos2VZOGxc+Aq4kDLjkmWrup2UuMeo1B6EseptfSjsbgPehiht
M16v8ki0l25jB6lL9TpR3pUiXUpgIemEGy0BFc36onoYhnBZ1dlS0oEShrsmMziS5Tpv0QsoHqTG
hKGRHHQIHWl3NIR9Cr0nspa5eZWA4iNAbarwV8G2xjkVFjEQjYTqUnx0Q+6L4h1zaDsNeHMkCVSX
Zt2qyqJDzDl+V0BMyG23pH64GohgmgudDviKyykPfGcrmCCxS/h8/m1XJ0up5ieX/ZK63cJU3GsL
yrDu6lcDaQC59EIWik3TmAsvu+6KD69N4A2Wy9YtV6EvbosMK3o0xs3yB5eOYMnL3s+WECUWvu9v
FOAWST+Q87wWSmZncJY8rDXTHAPP+til/bYDKRW14X1lPKoOGFAPjlAUXUl9y0n3aKjGP4wyXGdU
yvI6XyqiszSN/q6hSqh51i5N3C1Kwo/oUO8VU9hZvr8qOvkgSfXSU2I6Mo6tqE9NCkes8z5MQz8E
urlorJe0DDe9N9xQNKSNJXnLuDY2aGYWdqT311LPaprGj0YBkqiBKxqgJck8aIEj+kzbbYSdLDt0
Xdpk5QGg0tGcSMGHkeTIwasrUMZutTUaMwelD4h/rj2IxlrsgYEa5Z1TwrCJng0ijTn8Rh/7EPnP
joZ0Cns+Ma96HiiWT601eTNH+FHwox6gToMkt1AKV1kcOUqXprcJATcqIZKU7Sxadi7ln1b3dcmX
2+LrKUMQBzeq79Dd3sU/Zmknc+/PSQ1BKVEUUmKeuerG3ZZ2+OYCnlq5KxGKIIiijZICaf5/SoD9
s2Ry8nqaVBI0JfUbqx+xBofiAUdgdzvyJH2A5KRHi/ATZjzkstvLD8RxKhcewVM/JjNrrAydHB7B
CSprSInIoJLIR2RTWcjZayA7V5cHRJnx7JD00hDQVaj/TuYZGL3RCbleHVwXsG/hQH9rbYsHCiqx
JINw8btN3/EEZ88WEAYHYdlIvxq0c1zYcsbPzi+XefKUuze9d+u4L4W5K9pmkehPvfmjRknHMz+d
7kHXnmLtqDvGyvEPWfk6hM+idhQDYlbZ34kVTQewF6r/VGu/e6wyKks89jzWCgsc0z1vknUrD9do
ia3oqixLDTS019M9AmmakkG4ErDTipcbCbgEvD5/dKivFYCQQGyTEkSDtE55enjAcArK8nWLgE37
7Pk3dYtDT3uohxRkcQ5u87o3C7LvlDcjh7y9ijjrjXabOuQgrYH8qHtNPdt2DZUuRfdghugDee1K
KZAPVRYmIgIydFs5fPLh0ETRT8s5dtqtQt6J4svGCREkx7rEgS+jVzzeHDvVto3BFVjtA//e68Mt
MiCI/344GI5l/Q4GQGw0z0LYrwso14EIZi/Jd3leLB2eZiqq8Hl87Np6m7busoeNleTMjwecFuwy
P7adGD09opjY3hnevhYSUpjYLpVkXVa/YukYaT0zAZsahUtNuFOMbq+Zw9rpq2Xdlr/DuF/pYXId
m4DueeBESDjVxiEF1GZ48EarYuNV8oLatF3AxRZkUIUGWhjPPvoVVnQXlQAgcRgtOsf2AcEPXgUQ
PtzlCXJ6rQZgsVtWqXgoIhgAEcBlpd1KxZ1Y/q6B2pmAiy9v+fPh5K8Nb4yB7aRW0QiJ6rSDVh30
zl+10qdmvqhzxqznS0lIyqJ7N9rNToLj4LYKXQGTcyzyTNAhkmf3l2cxyhKcCRXfQ0yiYqbpaSWN
5xbIybIqAOanb7xkVPGlFF4k4SZAnaSFpRZpq9QBH1rvIO6DmQy53AVbqISNlGcbz3iReIFroPV7
ncQ3/dB5tjkJRPLmwfMUWxYtnl0cBPnFS+5joV2RSTwOnYIRGochFZ8vz+t8qRq9338t3SQeqZ4+
BHQDq0O5UmqSr9vyGF6Zn6gtLUFL55gTgoV1Z4tl55pgKKf9Na462RZZazpW3hnoRS1kBBc8u3Zt
Z5lsBxDOCMGMY/Yz33Bml6iTwmqnoium4khwEGmtyLyr6355eTXP7/XvSY3B/2Svt62qlp7kVIeq
7W2HLEt+9QRp5kCdQxb8bekmhdPU9/tc0pmHc53tpKX4C7YHHHAYBMfu13yN/99UUb9nNamiqmqI
8qHP6RodK0AyjDoDqwjSMuSkTb7935ZwUkVtpTDwEpHJWRE0Rn+rA2uq45kK6uwSTgqo2eAlLi4p
1Vdh2HXXiB4hpXerbEJtBQCwXY2hcKY+PLc5JkFKCGu5zarxs5VPuZLDfLzV+zkAzezHmsQpimtZ
jnci59kZhUns+MpdqbSCYCzIy+p6Nls82xQ5OceT+CH7nWDpGVteu3Eh8Ea4YqB0QuUDMQ0awCRw
OYwKB5IrPJl1Xqy8q3yGTDwTmrVJKKml0k/dbgxhTnnM5Repke/DASB48v5f7E00jC0UGMcW9GRv
IpOJWnlGjuqxKRNUmx3ZswXv9/82ymRvmo5uhWXDKPXw5qb3EUoOcvNPEdC/aYD+ja0/Bok/Ut+T
uUx2Y286oY74IYoXV76JOAdc4G22QnECZcCjuCge59pa5yP+yYiTnRm6mLNIHX2tYlkczKsvPe87
dQfn126O2R1Uu7lAOc7h0hwnezOR1UpNM0Yc2z8I6BxAmXAcKuQ9tKuRciWjufEfBMzxIrkw7vRZ
IaZ1mBC3aHqvqKPa0lLbG/fhDiGum9lVHa+US2NNLrUqkYMoGN+FbMUMSbYP9w1SFewyQET0YXLA
ynMheu5LfsWgk2vOdYcW7SbaT+qmfvKPBpIjlKYX1W8TzoW8gG0xc6/Ojji58mpXV+ReZ5blKn4X
kHxBZWQZ/Qx3w9OocVLC/5g5hDPn4+sXnczRAxU/Ivep+6ujap6IvmWxyJRfiSCv5GSvBwDYXxKn
3lJdPkShsA0peLX5fTHWmTB7g1UsyTDonAT6u6i+VE248bpyoXQadUB6CNL7CHAbCgsDJgruVJbo
bS8dnJZamNht/hySL5fQKDJLsT14LWaAPB+mTRqVCBX0e6iJj213zNznQDyW8bVLEppduUUCKA+2
Dqi2DKhaP3t3zu24SRSUlaKy+jE+lavyaXSiF3cNakH0qmHwzVr1nE3avqOGNImGqoITelMxmvZj
WLOwcMR9gJRUFeUXBDnBGljo62gPlz//+Wv0ZNhJeIzyGt0/6Qv5M+p2oztENRHlJXkNuXStvF4e
7mxqcDLaJDRi4BBUacxmaxXY+bUI1V7aqJk1FxDnAtMkICqDoHlqO7aoyQ0ENKuiG3djbMz1/x7u
vwAIJweoROW4dtvxw8F5CW7lVd3Z1v2o6iGvJcRbbed+NkyMN/2FYChPgmHkZE1ex/8cUzqEV+Em
3BVHXsxzCeT5Q0CBUtcR0wOWzS85mV1ONxb1eL5YsKvfs3W8GY6jxFIOh62d9as6vz2+B5tEPy8s
ezXEsPygU8ow1XLpajz10du8vAu/EMJ/Lt/3OJNEv3BkGs7jpJzrUV9ODPeKsxzqo7ls7PBhVG7K
Hn3xHpJB9DYrxXL+oH8PPgkrVaQZtawweLPGssXfSlsVWQh8pAFMMzQMPtrXc9fn3MpOoksDuyKE
4c9NBjsohUde3ZRdt55Z17mpTYJJj9BBTB2rPnQf9bu2HRbhLxqAB++ornVEtsjNZzLi8Rz/8SGh
CgDtG306xck5D4dMUJwx8Ql2ozhbs/V3wkbdzyb/Z0/B9zjTREfxTLVrQ8ZBYAyZK1of22w/KtYl
q36v7GaW8dyscIEZCRDo72vTKo8Vd7Lam155SHT3J6V2yo4om6SUSR1M5JHOayDRrarqnQRsUUrF
dR3CRRlb5X217pRw1Q4J/410oFHPxINz+wiDNx2Bdty+/uCfeFYjC1qkFqAlsufQvYk78xd6qzML
MF4D0896Ospkt6qDPohBrRXkXR1yczSbFvFYna8yW3jUv+i+7R6zdliqaIotk4/L42OQd+4HYPKg
YJIDsXFqIqnLjR66TVYeaNcsrO5FCjU7MOOFEdOltFCh2SfAq8c+SknkSAMHkbNPmCO2Vz6JEi9A
P+H7IKDtiushqs1FhpZGlY9iSA2dcwyNJV46KX0tEzLvwJdC2yKzTNqANJ0KVDuakuX9zHt5IZTi
seJWFsJnre5vIgNxA6W7UhJxF6IX54fbPsRSs6s2TXhMfDrj7o/c2YnSbxdAwhAZy5bfKKcALQrp
NhyGDWiPWyNNX+Xgqa0MesqI/iEmUoU/qsg9BAAouwbQiYTVc9NfOXp9MHJUWrxyWIMi33jFnV6Y
j6H4Xvf1urCoFQ/hveo+F7TTXfclK6gJi/SJImWbCOayqIVV7X5Y0aPY9gjioF5Jzd+vYNdDi09L
feOVwS360bZMSVxIk+tKJMkuf1WZtC0lY+lpMSCM+8KDW53RBC4RXh7cRQsrx8xeBdm47iiJe94n
uAPbbD8SuEqOBAeZirKuHhWsxGX6ZVp37TpXCi6MEugqyMCgEq8NqKq9/4vjtTBDJJLKERthIDGH
LqKvwagsVgkYll7maSXSO6XdGXb7CIGp1t/nDpJvim9jWr5EVWwpKS9WKNtit+90BZdzEgCpXUpu
uOiU35rqr3WWJu1C9ke8dyGJqUJ017b1uCBo3o/0DBp0RrSSaV3H7DelsRYGyXQtKrtEfAl6gZL2
uxq0a0OQX+rySfHKfRa+DNGDoz20SojhuoNlQbqscaxVC30RuspV48ZLKXoqXVRKTNSnSnfjsh/r
IKBjihymglSE1KwEMn6tbGYAmGfPsvrV95JlHf2bvycQbegPphwTzLKxswXt3HeeCgsRyPaAp7vf
zpzdrzz5j9hxMt4khxhMXzaDwC/hWrer7FZaYCqXHOqAtzCCDMtgVQAgExcgrmZRyeeuP+TORkbU
11SnaQVpNLdUSNTgRCXNbca5uxyZztbzRveZfwWmSQKNwLAKuo3ABI5gndwa+1GJ96Nehp/pjTuL
ej77HD0dbnK/mtHg65TzSwoL8pVzVdo8gPfhYfSghyl/l9hz2NKz7xFDxnAe0XoJHNokO7JkoTUx
3i0PwnYUSkUM9005IrSwQ0ryTZu5ac/eZieDTe+ZAkKr2OeYETtHLGFXEs1GZY5ReHZXnAwySYpa
RVB8t0o4AHGwLJE0c6y7mV0xN4/JrmjCsKpckUVTN/E7EuG2sfav5Fvioo1uHqK67SwNb25Wk50R
BdZQUScsD3q2d4ybxv01M6ezSdD3sk2LnU6uVl5r8G1GHcoa2f5Ddcud6a/qx+an+Brvygd0QzfF
mxLu5/fhzIpqkwcWxpRC2iesqNg+1vI+NruV5uQz+fK4vf4IVSdTnITGQKhygfuHPG841shjxx0N
Vm2nCPrcg+f8dAyOE4Lk+GVNpsPNHThNLY+nqrebZtFuuOaQ/dgAO1ihLF0slF/+cu6Zen6PfI86
mZ8xYPCgVkN58IRgayiY2pDdzGyT82v4PcYk3DueKTidIZWU5cunoQH6hkaYgPRBcHQW5j7/MeS8
qorN3INqbm7jv5+8i+WoV1PF7MuD4iDhARgOUY+ZqZ17dBj4b/zro40f9WSIAGqbjErpeAKMRXrf
X4+xnnTk2P6Yrz+dnY8i4Z+LwZhqTs116fYbA77NKCWpV6KLdog3FwfP313fQ0xPdNYjUy/E5XiZ
mBsVVXce9yxes6Besqk2SbiZszY8uzlORpxsezPImr7G7P2QhMh/NTbFJ0CcR8ufyXHOJx0nA012
eiOGoFY0BqrWIYBLxLOhz1FyineSLa0qJGC8a/dm9rI8+0w5GXay+fVBcxKjZEUVCTIyVAQLJGFc
xED4UIWRJVuXvZWSCg91PXPuvtzZ/ohdJ0NP9r+npwVsgGbcnHiF+MvSbn8F62LrXunBIkEMf9gi
5CktDs3K247i09F1f59cw2HcF+Bclv9N09E4+T2Tw2JJrl+EFteFHm9E4SlofoMumAuj43pemvS4
305OJAaIvpbUTHoU89XW9PJreJK+bS6cRXKVAIrfzsSAc52d02lNkgcx1o3acNtxmdEaXIu2ssxu
/DeMBZBrj46uXd1RjX6d6zTKM+FAm2QUAP2DJunY0Hpx0Px3TQuXitAh1B6hllSvy+xTr956KnOi
1RyE/MlIZFtQhVXVoIhFVb6ReGhBJhVuw6CHK2AA4WeLhCiMGt7MIs391kkqEqd51/hqMf7Wz9p6
EuL/hsB18hH0Sd+1CcQsGhoWw09/wH7wtLnwMTODKUvVMxwJvvIYPsjdZIAHcr10vjQUIErvxWfh
de5qntlXo6TM6U4ufMkTwjEWq65nlxZdpvYt694xZktRDJ7ZxGezj++zqU/ClJiBStNNpoeu7zq+
r26zm+DGv9YP0Xt2LK5gF4NGnFnTuTEn8an2LcNPHI6qqe3jkKaSdt/ET5cnNvfZJjGn8Hmeg3Zm
jPpeC+9k8+3y35+bwyTcuJXaCYU7hhuvW8juDze9sebmMHcr65MIYwHkTj2djxPshJfidUyesEa6
GiUT85vscW7jza3ZJLAIYQinL6y5soT3MH3sO3dmt80NMIkGfdBVuKHxUXoHuQdYHgquipe/izxz
eqZQvzowZDcsmcTo141NR32PvgiOe0jftat+Vdo9lim/cCdHrF+/qcbW7dWoK3kUH9B8zDbO6vIP
ksZE5sLFZEwSHTeuXKMGVMkDUL9qj//4iCiwPFWzOdX5F/r3aTYmoUMKQjV3EkJHtqxXI3p52Op4
sihX5nZMcy7PbOYITB3YK1GqTFdhMAgLYD+fEgwl5eTl8iDjnvtz9VR0mSGUK/JUUCYsB1HxO94p
il4gDfIpO59QIe/aulzqjry3emvme40H99KAk0MQ8K2CwurKQx0+m8VvieJvJVE+RCf48szOL9/3
zCaHQS8qM01kBurT31ig2lbYI1qzuzzIWe0DQ/lrlGkHNBKbPGkM1g+IzTbBfanY9mhwYzgy0+45
C+I8HWmyzwtds0KkN0qs4Mp3iDDmFbQxjJiMFU7P5SLGbQ4JlJmvNS7Sha8lTza8prVBJPZfhwue
wGakw4/0gLkX5dmu5OnkJtdkTtkayh8fC4lw97lLaXwMu8Fc4DnI9DLq91fAy7x9jAikfH/5G56P
mt+fcPz3k8xW8WNHsHyes3La0sT46I3/Lon6HmHcqicjBEoKmbPgMqsNeZlQkfbx5bk8iX9zl32P
Mb0wi0ZOdJ8VLFeiPbosmcLC3aDHth7BvQDt1ZllmznIXxfFyaQ0ue66rmfZgg4dZHzSMgNYWZnt
S/Ph8tzO6hjQD8R2HN05CFCT9YvNovGsLh7nBrB3FQ7gDmEb2sqxXIsvZDiE+5W4z59z5ILnsqnz
2+N78OnCapJS4wBLlQWWBsj5wK/n3lbnQ9X3EJM8REm1oYKDSai6KnbNbbd4QBXtqQE0p+As5d1F
trC+vKT/5sB9DzkJw1XqpFHqRczqR4+vMAuK9icFCdt9QMvqiDbRDk+WuZfqv7msv4edBOU+ziXH
a5iputHW12NAGT0svzr/lyf4FZn+jFx/jfQlr3CyPd0gd82SkstBv0YJsSELBoGOQBsi8jVyLbqN
a90KA4UaQvXYVT2Wt/MyH+eTpe8fMYnZSdKmparxI4z0ZsDnVXuxgO3F2c5p1JlNdHYPqRCQRxVa
/GsnEbRoQ9mIRLap59DDlG+UoUf1diYrP3vmTwaZhEq9ENKiCKg0BKZke02LR8VBiKyNKIXLy9/v
/E45GWpy5r0Y+3Zh3KBGdeV1GJIF4c4KFKw57mNMQPyuW5ryTYWkXFFIc+XHs9/tZPDJmVfTQM1L
mRK4d1A+3GGRfVr7/Ff8S99lvx2S2vRWeqTkganaTFCd+4qTSOAaTaO5BgNL4rGraIgyavt7Zmnl
c5f6yeymZ79xYLgPLO2QBOuqhxIXYCjm/LTkRx7HdoDReR/hEZAvIMjudJSoZ37AuBf/OJsnP2AS
BQrdkGrBY5bBzr2XRjsM7Ps6GwbmiD9yZ4vx52uU3wNOqxhVrUZWzZv/oN7hmCjg5pja/i+Rfvah
ehI2+O89etnBsa3t5ZnOnJdpcaOxxEATe1ZaMR+77ncfv8cQzUXl5vIw50tWJ/Mbv/hJsBPrXspV
lfn1V96t8gFpVfpw71U7W4d38WO2RdPgunpHJWEjg8Uud8WosD9v2DZunAvfdVrsCBwfedSxQytj
ChKp0ZPTbnS8A0vcBkUL98tgZuLnm7QnE58EpNTvDLMcd1L3Ur9LeKl2z+ayxyF5DOkbUAQCtoGX
F3tukpPApCuh1QTjZW3qL22WrP321UqfnOA9tjw8kGflvmYOiz6JRSgdl6U+5h/9VYmRL+LhOHC6
D/6nvBw9COaKFOcj0F+NfHNyNiUxMGujYjgrw2wMsrqAsWGYSDMx4Euz+M+98tc40/sZ9Yy+oN09
5nTebfFg7ENqyb+1j46ruf81EnWctbFB9/MFZe/BttC0H7DY6RaUzObumpk5W5Nr2pE8SZYiPumo
qKYdmh1W7KD5E9xfx3Z/95gKs6jEf7N1vxdgso8GBUa6O8YGeTOMBrqbsMaVtbuSbOEqeUse1WM8
94QcT8OlNZ9sJSfNa9fImefYV5ZX7F0UKdECOaICi7nAf7Cy5zfv9yQn99kQWsDmxwSoFKtDnxyy
wLMLjU6UhpScbrdRsnIzbAMgARvDxopfI+R1Lp/Xs5P+6v1iQwWfZ/ITRE0YItGlYCX493LwaYKc
uzyANB6JP5b1ZITJfRq5ZlImKkHIosNsYg2N2D17aGzYO0ucf9bWXXQv/MbeACHEpTpT7T1fgjgZ
fnJivSB0xSIlKRsr6KNqgM8rXV+nN3Pw3fPvsO+RptdoOYTIDpIZkb1b1EtRuqEklYL8RrOHlhcP
daxwXFxYoEkMIf41Eo4h67mH5/mn7snPmBxXS4xQ8P4CAq2djbFu3/xV9Twcw4d8jTFK8Gu21ziz
haYdA7H0q07Jx7TXX+hkENbevasDzJb9XbfKb/MfoJaH18u7am7M8WSdXOnQTLENHOFHkhUuqDAt
IlGc27hn05OThRx/w+kYaiUGycAYzdp6SRABfMXk+dc/VA+Z2Keu2kAF259zAfdsvD0ZdxL6BDSn
dINDQ/dsV/J8FwO0EHJleXkF50aZRLuiisSySqmGuxgLK80vqwkXCSNdHmXu+E2bCD2JrOe5X4sY
3CI7sFXuoL9hwDKnGju3IyZhptZFw/UcdqFS47SNY7xQa+uZyZyN1ydfZhJLnKJTjL5jDMwQJXQk
MJSv8Bo6+rt2aV35L+IsvnxmVtN+Qi6FeSnmVLkHl47IHiL85SnN7IJpewA1spZaB7ugMvAkkTEt
QUwaUO3lUc7f5t8LN+0MBLLcNXHANJRFvXI28sp49tYQAHD1i29Ra8D3b3V5yLmFmwQIoNZt1ZIb
HiT9Z+jldqXP9XrmAq0x/oST+KAMVohMBrsh/50ezSf5MbfH1qyxiVyqij6mRZenNDvg+DFPBiQj
wiIkY8BRT3/k3KBValdX/q28lLdYGs0s4fl34clXm4QIQ9S0OhuPVLArHvBeHkYX25/Bz/xDuxtN
zdOb6pdfbMC7z0x0JvJOQfaFZLbeUNF5bDMb2PwK6FbyQ4jBJS+sa8T4nUVzZ6gLce8uldvLYytz
J2ISR7QkcILAYmx43Su1RzHwqZQxyEW3Mk3sKny3Ag0TdcH2ZB2TYu3dLbhVcZuQkNEszR9hnj2N
0ige/q7x/5H2Hc2R40q3v4gRdKDZ0pZRqeRNbxgttZqeBL359e9Q74spDpq3cKPvZhajjkoCyEwk
0pwT/Y6yI1WitwgABeSrRY+4YjTuTD+zAPMLCKNcJQbnHEDbtEJzqwVkSnnp5cy/vireohjHFQdp
HhoCvLAx79JQc0rNBWAVJ5RcfuRKoGcwzRDoG6gEYYkDphyTU4VggzPFGtvEobNgTeQlNiZgWZrO
9aXxtJTtYCRp1unZkhRqUGAlIJN8rx/jg2DrKLDGd9LP+ZTdR4Bu5Wwpzxq/YY5W1jgIba0Wy54C
KOgFnaaobi0F8mU6AC0//Jbr7TMkgEwC7Luifj8ZV/JiU5IJjeHR0C6/q1uQ/QGrcwab6l/t50UO
Y/WkzZK01WEAqg8sVEB3g351xjwNeMfsxgFO0i0FZV3iVlB7nuxtr32RzbxG6rprjSLAdUTQoi9Y
agHgcLQOYVMxYSJb9Wk4cmXy9pUxeFOrIz2NFmdjg8IZMCJPMZAwWguky0CbdIZH0cL0yt9VpMhl
qYxJznHRl8DsQW7mE/MYNtl1qYu0GxJ9QGINLFkERRznZDm7y7LbAzM2NkYCDQKBWbqbP/EU8wQX
jxLUDYHXDN5Qyq9dLhftn17B0DRgRoCRhaUqaFDY64UQ0Wyy7x1UGdzUjc7aXjtPN+Mzv/Nxe40X
ccvfV1ZStzFQxwJ0TovJtAsayVHpK2cbeStaFGolIsv7wByX2slwABlcpYHEDf2NR3BSD05xmxyz
+788ucuqGJsEbGtcxgpWpfpowpLtwdclu//Q7fJmcPL36RHwpy0vt7ZtGBehjDEqyON1SomTC2dw
ntLK6hWMQomye30/F/u6piCM/VVT2pJpgJgg0PYD7lkiFd6Mq76MKfCIiR0h8LgukqckjO0FoDQL
wKvS3KSCaSXSD234dV3AVgBjiJqOIUFdh+IzKiKWjR6qeQWgGwmIX+VPJXusgchs9gZnJZt9D2tJ
jGaYnWwKUl0gfXRAQJHPVn2Xu+MOVAv1b7ABeNMj2EkLn5dl4C2Q0Y1wUs1ebCE2rkG0qoNYpnvr
ExRlXq5vJHd9jHaUwEDvhRSClm7i4bYPb4Duq4GVXcAIJXreRxcXIRgC8jdeg9Hmo2W9tYyWNGmp
1BGB6OWC177hYaTERt+WJXuYOQIpM8Y+Hc565Q1rADcfZj8IIu8/OLNEnQLsdoDmKMAKj6QbMcWs
KOqzkvySRkAWfWmBdz8O9wme63HMKxgsuSHWFtfSGe8pqYlca0PTAuc4ec8GxTbKbgd0FWsGbGIt
4UYGjl8GPuoJEKRS8MVZ/JZnXYtnzAa9uhVQQLD4LkKX/JiAmYq+g33Qp/PgNOUhEG908lYVpwyU
3sVg1Q1nAxYB19bPWFMPrkEiBSWgt8KHHqSzykOkcx4YmxkRTA5rCysaIRobrzamOY4ZjbHIETD2
ekMfBzBskfgpScUbLTbdJNJ3KVG9VuPdXEsE/ufyLqIX5VvdXHHeirWuZkAB8oeXzh93S2QFuuwd
b7xiex8vgpaDXgkqMdhsFEYKiE8ZPr0EHHj4Fk68YfAtN77eSUZbg6qY+xzAyTcENKdC8DM2nkT0
w0oh8cKRuIJKj0r4lYKezQge2rq5DQEwGlNeOXxbaxeSTXQWqPjPvxerVmklFjH8hOpPrvCReSW4
WnukNhQ7+IgfI/+vrOQfeey0DNHzbAJhX3sza9JNqDY7tX7OSLszgue07V1pTndNjxezDA4M/U0A
hsTAwxHcPt/LJzA5Zj3uB7UTc9hJu286kNnXd3oWcnwhTwijrZJOW3CjwRiFWLTn4L3EyHOrEc4N
upzOnzZxWQqjqsD1LgioHdsbaSyOmDt1pHi2ogDNYfljjRJpMqVuMM7e9UPcLBYY0kUso7sV2EkE
0YApLsUmkE7ROyUGjYK9VA2egffnFbdAGZ9ye/ImcM8Px26nude/gbe/y99XRjpmxqQXHT5B7IEi
Oyd2EAi2WfKsdAkFrm0w41OnYDSVyFyu0aGyMmmwKbKnvXhTmbW1gDpVKaCOpXwnEqD1S3sly6wC
sWzV/K4CpH9MxWpG3jdxTJatehEVQ/CBjm8qgp+CeJODcLt2eoCwL0W30jWlJ5pjHF7vLNN8a4yU
s/O8LWGCGjnE/FkswHzQcWzreXuKRsPK2pexgL5B8PVz3mwWWusa46DKHKS18gBxg0Zcsx4Azz+8
KNJOy4+VsbBXvCodoIWNz1Hgnv62j/5Hz9mimG4G4zhIkD3hSi9HgOgrX6MmeVkPtvQscCiaPgYw
VgMhuZnKV5BB7sB26PdDub++C5sfIkOJNBWd3H9wg/ZjampNrLY3dVVaYHkEDSJ3jpEngzlXJU5M
OS5leKxdfdM/AWvPDYBMsVse19WvAbQo3EF8nkjmbJVWkMo0wrKi6qz1j2L0fn3btqPgy76xLdx1
DFoXoZDaG7Sg56AdcUS38Y3eVd8BnHw3gH3FTu5TXqRClu/+w2usxLI3TGemYUpRFgeKyGM8nbQU
eCc0tRMi2FqEjsFnk4AOoD/o004iX2WPLnbdFgHSoWPiogCkcDMDGQMN0yJerUWlugN4m1rlUZEF
e1ReOuCpE90H0Zg1GJI10slSM0CapIaT99SJ0groJM9iAu8jNo6pZQ6tK1vKwM+k9l6hdbsMv00B
AhNoBwFBemOigXIM3TA391EkI3dFvEQd9zF4gwYFHC+qZeroGa0kexTiYx4VrgxHmHctqOHx/xC4
VKDAUOfMASsDsDBAapojpTjczCDy1AvU/7sUQPCoKQMa0zKkRwOPfhAgEflQZp+t9hXIoS1Od1hN
0IRovkEacrhNZnU/gKe+blI7D/ADjWrPQnFfai+Z8AoqZ6uI0T7YDGgCBUWLfj8ayetceaKiAGT9
tkx3RncuJyftwQKr3A8Vcn+S6GWYa87V3Cqbyh4b8AwBiEdEnwTYJswBm9LS8lnWc7dCc7xRCUDR
aqxMmZ0GkVqNLHdEKYg9ANoO7tO4f0qSyRJL6hfkQ0B7lt5UFiGPJYhkSfVKpR8g0mwtqXmUlXca
KxbYEYDvkp+KsAYwKNCNSuoNYuQ2SyNrptqdeT8Y4Yeo7oPGcIZR9iXpQ46BqJyUDsc+Nm/RlaIy
UQrVQkrLEPZRO0AVf6JehtbrGOPzyW20a300l99yU5ab98dKJhOz1LOsgG4IxgEu4s7NH4yvcLSl
V710UnsJ6cH+EPm13Z5CvBUpJ2DieJzvbrtV2BBrcwNkeixYrkCkjhR/QWXOpvL2lIlMsiZNm4Ao
SJ+An6OWgVZaT6BiUzkr2U4urPaRCU2SukRHfQbn2bh9aQEtz61KG1w6eoPsb3EL0jI7AjiryvXa
2wtUgGENompRZ1v2xTQVpHYAlLre7nVdckMVFg0Q/eu6ua0mFynM8nqhEoO2BO48WLGhEfusmCyt
obaefY5c6DzekpaPWamFQZIsmlQsqRQLS58w4WvorplyXs88KcwNizdBHpEGUkz5Bc41Kb708PH6
ri0/8efNc9k15kadwKcwBw1g2ZMGbMuKLUzowJLRogRiIpABqUHsXhe4bVD/CGR7/WKJhvpQQaBK
7/r6NTc5bembc3mGfBHA3KXTlNEMIyKLmk/uUmoIDwCJAyVq4YofvKf/Zl1sLY1xiCngrkib4Igq
d8HpWdro2tfQL/ehDTQp6AbHWfC2j3GGYTvLrWws21cByAoVq5rXvsCTsPx9pdpTJBpGuUhoFpr2
7qzhMruuAhy1Npe/ryQgB4+LkGLPpvJLSZ+E4kVIdY6M/+DtLmrAuIOZgiWjFyEkFgUrMQq3MgtH
05T9rCfHRv0cwaPearqXAjIiDh5KPH7B97rTwsDL6V+h2q7VhPEXWa8AzElCrNw6kjfuQSGVnVqr
ATORRW/Br+ODuXCKvP9tnxn3ERM11AMZHjEfPhQ1Q83+WQdd5XUhPHVhHEg967VZEQhREZFqSmQX
PCoOzlEa3yiFK33pJLHo2g5HKdatE2eRNYFfr2w6q0NM2GEgsFEDfxBrqwCNTzrkdjHvMETlmSjk
ysP/pr0GS9fb0FrT2gILBofbUUWjkoxOmCL6q21dgC9VUIAAi+bfNlJJGBao5QF50/k9B4XgbPR/
pR0XCYydt30ooysDEmjdOKmIt6p4kvKYs47NGXGQYv+zEMbY57EDyM7UQ/O9yVYxGDtGVhJZPUBZ
EktBX/WCEQP+4YPqJW7ml8f+1DzVvulMvu4EiPF4TXrb3ufyQYxjaBqakFIbcX7G1xADLLVLrXrk
9aD8h5fkRQxj8aXSBhnKRniq7sXD6MTHpbNgmWypAM6EUIvPR7ydZVNEQ1YVU9VBtfxvnQHFUinr
MQLJGuAklmRaop3cjfsFrc54193qU78v36Lb2R2BqngOvfCvmkiN1Rcwt2Gg6/qctPiCsnjNVE+Y
f809sUQMmghAwwHI4xS+9qhqVfoZYNGwY9DK0XAXB59mr71cd0zbbmP1MYwJyVQYSRLiYxoAlTqx
6OYggZK89GvB9QbXNeDbTVBoAr6el2vc7NJZ7wNjW2UZYQJ3hujeU9BcLxWWCWK1k7hvXeRG7lrb
QJQPOokH3mNpU7lXa2asrUpondVLTkatPmc01GdtC5jc/fWd5QlhLAg9X/JQmhASgmg60s80b8AS
ySlObQ6FrPeQMaCxirs+H/Dsq6bsKY0PUXtWisROFKBE49qsldovjM98AIJGaiXKr5zKYOFGHmGe
vSFKwBlYI8mBjEU53wVGe9KDLwU8c73WW4DKAdboXNrX92U7GFztPnPhhiByFdMKGxOcmuyQ7shR
AAWnDWbRQbbyX9Iz2gq43RLLbv8Rwa+EMhew2RnSkNJvoZMb2U+Vby6v8hN1J6966v3nAjyQvOhq
UeArQtnmmiGSppoWEDqhjUh7URecHuJ2jog5pPw8/Jp2vBr8tkO9rFNhvJumJmlhThBJO5vuh1MN
yz2k4H+2UjDXE7Bf26Bp3XGOlLdQxqNViqhNgCNoMVTmzIDQl3bSMbd1N98b3vjM5xLh2JbCOK2i
mGutHLFKHVScsfQWENkCaiHv/JafuXZ+jIPKVL1NzEWM8jj9Rnv3TYtKjI+3BDIr9gQ4qx23v5a3
k4xrIr1hVPFyO1Wu8ql4YD49CrfSLXTme0AlPPOeStuVABX0cIBQ1WTgdP/7PpwFEbkq4GfiAhgd
5WZBCQDT9qHyQOjAealva+dKFmv62WSSoYAsGbXIyJnAp+uBzfeoOsK8qyd3csBjwedJWZbwxzmu
xDLGr1Wx1Kn1kvT47G9g92gk1Oz0UJ7Qt3yjuKljOihzCfwp2sXarghmHQCAVtteS7DeEFmWQ+4u
zdkR0ppeuwzwO9et8Jsc7po0xvbLtolkY0mRFfLsJIlyMFvjNMrxfZBFrwOwsKsaXeFdeGuCSq4m
na2nP7OwtcP4po8wKigG5EWuy1eAVQJ+lj5F8m8xidx4KHZp8B6Q3SD9DkLZHUTQyJI7vf0Q59aq
2gw/hDcE0uVSQ28N8VmuOh9MtTuw1KND+ldRFTzL3HQAlxNVGIcTqCJ6CEHoAqUNHyZXRv0BvIEf
mSXcg2sWJ1r45J2zvbzDZJwORdtNA6b3hR1Nt4IDOfa76VT6SLYe8RU7zQ9+YxjI13fzTrAytP4u
GV/Q9S4UdA/ELs+9i5D2HoEUSj/GjvoYhn8tbF4X6XcAe00NGK8VFYXR1jLUwHhWD9LTbOWn1Abs
x2dyBrw6WD8hvnCLUwFqRlhb88r7gk0fpuIFqsqaYgLg+t8epSCq3AMHB94ZfGd98TvjQuBtNq2s
JDDH34oUtIUDXifJHjjTfr/LkOHu9v8FzM7ikf7czMtamEPXUJzWqw6ShCOYrb9hdvoncqwx3voI
RilX+0wTS69sw8sOwt/xQRqrhTJnqTd6H48U4jHz+2Qc+jM9R97CDlbdkJ/Gx38x+L9tWZcFMxeQ
KFCx0UZI1B/D2A7uwWyICKL0U/tz6ND7hWeZeuSOsfBUhgmW1aJJ67mHyoB4O9vPTofZiR0wrgDm
reOSsHuYDc9fbj99VpvL3HzmICh9Gn9vbj4DobPxBddsLFlFp/doa+huww0fSG7HSx5uBqMrwcw1
CKqhSQ4qCE7IL036nU2xldKnUSDOdZcl8bSXufimXqRdi6mnJQB9mzAT7pWHPX0cd+O9TkDM4yZH
o7FbX9jzNnf7yv1HjdghtbbNlCgQW8QxqAoWQmdP5bkLnkLzOUEq6voyyWLufxgpkVRVRJELDbbM
MrWaaMUso/w0SIVTmXhu1a4Jnlld+WWMgTvNsyXGT42WIa2A3Jc4OQWwUXQyga3sWNPotc8mCW+l
/mCoqPiAoFEkyc4E33wboQZUD848/kwNLwU3sZFRxxBLVxJkSy+BEpxLh5Y+1SMSFspJxhxvOgH/
vposWk2OED3TWndl1aPCUyLdmDPIP4TfBejOquypK4619KBjPFaq/Ot7sv24vuwJG3p0wdAb6ZIa
aybUA1U7B3UQgo/fxXHxlSFugMRFxMOrBG6/7lZyGecPgos8rAfIzfbybziP++RRsL/vwMZqwDrA
TRpvBukrgcxdoBuCFPQlDn86GP64r2wMahxKAFLKAD7AFete39hN212JYy6EWugLRYBm36BpBXQV
dpHVC5m4NPBQtLbd00oS4/snbYTq6MiNdYfJRm5sp+PFmjjtDne5Ry39BXAdnMVtB+grmYz3n02U
2nW6+OEbrNAbQjRxQyIAKuGEUcQLjr1q5a/Xt3T50Svm+00yvcpcS2MpdnWLE0w6ydKGyaXKKUPx
9bqU7YcOUcGlJUsS2J8Ydy9FoaZlVbXEbwMMorFNQLw5pl96wp53eNtLushiPHxtakYSdBShuPrZ
dD9C86ETY86CNu/M1XoYr1cmilRIDdYzp4BQ6CU36nhx9nUREltTIEo+xQL9FkEwIPiToL/l+qls
bhSwNMEyAFIug33JU6NQB5Xi7Il56rLP0nwuU06ObBO5zVjJYAxJ07NopMG8BFE4kHdyEx/CL+CN
47GQ7LJ7/b0AmAefFWLZ/z/UeiWWsaUwAsxfIUCseFC8DkFq7eqH1udhTGx7XI1IuJsURZLZUosa
0yqIBmQpFpzxhTM8PgQOkGwPtYX+qD1vqH7zZl+JY/xtkJvzoPd4Xihj5Irju0JbW9LeSBhYVd3a
19Vj++x0oppoyVA1hSUXTigp0xLkfji7eo8Rp9fmVt9lj5Ez3hMfjABAhwTzZLdD6+B1yfLmvbKS
zISkTZlmaoTGArC4DW71EBgO7vdWO2e/jJfqZDiNI/gz2nsaizybqQtKDCB/4cnr/RfPgM1LZ/Ut
jOvSMR7QwKcAL+VxlK2st+mvhapo0N3GQR8WtYwdqhUd+qY8Xq58+0pYyWZcWVIsuYFRXmYhBzdF
3zzBJWR+j32i9B1+tsjv8YRueoWVTMa1haNUJ7GBvdfQNyYF73FNcTF8XT/hbcO5SPmeyljdO8h5
9WZJlOWEe3CCFw7Se7kfwzFgkO6BPvOmhza96UoeExoF00xqZV40ang1e6iORDlKy5PA2CYdIgNN
hToQDjCHFMrgWpN+cjZt+Yk/vNpqEYvZrDaNykLbFBMM8ps9GhMjgtvb0kHwMTB6+LvGkZU0xnXn
RZerkogtk+9HR7WrQ+IE+9gfkVMhzwv75f+4OsZnd6XcyW2GDUz25W18BGoI3oILYRYYwC2uNI6a
f8fwq71U9KTQKYVZt07vgCE+PmJMHRPjeL34RmwNT8GRnnjw35v+GwOIMsYyDVC2MwcoTdUYzrOB
id/+NagkfypVR6bdDlS7rjgHnPv9P7jRizjmBBOhlOpwgrglvQyQj6NxSJ76p+mrDO3yB5JkKGrj
/Utsdaf7kpu5enoUHB5FxX/wYpfPYA62HjEdb5jBgk+p+QZZyo274KlJcLhkssYXFAFLm/cI3q41
o6NFU0HQqYgqY/FjN0p6GcHDjF5yJ4LhVLTB1dfdTs+JhyZUz0QL4yHaZUBesEFOSUWb8mP6TS1b
fQTjFCZdT4u4hgNPX+p9d6t9LbPsjTcvNXaQrzv1c3fkpQB5MhklEwOp03DycHXmeKoodbJSvCGU
hxa5GWIZRDdNU9ekPxr4lUgElfLijMoS5iJQGzgJ3lgUtiQ8iqgmGlJ3SJvH605C3ryNV1KZGxHj
kGXRyTDbDK1r7awi8B6OYWPasvBbDMFFjOmVHr3dowGmrPGxEgqna8WDJCi3+giAxeGU5e9mBbq1
8rmfXwmy5A2mxiMdZaUydCKV2mPHi2d4H81cqUWlxIIy4qN13Vfku0JF70OyLwze7NS2pV12hx0O
SFpRrxsNOq/66FfX7OpH4IjvOroKLARMJwBFZD6XTHFb3/5RBLapY8wiRUyBY3CjJIZVD29KD2Aa
nQeQr3w34f5x+61sifFmMgypUULYUh4Gbm0SaqVa7elo0smryM9Ezc5SAMHS4FgKxG4Vw06V5NBG
fi4eA4DBmLloaT0B3U18mIgGDtNg1+qDFXcxSFxLSwcjjgYMuFIqfVH+UUSqFUzkHi7UNqnsyWiT
B8O2Z5hDYcszfOeseRWaoNMCwFMjZBiVhcZ4RzUTcPo+tOQX3gy2bj6L3Q+K+znNfcM4qoLoiXpp
kb5zzDZygynyUxGw+BJItOWTltwmBJApMXXazK2iZ028GZrBBk261aJ3fFJmO2kGr00rW+gnJ0L7
vRkA9GoCM0F8P1aDPSalGwNPvatv80a2SAS88SByux6jCrpg7NqpdIJmOivKC3wFpiD8zhiwh6gX
EIx+5X4h4SYwhp0ZJe4gyfZcF5heDNGnCBzsNLLL5H2Y79rgrRVaL2/PaXyfKo1jNIYvyW/xDJOa
DLS8CVZd1W7faGBgrdETN01uurB5ppM9YbaPIKIAVlGD1aFKaKVlhr7yzCJmu0tV8lBEjR8roR3R
sypi8ExIMPZcmRZVaxQ2hH1YSD+AZXGawB7VdMemje0BHZNqmzozxi3bFqAz5TPoXDUFOOH9Wzkc
MC2x7+PiSOYPsN+ivmaRoXdlCR+Y37VauyvND9k0HYV+6eDnUgLcGtHPuPpRmwMGVWKbGicxBnUr
GSxNx1Mvbv2w6PZhqd20JD3MumYZxk09Jm7SoDUVbgYVbD+QjLeoBLgW7c9xZnrGHOy7en5RhNk2
0sKOKYKO8pQmxV5ONTdWR3cudQDHIxeK3KhJBZ9qokOl2kub+i4UvBz93K147OLaMgd3pAhZIgzw
ncPiRRfOpobeg6i+7WTdK+PMIaXsZE3pGgNG2GtMCM0SCr6nBqYwTsDMwwA9QS9GU+wjwdw3QeJN
feaR8igjxzbjVUWrT2Oa7EBU8P55qHGNZhGxBM2nFQqZ6FjSS4AakMqrQjR0oYWlSe9nQh5S4zYs
SqcyZKsay8EKMDgaV6bXd+AfoX5sAtFJOBtQdENugTSO8pkFFGL0xhs7DXSAJjxkaDwnkuYnYAYg
+YtBi6NCA0uMSj+pFSsJz4KMf5S+t3KBdxgywTGsYa6fW/NBCG0iBl6lfIT0LCFtXAF+ZKrswfhh
hsRtjI9kONGptNXp0Sykgwi6YtRfDihX2yVsa8akUpMadjafKwXES2Q/RzkAp+8miKzEw2T8VNLP
VHopRnVfF57clW4EZN1SsIgIKKwaYD14FxYBnjWNYfUqTIpo4OwxAVRgooudBuea4gUd1nAkMhpH
AU5lJiomoM6pFi2z6ED6MR0Qptm5BAbh2RkoutZ0L4gLPPgPZKhsUfsZYKGJkbhhj7aBYjosXNSy
eqqC0CNmeOj1xknUz7CbHBC+w2yscKyeMlhrHAZ3uTGc9BndfqJ0kooHVXiNS9MqZaQvJvDltLKt
mC9TZiDZnlsAzNrpde2QpnCmRLLniTh6nicw9mIH7ffqiJ46GY/S9mGa852cGP71AGATvtRY3QJM
MKlqk4a8LG4B/bGHZ4S/ssRT7Bp30qvpYuucBl1M6Tm/y3FifPDdzSfYSjyTmSholsyhiOBqGasg
/WCHDZ7laOYqxmXM4kvT3LxHVjo7RcFPhcS8R9ISvF27BJlshDqRSlKn/8sILAkn6Riha6RyvqcH
XnlJ6e0et9V6mXhLo1kodCrkNb+X3i3wgeEROPv6R3auj72t3wbwX6VtYrxe9VJnGYH7kA1P/mgA
98wFotve/X9CDZEJpEjQxq05f2ek4HR2mTMM9mfnFA81CvodLxOyrO3Pvf5HGpujGFpAJE4hHqQj
bNLUFacunjpAxtTSu6C+y1POa9HZPtyLQObJgku5a7QIyzNO5ieM3Y/d9Ll7D86K2z8XX9zyzWbK
4hIufg+qrN7AVTxPkpBCnniQQfMSouUJ9Tc88m1N8MgBSj377RcvsaDw9pV5oARNk9djgH3N0sDO
zB+xDP8+yy7CZLsJq1u1FazYEK0eY4dx3O3bXnlQCuClpz8ScLc32WemDHtFEXy9bN1Mb60JUT8g
UXZjHO7nFFNiCOulCCcFggB0H/kxAU5aVbmycZbDLyLd52KO24J4RUUdbZZcgE1zHt+cqPg7VF/t
bVDmwFBa0miTPPm5chKB2JIqhctxh4tKXNNRxh32gK0pMYAFHU0B/S0iHaR3viZh4Fn9MITPzviI
W4qw6xNpas4Kt5FTVurD+MIky8W4aaE+o3lWdRVV1cwaQKhWALC07lDxHtBqqeElGPNE856BLNOT
mSmhlGHhN2kG1tbybUT3sjY8pdHrJL2XSmcRdLkJneQqETr59WcFcX2K+LxSeq8XIw8w3tYsYAA/
tKrwoTMTRIDL8O8yyOvmanVKA8njHBVH7b+zNSuNoIZSi3TANyc3s0c8oILYM/HbV93NrNFFn8Wp
+EHA1q7plvB0XTZHGdkZUUWR6yic8S5URs8EDBU99bwxPU464PsiWa0uzpo2VBbfleyXbo7Ur0En
y28K4q2E0bm5mYtxoovOFaIrmF49la6qchKty49cMSq2LTM3G63KcjgoNTdtMzsP5ktf/BpL6vzN
sZgyYIwAVYPuCXzHas8iDHcIuRBiAiM4F8pHUs67wFQ4xHzbB3MRwtzg4BKvgqQCvlGjvAe088YO
z50B2B547hbo+1di5OD0muMctq+Wi1Tmpp4TQZiqXAChM17aZvesQNr/tHksvGmm13RWQkjI0h+G
OlhycAhU3ijOdp0Cqcv/OyKDuZIL0Sw0AoJK1Cn+f4EPE/EIMzVg3tJDcuCVKbZnQ1fy5H+rRKPT
CMNqEYaRgpM2t14QteCYDX2zBzIJ/R2mqR0gfZRVn2H6U0IMf31T/0MG6bJe5m6OpCGXqwTyi5vB
HUy7fiQfS0UTyYraIpgFtFvV4iMML8v60+IuYhd1WllCHCRZW4jY5sb97g8GZJ7pjktlwwsdnjfk
WAQ77d0MalU045KPFkc8Og2Xjr+mrnKogJQi0gg6SH0FJDSub+2257oskfFcMXhhSCHB2PvqJAx3
FNnIkPDK7ZvNmSv1YTxKKfdhVw44vsQYbMmcrQ79V+38VWGcpAI0f4KB3GSinpDzxlmXX752goyb
aYkSDcoMcxSRFIr7exXdrnn6kcP8acSb2dsUZspgXsJ+Gti4f6tLZ2SxEAAW92YGwEgYntUodHMT
aCQI51KDB0+5qS8raczJGQRI31MPaVErAxsqvc2M93SurTJ96BLN1ZC+0QBSdV1dNh3oSihzkqYq
VehrSzAaW4OjojvVamhfl7CpkCsJzIkpeiTOVYxlAdJrIsjnFLeNyWUL3AxQV1KYi8BoB1GoJ2ik
6oc7EdNFcCZQQpDNH8VdkXCMbHvXNAkYDqhKgOyQUYwAzJjSiJub9gdZeoT35hzL9oVgXiQsX7Dy
VCMx+24oUVNTzktVNHNKPzzN4MFZyMCQc+fwpfAWxGh6Fpr5JBQQ1ypgpVJaWx1erqsBd0WMeitN
maQJhTss2soaxByYY+DwIOfUfCTqzkTOCC3ftln8KvLmoJfgfBwHl/MNi4w/vMdqVxltV+LGzAYV
3yDrNjAeIvD5fi0t80uxWXlJgeUCULtD6WEGnvsK3tbQy4kydlBrqhAEgJj4rgSDCWen7okPxGdL
3DW76+vknSZrDHmYkQkUWaC8liyC/oop5T6NNq+Ay1ayNSBzioeoCyAju+mdoreRlH9U0Uez4BQX
4JJDWp7u0E3j4jEKFO/gGPNnb7Zdyz9bypaE9KzTUk1ejtMH1JjkSY7yAcSgfEBvd/2ieiDGKg6p
x81WcfaXfRbOeTjRQoD5E7Hdq8N93R0U4bPGw68ZYosGn3APQJT7FWhvfXuWgWVHUWGQKnhYWlvy
3NxVuuwmg46EZr2T65OQ54AMe6RTz/Ej3yw8VzSefQ12Zq3kSYUtmlHEFFASketfwojx64bYdUAs
tdasTqd2qce2UJVeSvrdLIGmqO6d0gD3YZs+tkFh1SF1wyHcDY3oEdRB+0m0xwmJ7vlmBsVtHra+
bPxUb5bfrA0vAQFSMTzm5WtaCWiXDo8EpRlsm6VOB2q2qDx8ykgCtU0MBGvtTupCW5EyK64LP0GW
Jc8Sby4+hvhhnAGKKAFbs35QWtnqKvDcZrNVtmhLMcVzM/9u8cimYWpPwNS6bkfbN/JFvxgnjIbV
BLkrbJ7q1/vCM/YLL6u8406u8vSY8b5D1MhKv+jT+DY6ZW13z8Ktts+OaW9JL+MtimqovN2VHC/x
HzyySVTF0MGRyj46+q7UBqFDLEXRm4IBtl1+MN4/073sxW//xaTcltWYoqaCq1gyJXRN/vtKG6TK
iLqlalwh+G57ewGsHu+XOcv0HR1v9/wWhc1nzlok43PDHJSEvfTdnJEJp6VzHMzq5KG3RbRHdC6f
23ZzT9cSGdc7xmOcJj0kAljSqR5wbz8DovUcYKamfc5OvNzxZsczNlPHVIQK5HHWBWqdahRZ/91f
NLhxaJFj6nde/7P+Udi8K2zr9lzLWl5Xq5hE/n/MXdeSpEiW/ZW2fl56UY47azNjtqjQqSJS1QuW
qtBa8/V7oKo7I0km6amnHWurqagguLjjfv3KcwJbltMEstT62CTPspOYDup7eHVh2y3JmVhXNgC6
iN8NdQy8YIhipaXFlaRQk7VLECZLkiYbXHb8Tm5cbDwVUFk0UtAnmWo2QaHJUrPGbIZj9MqA/cwk
eYo9GjqJHEc8MhwlpZuQexQQhSmVbOtm971Taa5sa+CC38gZRXISSjlFIliTs1yz6Z3t7EmNaLkk
6xIvrRMuveCjTs9bFLg3T2qzEyJ+g4WwcHjMtCegHlwCuzjP0HLDlIleEpjURLaSVfukg9al9UpF
Rymojg3g8eoxkv5lkl0EvqfLFMdgo4VEuPXyR14KgKJYvH6tjGe2Fp5GodhdBNj66vj92fJDqRvp
Cq6r9/wKxsZQ3Y8k0Sk3/RsbSAbG36goGxbax8Pzo8TJ8qiSIPKapEcCEGXX2YULOnDXUM3MSDby
ntss9tjPymMCCBlldAT+KE05GyENHKCnqW0Nu63eghlIk+k+qVIrSxIrksJtITw3oa2j8VPjMd09
A15u2hu/Ms9nTzFsmrOnaHiwoHtCXcFQZathmhO9vq+1UEs2ieFfKzcL8j4bxpjlM3mTc0FM4rRH
0UEDldknmmgCzECvt9leOCybjMMb+/RGz2RNDoTUz4SaNRibX67d2kWlx1JZ3MyZMwyH8EyRCVPo
FLBItMGgUcd4ibmhXuabYZU6bwNnanpTHpYs/c+Ww0dhkxUaeLZgN0Hd7FOy56K16h2KaPNL7+d9
QBMt0JZBKqmRX6PC0V5FW9eSiotab80BrSv0lpKTw9v+/IbepU1Wn+c6rKUZpm9ArcudcKRZkW4y
Q7T44AY0S2jZ9IzqdblZdG4u0WGB3kIFxYafmJYcBEIcuPrVnkh3BXfDIYSWLKz1z+cNkCVhaCkE
Rbn0EytO7zuVFzFS7Tv+JGY7oQBKWPyKOvilPTw3i+eCJuuiimw3KFMIanTZ1TtT0St6pVJtyLui
3Nk7uTChjYiB42iP8o3FFsG5fXYuf7JmnLoBiaYM+fE+Rq9vBzZScNahKzHZZKf2EAPSamGVLkmc
rJuEVZJQepA4dJFETy5vFTpStvYmealETYmsyOIa3b1dEDu/aN7f6ER5sTZK2iRXBrFpDdqsUahv
gPFtGG18IZlA4P07jCFz4xUFohBJBqcEVtNHLc3lgPf2OpxNRmvxoZZa7bpGpXMP/1vjwaj7usCT
PLd0RbiqKEAgKgMU20d5dQHqOtCi1nuuAFJqdeRtFfV+IKh8XZjRwYqcKoAzQdNyCI74ks0LYrNX
XbCNFFVpuC41Ej43wd+js0h8i4dSLFR/yp64KlHTzZIlx28GZwNkLKBWk+EW4X+fetbsNAtFv6z2
LW1QCFlroEfTJfeb116JHCAWHG6N+PeJFxtDRjFY0YI8AJqjw2OTuDLysjdsybPKeFt6bwD60pQu
M7r0FmXySKErQJNGKWQsXUYRToaAoSKQrvgK7GpBsFaA2sASH/zPFcrUEs0v4GoD+zlqYdJ3u6zi
nxemfG4toXRdZYwCZU/iJ2up4ZlXh2JejShdXvFG9j5oOmUsYOHJKx7bwzKA+XDQTt8yKO14OC08
zMup7xmFpHEUO4CREX/z/XWQ3/bJY9EADxLQhijiX309xLkRyrBgYVRhgGR6KGcZB1hcpCVB93BV
hsdWvv/6/sMMTYcjy6Is0kGv86P1f2YzsTrNMsGDXZGhUMBVPSNSZWTQWqOIeqNehNefMxRBJMMU
iQqARJyyq3XMV9SmgWFeGo4CBEgt2wrQdQYcW0B+rUTkz5ZShp9jIQIPwgCBCoo0rJXJGimVkFWi
5MJy2jjrH4n34u+gccy+KfStiJKMZDU/7V3JWJx3vtNi5122Vr0n+2BbP/OP/Yq3JDMPYOYvWWyz
7+5M4vBEZ+8u9QSv4OIeu1euNYKmnBRBulo9lrD4Q0n7eqHMejHAhfhrfJOTsc98OZf4rtojZwBz
t7kAFPuxvhe+CQzwJpHlI3ehL8hcmtPJ2ZiG8D2JiBH2L40pGPVl0aK1EJWhmFQQACtgkRWWkLVm
uoKwYEByj6KDITgxbYzxPO6nCZI/+CdRr677QBcQ30olLdnWO5RRG4msc1DpSHJHBhN0cee9cIvU
rrMG+fmDDAfO2ftFHb4k0hCWgb9XtqkVHTxdWqnjJnGWeynnjq9zacPWPZMm0kysIh7S7G+D2ZUd
1Bu4M7B72hXKvY2FNzu7K88mebJ2aetzgRdAGgON90YAa2d3IayjVWF5YLxXKvRjoHbcUF9jxIN+
ZV1BH0jA9uQJSMumGe6gIcAvyJxmXz70CFaY0bVrxSjXZFrwitav4690jQofJE5WchWXTeo2XbdX
hMcUtc0tp6xLsuSDzBxOH6RMdJ3goOqWJLTb56FoDjw2YPxNN7GI1liCEmQtAU2hID2pmbcuJNcS
0deVlQoCSP2bkvaXYpSDW6bZuLTZx4tMrTObWaAij6g00JdUdRrxo6lfOj4HQ4x0xx4urBstVaPM
9LRhls9ETHYM65smF7mw2dPAQqh2k30fS4DXSbKHD6HqSOroodnt2qfmFTm7ZetgRiV/eIDpJmpd
XsqVvtv3JbDIfGLiSNBI3t2VMbQk+EAWttFMCAKse4AXpkghk0/Hd+PntMoqQGiGG2/d3A4doS1W
cXHFr5MFO3rGYfggarKC06isEl7muj0XRLo0tEokO8VZBKCdUUMfxEyWsFokPV/4UreXQWtSJ/FB
aNodi9Kd08RI0oWaHwIxDHhXmYpi6rAtDjR+WpjVmWfAbApg6lMFmSpThjRGAtEVgzF8VhvoSwQ+
Qmry1uDBB8ZSJGQGRkA4lzblR+vjgIalB2mlUaL6ZFVbcgcMtxhctwzs85vKEnSCpDPi8EuyZ5ar
RES48yIQh5FJmfhGccdon+UCEFgTXgv8Zt9JOciGCnCYdmi+XSp6m3HFkLKRIAdBWSJMNUAtgyWd
+nm+Z55sUK7WMrKWxRydkUuAKrOSVIkORQ5ob52atXzDat/Py3xfIQDMUmoCU1ajQqo1i03nM2oN
aM3voqb7oi86vg4wKPnaf5X2A9hfuR5AhQDS5a99zTOy+6/X5zhPE6MdeFJDczmhsKKnmFJhYau+
Xzf5viifa9C70xi8KYQ92MVzxN2BoMv0q6QcmUgKzr4iPJYRXE/aO6aP/uKUZWbAgNpjVwCpqFHo
za3A8Pifk5YNqFdokBeITCRlangjFCvZWdjhKc0hlFKt7I2wErYD+JFnLIMfzQCKQZ4A7BxKUPaE
YPtHA0Zmbc7aNB7kAb9gk1qKjmYdUEcMaBilnsNmzLVtHGjFgmacSzdAMv6TZBUuxtTpRoVI54R8
mo/QoTAN0QEBkMVEb4fuPVC+ApMd7QNWVCxmtsbK5E9L4Uz0xI4SgNrgsg6D9ot87zW9SdX6hreV
NSqA9NSHQ871V2Hqak2KNm7/ELho8s09K6AA5Uj5Zi3HiYkyJ51V6D1z7lxAiFXKjVOUB48LXqkT
mV8v3pmq+OFx3ydr8poi6raemGb5vpWAcAPqpiCVn9s+33q0tQoG3iiJQ/HH0HmJoN/XwmeszsHZ
RbZxqCYk09iTqhKurtsKexV58QGbsbG41XJefMYM+yBmEqyvosL3cqHO903frTi0KPb9tpduWADg
tUT55qFv8utxza/As4FNFDlPANDnlJCYOyMYY2wMgZAaIIHVaBAoVrlSr9ole3PGJjgf6BiNOvMZ
SpeqruNgPtGAW6HC2Eyx7RKdA1WeAXTEXOufEhSoLjm+C/M79dBqL7Q9x4NYkfBXtSBbbKhQqWtE
ieFnN+Vtzxa2+MLCkQeL4WygtkJzu6pwnhRggOT86iLkykPeIF0YyM+da+u1vCsXAajmpQJ9aiAh
kNRPAENyX4SpAw2qqJ3Bx8eoL9DK6+hRdkqd6wgJ1yxfqJCdFSnBklQlSRlqHj4OFGQZErVVTC0n
PWd5eWKe8y33Hb33QIcYi1dyzD13OLK/Xr9zZ6h8JnUyvU3GlxLcg3zvVKhvSxxT7p+/ljDnTMvn
IiaWOfKzDpf2ENHknu5EZKv0/rOjZKrOFNBYolfGAtLbndqkRuehjS+WNp1tGwtPMWOvf3iKibr2
VeojPAZVncbgvSNcuYmc64Ajt9SVb9FWXrILlitm5xWrOFCCBTUxu28QSETsnUeIahoK5+UuDXrK
oHo52/Sd/FTBJ/QUNOHT2Gg8+VCntwsDnjPEYPP9KXIaFFdLRwFaFZfv40ZcFbG8zm3/RuxtvUy+
S+h7ktBD7EavQZSu+KbVVHD8teC9cygOasQD6++/8jyyoCIQz+D/T1tK/CwOsMbxPOjqQEO9eok2
wtgIjQwceNytomrOKwGCAFpjl9r6Ztf4meTJodAirJ5IkYO6wwGQ49VVlwCWZkpqcKyeSZgcAggH
qpnCYWy83208UTT64pKLrjPFtpzge+WqZsTuPL54qgATsDCvww79ZIcQFelwgYjw7SduG9fRhPbU
hh2ykb+3r8KOOpoHrhTA5yiWgxNwqY5z/sg7kziZT0XMuxyoOcPZ08PCtAc4Dz2QtVpD+0m+YVqz
8c2CXwxKzp55CA4SCYGM4f8+akjH4eS6zHusIPWIJvccDBpdul6YziUhEz1hg5DcsVVo/kqvDZBz
eJEWWuBpRBsxcF1bE2QUOFcX42LDs396i2djGx7r7JijDtAHUg9ja63siX8KLdsYRKLnw9eAW/5L
gTgZuuGvyZw4T5znFKKtQGBh2ivxqbz0zEh374dsOTckBGOAkyws1dl9eCZyslILtO4zIYPItL9g
iM4IRf8rpxk8XFgfMhOVqVeNhtYE2AswxjI103JwrYrkP+5Zw05/lzCl4BNDWQyVDhJCPwZdSmt0
dmdUTvecgEw95IAkEbONI6uu+fW6nF2WZ3In1kEdkKxzRTieXnJsqKDJyAKqi2bPvBTwPSCVKcLJ
nbyhzg1Dse+x+PuWGigSAT/qBtBnC+tgXoEAcPVPMRMFUsJztXEewoq8Fo6eonWmtIeTaoAGMjQE
3V+zh3K1WDI7qyjPpE6UNFcmUltTSKVHTOM6W3HAv4+fhkzCcobo34wRdSGoDBnyGZMN7SVelAFZ
Kd+7AzGpRoDSG7SayEFLOmg81gb08nyFVPFSgH8uFIsl+i55srOd3hHlrKTY2Z1egGUAzCtQY9jd
AG5/9IiBAPDgKDh7VAwir9FvgS62sA/n19H7I0zWkVO3eRMFMHdo+hjKl7x3Q9W7rzfETD/gsBPf
ZUwWES1bWHQEMgD989AbwMm7RqXdExjCT2A3RjkDuNq/Frk0qskCCkUi9VEMiTXwbNp14t1myoJ6
mcv1nY9qCtDtlmoekQQy+heUw191hxBggzwIM4z6jty62/7x6zEtTeOUGqjOwIEuossWifxE0YD0
V6CqXkdoSk+yA+jOCs03bVNqVgtyh9fz6cB7f31Trg6xj7MwKzDQVtAQfhUNngCRnDd7VFzX6AKp
DBSzhsFWtNjONX9RGfy1eqaBIwAkg8RHgvhGR4PDCI8LDiS9Q8Y4XbkLg509+M7GOrEpqkBKW96F
wRQ7QOsOmVnDnVyYz1n/5kzGRN8EQRcJQAMezOvcKsGh0yMRBZ4ITYm9XRod05aacpFZaYvWktSx
vha/sDWmYN1JFDLA9KhYtoB040Igk9NIl8t24eQYVNdXi2aiV0CCVIWKDzFer2589JwEwOmQAkB5
NUvIePJwr69kTfSLXMidjaI8HFKRZElDqbIUGZUt6RL2hMNnpkupnnRPAgu2sQKCm6eKD9Zeue3L
ShOCxMgb0ci8YltFrdbKj0l1DYiglWjvK9qs7eFL4Iv1TrtSWs4An6Rmh56eAfOqjg8hl5hp1+pV
5K6dhKyr+pXrmM4nF2p2wxPlkhdzxDrBX99G+6qpdYW95PX665e6tGwn+i7tPUGxE6iGoHA1iXyT
7dz4WsKCEphGsRrOJ3GLfvm97G/9bO36oSkjzNOjPdiXIjNN2s3XApf06zTK0kWAsQLALzw14Iuh
sCE0esABSVpnJaeBIQh1d4u6ZmFzTENYEkCaVdph+3PrTndQhAai8LVjgsZwLJdSUIKzZot0hgtv
T5Y+ehS1zwmp6EMqZa4uEf8yZ9XD17M5nw55VzryRLGlvdgqjYzZDDdNDyUqJ3of6eC0U0aqI/m1
QA1uZqESzdVa1DZGax4ZiMXs89IhNu26lnu3irzBFkDiDBB+/Bpw56btmywHXSWMnFKXABNgIHX6
9QQsvdmJqSX0fF1LInREFW6JDAQLYNgJwVLwaOlNTrRe3XSVD1C0HDwhuebQ20oyvx7GfIju7D1O
dJ3KOKeqO0gY2rpaQ9HjY7oDkropA3V3ydddGs5ErRDAIdW9gE2fRcdKVbUwDJcOw4Vz4lNiNy9J
lPRYl+IBpa5md+FbyqPdmK5lW5XhvDY48U0nNZZQlJdsbzJ101xxiMZgIv3NgO5fISXJs10GRONa
a6xs07i70PTAZ7etD9yvsJ7AJmYSWPtg2XwuFs9JgCACg3h5JVleqtPMTFYDAlp4oVidsnJB6bm0
dmb3ABp94G3LYPWa8np5pC4dwSaDJdWY6Ymuo7f4udbDC0lf58BjXC2arEsSB0fvLFbS8ejoKSgk
2qlOSj3eyCbw9Ssra7T6XjZ6nTcUIMiAV3NhrLPL6myoE5WaVzAJEhGC69TRWf5UFak2AKF6S0b5
rDF3JmiiV4EfJZGilrEf94NtCg5i44WsYJoeFhuTZ73iM1HDZJ9NJoLVwP9wxtcnWEANQMDSdMmK
iLdc+1JqoO/rkLy1d/kKbf4ir9vShi93QgKoWIu/WdBDS+Oe6FNPzntU3Y4PUxv9Hp2JADCoNvH1
cgBs1rxDJB4FUeAZQeT047h9JUTbVAzVXcvPdraOS2aGjDeV4BgCznVhXMPC+GRLvgubenVFWXBM
riDMPvD6AJ8n8Jr8OJQq9CYAabt1v5QfnFWyZxInikjklIonAZRsYQqWrWgDWM9jCeLB4pQ9eoba
aMsY8vPG1ZnQycZUHdSelcC3BsegUDw4a7IPDWASnVLxsTebS9dcWr2zmuBM4GRDlqjSlBIfo+wR
s6SIbQAxTyeErBbe35KcyX7sK6eN3BzvLzf8k72iwKFtUAzbPLIKJhxveA9AUU3odsl0nJMLLh9Z
UBBzVOi0WtLjs7px+wb2RWXvBaR2A1Be5JVw/QvjO5cz2XdKG/nM8yCnNATLl7TYACyhC9Bpw71r
DODJVGjUNLLlkP5s6ci55Ilt4/C9HLk+JIuHeN8b5WtoSLxWMu0H4bt38iMteEy3WDuOJi15A0vz
O7F7csL8glNq1F5Gq07P0D15F5g2qOZr2LIPQPZAyxqCg0shutmNcj7qifIJAInQoVgSG+XQmN1T
jBgPpvqCPQxQLctZ+zllQOD8EzSnoLpumjjxOaCYxLTFNlEEUNUNoOKLGIKzMhRCVLQUC0yZxjuV
yi+jLIHqFtFqy2nqjoAng9Nti136a+XeOS5N4pLAyZrtWyIgVIYzUpIBEV01Gonvv94Wc8e9Aoah
EctJ/ATZI/FhzrtxV+y59IQ+Yk2UMk1hN2CHXLJX59bhuaSJfhEUBuReH5Lq6oILTnzcmLXdXinp
c20DUq174YCKoX4ToreiKy/QEHhAJgxlbubXAx6rcKbn1PlzDM95Zgz0rOupq/ZDu/69ID7F8OMC
+G09IPtt/3urRJqrolVOFE1HvuMBOFtmNkgcoguKJjIny5C4X/FJoKeo9SL5jiWu0USrMHgUugB9
56Fhg+5CQecTnH6z7U5eKxp2LWoOQLujfsOAwU6VW0DBaw2QOr8e3OymOx/cZMHQjHBBUWKSo8aw
r0vwRvlGjdLzOF7xsMj/hjk+nHdfTedEuUXgnsj7iAcYyDX/nVrZKkJZP4U3jl2+3Kg868WdD3Ci
zeLQpm2fQlxpuSdnB5R5PdSAW+/o+d8Y3fyaRZcGoEB4VZyW6qqwhSNVbLFWEjg57SYokZVSvy28
tDmLEOzjf0qZenIo+ZNZyUMKgJZAIp9a/jFfS1u2Di6XSnJnUzbnsiY2U5zmJBMHWfIKRJUv1W27
44BfnewHCK360GaaYy0eQXOm4bnQic3kVIi+B86w9S33VdbJ2jeUR/pNhfONmmdXE5Z8i4X3Nj0M
+oGIIxm0mhitBEu8i63E2fygawK4vJXDUou18HYJCWQ8AD5vhvc3OdFxfqkIquNhdoUUua9or8SX
wHZbJXKlFdFNlfFGohq1cumgbthjueHxmzgcUAv2gZitWAw8qpQ6llc+ZhIxIh6cEWWyiwN+kzJv
E7jKdlx6//3S/o/zllz9eLTiX//A55ck7XLPccvJx39dpm/xsczf3srDU/qP4ad/Xfrxh/86eC95
UiTfy+lVH36E+/+UbzyVTx8+mDEQwrvr6i3vbt5A7FKOAvCkw5V/98vf3sa7nLr07Z+/vyTobRnu
5nhJ/PvPrzav//wdRJdnu3C4/88vL54i/O745MXlb+u38C1++q/f/rd4eYsL3OG3p/j1t1MO3OSn
+LfXp9/0KnafPt327ako//k7J/+B2jnw8wHUAPx8wDTAsm7exq8E+Q9CRaoAFobwKK0b8KfiJC9d
/Iz+AU4kVP1TFSWioigq0NFFUo3fyfwf6F4kMqxg9DBjef05QR9e5fur/Q0sYFcJhlL88/fRcH5f
jApBETw0liIITFXREjmtx+rbqPWixN2iOp/TEj46RkoKFgJbtMUDG/5oK+COR8B4McaP4xc08Gmn
jZ9zEczBjaesBVqW+SoltTOQv/z4MsskXBejOv7HvZQAgBxBGfcIbPMvgM1qdOY05RVlWWD2dRzd
SF2QGl6peCdgZjd60IfeXW+DtIaGcfBQ82mmcRJJv+VZ/+xmTfecOdxVkyv2ayx2azsjgPpPgC6e
OgXnaa6ni6HYACQ9Acu6DKKHJuJMUXS4N573D13C2pe6qu5pVsZPiN/6WpiU7mOah7xWFRJasWLl
qQ08ek1EMMh0aRWuc0JKX0dl+Q2lbboP5JJee8MffWnIVVpcj9cXhPoHuWsO46fxIil0lDVRALZN
ckJ/XBYVQmWWNOaMH7eF7ePqzSBm/AmQ6BYMLBhtH45i2KVYhzIS8YxHkRl6xSdqFqabFHOKt2Ui
Sy6Q1biTk8C5c2zWWB0J0m0ZBv5VTGPQTURF8GpfB6XMXnzSlXpfR/JlmvvdNgiyzKIAYL2jmX8a
L8wC/hh3UX3XANndClWk0yW0gF1yQBvTnUQlL913oaLBK5HQdq5GLLzyOC7aSl3eWahcV2/biNyN
V6C09rrlBO4u8j3XYnYDEvsGHDOiynq9DZr4hfXrVmX+qxLnPkj8xO5KYoG6gVmjWCpzqtskkh7H
xypbcpEqTX0fkZ6Ykl2ji8cj9KJtOoC4oTHvOc/+HEAHGCE0iF3zKGXZYC2BSK8N7FMY0OdRml1L
CHi13L3s552ZVR6/Kx2xvkjDlEO4PwyefeC3jkMA0QbRfNcur4M8SjdqZGerjPX1CcD5b+MVgNba
xqVUP8heAnBS3ud2oVf5F02dhUaBbXHLS3G6KoGmD17vfu8Ufo/S6rLfp8Mf7x/Hv42XROqbIgXV
brzq/Z/Hv/ltUFbaeJkktijHF7L1z38j0vDN+Of4y6IXam0wdMzJPebuCzoX14iFVAbLBh5wFHB+
3/FfWaMGFpdkQLAbxfy4YDKOruOQ3ovVH/cYf/c+3HfR499oWjj7yl6//7Pryo+u4PkakxNlKwXA
Eggy+4IOf7COUy/Gj4IbXdrEL7cIIRBJG7/IOV4ySpXExuRiRRLBQxT7Py/+8ZPeDm4cGjvb95uO
P0sdxzE7LnCMUdD47fiFLJbCLhCc9eQH48e0aG/rrug3E9GxCwp1Hphh+vjF+y1LX/L3tAS148eB
jXeLBe+xJ168adpets5Ovp8Hx/lBAdXwUXGAVkvGYTMcR6jhAeHSxCUSFbELmAqIyBBMbBpMkRC4
MpUPRFWbAunIq6Na8wOJ7IH8Gv78a1KW+GyDbEXmim2CHZOAOwukDq1ru1pAHWVfiD3ISMYfjleD
sMnRQsaBTn4UMf5j5CNy1/J4F5HTXJZS2V22DR/eMh600VzDsb2nxOGtJ5YcsCTCZjt+G/piYLQ4
Ctb9cDHHeb2JJ2is8SO661Dv45SqMX7MwVy/iZQQTt5wcScx1Mg6fYviZNzZhh6/SDr+cfyErUSv
OC/djJ8UvlCPBbsN+1hs9Ix1Wt2rEcq58DsxgNHcR9HV+Ik1zWsWRPVh/FS3qazxTg0HZbhUrmyK
/swCHeXDx8YJwBEWN8xS/Ma96AMu2eeyoIlxoJ5oL7FTnXYg9Ercm/GfVFv+ptJYBFMQvuOdClUc
cuhsx4+SG4LvSmWqNV7r15m4SsBRZowfAaqhblMbJxM/3JxzeXJRVfRm/Gkey+mxRoFdHSPJp1OB
NzNgU1yPXyoR/9LWfX4Y74Oe9gQnIydufjwDrVPTQ68q+uSHx+1De4XNlhk9bdQTCvzjHXizQAdW
tLK5sFr5j0ERnKKgREY8VAFkBcot2DQRCkzeUKU1WCYEmoJZr87AceVD/9asjg4lFz6Pn5gjBaeq
08YPyfB9Ikn3XZmCmmm8miacXjt1vB6/dMEWApj3P+9VOFF0aKP8mfRRfVL5LDi5oibF1C71v+5j
+/FRFIpnW47qTRin8UruueaUROn3vgFlQd8KG1nk6AOfgR8qHoCRK7EH4VMs1eBoyutvDhIR46UK
izMtUuvgiJIhD0jNIkAg2za/URgqK8ZLSJzhPOyLJ5yhCDKITXiBFI2yK5S+NhswW2yzwPG3mao4
IHtL1BeBdju5TNyHEvhNJifn2Q6k5t5l3NU8mnfq5oUDgRnigy9JjdB5mCj9ZVvLdMuHImcSEOGB
7aq4aIZ7gTPmBXaPcGKyVKzcLvA3gmPb1yTpux/38IPa6JhYfUPzrmiIAroeSoW78gYGHxQ6g+Cv
KNPbNLbzCxiVD+MntyubK4+koDpT0lvW9ORG6RFrHj4BPj25va46MNH85z7Pv/VkPng/eFP4b+rs
fLjk397o/6NLNKRk/vtPj+KTS3RKgrfwqfrg7Qy/+OntoPP/D4EB25BBl4iEDtA0f3o7VPyDwBxF
wg6gQAMs/Lu3w/7AqYL2TEUAFSyVlcEL+dPbUf9AyANxFXRK4Cs07Ar/ib8zKdSArwVKXwU0p2hd
RWb4UwR4SN4GPqnaY0d2tWgUKM9w5XUsAmlOIqAtl74NdJIWCBkBEKOjnCkB5pekFc9CvGSKD1Go
M9fr06NM4gC0Uju5i5r22OgkX+N89MnbYJpYveGZTRFrnIumhdwCDnuMkABocD2UAg4g8Fee+1r7
CKEJiKDlepav5PAB8YGzNzt35C894OTE93s1oVXQjg8oGBU1VNdAx9A9CVVNAcgbyIzwDKB4ajXq
OijI2PLJulmKl0yiUZ9f2SRcyTNAL/MSHsPfuFe9EZhoNXb9S1VvXiojOwFJExyOQFfml17QkHz4
6gVNopaqwMWxHY7jr9SjwFkqKpaAEKKDFzn2DDneDUQYIcCWN66/FvjndqcYJRw4g+htatVIDTtX
EgglF/MmE4ytz3MyiXDafMjETsajFaFB0+tIAWPlGhVVBKDojcH3enNwjRp9l0VopfY9z20lGZyY
hpxpSWTEqtZXiE9fJcFWsiIzaExqpsExSEHVeQOyUQ/dHR4ID8FXugY/L2qIl/onBX54bV/N7jD7
ZyF2joAzNfWxEwc+kSC7UB0AW2tAQxdVXVYsnz9maDIRvwnBDYgbe+UJMXix0ApvLbtHPnlOwA2K
lvpVBQ7E4JoUO49iEyMhIIH2csskwG5rQb4O7R3n6/ZeSQ5csE0i3SF63eo1ymlvnPgCYOM+4LNu
81uaaeVtR7+FgZEq9xUBJhTOHavYifvglFwJ3pGgnRp4ng5qDfXs0t5F9TZM9ci30MLWxwZfmvlW
UHRFNO0d4deOnrYbx2oirT2Ume5Tw79B/VVgRqAI2JW3gHU/8SXYLc0kR7E/eiot95p6V26wItym
KXTiLyb6pIU1rUB3n896HEqKLcp9eyxV8J3du/lJAL545G3rwnDLo0iuYkCyCdA/O18PUK5pspVk
RKiNR5Gp4m65gV3TAgYSQt0+KmpyNFDzh9yRDiQymwx4c4c2WVHnss52aruJnXu5vfPY6WvVNCkv
+rT+lUmEulBk8F1K0J1dawI436yCDXwQTUo2viH2DzA3/VLLkLUEZWdwyaEl175DZGkpLb34HJNo
Ssu4ROVhgx1Lw0t24G2VUH/PNd+rkugprxFz0NCIO8Fy7tw998i4XdV8D/WYLlm8H8PnP2dEAoIG
L1AgHkzB6qnfF40Q1O1RPaK8S9KA5g8+ZT18YhqWJzwdf7F1ShoOgE9b+Ezm5ARzAiFiObrZcYIJ
/j7P1wgTaR4Q6WSL45Cit9JqJUlmaVQM+QIkEzaClhxqzAtqP7VIj3ddDdO008xEgpcOkM2LNrnr
ddGF/uF3dPP1qlGW5mhyoLU8c3KGEnRUtuwjWw8iYyDMHICJ4/smtpDOJNmaaILFiUbZrFRBB2J+
Cw/AM2JlA6pg9EDbvqep4k2X7RCZkdA9YgKjUuot0eLcayfW3WyvbmzJSl0jRGVJCVS0i8Tfh4om
mPyaYjkekT3k80Oc7HC38JKPHsRIb/vNcGwwgNU3a5as01XTvnw9/JET7avXNTlIS8BNqUKZtccq
11hkKh1CfG94P5UpWbG7y8IdubcNZjAUOfMrTzC6UK8qRNw2bripcmMg4A5RQRea8SrwFrq+J0m7
zwt4ctq6nO9W/0fady3HiqTdPhEReHMLJKacymjL3RCStgSJ9+7pz0rN/K067NpiYuauQx3dZEHm
l59ZhoPr5CUCVKf2JY87CIeM4rUxizptJbn5olX89DIWNygHuYd+VrF3J96tqStV9sCRrHDTxquM
Q5OjZ+NGnRuegxQDNwDdgUtwVHTmfmHCLptB+FrBGicKT2lA4EeN/9zm7Zx6uSutKcIurBT/fDWL
q5Kvk5gPZES7FqjUUPBreuZjL0e7wkl4kqtuSAyrnKyi8YTZL4tt2Tgazr6J6EMC8JitPPRyiNt7
Kztq5UAt4VxaFTWpzBYmsKXRMyiwmmQJkjVkn6XfufDftuvaTO8CG1NzaxgjmxNg3FI8J84aJnEh
mvfHW1oSeKIwmgR1wmK0+ilKX+L7QYHdBhEBjSQlD3o1Z8HpuiblQ/pqFB9a4tcxaJ6yE5fWf4CR
XGCx/1zP4m5QpzY0KqFB3gqBuap+gAKaBPxib7WJlyRoC72AuYB59Bqs+Pal9B2Wl5SeOqd5A/20
8VKBNaTysADwxRGZe35JXL21NN5Kxg3alaM1q9sy8eSQzf3T99ztkhUal3izhrhay+KKULVUBgMO
pxpZZIA8AXhKSz1NzLduKLcMnd57TfZKd5m6q5BsQNywtRvDnJ7UzoKpSY5Yk+e7aQjMnjPhlv7z
DlbW1re4Elopq0ZVRhbKSUTNPqlwL0SvcC8vnQG056TcxspvrT5Rrx+OHUY6OZxbQcyK8if06tEL
fehJDoW151lyo/6t5C4J9zoFd2UaIQsFAhc0shIuRZrdlJYBT5JSPqNuaCSSC35OWjKp76Owmad9
Jzhpfown0hNMz0APyC0YKXTBiorI6gdZXAK5Bme2VMQlEKueCucmBy3xKQtssEAPoorvYtJxmzZv
umRVOM1MnW878fbUAL/tQ2cyQyIDIrYygNUutpk5X8I1WuxCUejPk7O4CooGrc3UaFlpUKJ5a8Ml
XZMeVOUpliKLiaExTrie3yUxgrHbkrDeq6hwrCRx1PmAd+vKa24XC2WDP9e0uC+EQqDoOOFQjU50
NLYMxw6hfb/5D4Qav8LmD3fTVxJ/VRp1EEYJ+hrPUsze7ss7WL5x0Tl/B6ODiA/SDnY6vd/KPrZN
IpM2Q5m0E53kfTyU1vCYy0eaO9VvoCYuIXWCj5+PzO0dxDoyaOSIhqIubiOljeQ56PLxwrD1mI+G
RwClnRYb/dSXlk7tONmngiXAB0wweUcNzAogdDcyTI7aquwGBQoeM5FdQSPrwkcLeMW/P9T38rRF
hSPHioZ2Il4eA8rUYG4j4ZosXTFpuolka3rFdBIww97EBEJpj3ruCEiEuL2Uu8h0MkeQL4Ydvv38
0oSb1e7VqhYFi1iHMwfBtPECt6puIklGtBogz4Rwh8oOZKLWHtXd9FV1eC9bezi7af7YT1cPX9xE
YypRqQgydp4CN3cipw62UCQ7YXQJAcqUrsWYteextOFq/6oUEl/aiB3CefRVqzwkwvJIhhqZNYv4
wNgY2yxxsmGjp5Z8mTeG28IfXjvWaxIdt5OCq5++uH9GsdGKzMBPZ0cp7/HrR0jqK0dVPirD7yI/
qxVMt8rfk11DcIXpWWQd/ManPUSlzFZ+rKZdKdsrm4E99Kfvsbh0uDDpFRp/bdGIP4opqMYp8m5k
BmCrCi4swWx2Zfz81C8g/09PXUT+aFYHqMHjKka1BmvrFBXrmZ+fAhGWgviTdoqD+8jR4tM8hHbS
WZqbE+qA6VBQvxC9SH9Q4/sRk6Ak99PQS8rWGmXbWEnMb6dNV19sEfznpEmz0UCRBjK07mPODgX3
0h49TnKMiUw2lWxYmoVOI7srL+hmNnv15EWIV0IxazTWkB2dNnoton0fYSICuy0TwgEWfQHCc4uS
qCW0tjUmC4GS16k5IhAMbvTdWnPhduPzaj2LQMtr8ky1FOuBL+dsgsEsktnjLKAFWFzF/OSRqU+v
ShawUPTDPlm6Nled1CpViX0iXUq/MCwF3cDQAbm3hw0EchN912sbOsfIpwfOrbp7oT3K81Mte4kb
cnBh2nO1k01HIYMlsQAiCTxHgEwWSkcrHcMuBUfqt3lWmHULiAjhePhd77XhPhcAYjskite6yI/k
FFqCrjF4YW6uHQU2a/jxJy6isTw1mWgMSDDQysrdhidNb0vZvupRnpsGUVxOQ91ixaTUSZ4SEVKO
6PqtNlBW17EIzHD1pKMc/PsqbQySdkgIIbMD1IuegmmcA87wzjS++9PkRcE5RjMueaPBmlbp2qHT
FxG7aUcqRS3rjKheCqVMTPQN1goQehujECSx1AYgKF+lBK8lE/oyPstGgTeQsD0ufqbwFLXQTs3O
ZX3pQL5UXA1c0hAdLIe5AB1YwRRopqAAb+DE8UHjfkNppoScSGAN2zX25O2GyfcBXLJOar4MxrnF
50k+c3YSAMgMXmhhi3uQsuzm3LgcgUa1iiQHrRsJqRppJyvOCYThUWkmtha70OXT3HqNZXB7AHC1
tEUw14pen+nw1T0vQDhWH3r6qlexGUqnWY7MmJn0zS9yxPSJLyGPFj79hRyS5zdFarfyQaJubQeu
ainNY2S/U8kqYpJhfEDh4KYooGJRmGVlMXTqSqsvZ4vCj34EJb1tHmQPfSHz5+C7ehQWYb/l51Gi
AuoSMbVBWUWmS3kieRRYMZJmZE42oG0MHVGBJ/RRmIy2WLsz3Woq+Xklt0eEV692cQ1EGseFDas+
lM5MIICc+FXqzb3bGm4HBofLk9SGFSLECN8R4oTyoJbPgXqGCO46r2stm10KOSmzjOEXy2ZbW4NK
nTPBcmAyw3Ovu7Foc3cwmm9MHbkL5lCcJfqc7HQStMcfZZnMpH8xuNXoebu/8P2CltJPLSRFBan4
upfmEVl9spMt0BkoGd96U0pJ5g/vAkSc54MmnVoLgQOEsNFavR9v1u5X61hEcUXPZ3AJETsMxn2t
j11jGo8Vmjy4JDXqy++VH22FXxGpHiHjv5rlrqT0SySlOqizmvYFu0QCtzghbsXE4EmC/nbSnYTx
rLXHMb4byl/UwkhZyOzCAXBijoH32WA8BQ4r9cIR+tDnQVtzsZLXVreM6H2o5FqPXdzaxQPNNgXc
YiPtXE4XQabmVByr8lgnjiLZwbirmm3f7WmzrTuPEVIc1Jkf4Sbo/CB7TYRtUL1AdT0X35rUDWQm
yPbEbgU4jY2gxwcXDgEmQ5errR+m+dIIhyE8VgJGiKvD4LVvvrgvgkItMn1CTIt2s6M4cE3Yqa5I
MCC3ArsDjlGyB0eCzgHuhTr0fg4N8trTF4l7lydVEswIUqyQ6mbc1E1+bvk3Xtr2/UHgH4X6Piwo
HICfEogbc/2pyr3arrnW1N1cAb8HNGID8Vlx2N2BGgxQg+AAqXOY8m6m2heD1yDaDtlZ0J778tKS
DjxHrv+lhE9Jex+qhNOOQe1yvqHuuvhOCX///AvXck5jca8occhTQ0W9hJGkU0IsC4xyLUVe5zCz
WdaNm/ktsESr8X+lZlxKdWd1MCuN+BXoBlIf6Ub2MW8B+aN0u9WbXVvJcQ32oa8q1IFXx1Rpv0JY
648OR0khQ/kZxH3o6UyfmASVvxur+2CjY2ZHBhEmDjJ9FlSsuxcKv2VcmjCCtqbkBc4wgFyZjUu3
0W/NCaUtdTMN0xz6GzNAK3UNr7Yij98qNuTqAjK6+YFiwGWYBUzH7oO3GtME0L3s+W56Q89GMkUP
jjLJQ72Hx1whWGm/dsPdfteA1YAJCVPQpfaLUHTCUBjxeFH3uFBTXB6VW0M57CJpZvWk3ycodZKe
yPjZEoZWskDC7jj1qy37v+y274Us8l8jScWwqcJ/N7p2bBZHgalABDoB9eKlL3lC5Ngan/+rXf79
3EVw7Du+7LUYNweGeR1EHh+6BLgJbHUUwq0CgD4mJzS1JJ2ImrkqlrKE0v4L+aN9P34RxIpC5bkU
gkeoxA3B5qHWzgPY4Lb9B2eIsBa3MyvFcx2MJoiC2hNXS3qfxw9ZsB1yf21eoN2uhr6Xs4hqmZIU
mjahN9UQ4I96u7xPoE8DWlEkHrT2pIU7SKVrHXSZCrcQ9ygNAIsQHTnZDgapAgj/J79KFcWLrxi+
TPdTeRBgwd25IjrI6qfOEdTSPGWmsw6G4q0JocPQncGl0LbA71b9JtNc2rm1sdUUN8QMDb5fVk94
0Q6tMbpM3ZZXdhDtNYS7mDtAkXFWn0S0j1xVvZsHnwa28lxNEBOcPiTAX4L+Kc8eleBwkBXCiMTr
lZtyO4B8v7NFnIyjGWwQDjcBE/sYWyLq0E+yZ6/W7yvoj0NrMAIWgkxQUXoJbclk7SeecI9xafMy
CAQQWhr2gWJNRygAu2pvUu65Eq1BwtT4mIXbuLICw+RtpjuTWr1gVrqVyyTHjd2RBsoJip+Mn5IK
Uz9z7ZJV1jbEIhdPIiWPBorJVfUZuG3lSU9caFeRpZ8Cd3qZgYBKODMuNrTfR7ojAjqHeqEx0R+Y
s12un+sWhvJ2nrDBOsSGYhNgNfG+foDUaSKYPG8WbyXsd+HAHG30ftNmngB1eIiKpQ4sA2oIy0IX
LPObTQ3tWYgzwx/JQEBy1N5J6QVOfixcroSEtZi4uBHiUmu7smJtJzYy5FkVPmKhnIkR9GTnvJWC
ybty2y6k1f6vV/29i9iHuLqGppiHmDLcCC7wauV0txNdBrFrfQkekfqRzw6C/q7W73HjN8ahwN2L
lnHj1nhxKEYDLx8eeHGbjr+D5mVWfVHwhRmJReJmGBgksMc+iGYFb+fmosooUyHXxkP6Rr3XAGCT
lIJI2VFsT5s524jeGol0QaH+47ctCat6oShhSnHJxL7iFK/qZFckFc3+Prchrt7anOTDFzKafUYp
gMwu/gj8O+k4zHzQBhg+YqfhfE7VrBTZEarSUEZRPXlVF5qzfNBzL4ucPj9PkbOyFW73Af/5Kl9n
/+qrzKHWykKL2yGDlkZh6h8C6poR6knvFeobwm9jGRz7laeuvq/FXZgpVRZVIsoJFlHqY2k4BRBs
vPCi91hG+jKIp7K6nyAz7YJ8FdsVIqClpJjiju1OSrycjnDaxGT5zJVb3vCEcpsZfptsdAE4qGiL
o1ZbhnQI9Ptw1fd6JWIsubS9mENsCbh21EIDkUc7AhRPy7D5zFby5gjdG/hhIpWIfyGb0TiPF7AU
8+fvtnatKotrVZqUgMYt3mBDOHGnF1uF28OrOhBdJYYB8lYasIn2TGuO/k7GgyT4+vzJYeYDtu1/
YMT1l4b79z5a3KstFxaqPCPJ7FDudZ9dxTTvKnzN7hPmUaWIHgvsYcbHzCo92M01UNTurUh0azSQ
MhK9QuSsAyLyXG/ELf9orASfv5Tx38tbXGH6CDJcWSALaUgb2YHgKjhOZuZqsynMCaTT28+R1Ge5
Rx80m+DOuV/LPBa+U3/GiMVFE+dQUQBpCokoEyGUAKDsMMt0jMqddVCcTGn2+N4FfI8HK9SOdGCW
bN2w/sd9swj9NODUPKCUlcr0wLA+0F5WXP5LDRWj/vpSdgemHTZBHKFlRFUgBZ40jazdu3/pgX1/
kcV10LXBDIosXgfLFhJPGj8n8Snrz2BafCl7WQL1FZ5obgE82qFHs4E6xn+HNvrOTpcQUW5uRImW
X4FbcAQAA4B66z4iexzfDcmrARTgie4zzSaF5VaDnxY7ud5K3Z5pRkJPrnuEfMXKN7pdef/zapaA
z7Zq59CYsChg1yTOgYaFqbpTflHqe31+keTf8JKK9+HkMzVr1GvxrgcsizclrSGy9KAU7yjW7Ki2
BtEsHKiTr20iNlb+c2ryvcBF+E71Qo4SKJxedIicOnPolr0bc25WQWvGnWWfUzYUZgCVL4/OCEnG
s9o8psk2qy9jvC057+f39Zd58/dy/qhwRL7OFbyv+U6GMoXupxlEzVDPu6EfzXcS/vz+L8HvtUP9
l5b+96MXYThII7WoJLRoitkrZdLDCEvotk1+kfOPYMzMTNiLVslmHB0R1JdoiEx8HDjoDIdSu1TK
Q5s9zqpsMide5HorH2ohtPRHzFnyGAW5Vw1lRs7Fejhs3FAz6I/NRB5LN63MpPCE9A1gYZWISKHM
1U4He/U/7ZRF3A3Rpq+SHJ+mIRNp7wFK731qgXdIMhvDLkA21j7JbWzl1ZFexNnWYOQ7EY9kWOn0
mJHRix+hm+/2rgHK7Ep/4S/TpO8dsAioSRt2fMemSQjrgqNahUE6nYRw+SRwbEQiWEL6HU0TUhn2
z/v+Lx2670cvQmgYzcEssv4VQxuHpVXUr6VyF8aHRLzUHJI56THN7iTuV8w/wq/KlKGAmRiQFkT/
xlWMx57oeWzNOQZPb5x0SpNPIioEsCygM8bmPIBt6RROiW05dqbOP2fjHRyrA2kvSBdFfOy7xqrl
ixzucpdbyRD/gmX457ctkS112lURxwfDhbv0diP4GUrC++ow7ZnEq5njyZEF+5ieI1ULnONMREwk
KiCQexIn29X2O9s0P+zjrx7bVZosxXoJNDquTbaPo2fBiypSa6chzYCPLVNzBDJu8LLOGXiU/LI7
rqkJSuyk/LSCRcxVZcoHXIWjPFijjaGh06f7qIAaisPkW5tXtOxMKNSBFfI5x2aNv81fmenYCT7V
SVzYaDWx5l4HN+6p3CgoNrtosjqBJTyrx0JjCd9P610E5aTkeDlR8QErnQVHKF2j16S+p91mlHZT
ceCnXfyrtjFCbABzOHXdWTYu0fwoWz3IoAn94Dmo8NCNlp5S7aWCPGOWasD27lroROf9YWweR+GN
g8/AeJpNaBuo/b6LYG0+fMoVlAjB2lBhdTnsCxDl6/ldKzw5ewNbBq8Ili6DHaGIfwPFTInclAdI
KondSDdVNDQGX4ygyNOEXgF0BIidulWFbiRtIlTGkG48lfVkg+rRF1acHmXo04QYiEG8atvAf0fW
nWbeGXaanbELFPHE2wyd1o9uwmGwDHoAF22ozdGtMbsJQAJ66YbtWcUUSbQB/0bm2eXb8h22klPk
ysOxxDRJ2wHl1wC0g6QMDKUY3GQzmSwDpSWGTQTc3Ik/TwqQlUfWiA3UjVqSGK+LwCc8aJ80CsZN
QArM1QB1FwgYEpHgdUDmolCh0w4bYZh3aQPJr/ap76g1ALIA6R1Lx0k7D1CPV+64dD++idF7hNbl
uK2A+ZdOIuCRCR4+fALqUHf9Wiq00nrSFvdrV/Nq0zLQNX9KHoTQNYK98lT/bk7DR/aL7hFjH4zi
N+se9SYItiPC7rHZ8oefI+3qZl5WNyqXVjII8peYtaWAhmyBYmtfI8mSS8T2DVTaB4j/3pXBC5T2
1X3/RBVHnEwonRWohDgC2+sZTkm/4F5U/Wq38NziWxfzczF31GEjcu6cmbnkTb0nhpsmIbBPpvs4
gDMXYZaCEcTVPgDd67FHnhIkC/jDFqDc6Sg+9wJJHzmDwOAKemxV4GKXRtEpTnwFHeZn3XClV5Ha
UvFF5aKOhBCBdj8gLYCqrEJHV4pjbXHh016V0pZDcTxjsIZIJeEYWTXQ6BhxSH4Db12ooiD9SGzj
SFGpQt1rjR60di9qiwxAMEpZjnRkAADihTxgVbFKGkCwnb5+DCEtmz1Mwr6eLoW2pTjnGVw5O28W
NnG7G+zmvrBl46TrG7He5DMpYjOGQW93COJjbA/QF8ZIsBWee5zFmjXK0mnT1i8B4Th4XN/3PRRP
NTuLVigjawW2tsgz8pHO0Ev46qPLm6bBHIOSljryuJkx965HCNydpBhwz/ktq8z4UXED2EC8lwc+
saAsiEyvy70OnnPyQQnREuPOa23F1Tt7kY8IlRRxcoNvD3ojLdwOIERoQea7ANKzEjC8msmFcARG
s79/CEwDfQh1X3NnfTrj1XEfNZrHqxnwzQQUfniwJtZ0mMUu5uaFyP97hiq/sGxQ8irZ5EhNhE+w
iU/cce0l3E65rx64uKf5WsvVLENdy2xxA8BVrCwTwZwSey+cTlwBoJFsVn7REU09hOK5EEkFwP/P
Aet2dX21isXtO0MdJs0FY/iqrjXRbKTnrDxKFCKvkJrz31PBjXl/1p+E1/ir9FhLw2+Ddq5WsIjc
XFaFdZVhM0w91EdtdMogcwdkI+Dko89TD1TMnL7G42MOKLU9oynqxOiiachpKInAMTJcCkRDfw6q
fQJMmuAnxV1h+Ap3maZtLt2HGaqI2k3dGOj98Vwo/5KCg1rBbbmw29iYq1+wDPpVVkGJCzmf2uxy
7b0HWXSeL0ZjC9Wmcsdgm1gz+FTFMQQwJJY2TbpL9W1rgLoujRsp8IppJeO/3UO6WtIiuiLfbwrK
ujfNBPEXrTGnGheKdqhVt8CwGo31hwHQBGhaI0WSTKE+iMORxSOu0le22OrrWUTZuEz6fKgRZXsn
PqY8xnaPXOkPqUtFT8uc1CnYSZNN6Ol2O05Aab4Xu0tYIf1cyza/WD5/JJtX72URHDHjbdsk+wqO
oOk3flvfF9wRZYNgAquQ8uckPZT8h7CV/aH29PmYNad48upi+yhlbpy5ETA1pPGNyBOhkACNU44z
w8KnhtOVpOfcleN5s5zQmXkj2KsoHBaRUu6DsAljJMeAG2fiRrSkzNEgn29X8IopfvFAvAq7ngfd
GMkd2nBlv2/i+/9tEUuv0FyopxIynwM4W/4k4cazZMyki8hD+wsDKbjT7FXDDa0GVaNdDn5RrGzn
27O379fwxUO5qqooYEV9EmAFDVECSMiBKxo6IJcnGA6CKiU6Qn1RDMjvQHGrzO0ewnxysYvSU95B
BPChkA8UV1kpkC46wjanUwDY/cWVHwCszUixRyAS471mYMzbzRangDntybDYMcwgMfniUUW7Hp3Y
+BhQp4/B/CEYxJU8EM4VRFx0TTPF+VwKT+H4kYId+9YBCRe71aqR6K3doCu4nJg6ocRri2ANTToa
l2LEX1qnI3HvdgCYQbwgPM1bIBMqzOY/o7NkhcJjOu7pZY1MePPKun7+IlQ3hlYLZQ9NO/DWIIhd
WRmmBjmmU6UpwdhaQjmb2tOd4socePEcynHzP6A03moqXq9iEW6NcYoMLcMqGGS/AvEMdkAqMRpv
Ql/aUrajJxn2yCbFADOYRoPWRD2gL50pK5Ht5uV5vZJFlI2EIknHjOJ72Mq7qFsU82lX8kQ0GgJL
thtbdvINgGXpQbHiDdz8ov+GSajD3VXSRR7Kl1+x9+pgYFwBAapJnTFNaXdI1vcArvStpTDXNAmz
Mkvw2x1qHcPhe9KGz30G0x21hhzABf9u8AxboYe0epEEZ7WlxxKYZay9Xhv791drg7xUyqWjNiO1
mJ3yOHwULrW0kwp4mBnaay5qNzus149bHI5h6IeUpwV/0egLb8mZDVkSkwliPkrAQGqQ/1CBYGpx
IZ86GCvI2xyTP22ri2AOgKjFOK8ckE4BlJ3sQd5rVFoJ5jeZ9tcrXBwfqkuJOrZYIWhXh8ZLdxhR
woreMmpPAX8hvpcw4WCOHnJy7NFw0ItdW20iGMYXdFeA/F+YwiNmr3Bu+0Ja8SGg+BZjg0MnA3Sy
brYx+ECMal8i0qMPEllax3hmvO7yznAPuH4HCM9bIWzSTfup77STYHX3wDNZrZvu12u8Wzn19Q9e
nNSe7+RwzI0Z54O3KJCBtgKj9P45sQDycyHQgwJkjX59O0hdHYnFoaQT3ydlws0IDxkCAoaHlohw
jMrCmwa/ZAoYxmRpTPi64e1Y2sYqBDvIyp3JvuVPm5+F8qvNz4d1IfY8Nj/rAwrQLuq94Bmq5cx7
WYJrb/qCftrPz9TZL/vpmYvkpuxh+VZyCnsmjfaz3dUWrrMugbzZHssoD7R5n9PcrLOXUgUYPwmJ
0h+KujhIRQkVk646NlJ4lA2AMOmwK+AGDvl7R4R+a2PsUql5UvGfoMNh9xxUdTR0q9wxPyaaF/W/
eEeqj1zyu1Rg0j67XPuipYdB6hy4mwDZ9BKFj4ESkKFvyRCCDh/6OqAZeXhpY4hJicDUR0Az3anz
gwapjpTgyjf14BkMbOoA+ZemR66wykwDLPCkaceMu88iHYIVta2KoKcMz5EC6SckUWYdU1InrL+m
mkEJSiM0/KK2NWUnnd3c1RPV+vnF30TsXe/zRZbW1dmUDEUwY9AfKQDKQHXFIFHwrNvdE4SDArM2
IFxpMZOMtdRobbsv1Qa4Lo/nPEZQkROzAUoIInAPGWHaB8Z+1+wggCA+zUT/D5y6FpL5/xoaXf3s
pbZACFKU0lZfx7u3C91WeiYcxkivkMIK3ZRAoJyu2UTfnKNcP3V5rWTwpeYGXP/jXUnN8l7C4UK5
iHmKmfgzUbfRy1qtfrNhcf3Mxd0SJkai8DE+cG3nPhvejIklf5QXpm01OZGnbBRwsIn4pGyA8vKM
3+Mzfvhad3H1py8ukLaYY73K8K1bO0fu/Y4BzLZxg9I0RiBewtIEtcGnj//b7v4SvLkKZZEotFKV
6AioKeSNfJ5AcIp7i0TSDL2ZWBNuWStKPaV14uGZX+Pmr/7oRTwfWmmadWgaXmTgcqcHBoeNlT3Q
9siuajfHIA15z0pmd5Nsf/3BF+F75PtWrcsMp2ryU7/VPU0hTeiMaJAcwHqEvA3d5eDIzlDcIkJm
CmD14TIBVit+LaAJ40M7e+UzrNwo0iK6a60WTGqDz6DuS19+ZfRygK0x8QcTrnJA8mc4g5Vnrlzg
S8690Bp5KDR493ppSU57B+/fwuJzC5M9Kzsij4P797T6VJYW/HCPfXWMrjacliRKQieccB0Udbev
CevztGZLdGrGuLegbodWBdNaWPm5t3rSV1992QNUR16U6ixFCgnnD9voXKODJAgKzRrHnXNB7JQv
7DtLud1EbtfBgyFW7DWQ4FpclRcRTprhI081vPWcIiHUHGmLrgMXwIC4hXSWaILpO7Qrk4vVhy5C
HFxj1SniUEkwmA31tN4ZQTRDtsIm8HWyNWx1TUtw9ZmLeJaPgC1OLGUX7oTCnB6AhbaVc/rJ1D6m
S7z5L9+sDMcQQRcleUnSCiXDEOYKKnqpz71nXsM8XkxtX9xPfkxQr3orG+p2Rvb9vEVTOcgqvtSg
W30ZYg/MNMlJMrO+q1jepFkYD2G6CLkr7GpTfhSeVx5+ayQG18V/fuxiGyU5HeJKxDGS3eJQbHpP
cHsiWfkmtNf6an8J0t/PWuyeWsHvxLZlNTk9VK8SU05Bkl/swiNmldDzWb2SWQT+M0h8P3G5d3Ab
l5OR8xc+/y3vc3/0C1cB+jp5L5RHVb5ACLHA0GXUTZDfWjPENHzeIwFNVWAtMI/Rjhqq5CDdF0AA
SxgpFCtt4dV3sri4+EHogM8KEU0qZA3o8PcJ2vtF7A5QGSIqhfYGm8BmJmSoVz797Qj6/XIW11ff
TKHQ1fj0ilmlpv6ZAgkBuanxjL6MBM9Ge36hEWg39Rr64Cao5nrTLW6pYGhoGwX4LPIpVUgL5FmA
McbQwfzXlKx1ZZObmK7rBy5yb4h+ZklW4IEtunUnfSNbCYltuk8fhUcKGRzhU3vFPhDXzH1vaqV9
P1jhF5IqCc1hmctSBOws9NzSjYruYeWGtZNPxzJ0oRIJKmGaOszTUcekDX5nOpRXytOk+XJ0LiGo
MqLxXQ3brN10Je63mTAR+XVG0c9hSOEXkQASd13FQ5YckYCr/eYVAC9Ml1oTEUgLoLfEtBpSKI2s
csVvtur+CUEwdPn/q+AwmIZ8zlAFy24cmCEID6WjS5iHNlDVeujVTUvvy3ybtzvZEQNnLM4JXOE5
eoRu+5CcVstyae1NLKKGGnFKpIe4caCmV9uKBO6aDZqBekZH9SF9Tkj1S8fMMwRN0pROMnojEyQt
HGzeBsxwk/F2U+DD0l8p2sY6Cfacp3pQi1nJRFbXyQ74VQoEjpAQaqyqA9pePYARlYL7nT43id95
nQVJWP7MvLLR8TWh1D4BjeGClMhoNLAKDOGrFrrcaEYYYG5lM86YXgGs4p8iYqDRt3YUVg698qVq
e7XaOW7T0JBwBsXT7EAcF05mvC+5qsMEc9civ3E7Ef6/4Kbwi+CmTgJycxb5aYwpUmiKk/Vlm/pL
fchC1N6sBjUscFUOAeBPs13nZuTA+ZNR1OG+DePK6A70WOulsao9P5j6ACkCMiQm4GARBDiBDVPM
bo9/1gEYSyBB+zrAOByqxskmL/G/INSV0XOT7bjZgsg86k4mD2Y18CBGbLJpA88cu+4gvhx9wP2j
Gy0YgTRWAdycYibGrhitIrQCP4ZjDgftlrpqzOw9IhAgmPrMbqtf2vwk1sBBcR85h/9zUWaHdkbZ
UTGo92qt8/NNqvCLkF2LoyJyCdtrvDs6NbKSSwPaJQYbuqX0LlhWFrhNlrCJtoHhBrlZ6G6m+7xg
pq9gd730H5hjroOHV3fVIrKnYq7IMguw6RNATJhZtpdsz6GFCV3gHK/MWU3Xbuf//+ys5aAr4sUi
rSO8CYDQQEzo3lQySzh4mIVjRxUpsuHE6uDAieYSas90v4ZCuEk/MHhZQe+Ll3Tla+9fnSStTudO
UpGgom0DY9XX+Dgd6AYIqrfWi1qzt3gHvcwT91wewJyHBetaGcCugmVadb2AReCR60RTggKZA6IM
vNFzO/uo4YLI8J3JRTqu5Cm3wvH10xYpkqKXsjpx+LnxTt0ElYlTGv4SXEajF82Y4KmM4VBY+vnn
B38Vyz/9zEUMiQM+6qIZD2bYX1F0NQPnlyJ8KqQ4iNVvqjpRtGWkrCk/A9kzMllYiHC7jfJ7HM79
QQbiDqN+A63cqYTjiJXUEDuFDkh0bmGdcQ+Lcd4bNZL+P/bOq7lxLE3Tf2Wi79EDbyJm5gKOJOjk
UlLqhiFlSiAAwnv8+n2gqt6SWBpxNuZ2Izq6M5spATw4OJ97zTa9ICT2pcDwx0U7e1/DQznVncH5
Z9zqAYLYD91a2tT3YengshLtRG+WGE2ceLRnSaTfAMbCo4cQ66ZcnTzteS6uKuKYlvHvV+KGOHLx
jNYvbaOzdzeSlU7L1Pke99WjsZ/NGfNnFIWg4QGDvc8qe9XjpGR3Php0KrQS9Me2lGM+tNgFh/So
2sx1XWSacV06esmPLiVJt5UnLJVBEPjQCK5DvzXteg1Wuw7kxWHuFdRvBfKScIQf5w2EuKQrXsOv
Wny/e77s9/71BPTz1O/YapqRKrRiqCDUoEN4hcw+oEPkHtqFEHA2OARlsorvr4un87dvpy6e1ZOF
UP0ZaFWEynYCBHu+eQOAexHu5jQh3BWucIex3DZ80RcGihVH52B69Y/qNt4bvvGQLqu9tI4TPwn0
+8mdVgo8q9aOfza6J3rTqrzJGNWpFHDt1rzvf0j+aDmI3dQ3XHCZEdybfXNnPVBQSJgwj7sEVWJA
Zt0VZwVq45BEn+tFh2YyGEQ3AmjJPVj+uFU2IM+ZR1x3d8YD5MHlu1olNXjpNMRNZ/SjVUwy7B72
p9pOiCgBzC+/cUxynTuK81W8xvzYyewmGAKGR+hnobWB2KRo6w+q5IwYpjfeMBPZJg4QKFFLkHeb
Ct0qKEqL8PievMW5o/DGHpzDLnmpX6LbxrC7tb4C9D4hL4HMVYpoZOoW2x9YA4C5Va40gkDPwFIq
aXXZw0vxolDQPo3+tJh1zK1t4RnbiT9lwbzpxAdjcVrGQe7H1/IS20p/dMVHSh97eNXXxvMAE2an
v+R+fUt7PPthhvawB06rL4a9vpOcwntHiXdLXNNGf0bd5g+Knd8XqObnXuhX28MNh0vK/BYm9UpG
558u+D72D5thWXgmrffHyrPmrN5Bht5w9IaTNPIR1nUane8t+D0q/hcS1i8BRwzdRMkUDdwbz6lI
2IXptZzQs6oeZzRneUPhXchz304BjwWanBQ6AV/NTM6j5Iguxa2vI8lf158PpA+BMxS02uhVdZ59
KS3bcOqcfOAMSWgTGuRURJS05UQgeB8QpLe/fzP/mzP5r8ufFTqxBhIgTiROhMapBjTvj2yzri7s
YWWGvqb+HjEihTN+XOfRMtfhgGOOIUiBKQSC1GJq4pSpU5V+Slf94E4DIGxc01Txdqp9VWBjdTOt
DcOkC8/tHWb790D4142fFURG0g/DQW+nW5jsfQ144ETcn1wRUT+mxT/GbR5Ix13pTMtja/cLU/eF
2I+mBXIfZMPcObtrL9xMy3bbVB4AQi110MPDO8Zq7PwaXctduAWC0TpNFkzXQ2VrATCcfa4v6n17
hUbTTXol/WBnIuiQsq99PBWN+3IVL6Fb4mmpznK7hmofNdvCVq1d943Ttw80bQ7rU5DszZ3mfv8w
v4QFf9zLZzlQoZQYQWc9Aw9x0XoailLWqrbLxA6b321lrZC9P/ld5/dQKZ7ax/RpAPVT0Tat72Xm
E+0PnmC9a9FjG3dD6uo+3hZHDzlh5PWFdVXaBXO6x8ERXaFDgrsunf7g5zI9Kb8IHyI/AZJ74Tl/
mUx//E5nmVYrHw79EDLBspYjIJXUO/wEGO5bTOmsn//rq52lV5OQZMOp4jRI7kmvEGg07wbHRLkh
9bOL3838Otn4aw+fJUR5keemOtJlrT0J6HaxDGOE83JUS0CLRpiNG+n1ODT2MQdNH10L6ZNBZNLG
e0y/JFr7UbXRp0UcdRgABMx2+mUdBv3phKA1SA0PqwPCk35He+e5uTrdhlvzumemr6zNQMTOfmgY
CB1cY50vsrWxSzbUCG/H1eQn64INTWSiG7WW9zND1plIcic72Vv1j7gVr/IcXgsAzXyl8BLaESJR
h+suxrjsQMySfg3yuhhZseTh+z3+5dj44344S9DywUjSphvozGS/a77TUgytfbVnptQt42lZrjgt
T8miwQCy/tVAXVUzwz0GTOIv3MjfW5WGKGv49s4IJlkRz142QS6p5dNmuj08Sb7qSevUQa4qbv3p
etZ4zP3TooeCeAn7/8WE7/N1z16IWjiJamXMramtvog3KFHdGT6m3nChpKXuiiuBAl/jHlRf3QiL
/Gfkhu7Fie6lb3/2ojTxiBB8xLdXUKPwgbPdtAsdz2EaCMBWfs0JBglDyf+uLqz732vdz9//7KVJ
TIq86VQRMI+0TwbEPG6xWE3cXHirAQSjib9AKm/XEg0of71Tvxzr3UVK7heB8/NtnO1DwISJ1iiM
nZRbZDz9YZXekFtiD+XNDUpSqVuVIsyCaj7iJqJuZqjSnNcLK9OJV/USU/IVPAy/2172DPhCfeLT
zZ33A2SkJI+KAaAGRaR3XHqyDyPZNqaruaCpTj9p7ETS6qT9LpGyq/Zg7shWvQR1DrdGMVt7iuud
quPICjoAmLVZ7sdbuv5pfBNLKxpLLQCVALtI62JX54sa5fO9n5UKJ/GUV1pS/gFAih9jDiVsom+q
B0VeIkHOJMiLn6xhUXb3F3bW3/tzn698lop1aZ4aRTlyZdW3BN8EKhzaQk0TCdEbpPQRpi9rt0gQ
8780wZX/PvP6fO2zPKwK0zjvRXa1+QMtyGY1d270WatM2NaA0PBcJXvAHy0L7fg6c8JoJbRetL80
D5MvvNfvs6EP6SiC0kZxMot59TnVlGCSDfcOlpWKvMWuHPx0heyPCH5goSPvM7gneTvnCBqIvwF+
NzCh7FW5ZK73xaH/eXXOztquLOoiTOoJiCRA+3efn/xaemkmN36psc+tqFXMjhxMWBlAevvLz+fv
A4HPd3B26lql1RaRzB3MiEAzdeN0A4DFNdtlp81tioiMsLxFCzC758y7l5dIjbXyJYrUpbs4O3WF
TI07veIuOh9Uw6GGUsKUqrABj6GWaFBZvRmQn1e5sYhPCx0hckcMYWg66iWrDfnvucvnBTk7hqMw
HQdhJACM0SrKd8ip9vAsdUz04shFWo8Y6BbE/wr9r6WFyVC8OpiYxag4/BmO1K9E41JEfp/KfK4J
Pt/T2Zl80o9VHU2ExlljKpjNBUOvpfTF/UPFpQR56Gez8ScwER6anZuTi4tc7+fXjWRLL/LAqNHy
4312a6zn1un0IvnhWn02lhAW6QTkC/33wecAeM48hLscUn0q+G7RPxhB7tKpWs/dKtxyjnZ4qz79
Bv6HPA1KYgvcopxuJ6+BWG3itbycW5KWmxMLEhcR+4W4zNDHS2gatqtyD2P2Nb0atse1vA5vreDE
b770nn8xffy0VO/93A/veTxgGhsrLJV8DW/OEx2a05kdBcpuuO59vsbzCWkk9ebCEXvheHk/Bj9c
Vo+t2FQ7DvfZbSLz6VK22zx7NtCGPOGShbIyVN1eh4xxaXPM+/GbvfG+nz9cuapEoVUT9ivg4rnQ
11Hd8qelgueJ6IDrPPZuvipuSn9QsbdIHqJL/MYvQCOfl/zsiE9PWjGJGi9vXzjVBgkYhAHpyJzg
z5EJoAi+vTjV/qIt//maZ1UyxIdDowqQugqBYv5GbDZmu8lEXCKLfFULv7URY7dlLV715bbXbxCu
RfweZNB0M+LooVwoUN/pLn9/CKYszzAWUT/ngZiHQ9yfqpzy6vQ+l4qC1KFBOnsTVK8Xu51fH1F/
Xe3sy1dVX5pFQiyTNa42R1QQh9O1hT8SwuOXlfbeIavffb2zMAXbZzIHK5uhSGJKWzIPwN0xCAUL
tmoXE31HeaW8HP2UUNo7teF1qBO4xlvpHyYXQEdjRwT8JV72PIPiklDof7MB/1qPsxiWd2JTixar
P2u41Y70oPZOtez9ufvHrg/dRrj01n2dUv11ybOAZZhNlVQSl6xxnlTRiTn0FJY15Xvuh/uUIYl2
oT74gsk+b/m/LnkWmIao62V55CFI1XJwLRk4nACAiYNfE3djwmEXyYFmoc7S0w4VXpR2nZ5+hckO
ASZSXgm+u1w9ZhE+49k6VTZt2NqgRDME2GIazuV6jFz6IjwhFszw9BY5X8/I7xJz16Cya1AG/qhM
m0I9rXG9z5CgWXSa824LfKxXycv0lCBqJNjWvVYyq28iBN/tw6rwkFZoTgfU3nFmIq8SxuukdnvE
xVBm5opjvjqEdntJjOnitjiLmkVvZImJHzz+Lq0XLme/Akap71yTZmG50oUH9AWV0ZAUzTBwHBLx
cn///MNJPJpSf1DZjLeN9lI9agQ4vMF8kFeOcBOSXmVO/dzFTyMGP9OO99Yf6tvhAQrCAfa06onZ
HvEnfspOEbSXnL4CzVjAm0Nj7MJ59VWS8+lWz06Q7GQ2StT24PxmXlJ8XGS0NEUPxM7gIj/TLmpm
64sTnnj5lZUFtWssdMyITh5WI/TRF99Hzy+YQp9X7ux80TpVqmWrfgdXkNTVb3owbaaVVMAgg0zX
ratlqSCCYzf0qqlC89VpCWgFHroMk7fEcJciVF9fFvL+quD8tFBnR4tpHdNGOxRMX4Mx9RA4zdfi
ItkVP/MbhjDD0e4BHkCVp48vLStw778VweGm8x8yEEKKuuamNYN4WW66w62BJIo9LPKDr1l4CS8R
drhMu/oC5fZ5Mc+OplrLWi2pWMx54CPYaFQO9sw+mJWxD+uKpullrv4XEenTMp2dTWKatUWhlnPD
D1QMqvH7WXi6963gQDfv4v59j6dnAenT9c5e7WYShq40wQXk3olOEaLQNP8Ac4ivwwo+1iGofprU
cL8YXNZbYxkXdrrUTFu604M4wBnuaNh0fesXfTnSXkR5FwnlIAdW/FOlCTDYKswW0Ca6PWAmAkwM
zI8tvEmBDpqShVR98Whbb/0qZVcukT2EYQGFTnPSPUkyw6aQqtLtV9oPHKI9BZXCi0ugXVjyc0z2
odb0MparecnTXbGZwDw9aokf7nI0S9zmijOdectxP+YbCbvWxNFExgV4Ou5mkVJykzUwHGVyh7WB
4hxzSdNB6Vv2ATlg6wQtbVhYWHM+D098NWTBWZR19FgBuHjk65V+BIRUvbiTvhDL+LR7zxHfQn08
aOF8FMzGhtFSW5v98uiLV2GQBGTxiSNIjomZygO2yfdZCLMuDqwrea29cmvhbYm+DpBO8zKL7YuI
/3HLnWPApyKqwi5tZsheuFRcmR2CgzZQShSgQaQ5x+tZwuZCTHmXeftmo6tnubVQ5uIkRCxHjN1N
bQNdEjo/y/x6m5y88BowVYZpCoiUbq1egdcLjIURCJpdI9Xc2xTK6LgzDL6BXqg7LQ4EjG6A09lj
IJErC+pq1Nx02fgdvQcs33r/NNCgt0/beVqGYUTqNdVCa2xJtNPA8quN4BPkq20tYD3s4Q1Bp+JC
NPgq2/y00mfBqSPHiXGOIY76NfsSeaDO7iu/2TDR9mmb9cXmyDQr8vOno/vaoUkHDYE5s5HyVOwc
qKdNVlEeoPoW2359CZ4lvZMsvnsoZ+GqlyNwSSrRM1T9UL4DtHjYiiZM1i3U3dE3JBeFrjGoaJDW
3CpzqMNCDubR/wjY7LSod3FvdxvwRMNGAHWMkzyKTUgYuN1MZzkCXWjWBgCjZAXDFLUr6KG7cpOd
bLSd5KPL+6egFwSRTnKzXQXNB4WpTfccL/sNKOZZsH9YAyw+leRWlOhx5VDJb+pfQjVPTlqnRSCY
/6ODIL1q1tM624cD2BT/uG+3xLRjHxSb0+PIIBwfWpioS2Qg3sa7GTaureJNgz/quzPEtEh35tu0
SgI1tuVXTXClJdGQviazRpxa9/m2WR/8ZBP2llsLQVG+dguleE59LBZzd4l1PD5JSQZoRFkhYlgK
64uE7Hes43dP6yyEN3UzdQQontaYIboO9zGNSXq64zNPRPQP2t1JeYEK7BzAIvSwWCpj8mq6OH32
IBYQmljo2uLmTmuDyaoIkpG6S86V2yybfOugBWFXrWduYbkwOzyyCQFMrAqJNyzSXRMO0pG8+HQt
OGTinWPIP7PGz9BAVvj2Cppg0rBozcnuEq/rvBMWTSt13AjJgswmc3RMEFGdlJe9vlVSMJH97sg/
qnHskEKAjLvYadhf2JZ1fj4uMss3kaPEYum6vzldxch8Cd5w2IfVPR1PaPH3dX2tAzs13BJoaOK3
Ja5wnta6iEUgPmLFiyJ3Itz+pNxX+utkeD0O18240M27g4hrjZ+R+kR+iaK6eJffV/UqfbZuMa0P
+t/Dc/XMppu8CR0HGAazUi38d7N91rf5vt3kqqeGnhKIm3p/JDlxJ+glxyVTuPwWQ06ncqNip86K
yH4Pr2YnBvJ9dfSkaHGS8Ku3AU9AntbCt2OK0Z+NLJedV64lXGVITzDpxmHr6FUVsl0/moVMFzN5
7E7Lk5bbVrTtlPVo/s7K117cSOGtyDlKnZKP9xJeQOUyVH60xi/sDpGvZSDrdulKlV4tA/0u8Fkp
Yv6l3VEkHXypdU8LQbhEWr2UlKtniVsoDno2KCQ18kIlx8Rd4CoPOPEhnqfBtOxvYh9K56LGLkj7
wXS6V7xqG18QMPhi1v45AJ+lcnHb5KPRcxe67h4w27HBNmeKjQxLeN2g8t/7osKs3Wl+Y76+6zbR
EqWV7UQG9Do7OxFBJi/kVGn9eqV4PC7r6hhkQb+yAute7qARteQTvCKP/arSXbX30zIA637BoPGr
DtGnKHKWItZl12stLkfE67L28caaBTHExi0wSgefvBqvJnPHCTi64NKeIl9PtgJ6humFCP4FsPHT
ep4LzI+5aMn5TBE1t9RWjKo2rObxlzhjKx9YR+0hD0KF9my3Jn4kbl3+gXheKJ6gPbBW3dP0Ojwx
o54FU0JbN21y+I55N/vx5nhaFItL5eFXo6qPa3cuLd+XpzLXQnLLDrBYp7jKEl+z9VxCQFThoHoO
nWNwURn9q97tp8vOKe+HAvoQ/yulfU+xEqf6WW+ttUwJSPnSeFjf1Au9hBZ2ER7xRRP105XP0qy2
TtSqLUnuekav4VpEj4LGVj+7Nc35heh2NyOVQAAeBu3dS+v91cz10+XPMp5cNJKDIJLlNahtdVcA
W2a1Otk/BDhNYvwSDBttaYU2tClmIXrrnRp7QI+PByL7CJlisGEBa1vHQbZAub5dl5Z/IBxgQnFp
oPeegH8TTrWz5GeUj4eW3gHDacvONserHvrttNQQPAQfL2LG4qj9SkWLcyv+LLdS4Y7FJncmw0aN
yZue+025ocBYl5F/DDTTI9mU17KMcKY9LsN9QodoWnS6wzKfLvbK51D/3b2fpQJaXAvjOzW/eBx8
xjm98dCI6F1ZiF0NuLqDQ4Tr8kiBeHmPXWpyaGfHOwltV6GOIN4eVyMQdgBmCwxF0TlhiX4M61nR
3USW1Dc8sCde+AtIClyX0leXIK0OL6ngXMSWX6hp3m3nP7xwmlZncZew7yqGf9QXTqcCA50F3HIf
LDttlewik/u9UPruIZwdzFEsp1RStFSMWzlosBcYnQzhFctPg6pwD7FLLLHYLum18FIyFS7suWBd
N+b2+DhitzFrlXAM1XaMIPI6FBYkWOYSrr0VkJOUXi7ZGjp98k221a4Oz9+3qi5tf32eZH5YskyO
2yhX2f6dL4FBCEbUv1soljl+CZo//RpRy8MVjG+xpnLqSxsFTWhAdbzoeNQYrKluw38jpT0Pz9BU
n1D9XEivaUQciqRZcTqDnsc5ExzyiyTNSyfNOSpUSttslCwOuhjPGqx+FDfR3aEjyfFL8N8m0lHI
0gk2IvBNtG9ip5y5FZDMfwpHHQwkrt8o0eY4XYY31rLRHEWAtdj8nH7qu9PrpcNGvvDCvqPaP6x2
U8btoZhR6xoQvXclQqu9barAyraVvo+UQDVcqfo5DltMWMGneFW2AKDT/I5AzMgLQVm31EG5Cgw/
XyUXLVi+ADd8PLff9YU+3N7ICMpo4nk1V+CwKZzcGRWj+8Pr5YP3UlmsnwUJ7aRqU1TTY5MQ7q+8
uaXdI2nmi4WfWp4S3iuHFe0q9h0l1xQMtU8t2P+uaMMjDxE06hoRl3L2huDNcWfanHAp57q0Hmex
wdRHdeiAe9xGwgYXmOZ4w5yoax0LvoHsxbJDJxLvQ7vF1L5vGAQAayvi7XQEjkL6/798Vc9O+2Nc
N8Wk/BHUg8yyEQPjdpJlGhwAnw/tro8XUeGMulMGChHM5U846emrwzJdGUG70pfqskCkOVBe9Zdw
jyZ0uxZ6B9F9DscKvni9UF6bcCX8vDTGvlQLvPMOPuwsXZYmecq4d5JsqnSKAVxDUQc36OhQazGJ
hzouu1O3D3u/+KEuzWV0ZfrF9lKM0ObU55vjWj+rB5JOTszD3No1f5xWB6yuOacniDmM1sU1pW7U
rbHEWus/rOUAeAOhP/ws4sdp0y9QtLXLrU5y4r93YCVWPZvb5RkqjVTCWKiYbr8BiN5wem4MGqr6
ktKRhuPwpL22fMvSTfcXWwIXWqf6WQQylCSsekaGt6cNvRvV6W/o2NMkHcGzFb60nujleiiHgHmg
iZb6QJ5xngqfMBZdfr9Hv0ABf6oOjLNwkjYpHiYZt/Jnu/NdRmw+QspbgPH291eT5xTjm2d5roXf
HsQ0MUaOU3VRrY7tCvfualPkdroTOUEOPFkQI+JrElgHBz4hGuheL7ktyJYb67hKmttTFGIM+j9w
TL14a2e5vyKcIpC/7yWHqTGFkr3BwrvPrbfz01hDfdmWWyKn9nJwf80k4KO8PAW0XPWlrK1a4X/g
jPTeXP1uuc6qgkhMhEEVKN3UBcf7LdqOhk4Yd2Cmzoga+Q3bNQ8xry07fjS99Hru24XbIQjpRQTj
ZshcieJhMz2hNRW5be2oyyH3VLQrVzoSNVf1rC4u+JF50dziXerpb/eumyI+DAox6n2w9eEAiWur
srSaA6Qpro8lpWe3yvzuAVrUBlwVMl6xk78Wm8h4j6qGCOl6kZ+uEs1NFhn9pl+T1+oLS/HH/rE4
3s7dnO8349dF5oc7PDtYIqNu5crgiaNdCZwTsCm6UeZvTrQgfdRtI2BIw0TP+/6yXyhH8cZ9uOzZ
yz8cYlOZWi47y6qgTlx5x1/KA72Nq8ObVcB+QhVuh9ufF98cl9Gv/rQP+Y/PYOH7G1HnC33zhM4H
OHGZ13Jf0KBoxwHzOD+Hl0O7eIVWpUvTO2J+Reo7uxnk/vRQ5rOQ5opqcJsBNnNiwY2moI9+lYlv
3mbL5qEPnckWHMmg3zvnbwlEjdS2AOLQ2Hc1aGkOsaJGkz50+lRF6zhrLzbvv54+/rW87/nzh30n
hXrWxibLCzv/eqarchvm3WzDNIsi8Z68XLJJ/Qpi+vGJnk9mEsOMIjHkDMXvAZKOTT0q2vWPhH4K
unm/4p25nLlX77InV+W61S43TL4spHQL6LGpyooszonRh28tjn2lHmVOij6AXuGI236bO6lz2NSw
H9Of+ot19/3ukb5eaENSkUcXNck6FyI+6VknyLPqmsATbXvyqZs0WfWmQ74Fe804uqpHS5i+86Dt
mwKJqLRaymJh1whqSj2NDvq4RFqODrvRtpP6hBao9BMNXln5nR1ulXDbCQ/j8DAUVx0o6nSCC5eV
TEWzbeRK6FU4HF/6r2zaddW1OK5ohJPZeUfQVs2iVBcUSDgW3IzSPjrssmERz+Po8vqgPrY4l63K
lqDa7cwXyh31oWfEhIkuPM3kNryt9zOqUHCFDeLXxlV3UxIOth2afTYjg9yLT3D5Do+jDN5yWerb
fnQ1kNujw9SqEphg0i1R3U51SYJTzdP9U/NUyOs0ve4h9aDAj5zE4tLc6uuc7a8ncg5On8LqcNIV
MiWKFQZSyJ2ekp+CjMHXdV+uh+mekfKoXVlO9ib6A2KKZYCIiZ9AWtG3l6O9+WVT68P9nG9KQ7bG
SZ8L7Ww/+YO0O8BUp4UcH67LZJ3LvAm9LRebkYbkgTZzucFP2UlzJpqyKzPlM9zqwQJgcdycrKDF
KmiA+IJvSR97BwtwCpzQ3s7YejjU9L/xLCm2IdJvSMZH++ToDPBah2tN3yTq4ogCprGWRgYn6qqQ
gYx5WMKiGK+jwFDdJ9YjzrtCQk9Eqx1TPtwJegFJEEv6ONCyqyh6EqSfw7iXwm1aL8PwKpP3Ajy0
gQFXfNpJyX2onuwcg5lRXY7h5hTetrF/HFYHj2r3Uh71ZQL5YWXPkpVWF2s1NxBXQrREeRu9A8bM
XbOqyiVSF64hoyqKFj6IJ+iVrDEGzZnQMbdwItyYQML9K7P790+S9/V//Qd//5UXYxWFx+bsr/+1
jX5VeZ2/Nf8x/9j//Weff+i/9sVrRoX8+tpsn4vzf/npB/n9f17ffW6eP/3Fy5qoGa/b12q8ea3b
U/N+EcT553/5P/3w317ff8vdWLz+5z9+5W3WzL8tjPLsH39+tPr9n/8A8fbhZJx//58f7p5Tfu7h
OXn9t1V9es5+/+2nXp/r5j//Ien6P3XNUHTFtCQI2hplYP/6r0803PVUzlCLTGmuA7K8ao78kPVP
RTKxngDJpRmiMuftdd7++ZGsWxZ+5LBqZdMAC/qvb3/1R3j/48F8bVXwh4DEX2mAKYkz2UrVNd1S
ddkyzbN85CjVcW70mnin7Tu/HvbMi5Ob2XEhdk/oWRwrYBbM+yeYsu2TVvOC6t0uPvEq9nN6iVux
aJ+0yWFIb+jdqsCztqG+73WDFh4vdjXxcqPVF9HUyR8m5SVPfrfDnVF42tE/0nFq89KthgFu3tZK
R9sSNnpPWy2INE9LkVL0ZAGN9SWEWjsZMCCbKzctfYQdCxPgmq4vfa3rEqSTbY3O6W1mSFU1XMr+
rbet342vX2tXs1uU7Mg/UMBWV1kAy3uyG5L81Jd4RVVHGX5axYbCOml3+bqgY3CkSWGnCAzsxcpm
itkDi5OD6m6o3eNhEV9lK3Kk5B6i50n10iSYWmcQtmikRPf6k7Dmh2PtRvfKpRVdRYlkF90qLz3p
NWpXMSsDIIhvgdjbifHT1sqvpHx9EpeM1Q/WCuyOKm5OgbbqwSvadOPpv+auecSqDIAtzQrMRhdH
W3O6+2ZB6Kra/WlhOmgypm+md3qFp1felj5MeTTPEXRiLL9UtT3EMRXYpGusBvB0T6gsLIyV9Gou
raB3zWyPA2IAkzymlzj9aEWfP5uFC8ot17f8tkcA88uZeyistMTTpPURoQCToVbIgDJ0ANXTQzlW
S2nbHgKl2LXC3YgMBiI8brLPIGAvx+vZ6W7CB3y0a2MtBupTi4WVTxk/Hne9jjd5dBM9JXApRfFJ
QGfmsKqN1em5q1CtuB3k4AqkARLzJmHZYkKSL5hEgCbdIObTQQ0kPeBG/Lpf661TXrFcC3y0YZne
9QhANI6k7SBNLwtsb9zTqjuB0/F+C1cH+51CkRZ2UuwteXVs1th1hwtQogBsbnDKGJYGyuiZa21r
xCc2mL92ykovAfcKNyekL+NFTi+ShH5cZfGyUvbtoV9NzVsX3aXd9ahvDOmZ4KCi/3FYHwzPqm6T
ERGd0GfU4Eevxf4Ywyw9cNHRVxzTj+GEbuqfQ0ClmQI4xIMJDvtSQmDyjbRaYy4atL/MPfQp5a3+
/XOo6Ai55BrKrkUcIUeVCEWvucdBxi0E1g+wBT+SBRQE2T7dQ94oVZCWgUgLSnOj8boYMNgpSOAx
A40geOSLBgQzQDNW1XzEr/yBuxZuKNtk5BFgfve3Jl7Ut/GDToAB2XeVaZVTdts0fE3rJ8huo7FB
WHkEpRP7+fAu2Tm3zuMjb4lfvTGOWSZev5PW5IIIqhiwRmrygcN2yBYVgLdbc9NinASAVX0b8P7W
6X2t2TiHtxpNpE1xlVVejLDBS/5a804YyqqU1nrU8uZzNwpWUc06s5DI1Bft67wasVvQvRIR8oE8
b/PhQ5PiTmaHd8pbibC60wAqPhZvqrjLmDUqi5EXEOxwrT8pA8yb/ro8PYb9vXqIvDoHBmbeqdnK
iK+MVPMzR9WDHi8QoDdZ/qx0cIeTrZm5+cELrVs9fdM1lAdLx/pV7izfWJeIPsWgn1uKTLys5Lpx
OqRMW+eEViydeetuDIPDXbJpT8AHWKDa/DFqv4TFu53sVvutGzt8RkrrbggD1fp5Oi47YRlNm0J4
i/CcwgTOsF7VkdNjerHUcKsYmx5uYSY5FQIhGS3QJPw5imDz3uEkeASo0HVMbaUYXi0ofoSSriZj
EtiKICjwxkZ6KA8O+NVb7fYUL3S0++LFmLtKixxI/1vdqbv6opLY+6z3b/FJN7iwIiKsYp2NrbJZ
2wbQs3hXe/U9CFdZBx6MnQbIgHhTQMNvbrUHJV8OYMlikHcbBSUCQ9/3wr0y/oqGO6l7TVTTmagx
QsPt2istvjtG4MntdHYGmWWtcMIykPvACCRCUUY/LCssepJdI73cHMdfpgKeaLzJJpfhZyj4IgZM
18VuWFSvRufllD+aO/VbDDY4MZclft6ohdXIIPOqcAa7ZeFN6JKYYHY4IJM3CfFPp6YLyW8YF4bG
AMctFuDj8ubWIM4OxzdzupGhWTVODHYTzDvvF1VScZNHhV3RNZFe+IBN3zE3hA57sJXyAeUh7LBT
19IA7KCG1a2OEV4ssx0zcJshMNu3KfGrbL6uOi7TPDDQbZdQS7ONvXIHozuuVk3sdb+oHgwhyK1d
XV+hK9O0dpJ6J4D1uUPDtMM7yZZ0sm89upOGx94xBL8BU0DYcac/mQ7/P7MksyTV+vd/5W5/yyxv
n9P8+XNOyb//I6cUJEP6p2KZiiUZMpmlbFJb/ZFU8pH8T5JJUdIlaf5gZqL+mVUKkvJPVbHojoiW
pZrGO7f+z7RSkNR/iobOx6ZmqKZs/T+llXPS+NdLq1uiYWmmqWsa96haNAA/9yNOaZr3mB0Md0mj
PCRFfKux9doKJYFS2oqJiCZKAyJRlKULXa2/tSXOrzx3Sj50Qgalk8pJ0oY77F9i46cYa97RQlBS
AMtZu60m7Qr5R6yadiZCqVfbx6TDFDTuLjXW5+L2uxU4G0UxNpTlqFeHO2U/C17QMBDtLpglysXl
eJGhOa/np6uZiqJKnIKyqKlk8WeldlSJWRl303gXr8wAxqEd3zZLYTuLDKUMZS6ODc77TfjLfLre
WQFaF8dWlmWup/HtJNdaS3a+GH+qv1DtBKx92JUXNM7m5fruC55tqP/D3nk0R67rWf6rTMyeLwCC
AMlteitX8huESlLRgQagA/Dp++R9HdPVujVX0THb2T5TVGaSxN+c8zssLxvBo9nf+8xjAgS/UPCD
Y6H32xN28+9/7381Y42Ip2bo0WZ99z1+uXtCks2qkpO7nwG9CRaI7MwX0T5aXJBR/fX89J1n59sL
frlN0I12deFxQSR/nqYfF+siUoAX/BeeEKwUvhv60q8L7a8/3JedpCbpGKVpfrlRhv3FLAHMzlbu
xQqNxzVaJywH5uN38ib2NwPx18t+OcRdYus2jvBU1jZ5571mPzCwPGmNdK6435IJKKGJBANKRfsD
8tcXjdBi8OpgCWiHfSrMtQ2hV52gWA7tBZcw2rPU8ZrP841PyY2aEwgSw62lE5J/I8w6Sp0cvUpO
jZvEQpfqLhHNVtDhNcWw0AkIL82Y5Kj4+DqKbbPzQfjWV+CnUaTTpkS9Dg46JlI+0xgavaCZ7+ww
PgaZDfYqZ+tE53o5tc3rRDiq5UHxBeXNmvgcbW0fdzseUuj5JoxckE51JWn+XiNCiLbNxhH1E9TZ
Y0YySHUnGKo9O2WeQggRnKzgj2oonrss+OWTGmSJBny8nj4lcf3B+vIjtT0gVlX7Ck5MhooAWYGD
gsPaV83e93N4XTdzsSBRP29sZX8FjQQlU/YnXxi9D0FqEorgOE/qaNPR9D1I2QTagB2Xos5uEj5f
AoLg2E0CYFR1gxyDKQr40nldACs7vRY6PWXB+EyLfDsxhKslQ3y0LDoOrd5k1sPwgUoo0tENj5GT
N3Tdruun+yEB1Kwx+MvGLv9pEVC1YRNg4HPgFjX0wTmkwakt92MCei5MJMMQfyon7/wEpXivbLJw
LcVWLgSlgVGYXkgGbfIc250r+7uiBn1RQLok209XvHp5TEGq8uO+StitG8WxGswdfjr0NyiyWUq2
zMn9JIIH0vhTrlGxc49vLuQvohrPOqN8pWR3lTc4GrS3nxXN0YFrJJjYzL7GrcCUYgKfvszJ8IC/
eR813fQxEFGuJFfFssFKYKE8xHSDxRA5IajpmIGBPS6A/qKM7DzuhsWsq3BLYN2FxkhGi6qawLNT
tTiYhiDWTkNsaSQ1B4LAS6XqPWvcThL9gvknUKQTelShT4K1jwmNTxJJlzLI73kOerEyY7vwcXUk
gUT05DQ/+T491rOboSQ3bmFy9jNF3BCvRnIwQAQH9jIAzbZxGQN3wAfk9rHgNCA3dkmqaNqCbfjD
2mhnMJa9DJJ22GJhUjuCj5ceeId8YROLHz03iMOeg+tS9vADpOSVDoqu/RTDjh8ADRj3r3lYREtX
iw/RIn04xyR3QDBVMaNgjllrFv2Y75OLSLVEMHpo4Gmr61VjsLcPND7LrOd+ERJ/qvHEjDmNgKmB
cyjMUJeLqMPwo7Z+JfArrFyg3xC5tCOxeqvicaMZOQV5O69Kj2SYOoHrweljz3tkB85wLVdmArhb
Nx1mGu5xmAU8zQ18w62OAT3lw2MYDWKFdciHJpgdSyARlgmV13PmHwtgq9NJFDsz1SgngngaFxGH
mG0Wr9Snt5JjMmF9OOBJT4+kk89FqxHcWIvd7BC7XYmdTcdxlaVwWIiegIXo5+6+TFGuI0GaPKgU
DE9Xq+dvDrzvDvLLDP+3cqlNVaKS8HIenC5mvfQJZtElNmY/ELaJ7MZ0/10q2x8vGKI0TQiKUxSH
//2CYEwVfpxnez9RvPuGCXaTBm+kf/5Yfys/L+UJo1GEcWcqor80Jb99qsLFceBLg95vyI4BBapY
YTJVvHSYBbQaxrsm3oad+eaqfy1Y/lak/HbZL9UDzidi6UBBp0RyNFwzO8S4IbCaHL/dXf+xTvnt
Sl/KBpq4Pi5oTVCnMBAnN8XttHiHPwe9PSh4HWaB//yF/g0w8NcB/tsFv9QNSVeQefTd5YIX7hHm
KEe5S4EXwFZm8821LsXjP32NX4qFsarKgAUFub+YxOYtRA3IfU63F3zr99bRPxaWMcCqsWBcoGX5
7/dj39MiNjXuR6GeRnHToxKh8u6bT/THnysRUUg5A8b561JaEl6T3jp7H20v61m49ZEZO112wpjG
fr95+5uq5/JrCRaLi/oC/dxfKszf7v+hzI2cNbH3F43BRVebrVFGXGS1wGH8j8FhX6/25d4gtPIM
cQK42vW0gsH1JXqMsYhCvMidBnwU4RLtZn7CpP8Sufzdo/A3n8XXq3+5W0RQti5Rqb1XIEb3mKHG
V+rF3F8g5flK3Me3HlPkxXwNsRhseYvwG7/K5QX59WYVEUXDDZELEtC+dF7TLJ2MtaJYM1WPshef
YYeqqdTVWk1Q3+aS7IYgev3nG+pPL9HfL3p5gn77ffu0UAOZSnpPTLFIxwIL929u2T89Fr9f4XJH
/3aF0YY8qI1290UVg0o1p0viOXYHufvuzfLdlb68NLssh+GyxGex2NdH6w49UHUGwWONNQ5cHmoX
7L/rui63xN9+M9RZGHMgRJn8pQX77cPNWdIEdTC4+/DCX3SAGAHLyI1aDsODwfr4n3+sP747xW+X
+3LG5qzLkD5YUdyh00nDyNKt6/twdYlr+O5p+OPd+NulvpyucgyTDEULva+h3kQystCgMgXzNofD
IZ0x8mwtJApDEI7fvLTDy0P+D9/pX+rh377TXEliutyRe2A1LuJjkKLSfbcSwENFS6TwgN532U3n
ZJHtp7W54luPCNIIPOdLyPj/2zf+lzjttz/GuUYYjMD8PTmwTQ6hWbGNt+kBEO5d9B1n+Juv/K9U
mN+uFXUtdNGKoYNXqwBBStsI4YMXxPq+OSbYHl3gcvHtZZFSrNqf33zQP74I/uv3/or8yNOoi2eK
h2d4B/HmUUCBBdQsQHLXAphKf84232ms/8Z1/ut9+9slvzyvZpjRnXncYkgSekSxKw4NdHOXgJS1
3jdYv5IVMF4/MCu5+ecP+zdr/r+vDDDoJe0aL9wvVxbWJeXQoryC6uEvjt90g4vvxVt2dcnIvVDH
FPaNcGrpvdtjmWjuzNUArxioBKvxUD/pp2/+or9pCL/+SV+qh2lyibfM03sfT495QGFZjGHt6xdR
usIjmCzai4aksxHG9k170JzyDe87tUd1v9KNrSGb6spFFQYOkGTffcBtf9UkwXOi7dnl+aHz7Wpu
YbXLfFAvM8G3PBDwRdsYqqbqoUZYGtxLVQrfBPDgUe7pqTP0w6Af3jdawFhBqhdqE3buKIiLCGDO
Nn2KNXOOKRkUCNPJW3TiZsQebKAa+QYqyz9tKsuNrcMrQK4OlYoAGGrw1eoR8q20yxGYlfH4cRzQ
MQrFpptOI4wiGLfT7KAeRPeUszF4raxBlHLaqRt069mZTnCKZWq6GCHgiGU5eSjC4HZCp7cIRCk2
XFS3RUyg0ccXtiLOAy80AWNSOfSPhcEzFY20R0+cv7piHlZh2kL1NQ8QmY0aScKOVqsq7aN9VnK7
Nm0OJkvHsObq+gfpIWZ0XNK1i4N6ISb6hPfhCzA6pwka6DUnLTZeCHxwTECjatLl1KclEsKi5MhC
eWwjcztLASlAM0PdGAK/MIEEeqx1EO5LWkHq1RS4AwEYRhKnf0d2xAFpa+cko3Bk64itrA8mbJ/G
TUfq137oE+BTR39uCqh1JmluYz7BSKf6R9InPeSoLUCIJrcnnF8rmmlxTMbpvagRGtcP+HXqJIed
c0r7Va2rHyLEPrlof1RY9G1GG79nkTGLYaAQOkES5ZoCFqaIPpdMb9New2AYxBtNq2CBm7S5jjLs
pUOBnU5A2mXQVmeS3vRjY9A085W1yKcLo3AF5ke1yq2+Dnnl4V7GN4WVaQ6LOLx4PCVmVdqYvvsK
O7Vu7OFBYjXS7KBZXOq8AvwhqsYFxObdonMMgKyeYGVaYanW55ytfdPvvB5gZmJl9qOTIxBADNEZ
NdZ2YDFjPxXXdYq9e/MpHYLMM5mLddOS13gE06AjOFpkj+g8lk6PUw17eYWbN8eRtBIWdA6s/GjD
76UxTxh/bBOvHxWfdnPXlFCkVc+VZM02avSmyeGFl+l81TQCrzeD+Z9uQWv553fHHye/GFn/n7fZ
l6o59LAABBYHpjpdIE1+h6FlvLhAci5Fut596xz7wwEdE+yKkCKDVXP65VUFECpPp1SH9zODFOxS
0IlvqtI/tR1YPkDvDcE3Cp7kSymeUC/DVnB/f5HbXPSHF0q8gCVbbKLjd2iSP16No81PGUfOPU++
fKBEdDNpYsvwBaIlBVIcQFu0idmS/JeZ5/+vIf/3Rbb5f99Cbj9bkxVvv+8hL/+Hf68hI/Ev6Nqg
WwtFgj4zuVhO/72FjMi/CMEakMTYMqL/vOwh/nMJGbF/4bfCmo5iL0h5yHCM/+cOMqL/IpyjF2cM
a0j0rvx/Im2j+Fv+2z2Pu53EPMIlGC6HnefXOjCZ8XaRPWIIPBLe9lOcab1xiehf0oJ0x6F287nz
ZrzyvDyz2SJFNkugnu78sGEuhhlSwgBKI4A0oMsIQHPbjCW24YmpJiztr4IMeKvZHccc09B5woaP
9xnoZR44CBv1cK/2kIN3XXiRWkR6z1LIr0jOMMG0o9vz+owB5rrpoIcv2x8+zOvtyEe1pbXCUTI2
wSIvx9u+DempbKZ82cwkXBqlfqR4p4debBij42LIkniHeLiLyy4DPqLurblPgJHuGg6dAd7X60Ej
z4xkw/0s2G4sBdIv8+pXOBfqEGbV7VRoVCORKLfIBLhrzaeZ0sVY3sfCwHLmK73ssypBl+STpSwg
TIKWeMTENK8FyBRsJdvwtvafJcxrALcvA96dQxs+VYHOt9oNNw7AgLJDtF4AZQU4bojKwTy99cCB
djBfJHHwooP+oWiHaWFoCMdnsK54svfQ1SORcronMkqXnhXXqR5fZOvO2ZSeDcd/WHMsilLZ/kzn
8ICZab4EQKJGMRrc1nkMiJT6JYEHfS0GgPljvo9sAnQGnDwZMEJN1h9DJG2MXbzIi2x4KKdgWSe8
XkVWb02Ez4O/CaNe5NCUJoIbpdlQrcYP7z8D+EdWZdUVyA8lv6bagm5qRmTW949tSqeFqNMWajt0
BKmmr5bxgyVg2GcTiEVB7M5DA1eTmiE3Du+SC80oJrcVdlQNBvVVoO6DngbrCKOwtWYWxVW36ftG
rWUPJksqfvCxQDSHEG/R5QTJ+S0lNF5wOS3t5PZ1nO/qLoKPA1j/JdDGZ5dCBag9sMXQxycsf4uV
3Gcq2Mo4SK5mikFvkXy2onyqhL7VPN8TWR0H5tepY7fFjBVGFkLiVsbAPUL958WAJ2Pw9yWWQLF4
TAmgQJEtxLkkUHxyz6fFxPW0LephFzl3TIfoeqJgo6EjR3hOyd7LsV3hRodhFjHLqxg1KgpMKLN9
B6v5YPpVRPV91EHAZIL8qSzVvsvovJWeLmowpEQAVuQYf1rIfbIYXz9twno7gTVkHdizsX/vJwSk
pQlGJLGKIH1Ub3MObnGBdUf1mUXhLjR61Wu5pPiB90irxYoBZz2WQ0vXYxrQCUyoi74rQA+Yqlts
L34ELlsn3D1ThLd2NgSZHykWAswZd0cDvBQSbY4FOuBCgfQ78KPi47GHHg16CxQR8zFNm11D542L
EV2S9fkmCV54I66KeX6LIDoSpX0Oq7smBezSTOOqZu2mgKIoN8VtUiAqJUuedQdfbTrIa5OpM/Lf
UzjiFPYwP2uI3DouFml/O9sJgcLzmpliB9f/OhxefTLekcA8pP207rvwWo3mjQLHlY94BWm9VT3u
9EYhcw0cuznOr2tbo53laAJqfjvK8hAxDOs5NIQGsbGFRT5p1e/mCsd72R2mqNwJM0Cc1Q4/LXZA
cQbGgEB25lDKcZGG5ByK8cxcha1JGD1jX/TWNOaGM3sa6AidUsOPs6837TTckjQ/RLT5WQZhBTM9
GxYjXk7hCBsgeGGBna9n7NNQL3lsRwL89PC3tfDqpTCkpqCtXrBC+AqZq59wNrxwqOX7S1dBzi6q
5C/S9tlaRx5vomA4BiMrlxc31DZwSXaF1ta/9RwoMmxo06UpWHiOQ478A3g3Ej4di9YBtn0NPZTk
Lt/BRIXsxql/Dye1iILxTJoS6RT2rEfclEE/7PNSOljWxzs9b2mL95DyeJcA3woNbIhyPSjduvLW
vMgU9qppSsQ+SWusC2nLjoSzBlaNJvxVTi3ayGmG4JloLKncFK5c1SSreCzlunXsPe7b6KeY5/pT
JGGxDMcmeTedqrBvc++1HTnC0gFHZGOINWiWYvlIovzG+rQ7NmOwhpTnaLD5XRKN/FWN3eGRmPkd
hzj6xagEUjnMke4zQlLj6bTu0rCBY388CB+X2zLKb9GmzAcru3xZDBH5ZUQ/boeqfiQ2qHcVwq3m
OGk2qjeQqZbBdG6SZjoTjDL3WO11N5LWckMQsVNxHAjdzG8Ghtisug6fwt40G4zsgLVNyM2kouma
SNLca8/QLsKwWZZz+9JIm6yZDd/yRgTLuamh3jUw3tc0STdV1P+s6xHdWsDuwx475bLnatEkWXZF
Wm+vZZrvonYWLzabHjA5a28U+BSggyGsxTNIq9PKbcbcYNsexRppQ4Wz2zBha9l1FBGYJfqszD3o
htEdDzAGCIJqOERtza4vya2HoaTNYVRkvvO15Scmw+JFZaD6D3Z68r6Y34qKzIfIdAdiO3qFszw/
kykpfimVm9MccXUYy7LZJlGujmNt8j2rSHyeEasHvbzSN0FVT+sigjwhbKudHApYLbPDCOQCurum
fC/iDHmZOoQgPycQ12MwOLI+hkJU4KsK8lKsWn8hL7oM4dm0sHgEKELikBpx38u4+BVWQ7BHui99
TQaOOAUBya9UIEwYStxDJWOwyZonlgwAt0ZzvhmiDOgcqCB2petitsr7CnpeyC4xIRwV3rmmgJu3
wbl6E6N1/lmiGHuoEMmL5iQp0M8RBpDZDIIpsMTwaM9YfAH9E4fFa+gCJDijujE/546hj7UkwQ7d
YjjRKqhIxhai/G4KNr4V9qEODTzjlZk90pvIbd2RbIuaS9xUOIAweRHs1vSzWUZhcyXa/rGKmvF6
KGa6kRBbHQgfZLzEQPwapVJULKAQmp8RWoC4qSFRd61A3PmCVxj+c5MAQl9k/Y8om/uPjBF6zfOi
uaIhJa+hMXJnJfTPhKK8W9VEpfvA0mY7JzLcOQkuMd4QZufmObgyNSBnVEfJu4aobd3IMNtGaQkR
uvDF2ssg3UCG1e07pgYoQElndwgPIAl4iTk7iaD1WDl37xZsXUJVfW2r/rmrAcPWkUTkbygh6ghc
JIcFaRpouW3Jj2OlzJF5j7fEZZve5RcwsIalz5UXJbXBGkkG4Z0Ju/hQKDptZT5lGOsMBJBnhMae
izJ+qI2JbnSBII0mV8mauiG5HdAm4MA15yRoIIqRBIoQUVf6ZHlTwQTPMTTrC3k3WLHJyhhRnxge
DUXHDgJ15Eqz/pSllVyyBEdvnAt4rj1+Tcw/R/CKIQ6pujyE7l2XQKImGGul9MCU7T3CcjFZWHRz
v4nztMD71cNH2MWwdzn9RLyAQKJCVEukL1BcohVAJMrjue3f4k5si8HwXR07tcTU4Lrw8gMrwvox
izN2KMD5bnzX7IOmHu8HF4JmmEHThOvLRU7wl8wl+zAhSOVpWbxKga67K+PPeUwx3dPdgOTcsAS+
BbbGZUn7Q9COn7XKkLLLzCoUeXqTAXV0nofssp9Uy0YN51BnwzoY8uTGuVbifGtQSRhECNfTtB1q
CuMDxJf5Y0+b8o1hDrRVzErkmY6ug5Yh8DvLBT14JNRtUFyxXZbU5j3Ws90PxRRueIWJHQo4yHzr
Eh4UJHPC/1mVy6jS+QbNSHhsDUwEZTKS5exHhOmZHiDUJrBkaQyK+UUBcQ90C3HybCMCbFSlANqG
6KJdmjQFJ0XNiEnGYbvxmYtXYdmHb61t5AOuWb7mXJK3BNU45GHSPYxA+2P/BNIYyvdV23XjTdz4
x1oSmEAHn+9N0t0HrsJfhrmoCoAPTORq9Ba5uDyF6agJ4+qOYU57nu38Xig4dqRtgUwu5n7fqbHF
TQNddp+HT1wjj83rNPpp4wl9iUEYm/dp/Npnl9MZxd9qbLrhKiBDvMk6k+5ki79uEjl7rgq4KTik
UCcZUSRGqSrGV9kGu7iVeLdmmCwtpbfdMp48YJWjgHS8kuHt3BblIlUz/dk0s3xIMwi2Oiza12nk
03XQkHfvu6s5EbAE2PSnyJz4QWsRrXF26lcQBNldlKSvU9R98FZ/+Ki3m7ZQ6UtAJzgYslAc0XME
pxH/OgwC6j0fu3FhVMwPg2filtoenUSaNdM2tYO5hdoHPVeB7RENWLUKsY3fGS3LK45iC4cMNOi1
gFBlzmMo1vp3bsL+vijnHmmOCtRNj3nZfsiBhsSHArQ68qjoZLvhs4BIaFJqwdp6KyGvAa+olKu2
pgMoYojFzis0SACttmw7C0z7ajRhz5FVL03SiaURE9RwJnopeiMQhwUwKdq2fGXr6jVtEvrJ6xE8
spnf0y6Ecyjs31OYkRvPsw06EsBmUg9vi9BxcbRN/Eqn/kcaTsH1BMmOAJQmyE54bZe3Pct3zAP/
yKmjGzPAn+R5f+jjvEEqDSlhVgrWo8NHZR1KAUNduSeWl4+l0ZisjQl+twV2YfzRyiFbFY3y+1xm
buVQXcITTBRWYJHFXN/T0Z+SqEj2rJ+HXzi8o2U6Zfqly6Tb51BORe0lpC5NzwHN6QmhcEgArewR
3TwecowrE6v1rUnDe5aPW5w8cI5EBDufDuGEONxrzDXWmJl2N3XOYTfh4J5MxRxjLsFvScXwfgqn
BxPn5i0oAo3YOYn7bQqlWzXsMtsYwcE0w7BppUeJFWT9OvQetjuRFukpD2Yy7CPIId/wB4NS4gOY
5FSnorMTeKS6rqkONCnZQ2vzEVnEQ+PXcVf1jxE8JK5NCvj0zNEESXYtJ+qQJICRtqLDEucIQwdn
Ygz7MeDbZr0Mocy0tPu8+F7XfGivY49/JAzT8fJJ8xdUs+xJ4bQ9yzkbb2gu5SHtrNuObfQhOwqe
aFjE6rr3KJ11OyQHhv/vhSLN+b7l/lSlpb5tS0Pfk0zJ66rBxLdR4gH+h66RGH4oLg5t1VGQSTh6
3kapYU9C8DOoqAEhxuv0zk43IyizdZnkWyOCp7xRmNaXDT1MBY471DHxMut6kL7H6mMOmAQBATNf
V/GnJLGKLLuaemRb12AvzFNU7U1ZR1s05Ui5LdLimnQwKqnEPRPfZqc+HsIFqiJzk2BnsVDFCP1a
Srv8lArRQYI0RsOdrYJHMqTN2vkI0k2PJnZBhjxEUknvq2srR7MRU8Y3MZtj8lGGQbBqq7Z7zGob
XFNZXUyNlrH7nEr1PDN0FRFWaeiYAcCagY3kluLZ8GsnLl8PFHodQ2LSZdFiQ3McJJ7BNhQgBc3R
yk1mO2XY/pLsFbZXLPplCgpEijbbJVsCvuLA9HmcO1WsxzBHsw7/eLDsqZuyRRuMHjwnjbEOjiKG
HthlMTtN8aD8KpK8NVunMDLTFC/3Tmj07wqi0HRAYJMee/U44GQJ10anBfYcQ9ailajpecAxuahb
0VwHDdSE0EmCNFwhvAc7yJOvRbyuVCKXcyv3YY30x1jmyd6hODrO1fA4JDCGNaLvQaNOgYNr6IRw
vgZaWq1BXYsFkl2HJNd72YT8MfQDu8/K8DpM0hMNh2NFazDOxzq1t8hu2CnVdlD3di2mEKE76BKo
rIqk1xgUeBjl65MjGd07nQz7kIyAitZgJ2gdwH1bzQmB55+HnxOmYStRzp8lhJpX+MfeWl5Pz8Oc
j9ccQ511FCl65zws41kNtROXGVmHswGLp4zNm4unA8/JcbAOMmpRNdlNLTT+SxSiKMoKvU9aDU5R
Mi2pm9U+dd26yBlsi8XFy+rD82i6LXrDD1mP25LEwxVmCsmt8Z80qo6wMLhHHaKVbuH7XVhME8MG
1dvg9d5nJaL80hxmWqvRDbbVbc0DvaSElze6TJ6cZx+eIRVCOLzUIb+cKV872V+lsWmPNkj6DZgU
wYLnMtkAMzGBsDUBt5AEsAC2zl3VYdfCiyWAFc3jxzCvMYnt7WtO0w6LSjAFYlvLLU9wNs9C5iuO
nd2au+QZ+Ubpsq8H+VkW9o71CtVnlZxk3banzHkgwkXGb4ohkbtSldm2nOEh7qEyARY4QhvWw0PX
9y7f9gZ6dAiDavDBMab0WHVveNGJ1RwUKXI2wQLGMHvYcxrjDs9HAmUvvA93sCVgcavG4jMvPyww
rU08vKUYbW8GFwWLII5BvxzfvWmQ0MgD9MnzJE9IXYfqyiUAb/h8/MlmDJE9TcYVjlrll1mvwxvX
YWw5R6W8HkR9y8tuOLAJfk3dEY30KgYJe2tbOLUZfiptsufIpPEVZOabkbFzy4CDLVKLtLLgbS7p
xQvawdzbT9Uix8SzwdA3qXDIYg2quYUOmCdHVCYz+o95HA6Uj+xK2QNVcCoHA1GbPkd01Kx0DPRi
DeBrUb5gzuxxVrh2E1CKFOSWIxB1GY28X5HcRfifyz59dbXWx6rBM+8CNt9MujjVJkYIfDNDRN5j
XpQhqXoZ4469zTFzr7sC05umMp+YS+YnVkdA2ecBCcGrxyn2UtQxJjutLPI1XjT0qUjSs+zUvavG
eoliDWlnNkAGPXTgIYYfsNkfWBJgcA5JIWYLPtiUzm5UFd11XYwdLj5lFkZAecWRerR6egnAjQGy
VN/OvA02hilEN2QScgbTn8uWLQM8cNlMMJ/UuUKJmsbFpsya5mnu4bo2ecLxCov2uFOwrXZzej9U
6Da8Ga7FZXc9owtAjdXCeKyVO0YBFM8KG/QV+kpsSRtou3ETxDfMKaweU6xwgxym0L4Jg5Vl+IN0
/5iim20MPZRucjekIfMjspgQMNJ7YDwaxt7bzI6wFDOJlGg6rVKwJKNpOJm6aF6GiONFBMdDOd7D
LyuW8JxirX9hTCKkSRVvxEbrOOpO3YjBU2aeqz75lclNMlIoHBSYWqBdLmmI7NWsggsTomtbX/kc
jss+duNa1t2RNFCRN1B9FAZzZMzZ5trhWEaPzN1iTPlPkWKkqHHI1cMD4hef2+a9S4a1sHKD8S+S
cKoz79pNihG8yu1blunVpXpdBbz8KGb5JBXiqVF9ZHmwEnW9FyXf5bODvFsbtYqtr/EX2modhgn4
Ve17DblcPCn0jx2iL2acaoh/s12YPQrfuhWrh00owVC2CT+JJNmafvxhkcCJ2nEXZ/EyzRDRlvRo
umDNbHIDSNoUFOvBgQ6baDyMyaiQ9AHxcjDbbcGQVtxQv6kjfGykS7NB3I2BeqB+/NA0gqs0TBY+
nOiy8OrYzfOtRXeB3h/GU6L3GQKdtla+h45+ygjpITF5K9NabVisP5GKCDu4PXfmWdYptrnF1K9L
NyBWIHbVHjO5ayswrHYlnKgVPC0L1PLhgvacbxsWTzc5Fe25TCXim0qJWzEGD7IfsS6bzo67q7AI
AiyLKnfF2x4BpDOtgFFVI3YtrUTlCMyUYgX433hnV4At9Dj7SjI+jKJ4mGooZsou+qVHkEPJtOMM
TukI67EeN3cSYoWgR+RvkXrbJrDFOthe/4O7q1lOHNnSr6LdvTdioJGQkLS5ETbG+A+3y7jccWvj
SEAFMkLC+gHDxETMZh5i1rO6i9nNcnb1JvMk8x0JuZRCBdiZ0UW3uqOibKijzJOZJ8/vd+aoj2+g
h8TLq7NAI6labX2HIknsPvMVhyVooOM6gJtchJlqnnoVR3F/iauzHRqQxNiBXXMVwAMGEIXxYvx5
Gj8PzeV6edPALoyeVovH1tT7Om++wM2EjNjzxVxT++YMKEPNdSu4mbRC6Iw2g1+pXYs91Ay/wGm7
1prLjv/6skbXEPguzbP5uLm4NaLwZtEwz2uaizLeJ1ThL1BW60NIwEsQtfTb1/V6cffcNG48FInc
Yvt7jzrKUaxXbd42XkwTGU/BdPgcuE+/aYuXu+fJc9dqLnERJ6F3uXyNlpcT3QBWwbzVOFNr63v4
4FHxDsVFmwHaX7MhAYFFPflkLRa9wDN7r+RV92utNRx2GqBta/pv42aywP0BzLBVMPfOa8E9nNJe
exkbdteqAToiCr8uTdTqGQ0A8I9tg7oY66fR2B7D16xfv6AI4DRqrN1bY7We3SKHddJbTDW7myyQ
OTj2gcbzBH+gDn/RaxPb3w39C9dEHu/0GQDTi4mJmSbrxb2a2L0X+IzO1NnLl0Vt9nI+eUHxPlxO
bRPGBdTFxa26hm90ngB4U51CPM8BoOfD+kIl2KozXpEZMnm9f/GQguJFATB9UI4Wd2HtwP9kQxNw
tXV/VfNuG1Ztcf0MNAe78VJDSx/UfIUTxGjmKuoQzUV/vrKc18j64qO4ZqxFQcd+8rua6d6/6Hjj
/BWdUNQxWuIsYFGvwtmXWYDCl0l4tXxq3IUJwtPWCjvQ6jytEIf1kDsczFun8cIDEPf4ojmJ7z2w
U8PNvPRW/5is/c/61L0Mn9CHZry48G2rs4JiOV06U0QtkoV7gQA7utBb+u0UgYj2qhEBKWKqX+E1
n4y4hTKTxjAZT4HHZSzRicNpPUFCqxHQDl/X1o3+anSbNRSmAxEGjjGcIMNd3zeSl5vkqQnPSsPr
v74EQeuqiZF1astF83w5ngJIM0Rjjxc0FMNJACyya/YMszVEyRQakhha/CnW0Nw+RDrSJ81f//qq
2tFjmp7wrkSNh2CG/8vgQhwoEfIaCMAnKn+J3vMGXfQ+BKLNECshiN4geejTtPr0IdjCKTroS8V6
8W1Ch2EaUY4ql/KREkrhlHYR8BhQl5IRUI9qaqOOHA08DZDyAn+cf2A061qDHhNYDfRkryrwZnvQ
2xBOH/vOrrFnWE8E6KQjSURs8k21brbUZtPUgNuUPjwPqDYfyU8E81jcu7uWfveqHsKgwyavWkjk
F5s9knSACofEV4Rs04ffASn8QFPXVZXAsvGqI1p6QHEJzl5r1u1m07DBx2zlkfFU3P5qQwN37Bb9
d2yzRzaV2NLrNtK94EdDSlfV5FUDMkFF/ePRzRwglRKmbiJorqOeMH34dW/VG+CLjRyb7EgQ/uZx
bX2CzRY69wZQRZDTabe0ZtWxr5l1gqQzsPrHygJKIBViQU0z6qYGbBWrqWa7AOU1hdOPgqI6ChOQ
h9jUUyYc3S4gtBQhFugmkjfNhtmgE1Wcul5XEcqzrCbdDXiOcOqiN59u1TFz3TQByJg+pYvPruuW
biHn9PjkHxXxCK17s1EHkpCuGS2UTdHDyz9sfAul1iaAhbIn4/URXf0E2izEAaNRb2GHG5TpnD78
AdDrrZaqWQA9OlYOUBdJIQ60oNqYyO1R1Y3iB5YWREDNBs4ppXUDeepINwF1NxBigWHVWwimtTTs
hIpNgPvBaprQgHIOHJ0UbAkfAwMKsIbUfRPItfTwx8CqI2/fbuQXIMzAlOPHJAjEJYFdb5m6jZxP
LWMBLwuBo4YUMkiCnEPZuTsiFqgNUVEANUBtGchtzPWgEgtwFcInbuFGyDh0dCwwRS/EFvwcOoFG
IN80fXhlAJIA5rGt4r7MnqOTBJawKghxr0Hfsal8vnAPaHXdgBTEAdms/dEtPoJsgvdA04aV34Qe
SGDehbnXbLvegG8AeBDfxSNunCM6/Lbo3A0UaaF2y4Khly0wv/zkGbQaFgq/Ngfj6Ha+Ri1ZhNQA
1L1ZDRUGf27vg2BhF1h12Mg2ENVzb8DROcJIfRfiQNOCvWfhnofVlz48B8hNhusBsPJHN3WVUJuE
5t7SSclRgULA7/yaCqbg3MMBkF+L6ZuO6PCrqujCU/WmZhgGkunfLrbC1lc1KAb0QW4GHd/pJzAk
ofXH3rct9LshTT99+G3QNICxiyprZMYc3fJvXLOIcaE7xFs84h2BH3gBNd1AETl5FArrbkAXAPiR
mbvF7aO79FVqlyO27tTHQ1cNA31rsodjgdokFyikPgEu40XHdOypxlp07noTNTZIM8+OPS/vVc2E
5YtmJPCNHtvkNQKjFZp8S4VzB9DKsHi4FSdlD+hqgMk6Xqen6GVnQNUxACau4o/04Vmg4S7UUGeP
TjVvZ+K49r4m7PaHtqeqMGVbubXLiz7Y+zgYjYZB6sBxzR2A4IJb37DrNiLdCPl81+YLYh/Kvom2
Rq2NPnlMIg/49WKnHlcdPN5oPGFvop240opTh48D5bFAvjg+d78tKvFg3yLYqdoIdXCTpigfPoAL
POfJ0e35VDMREvfALkktu1auxfPOrRo0YJScw92fm3fHp+NSC0ohHiCNx8aFDzV2I9ZLPEAowIDz
Q29sbr7jS/OB902QBzUNir4NXbdhli49o95A3zVAHWVq1UFi74AvveV/ARzRG6XpYa4TFbrc7f1C
nka0TWCTHpR2tDMbaPLGfZV64GXEszwp+vnvw2JLvFSdLXxInQALP3LfzZLqCp/munA6rM27NvzY
Hik3sA616AMT8l9euE7IwuFklX6w2swqa8V3kqDcgSFtvAhWRLf/95Fs9fl7OyS7CN8G4dfAm1a0
+UNCBJpt4AKE7aNT8NuCPNz9uqp5vxkL29zgU7/e/3lx3TG8701dimuxYy3/AOveZj4bcYtOoc7d
q5BZwLsWvYsWlX65rSNdrKKEe0CkGQY5HTqQaVqaKNk+Q0sT5Q7nI3QUdKNUeu5L4kBhKb5Jo9wE
0Td9Bui9M1L6MYudKCeXChbyq4tSb4MATrFyMnNCd8gtKwwNa9dxxmAOOs9tFrqDgcM41uAyB+aY
BXvphzPI6P+8A4zg+59RbHtjrDS30BK20Yk/DjyOqASZALTWaAlpk++R9PDKoOv4LrcZCUjvh9vw
wF1+moSJP3JzQjTWpgSy7QkbFWkSlr3oUO+deTLw3KESfFXiiaO0kVDOSUhdgtw9c2bBMEQK+1DZ
/z4JO7CN8oIw4OUvdbsQZVY7mAXos5wTonU1dkmtA7fLm9z9SmLXf+MR9x54NoWHz+aO8uiEIyen
lc5gr960/8Y+e3YHaJHM7XiKP4mOGDVA8zgnQ4NtSRhs5yVhcQC55yndxPUdTqZQI2jhUYdApuHJ
mhKOaieeoCUZL65NCafzAce+y2YDnjL5VkQZ0WUD/hDu19H377XupHQNUNts4ZFubQQoJeJk29/+
J3aU0V8uF4EbcqcObk1x8teOv+J2L0wicao37qCsFcDglkDXiYJ4wl0uKlUEia4dxlviAkVCRKn2
YNiMWTRkYU6L5I8q4xrpsVUQx/x2oD5J4kMGjKab00mHS0kyEsiWiEoQwj1cpMOSLUZNWcUHm0D6
Mp8XZmlBlDDpYE1SEqZdPsyUxVTeIUr61oUinpNJqcoQ7CnVEiOoEkl0tNmtCSyxKGJJTi4dNVVe
iVK/h5rP+xQ0ajchSrbvrIZog+yV7OaGhNXrQ/WZKCep9pYPlNiR+kHFx+07Y+ZxdCmPRpguuSuY
cuMEPrefNULLFyYezMreQI1wyIXpJiPedYBAiTjVh4A3eTQq0hUe6rf/ChSUQn/7Z+oSugu//bc/
dOc8r6lpjOiLHhLfjfhTngK7C9Nl/rosRxGTEB/w5/HWAdclbGgY3VPXZ8o5izgdA0kz4mOGm9st
KciaIUEqdeDUiF2fu1+1lgRufNlS6LWWhM32xZ0N2GDJ7+KWBEZkMrS/db4pbUp0J5+6ofIAzYgT
ougYJ075ZLByuLUzkaeDJrLU4d1GUZJK4Z494/95Tk3kZ/wpg1FfxzAR3QhaYM57uo0l7P6TtRMO
mPvME5YgXk7CGfyQnCknQcc+Zf7YYyMnmhT5QCnYoieqt2L+jLeMKAVHlCxA1cqLJkG0oJ24z5/S
poSxwsc4CEb8msm4xvqhq9wwf8ptBhnmN6KOvPtcxr14AXexck1/9E/u8w2QmgIydPZLfwTttKTc
oAgyfxHFsz8WVwZlfunQN0mc6hWb86IhzXwVPRXXqxA4hmVxhltGfMAIr8NyAWg0761UqVuP6LCz
G72CtoQjfc3WbDrZZomEc33DeAc/umWL86LHhizYOiKGBC73KF5TTryQoZn2mDdyF7y1jMJDGbzw
2Kp8pmX49W+dOW8nIydefLh3LGRDx9tkoEQ5wVTGpe24KE1m9XFJdMemW6qKaks423fIZHLncwQ4
uEFrhA8hfLZdf8zmEBs5qdTdQS06RSk/TJhbTv3QZOgWD+zZ3eY01HUJY2ZoEMLpmpoMDeMBBi2p
hWUxBxQg8TF/Xg+cCnYQtojoEj66TuyzWU4o3RoyRN2vyDELFspljOj6XPlF6SCIF8RJRW4YWttR
9bvoRDYvvE58Fk1gQ/6i5H91q15q6jIs7P4cgXJvVSVvmioSX8Wn1XNHI89ROiyKc2K0Rsiy30kd
UuSgFJ8N1/oTdxpAmwfX3v56GZWPdgsoBoC0ysfxcTGK64qtGBYodL3/+/f/jKb0UzdcIYqDEVwg
EDlj+apx8hCJTa2mjDDUg4vkgNqNE/GRHapYalIdjOhu7DswCqb5do9+OXNZsIK95CqfkGzCOJ8X
ZY9rMkIIAJwfBWDgA5vCjHRnLJ8H7RiUXOmGjKDNNUvc0J0WaROeFypbJOiKd6zmubXhxGW1KEoq
3iHBD9SHpV1BWYIMumHzeFJSazLW7L0Efp5jCTn8wHvJE4fblFK9ST0up7tCefJxMPakugZDZAzu
+c5RpEFvhYAob7B08jdTPlCanvgxkq6ROcWdPBVyU5BuSQNPfYFCI+0kYcCHN1CRvZ2i9r7pZwZq
VUJqmlEtNODKpHVKdBVk7SYcuJ1Ei7rk7QDp+/jxK50E3nPRalrAPkPFPypjTAtubcIF4i+b973j
Dji546D8Fh0QYyaAN1CKCd82cDy2uJQge3h174zdwD9UV8CeYaWNCJAnlPdbeAPc5yru5sYuq+LQ
F/WQezKHOjLjeQcgIcM2LMJWQ8EeOmcjS7/Euw/MqsfGk9AZ5JToqgQuoUn/AboD4CwmYLxkvOgt
m1q5dZC8GZJ2xSk3wJm2UUmkE24UqmhVe2eaScbMn3dtZPLikGujsCh/hGvBG2wd2nxzfFzjPYFz
FBH8nBDtsr0qwf7sulQo8oeEkCt5eVJg/4HX2Knjjd2Etwl3nYBDyQYR5FQaYL9w0MZmHCxKTm5C
BJAweBYm3MGSkWd3mnhjlENwK0jAFaLDPXMoNsNp04Q9J0r2MnS2rDcJG64TxeW7hrACRUfbXjuk
8ueEUhksgbfn6BkHIcuR3bpuk+8X4YH7+JyFgVNl8u+8jw4lHjJ/6BSHTABkogzuugPUCkE5zUml
FqGElesmTuhHzoqju6VFv5/HXSecMZ8nK4MPKFbjuUsV+aLcbYcB8kK47YtcAnG6FwkctyHHhBSS
UHS8l3CRl85FivYkTDdmHj9aglESpXrlhKUNBkQxCWTh7UJur8O5glUZN9ANixel3SAj1nzjxpOk
rJqo2zZb8m6B1veCBQIb/AaWUUp040Kux44PLxtft6XKCGffJK8OwvpJyHtzZHjF0a1nBJ7ku4yk
JdzU+Y8fVwMRAGTlPGoJRwT+1JgfrAzn9g/MFLRJE2cEXAVLxssKwmARlRV3qGXkL3yV8E3EyYZx
UsrrBdyJOGH0AC6faCDkiNOlE13OUUoBfkQ5Ad8ppGbo+pwHW5NhdfTnqMzOp04nLkUoER7wgsGg
CzklEChE+Xs+fpT7S2fEXx4aISYLj3fpxkhcK2/jFItTlPbnaQgWc8olHDfiY/6cFbpfI848Cniz
cdujmrz7enqkWlTsOzSb5SSGttM/cqC+DYmMC8pB4/ecD+nWk2HV9JF/yF+qmozKQsTlHCoA7vFR
bBUQG3IEM5KMkALjIJuLHz16msjQ566DKFhw3LYBCtLaduS+f6d8+w86N1Wmmamj0xQwepDvaxkN
pNzvf91PdK1RwOBP6FmrjI6gr2F+8n4kjH/eSrQqHOmiC1OcDc0YmD3FX3Xg/ycknxTOaMdHEgFv
slCH6LzK0cLC8f1ZQEfh2KFoCq8aS7jwTpHEVzLxZMje05Ct+boHGbVNFNHl7nwZ+RNttOgtF6HL
SBvqDBMGT3kuEegupl50tIwieXvnoeMPJ4QgUCpHl2HLnDNv+sN7xxYffDdBAj+/h3cGpA7UfPrI
vkHmF7c1VBkuTErCHCcl684yxBlx54RJTiU1yWUgFHwOk/JggWaZv+ZHV9L+2MwjtMo1gKW4hUNw
bx/lqrvg97kGqsKeopdCcTbHcdlVRZH/fLOsyjMQneURXvBZ2oav9Nks4A6ajKLrU8QgUOKYH9jU
LpThOKCrM/CrrBQZVSKnQbJw4g314thllFC2g2EQKX+9dhwPxv7fquYgA84jTSRCYCl1NeHuq3qP
DHdsOwhytEouYGxI8MlesXDhRhXrIKMA99x9dotrK6N24hz+LGQzvyEWpj4GdxhuF3XtBP87UPvY
aGRw2K62isZ2ghceSP8UObBhBfepr7MkbTJNHaNdSj6Ht9Q/qgcs5fVIUH26CZ+jv502VjC3DmTR
hQO/6IZF6Rx6wzPEJ7z8d9yRQLqPOOMugmVBUc7ppaqcjBKAU4DJuNFESesFfSVNv1MegJzhoviA
cx2qMhzWV8EEkS1I8pM48LhydbR5yCf3cQWS3KmIDgBgzvmaU0tZJcMovEYK9wB+VZ6whLPRnoSo
gZmxKsmXdnoRPXx3zJutgIWyzXQZqKo9RohELp8/hE49OZ8+vpy3zlJpM6/CrSrD13zrloCOZHia
H5kP8D3e5DIlZGHcgsk8VRk3CjH4i4PKklIAUIbEv3PjIXMh6rOiGF4yygDfu2PzhCExdFmBcoie
GuLbD8emDP8kQaAjFBih4KG64HI76/39d1SG1nzheI7P/kU5iYZIJkDKcnpdPZCkgYBE0VA78Se8
or6zOurAC/IhmMJ+53YqGtaJr8UDyoD50coo4X5IEOosDVaCH+M3LC/0WNJxzpMY1XX5/FN7SAZk
3W9Q1So0NU2GFr5lGGoySqBQlIfshe0rCCF2GQHPNpUCOyGpFttFeAZyw9FQDRj6CJs1UNO1P2+i
6ITpbMILv49Lqao+QNQNUZzNfpdS5qhLq5q+T32/967rBOGYD3/KqB+/T6JSBUXadUtUJ3r49r+A
01o53NHcn51c5OR35lT9ttBbg1u+/F8d9PnG7iK5UVXqwBHeLOwOl9NWKUFx3Pv3RfHb75rFvrhb
YZZZke7vO68P7vdTNqHckOIGos6FohuzvZqXcvFliN8uAEXQViF05/kIMxNSQoLeJdKvOaIygBAv
o5A5vIEog7kY6ws3Vhn5R1dBOCqxQEZo8zpZMjfmRivDH3njoFiHR61G2V7+mo8ba7/C8M6ppHtL
htPuE0r1uMgm+oblL/n4UPssGbnKScjKuUYyHDb9VankRaPuoKJSYZMvRmNWOjOXnI6cRaVpEgye
31Dbr5wCmysfb6avSjB6/uEA6IOjKqNi5zZQsOn+EillAxbpSvnLPr5LupQYq/STwQg2ExoXcEdR
19CNWfwdwDYdVBrIDWBVmDLycE8GidJLIs4EgQ5M1CXw6F/vO/3O/WPn7N8U2jzk2d3a/4geNnSU
7aqahT6+aNx9zAHdrA/QH0P/QEBpzeuvEmRAO4CDQLkv1ePLANzqeIg5eotyrgo1wBOVjnD1xw4Q
mbldLsOXAvi/EZVw50PMlCYJLoJbMDhN+eAoy4ji3CH4x8OYqPtPepVq//uYu2+9sf4QZ+4kTAbc
JlPz9fv4PYMwmIt0mtRddMrCQTl+LuMN48T1+NMhA8uMRovjzJ8OCXFgatgC6wrbmCMtQ4+6ZQsG
VP8KJ5EMf2KbrSj8VOHxllFh1S7tPRmOxLNgBnRuHnxFRiFUTre62ZMMmEU0USz3ZpShL+EqGaG1
YcIjvWzDmiTvrsm4gDXHBw9loGZd4ZSU1g8eVXGZgTAF4baXm4HIaAdG9SMRNWfgNGrVkGBn3KG2
Og5IfeGqJTQZ9kAWV7l24zhz7d86SFbJGZ1aSjIC8tlbbpIh70nVZJSRIPrjuyM2ykJBwQAoONz4
ZVTyEqhjxp829iUynyqEoSYDXSJj1KOL0n80J6VYC7X3y6TCFiaojAyrPFXi0YWbu1LIw9DJ+flx
deBzX9n1Bgna8ikyVkrdujQZWngbmjJggHMWpEdCBkZfn/E6lyYjoN6nlradBMZOOXVBk9FCKNud
UJDiybd/es5sVeSKISPVMp1Aj+ENvGcFzRlkgA1nE8huAeWv5ynExt+Kk2giqLbXEPqgXVH1zwrx
kk35z9BDNtbf/x8AAP//</cx:binary>
              </cx:geoCache>
            </cx:geography>
          </cx:layoutPr>
          <cx:valueColors>
            <cx:minColor>
              <a:schemeClr val="accent1"/>
            </cx:minColor>
            <cx:maxColor>
              <a:schemeClr val="accent1"/>
            </cx:maxColor>
          </cx:valueColors>
        </cx:series>
      </cx:plotAreaRegion>
    </cx:plotArea>
  </cx:chart>
  <cx:spPr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012174-E62D-4970-B8DC-4EED5B386C05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CB0412B-91CF-4A2C-B55B-687E62E8D83A}">
      <dgm:prSet phldrT="[Text]"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Dataset Presentation</a:t>
          </a:r>
        </a:p>
      </dgm:t>
    </dgm:pt>
    <dgm:pt modelId="{1E379BE1-05C6-4AE6-9B28-D304C2657A6C}" type="parTrans" cxnId="{21AACAE8-9BF5-48EB-9CF8-4EEF5DE7FB92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2B46D3-ED3D-41BC-9867-82B13A88B174}" type="sibTrans" cxnId="{21AACAE8-9BF5-48EB-9CF8-4EEF5DE7FB92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A111E7-B74F-4F7D-AE92-329AE3D450AE}">
      <dgm:prSet phldrT="[Text]" custT="1"/>
      <dgm:spPr/>
      <dgm:t>
        <a:bodyPr/>
        <a:lstStyle/>
        <a:p>
          <a:pPr>
            <a:buFont typeface="Arial" panose="020B0604020202020204" pitchFamily="34" charset="0"/>
            <a:buNone/>
          </a:pPr>
          <a:endParaRPr lang="en-GB" sz="11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8E4173C-6012-4155-BD49-F789198CEB27}" type="parTrans" cxnId="{8E502A64-B236-4755-9872-5246D241DE1E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D34081-E713-490D-AAF3-A7AD3EF47A99}" type="sibTrans" cxnId="{8E502A64-B236-4755-9872-5246D241DE1E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C19004-DB27-43FF-A325-970A8E00D7AE}">
      <dgm:prSet phldrT="[Text]"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Data Analysis</a:t>
          </a:r>
        </a:p>
      </dgm:t>
    </dgm:pt>
    <dgm:pt modelId="{D017EC52-8F2F-41FC-BCF5-2D0C09E9942E}" type="parTrans" cxnId="{D9586777-DBBB-4186-BAC6-C921A1F86C35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663E0F-EBD3-40BF-8531-0BF9FE67DBEE}" type="sibTrans" cxnId="{D9586777-DBBB-4186-BAC6-C921A1F86C35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1F4774-142A-4425-9BD3-8C63B54E4C74}">
      <dgm:prSet phldrT="[Text]" custT="1"/>
      <dgm:spPr/>
      <dgm:t>
        <a:bodyPr/>
        <a:lstStyle/>
        <a:p>
          <a:pPr rtl="0">
            <a:buFont typeface="Arial" panose="020B0604020202020204" pitchFamily="34" charset="0"/>
            <a:buNone/>
          </a:pPr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54EFD9-26E5-45E2-8C58-FBB59CEEE1B2}" type="parTrans" cxnId="{DBA7DDF9-A5A8-4C64-9900-C760AA38D85C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09A714-3BB8-47CE-9FF5-BDC33C86685B}" type="sibTrans" cxnId="{DBA7DDF9-A5A8-4C64-9900-C760AA38D85C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6B85811-9121-4F3F-8457-CA01906A2A8A}">
      <dgm:prSet phldrT="[Text]" custT="1"/>
      <dgm:spPr/>
      <dgm:t>
        <a:bodyPr/>
        <a:lstStyle/>
        <a:p>
          <a:pPr rtl="0"/>
          <a:r>
            <a:rPr lang="en-GB" sz="1600" noProof="0">
              <a:latin typeface="Arial" panose="020B0604020202020204" pitchFamily="34" charset="0"/>
              <a:cs typeface="Arial" panose="020B0604020202020204" pitchFamily="34" charset="0"/>
            </a:rPr>
            <a:t>Discussion of Insights</a:t>
          </a:r>
        </a:p>
      </dgm:t>
    </dgm:pt>
    <dgm:pt modelId="{DEA38E1C-2C03-4BD1-A62E-B054BC3BF784}" type="parTrans" cxnId="{D00E4897-523C-4DBC-8D3D-62E0130ABCD3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F2B6C7-58BB-4C18-8255-AEEB6F1236C2}" type="sibTrans" cxnId="{D00E4897-523C-4DBC-8D3D-62E0130ABCD3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4E76C6-ADE5-4837-A89D-6059814E8AFF}">
      <dgm:prSet phldrT="[Text]" custT="1"/>
      <dgm:spPr/>
      <dgm:t>
        <a:bodyPr/>
        <a:lstStyle/>
        <a:p>
          <a:pPr rtl="0"/>
          <a:endParaRPr lang="en-GB" sz="12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4DCFDE-AE78-44F4-B4A5-B787B53491B9}" type="parTrans" cxnId="{E3AC724C-10DA-439D-8D82-24D8D6CE1294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E42DFF-F774-4246-A740-3F9F6D067FB0}" type="sibTrans" cxnId="{E3AC724C-10DA-439D-8D82-24D8D6CE1294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41F7FC-69F2-4521-8B1A-A4DFFD5EBBEC}">
      <dgm:prSet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Conclusion</a:t>
          </a:r>
        </a:p>
      </dgm:t>
    </dgm:pt>
    <dgm:pt modelId="{2046A5DB-D468-4B26-93A4-8D17278A0D39}" type="parTrans" cxnId="{0FCD6206-D5BD-43D7-AF83-881CE5F47D0B}">
      <dgm:prSet/>
      <dgm:spPr/>
      <dgm:t>
        <a:bodyPr/>
        <a:lstStyle/>
        <a:p>
          <a:endParaRPr lang="de-DE"/>
        </a:p>
      </dgm:t>
    </dgm:pt>
    <dgm:pt modelId="{6B594231-55B4-4AEE-90E7-A4E69BD8D631}" type="sibTrans" cxnId="{0FCD6206-D5BD-43D7-AF83-881CE5F47D0B}">
      <dgm:prSet/>
      <dgm:spPr/>
      <dgm:t>
        <a:bodyPr/>
        <a:lstStyle/>
        <a:p>
          <a:endParaRPr lang="de-DE"/>
        </a:p>
      </dgm:t>
    </dgm:pt>
    <dgm:pt modelId="{A508731D-C56F-406A-AA18-9F7C268E5AFD}">
      <dgm:prSet custT="1"/>
      <dgm:spPr/>
      <dgm:t>
        <a:bodyPr/>
        <a:lstStyle/>
        <a:p>
          <a:pPr rtl="0"/>
          <a:endParaRPr lang="en-GB" sz="11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81DE8D-8359-42DC-A1E3-4BC476037287}" type="parTrans" cxnId="{6E0A6AF7-E1DE-48B8-BA0B-C843EB422CA6}">
      <dgm:prSet/>
      <dgm:spPr/>
      <dgm:t>
        <a:bodyPr/>
        <a:lstStyle/>
        <a:p>
          <a:endParaRPr lang="de-DE"/>
        </a:p>
      </dgm:t>
    </dgm:pt>
    <dgm:pt modelId="{A83E7B8C-F235-43CE-B645-E6B972A63C12}" type="sibTrans" cxnId="{6E0A6AF7-E1DE-48B8-BA0B-C843EB422CA6}">
      <dgm:prSet/>
      <dgm:spPr/>
      <dgm:t>
        <a:bodyPr/>
        <a:lstStyle/>
        <a:p>
          <a:endParaRPr lang="de-DE"/>
        </a:p>
      </dgm:t>
    </dgm:pt>
    <dgm:pt modelId="{CFADC996-D59E-4B19-A9C0-48864169B083}">
      <dgm:prSet custT="1"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7B48A0-63DD-484C-AEAA-DDF8BE5B7340}" type="parTrans" cxnId="{2F753DFF-DBD5-4C8B-A262-2641248504D4}">
      <dgm:prSet/>
      <dgm:spPr/>
      <dgm:t>
        <a:bodyPr/>
        <a:lstStyle/>
        <a:p>
          <a:endParaRPr lang="de-DE"/>
        </a:p>
      </dgm:t>
    </dgm:pt>
    <dgm:pt modelId="{1F341387-1FE8-4F6B-88E5-0C74520CF5D1}" type="sibTrans" cxnId="{2F753DFF-DBD5-4C8B-A262-2641248504D4}">
      <dgm:prSet/>
      <dgm:spPr/>
      <dgm:t>
        <a:bodyPr/>
        <a:lstStyle/>
        <a:p>
          <a:endParaRPr lang="de-DE"/>
        </a:p>
      </dgm:t>
    </dgm:pt>
    <dgm:pt modelId="{B4A3CD5B-02AD-434C-9A10-53075B3F179C}">
      <dgm:prSet custT="1"/>
      <dgm:spPr/>
      <dgm:t>
        <a:bodyPr/>
        <a:lstStyle/>
        <a:p>
          <a:pPr rtl="0"/>
          <a:endParaRPr lang="en-GB" sz="12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569E941-6ABA-44F2-BE79-7B4C1F6008E1}" type="parTrans" cxnId="{BD429DA2-3FA4-4AAD-82CC-45CFA002232F}">
      <dgm:prSet/>
      <dgm:spPr/>
      <dgm:t>
        <a:bodyPr/>
        <a:lstStyle/>
        <a:p>
          <a:endParaRPr lang="de-DE"/>
        </a:p>
      </dgm:t>
    </dgm:pt>
    <dgm:pt modelId="{2D442CAE-399E-4AAE-9B63-654B5D9B7AAE}" type="sibTrans" cxnId="{BD429DA2-3FA4-4AAD-82CC-45CFA002232F}">
      <dgm:prSet/>
      <dgm:spPr/>
      <dgm:t>
        <a:bodyPr/>
        <a:lstStyle/>
        <a:p>
          <a:endParaRPr lang="de-DE"/>
        </a:p>
      </dgm:t>
    </dgm:pt>
    <dgm:pt modelId="{B69E3DC0-0EEC-40F3-BF5D-8419377E557D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F4943F-E27F-4D96-A75D-CF959722B2BA}" type="parTrans" cxnId="{7D677450-B35C-4E87-B322-9EEAC9FF27FB}">
      <dgm:prSet/>
      <dgm:spPr/>
      <dgm:t>
        <a:bodyPr/>
        <a:lstStyle/>
        <a:p>
          <a:endParaRPr lang="de-DE"/>
        </a:p>
      </dgm:t>
    </dgm:pt>
    <dgm:pt modelId="{430AA663-2FC3-4A8C-9213-F2DB58DE398D}" type="sibTrans" cxnId="{7D677450-B35C-4E87-B322-9EEAC9FF27FB}">
      <dgm:prSet/>
      <dgm:spPr/>
      <dgm:t>
        <a:bodyPr/>
        <a:lstStyle/>
        <a:p>
          <a:endParaRPr lang="de-DE"/>
        </a:p>
      </dgm:t>
    </dgm:pt>
    <dgm:pt modelId="{20CB9CC6-4227-44AA-9488-D10CA3EC226D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52087A-282D-4DED-A14D-6D76941483FD}" type="parTrans" cxnId="{8B4D170C-A6B0-411F-A9F3-4282D20BD8AC}">
      <dgm:prSet/>
      <dgm:spPr/>
      <dgm:t>
        <a:bodyPr/>
        <a:lstStyle/>
        <a:p>
          <a:endParaRPr lang="de-DE"/>
        </a:p>
      </dgm:t>
    </dgm:pt>
    <dgm:pt modelId="{16895505-5F31-4A91-8D09-9D543EE2468C}" type="sibTrans" cxnId="{8B4D170C-A6B0-411F-A9F3-4282D20BD8AC}">
      <dgm:prSet/>
      <dgm:spPr/>
      <dgm:t>
        <a:bodyPr/>
        <a:lstStyle/>
        <a:p>
          <a:endParaRPr lang="de-DE"/>
        </a:p>
      </dgm:t>
    </dgm:pt>
    <dgm:pt modelId="{7CFA0885-32FC-42B5-AF9F-BA24E381568F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206F40-B5B6-4E05-BEDD-2369361B8669}" type="parTrans" cxnId="{05F9B1C0-029F-4273-9034-647B64F62BA6}">
      <dgm:prSet/>
      <dgm:spPr/>
      <dgm:t>
        <a:bodyPr/>
        <a:lstStyle/>
        <a:p>
          <a:endParaRPr lang="de-DE"/>
        </a:p>
      </dgm:t>
    </dgm:pt>
    <dgm:pt modelId="{8C83A3DD-2D2D-4328-890E-0A422418A64F}" type="sibTrans" cxnId="{05F9B1C0-029F-4273-9034-647B64F62BA6}">
      <dgm:prSet/>
      <dgm:spPr/>
      <dgm:t>
        <a:bodyPr/>
        <a:lstStyle/>
        <a:p>
          <a:endParaRPr lang="de-DE"/>
        </a:p>
      </dgm:t>
    </dgm:pt>
    <dgm:pt modelId="{05AFC9CA-220B-4352-85EF-241D65A36874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93242B-7CC1-44FA-A3DB-B4B31F4318EB}" type="parTrans" cxnId="{CDAECA3F-653A-4979-A1B4-F57A63D32F8E}">
      <dgm:prSet/>
      <dgm:spPr/>
      <dgm:t>
        <a:bodyPr/>
        <a:lstStyle/>
        <a:p>
          <a:endParaRPr lang="de-DE"/>
        </a:p>
      </dgm:t>
    </dgm:pt>
    <dgm:pt modelId="{E30EFE13-FDF6-4090-9E95-D0D4CAD52C85}" type="sibTrans" cxnId="{CDAECA3F-653A-4979-A1B4-F57A63D32F8E}">
      <dgm:prSet/>
      <dgm:spPr/>
      <dgm:t>
        <a:bodyPr/>
        <a:lstStyle/>
        <a:p>
          <a:endParaRPr lang="de-DE"/>
        </a:p>
      </dgm:t>
    </dgm:pt>
    <dgm:pt modelId="{AFB96A25-92DD-480B-A41E-1EF414BA4F73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196187-22E2-40E1-8229-C291992D6C67}" type="parTrans" cxnId="{6D577768-8088-4487-9ED9-434787EC19DC}">
      <dgm:prSet/>
      <dgm:spPr/>
      <dgm:t>
        <a:bodyPr/>
        <a:lstStyle/>
        <a:p>
          <a:endParaRPr lang="de-DE"/>
        </a:p>
      </dgm:t>
    </dgm:pt>
    <dgm:pt modelId="{B1A4F025-C9D4-4A26-98A2-C84AE39B35EF}" type="sibTrans" cxnId="{6D577768-8088-4487-9ED9-434787EC19DC}">
      <dgm:prSet/>
      <dgm:spPr/>
      <dgm:t>
        <a:bodyPr/>
        <a:lstStyle/>
        <a:p>
          <a:endParaRPr lang="de-DE"/>
        </a:p>
      </dgm:t>
    </dgm:pt>
    <dgm:pt modelId="{2EACCFBB-5845-4C68-9286-6F982517A847}" type="pres">
      <dgm:prSet presAssocID="{7A012174-E62D-4970-B8DC-4EED5B386C05}" presName="Name0" presStyleCnt="0">
        <dgm:presLayoutVars>
          <dgm:dir/>
          <dgm:animLvl val="lvl"/>
          <dgm:resizeHandles val="exact"/>
        </dgm:presLayoutVars>
      </dgm:prSet>
      <dgm:spPr/>
    </dgm:pt>
    <dgm:pt modelId="{52969223-1BC1-4F4E-8284-B7BA56F7C78D}" type="pres">
      <dgm:prSet presAssocID="{7A012174-E62D-4970-B8DC-4EED5B386C05}" presName="tSp" presStyleCnt="0"/>
      <dgm:spPr/>
    </dgm:pt>
    <dgm:pt modelId="{C23616D3-918C-43AD-84F5-9D4B53196087}" type="pres">
      <dgm:prSet presAssocID="{7A012174-E62D-4970-B8DC-4EED5B386C05}" presName="bSp" presStyleCnt="0"/>
      <dgm:spPr/>
    </dgm:pt>
    <dgm:pt modelId="{14158E9E-DD06-499A-9D73-F35A2AD519AC}" type="pres">
      <dgm:prSet presAssocID="{7A012174-E62D-4970-B8DC-4EED5B386C05}" presName="process" presStyleCnt="0"/>
      <dgm:spPr/>
    </dgm:pt>
    <dgm:pt modelId="{3E0BE89B-49F2-46C4-9C2F-240F86164C1E}" type="pres">
      <dgm:prSet presAssocID="{0CB0412B-91CF-4A2C-B55B-687E62E8D83A}" presName="composite1" presStyleCnt="0"/>
      <dgm:spPr/>
    </dgm:pt>
    <dgm:pt modelId="{6589B50B-29EC-4E3F-A7C5-A9559D35DBD9}" type="pres">
      <dgm:prSet presAssocID="{0CB0412B-91CF-4A2C-B55B-687E62E8D83A}" presName="dummyNode1" presStyleLbl="node1" presStyleIdx="0" presStyleCnt="4"/>
      <dgm:spPr/>
    </dgm:pt>
    <dgm:pt modelId="{BC9B279D-453E-4762-9A95-F3797773BD22}" type="pres">
      <dgm:prSet presAssocID="{0CB0412B-91CF-4A2C-B55B-687E62E8D83A}" presName="childNode1" presStyleLbl="bgAcc1" presStyleIdx="0" presStyleCnt="4">
        <dgm:presLayoutVars>
          <dgm:bulletEnabled val="1"/>
        </dgm:presLayoutVars>
      </dgm:prSet>
      <dgm:spPr/>
    </dgm:pt>
    <dgm:pt modelId="{0FB117E3-EF2F-4BEE-8C0F-E797447534DD}" type="pres">
      <dgm:prSet presAssocID="{0CB0412B-91CF-4A2C-B55B-687E62E8D83A}" presName="childNode1tx" presStyleLbl="bgAcc1" presStyleIdx="0" presStyleCnt="4">
        <dgm:presLayoutVars>
          <dgm:bulletEnabled val="1"/>
        </dgm:presLayoutVars>
      </dgm:prSet>
      <dgm:spPr/>
    </dgm:pt>
    <dgm:pt modelId="{172B02FF-A044-4B31-8317-4B9A239AEA78}" type="pres">
      <dgm:prSet presAssocID="{0CB0412B-91CF-4A2C-B55B-687E62E8D83A}" presName="parentNode1" presStyleLbl="node1" presStyleIdx="0" presStyleCnt="4">
        <dgm:presLayoutVars>
          <dgm:chMax val="1"/>
          <dgm:bulletEnabled val="1"/>
        </dgm:presLayoutVars>
      </dgm:prSet>
      <dgm:spPr/>
    </dgm:pt>
    <dgm:pt modelId="{C237EAEC-5598-4DCF-8A78-3151616F8C83}" type="pres">
      <dgm:prSet presAssocID="{0CB0412B-91CF-4A2C-B55B-687E62E8D83A}" presName="connSite1" presStyleCnt="0"/>
      <dgm:spPr/>
    </dgm:pt>
    <dgm:pt modelId="{7CB748FA-510C-4381-80CB-16F28FB7108F}" type="pres">
      <dgm:prSet presAssocID="{0B2B46D3-ED3D-41BC-9867-82B13A88B174}" presName="Name9" presStyleLbl="sibTrans2D1" presStyleIdx="0" presStyleCnt="3"/>
      <dgm:spPr/>
    </dgm:pt>
    <dgm:pt modelId="{9A928273-3C53-4F43-8126-F66EE006F0AE}" type="pres">
      <dgm:prSet presAssocID="{12C19004-DB27-43FF-A325-970A8E00D7AE}" presName="composite2" presStyleCnt="0"/>
      <dgm:spPr/>
    </dgm:pt>
    <dgm:pt modelId="{E20A2D1B-B70C-4173-A582-E54175076F40}" type="pres">
      <dgm:prSet presAssocID="{12C19004-DB27-43FF-A325-970A8E00D7AE}" presName="dummyNode2" presStyleLbl="node1" presStyleIdx="0" presStyleCnt="4"/>
      <dgm:spPr/>
    </dgm:pt>
    <dgm:pt modelId="{736C9CB8-0C82-4239-B101-9E83386887C6}" type="pres">
      <dgm:prSet presAssocID="{12C19004-DB27-43FF-A325-970A8E00D7AE}" presName="childNode2" presStyleLbl="bgAcc1" presStyleIdx="1" presStyleCnt="4" custLinFactNeighborY="0">
        <dgm:presLayoutVars>
          <dgm:bulletEnabled val="1"/>
        </dgm:presLayoutVars>
      </dgm:prSet>
      <dgm:spPr/>
    </dgm:pt>
    <dgm:pt modelId="{3FAE8E62-820B-475B-9520-04BBA9C007A0}" type="pres">
      <dgm:prSet presAssocID="{12C19004-DB27-43FF-A325-970A8E00D7AE}" presName="childNode2tx" presStyleLbl="bgAcc1" presStyleIdx="1" presStyleCnt="4">
        <dgm:presLayoutVars>
          <dgm:bulletEnabled val="1"/>
        </dgm:presLayoutVars>
      </dgm:prSet>
      <dgm:spPr/>
    </dgm:pt>
    <dgm:pt modelId="{6B90A27D-3FFB-4E2C-84DC-45527B2F9344}" type="pres">
      <dgm:prSet presAssocID="{12C19004-DB27-43FF-A325-970A8E00D7AE}" presName="parentNode2" presStyleLbl="node1" presStyleIdx="1" presStyleCnt="4">
        <dgm:presLayoutVars>
          <dgm:chMax val="0"/>
          <dgm:bulletEnabled val="1"/>
        </dgm:presLayoutVars>
      </dgm:prSet>
      <dgm:spPr/>
    </dgm:pt>
    <dgm:pt modelId="{782E590F-147A-40CE-B335-FEADB7BE53DD}" type="pres">
      <dgm:prSet presAssocID="{12C19004-DB27-43FF-A325-970A8E00D7AE}" presName="connSite2" presStyleCnt="0"/>
      <dgm:spPr/>
    </dgm:pt>
    <dgm:pt modelId="{614D5990-BEA2-4322-9312-FB125AFC33A6}" type="pres">
      <dgm:prSet presAssocID="{DD663E0F-EBD3-40BF-8531-0BF9FE67DBEE}" presName="Name18" presStyleLbl="sibTrans2D1" presStyleIdx="1" presStyleCnt="3"/>
      <dgm:spPr/>
    </dgm:pt>
    <dgm:pt modelId="{0BC83104-3AB2-49F7-9031-09A0F6049DDC}" type="pres">
      <dgm:prSet presAssocID="{16B85811-9121-4F3F-8457-CA01906A2A8A}" presName="composite1" presStyleCnt="0"/>
      <dgm:spPr/>
    </dgm:pt>
    <dgm:pt modelId="{F864BBCA-25CE-4A7C-9C48-329E379DEF83}" type="pres">
      <dgm:prSet presAssocID="{16B85811-9121-4F3F-8457-CA01906A2A8A}" presName="dummyNode1" presStyleLbl="node1" presStyleIdx="1" presStyleCnt="4"/>
      <dgm:spPr/>
    </dgm:pt>
    <dgm:pt modelId="{6A648734-0730-4D81-AB94-EB81E6889FD1}" type="pres">
      <dgm:prSet presAssocID="{16B85811-9121-4F3F-8457-CA01906A2A8A}" presName="childNode1" presStyleLbl="bgAcc1" presStyleIdx="2" presStyleCnt="4">
        <dgm:presLayoutVars>
          <dgm:bulletEnabled val="1"/>
        </dgm:presLayoutVars>
      </dgm:prSet>
      <dgm:spPr/>
    </dgm:pt>
    <dgm:pt modelId="{26C6D9D6-855D-4074-B291-9D155C87DB79}" type="pres">
      <dgm:prSet presAssocID="{16B85811-9121-4F3F-8457-CA01906A2A8A}" presName="childNode1tx" presStyleLbl="bgAcc1" presStyleIdx="2" presStyleCnt="4">
        <dgm:presLayoutVars>
          <dgm:bulletEnabled val="1"/>
        </dgm:presLayoutVars>
      </dgm:prSet>
      <dgm:spPr/>
    </dgm:pt>
    <dgm:pt modelId="{20411EA8-2345-4051-9E73-041796F7F9FD}" type="pres">
      <dgm:prSet presAssocID="{16B85811-9121-4F3F-8457-CA01906A2A8A}" presName="parentNode1" presStyleLbl="node1" presStyleIdx="2" presStyleCnt="4">
        <dgm:presLayoutVars>
          <dgm:chMax val="1"/>
          <dgm:bulletEnabled val="1"/>
        </dgm:presLayoutVars>
      </dgm:prSet>
      <dgm:spPr/>
    </dgm:pt>
    <dgm:pt modelId="{8347EC77-7682-412E-B2A9-B5C66F46C7D2}" type="pres">
      <dgm:prSet presAssocID="{16B85811-9121-4F3F-8457-CA01906A2A8A}" presName="connSite1" presStyleCnt="0"/>
      <dgm:spPr/>
    </dgm:pt>
    <dgm:pt modelId="{9F4DEEC6-A45C-40EC-A2A0-7AA1BA760242}" type="pres">
      <dgm:prSet presAssocID="{34F2B6C7-58BB-4C18-8255-AEEB6F1236C2}" presName="Name9" presStyleLbl="sibTrans2D1" presStyleIdx="2" presStyleCnt="3"/>
      <dgm:spPr/>
    </dgm:pt>
    <dgm:pt modelId="{FAEFFF6C-9686-4CFD-B892-C55AECD217A6}" type="pres">
      <dgm:prSet presAssocID="{2041F7FC-69F2-4521-8B1A-A4DFFD5EBBEC}" presName="composite2" presStyleCnt="0"/>
      <dgm:spPr/>
    </dgm:pt>
    <dgm:pt modelId="{E53D48EA-1546-408A-A303-DF883159A6F9}" type="pres">
      <dgm:prSet presAssocID="{2041F7FC-69F2-4521-8B1A-A4DFFD5EBBEC}" presName="dummyNode2" presStyleLbl="node1" presStyleIdx="2" presStyleCnt="4"/>
      <dgm:spPr/>
    </dgm:pt>
    <dgm:pt modelId="{8FA3F26A-63AF-4BC8-A1AD-27A464536C8E}" type="pres">
      <dgm:prSet presAssocID="{2041F7FC-69F2-4521-8B1A-A4DFFD5EBBEC}" presName="childNode2" presStyleLbl="bgAcc1" presStyleIdx="3" presStyleCnt="4">
        <dgm:presLayoutVars>
          <dgm:bulletEnabled val="1"/>
        </dgm:presLayoutVars>
      </dgm:prSet>
      <dgm:spPr/>
    </dgm:pt>
    <dgm:pt modelId="{16536462-27CF-45B2-BD0B-2028E7B55960}" type="pres">
      <dgm:prSet presAssocID="{2041F7FC-69F2-4521-8B1A-A4DFFD5EBBEC}" presName="childNode2tx" presStyleLbl="bgAcc1" presStyleIdx="3" presStyleCnt="4">
        <dgm:presLayoutVars>
          <dgm:bulletEnabled val="1"/>
        </dgm:presLayoutVars>
      </dgm:prSet>
      <dgm:spPr/>
    </dgm:pt>
    <dgm:pt modelId="{BF5259C9-8E3E-4E21-94CD-46C66331831E}" type="pres">
      <dgm:prSet presAssocID="{2041F7FC-69F2-4521-8B1A-A4DFFD5EBBEC}" presName="parentNode2" presStyleLbl="node1" presStyleIdx="3" presStyleCnt="4">
        <dgm:presLayoutVars>
          <dgm:chMax val="0"/>
          <dgm:bulletEnabled val="1"/>
        </dgm:presLayoutVars>
      </dgm:prSet>
      <dgm:spPr/>
    </dgm:pt>
    <dgm:pt modelId="{2094CB16-91A3-4045-A62B-056ACBC7EBD3}" type="pres">
      <dgm:prSet presAssocID="{2041F7FC-69F2-4521-8B1A-A4DFFD5EBBEC}" presName="connSite2" presStyleCnt="0"/>
      <dgm:spPr/>
    </dgm:pt>
  </dgm:ptLst>
  <dgm:cxnLst>
    <dgm:cxn modelId="{29B6C801-CD0B-4D68-88F7-BCE12461C6BC}" type="presOf" srcId="{DD663E0F-EBD3-40BF-8531-0BF9FE67DBEE}" destId="{614D5990-BEA2-4322-9312-FB125AFC33A6}" srcOrd="0" destOrd="0" presId="urn:microsoft.com/office/officeart/2005/8/layout/hProcess4"/>
    <dgm:cxn modelId="{0FCD6206-D5BD-43D7-AF83-881CE5F47D0B}" srcId="{7A012174-E62D-4970-B8DC-4EED5B386C05}" destId="{2041F7FC-69F2-4521-8B1A-A4DFFD5EBBEC}" srcOrd="3" destOrd="0" parTransId="{2046A5DB-D468-4B26-93A4-8D17278A0D39}" sibTransId="{6B594231-55B4-4AEE-90E7-A4E69BD8D631}"/>
    <dgm:cxn modelId="{8B4D170C-A6B0-411F-A9F3-4282D20BD8AC}" srcId="{2041F7FC-69F2-4521-8B1A-A4DFFD5EBBEC}" destId="{20CB9CC6-4227-44AA-9488-D10CA3EC226D}" srcOrd="4" destOrd="0" parTransId="{5152087A-282D-4DED-A14D-6D76941483FD}" sibTransId="{16895505-5F31-4A91-8D09-9D543EE2468C}"/>
    <dgm:cxn modelId="{0DE6D80C-228E-4EBE-8FB1-FD1CC9EB569A}" type="presOf" srcId="{CFADC996-D59E-4B19-A9C0-48864169B083}" destId="{736C9CB8-0C82-4239-B101-9E83386887C6}" srcOrd="0" destOrd="1" presId="urn:microsoft.com/office/officeart/2005/8/layout/hProcess4"/>
    <dgm:cxn modelId="{9984EF17-2950-48AC-898F-491CAAF273EF}" type="presOf" srcId="{A74E76C6-ADE5-4837-A89D-6059814E8AFF}" destId="{26C6D9D6-855D-4074-B291-9D155C87DB79}" srcOrd="1" destOrd="0" presId="urn:microsoft.com/office/officeart/2005/8/layout/hProcess4"/>
    <dgm:cxn modelId="{1D1B2D18-2574-4013-98C2-0A4B1798858B}" type="presOf" srcId="{2041F7FC-69F2-4521-8B1A-A4DFFD5EBBEC}" destId="{BF5259C9-8E3E-4E21-94CD-46C66331831E}" srcOrd="0" destOrd="0" presId="urn:microsoft.com/office/officeart/2005/8/layout/hProcess4"/>
    <dgm:cxn modelId="{465E7D1D-5B6A-4C37-88DB-5E767E89E428}" type="presOf" srcId="{CFADC996-D59E-4B19-A9C0-48864169B083}" destId="{3FAE8E62-820B-475B-9520-04BBA9C007A0}" srcOrd="1" destOrd="1" presId="urn:microsoft.com/office/officeart/2005/8/layout/hProcess4"/>
    <dgm:cxn modelId="{4ABED224-0A9A-4421-A2A9-5EE034E8B015}" type="presOf" srcId="{B69E3DC0-0EEC-40F3-BF5D-8419377E557D}" destId="{16536462-27CF-45B2-BD0B-2028E7B55960}" srcOrd="1" destOrd="0" presId="urn:microsoft.com/office/officeart/2005/8/layout/hProcess4"/>
    <dgm:cxn modelId="{01102228-E79A-4CBF-A57A-4FB25FFE5159}" type="presOf" srcId="{05AFC9CA-220B-4352-85EF-241D65A36874}" destId="{16536462-27CF-45B2-BD0B-2028E7B55960}" srcOrd="1" destOrd="2" presId="urn:microsoft.com/office/officeart/2005/8/layout/hProcess4"/>
    <dgm:cxn modelId="{13CE292E-73BF-4E50-939F-9E755BA75A84}" type="presOf" srcId="{20CB9CC6-4227-44AA-9488-D10CA3EC226D}" destId="{8FA3F26A-63AF-4BC8-A1AD-27A464536C8E}" srcOrd="0" destOrd="4" presId="urn:microsoft.com/office/officeart/2005/8/layout/hProcess4"/>
    <dgm:cxn modelId="{CDAECA3F-653A-4979-A1B4-F57A63D32F8E}" srcId="{2041F7FC-69F2-4521-8B1A-A4DFFD5EBBEC}" destId="{05AFC9CA-220B-4352-85EF-241D65A36874}" srcOrd="2" destOrd="0" parTransId="{BE93242B-7CC1-44FA-A3DB-B4B31F4318EB}" sibTransId="{E30EFE13-FDF6-4090-9E95-D0D4CAD52C85}"/>
    <dgm:cxn modelId="{8E502A64-B236-4755-9872-5246D241DE1E}" srcId="{0CB0412B-91CF-4A2C-B55B-687E62E8D83A}" destId="{8FA111E7-B74F-4F7D-AE92-329AE3D450AE}" srcOrd="0" destOrd="0" parTransId="{48E4173C-6012-4155-BD49-F789198CEB27}" sibTransId="{2BD34081-E713-490D-AAF3-A7AD3EF47A99}"/>
    <dgm:cxn modelId="{3C214567-63CB-4024-BFC5-43734425CD23}" type="presOf" srcId="{CD1F4774-142A-4425-9BD3-8C63B54E4C74}" destId="{3FAE8E62-820B-475B-9520-04BBA9C007A0}" srcOrd="1" destOrd="0" presId="urn:microsoft.com/office/officeart/2005/8/layout/hProcess4"/>
    <dgm:cxn modelId="{6D577768-8088-4487-9ED9-434787EC19DC}" srcId="{2041F7FC-69F2-4521-8B1A-A4DFFD5EBBEC}" destId="{AFB96A25-92DD-480B-A41E-1EF414BA4F73}" srcOrd="1" destOrd="0" parTransId="{59196187-22E2-40E1-8229-C291992D6C67}" sibTransId="{B1A4F025-C9D4-4A26-98A2-C84AE39B35EF}"/>
    <dgm:cxn modelId="{E3AC724C-10DA-439D-8D82-24D8D6CE1294}" srcId="{16B85811-9121-4F3F-8457-CA01906A2A8A}" destId="{A74E76C6-ADE5-4837-A89D-6059814E8AFF}" srcOrd="0" destOrd="0" parTransId="{B84DCFDE-AE78-44F4-B4A5-B787B53491B9}" sibTransId="{2CE42DFF-F774-4246-A740-3F9F6D067FB0}"/>
    <dgm:cxn modelId="{BF30A36D-A7C6-4436-BA23-1790B2A62D1E}" type="presOf" srcId="{B69E3DC0-0EEC-40F3-BF5D-8419377E557D}" destId="{8FA3F26A-63AF-4BC8-A1AD-27A464536C8E}" srcOrd="0" destOrd="0" presId="urn:microsoft.com/office/officeart/2005/8/layout/hProcess4"/>
    <dgm:cxn modelId="{FB7DAC6F-560C-4CDF-8BEF-715FFC058760}" type="presOf" srcId="{B4A3CD5B-02AD-434C-9A10-53075B3F179C}" destId="{6A648734-0730-4D81-AB94-EB81E6889FD1}" srcOrd="0" destOrd="1" presId="urn:microsoft.com/office/officeart/2005/8/layout/hProcess4"/>
    <dgm:cxn modelId="{7D677450-B35C-4E87-B322-9EEAC9FF27FB}" srcId="{2041F7FC-69F2-4521-8B1A-A4DFFD5EBBEC}" destId="{B69E3DC0-0EEC-40F3-BF5D-8419377E557D}" srcOrd="0" destOrd="0" parTransId="{79F4943F-E27F-4D96-A75D-CF959722B2BA}" sibTransId="{430AA663-2FC3-4A8C-9213-F2DB58DE398D}"/>
    <dgm:cxn modelId="{DAB3B553-9FA1-462B-8E7A-0BFA9666D237}" type="presOf" srcId="{A508731D-C56F-406A-AA18-9F7C268E5AFD}" destId="{0FB117E3-EF2F-4BEE-8C0F-E797447534DD}" srcOrd="1" destOrd="1" presId="urn:microsoft.com/office/officeart/2005/8/layout/hProcess4"/>
    <dgm:cxn modelId="{60DFFE56-CEE4-4842-9149-E2A3563CA443}" type="presOf" srcId="{20CB9CC6-4227-44AA-9488-D10CA3EC226D}" destId="{16536462-27CF-45B2-BD0B-2028E7B55960}" srcOrd="1" destOrd="4" presId="urn:microsoft.com/office/officeart/2005/8/layout/hProcess4"/>
    <dgm:cxn modelId="{D9586777-DBBB-4186-BAC6-C921A1F86C35}" srcId="{7A012174-E62D-4970-B8DC-4EED5B386C05}" destId="{12C19004-DB27-43FF-A325-970A8E00D7AE}" srcOrd="1" destOrd="0" parTransId="{D017EC52-8F2F-41FC-BCF5-2D0C09E9942E}" sibTransId="{DD663E0F-EBD3-40BF-8531-0BF9FE67DBEE}"/>
    <dgm:cxn modelId="{81C9BF5A-16B8-42A3-AA8F-62D9A1A05729}" type="presOf" srcId="{7CFA0885-32FC-42B5-AF9F-BA24E381568F}" destId="{8FA3F26A-63AF-4BC8-A1AD-27A464536C8E}" srcOrd="0" destOrd="3" presId="urn:microsoft.com/office/officeart/2005/8/layout/hProcess4"/>
    <dgm:cxn modelId="{683AEE5A-F247-4CFB-B86B-1E238FCC9AD5}" type="presOf" srcId="{34F2B6C7-58BB-4C18-8255-AEEB6F1236C2}" destId="{9F4DEEC6-A45C-40EC-A2A0-7AA1BA760242}" srcOrd="0" destOrd="0" presId="urn:microsoft.com/office/officeart/2005/8/layout/hProcess4"/>
    <dgm:cxn modelId="{8F7D037C-F60B-4419-B31E-0C55CEF1DA5F}" type="presOf" srcId="{B4A3CD5B-02AD-434C-9A10-53075B3F179C}" destId="{26C6D9D6-855D-4074-B291-9D155C87DB79}" srcOrd="1" destOrd="1" presId="urn:microsoft.com/office/officeart/2005/8/layout/hProcess4"/>
    <dgm:cxn modelId="{A94E6881-436A-4C11-B9F2-DCA463D9C982}" type="presOf" srcId="{12C19004-DB27-43FF-A325-970A8E00D7AE}" destId="{6B90A27D-3FFB-4E2C-84DC-45527B2F9344}" srcOrd="0" destOrd="0" presId="urn:microsoft.com/office/officeart/2005/8/layout/hProcess4"/>
    <dgm:cxn modelId="{EA354E82-38C4-41A4-AB6C-E23080EB129E}" type="presOf" srcId="{16B85811-9121-4F3F-8457-CA01906A2A8A}" destId="{20411EA8-2345-4051-9E73-041796F7F9FD}" srcOrd="0" destOrd="0" presId="urn:microsoft.com/office/officeart/2005/8/layout/hProcess4"/>
    <dgm:cxn modelId="{21DC2695-11B9-4592-A65E-1532680B0E37}" type="presOf" srcId="{0B2B46D3-ED3D-41BC-9867-82B13A88B174}" destId="{7CB748FA-510C-4381-80CB-16F28FB7108F}" srcOrd="0" destOrd="0" presId="urn:microsoft.com/office/officeart/2005/8/layout/hProcess4"/>
    <dgm:cxn modelId="{D00E4897-523C-4DBC-8D3D-62E0130ABCD3}" srcId="{7A012174-E62D-4970-B8DC-4EED5B386C05}" destId="{16B85811-9121-4F3F-8457-CA01906A2A8A}" srcOrd="2" destOrd="0" parTransId="{DEA38E1C-2C03-4BD1-A62E-B054BC3BF784}" sibTransId="{34F2B6C7-58BB-4C18-8255-AEEB6F1236C2}"/>
    <dgm:cxn modelId="{340DF098-9702-4E26-AD42-B6EAB4BE0932}" type="presOf" srcId="{8FA111E7-B74F-4F7D-AE92-329AE3D450AE}" destId="{BC9B279D-453E-4762-9A95-F3797773BD22}" srcOrd="0" destOrd="0" presId="urn:microsoft.com/office/officeart/2005/8/layout/hProcess4"/>
    <dgm:cxn modelId="{BD429DA2-3FA4-4AAD-82CC-45CFA002232F}" srcId="{16B85811-9121-4F3F-8457-CA01906A2A8A}" destId="{B4A3CD5B-02AD-434C-9A10-53075B3F179C}" srcOrd="1" destOrd="0" parTransId="{0569E941-6ABA-44F2-BE79-7B4C1F6008E1}" sibTransId="{2D442CAE-399E-4AAE-9B63-654B5D9B7AAE}"/>
    <dgm:cxn modelId="{B1A095B0-BA56-4671-A532-7221316AEE40}" type="presOf" srcId="{AFB96A25-92DD-480B-A41E-1EF414BA4F73}" destId="{16536462-27CF-45B2-BD0B-2028E7B55960}" srcOrd="1" destOrd="1" presId="urn:microsoft.com/office/officeart/2005/8/layout/hProcess4"/>
    <dgm:cxn modelId="{16F991B2-C6D0-4F9E-BDDD-36BB69FAB78F}" type="presOf" srcId="{8FA111E7-B74F-4F7D-AE92-329AE3D450AE}" destId="{0FB117E3-EF2F-4BEE-8C0F-E797447534DD}" srcOrd="1" destOrd="0" presId="urn:microsoft.com/office/officeart/2005/8/layout/hProcess4"/>
    <dgm:cxn modelId="{05F9B1C0-029F-4273-9034-647B64F62BA6}" srcId="{2041F7FC-69F2-4521-8B1A-A4DFFD5EBBEC}" destId="{7CFA0885-32FC-42B5-AF9F-BA24E381568F}" srcOrd="3" destOrd="0" parTransId="{1C206F40-B5B6-4E05-BEDD-2369361B8669}" sibTransId="{8C83A3DD-2D2D-4328-890E-0A422418A64F}"/>
    <dgm:cxn modelId="{A7F96FCE-7629-4457-8C8A-14C8A44DB8B4}" type="presOf" srcId="{0CB0412B-91CF-4A2C-B55B-687E62E8D83A}" destId="{172B02FF-A044-4B31-8317-4B9A239AEA78}" srcOrd="0" destOrd="0" presId="urn:microsoft.com/office/officeart/2005/8/layout/hProcess4"/>
    <dgm:cxn modelId="{8CE6D0E3-4724-4C58-8F3D-8D1513DFE9FA}" type="presOf" srcId="{CD1F4774-142A-4425-9BD3-8C63B54E4C74}" destId="{736C9CB8-0C82-4239-B101-9E83386887C6}" srcOrd="0" destOrd="0" presId="urn:microsoft.com/office/officeart/2005/8/layout/hProcess4"/>
    <dgm:cxn modelId="{923203E7-0C48-4513-9D48-03367ECC08AE}" type="presOf" srcId="{7CFA0885-32FC-42B5-AF9F-BA24E381568F}" destId="{16536462-27CF-45B2-BD0B-2028E7B55960}" srcOrd="1" destOrd="3" presId="urn:microsoft.com/office/officeart/2005/8/layout/hProcess4"/>
    <dgm:cxn modelId="{21AACAE8-9BF5-48EB-9CF8-4EEF5DE7FB92}" srcId="{7A012174-E62D-4970-B8DC-4EED5B386C05}" destId="{0CB0412B-91CF-4A2C-B55B-687E62E8D83A}" srcOrd="0" destOrd="0" parTransId="{1E379BE1-05C6-4AE6-9B28-D304C2657A6C}" sibTransId="{0B2B46D3-ED3D-41BC-9867-82B13A88B174}"/>
    <dgm:cxn modelId="{B3FA5EE9-5998-41A6-954F-FD1A09BC01D1}" type="presOf" srcId="{A74E76C6-ADE5-4837-A89D-6059814E8AFF}" destId="{6A648734-0730-4D81-AB94-EB81E6889FD1}" srcOrd="0" destOrd="0" presId="urn:microsoft.com/office/officeart/2005/8/layout/hProcess4"/>
    <dgm:cxn modelId="{3B24D8EE-519B-40D2-8485-74D22938BD65}" type="presOf" srcId="{AFB96A25-92DD-480B-A41E-1EF414BA4F73}" destId="{8FA3F26A-63AF-4BC8-A1AD-27A464536C8E}" srcOrd="0" destOrd="1" presId="urn:microsoft.com/office/officeart/2005/8/layout/hProcess4"/>
    <dgm:cxn modelId="{6DC7BEF5-D9BB-41C3-B9AD-99CD5A4C1ED8}" type="presOf" srcId="{05AFC9CA-220B-4352-85EF-241D65A36874}" destId="{8FA3F26A-63AF-4BC8-A1AD-27A464536C8E}" srcOrd="0" destOrd="2" presId="urn:microsoft.com/office/officeart/2005/8/layout/hProcess4"/>
    <dgm:cxn modelId="{CB2A3EF6-82A0-4748-941C-247E2314F75C}" type="presOf" srcId="{7A012174-E62D-4970-B8DC-4EED5B386C05}" destId="{2EACCFBB-5845-4C68-9286-6F982517A847}" srcOrd="0" destOrd="0" presId="urn:microsoft.com/office/officeart/2005/8/layout/hProcess4"/>
    <dgm:cxn modelId="{6E0A6AF7-E1DE-48B8-BA0B-C843EB422CA6}" srcId="{0CB0412B-91CF-4A2C-B55B-687E62E8D83A}" destId="{A508731D-C56F-406A-AA18-9F7C268E5AFD}" srcOrd="1" destOrd="0" parTransId="{1881DE8D-8359-42DC-A1E3-4BC476037287}" sibTransId="{A83E7B8C-F235-43CE-B645-E6B972A63C12}"/>
    <dgm:cxn modelId="{DBA7DDF9-A5A8-4C64-9900-C760AA38D85C}" srcId="{12C19004-DB27-43FF-A325-970A8E00D7AE}" destId="{CD1F4774-142A-4425-9BD3-8C63B54E4C74}" srcOrd="0" destOrd="0" parTransId="{E454EFD9-26E5-45E2-8C58-FBB59CEEE1B2}" sibTransId="{7409A714-3BB8-47CE-9FF5-BDC33C86685B}"/>
    <dgm:cxn modelId="{5300BBFA-7E89-4CC5-A5FF-F8861E365DD9}" type="presOf" srcId="{A508731D-C56F-406A-AA18-9F7C268E5AFD}" destId="{BC9B279D-453E-4762-9A95-F3797773BD22}" srcOrd="0" destOrd="1" presId="urn:microsoft.com/office/officeart/2005/8/layout/hProcess4"/>
    <dgm:cxn modelId="{2F753DFF-DBD5-4C8B-A262-2641248504D4}" srcId="{12C19004-DB27-43FF-A325-970A8E00D7AE}" destId="{CFADC996-D59E-4B19-A9C0-48864169B083}" srcOrd="1" destOrd="0" parTransId="{337B48A0-63DD-484C-AEAA-DDF8BE5B7340}" sibTransId="{1F341387-1FE8-4F6B-88E5-0C74520CF5D1}"/>
    <dgm:cxn modelId="{50889C3D-CA04-47C9-8EAF-16D0F358656B}" type="presParOf" srcId="{2EACCFBB-5845-4C68-9286-6F982517A847}" destId="{52969223-1BC1-4F4E-8284-B7BA56F7C78D}" srcOrd="0" destOrd="0" presId="urn:microsoft.com/office/officeart/2005/8/layout/hProcess4"/>
    <dgm:cxn modelId="{85571F2C-5555-4C47-9659-478AC14B1C2F}" type="presParOf" srcId="{2EACCFBB-5845-4C68-9286-6F982517A847}" destId="{C23616D3-918C-43AD-84F5-9D4B53196087}" srcOrd="1" destOrd="0" presId="urn:microsoft.com/office/officeart/2005/8/layout/hProcess4"/>
    <dgm:cxn modelId="{B6AE53AC-5A79-4EE6-97D8-7ED52AD91E7F}" type="presParOf" srcId="{2EACCFBB-5845-4C68-9286-6F982517A847}" destId="{14158E9E-DD06-499A-9D73-F35A2AD519AC}" srcOrd="2" destOrd="0" presId="urn:microsoft.com/office/officeart/2005/8/layout/hProcess4"/>
    <dgm:cxn modelId="{BFEB3821-3157-4BA1-B789-FA5F6841DDF7}" type="presParOf" srcId="{14158E9E-DD06-499A-9D73-F35A2AD519AC}" destId="{3E0BE89B-49F2-46C4-9C2F-240F86164C1E}" srcOrd="0" destOrd="0" presId="urn:microsoft.com/office/officeart/2005/8/layout/hProcess4"/>
    <dgm:cxn modelId="{FA61030F-61FD-4DEE-94D1-0A78D98C2CCC}" type="presParOf" srcId="{3E0BE89B-49F2-46C4-9C2F-240F86164C1E}" destId="{6589B50B-29EC-4E3F-A7C5-A9559D35DBD9}" srcOrd="0" destOrd="0" presId="urn:microsoft.com/office/officeart/2005/8/layout/hProcess4"/>
    <dgm:cxn modelId="{9A038640-D540-4129-9314-DF1C1B6ED218}" type="presParOf" srcId="{3E0BE89B-49F2-46C4-9C2F-240F86164C1E}" destId="{BC9B279D-453E-4762-9A95-F3797773BD22}" srcOrd="1" destOrd="0" presId="urn:microsoft.com/office/officeart/2005/8/layout/hProcess4"/>
    <dgm:cxn modelId="{98905E99-3505-4A3C-9276-8518D0967E79}" type="presParOf" srcId="{3E0BE89B-49F2-46C4-9C2F-240F86164C1E}" destId="{0FB117E3-EF2F-4BEE-8C0F-E797447534DD}" srcOrd="2" destOrd="0" presId="urn:microsoft.com/office/officeart/2005/8/layout/hProcess4"/>
    <dgm:cxn modelId="{7DB8B589-AB10-4365-8D79-527F93A89D63}" type="presParOf" srcId="{3E0BE89B-49F2-46C4-9C2F-240F86164C1E}" destId="{172B02FF-A044-4B31-8317-4B9A239AEA78}" srcOrd="3" destOrd="0" presId="urn:microsoft.com/office/officeart/2005/8/layout/hProcess4"/>
    <dgm:cxn modelId="{F6E45615-C746-4E6A-93DA-92FEACC4C157}" type="presParOf" srcId="{3E0BE89B-49F2-46C4-9C2F-240F86164C1E}" destId="{C237EAEC-5598-4DCF-8A78-3151616F8C83}" srcOrd="4" destOrd="0" presId="urn:microsoft.com/office/officeart/2005/8/layout/hProcess4"/>
    <dgm:cxn modelId="{B62B43C1-D0A3-498D-A583-F5514063A2C4}" type="presParOf" srcId="{14158E9E-DD06-499A-9D73-F35A2AD519AC}" destId="{7CB748FA-510C-4381-80CB-16F28FB7108F}" srcOrd="1" destOrd="0" presId="urn:microsoft.com/office/officeart/2005/8/layout/hProcess4"/>
    <dgm:cxn modelId="{56713EC6-ED77-4302-8914-5D86C6897B10}" type="presParOf" srcId="{14158E9E-DD06-499A-9D73-F35A2AD519AC}" destId="{9A928273-3C53-4F43-8126-F66EE006F0AE}" srcOrd="2" destOrd="0" presId="urn:microsoft.com/office/officeart/2005/8/layout/hProcess4"/>
    <dgm:cxn modelId="{FD5D7539-6F44-4379-8C37-23B24CE24017}" type="presParOf" srcId="{9A928273-3C53-4F43-8126-F66EE006F0AE}" destId="{E20A2D1B-B70C-4173-A582-E54175076F40}" srcOrd="0" destOrd="0" presId="urn:microsoft.com/office/officeart/2005/8/layout/hProcess4"/>
    <dgm:cxn modelId="{46C56001-7792-4D95-88AA-881B0A6B0AEF}" type="presParOf" srcId="{9A928273-3C53-4F43-8126-F66EE006F0AE}" destId="{736C9CB8-0C82-4239-B101-9E83386887C6}" srcOrd="1" destOrd="0" presId="urn:microsoft.com/office/officeart/2005/8/layout/hProcess4"/>
    <dgm:cxn modelId="{50C43887-E27D-42DC-A923-6D9764563B16}" type="presParOf" srcId="{9A928273-3C53-4F43-8126-F66EE006F0AE}" destId="{3FAE8E62-820B-475B-9520-04BBA9C007A0}" srcOrd="2" destOrd="0" presId="urn:microsoft.com/office/officeart/2005/8/layout/hProcess4"/>
    <dgm:cxn modelId="{F4E4B7E5-3032-4899-B496-FC8E98B32D19}" type="presParOf" srcId="{9A928273-3C53-4F43-8126-F66EE006F0AE}" destId="{6B90A27D-3FFB-4E2C-84DC-45527B2F9344}" srcOrd="3" destOrd="0" presId="urn:microsoft.com/office/officeart/2005/8/layout/hProcess4"/>
    <dgm:cxn modelId="{E9AA25B6-E800-4BE3-BB0E-DD62F6AEF2BA}" type="presParOf" srcId="{9A928273-3C53-4F43-8126-F66EE006F0AE}" destId="{782E590F-147A-40CE-B335-FEADB7BE53DD}" srcOrd="4" destOrd="0" presId="urn:microsoft.com/office/officeart/2005/8/layout/hProcess4"/>
    <dgm:cxn modelId="{B927B48B-ECA6-4024-AFF8-D45023E8A6E9}" type="presParOf" srcId="{14158E9E-DD06-499A-9D73-F35A2AD519AC}" destId="{614D5990-BEA2-4322-9312-FB125AFC33A6}" srcOrd="3" destOrd="0" presId="urn:microsoft.com/office/officeart/2005/8/layout/hProcess4"/>
    <dgm:cxn modelId="{D7855C39-54DA-4DE6-BEB0-B4B5633D16D5}" type="presParOf" srcId="{14158E9E-DD06-499A-9D73-F35A2AD519AC}" destId="{0BC83104-3AB2-49F7-9031-09A0F6049DDC}" srcOrd="4" destOrd="0" presId="urn:microsoft.com/office/officeart/2005/8/layout/hProcess4"/>
    <dgm:cxn modelId="{A5DE10C3-0A90-4A0B-A54A-DD830EDCC96A}" type="presParOf" srcId="{0BC83104-3AB2-49F7-9031-09A0F6049DDC}" destId="{F864BBCA-25CE-4A7C-9C48-329E379DEF83}" srcOrd="0" destOrd="0" presId="urn:microsoft.com/office/officeart/2005/8/layout/hProcess4"/>
    <dgm:cxn modelId="{C7EEDB8E-D6A4-46CF-A011-0F4DB4D4759B}" type="presParOf" srcId="{0BC83104-3AB2-49F7-9031-09A0F6049DDC}" destId="{6A648734-0730-4D81-AB94-EB81E6889FD1}" srcOrd="1" destOrd="0" presId="urn:microsoft.com/office/officeart/2005/8/layout/hProcess4"/>
    <dgm:cxn modelId="{BC510E3C-0F84-4B17-9152-E222C1768520}" type="presParOf" srcId="{0BC83104-3AB2-49F7-9031-09A0F6049DDC}" destId="{26C6D9D6-855D-4074-B291-9D155C87DB79}" srcOrd="2" destOrd="0" presId="urn:microsoft.com/office/officeart/2005/8/layout/hProcess4"/>
    <dgm:cxn modelId="{92B9B08C-CF06-4556-A10C-E63888F35080}" type="presParOf" srcId="{0BC83104-3AB2-49F7-9031-09A0F6049DDC}" destId="{20411EA8-2345-4051-9E73-041796F7F9FD}" srcOrd="3" destOrd="0" presId="urn:microsoft.com/office/officeart/2005/8/layout/hProcess4"/>
    <dgm:cxn modelId="{602326B1-E9B9-46BE-BDC6-FE2B1E91D42A}" type="presParOf" srcId="{0BC83104-3AB2-49F7-9031-09A0F6049DDC}" destId="{8347EC77-7682-412E-B2A9-B5C66F46C7D2}" srcOrd="4" destOrd="0" presId="urn:microsoft.com/office/officeart/2005/8/layout/hProcess4"/>
    <dgm:cxn modelId="{76EAD3B3-1630-43AD-8DA8-10CFC8253875}" type="presParOf" srcId="{14158E9E-DD06-499A-9D73-F35A2AD519AC}" destId="{9F4DEEC6-A45C-40EC-A2A0-7AA1BA760242}" srcOrd="5" destOrd="0" presId="urn:microsoft.com/office/officeart/2005/8/layout/hProcess4"/>
    <dgm:cxn modelId="{0FCC6359-8236-4500-A0B7-11C90ED84686}" type="presParOf" srcId="{14158E9E-DD06-499A-9D73-F35A2AD519AC}" destId="{FAEFFF6C-9686-4CFD-B892-C55AECD217A6}" srcOrd="6" destOrd="0" presId="urn:microsoft.com/office/officeart/2005/8/layout/hProcess4"/>
    <dgm:cxn modelId="{EA6AB147-7E1F-4A49-B09E-BDD8A56DB0E0}" type="presParOf" srcId="{FAEFFF6C-9686-4CFD-B892-C55AECD217A6}" destId="{E53D48EA-1546-408A-A303-DF883159A6F9}" srcOrd="0" destOrd="0" presId="urn:microsoft.com/office/officeart/2005/8/layout/hProcess4"/>
    <dgm:cxn modelId="{1430128A-D1D8-45F5-8691-2F0D4D0604B3}" type="presParOf" srcId="{FAEFFF6C-9686-4CFD-B892-C55AECD217A6}" destId="{8FA3F26A-63AF-4BC8-A1AD-27A464536C8E}" srcOrd="1" destOrd="0" presId="urn:microsoft.com/office/officeart/2005/8/layout/hProcess4"/>
    <dgm:cxn modelId="{23566047-15A1-476C-B972-27C5195EA338}" type="presParOf" srcId="{FAEFFF6C-9686-4CFD-B892-C55AECD217A6}" destId="{16536462-27CF-45B2-BD0B-2028E7B55960}" srcOrd="2" destOrd="0" presId="urn:microsoft.com/office/officeart/2005/8/layout/hProcess4"/>
    <dgm:cxn modelId="{38D86AE3-6649-449D-8DFE-36C776F1E044}" type="presParOf" srcId="{FAEFFF6C-9686-4CFD-B892-C55AECD217A6}" destId="{BF5259C9-8E3E-4E21-94CD-46C66331831E}" srcOrd="3" destOrd="0" presId="urn:microsoft.com/office/officeart/2005/8/layout/hProcess4"/>
    <dgm:cxn modelId="{81D52147-4136-4A61-9882-D29E8972C0DD}" type="presParOf" srcId="{FAEFFF6C-9686-4CFD-B892-C55AECD217A6}" destId="{2094CB16-91A3-4045-A62B-056ACBC7EBD3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9B279D-453E-4762-9A95-F3797773BD22}">
      <dsp:nvSpPr>
        <dsp:cNvPr id="0" name=""/>
        <dsp:cNvSpPr/>
      </dsp:nvSpPr>
      <dsp:spPr>
        <a:xfrm>
          <a:off x="529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endParaRPr lang="en-GB" sz="1100" kern="1200" noProof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100" kern="1200" noProof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583" y="1203845"/>
        <a:ext cx="2131495" cy="1351713"/>
      </dsp:txXfrm>
    </dsp:sp>
    <dsp:sp modelId="{7CB748FA-510C-4381-80CB-16F28FB7108F}">
      <dsp:nvSpPr>
        <dsp:cNvPr id="0" name=""/>
        <dsp:cNvSpPr/>
      </dsp:nvSpPr>
      <dsp:spPr>
        <a:xfrm>
          <a:off x="1201993" y="1440262"/>
          <a:ext cx="2674982" cy="2674982"/>
        </a:xfrm>
        <a:prstGeom prst="leftCircularArrow">
          <a:avLst>
            <a:gd name="adj1" fmla="val 4014"/>
            <a:gd name="adj2" fmla="val 504238"/>
            <a:gd name="adj3" fmla="val 2279749"/>
            <a:gd name="adj4" fmla="val 9024489"/>
            <a:gd name="adj5" fmla="val 468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2B02FF-A044-4B31-8317-4B9A239AEA78}">
      <dsp:nvSpPr>
        <dsp:cNvPr id="0" name=""/>
        <dsp:cNvSpPr/>
      </dsp:nvSpPr>
      <dsp:spPr>
        <a:xfrm>
          <a:off x="492885" y="259761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Dataset Presentation</a:t>
          </a:r>
        </a:p>
      </dsp:txBody>
      <dsp:txXfrm>
        <a:off x="515823" y="2620551"/>
        <a:ext cx="1923549" cy="737299"/>
      </dsp:txXfrm>
    </dsp:sp>
    <dsp:sp modelId="{736C9CB8-0C82-4239-B101-9E83386887C6}">
      <dsp:nvSpPr>
        <dsp:cNvPr id="0" name=""/>
        <dsp:cNvSpPr/>
      </dsp:nvSpPr>
      <dsp:spPr>
        <a:xfrm>
          <a:off x="2973616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endParaRPr lang="en-GB" sz="11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1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15670" y="1595433"/>
        <a:ext cx="2131495" cy="1351713"/>
      </dsp:txXfrm>
    </dsp:sp>
    <dsp:sp modelId="{614D5990-BEA2-4322-9312-FB125AFC33A6}">
      <dsp:nvSpPr>
        <dsp:cNvPr id="0" name=""/>
        <dsp:cNvSpPr/>
      </dsp:nvSpPr>
      <dsp:spPr>
        <a:xfrm>
          <a:off x="4156617" y="-35903"/>
          <a:ext cx="2958087" cy="2958087"/>
        </a:xfrm>
        <a:prstGeom prst="circularArrow">
          <a:avLst>
            <a:gd name="adj1" fmla="val 3630"/>
            <a:gd name="adj2" fmla="val 451781"/>
            <a:gd name="adj3" fmla="val 19372709"/>
            <a:gd name="adj4" fmla="val 12575511"/>
            <a:gd name="adj5" fmla="val 4235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90A27D-3FFB-4E2C-84DC-45527B2F9344}">
      <dsp:nvSpPr>
        <dsp:cNvPr id="0" name=""/>
        <dsp:cNvSpPr/>
      </dsp:nvSpPr>
      <dsp:spPr>
        <a:xfrm>
          <a:off x="3465973" y="77020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Data Analysis</a:t>
          </a:r>
        </a:p>
      </dsp:txBody>
      <dsp:txXfrm>
        <a:off x="3488911" y="793141"/>
        <a:ext cx="1923549" cy="737299"/>
      </dsp:txXfrm>
    </dsp:sp>
    <dsp:sp modelId="{6A648734-0730-4D81-AB94-EB81E6889FD1}">
      <dsp:nvSpPr>
        <dsp:cNvPr id="0" name=""/>
        <dsp:cNvSpPr/>
      </dsp:nvSpPr>
      <dsp:spPr>
        <a:xfrm>
          <a:off x="5946704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 noProof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 noProof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88758" y="1203845"/>
        <a:ext cx="2131495" cy="1351713"/>
      </dsp:txXfrm>
    </dsp:sp>
    <dsp:sp modelId="{9F4DEEC6-A45C-40EC-A2A0-7AA1BA760242}">
      <dsp:nvSpPr>
        <dsp:cNvPr id="0" name=""/>
        <dsp:cNvSpPr/>
      </dsp:nvSpPr>
      <dsp:spPr>
        <a:xfrm>
          <a:off x="7148168" y="1440262"/>
          <a:ext cx="2674982" cy="2674982"/>
        </a:xfrm>
        <a:prstGeom prst="leftCircularArrow">
          <a:avLst>
            <a:gd name="adj1" fmla="val 4014"/>
            <a:gd name="adj2" fmla="val 504238"/>
            <a:gd name="adj3" fmla="val 2279749"/>
            <a:gd name="adj4" fmla="val 9024489"/>
            <a:gd name="adj5" fmla="val 468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411EA8-2345-4051-9E73-041796F7F9FD}">
      <dsp:nvSpPr>
        <dsp:cNvPr id="0" name=""/>
        <dsp:cNvSpPr/>
      </dsp:nvSpPr>
      <dsp:spPr>
        <a:xfrm>
          <a:off x="6439060" y="259761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noProof="0">
              <a:latin typeface="Arial" panose="020B0604020202020204" pitchFamily="34" charset="0"/>
              <a:cs typeface="Arial" panose="020B0604020202020204" pitchFamily="34" charset="0"/>
            </a:rPr>
            <a:t>Discussion of Insights</a:t>
          </a:r>
        </a:p>
      </dsp:txBody>
      <dsp:txXfrm>
        <a:off x="6461998" y="2620551"/>
        <a:ext cx="1923549" cy="737299"/>
      </dsp:txXfrm>
    </dsp:sp>
    <dsp:sp modelId="{8FA3F26A-63AF-4BC8-A1AD-27A464536C8E}">
      <dsp:nvSpPr>
        <dsp:cNvPr id="0" name=""/>
        <dsp:cNvSpPr/>
      </dsp:nvSpPr>
      <dsp:spPr>
        <a:xfrm>
          <a:off x="8919791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961845" y="1595433"/>
        <a:ext cx="2131495" cy="1351713"/>
      </dsp:txXfrm>
    </dsp:sp>
    <dsp:sp modelId="{BF5259C9-8E3E-4E21-94CD-46C66331831E}">
      <dsp:nvSpPr>
        <dsp:cNvPr id="0" name=""/>
        <dsp:cNvSpPr/>
      </dsp:nvSpPr>
      <dsp:spPr>
        <a:xfrm>
          <a:off x="9412148" y="77020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Conclusion</a:t>
          </a:r>
        </a:p>
      </dsp:txBody>
      <dsp:txXfrm>
        <a:off x="9435086" y="793141"/>
        <a:ext cx="1923549" cy="737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50839-FC6D-46C0-9607-ECD7E2888271}" type="datetimeFigureOut">
              <a:rPr lang="de-DE" smtClean="0"/>
              <a:t>19.03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F9F29-37CA-45A7-B4D1-88956EC2606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202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0251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986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4233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2035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298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5954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21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erson holding a small globe&#10;&#10;Description automatically generated">
            <a:extLst>
              <a:ext uri="{FF2B5EF4-FFF2-40B4-BE49-F238E27FC236}">
                <a16:creationId xmlns:a16="http://schemas.microsoft.com/office/drawing/2014/main" id="{0F2033BF-1713-27C6-090F-88225F77AB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1" r="18349" b="4822"/>
          <a:stretch/>
        </p:blipFill>
        <p:spPr>
          <a:xfrm>
            <a:off x="0" y="-12809"/>
            <a:ext cx="7603228" cy="6870809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E2E3D43-4686-2B74-3833-E96582EA985C}"/>
              </a:ext>
            </a:extLst>
          </p:cNvPr>
          <p:cNvSpPr/>
          <p:nvPr userDrawn="1"/>
        </p:nvSpPr>
        <p:spPr>
          <a:xfrm>
            <a:off x="7403910" y="-12808"/>
            <a:ext cx="4788090" cy="6870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1331" y="1825625"/>
            <a:ext cx="4254787" cy="4351338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8454C6A-E48E-69F3-4274-4EA480DEB6E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81503" y="1306286"/>
            <a:ext cx="4254888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92" y="4780178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67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3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erson holding a small globe&#10;&#10;Description automatically generated">
            <a:extLst>
              <a:ext uri="{FF2B5EF4-FFF2-40B4-BE49-F238E27FC236}">
                <a16:creationId xmlns:a16="http://schemas.microsoft.com/office/drawing/2014/main" id="{DF486FB7-2AF4-A23F-34BB-3E587C00E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3" b="958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45100-2D52-9E48-0E16-AA5A8230BAC9}"/>
              </a:ext>
            </a:extLst>
          </p:cNvPr>
          <p:cNvSpPr/>
          <p:nvPr userDrawn="1"/>
        </p:nvSpPr>
        <p:spPr>
          <a:xfrm>
            <a:off x="0" y="4149590"/>
            <a:ext cx="5716472" cy="220233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7C26F8-D2D8-2F5D-EEE9-060D4DBA2CF4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92" y="4780178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lic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54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68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0" y="182562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FFC4671-8E83-5151-C5C4-8755E0708C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246104B-B5C8-BE6A-6172-F173A3A03D08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2528973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91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6182315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2315" y="1825625"/>
            <a:ext cx="5626508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227D782B-BA3E-98C4-DF1B-6F6BA6B2EF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27038" y="1990641"/>
            <a:ext cx="5503862" cy="4037925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F67AC7D4-96D0-80DD-77AC-B0B5A15EBE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1DF0F18-F1DC-A9DC-0C54-46412177CCCB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316545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76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6182314" y="1825625"/>
            <a:ext cx="6009685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0" y="1832015"/>
            <a:ext cx="5755594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227D782B-BA3E-98C4-DF1B-6F6BA6B2EF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304961" y="1967930"/>
            <a:ext cx="5503862" cy="4037925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328D492E-44D4-787D-F43F-5150D244CE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5FBECD0-E1AF-9F85-965A-73ED21C14B76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314511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78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12191999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19" y="183201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3BED1066-E490-AFC0-D3F2-7F5A480B4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07BE3DB-D01F-E6E1-4BB1-6FC0FA3C4FD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92221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78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12191999" cy="43513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19" y="183201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3BED1066-E490-AFC0-D3F2-7F5A480B4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8F16F76-5F4D-44AF-956B-3A378BB40C2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111818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15B210-F736-8222-70BC-8DF7554F17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6526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2" progId="TCLayout.ActiveDocument.1">
                  <p:embed/>
                </p:oleObj>
              </mc:Choice>
              <mc:Fallback>
                <p:oleObj name="think-cell Slide" r:id="rId10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15B210-F736-8222-70BC-8DF7554F17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613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59" r:id="rId3"/>
    <p:sldLayoutId id="2147483656" r:id="rId4"/>
    <p:sldLayoutId id="2147483657" r:id="rId5"/>
    <p:sldLayoutId id="2147483658" r:id="rId6"/>
    <p:sldLayoutId id="2147483660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5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59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8.svg"/><Relationship Id="rId3" Type="http://schemas.openxmlformats.org/officeDocument/2006/relationships/oleObject" Target="../embeddings/oleObject10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1.png"/><Relationship Id="rId1" Type="http://schemas.openxmlformats.org/officeDocument/2006/relationships/tags" Target="../tags/tag1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6.svg"/><Relationship Id="rId5" Type="http://schemas.openxmlformats.org/officeDocument/2006/relationships/diagramData" Target="../diagrams/data1.xml"/><Relationship Id="rId15" Type="http://schemas.openxmlformats.org/officeDocument/2006/relationships/image" Target="../media/image10.svg"/><Relationship Id="rId10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microsoft.com/office/2007/relationships/diagramDrawing" Target="../diagrams/drawing1.xml"/><Relationship Id="rId1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18" Type="http://schemas.openxmlformats.org/officeDocument/2006/relationships/image" Target="../media/image3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17" Type="http://schemas.microsoft.com/office/2014/relationships/chartEx" Target="../charts/chartEx1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svg"/><Relationship Id="rId1" Type="http://schemas.openxmlformats.org/officeDocument/2006/relationships/tags" Target="../tags/tag13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svg"/><Relationship Id="rId4" Type="http://schemas.openxmlformats.org/officeDocument/2006/relationships/image" Target="../media/image1.emf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45.svg"/><Relationship Id="rId1" Type="http://schemas.openxmlformats.org/officeDocument/2006/relationships/tags" Target="../tags/tag14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svg"/><Relationship Id="rId4" Type="http://schemas.openxmlformats.org/officeDocument/2006/relationships/image" Target="../media/image33.emf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8.svg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47.png"/><Relationship Id="rId11" Type="http://schemas.openxmlformats.org/officeDocument/2006/relationships/image" Target="../media/image52.svg"/><Relationship Id="rId5" Type="http://schemas.openxmlformats.org/officeDocument/2006/relationships/image" Target="../media/image46.emf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55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652A4C-C7C8-4239-7280-FFA58DAE8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00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652A4C-C7C8-4239-7280-FFA58DAE8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503522-EE1A-B9B5-E02D-86D469B59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1330" y="4227187"/>
            <a:ext cx="4254787" cy="1534094"/>
          </a:xfrm>
        </p:spPr>
        <p:txBody>
          <a:bodyPr/>
          <a:lstStyle/>
          <a:p>
            <a:pPr marL="0" indent="0">
              <a:buNone/>
            </a:pPr>
            <a:r>
              <a:rPr lang="de-DE" sz="1200"/>
              <a:t>Linus Lehr (22108475)</a:t>
            </a:r>
          </a:p>
          <a:p>
            <a:pPr marL="0" indent="0">
              <a:buNone/>
            </a:pPr>
            <a:r>
              <a:rPr lang="de-DE" sz="1200"/>
              <a:t>Vincent </a:t>
            </a:r>
            <a:r>
              <a:rPr lang="de-DE" sz="1200" err="1"/>
              <a:t>Stilz</a:t>
            </a:r>
            <a:r>
              <a:rPr lang="de-DE" sz="1200"/>
              <a:t> (22108521)</a:t>
            </a:r>
          </a:p>
          <a:p>
            <a:pPr marL="0" indent="0">
              <a:buNone/>
            </a:pPr>
            <a:r>
              <a:rPr lang="de-DE" sz="1200"/>
              <a:t>Caroline Ziegler (22108564)</a:t>
            </a:r>
          </a:p>
          <a:p>
            <a:pPr marL="0" indent="0">
              <a:buNone/>
            </a:pPr>
            <a:r>
              <a:rPr lang="de-DE" sz="1200"/>
              <a:t>Chantal Stefan (22108513)</a:t>
            </a:r>
          </a:p>
          <a:p>
            <a:pPr marL="0" indent="0">
              <a:buNone/>
            </a:pPr>
            <a:r>
              <a:rPr lang="de-DE" sz="1200"/>
              <a:t>Sebastian </a:t>
            </a:r>
            <a:r>
              <a:rPr lang="de-DE" sz="1200" err="1"/>
              <a:t>Gaycken</a:t>
            </a:r>
            <a:r>
              <a:rPr lang="de-DE" sz="1200"/>
              <a:t> (22108416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46861C-B53D-199D-976D-2AABDB755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BF1B2E-0675-CA48-F89F-A757C646A1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81503" y="3442123"/>
            <a:ext cx="4455822" cy="506559"/>
          </a:xfrm>
        </p:spPr>
        <p:txBody>
          <a:bodyPr/>
          <a:lstStyle/>
          <a:p>
            <a:r>
              <a:rPr lang="en-GB"/>
              <a:t>Power BI Assessment</a:t>
            </a:r>
          </a:p>
          <a:p>
            <a:pPr>
              <a:spcBef>
                <a:spcPts val="500"/>
              </a:spcBef>
            </a:pPr>
            <a:r>
              <a:rPr lang="en-GB"/>
              <a:t>MT412 – Business Analytics Portfoli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C395FB-6FCA-4534-136D-AC6B83BE6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92" y="4411693"/>
            <a:ext cx="4527742" cy="941159"/>
          </a:xfrm>
        </p:spPr>
        <p:txBody>
          <a:bodyPr vert="horz"/>
          <a:lstStyle/>
          <a:p>
            <a:r>
              <a:rPr lang="en-GB"/>
              <a:t>OECD Well-Being Data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98CA5515-13D4-022F-DA36-47875537AEB0}"/>
              </a:ext>
            </a:extLst>
          </p:cNvPr>
          <p:cNvSpPr txBox="1">
            <a:spLocks/>
          </p:cNvSpPr>
          <p:nvPr/>
        </p:nvSpPr>
        <p:spPr>
          <a:xfrm>
            <a:off x="631292" y="4761982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000">
                <a:solidFill>
                  <a:schemeClr val="accent4">
                    <a:lumMod val="50000"/>
                  </a:schemeClr>
                </a:solidFill>
              </a:rPr>
              <a:t>Presentation of Dataset Analysi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4D008A0F-4092-2D16-0AF6-75628C09D6D1}"/>
              </a:ext>
            </a:extLst>
          </p:cNvPr>
          <p:cNvSpPr txBox="1">
            <a:spLocks/>
          </p:cNvSpPr>
          <p:nvPr/>
        </p:nvSpPr>
        <p:spPr>
          <a:xfrm>
            <a:off x="7581331" y="5868448"/>
            <a:ext cx="4254787" cy="6446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Date: 21.03.2024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Place: Dublin, Ireland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8B14BC07-5437-0513-72E9-7E5C40C83527}"/>
              </a:ext>
            </a:extLst>
          </p:cNvPr>
          <p:cNvSpPr txBox="1">
            <a:spLocks/>
          </p:cNvSpPr>
          <p:nvPr/>
        </p:nvSpPr>
        <p:spPr>
          <a:xfrm>
            <a:off x="7581331" y="333287"/>
            <a:ext cx="4527742" cy="210137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GB" sz="3200">
                <a:solidFill>
                  <a:schemeClr val="bg1"/>
                </a:solidFill>
              </a:rPr>
              <a:t>A Global Perspective on Economics and Well-Being</a:t>
            </a:r>
            <a:endParaRPr lang="en-GB" sz="26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253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6DF3330-DBDE-6CB3-785F-9D81FD2A2F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920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/>
              <a:t>The slide juxtaposes employment earnings against education levels in OECD countries, using bar charts and statistical summaries to highlight tre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Employment and Edu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3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ual Data Panel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panels, each with its own set of statistical data, indicating a focus on employment and education statistics within OECD countrie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2" y="2517411"/>
            <a:ext cx="4681145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e Feature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'Region Details,' 'Economic Development,' and 'Block Association' suggest customizable data views, and possibly the ability to filter or drill down for more detailed analysi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686612"/>
            <a:ext cx="4575638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cending Bar Chart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bar charts show the countries in descending order of personal earnings and student skills score, allowing for an easy comparison of countries and identifying outlier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842936"/>
            <a:ext cx="4575638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mmary Statistic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panel presents an average and standard deviation, which summarizes the central tendency and dispersion of the dataset for both personal earnings and student skill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52A77C-FD60-DE06-1256-31754D6339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1" y="2439801"/>
            <a:ext cx="5621450" cy="31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54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E9C63D84-92B9-1689-DB90-A171F089A1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1" y="2439801"/>
            <a:ext cx="5621450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7122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Focusing on OECD countries, this slide offers a snapshot of public safety and health metrics, with interactive charts that highlight extremes in the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Quality of Li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4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2" y="1559565"/>
            <a:ext cx="4434961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rehensive Quality of Life Indicato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lide features different quality of life metrics for OECD countries, such as homicide rates, air pollution levels, life expectancy etc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02669" y="2551982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p and Bottom Filter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s labeled 'Top' and 'Bottom' indicate interactive elements that could filter the displayed data to show either the countries with the best or worst indicators in each category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02669" y="3815600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catter Plot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ly compare countries based on homicide rates,  feeling safe walking alone etc., using color-coded markers for intuitive understanding of the data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2" y="4809371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untry Ranking Table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x tables list the top/bottom countries for various indicators, providing a clear ranking for easy comparis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33B3738-6A06-4E00-BD41-E8DD9FF7AF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17438F2-A6CB-053F-AD2C-7E65C3CA8D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0" y="2439801"/>
            <a:ext cx="5630305" cy="316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4333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639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A detailed cross-analysis of life quality indicators reveals their positive or negative correlations with personal earnings and life expectancy in OECD n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Data Analysi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5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rrelation Analysi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slide offers a visual representation of the correlation between the most interesting relationships, featuring scatter plots for each indicator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781336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sitive and Negative Correlation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scatter plot is labeled as having a positive or negative correlation, providing an at-a-glance understanding of how each factor might relate to life expectancy and personal earning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4001294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e Detail Viewing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'Select to Zoom In’, the slide allows users to focus on specific details of each scatter plot for a more detailed examinati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5035520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Relationships</a:t>
            </a:r>
            <a:endParaRPr lang="en-GB" sz="1400" b="1" i="0" u="none" strike="noStrike">
              <a:solidFill>
                <a:schemeClr val="accent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context shown serves to represent the most valuable insights from the dataset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77921F9-A4A4-1CD9-5865-79BF791849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B9D21C-FCC3-23B7-87CF-3EB05D5B4D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80" y="2439801"/>
            <a:ext cx="5630305" cy="316046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82E18A0-F004-1A64-13D6-C0C5FE0DAE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0" y="2439801"/>
            <a:ext cx="5620330" cy="316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77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1F2C7A-F4CB-0FF4-62FD-ED4BB96DB7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5831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1F2C7A-F4CB-0FF4-62FD-ED4BB96DB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BE7D5A-8264-6333-A8F4-9072F68C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Fostering a deep understanding of your dataset and extracting meaningful conclusions using Power BI's dynamic reporting 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617282-B5DB-FDCE-F9C7-99BC6EBF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527A35-4908-E837-DA52-B67BA08A8B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240D3B-34D5-14D4-20EC-8AEDF397A5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Table of Content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B7C7AF3F-BD9F-0B75-26A1-87340749A6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312719"/>
              </p:ext>
            </p:extLst>
          </p:nvPr>
        </p:nvGraphicFramePr>
        <p:xfrm>
          <a:off x="426720" y="1944806"/>
          <a:ext cx="11382103" cy="4150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4" name="Graphic 13" descr="Research with solid fill">
            <a:extLst>
              <a:ext uri="{FF2B5EF4-FFF2-40B4-BE49-F238E27FC236}">
                <a16:creationId xmlns:a16="http://schemas.microsoft.com/office/drawing/2014/main" id="{8C02F4D1-8A9A-E6AC-9B7B-C8E069F28E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58436" y="4958096"/>
            <a:ext cx="593618" cy="593618"/>
          </a:xfrm>
          <a:prstGeom prst="rect">
            <a:avLst/>
          </a:prstGeom>
        </p:spPr>
      </p:pic>
      <p:pic>
        <p:nvPicPr>
          <p:cNvPr id="16" name="Graphic 15" descr="Bar chart with solid fill">
            <a:extLst>
              <a:ext uri="{FF2B5EF4-FFF2-40B4-BE49-F238E27FC236}">
                <a16:creationId xmlns:a16="http://schemas.microsoft.com/office/drawing/2014/main" id="{68D37F68-A8E2-1BF2-9FCD-19024A26F77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3027" y="2457195"/>
            <a:ext cx="593618" cy="593618"/>
          </a:xfrm>
          <a:prstGeom prst="rect">
            <a:avLst/>
          </a:prstGeom>
        </p:spPr>
      </p:pic>
      <p:pic>
        <p:nvPicPr>
          <p:cNvPr id="9" name="Graphic 8" descr="Presentation with pie chart with solid fill">
            <a:extLst>
              <a:ext uri="{FF2B5EF4-FFF2-40B4-BE49-F238E27FC236}">
                <a16:creationId xmlns:a16="http://schemas.microsoft.com/office/drawing/2014/main" id="{F46AFCFE-1DB8-8B95-EBC1-015010636F9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60536" y="4977154"/>
            <a:ext cx="602912" cy="602912"/>
          </a:xfrm>
          <a:prstGeom prst="rect">
            <a:avLst/>
          </a:prstGeom>
        </p:spPr>
      </p:pic>
      <p:pic>
        <p:nvPicPr>
          <p:cNvPr id="13" name="Graphic 12" descr="Boardroom with solid fill">
            <a:extLst>
              <a:ext uri="{FF2B5EF4-FFF2-40B4-BE49-F238E27FC236}">
                <a16:creationId xmlns:a16="http://schemas.microsoft.com/office/drawing/2014/main" id="{EEDA4C34-E6A6-784E-2F61-E6D55D34536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69877" y="2543666"/>
            <a:ext cx="602912" cy="6029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0608CA7-CC47-15C4-001C-82ED5A54F876}"/>
              </a:ext>
            </a:extLst>
          </p:cNvPr>
          <p:cNvSpPr txBox="1"/>
          <p:nvPr/>
        </p:nvSpPr>
        <p:spPr>
          <a:xfrm>
            <a:off x="3416300" y="3519718"/>
            <a:ext cx="2374900" cy="1723549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tilize Power BI's built-in statistical functions for data relationship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 Power BI dashboards for multivariate analysis visualiza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ign interactive Power BI reports</a:t>
            </a:r>
          </a:p>
          <a:p>
            <a:pPr algn="l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8F6472-69D6-5E3E-5834-26D772E99C1D}"/>
              </a:ext>
            </a:extLst>
          </p:cNvPr>
          <p:cNvSpPr txBox="1"/>
          <p:nvPr/>
        </p:nvSpPr>
        <p:spPr>
          <a:xfrm>
            <a:off x="426720" y="3217313"/>
            <a:ext cx="2374900" cy="127727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Check data integrity and complete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Basic feature engineer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Review dataset metadata for context</a:t>
            </a:r>
            <a:endParaRPr lang="en-GB" sz="1100" noProof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Align indicators with research/policy interes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FC4D5E-6281-AE75-4290-7F8E7E22D2FE}"/>
              </a:ext>
            </a:extLst>
          </p:cNvPr>
          <p:cNvSpPr txBox="1"/>
          <p:nvPr/>
        </p:nvSpPr>
        <p:spPr>
          <a:xfrm>
            <a:off x="9390380" y="3519718"/>
            <a:ext cx="2374900" cy="76944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mmarize key analytical find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sent recommendations based on da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ADEFE0-151E-CF6A-4358-3091DEAEF96B}"/>
              </a:ext>
            </a:extLst>
          </p:cNvPr>
          <p:cNvSpPr txBox="1"/>
          <p:nvPr/>
        </p:nvSpPr>
        <p:spPr>
          <a:xfrm>
            <a:off x="6400800" y="3299799"/>
            <a:ext cx="2154327" cy="121571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ceptualisation of findin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E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rganising the findings</a:t>
            </a:r>
            <a:endParaRPr lang="en-GB" sz="11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ioritisation of most relevant insigh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20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BC7D7C00-2BAE-4A45-B8E1-AB1A2D36F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24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D7C00-2BAE-4A45-B8E1-AB1A2D36F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4B0CCE-FC5A-ED5C-B9AC-ABFECF6BE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tailored and structured data is pivotal for conducting in-depth analytical research that leads to insightful discoveries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26355F-004C-4DD2-4E9B-286EC1F4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26B840-DDE2-FA16-4D5F-08DE565E64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The Well-Being Dat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AE0CE6-7F12-694C-68BB-AA24126B07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Dataset Introduc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66817C0-B038-3876-F09D-DBFD0A822350}"/>
              </a:ext>
            </a:extLst>
          </p:cNvPr>
          <p:cNvGrpSpPr/>
          <p:nvPr/>
        </p:nvGrpSpPr>
        <p:grpSpPr>
          <a:xfrm>
            <a:off x="520501" y="1934897"/>
            <a:ext cx="3586401" cy="4177295"/>
            <a:chOff x="525428" y="1214501"/>
            <a:chExt cx="3583077" cy="4712030"/>
          </a:xfrm>
        </p:grpSpPr>
        <p:sp>
          <p:nvSpPr>
            <p:cNvPr id="9" name="Freeform 153">
              <a:extLst>
                <a:ext uri="{FF2B5EF4-FFF2-40B4-BE49-F238E27FC236}">
                  <a16:creationId xmlns:a16="http://schemas.microsoft.com/office/drawing/2014/main" id="{33C84BEE-C6D9-46E7-589C-4E273A4EC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0296" y="4852405"/>
              <a:ext cx="1178937" cy="6620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5" y="156"/>
                </a:cxn>
                <a:cxn ang="0">
                  <a:pos x="673" y="314"/>
                </a:cxn>
                <a:cxn ang="0">
                  <a:pos x="0" y="314"/>
                </a:cxn>
                <a:cxn ang="0">
                  <a:pos x="0" y="0"/>
                </a:cxn>
              </a:cxnLst>
              <a:rect l="0" t="0" r="r" b="b"/>
              <a:pathLst>
                <a:path w="673" h="314">
                  <a:moveTo>
                    <a:pt x="0" y="0"/>
                  </a:moveTo>
                  <a:lnTo>
                    <a:pt x="673" y="0"/>
                  </a:lnTo>
                  <a:lnTo>
                    <a:pt x="515" y="156"/>
                  </a:lnTo>
                  <a:lnTo>
                    <a:pt x="673" y="314"/>
                  </a:lnTo>
                  <a:lnTo>
                    <a:pt x="0" y="31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70000"/>
                  </a:schemeClr>
                </a:gs>
                <a:gs pos="50000">
                  <a:schemeClr val="accent1">
                    <a:shade val="67500"/>
                    <a:satMod val="115000"/>
                    <a:alpha val="60000"/>
                  </a:schemeClr>
                </a:gs>
                <a:gs pos="100000">
                  <a:schemeClr val="accent1"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 155">
              <a:extLst>
                <a:ext uri="{FF2B5EF4-FFF2-40B4-BE49-F238E27FC236}">
                  <a16:creationId xmlns:a16="http://schemas.microsoft.com/office/drawing/2014/main" id="{D44BBC73-67DC-A95F-0A2F-12B5159E8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622" y="3768108"/>
              <a:ext cx="1294321" cy="664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6" y="157"/>
                </a:cxn>
                <a:cxn ang="0">
                  <a:pos x="673" y="315"/>
                </a:cxn>
                <a:cxn ang="0">
                  <a:pos x="0" y="315"/>
                </a:cxn>
                <a:cxn ang="0">
                  <a:pos x="0" y="0"/>
                </a:cxn>
              </a:cxnLst>
              <a:rect l="0" t="0" r="r" b="b"/>
              <a:pathLst>
                <a:path w="673" h="315">
                  <a:moveTo>
                    <a:pt x="0" y="0"/>
                  </a:moveTo>
                  <a:lnTo>
                    <a:pt x="673" y="0"/>
                  </a:lnTo>
                  <a:lnTo>
                    <a:pt x="516" y="157"/>
                  </a:lnTo>
                  <a:lnTo>
                    <a:pt x="673" y="315"/>
                  </a:lnTo>
                  <a:lnTo>
                    <a:pt x="0" y="3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12ABDB">
                    <a:shade val="30000"/>
                    <a:satMod val="115000"/>
                    <a:alpha val="68000"/>
                  </a:srgbClr>
                </a:gs>
                <a:gs pos="50000">
                  <a:srgbClr val="12ABDB">
                    <a:shade val="67500"/>
                    <a:satMod val="115000"/>
                    <a:alpha val="60000"/>
                  </a:srgbClr>
                </a:gs>
                <a:gs pos="99000">
                  <a:srgbClr val="12ABDB">
                    <a:shade val="100000"/>
                    <a:satMod val="115000"/>
                    <a:alpha val="40000"/>
                  </a:srgb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1" name="Groupe 71">
              <a:extLst>
                <a:ext uri="{FF2B5EF4-FFF2-40B4-BE49-F238E27FC236}">
                  <a16:creationId xmlns:a16="http://schemas.microsoft.com/office/drawing/2014/main" id="{987121C8-3BB5-E582-17D3-31CDF78407EF}"/>
                </a:ext>
              </a:extLst>
            </p:cNvPr>
            <p:cNvGrpSpPr/>
            <p:nvPr/>
          </p:nvGrpSpPr>
          <p:grpSpPr>
            <a:xfrm>
              <a:off x="1155513" y="4838324"/>
              <a:ext cx="1259639" cy="1088207"/>
              <a:chOff x="1375570" y="4982719"/>
              <a:chExt cx="1259639" cy="1088207"/>
            </a:xfrm>
          </p:grpSpPr>
          <p:sp>
            <p:nvSpPr>
              <p:cNvPr id="34" name="Freeform 161">
                <a:extLst>
                  <a:ext uri="{FF2B5EF4-FFF2-40B4-BE49-F238E27FC236}">
                    <a16:creationId xmlns:a16="http://schemas.microsoft.com/office/drawing/2014/main" id="{54967ADD-6CBA-7514-71E7-4DF2C02D4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570" y="4982719"/>
                <a:ext cx="628712" cy="1088207"/>
              </a:xfrm>
              <a:custGeom>
                <a:avLst/>
                <a:gdLst/>
                <a:ahLst/>
                <a:cxnLst>
                  <a:cxn ang="0">
                    <a:pos x="284" y="513"/>
                  </a:cxn>
                  <a:cxn ang="0">
                    <a:pos x="0" y="313"/>
                  </a:cxn>
                  <a:cxn ang="0">
                    <a:pos x="0" y="0"/>
                  </a:cxn>
                  <a:cxn ang="0">
                    <a:pos x="284" y="200"/>
                  </a:cxn>
                  <a:cxn ang="0">
                    <a:pos x="284" y="513"/>
                  </a:cxn>
                </a:cxnLst>
                <a:rect l="0" t="0" r="r" b="b"/>
                <a:pathLst>
                  <a:path w="284" h="513">
                    <a:moveTo>
                      <a:pt x="284" y="513"/>
                    </a:moveTo>
                    <a:lnTo>
                      <a:pt x="0" y="313"/>
                    </a:lnTo>
                    <a:lnTo>
                      <a:pt x="0" y="0"/>
                    </a:lnTo>
                    <a:lnTo>
                      <a:pt x="284" y="200"/>
                    </a:lnTo>
                    <a:lnTo>
                      <a:pt x="284" y="5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5" name="Freeform 162">
                <a:extLst>
                  <a:ext uri="{FF2B5EF4-FFF2-40B4-BE49-F238E27FC236}">
                    <a16:creationId xmlns:a16="http://schemas.microsoft.com/office/drawing/2014/main" id="{BA0C484E-7214-7612-57A8-6B050D50E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283" y="4982719"/>
                <a:ext cx="630926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5" y="313"/>
                  </a:cxn>
                  <a:cxn ang="0">
                    <a:pos x="285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5" h="513">
                    <a:moveTo>
                      <a:pt x="0" y="513"/>
                    </a:moveTo>
                    <a:lnTo>
                      <a:pt x="285" y="313"/>
                    </a:lnTo>
                    <a:lnTo>
                      <a:pt x="285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2" name="Groupe 70">
              <a:extLst>
                <a:ext uri="{FF2B5EF4-FFF2-40B4-BE49-F238E27FC236}">
                  <a16:creationId xmlns:a16="http://schemas.microsoft.com/office/drawing/2014/main" id="{E2096736-0F94-569C-A42A-FA19296DD431}"/>
                </a:ext>
              </a:extLst>
            </p:cNvPr>
            <p:cNvGrpSpPr/>
            <p:nvPr/>
          </p:nvGrpSpPr>
          <p:grpSpPr>
            <a:xfrm>
              <a:off x="548614" y="3346422"/>
              <a:ext cx="1261849" cy="1510452"/>
              <a:chOff x="746369" y="3500419"/>
              <a:chExt cx="1261849" cy="1510452"/>
            </a:xfrm>
          </p:grpSpPr>
          <p:sp>
            <p:nvSpPr>
              <p:cNvPr id="31" name="Freeform 164">
                <a:extLst>
                  <a:ext uri="{FF2B5EF4-FFF2-40B4-BE49-F238E27FC236}">
                    <a16:creationId xmlns:a16="http://schemas.microsoft.com/office/drawing/2014/main" id="{720C1A92-B751-4587-1261-3D00EDE74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243" y="3922664"/>
                <a:ext cx="628711" cy="1088207"/>
              </a:xfrm>
              <a:custGeom>
                <a:avLst/>
                <a:gdLst/>
                <a:ahLst/>
                <a:cxnLst>
                  <a:cxn ang="0">
                    <a:pos x="284" y="513"/>
                  </a:cxn>
                  <a:cxn ang="0">
                    <a:pos x="0" y="314"/>
                  </a:cxn>
                  <a:cxn ang="0">
                    <a:pos x="0" y="0"/>
                  </a:cxn>
                  <a:cxn ang="0">
                    <a:pos x="284" y="200"/>
                  </a:cxn>
                  <a:cxn ang="0">
                    <a:pos x="284" y="513"/>
                  </a:cxn>
                </a:cxnLst>
                <a:rect l="0" t="0" r="r" b="b"/>
                <a:pathLst>
                  <a:path w="284" h="513">
                    <a:moveTo>
                      <a:pt x="284" y="513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84" y="200"/>
                    </a:lnTo>
                    <a:lnTo>
                      <a:pt x="284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2" name="Freeform 165">
                <a:extLst>
                  <a:ext uri="{FF2B5EF4-FFF2-40B4-BE49-F238E27FC236}">
                    <a16:creationId xmlns:a16="http://schemas.microsoft.com/office/drawing/2014/main" id="{0A0E09C7-EB3F-55E1-1A9F-65190E7E4C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328" y="3914083"/>
                <a:ext cx="633138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6" y="314"/>
                  </a:cxn>
                  <a:cxn ang="0">
                    <a:pos x="286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6" h="513">
                    <a:moveTo>
                      <a:pt x="0" y="513"/>
                    </a:moveTo>
                    <a:lnTo>
                      <a:pt x="286" y="314"/>
                    </a:lnTo>
                    <a:lnTo>
                      <a:pt x="286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3" name="Freeform 166">
                <a:extLst>
                  <a:ext uri="{FF2B5EF4-FFF2-40B4-BE49-F238E27FC236}">
                    <a16:creationId xmlns:a16="http://schemas.microsoft.com/office/drawing/2014/main" id="{794AD692-468C-1BD4-76BC-EDB149F4F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369" y="3500419"/>
                <a:ext cx="1261849" cy="846383"/>
              </a:xfrm>
              <a:custGeom>
                <a:avLst/>
                <a:gdLst/>
                <a:ahLst/>
                <a:cxnLst>
                  <a:cxn ang="0">
                    <a:pos x="0" y="199"/>
                  </a:cxn>
                  <a:cxn ang="0">
                    <a:pos x="284" y="399"/>
                  </a:cxn>
                  <a:cxn ang="0">
                    <a:pos x="570" y="199"/>
                  </a:cxn>
                  <a:cxn ang="0">
                    <a:pos x="284" y="0"/>
                  </a:cxn>
                  <a:cxn ang="0">
                    <a:pos x="0" y="199"/>
                  </a:cxn>
                </a:cxnLst>
                <a:rect l="0" t="0" r="r" b="b"/>
                <a:pathLst>
                  <a:path w="570" h="399">
                    <a:moveTo>
                      <a:pt x="0" y="199"/>
                    </a:moveTo>
                    <a:lnTo>
                      <a:pt x="284" y="399"/>
                    </a:lnTo>
                    <a:lnTo>
                      <a:pt x="570" y="199"/>
                    </a:lnTo>
                    <a:lnTo>
                      <a:pt x="284" y="0"/>
                    </a:lnTo>
                    <a:lnTo>
                      <a:pt x="0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3" name="Groupe 69">
              <a:extLst>
                <a:ext uri="{FF2B5EF4-FFF2-40B4-BE49-F238E27FC236}">
                  <a16:creationId xmlns:a16="http://schemas.microsoft.com/office/drawing/2014/main" id="{575AA8DB-6448-FAE3-6024-3831F7B86115}"/>
                </a:ext>
              </a:extLst>
            </p:cNvPr>
            <p:cNvGrpSpPr/>
            <p:nvPr/>
          </p:nvGrpSpPr>
          <p:grpSpPr>
            <a:xfrm>
              <a:off x="1161173" y="2279903"/>
              <a:ext cx="1261854" cy="1501869"/>
              <a:chOff x="1381230" y="2448768"/>
              <a:chExt cx="1261854" cy="1501869"/>
            </a:xfrm>
          </p:grpSpPr>
          <p:sp>
            <p:nvSpPr>
              <p:cNvPr id="28" name="Freeform 167">
                <a:extLst>
                  <a:ext uri="{FF2B5EF4-FFF2-40B4-BE49-F238E27FC236}">
                    <a16:creationId xmlns:a16="http://schemas.microsoft.com/office/drawing/2014/main" id="{617F0E99-E859-1D9B-E46E-D79A9DE5E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230" y="2864553"/>
                <a:ext cx="630927" cy="1086084"/>
              </a:xfrm>
              <a:custGeom>
                <a:avLst/>
                <a:gdLst/>
                <a:ahLst/>
                <a:cxnLst>
                  <a:cxn ang="0">
                    <a:pos x="285" y="512"/>
                  </a:cxn>
                  <a:cxn ang="0">
                    <a:pos x="0" y="313"/>
                  </a:cxn>
                  <a:cxn ang="0">
                    <a:pos x="0" y="0"/>
                  </a:cxn>
                  <a:cxn ang="0">
                    <a:pos x="285" y="199"/>
                  </a:cxn>
                  <a:cxn ang="0">
                    <a:pos x="285" y="512"/>
                  </a:cxn>
                </a:cxnLst>
                <a:rect l="0" t="0" r="r" b="b"/>
                <a:pathLst>
                  <a:path w="285" h="512">
                    <a:moveTo>
                      <a:pt x="285" y="512"/>
                    </a:moveTo>
                    <a:lnTo>
                      <a:pt x="0" y="313"/>
                    </a:lnTo>
                    <a:lnTo>
                      <a:pt x="0" y="0"/>
                    </a:lnTo>
                    <a:lnTo>
                      <a:pt x="285" y="199"/>
                    </a:lnTo>
                    <a:lnTo>
                      <a:pt x="285" y="512"/>
                    </a:lnTo>
                    <a:close/>
                  </a:path>
                </a:pathLst>
              </a:custGeom>
              <a:solidFill>
                <a:schemeClr val="accent3">
                  <a:lumMod val="90000"/>
                  <a:lumOff val="1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9" name="Freeform 168">
                <a:extLst>
                  <a:ext uri="{FF2B5EF4-FFF2-40B4-BE49-F238E27FC236}">
                    <a16:creationId xmlns:a16="http://schemas.microsoft.com/office/drawing/2014/main" id="{71700FAF-1427-12A7-C3A2-9FA9EA89E2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157" y="2864553"/>
                <a:ext cx="630927" cy="1086084"/>
              </a:xfrm>
              <a:custGeom>
                <a:avLst/>
                <a:gdLst/>
                <a:ahLst/>
                <a:cxnLst>
                  <a:cxn ang="0">
                    <a:pos x="0" y="512"/>
                  </a:cxn>
                  <a:cxn ang="0">
                    <a:pos x="285" y="313"/>
                  </a:cxn>
                  <a:cxn ang="0">
                    <a:pos x="285" y="0"/>
                  </a:cxn>
                  <a:cxn ang="0">
                    <a:pos x="0" y="199"/>
                  </a:cxn>
                  <a:cxn ang="0">
                    <a:pos x="0" y="512"/>
                  </a:cxn>
                </a:cxnLst>
                <a:rect l="0" t="0" r="r" b="b"/>
                <a:pathLst>
                  <a:path w="285" h="512">
                    <a:moveTo>
                      <a:pt x="0" y="512"/>
                    </a:moveTo>
                    <a:lnTo>
                      <a:pt x="285" y="313"/>
                    </a:lnTo>
                    <a:lnTo>
                      <a:pt x="285" y="0"/>
                    </a:lnTo>
                    <a:lnTo>
                      <a:pt x="0" y="199"/>
                    </a:lnTo>
                    <a:lnTo>
                      <a:pt x="0" y="51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0" name="Freeform 169">
                <a:extLst>
                  <a:ext uri="{FF2B5EF4-FFF2-40B4-BE49-F238E27FC236}">
                    <a16:creationId xmlns:a16="http://schemas.microsoft.com/office/drawing/2014/main" id="{7480B081-56B3-D151-C1B9-71064E5D2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230" y="2448768"/>
                <a:ext cx="1261852" cy="846383"/>
              </a:xfrm>
              <a:custGeom>
                <a:avLst/>
                <a:gdLst/>
                <a:ahLst/>
                <a:cxnLst>
                  <a:cxn ang="0">
                    <a:pos x="0" y="200"/>
                  </a:cxn>
                  <a:cxn ang="0">
                    <a:pos x="285" y="399"/>
                  </a:cxn>
                  <a:cxn ang="0">
                    <a:pos x="570" y="200"/>
                  </a:cxn>
                  <a:cxn ang="0">
                    <a:pos x="285" y="0"/>
                  </a:cxn>
                  <a:cxn ang="0">
                    <a:pos x="0" y="200"/>
                  </a:cxn>
                </a:cxnLst>
                <a:rect l="0" t="0" r="r" b="b"/>
                <a:pathLst>
                  <a:path w="570" h="399">
                    <a:moveTo>
                      <a:pt x="0" y="200"/>
                    </a:moveTo>
                    <a:lnTo>
                      <a:pt x="285" y="399"/>
                    </a:lnTo>
                    <a:lnTo>
                      <a:pt x="570" y="200"/>
                    </a:lnTo>
                    <a:lnTo>
                      <a:pt x="285" y="0"/>
                    </a:lnTo>
                    <a:lnTo>
                      <a:pt x="0" y="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4" name="Groupe 68">
              <a:extLst>
                <a:ext uri="{FF2B5EF4-FFF2-40B4-BE49-F238E27FC236}">
                  <a16:creationId xmlns:a16="http://schemas.microsoft.com/office/drawing/2014/main" id="{0F2B9E7B-1EDE-B45B-5067-06F0F401001B}"/>
                </a:ext>
              </a:extLst>
            </p:cNvPr>
            <p:cNvGrpSpPr/>
            <p:nvPr/>
          </p:nvGrpSpPr>
          <p:grpSpPr>
            <a:xfrm>
              <a:off x="525428" y="1214501"/>
              <a:ext cx="1261849" cy="1501870"/>
              <a:chOff x="730617" y="1398234"/>
              <a:chExt cx="1261849" cy="1501870"/>
            </a:xfrm>
          </p:grpSpPr>
          <p:sp>
            <p:nvSpPr>
              <p:cNvPr id="25" name="Freeform 170">
                <a:extLst>
                  <a:ext uri="{FF2B5EF4-FFF2-40B4-BE49-F238E27FC236}">
                    <a16:creationId xmlns:a16="http://schemas.microsoft.com/office/drawing/2014/main" id="{E9109D6B-B7B1-3D2D-27E5-7CDBF6B0D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617" y="1811897"/>
                <a:ext cx="630925" cy="1088207"/>
              </a:xfrm>
              <a:custGeom>
                <a:avLst/>
                <a:gdLst/>
                <a:ahLst/>
                <a:cxnLst>
                  <a:cxn ang="0">
                    <a:pos x="285" y="513"/>
                  </a:cxn>
                  <a:cxn ang="0">
                    <a:pos x="0" y="314"/>
                  </a:cxn>
                  <a:cxn ang="0">
                    <a:pos x="0" y="0"/>
                  </a:cxn>
                  <a:cxn ang="0">
                    <a:pos x="285" y="200"/>
                  </a:cxn>
                  <a:cxn ang="0">
                    <a:pos x="285" y="513"/>
                  </a:cxn>
                </a:cxnLst>
                <a:rect l="0" t="0" r="r" b="b"/>
                <a:pathLst>
                  <a:path w="285" h="513">
                    <a:moveTo>
                      <a:pt x="285" y="513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85" y="200"/>
                    </a:lnTo>
                    <a:lnTo>
                      <a:pt x="285" y="5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6" name="Freeform 171">
                <a:extLst>
                  <a:ext uri="{FF2B5EF4-FFF2-40B4-BE49-F238E27FC236}">
                    <a16:creationId xmlns:a16="http://schemas.microsoft.com/office/drawing/2014/main" id="{C59314B6-EC0E-FF3D-4026-3F3D1E905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540" y="1811897"/>
                <a:ext cx="630925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5" y="314"/>
                  </a:cxn>
                  <a:cxn ang="0">
                    <a:pos x="285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5" h="513">
                    <a:moveTo>
                      <a:pt x="0" y="513"/>
                    </a:moveTo>
                    <a:lnTo>
                      <a:pt x="285" y="314"/>
                    </a:lnTo>
                    <a:lnTo>
                      <a:pt x="285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7" name="Freeform 172">
                <a:extLst>
                  <a:ext uri="{FF2B5EF4-FFF2-40B4-BE49-F238E27FC236}">
                    <a16:creationId xmlns:a16="http://schemas.microsoft.com/office/drawing/2014/main" id="{7B552EF9-30A3-CC02-237E-6CA8E4A93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617" y="1398234"/>
                <a:ext cx="1261849" cy="846383"/>
              </a:xfrm>
              <a:custGeom>
                <a:avLst/>
                <a:gdLst/>
                <a:ahLst/>
                <a:cxnLst>
                  <a:cxn ang="0">
                    <a:pos x="0" y="199"/>
                  </a:cxn>
                  <a:cxn ang="0">
                    <a:pos x="285" y="399"/>
                  </a:cxn>
                  <a:cxn ang="0">
                    <a:pos x="570" y="199"/>
                  </a:cxn>
                  <a:cxn ang="0">
                    <a:pos x="285" y="0"/>
                  </a:cxn>
                  <a:cxn ang="0">
                    <a:pos x="0" y="199"/>
                  </a:cxn>
                </a:cxnLst>
                <a:rect l="0" t="0" r="r" b="b"/>
                <a:pathLst>
                  <a:path w="570" h="399">
                    <a:moveTo>
                      <a:pt x="0" y="199"/>
                    </a:moveTo>
                    <a:lnTo>
                      <a:pt x="285" y="399"/>
                    </a:lnTo>
                    <a:lnTo>
                      <a:pt x="570" y="199"/>
                    </a:lnTo>
                    <a:lnTo>
                      <a:pt x="285" y="0"/>
                    </a:lnTo>
                    <a:lnTo>
                      <a:pt x="0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15" name="Freeform 155">
              <a:extLst>
                <a:ext uri="{FF2B5EF4-FFF2-40B4-BE49-F238E27FC236}">
                  <a16:creationId xmlns:a16="http://schemas.microsoft.com/office/drawing/2014/main" id="{59FAC658-366B-0BB4-2B06-03EEF390A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345" y="1635791"/>
              <a:ext cx="1294321" cy="664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6" y="157"/>
                </a:cxn>
                <a:cxn ang="0">
                  <a:pos x="673" y="315"/>
                </a:cxn>
                <a:cxn ang="0">
                  <a:pos x="0" y="315"/>
                </a:cxn>
                <a:cxn ang="0">
                  <a:pos x="0" y="0"/>
                </a:cxn>
              </a:cxnLst>
              <a:rect l="0" t="0" r="r" b="b"/>
              <a:pathLst>
                <a:path w="673" h="315">
                  <a:moveTo>
                    <a:pt x="0" y="0"/>
                  </a:moveTo>
                  <a:lnTo>
                    <a:pt x="673" y="0"/>
                  </a:lnTo>
                  <a:lnTo>
                    <a:pt x="516" y="157"/>
                  </a:lnTo>
                  <a:lnTo>
                    <a:pt x="673" y="315"/>
                  </a:lnTo>
                  <a:lnTo>
                    <a:pt x="0" y="3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  <a:alpha val="80000"/>
                  </a:schemeClr>
                </a:gs>
                <a:gs pos="0">
                  <a:schemeClr val="accent1">
                    <a:lumMod val="75000"/>
                    <a:shade val="67500"/>
                    <a:satMod val="115000"/>
                    <a:alpha val="70000"/>
                  </a:schemeClr>
                </a:gs>
                <a:gs pos="99000">
                  <a:schemeClr val="accent1">
                    <a:lumMod val="75000"/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" name="Freeform 153">
              <a:extLst>
                <a:ext uri="{FF2B5EF4-FFF2-40B4-BE49-F238E27FC236}">
                  <a16:creationId xmlns:a16="http://schemas.microsoft.com/office/drawing/2014/main" id="{65CB1989-44B5-2193-EC4F-6534D8CC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98" y="2695603"/>
              <a:ext cx="1178937" cy="6620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5" y="156"/>
                </a:cxn>
                <a:cxn ang="0">
                  <a:pos x="673" y="314"/>
                </a:cxn>
                <a:cxn ang="0">
                  <a:pos x="0" y="314"/>
                </a:cxn>
                <a:cxn ang="0">
                  <a:pos x="0" y="0"/>
                </a:cxn>
              </a:cxnLst>
              <a:rect l="0" t="0" r="r" b="b"/>
              <a:pathLst>
                <a:path w="673" h="314">
                  <a:moveTo>
                    <a:pt x="0" y="0"/>
                  </a:moveTo>
                  <a:lnTo>
                    <a:pt x="673" y="0"/>
                  </a:lnTo>
                  <a:lnTo>
                    <a:pt x="515" y="156"/>
                  </a:lnTo>
                  <a:lnTo>
                    <a:pt x="673" y="314"/>
                  </a:lnTo>
                  <a:lnTo>
                    <a:pt x="0" y="31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  <a:lumOff val="25000"/>
                    <a:shade val="30000"/>
                    <a:satMod val="115000"/>
                    <a:alpha val="70000"/>
                  </a:schemeClr>
                </a:gs>
                <a:gs pos="50000">
                  <a:schemeClr val="accent3">
                    <a:lumMod val="75000"/>
                    <a:lumOff val="25000"/>
                    <a:shade val="67500"/>
                    <a:satMod val="115000"/>
                    <a:alpha val="60000"/>
                  </a:schemeClr>
                </a:gs>
                <a:gs pos="100000">
                  <a:schemeClr val="accent3">
                    <a:lumMod val="75000"/>
                    <a:lumOff val="25000"/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Oval 160">
              <a:extLst>
                <a:ext uri="{FF2B5EF4-FFF2-40B4-BE49-F238E27FC236}">
                  <a16:creationId xmlns:a16="http://schemas.microsoft.com/office/drawing/2014/main" id="{E3F48576-71C5-8F83-E058-A1F240F00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484" y="1649649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" name="Oval 159">
              <a:extLst>
                <a:ext uri="{FF2B5EF4-FFF2-40B4-BE49-F238E27FC236}">
                  <a16:creationId xmlns:a16="http://schemas.microsoft.com/office/drawing/2014/main" id="{30867C0A-2991-4C8F-9374-A52AE0EEE6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096" y="2749666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accent3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accent3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Oval 158">
              <a:extLst>
                <a:ext uri="{FF2B5EF4-FFF2-40B4-BE49-F238E27FC236}">
                  <a16:creationId xmlns:a16="http://schemas.microsoft.com/office/drawing/2014/main" id="{FB96047E-4E08-7AFD-5D1B-726B1676C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2442" y="3824295"/>
              <a:ext cx="561749" cy="567273"/>
            </a:xfrm>
            <a:prstGeom prst="ellipse">
              <a:avLst/>
            </a:prstGeom>
            <a:gradFill flip="none" rotWithShape="1">
              <a:gsLst>
                <a:gs pos="0">
                  <a:srgbClr val="12ABDB">
                    <a:shade val="30000"/>
                    <a:satMod val="115000"/>
                  </a:srgbClr>
                </a:gs>
                <a:gs pos="50000">
                  <a:srgbClr val="12ABDB">
                    <a:shade val="67500"/>
                    <a:satMod val="115000"/>
                  </a:srgbClr>
                </a:gs>
                <a:gs pos="100000">
                  <a:srgbClr val="12ABDB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" name="Oval 157">
              <a:extLst>
                <a:ext uri="{FF2B5EF4-FFF2-40B4-BE49-F238E27FC236}">
                  <a16:creationId xmlns:a16="http://schemas.microsoft.com/office/drawing/2014/main" id="{CCD9057F-9D7C-444C-799C-A0094BD04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6756" y="4919033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21" name="Graphic 20" descr="Bullseye with solid fill">
              <a:extLst>
                <a:ext uri="{FF2B5EF4-FFF2-40B4-BE49-F238E27FC236}">
                  <a16:creationId xmlns:a16="http://schemas.microsoft.com/office/drawing/2014/main" id="{BDD964E0-1E75-77AE-32E2-6BF2139EC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39874" y="3852867"/>
              <a:ext cx="510127" cy="510127"/>
            </a:xfrm>
            <a:prstGeom prst="rect">
              <a:avLst/>
            </a:prstGeom>
          </p:spPr>
        </p:pic>
        <p:pic>
          <p:nvPicPr>
            <p:cNvPr id="22" name="Graphic 21" descr="Research with solid fill">
              <a:extLst>
                <a:ext uri="{FF2B5EF4-FFF2-40B4-BE49-F238E27FC236}">
                  <a16:creationId xmlns:a16="http://schemas.microsoft.com/office/drawing/2014/main" id="{6D56300B-987A-19C3-4B4F-5272053A3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28294" y="5001852"/>
              <a:ext cx="398671" cy="398671"/>
            </a:xfrm>
            <a:prstGeom prst="rect">
              <a:avLst/>
            </a:prstGeom>
          </p:spPr>
        </p:pic>
        <p:pic>
          <p:nvPicPr>
            <p:cNvPr id="23" name="Graphic 22" descr="Business Growth with solid fill">
              <a:extLst>
                <a:ext uri="{FF2B5EF4-FFF2-40B4-BE49-F238E27FC236}">
                  <a16:creationId xmlns:a16="http://schemas.microsoft.com/office/drawing/2014/main" id="{2373A47C-3174-FDEC-4743-C16D4B984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74191" y="2783196"/>
              <a:ext cx="510834" cy="510834"/>
            </a:xfrm>
            <a:prstGeom prst="rect">
              <a:avLst/>
            </a:prstGeom>
          </p:spPr>
        </p:pic>
        <p:pic>
          <p:nvPicPr>
            <p:cNvPr id="24" name="Graphic 23" descr="Document with solid fill">
              <a:extLst>
                <a:ext uri="{FF2B5EF4-FFF2-40B4-BE49-F238E27FC236}">
                  <a16:creationId xmlns:a16="http://schemas.microsoft.com/office/drawing/2014/main" id="{73C60173-6CA3-EBEE-906B-90A9B094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090106" y="1684481"/>
              <a:ext cx="469693" cy="469693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6A26EC3D-BDB0-8E56-5E32-CFAD8ECF2BD0}"/>
              </a:ext>
            </a:extLst>
          </p:cNvPr>
          <p:cNvSpPr txBox="1"/>
          <p:nvPr/>
        </p:nvSpPr>
        <p:spPr>
          <a:xfrm>
            <a:off x="3697884" y="2216476"/>
            <a:ext cx="7942525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Provided by the OECD (Organisation for Economic Co-operation and Development) in 2017, involving extensive consultation with OECD member countries to select indicato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5C40CDF-AB9D-3759-4D46-A2FEE1C66174}"/>
              </a:ext>
            </a:extLst>
          </p:cNvPr>
          <p:cNvSpPr txBox="1"/>
          <p:nvPr/>
        </p:nvSpPr>
        <p:spPr>
          <a:xfrm>
            <a:off x="4176849" y="3069107"/>
            <a:ext cx="7631974" cy="90794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Covers 34 topics related to well-being and economic indicators of the OECD countr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Each topic is represented by one to three indicators, reflecting a broad spectrum of societal well-being aspect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D591D79-48FE-8121-F995-FFCBDB09EBF8}"/>
              </a:ext>
            </a:extLst>
          </p:cNvPr>
          <p:cNvSpPr txBox="1"/>
          <p:nvPr/>
        </p:nvSpPr>
        <p:spPr>
          <a:xfrm>
            <a:off x="3697884" y="3986011"/>
            <a:ext cx="8110939" cy="110799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Aims to involve citizens in the debate on measuring societal well-being and empower them in the policy-making proces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Seeks to provide a comprehensive, comparative measure of well-being across OECD member countries, based on a set of carefully selected indicators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F4E42AE-6223-1976-3B65-AB7771A74CB7}"/>
              </a:ext>
            </a:extLst>
          </p:cNvPr>
          <p:cNvSpPr txBox="1"/>
          <p:nvPr/>
        </p:nvSpPr>
        <p:spPr>
          <a:xfrm>
            <a:off x="4176849" y="5200400"/>
            <a:ext cx="7463560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Quality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Structured data aggregated by country, with indicators averaged within each of the 11 topic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Cleaned data available in formats conducive to analysis and research, such as CSV or Excel</a:t>
            </a:r>
          </a:p>
        </p:txBody>
      </p:sp>
      <p:sp>
        <p:nvSpPr>
          <p:cNvPr id="75" name="Freeform 163">
            <a:extLst>
              <a:ext uri="{FF2B5EF4-FFF2-40B4-BE49-F238E27FC236}">
                <a16:creationId xmlns:a16="http://schemas.microsoft.com/office/drawing/2014/main" id="{21D4EF20-BE5D-F780-B942-6C51901289CC}"/>
              </a:ext>
            </a:extLst>
          </p:cNvPr>
          <p:cNvSpPr>
            <a:spLocks/>
          </p:cNvSpPr>
          <p:nvPr/>
        </p:nvSpPr>
        <p:spPr bwMode="auto">
          <a:xfrm>
            <a:off x="1144080" y="4764304"/>
            <a:ext cx="1263071" cy="795872"/>
          </a:xfrm>
          <a:custGeom>
            <a:avLst/>
            <a:gdLst/>
            <a:ahLst/>
            <a:cxnLst>
              <a:cxn ang="0">
                <a:pos x="0" y="199"/>
              </a:cxn>
              <a:cxn ang="0">
                <a:pos x="284" y="399"/>
              </a:cxn>
              <a:cxn ang="0">
                <a:pos x="569" y="199"/>
              </a:cxn>
              <a:cxn ang="0">
                <a:pos x="284" y="0"/>
              </a:cxn>
              <a:cxn ang="0">
                <a:pos x="0" y="199"/>
              </a:cxn>
            </a:cxnLst>
            <a:rect l="0" t="0" r="r" b="b"/>
            <a:pathLst>
              <a:path w="569" h="399">
                <a:moveTo>
                  <a:pt x="0" y="199"/>
                </a:moveTo>
                <a:lnTo>
                  <a:pt x="284" y="399"/>
                </a:lnTo>
                <a:lnTo>
                  <a:pt x="569" y="199"/>
                </a:lnTo>
                <a:lnTo>
                  <a:pt x="284" y="0"/>
                </a:lnTo>
                <a:lnTo>
                  <a:pt x="0" y="199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544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8943EC7-42AB-7DFE-9077-6ADCFC513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90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943EC7-42AB-7DFE-9077-6ADCFC513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597122-A0E0-C071-C13E-A03BCEC52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 broad-scale dataset analysis dissects 34 critical economic and well-being indicators, offering a comparative view across OECD countries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4D2AD1-0172-3647-09F7-A37565CCC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68278" y="1812472"/>
            <a:ext cx="4752523" cy="4351338"/>
          </a:xfrm>
        </p:spPr>
        <p:txBody>
          <a:bodyPr/>
          <a:lstStyle/>
          <a:p>
            <a:pPr marL="0" indent="0" algn="l">
              <a:spcBef>
                <a:spcPts val="0"/>
              </a:spcBef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using Quality and Affordability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ghts on dwelling quality, affordability via expenditure on housing, and space per person</a:t>
            </a:r>
          </a:p>
          <a:p>
            <a:pPr marL="0" indent="0">
              <a:spcBef>
                <a:spcPts val="0"/>
              </a:spcBef>
              <a:buNone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839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839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me and Wealth:</a:t>
            </a:r>
            <a:endParaRPr lang="en-GB" sz="1400">
              <a:solidFill>
                <a:srgbClr val="083979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on disposable income and net financial wealth hint at financial stability and savings</a:t>
            </a: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mployment and Job Security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dicators of job market health, including employment rates and security against long-term unemployment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 and Well-being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rics on self-perceived health, life satisfaction, and safety at night reflect physical and mental well-being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fety and Leisure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formation on public safety via homicide rates and the balance of work with leisure time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-life Balance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ing hours data provides insight into potential overwork and its impact on well-being</a:t>
            </a:r>
          </a:p>
          <a:p>
            <a:pPr marL="0" indent="0">
              <a:spcBef>
                <a:spcPts val="0"/>
              </a:spcBef>
              <a:buNone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4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83197-4DAC-9A23-766C-A57934BCF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58B3A6-149D-D632-06C3-64EBB3A64C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Note: (1) Australian Bureau of Statistics, </a:t>
            </a:r>
            <a:r>
              <a:rPr lang="en-GB" err="1"/>
              <a:t>GeoNames</a:t>
            </a:r>
            <a:r>
              <a:rPr lang="en-GB"/>
              <a:t>, Microsoft, </a:t>
            </a:r>
            <a:r>
              <a:rPr lang="en-GB" err="1"/>
              <a:t>Navinfo</a:t>
            </a:r>
            <a:r>
              <a:rPr lang="en-GB"/>
              <a:t>, Open Places, OpenStreetMap, TomTom, </a:t>
            </a:r>
            <a:r>
              <a:rPr lang="en-GB" err="1"/>
              <a:t>Zenri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06B46B5-870E-1280-9F25-B6094EB910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The Well-Being Dat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7D26D69-0927-B5B9-1EFC-1A11EAD543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Dataset Introduction</a:t>
            </a:r>
          </a:p>
        </p:txBody>
      </p:sp>
      <p:pic>
        <p:nvPicPr>
          <p:cNvPr id="14" name="Graphic 13" descr="Yoga outline">
            <a:extLst>
              <a:ext uri="{FF2B5EF4-FFF2-40B4-BE49-F238E27FC236}">
                <a16:creationId xmlns:a16="http://schemas.microsoft.com/office/drawing/2014/main" id="{658EF99A-6F28-98C5-411A-B623B75A36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03093" y="5445735"/>
            <a:ext cx="542247" cy="542247"/>
          </a:xfrm>
          <a:prstGeom prst="rect">
            <a:avLst/>
          </a:prstGeom>
        </p:spPr>
      </p:pic>
      <p:pic>
        <p:nvPicPr>
          <p:cNvPr id="16" name="Graphic 15" descr="Dance outline">
            <a:extLst>
              <a:ext uri="{FF2B5EF4-FFF2-40B4-BE49-F238E27FC236}">
                <a16:creationId xmlns:a16="http://schemas.microsoft.com/office/drawing/2014/main" id="{5D2C53B3-57C4-3F03-6C66-9CF01C0D55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69658" y="4742023"/>
            <a:ext cx="623619" cy="623619"/>
          </a:xfrm>
          <a:prstGeom prst="rect">
            <a:avLst/>
          </a:prstGeom>
        </p:spPr>
      </p:pic>
      <p:pic>
        <p:nvPicPr>
          <p:cNvPr id="18" name="Graphic 17" descr="Medical outline">
            <a:extLst>
              <a:ext uri="{FF2B5EF4-FFF2-40B4-BE49-F238E27FC236}">
                <a16:creationId xmlns:a16="http://schemas.microsoft.com/office/drawing/2014/main" id="{81283D06-C7CA-8F73-26EA-ED6BC38763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44332" y="4112682"/>
            <a:ext cx="659768" cy="566908"/>
          </a:xfrm>
          <a:prstGeom prst="rect">
            <a:avLst/>
          </a:prstGeom>
        </p:spPr>
      </p:pic>
      <p:pic>
        <p:nvPicPr>
          <p:cNvPr id="20" name="Graphic 19" descr="Office worker male outline">
            <a:extLst>
              <a:ext uri="{FF2B5EF4-FFF2-40B4-BE49-F238E27FC236}">
                <a16:creationId xmlns:a16="http://schemas.microsoft.com/office/drawing/2014/main" id="{B364EB2D-535A-E55A-7484-2C3F0B0C4A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55122" y="3366450"/>
            <a:ext cx="600291" cy="600291"/>
          </a:xfrm>
          <a:prstGeom prst="rect">
            <a:avLst/>
          </a:prstGeom>
        </p:spPr>
      </p:pic>
      <p:pic>
        <p:nvPicPr>
          <p:cNvPr id="22" name="Graphic 21" descr="Coins outline">
            <a:extLst>
              <a:ext uri="{FF2B5EF4-FFF2-40B4-BE49-F238E27FC236}">
                <a16:creationId xmlns:a16="http://schemas.microsoft.com/office/drawing/2014/main" id="{38019879-3A2C-64C5-7EC9-CF50B4807D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79732" y="1869545"/>
            <a:ext cx="638686" cy="638686"/>
          </a:xfrm>
          <a:prstGeom prst="rect">
            <a:avLst/>
          </a:prstGeom>
        </p:spPr>
      </p:pic>
      <p:pic>
        <p:nvPicPr>
          <p:cNvPr id="24" name="Graphic 23" descr="Home outline">
            <a:extLst>
              <a:ext uri="{FF2B5EF4-FFF2-40B4-BE49-F238E27FC236}">
                <a16:creationId xmlns:a16="http://schemas.microsoft.com/office/drawing/2014/main" id="{A858C3C7-2175-D4C6-1AD6-0EAEBE3A1FB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69658" y="2644827"/>
            <a:ext cx="575682" cy="57568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A02DE836-1881-513F-9AF4-04300847D60F}"/>
              </a:ext>
            </a:extLst>
          </p:cNvPr>
          <p:cNvGrpSpPr/>
          <p:nvPr/>
        </p:nvGrpSpPr>
        <p:grpSpPr>
          <a:xfrm>
            <a:off x="-288010" y="1919968"/>
            <a:ext cx="6405781" cy="4269775"/>
            <a:chOff x="-256308" y="2046708"/>
            <a:chExt cx="6346371" cy="3941274"/>
          </a:xfrm>
        </p:grpSpPr>
        <mc:AlternateContent xmlns:mc="http://schemas.openxmlformats.org/markup-compatibility/2006" xmlns:cx4="http://schemas.microsoft.com/office/drawing/2016/5/10/chartex">
          <mc:Choice Requires="cx4">
            <p:graphicFrame>
              <p:nvGraphicFramePr>
                <p:cNvPr id="9" name="Chart 8">
                  <a:extLst>
                    <a:ext uri="{FF2B5EF4-FFF2-40B4-BE49-F238E27FC236}">
                      <a16:creationId xmlns:a16="http://schemas.microsoft.com/office/drawing/2014/main" id="{B510362E-9237-2156-78CC-C4047EA83D57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10768229"/>
                    </p:ext>
                  </p:extLst>
                </p:nvPr>
              </p:nvGraphicFramePr>
              <p:xfrm>
                <a:off x="-256308" y="2046708"/>
                <a:ext cx="6346371" cy="3941274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7"/>
                </a:graphicData>
              </a:graphic>
            </p:graphicFrame>
          </mc:Choice>
          <mc:Fallback xmlns="">
            <p:pic>
              <p:nvPicPr>
                <p:cNvPr id="9" name="Chart 8">
                  <a:extLst>
                    <a:ext uri="{FF2B5EF4-FFF2-40B4-BE49-F238E27FC236}">
                      <a16:creationId xmlns:a16="http://schemas.microsoft.com/office/drawing/2014/main" id="{B510362E-9237-2156-78CC-C4047EA83D5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-288010" y="1919968"/>
                  <a:ext cx="6405781" cy="4269775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5B4520-526B-01A2-00C1-3372369DC82B}"/>
                </a:ext>
              </a:extLst>
            </p:cNvPr>
            <p:cNvSpPr/>
            <p:nvPr/>
          </p:nvSpPr>
          <p:spPr>
            <a:xfrm>
              <a:off x="2339379" y="5609949"/>
              <a:ext cx="3696269" cy="334504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/>
                <a:t>&gt;</a:t>
              </a:r>
            </a:p>
          </p:txBody>
        </p:sp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B1A1D4-C3E2-1BBD-1546-48D9444C19E6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World Map of OECD Countries</a:t>
            </a:r>
            <a:r>
              <a:rPr lang="en-GB" sz="1200" b="1" baseline="30000">
                <a:solidFill>
                  <a:schemeClr val="accent1"/>
                </a:solidFill>
              </a:rPr>
              <a:t>1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E15BFB-2334-7AAD-B2F5-9231F7BC8C51}"/>
              </a:ext>
            </a:extLst>
          </p:cNvPr>
          <p:cNvSpPr txBox="1"/>
          <p:nvPr/>
        </p:nvSpPr>
        <p:spPr>
          <a:xfrm>
            <a:off x="140677" y="1667580"/>
            <a:ext cx="184731" cy="369332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l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421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58DD322-A097-79E3-C845-601B043E6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1297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8DD322-A097-79E3-C845-601B043E6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5A4734-B0FD-AC5F-DAF9-501963EB3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y analysing and visualising the data set, a series of insightful discoveries have emerg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B5A9C6-6CCF-E85B-AE61-D66A9F018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5D9469-6180-5735-9166-22E48B1FA2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Discussion of Resul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18C474-F6DC-27D1-5EF8-B886A7F62E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Discussion of Resul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D951FE-CD8A-7822-DAC6-5EEC88EEC1E1}"/>
              </a:ext>
            </a:extLst>
          </p:cNvPr>
          <p:cNvSpPr/>
          <p:nvPr/>
        </p:nvSpPr>
        <p:spPr>
          <a:xfrm>
            <a:off x="426720" y="2009645"/>
            <a:ext cx="1766589" cy="4028532"/>
          </a:xfrm>
          <a:prstGeom prst="rect">
            <a:avLst/>
          </a:prstGeom>
          <a:solidFill>
            <a:schemeClr val="accent3">
              <a:lumMod val="40000"/>
              <a:lumOff val="60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60D291-5A2B-2CE5-A64F-3A7C9983823C}"/>
              </a:ext>
            </a:extLst>
          </p:cNvPr>
          <p:cNvCxnSpPr>
            <a:cxnSpLocks/>
          </p:cNvCxnSpPr>
          <p:nvPr/>
        </p:nvCxnSpPr>
        <p:spPr>
          <a:xfrm>
            <a:off x="535758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D5033E61-2959-EB11-F26E-F370EF56CE6E}"/>
              </a:ext>
            </a:extLst>
          </p:cNvPr>
          <p:cNvSpPr/>
          <p:nvPr/>
        </p:nvSpPr>
        <p:spPr>
          <a:xfrm>
            <a:off x="2350686" y="2009645"/>
            <a:ext cx="1766589" cy="4028533"/>
          </a:xfrm>
          <a:prstGeom prst="rect">
            <a:avLst/>
          </a:prstGeom>
          <a:solidFill>
            <a:schemeClr val="accent3">
              <a:lumMod val="60000"/>
              <a:lumOff val="40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278D78F-594E-6D5C-BE41-EC63DF23B0B9}"/>
              </a:ext>
            </a:extLst>
          </p:cNvPr>
          <p:cNvCxnSpPr>
            <a:cxnSpLocks/>
          </p:cNvCxnSpPr>
          <p:nvPr/>
        </p:nvCxnSpPr>
        <p:spPr>
          <a:xfrm>
            <a:off x="2459724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F7E10F1-631F-BD2A-8554-FA04C292332A}"/>
              </a:ext>
            </a:extLst>
          </p:cNvPr>
          <p:cNvSpPr/>
          <p:nvPr/>
        </p:nvSpPr>
        <p:spPr>
          <a:xfrm>
            <a:off x="4274652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3183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16035E8-8EB7-3671-2672-F7DDB1638468}"/>
              </a:ext>
            </a:extLst>
          </p:cNvPr>
          <p:cNvCxnSpPr>
            <a:cxnSpLocks/>
          </p:cNvCxnSpPr>
          <p:nvPr/>
        </p:nvCxnSpPr>
        <p:spPr>
          <a:xfrm>
            <a:off x="4383690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C69A96A1-1FC3-9710-2458-07E66CD6035F}"/>
              </a:ext>
            </a:extLst>
          </p:cNvPr>
          <p:cNvSpPr/>
          <p:nvPr/>
        </p:nvSpPr>
        <p:spPr>
          <a:xfrm>
            <a:off x="6198618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3725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7944D4B-E56C-2054-2FF9-C60D82AAE8C4}"/>
              </a:ext>
            </a:extLst>
          </p:cNvPr>
          <p:cNvCxnSpPr>
            <a:cxnSpLocks/>
          </p:cNvCxnSpPr>
          <p:nvPr/>
        </p:nvCxnSpPr>
        <p:spPr>
          <a:xfrm>
            <a:off x="6307656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C24D24BE-071F-71FC-3EEB-746A9175E993}"/>
              </a:ext>
            </a:extLst>
          </p:cNvPr>
          <p:cNvSpPr/>
          <p:nvPr/>
        </p:nvSpPr>
        <p:spPr>
          <a:xfrm>
            <a:off x="8120426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4674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CA220C5-79D3-1120-E90B-DDAE564A5292}"/>
              </a:ext>
            </a:extLst>
          </p:cNvPr>
          <p:cNvCxnSpPr>
            <a:cxnSpLocks/>
          </p:cNvCxnSpPr>
          <p:nvPr/>
        </p:nvCxnSpPr>
        <p:spPr>
          <a:xfrm>
            <a:off x="8229464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51CED8AF-D957-49B9-0995-BEC6E967C822}"/>
              </a:ext>
            </a:extLst>
          </p:cNvPr>
          <p:cNvSpPr/>
          <p:nvPr/>
        </p:nvSpPr>
        <p:spPr>
          <a:xfrm>
            <a:off x="10042234" y="2009646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24FDD74-83CA-EE25-8E99-FE886ABFA3C3}"/>
              </a:ext>
            </a:extLst>
          </p:cNvPr>
          <p:cNvCxnSpPr>
            <a:cxnSpLocks/>
          </p:cNvCxnSpPr>
          <p:nvPr/>
        </p:nvCxnSpPr>
        <p:spPr>
          <a:xfrm>
            <a:off x="10151272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5629B0-2FC0-753A-C1CB-A0A4786033C8}"/>
              </a:ext>
            </a:extLst>
          </p:cNvPr>
          <p:cNvSpPr txBox="1"/>
          <p:nvPr/>
        </p:nvSpPr>
        <p:spPr>
          <a:xfrm>
            <a:off x="424561" y="3282336"/>
            <a:ext cx="1728513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expectancy is influenced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716443-7B6A-ABB9-F621-D593F96CABDB}"/>
              </a:ext>
            </a:extLst>
          </p:cNvPr>
          <p:cNvSpPr txBox="1"/>
          <p:nvPr/>
        </p:nvSpPr>
        <p:spPr>
          <a:xfrm>
            <a:off x="472377" y="3971940"/>
            <a:ext cx="1674258" cy="203132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positively by GDP per Capita &amp; Quality of Support Network</a:t>
            </a:r>
          </a:p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and negatively by homicide rate and dwellings without basic facil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05AED9-A006-9F75-AA77-7A59B54CE4F4}"/>
              </a:ext>
            </a:extLst>
          </p:cNvPr>
          <p:cNvSpPr txBox="1"/>
          <p:nvPr/>
        </p:nvSpPr>
        <p:spPr>
          <a:xfrm>
            <a:off x="2378973" y="3313862"/>
            <a:ext cx="1766589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ir of South Korea…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5FD6F9-6199-F4CE-6493-5E9EEDD2651A}"/>
              </a:ext>
            </a:extLst>
          </p:cNvPr>
          <p:cNvSpPr txBox="1"/>
          <p:nvPr/>
        </p:nvSpPr>
        <p:spPr>
          <a:xfrm>
            <a:off x="2358895" y="3971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has almost 10X more pollution than the air of Iceland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85C973-C37D-7778-810A-E1D9A826C561}"/>
              </a:ext>
            </a:extLst>
          </p:cNvPr>
          <p:cNvSpPr txBox="1"/>
          <p:nvPr/>
        </p:nvSpPr>
        <p:spPr>
          <a:xfrm>
            <a:off x="4290813" y="3486393"/>
            <a:ext cx="1780874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eland is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31761B-BFA2-FB5B-AE25-CBA68AC59981}"/>
              </a:ext>
            </a:extLst>
          </p:cNvPr>
          <p:cNvSpPr txBox="1"/>
          <p:nvPr/>
        </p:nvSpPr>
        <p:spPr>
          <a:xfrm>
            <a:off x="4270335" y="3977823"/>
            <a:ext cx="1766589" cy="95410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the country with the best score on both environmental measur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05F18A-D151-CF95-A91C-50EDEAA95994}"/>
              </a:ext>
            </a:extLst>
          </p:cNvPr>
          <p:cNvSpPr txBox="1"/>
          <p:nvPr/>
        </p:nvSpPr>
        <p:spPr>
          <a:xfrm>
            <a:off x="6205947" y="3088986"/>
            <a:ext cx="1759362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ichest country is Luxembourg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39A41A-C41D-FC5D-9512-3AC70C79376A}"/>
              </a:ext>
            </a:extLst>
          </p:cNvPr>
          <p:cNvSpPr txBox="1"/>
          <p:nvPr/>
        </p:nvSpPr>
        <p:spPr>
          <a:xfrm>
            <a:off x="6194301" y="3977823"/>
            <a:ext cx="1827480" cy="95410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with almost three times the OECD AVERAGE for GDP / CA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114788-A0D5-F658-4967-EB49AFC5469C}"/>
              </a:ext>
            </a:extLst>
          </p:cNvPr>
          <p:cNvSpPr txBox="1"/>
          <p:nvPr/>
        </p:nvSpPr>
        <p:spPr>
          <a:xfrm>
            <a:off x="8118267" y="3088986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personal earnings increase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52B094-299F-D49E-E230-A1E037A2F60E}"/>
              </a:ext>
            </a:extLst>
          </p:cNvPr>
          <p:cNvSpPr txBox="1"/>
          <p:nvPr/>
        </p:nvSpPr>
        <p:spPr>
          <a:xfrm>
            <a:off x="8118267" y="3967432"/>
            <a:ext cx="1766589" cy="116955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om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er per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ter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e satisfactio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57019D-7CFA-2D74-D4B1-E5D754118464}"/>
              </a:ext>
            </a:extLst>
          </p:cNvPr>
          <p:cNvSpPr txBox="1"/>
          <p:nvPr/>
        </p:nvSpPr>
        <p:spPr>
          <a:xfrm>
            <a:off x="10032266" y="3032631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untries with the highest life satisfaction are…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2183BD-8D2F-CF78-117D-36647121DFF8}"/>
              </a:ext>
            </a:extLst>
          </p:cNvPr>
          <p:cNvSpPr txBox="1"/>
          <p:nvPr/>
        </p:nvSpPr>
        <p:spPr>
          <a:xfrm>
            <a:off x="10032265" y="3988214"/>
            <a:ext cx="1766589" cy="116955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Icelan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Switzerlan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Norwa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Finland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Denmark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352C26F-2B39-0B03-73CE-49DDC2BA653E}"/>
              </a:ext>
            </a:extLst>
          </p:cNvPr>
          <p:cNvSpPr/>
          <p:nvPr/>
        </p:nvSpPr>
        <p:spPr>
          <a:xfrm>
            <a:off x="10477070" y="2084253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6E98116-1214-3A29-80BB-327F433CA1C9}"/>
              </a:ext>
            </a:extLst>
          </p:cNvPr>
          <p:cNvSpPr/>
          <p:nvPr/>
        </p:nvSpPr>
        <p:spPr>
          <a:xfrm>
            <a:off x="831007" y="2084253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Graphic 42" descr="Man with cane outline">
            <a:extLst>
              <a:ext uri="{FF2B5EF4-FFF2-40B4-BE49-F238E27FC236}">
                <a16:creationId xmlns:a16="http://schemas.microsoft.com/office/drawing/2014/main" id="{3A403FE5-3D81-FD60-FE64-0ABB1409B5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0346" y="2207567"/>
            <a:ext cx="612000" cy="612000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A2788319-20D4-60AA-6524-012AD208493A}"/>
              </a:ext>
            </a:extLst>
          </p:cNvPr>
          <p:cNvSpPr/>
          <p:nvPr/>
        </p:nvSpPr>
        <p:spPr>
          <a:xfrm>
            <a:off x="2727255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Graphic 27" descr="Lungs outline">
            <a:extLst>
              <a:ext uri="{FF2B5EF4-FFF2-40B4-BE49-F238E27FC236}">
                <a16:creationId xmlns:a16="http://schemas.microsoft.com/office/drawing/2014/main" id="{19757C03-50BF-DB3E-5F42-F91027F20F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80760" y="2184423"/>
            <a:ext cx="612000" cy="612000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A5CF335F-26D6-2880-EEFD-D147E3B9D448}"/>
              </a:ext>
            </a:extLst>
          </p:cNvPr>
          <p:cNvSpPr/>
          <p:nvPr/>
        </p:nvSpPr>
        <p:spPr>
          <a:xfrm>
            <a:off x="4706347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" name="Graphic 29" descr="Open hand with plant outline">
            <a:extLst>
              <a:ext uri="{FF2B5EF4-FFF2-40B4-BE49-F238E27FC236}">
                <a16:creationId xmlns:a16="http://schemas.microsoft.com/office/drawing/2014/main" id="{AC65165C-280F-448A-E742-5669D8D29C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54772" y="2243730"/>
            <a:ext cx="612000" cy="612000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9C947346-02F0-26B8-1D62-23B79F737263}"/>
              </a:ext>
            </a:extLst>
          </p:cNvPr>
          <p:cNvSpPr/>
          <p:nvPr/>
        </p:nvSpPr>
        <p:spPr>
          <a:xfrm>
            <a:off x="6606775" y="2082467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5" name="Graphic 34" descr="Gold bars outline">
            <a:extLst>
              <a:ext uri="{FF2B5EF4-FFF2-40B4-BE49-F238E27FC236}">
                <a16:creationId xmlns:a16="http://schemas.microsoft.com/office/drawing/2014/main" id="{89F7A4D2-67B5-26CB-1CDB-40FEC5333C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58583" y="2228253"/>
            <a:ext cx="612000" cy="612000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42C3E833-9373-1E09-73FE-BCB7497162D6}"/>
              </a:ext>
            </a:extLst>
          </p:cNvPr>
          <p:cNvSpPr/>
          <p:nvPr/>
        </p:nvSpPr>
        <p:spPr>
          <a:xfrm>
            <a:off x="8498390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2" name="Graphic 31" descr="Coins outline">
            <a:extLst>
              <a:ext uri="{FF2B5EF4-FFF2-40B4-BE49-F238E27FC236}">
                <a16:creationId xmlns:a16="http://schemas.microsoft.com/office/drawing/2014/main" id="{EA002C3D-F578-48F2-C255-27CFE1DAD6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50198" y="2203409"/>
            <a:ext cx="612000" cy="612000"/>
          </a:xfrm>
          <a:prstGeom prst="rect">
            <a:avLst/>
          </a:prstGeom>
        </p:spPr>
      </p:pic>
      <p:pic>
        <p:nvPicPr>
          <p:cNvPr id="39" name="Graphic 38" descr="Rating 3 Star outline">
            <a:extLst>
              <a:ext uri="{FF2B5EF4-FFF2-40B4-BE49-F238E27FC236}">
                <a16:creationId xmlns:a16="http://schemas.microsoft.com/office/drawing/2014/main" id="{D4F77719-0D0D-64FB-DB63-AAB191BA48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627281" y="2206406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930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23FBC6D-3652-1BE9-62E2-15BB5E16B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4779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3FBC6D-3652-1BE9-62E2-15BB5E16B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32B3C4-EDEA-3BE6-3771-5BBA46DB2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383374"/>
            <a:ext cx="512618" cy="313262"/>
          </a:xfrm>
        </p:spPr>
        <p:txBody>
          <a:bodyPr/>
          <a:lstStyle/>
          <a:p>
            <a:fld id="{8F5FC67E-E9DB-4ACE-B3DB-64B7A5397B4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0C5E76-2906-C874-5ADC-F54E764D5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Conclusion</a:t>
            </a: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8CA3208-3B59-83B4-1275-423834BC7A25}"/>
              </a:ext>
            </a:extLst>
          </p:cNvPr>
          <p:cNvSpPr/>
          <p:nvPr/>
        </p:nvSpPr>
        <p:spPr>
          <a:xfrm>
            <a:off x="4714530" y="1967031"/>
            <a:ext cx="6586220" cy="778819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conomic Indicators</a:t>
            </a:r>
          </a:p>
          <a:p>
            <a:pPr lvl="0" eaLnBrk="0" hangingPunct="0">
              <a:buClr>
                <a:srgbClr val="FF6600"/>
              </a:buClr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ve presentation of economic factors such as GDP, GDP per capita, household income etc. per OECD country, with the values for the average, median, standard deviation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E9711C70-2BA2-7E93-FC97-709AC6E24080}"/>
              </a:ext>
            </a:extLst>
          </p:cNvPr>
          <p:cNvSpPr/>
          <p:nvPr/>
        </p:nvSpPr>
        <p:spPr>
          <a:xfrm>
            <a:off x="4729991" y="3968635"/>
            <a:ext cx="6406786" cy="9263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uality of Life </a:t>
            </a:r>
          </a:p>
          <a:p>
            <a:pPr lvl="0" eaLnBrk="0" hangingPunct="0">
              <a:buClr>
                <a:srgbClr val="FF6600"/>
              </a:buClr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ation of Safety and health and environment measures per country with the ability to select according to the level of economic development 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3E0155F0-F352-4ADB-4B60-CA9196175F78}"/>
              </a:ext>
            </a:extLst>
          </p:cNvPr>
          <p:cNvSpPr/>
          <p:nvPr/>
        </p:nvSpPr>
        <p:spPr>
          <a:xfrm>
            <a:off x="4729991" y="2967218"/>
            <a:ext cx="6533314" cy="959175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ment &amp; Education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sentation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f the employment and education situation per county based on a variety of measures and sub filter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DC1842E6-479D-9190-8FED-DBC4056F11FD}"/>
              </a:ext>
            </a:extLst>
          </p:cNvPr>
          <p:cNvSpPr/>
          <p:nvPr/>
        </p:nvSpPr>
        <p:spPr>
          <a:xfrm>
            <a:off x="4718242" y="5024835"/>
            <a:ext cx="7090581" cy="88104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of Insightful Correlations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ife expectancy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s a positive correlation with GDP per Capita, Quality of support network, and related negatively to dwellings without basic facilities and homicide rate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sonal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arnings are relating positively to rooms per person, water quality, safely and life satisfaction showing the importance of a country's economic statu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34F5FD-A553-24D8-91BA-475935201A6E}"/>
              </a:ext>
            </a:extLst>
          </p:cNvPr>
          <p:cNvGrpSpPr/>
          <p:nvPr/>
        </p:nvGrpSpPr>
        <p:grpSpPr>
          <a:xfrm>
            <a:off x="-55983" y="1834312"/>
            <a:ext cx="4682951" cy="4277843"/>
            <a:chOff x="-52054" y="1742023"/>
            <a:chExt cx="4762039" cy="4428845"/>
          </a:xfrm>
        </p:grpSpPr>
        <p:sp>
          <p:nvSpPr>
            <p:cNvPr id="106" name="Freeform 25">
              <a:extLst>
                <a:ext uri="{FF2B5EF4-FFF2-40B4-BE49-F238E27FC236}">
                  <a16:creationId xmlns:a16="http://schemas.microsoft.com/office/drawing/2014/main" id="{5757794B-6B34-E3C9-6C2E-F00B67691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42023"/>
              <a:ext cx="3221326" cy="4428845"/>
            </a:xfrm>
            <a:custGeom>
              <a:avLst/>
              <a:gdLst>
                <a:gd name="T0" fmla="*/ 0 w 1970"/>
                <a:gd name="T1" fmla="*/ 2575 h 2719"/>
                <a:gd name="T2" fmla="*/ 610 w 1970"/>
                <a:gd name="T3" fmla="*/ 2719 h 2719"/>
                <a:gd name="T4" fmla="*/ 1970 w 1970"/>
                <a:gd name="T5" fmla="*/ 1360 h 2719"/>
                <a:gd name="T6" fmla="*/ 610 w 1970"/>
                <a:gd name="T7" fmla="*/ 0 h 2719"/>
                <a:gd name="T8" fmla="*/ 0 w 1970"/>
                <a:gd name="T9" fmla="*/ 144 h 2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0" h="2719">
                  <a:moveTo>
                    <a:pt x="0" y="2575"/>
                  </a:moveTo>
                  <a:cubicBezTo>
                    <a:pt x="183" y="2667"/>
                    <a:pt x="391" y="2719"/>
                    <a:pt x="610" y="2719"/>
                  </a:cubicBezTo>
                  <a:cubicBezTo>
                    <a:pt x="1361" y="2719"/>
                    <a:pt x="1970" y="2111"/>
                    <a:pt x="1970" y="1360"/>
                  </a:cubicBezTo>
                  <a:cubicBezTo>
                    <a:pt x="1970" y="608"/>
                    <a:pt x="1361" y="0"/>
                    <a:pt x="610" y="0"/>
                  </a:cubicBezTo>
                  <a:cubicBezTo>
                    <a:pt x="391" y="0"/>
                    <a:pt x="183" y="52"/>
                    <a:pt x="0" y="144"/>
                  </a:cubicBezTo>
                </a:path>
              </a:pathLst>
            </a:custGeom>
            <a:solidFill>
              <a:schemeClr val="bg1">
                <a:lumMod val="75000"/>
                <a:alpha val="49000"/>
              </a:schemeClr>
            </a:solidFill>
            <a:ln w="1270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lg" len="lg"/>
              <a:tailEnd type="none" w="lg" len="lg"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DDF4064A-C513-CE8B-DF8C-59DD473EB160}"/>
                </a:ext>
              </a:extLst>
            </p:cNvPr>
            <p:cNvSpPr>
              <a:spLocks/>
            </p:cNvSpPr>
            <p:nvPr/>
          </p:nvSpPr>
          <p:spPr>
            <a:xfrm>
              <a:off x="3905854" y="1898675"/>
              <a:ext cx="799054" cy="74907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id="{F1644B04-7D8F-E067-824D-98BB4FE40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730" y="3277464"/>
              <a:ext cx="262444" cy="261156"/>
            </a:xfrm>
            <a:prstGeom prst="ellipse">
              <a:avLst/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1E9F031E-796B-117F-F3DA-F919742A59CE}"/>
                </a:ext>
              </a:extLst>
            </p:cNvPr>
            <p:cNvSpPr>
              <a:spLocks/>
            </p:cNvSpPr>
            <p:nvPr/>
          </p:nvSpPr>
          <p:spPr>
            <a:xfrm>
              <a:off x="3900736" y="2954274"/>
              <a:ext cx="799054" cy="77484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id="{1AC1EED3-5B3C-296B-F238-F453D32FD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730" y="4327130"/>
              <a:ext cx="262444" cy="26115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6C2CA613-DBA1-4F7A-DCAC-C39F4B9F3B5D}"/>
                </a:ext>
              </a:extLst>
            </p:cNvPr>
            <p:cNvCxnSpPr/>
            <p:nvPr/>
          </p:nvCxnSpPr>
          <p:spPr>
            <a:xfrm flipV="1">
              <a:off x="2534268" y="5520485"/>
              <a:ext cx="1376663" cy="1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59B090E7-8782-E387-5313-9B32D6BCDE35}"/>
                </a:ext>
              </a:extLst>
            </p:cNvPr>
            <p:cNvGrpSpPr/>
            <p:nvPr/>
          </p:nvGrpSpPr>
          <p:grpSpPr>
            <a:xfrm>
              <a:off x="2269897" y="2128146"/>
              <a:ext cx="1635957" cy="264371"/>
              <a:chOff x="2269897" y="1977144"/>
              <a:chExt cx="1635957" cy="264371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119" name="Freeform 9">
                <a:extLst>
                  <a:ext uri="{FF2B5EF4-FFF2-40B4-BE49-F238E27FC236}">
                    <a16:creationId xmlns:a16="http://schemas.microsoft.com/office/drawing/2014/main" id="{6F61AC19-A04C-C29E-F29D-3D408EB3D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9897" y="1977144"/>
                <a:ext cx="264371" cy="264371"/>
              </a:xfrm>
              <a:prstGeom prst="ellipse">
                <a:avLst/>
              </a:pr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 Bold" charset="0"/>
                  <a:ea typeface="+mn-ea"/>
                  <a:cs typeface="+mn-cs"/>
                </a:endParaRP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B4459502-EB78-5A02-4B38-81E2434E022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34268" y="2109329"/>
                <a:ext cx="1371586" cy="1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7DA3088E-F00A-07A8-7DAD-A8D2BE563114}"/>
                </a:ext>
              </a:extLst>
            </p:cNvPr>
            <p:cNvCxnSpPr>
              <a:cxnSpLocks/>
            </p:cNvCxnSpPr>
            <p:nvPr/>
          </p:nvCxnSpPr>
          <p:spPr>
            <a:xfrm>
              <a:off x="3271174" y="4441985"/>
              <a:ext cx="63468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671E9D4-EFF0-CA4B-CFD1-538D257D1F73}"/>
                </a:ext>
              </a:extLst>
            </p:cNvPr>
            <p:cNvCxnSpPr>
              <a:cxnSpLocks/>
            </p:cNvCxnSpPr>
            <p:nvPr/>
          </p:nvCxnSpPr>
          <p:spPr>
            <a:xfrm>
              <a:off x="3271174" y="3408042"/>
              <a:ext cx="617779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7" name="Graphic 2">
              <a:extLst>
                <a:ext uri="{FF2B5EF4-FFF2-40B4-BE49-F238E27FC236}">
                  <a16:creationId xmlns:a16="http://schemas.microsoft.com/office/drawing/2014/main" id="{909E7E99-6522-DB65-92E2-A45406CCC6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16771" y="4324049"/>
              <a:ext cx="389780" cy="386563"/>
              <a:chOff x="5864412" y="3152586"/>
              <a:chExt cx="463177" cy="459352"/>
            </a:xfrm>
            <a:solidFill>
              <a:schemeClr val="bg1"/>
            </a:solidFill>
          </p:grpSpPr>
          <p:sp>
            <p:nvSpPr>
              <p:cNvPr id="148" name="Freeform: Shape 77">
                <a:extLst>
                  <a:ext uri="{FF2B5EF4-FFF2-40B4-BE49-F238E27FC236}">
                    <a16:creationId xmlns:a16="http://schemas.microsoft.com/office/drawing/2014/main" id="{AF312E21-A051-6431-229D-F04D50C904C1}"/>
                  </a:ext>
                </a:extLst>
              </p:cNvPr>
              <p:cNvSpPr/>
              <p:nvPr/>
            </p:nvSpPr>
            <p:spPr>
              <a:xfrm>
                <a:off x="5864412" y="3152586"/>
                <a:ext cx="463177" cy="258834"/>
              </a:xfrm>
              <a:custGeom>
                <a:avLst/>
                <a:gdLst>
                  <a:gd name="connsiteX0" fmla="*/ 442470 w 463177"/>
                  <a:gd name="connsiteY0" fmla="*/ 0 h 258834"/>
                  <a:gd name="connsiteX1" fmla="*/ 20162 w 463177"/>
                  <a:gd name="connsiteY1" fmla="*/ 0 h 258834"/>
                  <a:gd name="connsiteX2" fmla="*/ 0 w 463177"/>
                  <a:gd name="connsiteY2" fmla="*/ 20707 h 258834"/>
                  <a:gd name="connsiteX3" fmla="*/ 0 w 463177"/>
                  <a:gd name="connsiteY3" fmla="*/ 238672 h 258834"/>
                  <a:gd name="connsiteX4" fmla="*/ 20707 w 463177"/>
                  <a:gd name="connsiteY4" fmla="*/ 258834 h 258834"/>
                  <a:gd name="connsiteX5" fmla="*/ 443015 w 463177"/>
                  <a:gd name="connsiteY5" fmla="*/ 258834 h 258834"/>
                  <a:gd name="connsiteX6" fmla="*/ 463177 w 463177"/>
                  <a:gd name="connsiteY6" fmla="*/ 238127 h 258834"/>
                  <a:gd name="connsiteX7" fmla="*/ 463177 w 463177"/>
                  <a:gd name="connsiteY7" fmla="*/ 20162 h 258834"/>
                  <a:gd name="connsiteX8" fmla="*/ 442470 w 463177"/>
                  <a:gd name="connsiteY8" fmla="*/ 0 h 258834"/>
                  <a:gd name="connsiteX9" fmla="*/ 449554 w 463177"/>
                  <a:gd name="connsiteY9" fmla="*/ 238127 h 258834"/>
                  <a:gd name="connsiteX10" fmla="*/ 442470 w 463177"/>
                  <a:gd name="connsiteY10" fmla="*/ 245211 h 258834"/>
                  <a:gd name="connsiteX11" fmla="*/ 20162 w 463177"/>
                  <a:gd name="connsiteY11" fmla="*/ 245211 h 258834"/>
                  <a:gd name="connsiteX12" fmla="*/ 13623 w 463177"/>
                  <a:gd name="connsiteY12" fmla="*/ 238127 h 258834"/>
                  <a:gd name="connsiteX13" fmla="*/ 13623 w 463177"/>
                  <a:gd name="connsiteY13" fmla="*/ 20162 h 258834"/>
                  <a:gd name="connsiteX14" fmla="*/ 20707 w 463177"/>
                  <a:gd name="connsiteY14" fmla="*/ 13623 h 258834"/>
                  <a:gd name="connsiteX15" fmla="*/ 443015 w 463177"/>
                  <a:gd name="connsiteY15" fmla="*/ 13623 h 258834"/>
                  <a:gd name="connsiteX16" fmla="*/ 450099 w 463177"/>
                  <a:gd name="connsiteY16" fmla="*/ 20707 h 258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3177" h="258834">
                    <a:moveTo>
                      <a:pt x="442470" y="0"/>
                    </a:moveTo>
                    <a:lnTo>
                      <a:pt x="20162" y="0"/>
                    </a:lnTo>
                    <a:cubicBezTo>
                      <a:pt x="8939" y="295"/>
                      <a:pt x="-4" y="9480"/>
                      <a:pt x="0" y="20707"/>
                    </a:cubicBezTo>
                    <a:lnTo>
                      <a:pt x="0" y="238672"/>
                    </a:lnTo>
                    <a:cubicBezTo>
                      <a:pt x="295" y="249895"/>
                      <a:pt x="9480" y="258838"/>
                      <a:pt x="20707" y="258834"/>
                    </a:cubicBezTo>
                    <a:lnTo>
                      <a:pt x="443015" y="258834"/>
                    </a:lnTo>
                    <a:cubicBezTo>
                      <a:pt x="454238" y="258539"/>
                      <a:pt x="463181" y="249354"/>
                      <a:pt x="463177" y="238127"/>
                    </a:cubicBezTo>
                    <a:lnTo>
                      <a:pt x="463177" y="20162"/>
                    </a:lnTo>
                    <a:cubicBezTo>
                      <a:pt x="462881" y="8939"/>
                      <a:pt x="453697" y="-4"/>
                      <a:pt x="442470" y="0"/>
                    </a:cubicBezTo>
                    <a:close/>
                    <a:moveTo>
                      <a:pt x="449554" y="238127"/>
                    </a:moveTo>
                    <a:cubicBezTo>
                      <a:pt x="449554" y="242040"/>
                      <a:pt x="446383" y="245211"/>
                      <a:pt x="442470" y="245211"/>
                    </a:cubicBezTo>
                    <a:lnTo>
                      <a:pt x="20162" y="245211"/>
                    </a:lnTo>
                    <a:cubicBezTo>
                      <a:pt x="16464" y="244927"/>
                      <a:pt x="13612" y="241837"/>
                      <a:pt x="13623" y="238127"/>
                    </a:cubicBezTo>
                    <a:lnTo>
                      <a:pt x="13623" y="20162"/>
                    </a:lnTo>
                    <a:cubicBezTo>
                      <a:pt x="13908" y="16464"/>
                      <a:pt x="16998" y="13612"/>
                      <a:pt x="20707" y="13623"/>
                    </a:cubicBezTo>
                    <a:lnTo>
                      <a:pt x="443015" y="13623"/>
                    </a:lnTo>
                    <a:cubicBezTo>
                      <a:pt x="446928" y="13623"/>
                      <a:pt x="450099" y="16794"/>
                      <a:pt x="450099" y="20707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78">
                <a:extLst>
                  <a:ext uri="{FF2B5EF4-FFF2-40B4-BE49-F238E27FC236}">
                    <a16:creationId xmlns:a16="http://schemas.microsoft.com/office/drawing/2014/main" id="{E11E711F-A6AF-0A9D-B619-83EF9DA0415C}"/>
                  </a:ext>
                </a:extLst>
              </p:cNvPr>
              <p:cNvSpPr/>
              <p:nvPr/>
            </p:nvSpPr>
            <p:spPr>
              <a:xfrm>
                <a:off x="5900240" y="3420002"/>
                <a:ext cx="81737" cy="81737"/>
              </a:xfrm>
              <a:custGeom>
                <a:avLst/>
                <a:gdLst>
                  <a:gd name="connsiteX0" fmla="*/ 91545 w 81737"/>
                  <a:gd name="connsiteY0" fmla="*/ 45909 h 81737"/>
                  <a:gd name="connsiteX1" fmla="*/ 45909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546 h 81737"/>
                  <a:gd name="connsiteX4" fmla="*/ 45909 w 81737"/>
                  <a:gd name="connsiteY4" fmla="*/ 91546 h 81737"/>
                  <a:gd name="connsiteX5" fmla="*/ 91545 w 81737"/>
                  <a:gd name="connsiteY5" fmla="*/ 45909 h 81737"/>
                  <a:gd name="connsiteX6" fmla="*/ 13759 w 81737"/>
                  <a:gd name="connsiteY6" fmla="*/ 45909 h 81737"/>
                  <a:gd name="connsiteX7" fmla="*/ 45772 w 81737"/>
                  <a:gd name="connsiteY7" fmla="*/ 13623 h 81737"/>
                  <a:gd name="connsiteX8" fmla="*/ 78058 w 81737"/>
                  <a:gd name="connsiteY8" fmla="*/ 45637 h 81737"/>
                  <a:gd name="connsiteX9" fmla="*/ 46045 w 81737"/>
                  <a:gd name="connsiteY9" fmla="*/ 77923 h 81737"/>
                  <a:gd name="connsiteX10" fmla="*/ 45909 w 81737"/>
                  <a:gd name="connsiteY10" fmla="*/ 77923 h 81737"/>
                  <a:gd name="connsiteX11" fmla="*/ 13759 w 81737"/>
                  <a:gd name="connsiteY11" fmla="*/ 45909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737" h="81737">
                    <a:moveTo>
                      <a:pt x="91545" y="45909"/>
                    </a:moveTo>
                    <a:cubicBezTo>
                      <a:pt x="91621" y="20629"/>
                      <a:pt x="71188" y="75"/>
                      <a:pt x="45909" y="0"/>
                    </a:cubicBezTo>
                    <a:cubicBezTo>
                      <a:pt x="20629" y="-75"/>
                      <a:pt x="75" y="20358"/>
                      <a:pt x="0" y="45637"/>
                    </a:cubicBezTo>
                    <a:cubicBezTo>
                      <a:pt x="-75" y="70917"/>
                      <a:pt x="20357" y="91471"/>
                      <a:pt x="45637" y="91546"/>
                    </a:cubicBezTo>
                    <a:cubicBezTo>
                      <a:pt x="45727" y="91546"/>
                      <a:pt x="45818" y="91546"/>
                      <a:pt x="45909" y="91546"/>
                    </a:cubicBezTo>
                    <a:cubicBezTo>
                      <a:pt x="71113" y="91546"/>
                      <a:pt x="91545" y="71114"/>
                      <a:pt x="91545" y="45909"/>
                    </a:cubicBezTo>
                    <a:close/>
                    <a:moveTo>
                      <a:pt x="13759" y="45909"/>
                    </a:moveTo>
                    <a:cubicBezTo>
                      <a:pt x="13684" y="28153"/>
                      <a:pt x="28017" y="13698"/>
                      <a:pt x="45772" y="13623"/>
                    </a:cubicBezTo>
                    <a:cubicBezTo>
                      <a:pt x="63528" y="13548"/>
                      <a:pt x="77983" y="27881"/>
                      <a:pt x="78058" y="45637"/>
                    </a:cubicBezTo>
                    <a:cubicBezTo>
                      <a:pt x="78133" y="63393"/>
                      <a:pt x="63801" y="77848"/>
                      <a:pt x="46045" y="77923"/>
                    </a:cubicBezTo>
                    <a:cubicBezTo>
                      <a:pt x="45999" y="77923"/>
                      <a:pt x="45954" y="77923"/>
                      <a:pt x="45909" y="77923"/>
                    </a:cubicBezTo>
                    <a:cubicBezTo>
                      <a:pt x="28206" y="77923"/>
                      <a:pt x="13834" y="63612"/>
                      <a:pt x="13759" y="45909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79">
                <a:extLst>
                  <a:ext uri="{FF2B5EF4-FFF2-40B4-BE49-F238E27FC236}">
                    <a16:creationId xmlns:a16="http://schemas.microsoft.com/office/drawing/2014/main" id="{02476D0B-EF8C-C4A4-68C4-638F80560495}"/>
                  </a:ext>
                </a:extLst>
              </p:cNvPr>
              <p:cNvSpPr/>
              <p:nvPr/>
            </p:nvSpPr>
            <p:spPr>
              <a:xfrm>
                <a:off x="6050364" y="3420275"/>
                <a:ext cx="81737" cy="81737"/>
              </a:xfrm>
              <a:custGeom>
                <a:avLst/>
                <a:gdLst>
                  <a:gd name="connsiteX0" fmla="*/ 91273 w 81737"/>
                  <a:gd name="connsiteY0" fmla="*/ 45637 h 81737"/>
                  <a:gd name="connsiteX1" fmla="*/ 45637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273 h 81737"/>
                  <a:gd name="connsiteX4" fmla="*/ 91273 w 81737"/>
                  <a:gd name="connsiteY4" fmla="*/ 45637 h 81737"/>
                  <a:gd name="connsiteX5" fmla="*/ 13623 w 81737"/>
                  <a:gd name="connsiteY5" fmla="*/ 45637 h 81737"/>
                  <a:gd name="connsiteX6" fmla="*/ 45637 w 81737"/>
                  <a:gd name="connsiteY6" fmla="*/ 13623 h 81737"/>
                  <a:gd name="connsiteX7" fmla="*/ 77650 w 81737"/>
                  <a:gd name="connsiteY7" fmla="*/ 45637 h 81737"/>
                  <a:gd name="connsiteX8" fmla="*/ 45637 w 81737"/>
                  <a:gd name="connsiteY8" fmla="*/ 77650 h 81737"/>
                  <a:gd name="connsiteX9" fmla="*/ 13623 w 81737"/>
                  <a:gd name="connsiteY9" fmla="*/ 45637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37" h="81737">
                    <a:moveTo>
                      <a:pt x="91273" y="45637"/>
                    </a:moveTo>
                    <a:cubicBezTo>
                      <a:pt x="91273" y="20432"/>
                      <a:pt x="70842" y="0"/>
                      <a:pt x="45637" y="0"/>
                    </a:cubicBezTo>
                    <a:cubicBezTo>
                      <a:pt x="20432" y="0"/>
                      <a:pt x="0" y="20432"/>
                      <a:pt x="0" y="45637"/>
                    </a:cubicBezTo>
                    <a:cubicBezTo>
                      <a:pt x="0" y="70842"/>
                      <a:pt x="20432" y="91273"/>
                      <a:pt x="45637" y="91273"/>
                    </a:cubicBezTo>
                    <a:cubicBezTo>
                      <a:pt x="70842" y="91273"/>
                      <a:pt x="91273" y="70842"/>
                      <a:pt x="91273" y="45637"/>
                    </a:cubicBezTo>
                    <a:close/>
                    <a:moveTo>
                      <a:pt x="13623" y="45637"/>
                    </a:moveTo>
                    <a:cubicBezTo>
                      <a:pt x="13623" y="27955"/>
                      <a:pt x="27955" y="13623"/>
                      <a:pt x="45637" y="13623"/>
                    </a:cubicBezTo>
                    <a:cubicBezTo>
                      <a:pt x="63318" y="13623"/>
                      <a:pt x="77650" y="27955"/>
                      <a:pt x="77650" y="45637"/>
                    </a:cubicBezTo>
                    <a:cubicBezTo>
                      <a:pt x="77650" y="63318"/>
                      <a:pt x="63318" y="77650"/>
                      <a:pt x="45637" y="77650"/>
                    </a:cubicBezTo>
                    <a:cubicBezTo>
                      <a:pt x="27955" y="77650"/>
                      <a:pt x="13623" y="63318"/>
                      <a:pt x="13623" y="45637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80">
                <a:extLst>
                  <a:ext uri="{FF2B5EF4-FFF2-40B4-BE49-F238E27FC236}">
                    <a16:creationId xmlns:a16="http://schemas.microsoft.com/office/drawing/2014/main" id="{BCC12792-D598-92B9-78F9-6240AF8B824F}"/>
                  </a:ext>
                </a:extLst>
              </p:cNvPr>
              <p:cNvSpPr/>
              <p:nvPr/>
            </p:nvSpPr>
            <p:spPr>
              <a:xfrm>
                <a:off x="6050364" y="3175064"/>
                <a:ext cx="81737" cy="81737"/>
              </a:xfrm>
              <a:custGeom>
                <a:avLst/>
                <a:gdLst>
                  <a:gd name="connsiteX0" fmla="*/ 45637 w 81737"/>
                  <a:gd name="connsiteY0" fmla="*/ 91273 h 81737"/>
                  <a:gd name="connsiteX1" fmla="*/ 91273 w 81737"/>
                  <a:gd name="connsiteY1" fmla="*/ 45637 h 81737"/>
                  <a:gd name="connsiteX2" fmla="*/ 45637 w 81737"/>
                  <a:gd name="connsiteY2" fmla="*/ 0 h 81737"/>
                  <a:gd name="connsiteX3" fmla="*/ 0 w 81737"/>
                  <a:gd name="connsiteY3" fmla="*/ 45637 h 81737"/>
                  <a:gd name="connsiteX4" fmla="*/ 45637 w 81737"/>
                  <a:gd name="connsiteY4" fmla="*/ 91273 h 81737"/>
                  <a:gd name="connsiteX5" fmla="*/ 45637 w 81737"/>
                  <a:gd name="connsiteY5" fmla="*/ 13623 h 81737"/>
                  <a:gd name="connsiteX6" fmla="*/ 77650 w 81737"/>
                  <a:gd name="connsiteY6" fmla="*/ 45637 h 81737"/>
                  <a:gd name="connsiteX7" fmla="*/ 45637 w 81737"/>
                  <a:gd name="connsiteY7" fmla="*/ 77650 h 81737"/>
                  <a:gd name="connsiteX8" fmla="*/ 13623 w 81737"/>
                  <a:gd name="connsiteY8" fmla="*/ 45637 h 81737"/>
                  <a:gd name="connsiteX9" fmla="*/ 45637 w 81737"/>
                  <a:gd name="connsiteY9" fmla="*/ 13623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37" h="81737">
                    <a:moveTo>
                      <a:pt x="45637" y="91273"/>
                    </a:moveTo>
                    <a:cubicBezTo>
                      <a:pt x="70842" y="91273"/>
                      <a:pt x="91273" y="70841"/>
                      <a:pt x="91273" y="45637"/>
                    </a:cubicBezTo>
                    <a:cubicBezTo>
                      <a:pt x="91273" y="20432"/>
                      <a:pt x="70842" y="0"/>
                      <a:pt x="45637" y="0"/>
                    </a:cubicBezTo>
                    <a:cubicBezTo>
                      <a:pt x="20432" y="0"/>
                      <a:pt x="0" y="20432"/>
                      <a:pt x="0" y="45637"/>
                    </a:cubicBezTo>
                    <a:cubicBezTo>
                      <a:pt x="0" y="70841"/>
                      <a:pt x="20432" y="91273"/>
                      <a:pt x="45637" y="91273"/>
                    </a:cubicBezTo>
                    <a:close/>
                    <a:moveTo>
                      <a:pt x="45637" y="13623"/>
                    </a:moveTo>
                    <a:cubicBezTo>
                      <a:pt x="63318" y="13623"/>
                      <a:pt x="77650" y="27956"/>
                      <a:pt x="77650" y="45637"/>
                    </a:cubicBezTo>
                    <a:cubicBezTo>
                      <a:pt x="77650" y="63317"/>
                      <a:pt x="63318" y="77650"/>
                      <a:pt x="45637" y="77650"/>
                    </a:cubicBezTo>
                    <a:cubicBezTo>
                      <a:pt x="27955" y="77650"/>
                      <a:pt x="13623" y="63317"/>
                      <a:pt x="13623" y="45637"/>
                    </a:cubicBezTo>
                    <a:cubicBezTo>
                      <a:pt x="13623" y="27956"/>
                      <a:pt x="27955" y="13623"/>
                      <a:pt x="45637" y="13623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81">
                <a:extLst>
                  <a:ext uri="{FF2B5EF4-FFF2-40B4-BE49-F238E27FC236}">
                    <a16:creationId xmlns:a16="http://schemas.microsoft.com/office/drawing/2014/main" id="{776D11F0-0432-B76D-821D-102A1E411792}"/>
                  </a:ext>
                </a:extLst>
              </p:cNvPr>
              <p:cNvSpPr/>
              <p:nvPr/>
            </p:nvSpPr>
            <p:spPr>
              <a:xfrm>
                <a:off x="6014263" y="3271377"/>
                <a:ext cx="163474" cy="95360"/>
              </a:xfrm>
              <a:custGeom>
                <a:avLst/>
                <a:gdLst>
                  <a:gd name="connsiteX0" fmla="*/ 109664 w 163474"/>
                  <a:gd name="connsiteY0" fmla="*/ 0 h 95359"/>
                  <a:gd name="connsiteX1" fmla="*/ 54491 w 163474"/>
                  <a:gd name="connsiteY1" fmla="*/ 0 h 95359"/>
                  <a:gd name="connsiteX2" fmla="*/ 0 w 163474"/>
                  <a:gd name="connsiteY2" fmla="*/ 53810 h 95359"/>
                  <a:gd name="connsiteX3" fmla="*/ 0 w 163474"/>
                  <a:gd name="connsiteY3" fmla="*/ 78059 h 95359"/>
                  <a:gd name="connsiteX4" fmla="*/ 21115 w 163474"/>
                  <a:gd name="connsiteY4" fmla="*/ 99174 h 95359"/>
                  <a:gd name="connsiteX5" fmla="*/ 142359 w 163474"/>
                  <a:gd name="connsiteY5" fmla="*/ 99174 h 95359"/>
                  <a:gd name="connsiteX6" fmla="*/ 163474 w 163474"/>
                  <a:gd name="connsiteY6" fmla="*/ 78333 h 95359"/>
                  <a:gd name="connsiteX7" fmla="*/ 163474 w 163474"/>
                  <a:gd name="connsiteY7" fmla="*/ 78059 h 95359"/>
                  <a:gd name="connsiteX8" fmla="*/ 163474 w 163474"/>
                  <a:gd name="connsiteY8" fmla="*/ 53810 h 95359"/>
                  <a:gd name="connsiteX9" fmla="*/ 109664 w 163474"/>
                  <a:gd name="connsiteY9" fmla="*/ 0 h 95359"/>
                  <a:gd name="connsiteX10" fmla="*/ 149851 w 163474"/>
                  <a:gd name="connsiteY10" fmla="*/ 78059 h 95359"/>
                  <a:gd name="connsiteX11" fmla="*/ 142359 w 163474"/>
                  <a:gd name="connsiteY11" fmla="*/ 85552 h 95359"/>
                  <a:gd name="connsiteX12" fmla="*/ 21115 w 163474"/>
                  <a:gd name="connsiteY12" fmla="*/ 85552 h 95359"/>
                  <a:gd name="connsiteX13" fmla="*/ 13623 w 163474"/>
                  <a:gd name="connsiteY13" fmla="*/ 78059 h 95359"/>
                  <a:gd name="connsiteX14" fmla="*/ 13623 w 163474"/>
                  <a:gd name="connsiteY14" fmla="*/ 53810 h 95359"/>
                  <a:gd name="connsiteX15" fmla="*/ 54491 w 163474"/>
                  <a:gd name="connsiteY15" fmla="*/ 13623 h 95359"/>
                  <a:gd name="connsiteX16" fmla="*/ 110209 w 163474"/>
                  <a:gd name="connsiteY16" fmla="*/ 13623 h 95359"/>
                  <a:gd name="connsiteX17" fmla="*/ 149851 w 163474"/>
                  <a:gd name="connsiteY17" fmla="*/ 53810 h 9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3474" h="95359">
                    <a:moveTo>
                      <a:pt x="109664" y="0"/>
                    </a:moveTo>
                    <a:lnTo>
                      <a:pt x="54491" y="0"/>
                    </a:lnTo>
                    <a:cubicBezTo>
                      <a:pt x="24660" y="-2"/>
                      <a:pt x="373" y="23982"/>
                      <a:pt x="0" y="53810"/>
                    </a:cubicBezTo>
                    <a:lnTo>
                      <a:pt x="0" y="78059"/>
                    </a:lnTo>
                    <a:cubicBezTo>
                      <a:pt x="0" y="89720"/>
                      <a:pt x="9454" y="99174"/>
                      <a:pt x="21115" y="99174"/>
                    </a:cubicBezTo>
                    <a:lnTo>
                      <a:pt x="142359" y="99174"/>
                    </a:lnTo>
                    <a:cubicBezTo>
                      <a:pt x="153945" y="99249"/>
                      <a:pt x="163399" y="89919"/>
                      <a:pt x="163474" y="78333"/>
                    </a:cubicBezTo>
                    <a:cubicBezTo>
                      <a:pt x="163474" y="78241"/>
                      <a:pt x="163474" y="78150"/>
                      <a:pt x="163474" y="78059"/>
                    </a:cubicBezTo>
                    <a:lnTo>
                      <a:pt x="163474" y="53810"/>
                    </a:lnTo>
                    <a:cubicBezTo>
                      <a:pt x="163106" y="24245"/>
                      <a:pt x="139230" y="367"/>
                      <a:pt x="109664" y="0"/>
                    </a:cubicBezTo>
                    <a:close/>
                    <a:moveTo>
                      <a:pt x="149851" y="78059"/>
                    </a:moveTo>
                    <a:cubicBezTo>
                      <a:pt x="149851" y="82198"/>
                      <a:pt x="146497" y="85552"/>
                      <a:pt x="142359" y="85552"/>
                    </a:cubicBezTo>
                    <a:lnTo>
                      <a:pt x="21115" y="85552"/>
                    </a:lnTo>
                    <a:cubicBezTo>
                      <a:pt x="16977" y="85552"/>
                      <a:pt x="13623" y="82198"/>
                      <a:pt x="13623" y="78059"/>
                    </a:cubicBezTo>
                    <a:lnTo>
                      <a:pt x="13623" y="53810"/>
                    </a:lnTo>
                    <a:cubicBezTo>
                      <a:pt x="13995" y="31506"/>
                      <a:pt x="32184" y="13620"/>
                      <a:pt x="54491" y="13623"/>
                    </a:cubicBezTo>
                    <a:lnTo>
                      <a:pt x="110209" y="13623"/>
                    </a:lnTo>
                    <a:cubicBezTo>
                      <a:pt x="132038" y="14275"/>
                      <a:pt x="149497" y="31974"/>
                      <a:pt x="149851" y="53810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82">
                <a:extLst>
                  <a:ext uri="{FF2B5EF4-FFF2-40B4-BE49-F238E27FC236}">
                    <a16:creationId xmlns:a16="http://schemas.microsoft.com/office/drawing/2014/main" id="{ACB3234C-062F-F54A-89EA-0C80D5A64862}"/>
                  </a:ext>
                </a:extLst>
              </p:cNvPr>
              <p:cNvSpPr/>
              <p:nvPr/>
            </p:nvSpPr>
            <p:spPr>
              <a:xfrm>
                <a:off x="6200079" y="3420002"/>
                <a:ext cx="81737" cy="81737"/>
              </a:xfrm>
              <a:custGeom>
                <a:avLst/>
                <a:gdLst>
                  <a:gd name="connsiteX0" fmla="*/ 91546 w 81737"/>
                  <a:gd name="connsiteY0" fmla="*/ 45909 h 81737"/>
                  <a:gd name="connsiteX1" fmla="*/ 45909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546 h 81737"/>
                  <a:gd name="connsiteX4" fmla="*/ 45773 w 81737"/>
                  <a:gd name="connsiteY4" fmla="*/ 91546 h 81737"/>
                  <a:gd name="connsiteX5" fmla="*/ 91546 w 81737"/>
                  <a:gd name="connsiteY5" fmla="*/ 45909 h 81737"/>
                  <a:gd name="connsiteX6" fmla="*/ 13759 w 81737"/>
                  <a:gd name="connsiteY6" fmla="*/ 45909 h 81737"/>
                  <a:gd name="connsiteX7" fmla="*/ 45773 w 81737"/>
                  <a:gd name="connsiteY7" fmla="*/ 13623 h 81737"/>
                  <a:gd name="connsiteX8" fmla="*/ 78059 w 81737"/>
                  <a:gd name="connsiteY8" fmla="*/ 45637 h 81737"/>
                  <a:gd name="connsiteX9" fmla="*/ 46045 w 81737"/>
                  <a:gd name="connsiteY9" fmla="*/ 77923 h 81737"/>
                  <a:gd name="connsiteX10" fmla="*/ 45773 w 81737"/>
                  <a:gd name="connsiteY10" fmla="*/ 77923 h 81737"/>
                  <a:gd name="connsiteX11" fmla="*/ 13759 w 81737"/>
                  <a:gd name="connsiteY11" fmla="*/ 45909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737" h="81737">
                    <a:moveTo>
                      <a:pt x="91546" y="45909"/>
                    </a:moveTo>
                    <a:cubicBezTo>
                      <a:pt x="91621" y="20629"/>
                      <a:pt x="71189" y="75"/>
                      <a:pt x="45909" y="0"/>
                    </a:cubicBezTo>
                    <a:cubicBezTo>
                      <a:pt x="20629" y="-75"/>
                      <a:pt x="76" y="20357"/>
                      <a:pt x="0" y="45637"/>
                    </a:cubicBezTo>
                    <a:cubicBezTo>
                      <a:pt x="-75" y="70917"/>
                      <a:pt x="20357" y="91471"/>
                      <a:pt x="45637" y="91546"/>
                    </a:cubicBezTo>
                    <a:cubicBezTo>
                      <a:pt x="45682" y="91546"/>
                      <a:pt x="45728" y="91546"/>
                      <a:pt x="45773" y="91546"/>
                    </a:cubicBezTo>
                    <a:cubicBezTo>
                      <a:pt x="71000" y="91546"/>
                      <a:pt x="91471" y="71136"/>
                      <a:pt x="91546" y="45909"/>
                    </a:cubicBezTo>
                    <a:close/>
                    <a:moveTo>
                      <a:pt x="13759" y="45909"/>
                    </a:moveTo>
                    <a:cubicBezTo>
                      <a:pt x="13684" y="28153"/>
                      <a:pt x="28017" y="13699"/>
                      <a:pt x="45773" y="13623"/>
                    </a:cubicBezTo>
                    <a:cubicBezTo>
                      <a:pt x="63529" y="13548"/>
                      <a:pt x="77983" y="27882"/>
                      <a:pt x="78059" y="45637"/>
                    </a:cubicBezTo>
                    <a:cubicBezTo>
                      <a:pt x="78134" y="63393"/>
                      <a:pt x="63800" y="77848"/>
                      <a:pt x="46045" y="77923"/>
                    </a:cubicBezTo>
                    <a:cubicBezTo>
                      <a:pt x="45954" y="77923"/>
                      <a:pt x="45864" y="77923"/>
                      <a:pt x="45773" y="77923"/>
                    </a:cubicBezTo>
                    <a:cubicBezTo>
                      <a:pt x="28092" y="77923"/>
                      <a:pt x="13759" y="63590"/>
                      <a:pt x="13759" y="45909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83">
                <a:extLst>
                  <a:ext uri="{FF2B5EF4-FFF2-40B4-BE49-F238E27FC236}">
                    <a16:creationId xmlns:a16="http://schemas.microsoft.com/office/drawing/2014/main" id="{CD661511-0A47-9875-8C74-E34304709906}"/>
                  </a:ext>
                </a:extLst>
              </p:cNvPr>
              <p:cNvSpPr/>
              <p:nvPr/>
            </p:nvSpPr>
            <p:spPr>
              <a:xfrm>
                <a:off x="5865093" y="3516578"/>
                <a:ext cx="449554" cy="95360"/>
              </a:xfrm>
              <a:custGeom>
                <a:avLst/>
                <a:gdLst>
                  <a:gd name="connsiteX0" fmla="*/ 408686 w 449554"/>
                  <a:gd name="connsiteY0" fmla="*/ 10 h 95359"/>
                  <a:gd name="connsiteX1" fmla="*/ 353513 w 449554"/>
                  <a:gd name="connsiteY1" fmla="*/ 10 h 95359"/>
                  <a:gd name="connsiteX2" fmla="*/ 306378 w 449554"/>
                  <a:gd name="connsiteY2" fmla="*/ 28210 h 95359"/>
                  <a:gd name="connsiteX3" fmla="*/ 259379 w 449554"/>
                  <a:gd name="connsiteY3" fmla="*/ 10 h 95359"/>
                  <a:gd name="connsiteX4" fmla="*/ 203662 w 449554"/>
                  <a:gd name="connsiteY4" fmla="*/ 10 h 95359"/>
                  <a:gd name="connsiteX5" fmla="*/ 156527 w 449554"/>
                  <a:gd name="connsiteY5" fmla="*/ 28210 h 95359"/>
                  <a:gd name="connsiteX6" fmla="*/ 108302 w 449554"/>
                  <a:gd name="connsiteY6" fmla="*/ 10 h 95359"/>
                  <a:gd name="connsiteX7" fmla="*/ 53810 w 449554"/>
                  <a:gd name="connsiteY7" fmla="*/ 10 h 95359"/>
                  <a:gd name="connsiteX8" fmla="*/ 0 w 449554"/>
                  <a:gd name="connsiteY8" fmla="*/ 54502 h 95359"/>
                  <a:gd name="connsiteX9" fmla="*/ 0 w 449554"/>
                  <a:gd name="connsiteY9" fmla="*/ 78751 h 95359"/>
                  <a:gd name="connsiteX10" fmla="*/ 20434 w 449554"/>
                  <a:gd name="connsiteY10" fmla="*/ 99185 h 95359"/>
                  <a:gd name="connsiteX11" fmla="*/ 141678 w 449554"/>
                  <a:gd name="connsiteY11" fmla="*/ 99185 h 95359"/>
                  <a:gd name="connsiteX12" fmla="*/ 155982 w 449554"/>
                  <a:gd name="connsiteY12" fmla="*/ 93463 h 95359"/>
                  <a:gd name="connsiteX13" fmla="*/ 170286 w 449554"/>
                  <a:gd name="connsiteY13" fmla="*/ 99185 h 95359"/>
                  <a:gd name="connsiteX14" fmla="*/ 291529 w 449554"/>
                  <a:gd name="connsiteY14" fmla="*/ 99185 h 95359"/>
                  <a:gd name="connsiteX15" fmla="*/ 305833 w 449554"/>
                  <a:gd name="connsiteY15" fmla="*/ 93463 h 95359"/>
                  <a:gd name="connsiteX16" fmla="*/ 320137 w 449554"/>
                  <a:gd name="connsiteY16" fmla="*/ 99185 h 95359"/>
                  <a:gd name="connsiteX17" fmla="*/ 441380 w 449554"/>
                  <a:gd name="connsiteY17" fmla="*/ 99185 h 95359"/>
                  <a:gd name="connsiteX18" fmla="*/ 462496 w 449554"/>
                  <a:gd name="connsiteY18" fmla="*/ 78343 h 95359"/>
                  <a:gd name="connsiteX19" fmla="*/ 462496 w 449554"/>
                  <a:gd name="connsiteY19" fmla="*/ 78069 h 95359"/>
                  <a:gd name="connsiteX20" fmla="*/ 462496 w 449554"/>
                  <a:gd name="connsiteY20" fmla="*/ 53821 h 95359"/>
                  <a:gd name="connsiteX21" fmla="*/ 408686 w 449554"/>
                  <a:gd name="connsiteY21" fmla="*/ 10 h 95359"/>
                  <a:gd name="connsiteX22" fmla="*/ 149170 w 449554"/>
                  <a:gd name="connsiteY22" fmla="*/ 78069 h 95359"/>
                  <a:gd name="connsiteX23" fmla="*/ 141678 w 449554"/>
                  <a:gd name="connsiteY23" fmla="*/ 85562 h 95359"/>
                  <a:gd name="connsiteX24" fmla="*/ 20434 w 449554"/>
                  <a:gd name="connsiteY24" fmla="*/ 85562 h 95359"/>
                  <a:gd name="connsiteX25" fmla="*/ 12942 w 449554"/>
                  <a:gd name="connsiteY25" fmla="*/ 78069 h 95359"/>
                  <a:gd name="connsiteX26" fmla="*/ 12942 w 449554"/>
                  <a:gd name="connsiteY26" fmla="*/ 53821 h 95359"/>
                  <a:gd name="connsiteX27" fmla="*/ 53810 w 449554"/>
                  <a:gd name="connsiteY27" fmla="*/ 12952 h 95359"/>
                  <a:gd name="connsiteX28" fmla="*/ 108302 w 449554"/>
                  <a:gd name="connsiteY28" fmla="*/ 12952 h 95359"/>
                  <a:gd name="connsiteX29" fmla="*/ 149170 w 449554"/>
                  <a:gd name="connsiteY29" fmla="*/ 53821 h 95359"/>
                  <a:gd name="connsiteX30" fmla="*/ 299022 w 449554"/>
                  <a:gd name="connsiteY30" fmla="*/ 78069 h 95359"/>
                  <a:gd name="connsiteX31" fmla="*/ 291529 w 449554"/>
                  <a:gd name="connsiteY31" fmla="*/ 85562 h 95359"/>
                  <a:gd name="connsiteX32" fmla="*/ 170286 w 449554"/>
                  <a:gd name="connsiteY32" fmla="*/ 85562 h 95359"/>
                  <a:gd name="connsiteX33" fmla="*/ 162793 w 449554"/>
                  <a:gd name="connsiteY33" fmla="*/ 78069 h 95359"/>
                  <a:gd name="connsiteX34" fmla="*/ 162793 w 449554"/>
                  <a:gd name="connsiteY34" fmla="*/ 53821 h 95359"/>
                  <a:gd name="connsiteX35" fmla="*/ 203662 w 449554"/>
                  <a:gd name="connsiteY35" fmla="*/ 12952 h 95359"/>
                  <a:gd name="connsiteX36" fmla="*/ 259379 w 449554"/>
                  <a:gd name="connsiteY36" fmla="*/ 12952 h 95359"/>
                  <a:gd name="connsiteX37" fmla="*/ 299567 w 449554"/>
                  <a:gd name="connsiteY37" fmla="*/ 53821 h 95359"/>
                  <a:gd name="connsiteX38" fmla="*/ 448873 w 449554"/>
                  <a:gd name="connsiteY38" fmla="*/ 78069 h 95359"/>
                  <a:gd name="connsiteX39" fmla="*/ 441380 w 449554"/>
                  <a:gd name="connsiteY39" fmla="*/ 85562 h 95359"/>
                  <a:gd name="connsiteX40" fmla="*/ 320137 w 449554"/>
                  <a:gd name="connsiteY40" fmla="*/ 85562 h 95359"/>
                  <a:gd name="connsiteX41" fmla="*/ 312644 w 449554"/>
                  <a:gd name="connsiteY41" fmla="*/ 78069 h 95359"/>
                  <a:gd name="connsiteX42" fmla="*/ 312644 w 449554"/>
                  <a:gd name="connsiteY42" fmla="*/ 53821 h 95359"/>
                  <a:gd name="connsiteX43" fmla="*/ 353513 w 449554"/>
                  <a:gd name="connsiteY43" fmla="*/ 12952 h 95359"/>
                  <a:gd name="connsiteX44" fmla="*/ 409231 w 449554"/>
                  <a:gd name="connsiteY44" fmla="*/ 12952 h 95359"/>
                  <a:gd name="connsiteX45" fmla="*/ 449418 w 449554"/>
                  <a:gd name="connsiteY45" fmla="*/ 53821 h 9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49554" h="95359">
                    <a:moveTo>
                      <a:pt x="408686" y="10"/>
                    </a:moveTo>
                    <a:lnTo>
                      <a:pt x="353513" y="10"/>
                    </a:lnTo>
                    <a:cubicBezTo>
                      <a:pt x="333809" y="20"/>
                      <a:pt x="315703" y="10853"/>
                      <a:pt x="306378" y="28210"/>
                    </a:cubicBezTo>
                    <a:cubicBezTo>
                      <a:pt x="297076" y="10895"/>
                      <a:pt x="279034" y="70"/>
                      <a:pt x="259379" y="10"/>
                    </a:cubicBezTo>
                    <a:lnTo>
                      <a:pt x="203662" y="10"/>
                    </a:lnTo>
                    <a:cubicBezTo>
                      <a:pt x="183958" y="20"/>
                      <a:pt x="165851" y="10853"/>
                      <a:pt x="156527" y="28210"/>
                    </a:cubicBezTo>
                    <a:cubicBezTo>
                      <a:pt x="147019" y="10504"/>
                      <a:pt x="128395" y="-386"/>
                      <a:pt x="108302" y="10"/>
                    </a:cubicBezTo>
                    <a:lnTo>
                      <a:pt x="53810" y="10"/>
                    </a:lnTo>
                    <a:cubicBezTo>
                      <a:pt x="23982" y="384"/>
                      <a:pt x="-2" y="24671"/>
                      <a:pt x="0" y="54502"/>
                    </a:cubicBezTo>
                    <a:lnTo>
                      <a:pt x="0" y="78751"/>
                    </a:lnTo>
                    <a:cubicBezTo>
                      <a:pt x="286" y="89916"/>
                      <a:pt x="9270" y="98899"/>
                      <a:pt x="20434" y="99185"/>
                    </a:cubicBezTo>
                    <a:lnTo>
                      <a:pt x="141678" y="99185"/>
                    </a:lnTo>
                    <a:cubicBezTo>
                      <a:pt x="147001" y="99174"/>
                      <a:pt x="152120" y="97128"/>
                      <a:pt x="155982" y="93463"/>
                    </a:cubicBezTo>
                    <a:cubicBezTo>
                      <a:pt x="159844" y="97128"/>
                      <a:pt x="164962" y="99174"/>
                      <a:pt x="170286" y="99185"/>
                    </a:cubicBezTo>
                    <a:lnTo>
                      <a:pt x="291529" y="99185"/>
                    </a:lnTo>
                    <a:cubicBezTo>
                      <a:pt x="296858" y="99203"/>
                      <a:pt x="301986" y="97151"/>
                      <a:pt x="305833" y="93463"/>
                    </a:cubicBezTo>
                    <a:cubicBezTo>
                      <a:pt x="309703" y="97116"/>
                      <a:pt x="314816" y="99160"/>
                      <a:pt x="320137" y="99185"/>
                    </a:cubicBezTo>
                    <a:lnTo>
                      <a:pt x="441380" y="99185"/>
                    </a:lnTo>
                    <a:cubicBezTo>
                      <a:pt x="452967" y="99260"/>
                      <a:pt x="462421" y="89929"/>
                      <a:pt x="462496" y="78343"/>
                    </a:cubicBezTo>
                    <a:cubicBezTo>
                      <a:pt x="462496" y="78252"/>
                      <a:pt x="462496" y="78161"/>
                      <a:pt x="462496" y="78069"/>
                    </a:cubicBezTo>
                    <a:lnTo>
                      <a:pt x="462496" y="53821"/>
                    </a:lnTo>
                    <a:cubicBezTo>
                      <a:pt x="462128" y="24255"/>
                      <a:pt x="438251" y="378"/>
                      <a:pt x="408686" y="10"/>
                    </a:cubicBezTo>
                    <a:close/>
                    <a:moveTo>
                      <a:pt x="149170" y="78069"/>
                    </a:moveTo>
                    <a:cubicBezTo>
                      <a:pt x="149170" y="82208"/>
                      <a:pt x="145816" y="85562"/>
                      <a:pt x="141678" y="85562"/>
                    </a:cubicBezTo>
                    <a:lnTo>
                      <a:pt x="20434" y="85562"/>
                    </a:lnTo>
                    <a:cubicBezTo>
                      <a:pt x="16296" y="85562"/>
                      <a:pt x="12942" y="82208"/>
                      <a:pt x="12942" y="78069"/>
                    </a:cubicBezTo>
                    <a:lnTo>
                      <a:pt x="12942" y="53821"/>
                    </a:lnTo>
                    <a:cubicBezTo>
                      <a:pt x="12942" y="31249"/>
                      <a:pt x="31239" y="12952"/>
                      <a:pt x="53810" y="12952"/>
                    </a:cubicBezTo>
                    <a:lnTo>
                      <a:pt x="108302" y="12952"/>
                    </a:lnTo>
                    <a:cubicBezTo>
                      <a:pt x="130873" y="12952"/>
                      <a:pt x="149170" y="31249"/>
                      <a:pt x="149170" y="53821"/>
                    </a:cubicBezTo>
                    <a:close/>
                    <a:moveTo>
                      <a:pt x="299022" y="78069"/>
                    </a:moveTo>
                    <a:cubicBezTo>
                      <a:pt x="299022" y="82208"/>
                      <a:pt x="295668" y="85562"/>
                      <a:pt x="291529" y="85562"/>
                    </a:cubicBezTo>
                    <a:lnTo>
                      <a:pt x="170286" y="85562"/>
                    </a:lnTo>
                    <a:cubicBezTo>
                      <a:pt x="166147" y="85562"/>
                      <a:pt x="162793" y="82208"/>
                      <a:pt x="162793" y="78069"/>
                    </a:cubicBezTo>
                    <a:lnTo>
                      <a:pt x="162793" y="53821"/>
                    </a:lnTo>
                    <a:cubicBezTo>
                      <a:pt x="162793" y="31249"/>
                      <a:pt x="181090" y="12952"/>
                      <a:pt x="203662" y="12952"/>
                    </a:cubicBezTo>
                    <a:lnTo>
                      <a:pt x="259379" y="12952"/>
                    </a:lnTo>
                    <a:cubicBezTo>
                      <a:pt x="281684" y="13324"/>
                      <a:pt x="299569" y="31513"/>
                      <a:pt x="299567" y="53821"/>
                    </a:cubicBezTo>
                    <a:close/>
                    <a:moveTo>
                      <a:pt x="448873" y="78069"/>
                    </a:moveTo>
                    <a:cubicBezTo>
                      <a:pt x="448873" y="82208"/>
                      <a:pt x="445519" y="85562"/>
                      <a:pt x="441380" y="85562"/>
                    </a:cubicBezTo>
                    <a:lnTo>
                      <a:pt x="320137" y="85562"/>
                    </a:lnTo>
                    <a:cubicBezTo>
                      <a:pt x="315998" y="85562"/>
                      <a:pt x="312644" y="82208"/>
                      <a:pt x="312644" y="78069"/>
                    </a:cubicBezTo>
                    <a:lnTo>
                      <a:pt x="312644" y="53821"/>
                    </a:lnTo>
                    <a:cubicBezTo>
                      <a:pt x="312644" y="31249"/>
                      <a:pt x="330941" y="12952"/>
                      <a:pt x="353513" y="12952"/>
                    </a:cubicBezTo>
                    <a:lnTo>
                      <a:pt x="409231" y="12952"/>
                    </a:lnTo>
                    <a:cubicBezTo>
                      <a:pt x="431535" y="13324"/>
                      <a:pt x="449421" y="31513"/>
                      <a:pt x="449418" y="53821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</p:grpSp>
        <p:sp>
          <p:nvSpPr>
            <p:cNvPr id="165" name="Freeform 6">
              <a:extLst>
                <a:ext uri="{FF2B5EF4-FFF2-40B4-BE49-F238E27FC236}">
                  <a16:creationId xmlns:a16="http://schemas.microsoft.com/office/drawing/2014/main" id="{664326B2-61DC-A089-B9D5-5690BA515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075" y="5391855"/>
              <a:ext cx="264371" cy="26437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14500DB1-49B4-269A-CA7D-CE68F5141D34}"/>
                </a:ext>
              </a:extLst>
            </p:cNvPr>
            <p:cNvGrpSpPr/>
            <p:nvPr/>
          </p:nvGrpSpPr>
          <p:grpSpPr>
            <a:xfrm>
              <a:off x="3008730" y="3280120"/>
              <a:ext cx="880223" cy="261156"/>
              <a:chOff x="3008730" y="3129118"/>
              <a:chExt cx="880223" cy="261156"/>
            </a:xfrm>
          </p:grpSpPr>
          <p:sp>
            <p:nvSpPr>
              <p:cNvPr id="167" name="Freeform 8">
                <a:extLst>
                  <a:ext uri="{FF2B5EF4-FFF2-40B4-BE49-F238E27FC236}">
                    <a16:creationId xmlns:a16="http://schemas.microsoft.com/office/drawing/2014/main" id="{70AD6C7E-3188-FF5F-2AB6-1CFA32665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730" y="3129118"/>
                <a:ext cx="262444" cy="261156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 Bold" charset="0"/>
                  <a:ea typeface="+mn-ea"/>
                  <a:cs typeface="+mn-cs"/>
                </a:endParaRPr>
              </a:p>
            </p:txBody>
          </p: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480707F6-64D3-A671-909C-26A24DED0E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71174" y="3259696"/>
                <a:ext cx="617779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C920209D-35F0-00E2-1718-99599BC698E3}"/>
                </a:ext>
              </a:extLst>
            </p:cNvPr>
            <p:cNvSpPr>
              <a:spLocks/>
            </p:cNvSpPr>
            <p:nvPr/>
          </p:nvSpPr>
          <p:spPr>
            <a:xfrm>
              <a:off x="3910931" y="4034562"/>
              <a:ext cx="799054" cy="7748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D1D2DAE9-8E08-E0CB-7960-9EB4A613C270}"/>
                </a:ext>
              </a:extLst>
            </p:cNvPr>
            <p:cNvSpPr>
              <a:spLocks/>
            </p:cNvSpPr>
            <p:nvPr/>
          </p:nvSpPr>
          <p:spPr>
            <a:xfrm>
              <a:off x="3910931" y="5117351"/>
              <a:ext cx="799054" cy="77484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02406768-0449-606A-C6BD-86FB82B8698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2898" y="2096885"/>
              <a:ext cx="1814049" cy="2733267"/>
              <a:chOff x="4190589" y="296070"/>
              <a:chExt cx="3968006" cy="5978696"/>
            </a:xfrm>
          </p:grpSpPr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F824D3C4-BE62-82DC-CDDB-3F5FAE59ECD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446805" y="5411311"/>
                <a:ext cx="1391480" cy="863455"/>
                <a:chOff x="5293610" y="5399757"/>
                <a:chExt cx="1697871" cy="1053579"/>
              </a:xfrm>
            </p:grpSpPr>
            <p:sp>
              <p:nvSpPr>
                <p:cNvPr id="307" name="Freeform: Shape 268">
                  <a:extLst>
                    <a:ext uri="{FF2B5EF4-FFF2-40B4-BE49-F238E27FC236}">
                      <a16:creationId xmlns:a16="http://schemas.microsoft.com/office/drawing/2014/main" id="{8FE99FF2-DEAD-BE3E-4AE4-4777B3B76A14}"/>
                    </a:ext>
                  </a:extLst>
                </p:cNvPr>
                <p:cNvSpPr/>
                <p:nvPr/>
              </p:nvSpPr>
              <p:spPr>
                <a:xfrm>
                  <a:off x="5293610" y="5399757"/>
                  <a:ext cx="1697871" cy="212230"/>
                </a:xfrm>
                <a:custGeom>
                  <a:avLst/>
                  <a:gdLst>
                    <a:gd name="connsiteX0" fmla="*/ 113768 w 115794"/>
                    <a:gd name="connsiteY0" fmla="*/ 14474 h 14474"/>
                    <a:gd name="connsiteX1" fmla="*/ 7237 w 115794"/>
                    <a:gd name="connsiteY1" fmla="*/ 14474 h 14474"/>
                    <a:gd name="connsiteX2" fmla="*/ 0 w 115794"/>
                    <a:gd name="connsiteY2" fmla="*/ 7237 h 14474"/>
                    <a:gd name="connsiteX3" fmla="*/ 7237 w 115794"/>
                    <a:gd name="connsiteY3" fmla="*/ 0 h 14474"/>
                    <a:gd name="connsiteX4" fmla="*/ 113768 w 115794"/>
                    <a:gd name="connsiteY4" fmla="*/ 0 h 14474"/>
                    <a:gd name="connsiteX5" fmla="*/ 121005 w 115794"/>
                    <a:gd name="connsiteY5" fmla="*/ 7237 h 14474"/>
                    <a:gd name="connsiteX6" fmla="*/ 113768 w 115794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5794" h="14474">
                      <a:moveTo>
                        <a:pt x="113768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77" y="3273"/>
                        <a:pt x="3272" y="77"/>
                        <a:pt x="7237" y="0"/>
                      </a:cubicBezTo>
                      <a:lnTo>
                        <a:pt x="113768" y="0"/>
                      </a:lnTo>
                      <a:cubicBezTo>
                        <a:pt x="117764" y="0"/>
                        <a:pt x="121005" y="3241"/>
                        <a:pt x="121005" y="7237"/>
                      </a:cubicBezTo>
                      <a:cubicBezTo>
                        <a:pt x="121005" y="11233"/>
                        <a:pt x="117764" y="14474"/>
                        <a:pt x="113768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: Shape 269">
                  <a:extLst>
                    <a:ext uri="{FF2B5EF4-FFF2-40B4-BE49-F238E27FC236}">
                      <a16:creationId xmlns:a16="http://schemas.microsoft.com/office/drawing/2014/main" id="{A54CFBC0-263A-C38D-48FB-0B71DFBC4F39}"/>
                    </a:ext>
                  </a:extLst>
                </p:cNvPr>
                <p:cNvSpPr/>
                <p:nvPr/>
              </p:nvSpPr>
              <p:spPr>
                <a:xfrm>
                  <a:off x="5363640" y="5820432"/>
                  <a:ext cx="1485641" cy="212230"/>
                </a:xfrm>
                <a:custGeom>
                  <a:avLst/>
                  <a:gdLst>
                    <a:gd name="connsiteX0" fmla="*/ 103057 w 101319"/>
                    <a:gd name="connsiteY0" fmla="*/ 14474 h 14474"/>
                    <a:gd name="connsiteX1" fmla="*/ 7237 w 101319"/>
                    <a:gd name="connsiteY1" fmla="*/ 14474 h 14474"/>
                    <a:gd name="connsiteX2" fmla="*/ 0 w 101319"/>
                    <a:gd name="connsiteY2" fmla="*/ 7237 h 14474"/>
                    <a:gd name="connsiteX3" fmla="*/ 7237 w 101319"/>
                    <a:gd name="connsiteY3" fmla="*/ 0 h 14474"/>
                    <a:gd name="connsiteX4" fmla="*/ 103057 w 101319"/>
                    <a:gd name="connsiteY4" fmla="*/ 0 h 14474"/>
                    <a:gd name="connsiteX5" fmla="*/ 110294 w 101319"/>
                    <a:gd name="connsiteY5" fmla="*/ 7237 h 14474"/>
                    <a:gd name="connsiteX6" fmla="*/ 103057 w 101319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319" h="14474">
                      <a:moveTo>
                        <a:pt x="103057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0" y="3241"/>
                        <a:pt x="3240" y="0"/>
                        <a:pt x="7237" y="0"/>
                      </a:cubicBezTo>
                      <a:lnTo>
                        <a:pt x="103057" y="0"/>
                      </a:lnTo>
                      <a:cubicBezTo>
                        <a:pt x="107053" y="0"/>
                        <a:pt x="110294" y="3241"/>
                        <a:pt x="110294" y="7237"/>
                      </a:cubicBezTo>
                      <a:cubicBezTo>
                        <a:pt x="110294" y="11233"/>
                        <a:pt x="107053" y="14474"/>
                        <a:pt x="103057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: Shape 270">
                  <a:extLst>
                    <a:ext uri="{FF2B5EF4-FFF2-40B4-BE49-F238E27FC236}">
                      <a16:creationId xmlns:a16="http://schemas.microsoft.com/office/drawing/2014/main" id="{D9CD19A9-113B-C477-D39E-144423580FC2}"/>
                    </a:ext>
                  </a:extLst>
                </p:cNvPr>
                <p:cNvSpPr/>
                <p:nvPr/>
              </p:nvSpPr>
              <p:spPr>
                <a:xfrm>
                  <a:off x="5652279" y="6241106"/>
                  <a:ext cx="848936" cy="212230"/>
                </a:xfrm>
                <a:custGeom>
                  <a:avLst/>
                  <a:gdLst>
                    <a:gd name="connsiteX0" fmla="*/ 63831 w 57897"/>
                    <a:gd name="connsiteY0" fmla="*/ 14474 h 14474"/>
                    <a:gd name="connsiteX1" fmla="*/ 7237 w 57897"/>
                    <a:gd name="connsiteY1" fmla="*/ 14474 h 14474"/>
                    <a:gd name="connsiteX2" fmla="*/ 0 w 57897"/>
                    <a:gd name="connsiteY2" fmla="*/ 7237 h 14474"/>
                    <a:gd name="connsiteX3" fmla="*/ 7237 w 57897"/>
                    <a:gd name="connsiteY3" fmla="*/ 0 h 14474"/>
                    <a:gd name="connsiteX4" fmla="*/ 63831 w 57897"/>
                    <a:gd name="connsiteY4" fmla="*/ 0 h 14474"/>
                    <a:gd name="connsiteX5" fmla="*/ 71069 w 57897"/>
                    <a:gd name="connsiteY5" fmla="*/ 7237 h 14474"/>
                    <a:gd name="connsiteX6" fmla="*/ 63831 w 57897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897" h="14474">
                      <a:moveTo>
                        <a:pt x="63831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0" y="3241"/>
                        <a:pt x="3240" y="0"/>
                        <a:pt x="7237" y="0"/>
                      </a:cubicBezTo>
                      <a:lnTo>
                        <a:pt x="63831" y="0"/>
                      </a:lnTo>
                      <a:cubicBezTo>
                        <a:pt x="67796" y="77"/>
                        <a:pt x="70992" y="3273"/>
                        <a:pt x="71069" y="7237"/>
                      </a:cubicBezTo>
                      <a:cubicBezTo>
                        <a:pt x="71069" y="11233"/>
                        <a:pt x="67828" y="14474"/>
                        <a:pt x="63831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A5E7C014-408B-47D0-3636-D734C3337AE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074116" y="2042098"/>
                <a:ext cx="1025957" cy="1025957"/>
                <a:chOff x="5956708" y="2105234"/>
                <a:chExt cx="792088" cy="792088"/>
              </a:xfrm>
            </p:grpSpPr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958032ED-88AC-288B-3093-631550B8932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95670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9" name="Graphic 2">
                  <a:extLst>
                    <a:ext uri="{FF2B5EF4-FFF2-40B4-BE49-F238E27FC236}">
                      <a16:creationId xmlns:a16="http://schemas.microsoft.com/office/drawing/2014/main" id="{ABEC623F-2991-DE69-7921-B73272C3D27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104081" y="2252638"/>
                  <a:ext cx="483209" cy="484952"/>
                  <a:chOff x="5864410" y="3152615"/>
                  <a:chExt cx="450015" cy="451638"/>
                </a:xfrm>
                <a:solidFill>
                  <a:schemeClr val="bg1"/>
                </a:solidFill>
              </p:grpSpPr>
              <p:sp>
                <p:nvSpPr>
                  <p:cNvPr id="300" name="Freeform: Shape 261">
                    <a:extLst>
                      <a:ext uri="{FF2B5EF4-FFF2-40B4-BE49-F238E27FC236}">
                        <a16:creationId xmlns:a16="http://schemas.microsoft.com/office/drawing/2014/main" id="{97DC524A-D757-B0B3-7A90-3C76AB5BB589}"/>
                      </a:ext>
                    </a:extLst>
                  </p:cNvPr>
                  <p:cNvSpPr/>
                  <p:nvPr/>
                </p:nvSpPr>
                <p:spPr>
                  <a:xfrm>
                    <a:off x="6174068" y="3344363"/>
                    <a:ext cx="140357" cy="140357"/>
                  </a:xfrm>
                  <a:custGeom>
                    <a:avLst/>
                    <a:gdLst>
                      <a:gd name="connsiteX0" fmla="*/ 89097 w 140356"/>
                      <a:gd name="connsiteY0" fmla="*/ 149851 h 140356"/>
                      <a:gd name="connsiteX1" fmla="*/ 84045 w 140356"/>
                      <a:gd name="connsiteY1" fmla="*/ 147745 h 140356"/>
                      <a:gd name="connsiteX2" fmla="*/ 2076 w 140356"/>
                      <a:gd name="connsiteY2" fmla="*/ 65777 h 140356"/>
                      <a:gd name="connsiteX3" fmla="*/ 2036 w 140356"/>
                      <a:gd name="connsiteY3" fmla="*/ 55852 h 140356"/>
                      <a:gd name="connsiteX4" fmla="*/ 2076 w 140356"/>
                      <a:gd name="connsiteY4" fmla="*/ 55812 h 140356"/>
                      <a:gd name="connsiteX5" fmla="*/ 55271 w 140356"/>
                      <a:gd name="connsiteY5" fmla="*/ 1915 h 140356"/>
                      <a:gd name="connsiteX6" fmla="*/ 65237 w 140356"/>
                      <a:gd name="connsiteY6" fmla="*/ 1915 h 140356"/>
                      <a:gd name="connsiteX7" fmla="*/ 147205 w 140356"/>
                      <a:gd name="connsiteY7" fmla="*/ 84023 h 140356"/>
                      <a:gd name="connsiteX8" fmla="*/ 149310 w 140356"/>
                      <a:gd name="connsiteY8" fmla="*/ 89076 h 140356"/>
                      <a:gd name="connsiteX9" fmla="*/ 147205 w 140356"/>
                      <a:gd name="connsiteY9" fmla="*/ 93989 h 140356"/>
                      <a:gd name="connsiteX10" fmla="*/ 93448 w 140356"/>
                      <a:gd name="connsiteY10" fmla="*/ 147745 h 140356"/>
                      <a:gd name="connsiteX11" fmla="*/ 89097 w 140356"/>
                      <a:gd name="connsiteY11" fmla="*/ 149851 h 140356"/>
                      <a:gd name="connsiteX12" fmla="*/ 16954 w 140356"/>
                      <a:gd name="connsiteY12" fmla="*/ 60865 h 140356"/>
                      <a:gd name="connsiteX13" fmla="*/ 89097 w 140356"/>
                      <a:gd name="connsiteY13" fmla="*/ 133008 h 140356"/>
                      <a:gd name="connsiteX14" fmla="*/ 132889 w 140356"/>
                      <a:gd name="connsiteY14" fmla="*/ 88936 h 140356"/>
                      <a:gd name="connsiteX15" fmla="*/ 60745 w 140356"/>
                      <a:gd name="connsiteY15" fmla="*/ 16652 h 1403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40356" h="140356">
                        <a:moveTo>
                          <a:pt x="89097" y="149851"/>
                        </a:moveTo>
                        <a:cubicBezTo>
                          <a:pt x="87201" y="149847"/>
                          <a:pt x="85384" y="149089"/>
                          <a:pt x="84045" y="147745"/>
                        </a:cubicBezTo>
                        <a:lnTo>
                          <a:pt x="2076" y="65777"/>
                        </a:lnTo>
                        <a:cubicBezTo>
                          <a:pt x="-676" y="63047"/>
                          <a:pt x="-694" y="58605"/>
                          <a:pt x="2036" y="55852"/>
                        </a:cubicBezTo>
                        <a:cubicBezTo>
                          <a:pt x="2050" y="55838"/>
                          <a:pt x="2062" y="55826"/>
                          <a:pt x="2076" y="55812"/>
                        </a:cubicBezTo>
                        <a:lnTo>
                          <a:pt x="55271" y="1915"/>
                        </a:lnTo>
                        <a:cubicBezTo>
                          <a:pt x="58102" y="-638"/>
                          <a:pt x="62406" y="-638"/>
                          <a:pt x="65237" y="1915"/>
                        </a:cubicBezTo>
                        <a:lnTo>
                          <a:pt x="147205" y="84023"/>
                        </a:lnTo>
                        <a:cubicBezTo>
                          <a:pt x="148576" y="85344"/>
                          <a:pt x="149339" y="87173"/>
                          <a:pt x="149310" y="89076"/>
                        </a:cubicBezTo>
                        <a:cubicBezTo>
                          <a:pt x="149333" y="90937"/>
                          <a:pt x="148568" y="92721"/>
                          <a:pt x="147205" y="93989"/>
                        </a:cubicBezTo>
                        <a:lnTo>
                          <a:pt x="93448" y="147745"/>
                        </a:lnTo>
                        <a:cubicBezTo>
                          <a:pt x="92300" y="148951"/>
                          <a:pt x="90755" y="149699"/>
                          <a:pt x="89097" y="149851"/>
                        </a:cubicBezTo>
                        <a:close/>
                        <a:moveTo>
                          <a:pt x="16954" y="60865"/>
                        </a:moveTo>
                        <a:lnTo>
                          <a:pt x="89097" y="133008"/>
                        </a:lnTo>
                        <a:lnTo>
                          <a:pt x="132889" y="88936"/>
                        </a:lnTo>
                        <a:lnTo>
                          <a:pt x="60745" y="16652"/>
                        </a:ln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1" name="Freeform: Shape 262">
                    <a:extLst>
                      <a:ext uri="{FF2B5EF4-FFF2-40B4-BE49-F238E27FC236}">
                        <a16:creationId xmlns:a16="http://schemas.microsoft.com/office/drawing/2014/main" id="{0390E62A-E1E5-0F7B-1629-E17B7E112186}"/>
                      </a:ext>
                    </a:extLst>
                  </p:cNvPr>
                  <p:cNvSpPr/>
                  <p:nvPr/>
                </p:nvSpPr>
                <p:spPr>
                  <a:xfrm>
                    <a:off x="5982290" y="3152615"/>
                    <a:ext cx="140357" cy="140357"/>
                  </a:xfrm>
                  <a:custGeom>
                    <a:avLst/>
                    <a:gdLst>
                      <a:gd name="connsiteX0" fmla="*/ 89148 w 140356"/>
                      <a:gd name="connsiteY0" fmla="*/ 149871 h 140356"/>
                      <a:gd name="connsiteX1" fmla="*/ 84235 w 140356"/>
                      <a:gd name="connsiteY1" fmla="*/ 147766 h 140356"/>
                      <a:gd name="connsiteX2" fmla="*/ 2127 w 140356"/>
                      <a:gd name="connsiteY2" fmla="*/ 65657 h 140356"/>
                      <a:gd name="connsiteX3" fmla="*/ 1825 w 140356"/>
                      <a:gd name="connsiteY3" fmla="*/ 56135 h 140356"/>
                      <a:gd name="connsiteX4" fmla="*/ 2127 w 140356"/>
                      <a:gd name="connsiteY4" fmla="*/ 55832 h 140356"/>
                      <a:gd name="connsiteX5" fmla="*/ 55883 w 140356"/>
                      <a:gd name="connsiteY5" fmla="*/ 2076 h 140356"/>
                      <a:gd name="connsiteX6" fmla="*/ 65808 w 140356"/>
                      <a:gd name="connsiteY6" fmla="*/ 2035 h 140356"/>
                      <a:gd name="connsiteX7" fmla="*/ 65849 w 140356"/>
                      <a:gd name="connsiteY7" fmla="*/ 2076 h 140356"/>
                      <a:gd name="connsiteX8" fmla="*/ 147957 w 140356"/>
                      <a:gd name="connsiteY8" fmla="*/ 84185 h 140356"/>
                      <a:gd name="connsiteX9" fmla="*/ 147957 w 140356"/>
                      <a:gd name="connsiteY9" fmla="*/ 94150 h 140356"/>
                      <a:gd name="connsiteX10" fmla="*/ 94060 w 140356"/>
                      <a:gd name="connsiteY10" fmla="*/ 147766 h 140356"/>
                      <a:gd name="connsiteX11" fmla="*/ 89148 w 140356"/>
                      <a:gd name="connsiteY11" fmla="*/ 149871 h 140356"/>
                      <a:gd name="connsiteX12" fmla="*/ 17004 w 140356"/>
                      <a:gd name="connsiteY12" fmla="*/ 60745 h 140356"/>
                      <a:gd name="connsiteX13" fmla="*/ 89148 w 140356"/>
                      <a:gd name="connsiteY13" fmla="*/ 132888 h 140356"/>
                      <a:gd name="connsiteX14" fmla="*/ 133079 w 140356"/>
                      <a:gd name="connsiteY14" fmla="*/ 89097 h 140356"/>
                      <a:gd name="connsiteX15" fmla="*/ 60796 w 140356"/>
                      <a:gd name="connsiteY15" fmla="*/ 16954 h 1403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40356" h="140356">
                        <a:moveTo>
                          <a:pt x="89148" y="149871"/>
                        </a:moveTo>
                        <a:cubicBezTo>
                          <a:pt x="87287" y="149894"/>
                          <a:pt x="85503" y="149129"/>
                          <a:pt x="84235" y="147766"/>
                        </a:cubicBezTo>
                        <a:lnTo>
                          <a:pt x="2127" y="65657"/>
                        </a:lnTo>
                        <a:cubicBezTo>
                          <a:pt x="-586" y="63111"/>
                          <a:pt x="-722" y="58848"/>
                          <a:pt x="1825" y="56135"/>
                        </a:cubicBezTo>
                        <a:cubicBezTo>
                          <a:pt x="1922" y="56031"/>
                          <a:pt x="2023" y="55930"/>
                          <a:pt x="2127" y="55832"/>
                        </a:cubicBezTo>
                        <a:lnTo>
                          <a:pt x="55883" y="2076"/>
                        </a:lnTo>
                        <a:cubicBezTo>
                          <a:pt x="58613" y="-676"/>
                          <a:pt x="63055" y="-694"/>
                          <a:pt x="65808" y="2035"/>
                        </a:cubicBezTo>
                        <a:cubicBezTo>
                          <a:pt x="65822" y="2049"/>
                          <a:pt x="65835" y="2062"/>
                          <a:pt x="65849" y="2076"/>
                        </a:cubicBezTo>
                        <a:lnTo>
                          <a:pt x="147957" y="84185"/>
                        </a:lnTo>
                        <a:cubicBezTo>
                          <a:pt x="150649" y="86961"/>
                          <a:pt x="150649" y="91373"/>
                          <a:pt x="147957" y="94150"/>
                        </a:cubicBezTo>
                        <a:lnTo>
                          <a:pt x="94060" y="147766"/>
                        </a:lnTo>
                        <a:cubicBezTo>
                          <a:pt x="92793" y="149129"/>
                          <a:pt x="91009" y="149894"/>
                          <a:pt x="89148" y="149871"/>
                        </a:cubicBezTo>
                        <a:close/>
                        <a:moveTo>
                          <a:pt x="17004" y="60745"/>
                        </a:moveTo>
                        <a:lnTo>
                          <a:pt x="89148" y="132888"/>
                        </a:lnTo>
                        <a:lnTo>
                          <a:pt x="133079" y="89097"/>
                        </a:lnTo>
                        <a:lnTo>
                          <a:pt x="60796" y="16954"/>
                        </a:ln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2" name="Freeform: Shape 263">
                    <a:extLst>
                      <a:ext uri="{FF2B5EF4-FFF2-40B4-BE49-F238E27FC236}">
                        <a16:creationId xmlns:a16="http://schemas.microsoft.com/office/drawing/2014/main" id="{14AF7053-F95C-1B89-A9A8-603B2368A16F}"/>
                      </a:ext>
                    </a:extLst>
                  </p:cNvPr>
                  <p:cNvSpPr/>
                  <p:nvPr/>
                </p:nvSpPr>
                <p:spPr>
                  <a:xfrm>
                    <a:off x="6069379" y="3177800"/>
                    <a:ext cx="224571" cy="224571"/>
                  </a:xfrm>
                  <a:custGeom>
                    <a:avLst/>
                    <a:gdLst>
                      <a:gd name="connsiteX0" fmla="*/ 67325 w 224570"/>
                      <a:gd name="connsiteY0" fmla="*/ 230375 h 224570"/>
                      <a:gd name="connsiteX1" fmla="*/ 67325 w 224570"/>
                      <a:gd name="connsiteY1" fmla="*/ 230375 h 224570"/>
                      <a:gd name="connsiteX2" fmla="*/ 53289 w 224570"/>
                      <a:gd name="connsiteY2" fmla="*/ 224761 h 224570"/>
                      <a:gd name="connsiteX3" fmla="*/ 5568 w 224570"/>
                      <a:gd name="connsiteY3" fmla="*/ 176899 h 224570"/>
                      <a:gd name="connsiteX4" fmla="*/ 5568 w 224570"/>
                      <a:gd name="connsiteY4" fmla="*/ 149951 h 224570"/>
                      <a:gd name="connsiteX5" fmla="*/ 141714 w 224570"/>
                      <a:gd name="connsiteY5" fmla="*/ 14226 h 224570"/>
                      <a:gd name="connsiteX6" fmla="*/ 211892 w 224570"/>
                      <a:gd name="connsiteY6" fmla="*/ 14226 h 224570"/>
                      <a:gd name="connsiteX7" fmla="*/ 216945 w 224570"/>
                      <a:gd name="connsiteY7" fmla="*/ 19138 h 224570"/>
                      <a:gd name="connsiteX8" fmla="*/ 217054 w 224570"/>
                      <a:gd name="connsiteY8" fmla="*/ 89207 h 224570"/>
                      <a:gd name="connsiteX9" fmla="*/ 216945 w 224570"/>
                      <a:gd name="connsiteY9" fmla="*/ 89317 h 224570"/>
                      <a:gd name="connsiteX10" fmla="*/ 81220 w 224570"/>
                      <a:gd name="connsiteY10" fmla="*/ 225042 h 224570"/>
                      <a:gd name="connsiteX11" fmla="*/ 67325 w 224570"/>
                      <a:gd name="connsiteY11" fmla="*/ 230375 h 224570"/>
                      <a:gd name="connsiteX12" fmla="*/ 176662 w 224570"/>
                      <a:gd name="connsiteY12" fmla="*/ 13805 h 224570"/>
                      <a:gd name="connsiteX13" fmla="*/ 151539 w 224570"/>
                      <a:gd name="connsiteY13" fmla="*/ 24191 h 224570"/>
                      <a:gd name="connsiteX14" fmla="*/ 15814 w 224570"/>
                      <a:gd name="connsiteY14" fmla="*/ 159916 h 224570"/>
                      <a:gd name="connsiteX15" fmla="*/ 15814 w 224570"/>
                      <a:gd name="connsiteY15" fmla="*/ 166934 h 224570"/>
                      <a:gd name="connsiteX16" fmla="*/ 63816 w 224570"/>
                      <a:gd name="connsiteY16" fmla="*/ 214796 h 224570"/>
                      <a:gd name="connsiteX17" fmla="*/ 63816 w 224570"/>
                      <a:gd name="connsiteY17" fmla="*/ 214796 h 224570"/>
                      <a:gd name="connsiteX18" fmla="*/ 67325 w 224570"/>
                      <a:gd name="connsiteY18" fmla="*/ 216199 h 224570"/>
                      <a:gd name="connsiteX19" fmla="*/ 67325 w 224570"/>
                      <a:gd name="connsiteY19" fmla="*/ 216199 h 224570"/>
                      <a:gd name="connsiteX20" fmla="*/ 70833 w 224570"/>
                      <a:gd name="connsiteY20" fmla="*/ 214655 h 224570"/>
                      <a:gd name="connsiteX21" fmla="*/ 206558 w 224570"/>
                      <a:gd name="connsiteY21" fmla="*/ 78930 h 224570"/>
                      <a:gd name="connsiteX22" fmla="*/ 206558 w 224570"/>
                      <a:gd name="connsiteY22" fmla="*/ 28963 h 224570"/>
                      <a:gd name="connsiteX23" fmla="*/ 202067 w 224570"/>
                      <a:gd name="connsiteY23" fmla="*/ 24191 h 224570"/>
                      <a:gd name="connsiteX24" fmla="*/ 176662 w 224570"/>
                      <a:gd name="connsiteY24" fmla="*/ 13805 h 2245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570" h="224570">
                        <a:moveTo>
                          <a:pt x="67325" y="230375"/>
                        </a:moveTo>
                        <a:lnTo>
                          <a:pt x="67325" y="230375"/>
                        </a:lnTo>
                        <a:cubicBezTo>
                          <a:pt x="62070" y="230532"/>
                          <a:pt x="56986" y="228499"/>
                          <a:pt x="53289" y="224761"/>
                        </a:cubicBezTo>
                        <a:lnTo>
                          <a:pt x="5568" y="176899"/>
                        </a:lnTo>
                        <a:cubicBezTo>
                          <a:pt x="-1856" y="169451"/>
                          <a:pt x="-1856" y="157399"/>
                          <a:pt x="5568" y="149951"/>
                        </a:cubicBezTo>
                        <a:lnTo>
                          <a:pt x="141714" y="14226"/>
                        </a:lnTo>
                        <a:cubicBezTo>
                          <a:pt x="161261" y="-4742"/>
                          <a:pt x="192344" y="-4742"/>
                          <a:pt x="211892" y="14226"/>
                        </a:cubicBezTo>
                        <a:lnTo>
                          <a:pt x="216945" y="19138"/>
                        </a:lnTo>
                        <a:cubicBezTo>
                          <a:pt x="236324" y="38457"/>
                          <a:pt x="236373" y="69828"/>
                          <a:pt x="217054" y="89207"/>
                        </a:cubicBezTo>
                        <a:cubicBezTo>
                          <a:pt x="217018" y="89243"/>
                          <a:pt x="216981" y="89280"/>
                          <a:pt x="216945" y="89317"/>
                        </a:cubicBezTo>
                        <a:lnTo>
                          <a:pt x="81220" y="225042"/>
                        </a:lnTo>
                        <a:cubicBezTo>
                          <a:pt x="77509" y="228640"/>
                          <a:pt x="72490" y="230567"/>
                          <a:pt x="67325" y="230375"/>
                        </a:cubicBezTo>
                        <a:close/>
                        <a:moveTo>
                          <a:pt x="176662" y="13805"/>
                        </a:moveTo>
                        <a:cubicBezTo>
                          <a:pt x="167232" y="13750"/>
                          <a:pt x="158177" y="17494"/>
                          <a:pt x="151539" y="24191"/>
                        </a:cubicBezTo>
                        <a:lnTo>
                          <a:pt x="15814" y="159916"/>
                        </a:lnTo>
                        <a:cubicBezTo>
                          <a:pt x="13995" y="161902"/>
                          <a:pt x="13995" y="164948"/>
                          <a:pt x="15814" y="166934"/>
                        </a:cubicBezTo>
                        <a:lnTo>
                          <a:pt x="63816" y="214796"/>
                        </a:lnTo>
                        <a:lnTo>
                          <a:pt x="63816" y="214796"/>
                        </a:lnTo>
                        <a:cubicBezTo>
                          <a:pt x="64767" y="215687"/>
                          <a:pt x="66021" y="216188"/>
                          <a:pt x="67325" y="216199"/>
                        </a:cubicBezTo>
                        <a:lnTo>
                          <a:pt x="67325" y="216199"/>
                        </a:lnTo>
                        <a:cubicBezTo>
                          <a:pt x="68651" y="216165"/>
                          <a:pt x="69913" y="215611"/>
                          <a:pt x="70833" y="214655"/>
                        </a:cubicBezTo>
                        <a:lnTo>
                          <a:pt x="206558" y="78930"/>
                        </a:lnTo>
                        <a:cubicBezTo>
                          <a:pt x="220336" y="65124"/>
                          <a:pt x="220336" y="42770"/>
                          <a:pt x="206558" y="28963"/>
                        </a:cubicBezTo>
                        <a:lnTo>
                          <a:pt x="202067" y="24191"/>
                        </a:lnTo>
                        <a:cubicBezTo>
                          <a:pt x="195361" y="17423"/>
                          <a:pt x="186190" y="13674"/>
                          <a:pt x="176662" y="13805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3" name="Freeform: Shape 264">
                    <a:extLst>
                      <a:ext uri="{FF2B5EF4-FFF2-40B4-BE49-F238E27FC236}">
                        <a16:creationId xmlns:a16="http://schemas.microsoft.com/office/drawing/2014/main" id="{942E3BDC-E537-F269-852F-C2155279DA99}"/>
                      </a:ext>
                    </a:extLst>
                  </p:cNvPr>
                  <p:cNvSpPr/>
                  <p:nvPr/>
                </p:nvSpPr>
                <p:spPr>
                  <a:xfrm>
                    <a:off x="5980446" y="3376119"/>
                    <a:ext cx="112285" cy="112285"/>
                  </a:xfrm>
                  <a:custGeom>
                    <a:avLst/>
                    <a:gdLst>
                      <a:gd name="connsiteX0" fmla="*/ 96045 w 112285"/>
                      <a:gd name="connsiteY0" fmla="*/ 121324 h 112285"/>
                      <a:gd name="connsiteX1" fmla="*/ 91133 w 112285"/>
                      <a:gd name="connsiteY1" fmla="*/ 119218 h 112285"/>
                      <a:gd name="connsiteX2" fmla="*/ 2006 w 112285"/>
                      <a:gd name="connsiteY2" fmla="*/ 30232 h 112285"/>
                      <a:gd name="connsiteX3" fmla="*/ 2006 w 112285"/>
                      <a:gd name="connsiteY3" fmla="*/ 20407 h 112285"/>
                      <a:gd name="connsiteX4" fmla="*/ 100958 w 112285"/>
                      <a:gd name="connsiteY4" fmla="*/ 20407 h 112285"/>
                      <a:gd name="connsiteX5" fmla="*/ 100958 w 112285"/>
                      <a:gd name="connsiteY5" fmla="*/ 20407 h 112285"/>
                      <a:gd name="connsiteX6" fmla="*/ 100958 w 112285"/>
                      <a:gd name="connsiteY6" fmla="*/ 118657 h 112285"/>
                      <a:gd name="connsiteX7" fmla="*/ 96045 w 112285"/>
                      <a:gd name="connsiteY7" fmla="*/ 121324 h 112285"/>
                      <a:gd name="connsiteX8" fmla="*/ 17305 w 112285"/>
                      <a:gd name="connsiteY8" fmla="*/ 25600 h 112285"/>
                      <a:gd name="connsiteX9" fmla="*/ 95764 w 112285"/>
                      <a:gd name="connsiteY9" fmla="*/ 104060 h 112285"/>
                      <a:gd name="connsiteX10" fmla="*/ 91133 w 112285"/>
                      <a:gd name="connsiteY10" fmla="*/ 30232 h 112285"/>
                      <a:gd name="connsiteX11" fmla="*/ 91133 w 112285"/>
                      <a:gd name="connsiteY11" fmla="*/ 30232 h 112285"/>
                      <a:gd name="connsiteX12" fmla="*/ 17305 w 112285"/>
                      <a:gd name="connsiteY12" fmla="*/ 25600 h 1122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2285" h="112285">
                        <a:moveTo>
                          <a:pt x="96045" y="121324"/>
                        </a:moveTo>
                        <a:cubicBezTo>
                          <a:pt x="94184" y="121346"/>
                          <a:pt x="92400" y="120581"/>
                          <a:pt x="91133" y="119218"/>
                        </a:cubicBezTo>
                        <a:lnTo>
                          <a:pt x="2006" y="30232"/>
                        </a:lnTo>
                        <a:cubicBezTo>
                          <a:pt x="-669" y="27504"/>
                          <a:pt x="-669" y="23136"/>
                          <a:pt x="2006" y="20407"/>
                        </a:cubicBezTo>
                        <a:cubicBezTo>
                          <a:pt x="29378" y="-6802"/>
                          <a:pt x="73585" y="-6802"/>
                          <a:pt x="100958" y="20407"/>
                        </a:cubicBezTo>
                        <a:lnTo>
                          <a:pt x="100958" y="20407"/>
                        </a:lnTo>
                        <a:cubicBezTo>
                          <a:pt x="127705" y="47695"/>
                          <a:pt x="127705" y="91369"/>
                          <a:pt x="100958" y="118657"/>
                        </a:cubicBezTo>
                        <a:cubicBezTo>
                          <a:pt x="99797" y="120230"/>
                          <a:pt x="97997" y="121207"/>
                          <a:pt x="96045" y="121324"/>
                        </a:cubicBezTo>
                        <a:close/>
                        <a:moveTo>
                          <a:pt x="17305" y="25600"/>
                        </a:moveTo>
                        <a:lnTo>
                          <a:pt x="95764" y="104060"/>
                        </a:lnTo>
                        <a:cubicBezTo>
                          <a:pt x="112943" y="81768"/>
                          <a:pt x="110962" y="50202"/>
                          <a:pt x="91133" y="30232"/>
                        </a:cubicBezTo>
                        <a:lnTo>
                          <a:pt x="91133" y="30232"/>
                        </a:lnTo>
                        <a:cubicBezTo>
                          <a:pt x="70931" y="10925"/>
                          <a:pt x="39762" y="8969"/>
                          <a:pt x="17305" y="25600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4" name="Freeform: Shape 265">
                    <a:extLst>
                      <a:ext uri="{FF2B5EF4-FFF2-40B4-BE49-F238E27FC236}">
                        <a16:creationId xmlns:a16="http://schemas.microsoft.com/office/drawing/2014/main" id="{57B28484-E47B-DF28-25FA-3DCC3B714E4B}"/>
                      </a:ext>
                    </a:extLst>
                  </p:cNvPr>
                  <p:cNvSpPr/>
                  <p:nvPr/>
                </p:nvSpPr>
                <p:spPr>
                  <a:xfrm>
                    <a:off x="5967715" y="3448317"/>
                    <a:ext cx="56143" cy="56143"/>
                  </a:xfrm>
                  <a:custGeom>
                    <a:avLst/>
                    <a:gdLst>
                      <a:gd name="connsiteX0" fmla="*/ 53757 w 56142"/>
                      <a:gd name="connsiteY0" fmla="*/ 60774 h 56142"/>
                      <a:gd name="connsiteX1" fmla="*/ 53757 w 56142"/>
                      <a:gd name="connsiteY1" fmla="*/ 60774 h 56142"/>
                      <a:gd name="connsiteX2" fmla="*/ 0 w 56142"/>
                      <a:gd name="connsiteY2" fmla="*/ 7018 h 56142"/>
                      <a:gd name="connsiteX3" fmla="*/ 7018 w 56142"/>
                      <a:gd name="connsiteY3" fmla="*/ 0 h 56142"/>
                      <a:gd name="connsiteX4" fmla="*/ 14036 w 56142"/>
                      <a:gd name="connsiteY4" fmla="*/ 7018 h 56142"/>
                      <a:gd name="connsiteX5" fmla="*/ 54458 w 56142"/>
                      <a:gd name="connsiteY5" fmla="*/ 47300 h 56142"/>
                      <a:gd name="connsiteX6" fmla="*/ 61476 w 56142"/>
                      <a:gd name="connsiteY6" fmla="*/ 54318 h 56142"/>
                      <a:gd name="connsiteX7" fmla="*/ 54458 w 56142"/>
                      <a:gd name="connsiteY7" fmla="*/ 61336 h 561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6142" h="56142">
                        <a:moveTo>
                          <a:pt x="53757" y="60774"/>
                        </a:moveTo>
                        <a:lnTo>
                          <a:pt x="53757" y="60774"/>
                        </a:lnTo>
                        <a:cubicBezTo>
                          <a:pt x="24586" y="59559"/>
                          <a:pt x="1215" y="36188"/>
                          <a:pt x="0" y="7018"/>
                        </a:cubicBezTo>
                        <a:cubicBezTo>
                          <a:pt x="0" y="3143"/>
                          <a:pt x="3142" y="0"/>
                          <a:pt x="7018" y="0"/>
                        </a:cubicBezTo>
                        <a:cubicBezTo>
                          <a:pt x="10894" y="0"/>
                          <a:pt x="14036" y="3143"/>
                          <a:pt x="14036" y="7018"/>
                        </a:cubicBezTo>
                        <a:cubicBezTo>
                          <a:pt x="14969" y="28921"/>
                          <a:pt x="32552" y="46443"/>
                          <a:pt x="54458" y="47300"/>
                        </a:cubicBezTo>
                        <a:cubicBezTo>
                          <a:pt x="58334" y="47300"/>
                          <a:pt x="61476" y="50443"/>
                          <a:pt x="61476" y="54318"/>
                        </a:cubicBezTo>
                        <a:cubicBezTo>
                          <a:pt x="61476" y="58193"/>
                          <a:pt x="58334" y="61336"/>
                          <a:pt x="54458" y="61336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5" name="Freeform: Shape 266">
                    <a:extLst>
                      <a:ext uri="{FF2B5EF4-FFF2-40B4-BE49-F238E27FC236}">
                        <a16:creationId xmlns:a16="http://schemas.microsoft.com/office/drawing/2014/main" id="{D70D08F4-DE37-8A5E-6A74-BD7D93B83CDB}"/>
                      </a:ext>
                    </a:extLst>
                  </p:cNvPr>
                  <p:cNvSpPr/>
                  <p:nvPr/>
                </p:nvSpPr>
                <p:spPr>
                  <a:xfrm>
                    <a:off x="5916062" y="3448879"/>
                    <a:ext cx="98250" cy="98250"/>
                  </a:xfrm>
                  <a:custGeom>
                    <a:avLst/>
                    <a:gdLst>
                      <a:gd name="connsiteX0" fmla="*/ 104567 w 98249"/>
                      <a:gd name="connsiteY0" fmla="*/ 111724 h 98249"/>
                      <a:gd name="connsiteX1" fmla="*/ 104567 w 98249"/>
                      <a:gd name="connsiteY1" fmla="*/ 111724 h 98249"/>
                      <a:gd name="connsiteX2" fmla="*/ 1 w 98249"/>
                      <a:gd name="connsiteY2" fmla="*/ 7158 h 98249"/>
                      <a:gd name="connsiteX3" fmla="*/ 6876 w 98249"/>
                      <a:gd name="connsiteY3" fmla="*/ 0 h 98249"/>
                      <a:gd name="connsiteX4" fmla="*/ 6879 w 98249"/>
                      <a:gd name="connsiteY4" fmla="*/ 0 h 98249"/>
                      <a:gd name="connsiteX5" fmla="*/ 14037 w 98249"/>
                      <a:gd name="connsiteY5" fmla="*/ 7018 h 98249"/>
                      <a:gd name="connsiteX6" fmla="*/ 104708 w 98249"/>
                      <a:gd name="connsiteY6" fmla="*/ 97688 h 98249"/>
                      <a:gd name="connsiteX7" fmla="*/ 111725 w 98249"/>
                      <a:gd name="connsiteY7" fmla="*/ 104706 h 98249"/>
                      <a:gd name="connsiteX8" fmla="*/ 104708 w 98249"/>
                      <a:gd name="connsiteY8" fmla="*/ 111724 h 9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8249" h="98249">
                        <a:moveTo>
                          <a:pt x="104567" y="111724"/>
                        </a:moveTo>
                        <a:lnTo>
                          <a:pt x="104567" y="111724"/>
                        </a:lnTo>
                        <a:cubicBezTo>
                          <a:pt x="46913" y="111494"/>
                          <a:pt x="232" y="64812"/>
                          <a:pt x="1" y="7158"/>
                        </a:cubicBezTo>
                        <a:cubicBezTo>
                          <a:pt x="-77" y="3283"/>
                          <a:pt x="3001" y="79"/>
                          <a:pt x="6876" y="0"/>
                        </a:cubicBezTo>
                        <a:cubicBezTo>
                          <a:pt x="6877" y="0"/>
                          <a:pt x="6878" y="0"/>
                          <a:pt x="6879" y="0"/>
                        </a:cubicBezTo>
                        <a:cubicBezTo>
                          <a:pt x="10778" y="-1"/>
                          <a:pt x="13961" y="3119"/>
                          <a:pt x="14037" y="7018"/>
                        </a:cubicBezTo>
                        <a:cubicBezTo>
                          <a:pt x="14268" y="56997"/>
                          <a:pt x="54728" y="97458"/>
                          <a:pt x="104708" y="97688"/>
                        </a:cubicBezTo>
                        <a:cubicBezTo>
                          <a:pt x="108583" y="97688"/>
                          <a:pt x="111725" y="100831"/>
                          <a:pt x="111725" y="104706"/>
                        </a:cubicBezTo>
                        <a:cubicBezTo>
                          <a:pt x="111725" y="108581"/>
                          <a:pt x="108583" y="111724"/>
                          <a:pt x="104708" y="111724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6" name="Freeform: Shape 267">
                    <a:extLst>
                      <a:ext uri="{FF2B5EF4-FFF2-40B4-BE49-F238E27FC236}">
                        <a16:creationId xmlns:a16="http://schemas.microsoft.com/office/drawing/2014/main" id="{30D5F634-DB60-FFC0-739D-691735AA2870}"/>
                      </a:ext>
                    </a:extLst>
                  </p:cNvPr>
                  <p:cNvSpPr/>
                  <p:nvPr/>
                </p:nvSpPr>
                <p:spPr>
                  <a:xfrm>
                    <a:off x="5864410" y="3449861"/>
                    <a:ext cx="154392" cy="154392"/>
                  </a:xfrm>
                  <a:custGeom>
                    <a:avLst/>
                    <a:gdLst>
                      <a:gd name="connsiteX0" fmla="*/ 155237 w 154392"/>
                      <a:gd name="connsiteY0" fmla="*/ 162252 h 154392"/>
                      <a:gd name="connsiteX1" fmla="*/ 155237 w 154392"/>
                      <a:gd name="connsiteY1" fmla="*/ 162252 h 154392"/>
                      <a:gd name="connsiteX2" fmla="*/ 2 w 154392"/>
                      <a:gd name="connsiteY2" fmla="*/ 8706 h 154392"/>
                      <a:gd name="connsiteX3" fmla="*/ 2 w 154392"/>
                      <a:gd name="connsiteY3" fmla="*/ 7018 h 154392"/>
                      <a:gd name="connsiteX4" fmla="*/ 7020 w 154392"/>
                      <a:gd name="connsiteY4" fmla="*/ 0 h 154392"/>
                      <a:gd name="connsiteX5" fmla="*/ 7020 w 154392"/>
                      <a:gd name="connsiteY5" fmla="*/ 0 h 154392"/>
                      <a:gd name="connsiteX6" fmla="*/ 14038 w 154392"/>
                      <a:gd name="connsiteY6" fmla="*/ 7018 h 154392"/>
                      <a:gd name="connsiteX7" fmla="*/ 153547 w 154392"/>
                      <a:gd name="connsiteY7" fmla="*/ 148217 h 154392"/>
                      <a:gd name="connsiteX8" fmla="*/ 155237 w 154392"/>
                      <a:gd name="connsiteY8" fmla="*/ 148217 h 154392"/>
                      <a:gd name="connsiteX9" fmla="*/ 162255 w 154392"/>
                      <a:gd name="connsiteY9" fmla="*/ 155235 h 154392"/>
                      <a:gd name="connsiteX10" fmla="*/ 155237 w 154392"/>
                      <a:gd name="connsiteY10" fmla="*/ 162252 h 1543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4392" h="154392">
                        <a:moveTo>
                          <a:pt x="155237" y="162252"/>
                        </a:moveTo>
                        <a:lnTo>
                          <a:pt x="155237" y="162252"/>
                        </a:lnTo>
                        <a:cubicBezTo>
                          <a:pt x="69970" y="162718"/>
                          <a:pt x="469" y="93974"/>
                          <a:pt x="2" y="8706"/>
                        </a:cubicBezTo>
                        <a:cubicBezTo>
                          <a:pt x="-1" y="8143"/>
                          <a:pt x="-1" y="7581"/>
                          <a:pt x="2" y="7018"/>
                        </a:cubicBezTo>
                        <a:cubicBezTo>
                          <a:pt x="2" y="3143"/>
                          <a:pt x="3144" y="0"/>
                          <a:pt x="7020" y="0"/>
                        </a:cubicBezTo>
                        <a:lnTo>
                          <a:pt x="7020" y="0"/>
                        </a:lnTo>
                        <a:cubicBezTo>
                          <a:pt x="10896" y="0"/>
                          <a:pt x="14038" y="3143"/>
                          <a:pt x="14038" y="7018"/>
                        </a:cubicBezTo>
                        <a:cubicBezTo>
                          <a:pt x="13571" y="84533"/>
                          <a:pt x="76032" y="147751"/>
                          <a:pt x="153547" y="148217"/>
                        </a:cubicBezTo>
                        <a:cubicBezTo>
                          <a:pt x="154111" y="148219"/>
                          <a:pt x="154674" y="148219"/>
                          <a:pt x="155237" y="148217"/>
                        </a:cubicBezTo>
                        <a:cubicBezTo>
                          <a:pt x="159112" y="148217"/>
                          <a:pt x="162255" y="151359"/>
                          <a:pt x="162255" y="155235"/>
                        </a:cubicBezTo>
                        <a:cubicBezTo>
                          <a:pt x="162255" y="159110"/>
                          <a:pt x="159112" y="162252"/>
                          <a:pt x="155237" y="162252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6122669A-5948-E2FF-57B6-55F4C5F1C80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71133" y="3622827"/>
                <a:ext cx="743042" cy="743042"/>
                <a:chOff x="4590920" y="2105234"/>
                <a:chExt cx="792088" cy="792088"/>
              </a:xfrm>
            </p:grpSpPr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34E864C9-EA34-3F4A-A415-2CB8E3B9B32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590920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5" name="Graphic 2">
                  <a:extLst>
                    <a:ext uri="{FF2B5EF4-FFF2-40B4-BE49-F238E27FC236}">
                      <a16:creationId xmlns:a16="http://schemas.microsoft.com/office/drawing/2014/main" id="{231AAFDF-59FC-6557-F52C-D6A504E18BE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765495" y="2256094"/>
                  <a:ext cx="442914" cy="490368"/>
                  <a:chOff x="5886813" y="3152586"/>
                  <a:chExt cx="418353" cy="463176"/>
                </a:xfrm>
                <a:solidFill>
                  <a:schemeClr val="bg1"/>
                </a:solidFill>
              </p:grpSpPr>
              <p:sp>
                <p:nvSpPr>
                  <p:cNvPr id="296" name="Freeform: Shape 257">
                    <a:extLst>
                      <a:ext uri="{FF2B5EF4-FFF2-40B4-BE49-F238E27FC236}">
                        <a16:creationId xmlns:a16="http://schemas.microsoft.com/office/drawing/2014/main" id="{5A41C6A4-5D78-3BE6-EFAF-C5D13BE89AC4}"/>
                      </a:ext>
                    </a:extLst>
                  </p:cNvPr>
                  <p:cNvSpPr/>
                  <p:nvPr/>
                </p:nvSpPr>
                <p:spPr>
                  <a:xfrm>
                    <a:off x="5886813" y="3152586"/>
                    <a:ext cx="418353" cy="463176"/>
                  </a:xfrm>
                  <a:custGeom>
                    <a:avLst/>
                    <a:gdLst>
                      <a:gd name="connsiteX0" fmla="*/ 418364 w 418353"/>
                      <a:gd name="connsiteY0" fmla="*/ 85463 h 463176"/>
                      <a:gd name="connsiteX1" fmla="*/ 209187 w 418353"/>
                      <a:gd name="connsiteY1" fmla="*/ 0 h 463176"/>
                      <a:gd name="connsiteX2" fmla="*/ 11 w 418353"/>
                      <a:gd name="connsiteY2" fmla="*/ 85463 h 463176"/>
                      <a:gd name="connsiteX3" fmla="*/ 11 w 418353"/>
                      <a:gd name="connsiteY3" fmla="*/ 86808 h 463176"/>
                      <a:gd name="connsiteX4" fmla="*/ 11 w 418353"/>
                      <a:gd name="connsiteY4" fmla="*/ 87555 h 463176"/>
                      <a:gd name="connsiteX5" fmla="*/ 11 w 418353"/>
                      <a:gd name="connsiteY5" fmla="*/ 375621 h 463176"/>
                      <a:gd name="connsiteX6" fmla="*/ 11 w 418353"/>
                      <a:gd name="connsiteY6" fmla="*/ 376667 h 463176"/>
                      <a:gd name="connsiteX7" fmla="*/ 11 w 418353"/>
                      <a:gd name="connsiteY7" fmla="*/ 377713 h 463176"/>
                      <a:gd name="connsiteX8" fmla="*/ 209187 w 418353"/>
                      <a:gd name="connsiteY8" fmla="*/ 463176 h 463176"/>
                      <a:gd name="connsiteX9" fmla="*/ 216658 w 418353"/>
                      <a:gd name="connsiteY9" fmla="*/ 455705 h 463176"/>
                      <a:gd name="connsiteX10" fmla="*/ 209187 w 418353"/>
                      <a:gd name="connsiteY10" fmla="*/ 448235 h 463176"/>
                      <a:gd name="connsiteX11" fmla="*/ 14952 w 418353"/>
                      <a:gd name="connsiteY11" fmla="*/ 377713 h 463176"/>
                      <a:gd name="connsiteX12" fmla="*/ 14952 w 418353"/>
                      <a:gd name="connsiteY12" fmla="*/ 376667 h 463176"/>
                      <a:gd name="connsiteX13" fmla="*/ 14952 w 418353"/>
                      <a:gd name="connsiteY13" fmla="*/ 375621 h 463176"/>
                      <a:gd name="connsiteX14" fmla="*/ 14952 w 418353"/>
                      <a:gd name="connsiteY14" fmla="*/ 312420 h 463176"/>
                      <a:gd name="connsiteX15" fmla="*/ 209187 w 418353"/>
                      <a:gd name="connsiteY15" fmla="*/ 365760 h 463176"/>
                      <a:gd name="connsiteX16" fmla="*/ 216658 w 418353"/>
                      <a:gd name="connsiteY16" fmla="*/ 358289 h 463176"/>
                      <a:gd name="connsiteX17" fmla="*/ 209187 w 418353"/>
                      <a:gd name="connsiteY17" fmla="*/ 350818 h 463176"/>
                      <a:gd name="connsiteX18" fmla="*/ 14952 w 418353"/>
                      <a:gd name="connsiteY18" fmla="*/ 280296 h 463176"/>
                      <a:gd name="connsiteX19" fmla="*/ 14952 w 418353"/>
                      <a:gd name="connsiteY19" fmla="*/ 215003 h 463176"/>
                      <a:gd name="connsiteX20" fmla="*/ 209187 w 418353"/>
                      <a:gd name="connsiteY20" fmla="*/ 268941 h 463176"/>
                      <a:gd name="connsiteX21" fmla="*/ 403423 w 418353"/>
                      <a:gd name="connsiteY21" fmla="*/ 215601 h 463176"/>
                      <a:gd name="connsiteX22" fmla="*/ 403423 w 418353"/>
                      <a:gd name="connsiteY22" fmla="*/ 271182 h 463176"/>
                      <a:gd name="connsiteX23" fmla="*/ 410893 w 418353"/>
                      <a:gd name="connsiteY23" fmla="*/ 278653 h 463176"/>
                      <a:gd name="connsiteX24" fmla="*/ 418364 w 418353"/>
                      <a:gd name="connsiteY24" fmla="*/ 271182 h 463176"/>
                      <a:gd name="connsiteX25" fmla="*/ 418364 w 418353"/>
                      <a:gd name="connsiteY25" fmla="*/ 87555 h 463176"/>
                      <a:gd name="connsiteX26" fmla="*/ 418364 w 418353"/>
                      <a:gd name="connsiteY26" fmla="*/ 86808 h 463176"/>
                      <a:gd name="connsiteX27" fmla="*/ 418364 w 418353"/>
                      <a:gd name="connsiteY27" fmla="*/ 85463 h 463176"/>
                      <a:gd name="connsiteX28" fmla="*/ 209187 w 418353"/>
                      <a:gd name="connsiteY28" fmla="*/ 14941 h 463176"/>
                      <a:gd name="connsiteX29" fmla="*/ 403423 w 418353"/>
                      <a:gd name="connsiteY29" fmla="*/ 85463 h 463176"/>
                      <a:gd name="connsiteX30" fmla="*/ 209187 w 418353"/>
                      <a:gd name="connsiteY30" fmla="*/ 155986 h 463176"/>
                      <a:gd name="connsiteX31" fmla="*/ 14952 w 418353"/>
                      <a:gd name="connsiteY31" fmla="*/ 85463 h 463176"/>
                      <a:gd name="connsiteX32" fmla="*/ 209187 w 418353"/>
                      <a:gd name="connsiteY32" fmla="*/ 14941 h 463176"/>
                      <a:gd name="connsiteX33" fmla="*/ 403423 w 418353"/>
                      <a:gd name="connsiteY33" fmla="*/ 182880 h 463176"/>
                      <a:gd name="connsiteX34" fmla="*/ 209187 w 418353"/>
                      <a:gd name="connsiteY34" fmla="*/ 254000 h 463176"/>
                      <a:gd name="connsiteX35" fmla="*/ 14952 w 418353"/>
                      <a:gd name="connsiteY35" fmla="*/ 182880 h 463176"/>
                      <a:gd name="connsiteX36" fmla="*/ 14952 w 418353"/>
                      <a:gd name="connsiteY36" fmla="*/ 117587 h 463176"/>
                      <a:gd name="connsiteX37" fmla="*/ 209187 w 418353"/>
                      <a:gd name="connsiteY37" fmla="*/ 170927 h 463176"/>
                      <a:gd name="connsiteX38" fmla="*/ 403423 w 418353"/>
                      <a:gd name="connsiteY38" fmla="*/ 117587 h 46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418353" h="463176">
                        <a:moveTo>
                          <a:pt x="418364" y="85463"/>
                        </a:moveTo>
                        <a:cubicBezTo>
                          <a:pt x="418364" y="37502"/>
                          <a:pt x="326476" y="0"/>
                          <a:pt x="209187" y="0"/>
                        </a:cubicBezTo>
                        <a:cubicBezTo>
                          <a:pt x="91899" y="0"/>
                          <a:pt x="11" y="37502"/>
                          <a:pt x="11" y="85463"/>
                        </a:cubicBezTo>
                        <a:cubicBezTo>
                          <a:pt x="11" y="85463"/>
                          <a:pt x="11" y="86360"/>
                          <a:pt x="11" y="86808"/>
                        </a:cubicBezTo>
                        <a:cubicBezTo>
                          <a:pt x="-4" y="87057"/>
                          <a:pt x="-4" y="87306"/>
                          <a:pt x="11" y="87555"/>
                        </a:cubicBezTo>
                        <a:lnTo>
                          <a:pt x="11" y="375621"/>
                        </a:lnTo>
                        <a:cubicBezTo>
                          <a:pt x="11" y="375621"/>
                          <a:pt x="11" y="376368"/>
                          <a:pt x="11" y="376667"/>
                        </a:cubicBezTo>
                        <a:cubicBezTo>
                          <a:pt x="11" y="376966"/>
                          <a:pt x="11" y="377414"/>
                          <a:pt x="11" y="377713"/>
                        </a:cubicBezTo>
                        <a:cubicBezTo>
                          <a:pt x="11" y="425674"/>
                          <a:pt x="91899" y="463176"/>
                          <a:pt x="209187" y="463176"/>
                        </a:cubicBezTo>
                        <a:cubicBezTo>
                          <a:pt x="213313" y="463176"/>
                          <a:pt x="216658" y="459831"/>
                          <a:pt x="216658" y="455705"/>
                        </a:cubicBezTo>
                        <a:cubicBezTo>
                          <a:pt x="216658" y="451580"/>
                          <a:pt x="213313" y="448235"/>
                          <a:pt x="209187" y="448235"/>
                        </a:cubicBezTo>
                        <a:cubicBezTo>
                          <a:pt x="92945" y="448235"/>
                          <a:pt x="14952" y="411778"/>
                          <a:pt x="14952" y="377713"/>
                        </a:cubicBezTo>
                        <a:cubicBezTo>
                          <a:pt x="14952" y="377713"/>
                          <a:pt x="14952" y="377713"/>
                          <a:pt x="14952" y="376667"/>
                        </a:cubicBezTo>
                        <a:cubicBezTo>
                          <a:pt x="14952" y="375621"/>
                          <a:pt x="14952" y="376667"/>
                          <a:pt x="14952" y="375621"/>
                        </a:cubicBezTo>
                        <a:lnTo>
                          <a:pt x="14952" y="312420"/>
                        </a:lnTo>
                        <a:cubicBezTo>
                          <a:pt x="44834" y="343647"/>
                          <a:pt x="119540" y="365760"/>
                          <a:pt x="209187" y="365760"/>
                        </a:cubicBezTo>
                        <a:cubicBezTo>
                          <a:pt x="213313" y="365760"/>
                          <a:pt x="216658" y="362414"/>
                          <a:pt x="216658" y="358289"/>
                        </a:cubicBezTo>
                        <a:cubicBezTo>
                          <a:pt x="216658" y="354164"/>
                          <a:pt x="213313" y="350818"/>
                          <a:pt x="209187" y="350818"/>
                        </a:cubicBezTo>
                        <a:cubicBezTo>
                          <a:pt x="92945" y="350818"/>
                          <a:pt x="14952" y="313764"/>
                          <a:pt x="14952" y="280296"/>
                        </a:cubicBezTo>
                        <a:lnTo>
                          <a:pt x="14952" y="215003"/>
                        </a:lnTo>
                        <a:cubicBezTo>
                          <a:pt x="44834" y="246529"/>
                          <a:pt x="119540" y="268941"/>
                          <a:pt x="209187" y="268941"/>
                        </a:cubicBezTo>
                        <a:cubicBezTo>
                          <a:pt x="298834" y="268941"/>
                          <a:pt x="373540" y="247127"/>
                          <a:pt x="403423" y="215601"/>
                        </a:cubicBezTo>
                        <a:lnTo>
                          <a:pt x="403423" y="271182"/>
                        </a:lnTo>
                        <a:cubicBezTo>
                          <a:pt x="403423" y="275307"/>
                          <a:pt x="406768" y="278653"/>
                          <a:pt x="410893" y="278653"/>
                        </a:cubicBezTo>
                        <a:cubicBezTo>
                          <a:pt x="415019" y="278653"/>
                          <a:pt x="418364" y="275307"/>
                          <a:pt x="418364" y="271182"/>
                        </a:cubicBezTo>
                        <a:lnTo>
                          <a:pt x="418364" y="87555"/>
                        </a:lnTo>
                        <a:cubicBezTo>
                          <a:pt x="418379" y="87306"/>
                          <a:pt x="418379" y="87057"/>
                          <a:pt x="418364" y="86808"/>
                        </a:cubicBezTo>
                        <a:cubicBezTo>
                          <a:pt x="418364" y="86808"/>
                          <a:pt x="418364" y="85912"/>
                          <a:pt x="418364" y="85463"/>
                        </a:cubicBezTo>
                        <a:close/>
                        <a:moveTo>
                          <a:pt x="209187" y="14941"/>
                        </a:moveTo>
                        <a:cubicBezTo>
                          <a:pt x="325430" y="14941"/>
                          <a:pt x="403423" y="51398"/>
                          <a:pt x="403423" y="85463"/>
                        </a:cubicBezTo>
                        <a:cubicBezTo>
                          <a:pt x="403423" y="119529"/>
                          <a:pt x="325430" y="155986"/>
                          <a:pt x="209187" y="155986"/>
                        </a:cubicBezTo>
                        <a:cubicBezTo>
                          <a:pt x="92945" y="155986"/>
                          <a:pt x="14952" y="119529"/>
                          <a:pt x="14952" y="85463"/>
                        </a:cubicBezTo>
                        <a:cubicBezTo>
                          <a:pt x="14952" y="51398"/>
                          <a:pt x="92945" y="14941"/>
                          <a:pt x="209187" y="14941"/>
                        </a:cubicBezTo>
                        <a:close/>
                        <a:moveTo>
                          <a:pt x="403423" y="182880"/>
                        </a:moveTo>
                        <a:cubicBezTo>
                          <a:pt x="403423" y="216946"/>
                          <a:pt x="325430" y="254000"/>
                          <a:pt x="209187" y="254000"/>
                        </a:cubicBezTo>
                        <a:cubicBezTo>
                          <a:pt x="92945" y="254000"/>
                          <a:pt x="14952" y="216946"/>
                          <a:pt x="14952" y="182880"/>
                        </a:cubicBezTo>
                        <a:lnTo>
                          <a:pt x="14952" y="117587"/>
                        </a:lnTo>
                        <a:cubicBezTo>
                          <a:pt x="44834" y="149412"/>
                          <a:pt x="119540" y="170927"/>
                          <a:pt x="209187" y="170927"/>
                        </a:cubicBezTo>
                        <a:cubicBezTo>
                          <a:pt x="298834" y="170927"/>
                          <a:pt x="373540" y="149412"/>
                          <a:pt x="403423" y="117587"/>
                        </a:cubicBezTo>
                        <a:close/>
                      </a:path>
                    </a:pathLst>
                  </a:custGeom>
                  <a:grpFill/>
                  <a:ln w="146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7" name="Freeform: Shape 258">
                    <a:extLst>
                      <a:ext uri="{FF2B5EF4-FFF2-40B4-BE49-F238E27FC236}">
                        <a16:creationId xmlns:a16="http://schemas.microsoft.com/office/drawing/2014/main" id="{7D23743B-5C80-0A95-A0E3-068754B664DD}"/>
                      </a:ext>
                    </a:extLst>
                  </p:cNvPr>
                  <p:cNvSpPr/>
                  <p:nvPr/>
                </p:nvSpPr>
                <p:spPr>
                  <a:xfrm>
                    <a:off x="6146502" y="3445881"/>
                    <a:ext cx="149412" cy="164353"/>
                  </a:xfrm>
                  <a:custGeom>
                    <a:avLst/>
                    <a:gdLst>
                      <a:gd name="connsiteX0" fmla="*/ 144631 w 149411"/>
                      <a:gd name="connsiteY0" fmla="*/ 38399 h 164352"/>
                      <a:gd name="connsiteX1" fmla="*/ 79636 w 149411"/>
                      <a:gd name="connsiteY1" fmla="*/ 747 h 164352"/>
                      <a:gd name="connsiteX2" fmla="*/ 78889 w 149411"/>
                      <a:gd name="connsiteY2" fmla="*/ 747 h 164352"/>
                      <a:gd name="connsiteX3" fmla="*/ 77545 w 149411"/>
                      <a:gd name="connsiteY3" fmla="*/ 0 h 164352"/>
                      <a:gd name="connsiteX4" fmla="*/ 76200 w 149411"/>
                      <a:gd name="connsiteY4" fmla="*/ 0 h 164352"/>
                      <a:gd name="connsiteX5" fmla="*/ 73511 w 149411"/>
                      <a:gd name="connsiteY5" fmla="*/ 0 h 164352"/>
                      <a:gd name="connsiteX6" fmla="*/ 72166 w 149411"/>
                      <a:gd name="connsiteY6" fmla="*/ 0 h 164352"/>
                      <a:gd name="connsiteX7" fmla="*/ 70821 w 149411"/>
                      <a:gd name="connsiteY7" fmla="*/ 0 h 164352"/>
                      <a:gd name="connsiteX8" fmla="*/ 70074 w 149411"/>
                      <a:gd name="connsiteY8" fmla="*/ 0 h 164352"/>
                      <a:gd name="connsiteX9" fmla="*/ 5080 w 149411"/>
                      <a:gd name="connsiteY9" fmla="*/ 37652 h 164352"/>
                      <a:gd name="connsiteX10" fmla="*/ 0 w 149411"/>
                      <a:gd name="connsiteY10" fmla="*/ 44674 h 164352"/>
                      <a:gd name="connsiteX11" fmla="*/ 73361 w 149411"/>
                      <a:gd name="connsiteY11" fmla="*/ 168985 h 164352"/>
                      <a:gd name="connsiteX12" fmla="*/ 76349 w 149411"/>
                      <a:gd name="connsiteY12" fmla="*/ 168985 h 164352"/>
                      <a:gd name="connsiteX13" fmla="*/ 149711 w 149411"/>
                      <a:gd name="connsiteY13" fmla="*/ 44674 h 164352"/>
                      <a:gd name="connsiteX14" fmla="*/ 144631 w 149411"/>
                      <a:gd name="connsiteY14" fmla="*/ 38399 h 164352"/>
                      <a:gd name="connsiteX15" fmla="*/ 74855 w 149411"/>
                      <a:gd name="connsiteY15" fmla="*/ 154940 h 164352"/>
                      <a:gd name="connsiteX16" fmla="*/ 15091 w 149411"/>
                      <a:gd name="connsiteY16" fmla="*/ 50352 h 164352"/>
                      <a:gd name="connsiteX17" fmla="*/ 74855 w 149411"/>
                      <a:gd name="connsiteY17" fmla="*/ 15688 h 164352"/>
                      <a:gd name="connsiteX18" fmla="*/ 134620 w 149411"/>
                      <a:gd name="connsiteY18" fmla="*/ 50352 h 164352"/>
                      <a:gd name="connsiteX19" fmla="*/ 74855 w 149411"/>
                      <a:gd name="connsiteY19" fmla="*/ 154940 h 1643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49411" h="164352">
                        <a:moveTo>
                          <a:pt x="144631" y="38399"/>
                        </a:moveTo>
                        <a:cubicBezTo>
                          <a:pt x="121209" y="29161"/>
                          <a:pt x="99302" y="16470"/>
                          <a:pt x="79636" y="747"/>
                        </a:cubicBezTo>
                        <a:lnTo>
                          <a:pt x="78889" y="747"/>
                        </a:lnTo>
                        <a:lnTo>
                          <a:pt x="77545" y="0"/>
                        </a:lnTo>
                        <a:lnTo>
                          <a:pt x="76200" y="0"/>
                        </a:lnTo>
                        <a:lnTo>
                          <a:pt x="73511" y="0"/>
                        </a:lnTo>
                        <a:lnTo>
                          <a:pt x="72166" y="0"/>
                        </a:lnTo>
                        <a:lnTo>
                          <a:pt x="70821" y="0"/>
                        </a:lnTo>
                        <a:lnTo>
                          <a:pt x="70074" y="0"/>
                        </a:lnTo>
                        <a:cubicBezTo>
                          <a:pt x="50409" y="15723"/>
                          <a:pt x="28502" y="28414"/>
                          <a:pt x="5080" y="37652"/>
                        </a:cubicBezTo>
                        <a:cubicBezTo>
                          <a:pt x="2090" y="38708"/>
                          <a:pt x="67" y="41505"/>
                          <a:pt x="0" y="44674"/>
                        </a:cubicBezTo>
                        <a:cubicBezTo>
                          <a:pt x="0" y="152699"/>
                          <a:pt x="72614" y="168835"/>
                          <a:pt x="73361" y="168985"/>
                        </a:cubicBezTo>
                        <a:lnTo>
                          <a:pt x="76349" y="168985"/>
                        </a:lnTo>
                        <a:cubicBezTo>
                          <a:pt x="77097" y="168985"/>
                          <a:pt x="149711" y="152699"/>
                          <a:pt x="149711" y="44674"/>
                        </a:cubicBezTo>
                        <a:cubicBezTo>
                          <a:pt x="149355" y="41783"/>
                          <a:pt x="147384" y="39348"/>
                          <a:pt x="144631" y="38399"/>
                        </a:cubicBezTo>
                        <a:close/>
                        <a:moveTo>
                          <a:pt x="74855" y="154940"/>
                        </a:moveTo>
                        <a:cubicBezTo>
                          <a:pt x="65592" y="152400"/>
                          <a:pt x="17033" y="134769"/>
                          <a:pt x="15091" y="50352"/>
                        </a:cubicBezTo>
                        <a:cubicBezTo>
                          <a:pt x="36440" y="41457"/>
                          <a:pt x="56533" y="29803"/>
                          <a:pt x="74855" y="15688"/>
                        </a:cubicBezTo>
                        <a:cubicBezTo>
                          <a:pt x="93178" y="29803"/>
                          <a:pt x="113271" y="41457"/>
                          <a:pt x="134620" y="50352"/>
                        </a:cubicBezTo>
                        <a:cubicBezTo>
                          <a:pt x="132678" y="134470"/>
                          <a:pt x="83969" y="152101"/>
                          <a:pt x="74855" y="154940"/>
                        </a:cubicBezTo>
                        <a:close/>
                      </a:path>
                    </a:pathLst>
                  </a:custGeom>
                  <a:grpFill/>
                  <a:ln w="146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5" name="Group 174">
                <a:extLst>
                  <a:ext uri="{FF2B5EF4-FFF2-40B4-BE49-F238E27FC236}">
                    <a16:creationId xmlns:a16="http://schemas.microsoft.com/office/drawing/2014/main" id="{03ED0F99-E11B-48A4-BB86-5255DF2C87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331268" y="2510503"/>
                <a:ext cx="792988" cy="792988"/>
                <a:chOff x="5273814" y="2105234"/>
                <a:chExt cx="792088" cy="792088"/>
              </a:xfrm>
            </p:grpSpPr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CBA29A14-D2CE-F19E-63B5-B2680427D91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73814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Graphic 12">
                  <a:extLst>
                    <a:ext uri="{FF2B5EF4-FFF2-40B4-BE49-F238E27FC236}">
                      <a16:creationId xmlns:a16="http://schemas.microsoft.com/office/drawing/2014/main" id="{6196336E-B94C-FF74-7D0A-D29A42FEEE2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32501" y="2256010"/>
                  <a:ext cx="474714" cy="490536"/>
                </a:xfrm>
                <a:custGeom>
                  <a:avLst/>
                  <a:gdLst>
                    <a:gd name="connsiteX0" fmla="*/ 441961 w 448235"/>
                    <a:gd name="connsiteY0" fmla="*/ 74924 h 463177"/>
                    <a:gd name="connsiteX1" fmla="*/ 394896 w 448235"/>
                    <a:gd name="connsiteY1" fmla="*/ 63120 h 463177"/>
                    <a:gd name="connsiteX2" fmla="*/ 296135 w 448235"/>
                    <a:gd name="connsiteY2" fmla="*/ 82394 h 463177"/>
                    <a:gd name="connsiteX3" fmla="*/ 82370 w 448235"/>
                    <a:gd name="connsiteY3" fmla="*/ 19160 h 463177"/>
                    <a:gd name="connsiteX4" fmla="*/ 1345 w 448235"/>
                    <a:gd name="connsiteY4" fmla="*/ 178167 h 463177"/>
                    <a:gd name="connsiteX5" fmla="*/ 1345 w 448235"/>
                    <a:gd name="connsiteY5" fmla="*/ 178167 h 463177"/>
                    <a:gd name="connsiteX6" fmla="*/ 1345 w 448235"/>
                    <a:gd name="connsiteY6" fmla="*/ 178914 h 463177"/>
                    <a:gd name="connsiteX7" fmla="*/ 34963 w 448235"/>
                    <a:gd name="connsiteY7" fmla="*/ 257206 h 463177"/>
                    <a:gd name="connsiteX8" fmla="*/ 49904 w 448235"/>
                    <a:gd name="connsiteY8" fmla="*/ 296502 h 463177"/>
                    <a:gd name="connsiteX9" fmla="*/ 49904 w 448235"/>
                    <a:gd name="connsiteY9" fmla="*/ 455924 h 463177"/>
                    <a:gd name="connsiteX10" fmla="*/ 57374 w 448235"/>
                    <a:gd name="connsiteY10" fmla="*/ 463395 h 463177"/>
                    <a:gd name="connsiteX11" fmla="*/ 64845 w 448235"/>
                    <a:gd name="connsiteY11" fmla="*/ 455924 h 463177"/>
                    <a:gd name="connsiteX12" fmla="*/ 64845 w 448235"/>
                    <a:gd name="connsiteY12" fmla="*/ 296651 h 463177"/>
                    <a:gd name="connsiteX13" fmla="*/ 46617 w 448235"/>
                    <a:gd name="connsiteY13" fmla="*/ 247943 h 463177"/>
                    <a:gd name="connsiteX14" fmla="*/ 17481 w 448235"/>
                    <a:gd name="connsiteY14" fmla="*/ 185787 h 463177"/>
                    <a:gd name="connsiteX15" fmla="*/ 200362 w 448235"/>
                    <a:gd name="connsiteY15" fmla="*/ 185787 h 463177"/>
                    <a:gd name="connsiteX16" fmla="*/ 200362 w 448235"/>
                    <a:gd name="connsiteY16" fmla="*/ 217164 h 463177"/>
                    <a:gd name="connsiteX17" fmla="*/ 246231 w 448235"/>
                    <a:gd name="connsiteY17" fmla="*/ 273642 h 463177"/>
                    <a:gd name="connsiteX18" fmla="*/ 291055 w 448235"/>
                    <a:gd name="connsiteY18" fmla="*/ 282756 h 463177"/>
                    <a:gd name="connsiteX19" fmla="*/ 291055 w 448235"/>
                    <a:gd name="connsiteY19" fmla="*/ 358806 h 463177"/>
                    <a:gd name="connsiteX20" fmla="*/ 287469 w 448235"/>
                    <a:gd name="connsiteY20" fmla="*/ 366725 h 463177"/>
                    <a:gd name="connsiteX21" fmla="*/ 281791 w 448235"/>
                    <a:gd name="connsiteY21" fmla="*/ 367921 h 463177"/>
                    <a:gd name="connsiteX22" fmla="*/ 228451 w 448235"/>
                    <a:gd name="connsiteY22" fmla="*/ 352979 h 463177"/>
                    <a:gd name="connsiteX23" fmla="*/ 209625 w 448235"/>
                    <a:gd name="connsiteY23" fmla="*/ 356715 h 463177"/>
                    <a:gd name="connsiteX24" fmla="*/ 200212 w 448235"/>
                    <a:gd name="connsiteY24" fmla="*/ 376437 h 463177"/>
                    <a:gd name="connsiteX25" fmla="*/ 200212 w 448235"/>
                    <a:gd name="connsiteY25" fmla="*/ 455924 h 463177"/>
                    <a:gd name="connsiteX26" fmla="*/ 207683 w 448235"/>
                    <a:gd name="connsiteY26" fmla="*/ 463395 h 463177"/>
                    <a:gd name="connsiteX27" fmla="*/ 215153 w 448235"/>
                    <a:gd name="connsiteY27" fmla="*/ 455924 h 463177"/>
                    <a:gd name="connsiteX28" fmla="*/ 215153 w 448235"/>
                    <a:gd name="connsiteY28" fmla="*/ 376138 h 463177"/>
                    <a:gd name="connsiteX29" fmla="*/ 218739 w 448235"/>
                    <a:gd name="connsiteY29" fmla="*/ 368369 h 463177"/>
                    <a:gd name="connsiteX30" fmla="*/ 224566 w 448235"/>
                    <a:gd name="connsiteY30" fmla="*/ 367173 h 463177"/>
                    <a:gd name="connsiteX31" fmla="*/ 277757 w 448235"/>
                    <a:gd name="connsiteY31" fmla="*/ 382115 h 463177"/>
                    <a:gd name="connsiteX32" fmla="*/ 296583 w 448235"/>
                    <a:gd name="connsiteY32" fmla="*/ 378379 h 463177"/>
                    <a:gd name="connsiteX33" fmla="*/ 306145 w 448235"/>
                    <a:gd name="connsiteY33" fmla="*/ 358806 h 463177"/>
                    <a:gd name="connsiteX34" fmla="*/ 306145 w 448235"/>
                    <a:gd name="connsiteY34" fmla="*/ 285744 h 463177"/>
                    <a:gd name="connsiteX35" fmla="*/ 394896 w 448235"/>
                    <a:gd name="connsiteY35" fmla="*/ 303673 h 463177"/>
                    <a:gd name="connsiteX36" fmla="*/ 406102 w 448235"/>
                    <a:gd name="connsiteY36" fmla="*/ 304719 h 463177"/>
                    <a:gd name="connsiteX37" fmla="*/ 441961 w 448235"/>
                    <a:gd name="connsiteY37" fmla="*/ 291870 h 463177"/>
                    <a:gd name="connsiteX38" fmla="*/ 463028 w 448235"/>
                    <a:gd name="connsiteY38" fmla="*/ 247046 h 463177"/>
                    <a:gd name="connsiteX39" fmla="*/ 463028 w 448235"/>
                    <a:gd name="connsiteY39" fmla="*/ 118851 h 463177"/>
                    <a:gd name="connsiteX40" fmla="*/ 441961 w 448235"/>
                    <a:gd name="connsiteY40" fmla="*/ 74924 h 463177"/>
                    <a:gd name="connsiteX41" fmla="*/ 14941 w 448235"/>
                    <a:gd name="connsiteY41" fmla="*/ 170846 h 463177"/>
                    <a:gd name="connsiteX42" fmla="*/ 16436 w 448235"/>
                    <a:gd name="connsiteY42" fmla="*/ 136631 h 463177"/>
                    <a:gd name="connsiteX43" fmla="*/ 179047 w 448235"/>
                    <a:gd name="connsiteY43" fmla="*/ 16785 h 463177"/>
                    <a:gd name="connsiteX44" fmla="*/ 280745 w 448235"/>
                    <a:gd name="connsiteY44" fmla="*/ 85532 h 463177"/>
                    <a:gd name="connsiteX45" fmla="*/ 246231 w 448235"/>
                    <a:gd name="connsiteY45" fmla="*/ 92554 h 463177"/>
                    <a:gd name="connsiteX46" fmla="*/ 200362 w 448235"/>
                    <a:gd name="connsiteY46" fmla="*/ 149630 h 463177"/>
                    <a:gd name="connsiteX47" fmla="*/ 200362 w 448235"/>
                    <a:gd name="connsiteY47" fmla="*/ 171593 h 463177"/>
                    <a:gd name="connsiteX48" fmla="*/ 448236 w 448235"/>
                    <a:gd name="connsiteY48" fmla="*/ 247196 h 463177"/>
                    <a:gd name="connsiteX49" fmla="*/ 433295 w 448235"/>
                    <a:gd name="connsiteY49" fmla="*/ 280365 h 463177"/>
                    <a:gd name="connsiteX50" fmla="*/ 398631 w 448235"/>
                    <a:gd name="connsiteY50" fmla="*/ 289031 h 463177"/>
                    <a:gd name="connsiteX51" fmla="*/ 249219 w 448235"/>
                    <a:gd name="connsiteY51" fmla="*/ 259149 h 463177"/>
                    <a:gd name="connsiteX52" fmla="*/ 215452 w 448235"/>
                    <a:gd name="connsiteY52" fmla="*/ 217313 h 463177"/>
                    <a:gd name="connsiteX53" fmla="*/ 215452 w 448235"/>
                    <a:gd name="connsiteY53" fmla="*/ 185937 h 463177"/>
                    <a:gd name="connsiteX54" fmla="*/ 250564 w 448235"/>
                    <a:gd name="connsiteY54" fmla="*/ 185937 h 463177"/>
                    <a:gd name="connsiteX55" fmla="*/ 250564 w 448235"/>
                    <a:gd name="connsiteY55" fmla="*/ 208199 h 463177"/>
                    <a:gd name="connsiteX56" fmla="*/ 258035 w 448235"/>
                    <a:gd name="connsiteY56" fmla="*/ 215670 h 463177"/>
                    <a:gd name="connsiteX57" fmla="*/ 265505 w 448235"/>
                    <a:gd name="connsiteY57" fmla="*/ 208199 h 463177"/>
                    <a:gd name="connsiteX58" fmla="*/ 265505 w 448235"/>
                    <a:gd name="connsiteY58" fmla="*/ 157997 h 463177"/>
                    <a:gd name="connsiteX59" fmla="*/ 258035 w 448235"/>
                    <a:gd name="connsiteY59" fmla="*/ 150526 h 463177"/>
                    <a:gd name="connsiteX60" fmla="*/ 250564 w 448235"/>
                    <a:gd name="connsiteY60" fmla="*/ 157997 h 463177"/>
                    <a:gd name="connsiteX61" fmla="*/ 250564 w 448235"/>
                    <a:gd name="connsiteY61" fmla="*/ 170846 h 463177"/>
                    <a:gd name="connsiteX62" fmla="*/ 215303 w 448235"/>
                    <a:gd name="connsiteY62" fmla="*/ 170846 h 463177"/>
                    <a:gd name="connsiteX63" fmla="*/ 215303 w 448235"/>
                    <a:gd name="connsiteY63" fmla="*/ 149630 h 463177"/>
                    <a:gd name="connsiteX64" fmla="*/ 249070 w 448235"/>
                    <a:gd name="connsiteY64" fmla="*/ 107944 h 463177"/>
                    <a:gd name="connsiteX65" fmla="*/ 292399 w 448235"/>
                    <a:gd name="connsiteY65" fmla="*/ 99128 h 463177"/>
                    <a:gd name="connsiteX66" fmla="*/ 294491 w 448235"/>
                    <a:gd name="connsiteY66" fmla="*/ 99128 h 463177"/>
                    <a:gd name="connsiteX67" fmla="*/ 397884 w 448235"/>
                    <a:gd name="connsiteY67" fmla="*/ 78211 h 463177"/>
                    <a:gd name="connsiteX68" fmla="*/ 433295 w 448235"/>
                    <a:gd name="connsiteY68" fmla="*/ 85681 h 463177"/>
                    <a:gd name="connsiteX69" fmla="*/ 448236 w 448235"/>
                    <a:gd name="connsiteY69" fmla="*/ 118851 h 463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448235" h="463177">
                      <a:moveTo>
                        <a:pt x="441961" y="74924"/>
                      </a:moveTo>
                      <a:cubicBezTo>
                        <a:pt x="428848" y="64107"/>
                        <a:pt x="411561" y="59772"/>
                        <a:pt x="394896" y="63120"/>
                      </a:cubicBezTo>
                      <a:lnTo>
                        <a:pt x="296135" y="82394"/>
                      </a:lnTo>
                      <a:cubicBezTo>
                        <a:pt x="254567" y="5903"/>
                        <a:pt x="158861" y="-22408"/>
                        <a:pt x="82370" y="19160"/>
                      </a:cubicBezTo>
                      <a:cubicBezTo>
                        <a:pt x="25069" y="50299"/>
                        <a:pt x="-7139" y="113507"/>
                        <a:pt x="1345" y="178167"/>
                      </a:cubicBezTo>
                      <a:lnTo>
                        <a:pt x="1345" y="178167"/>
                      </a:lnTo>
                      <a:cubicBezTo>
                        <a:pt x="1345" y="178167"/>
                        <a:pt x="1345" y="178167"/>
                        <a:pt x="1345" y="178914"/>
                      </a:cubicBezTo>
                      <a:cubicBezTo>
                        <a:pt x="5060" y="207628"/>
                        <a:pt x="16701" y="234739"/>
                        <a:pt x="34963" y="257206"/>
                      </a:cubicBezTo>
                      <a:cubicBezTo>
                        <a:pt x="44334" y="268185"/>
                        <a:pt x="49614" y="282070"/>
                        <a:pt x="49904" y="296502"/>
                      </a:cubicBezTo>
                      <a:lnTo>
                        <a:pt x="49904" y="455924"/>
                      </a:lnTo>
                      <a:cubicBezTo>
                        <a:pt x="49904" y="460049"/>
                        <a:pt x="53249" y="463395"/>
                        <a:pt x="57374" y="463395"/>
                      </a:cubicBezTo>
                      <a:cubicBezTo>
                        <a:pt x="61467" y="463316"/>
                        <a:pt x="64766" y="460017"/>
                        <a:pt x="64845" y="455924"/>
                      </a:cubicBezTo>
                      <a:lnTo>
                        <a:pt x="64845" y="296651"/>
                      </a:lnTo>
                      <a:cubicBezTo>
                        <a:pt x="64619" y="278789"/>
                        <a:pt x="58173" y="261565"/>
                        <a:pt x="46617" y="247943"/>
                      </a:cubicBezTo>
                      <a:cubicBezTo>
                        <a:pt x="31961" y="229924"/>
                        <a:pt x="21956" y="208580"/>
                        <a:pt x="17481" y="185787"/>
                      </a:cubicBezTo>
                      <a:lnTo>
                        <a:pt x="200362" y="185787"/>
                      </a:lnTo>
                      <a:lnTo>
                        <a:pt x="200362" y="217164"/>
                      </a:lnTo>
                      <a:cubicBezTo>
                        <a:pt x="200350" y="244476"/>
                        <a:pt x="219497" y="268052"/>
                        <a:pt x="246231" y="273642"/>
                      </a:cubicBezTo>
                      <a:lnTo>
                        <a:pt x="291055" y="282756"/>
                      </a:lnTo>
                      <a:lnTo>
                        <a:pt x="291055" y="358806"/>
                      </a:lnTo>
                      <a:cubicBezTo>
                        <a:pt x="291128" y="361854"/>
                        <a:pt x="289807" y="364769"/>
                        <a:pt x="287469" y="366725"/>
                      </a:cubicBezTo>
                      <a:cubicBezTo>
                        <a:pt x="285854" y="367962"/>
                        <a:pt x="283766" y="368402"/>
                        <a:pt x="281791" y="367921"/>
                      </a:cubicBezTo>
                      <a:lnTo>
                        <a:pt x="228451" y="352979"/>
                      </a:lnTo>
                      <a:cubicBezTo>
                        <a:pt x="221935" y="351272"/>
                        <a:pt x="214995" y="352649"/>
                        <a:pt x="209625" y="356715"/>
                      </a:cubicBezTo>
                      <a:cubicBezTo>
                        <a:pt x="203658" y="361520"/>
                        <a:pt x="200196" y="368775"/>
                        <a:pt x="200212" y="376437"/>
                      </a:cubicBezTo>
                      <a:lnTo>
                        <a:pt x="200212" y="455924"/>
                      </a:lnTo>
                      <a:cubicBezTo>
                        <a:pt x="200212" y="460049"/>
                        <a:pt x="203558" y="463395"/>
                        <a:pt x="207683" y="463395"/>
                      </a:cubicBezTo>
                      <a:cubicBezTo>
                        <a:pt x="211808" y="463395"/>
                        <a:pt x="215153" y="460049"/>
                        <a:pt x="215153" y="455924"/>
                      </a:cubicBezTo>
                      <a:lnTo>
                        <a:pt x="215153" y="376138"/>
                      </a:lnTo>
                      <a:cubicBezTo>
                        <a:pt x="215082" y="373134"/>
                        <a:pt x="216406" y="370263"/>
                        <a:pt x="218739" y="368369"/>
                      </a:cubicBezTo>
                      <a:cubicBezTo>
                        <a:pt x="220380" y="367064"/>
                        <a:pt x="222545" y="366621"/>
                        <a:pt x="224566" y="367173"/>
                      </a:cubicBezTo>
                      <a:lnTo>
                        <a:pt x="277757" y="382115"/>
                      </a:lnTo>
                      <a:cubicBezTo>
                        <a:pt x="284270" y="383917"/>
                        <a:pt x="291252" y="382532"/>
                        <a:pt x="296583" y="378379"/>
                      </a:cubicBezTo>
                      <a:cubicBezTo>
                        <a:pt x="302655" y="373709"/>
                        <a:pt x="306193" y="366467"/>
                        <a:pt x="306145" y="358806"/>
                      </a:cubicBezTo>
                      <a:lnTo>
                        <a:pt x="306145" y="285744"/>
                      </a:lnTo>
                      <a:lnTo>
                        <a:pt x="394896" y="303673"/>
                      </a:lnTo>
                      <a:cubicBezTo>
                        <a:pt x="398588" y="304391"/>
                        <a:pt x="402341" y="304742"/>
                        <a:pt x="406102" y="304719"/>
                      </a:cubicBezTo>
                      <a:cubicBezTo>
                        <a:pt x="419190" y="304769"/>
                        <a:pt x="431881" y="300220"/>
                        <a:pt x="441961" y="291870"/>
                      </a:cubicBezTo>
                      <a:cubicBezTo>
                        <a:pt x="455438" y="280912"/>
                        <a:pt x="463192" y="264415"/>
                        <a:pt x="463028" y="247046"/>
                      </a:cubicBezTo>
                      <a:lnTo>
                        <a:pt x="463028" y="118851"/>
                      </a:lnTo>
                      <a:cubicBezTo>
                        <a:pt x="462922" y="101796"/>
                        <a:pt x="455193" y="85683"/>
                        <a:pt x="441961" y="74924"/>
                      </a:cubicBezTo>
                      <a:close/>
                      <a:moveTo>
                        <a:pt x="14941" y="170846"/>
                      </a:moveTo>
                      <a:cubicBezTo>
                        <a:pt x="14172" y="159421"/>
                        <a:pt x="14673" y="147946"/>
                        <a:pt x="16436" y="136631"/>
                      </a:cubicBezTo>
                      <a:cubicBezTo>
                        <a:pt x="28245" y="58633"/>
                        <a:pt x="101048" y="4976"/>
                        <a:pt x="179047" y="16785"/>
                      </a:cubicBezTo>
                      <a:cubicBezTo>
                        <a:pt x="221566" y="23223"/>
                        <a:pt x="258924" y="48476"/>
                        <a:pt x="280745" y="85532"/>
                      </a:cubicBezTo>
                      <a:lnTo>
                        <a:pt x="246231" y="92554"/>
                      </a:lnTo>
                      <a:cubicBezTo>
                        <a:pt x="219243" y="98135"/>
                        <a:pt x="200006" y="122073"/>
                        <a:pt x="200362" y="149630"/>
                      </a:cubicBezTo>
                      <a:lnTo>
                        <a:pt x="200362" y="171593"/>
                      </a:lnTo>
                      <a:close/>
                      <a:moveTo>
                        <a:pt x="448236" y="247196"/>
                      </a:moveTo>
                      <a:cubicBezTo>
                        <a:pt x="448466" y="259930"/>
                        <a:pt x="442986" y="272100"/>
                        <a:pt x="433295" y="280365"/>
                      </a:cubicBezTo>
                      <a:cubicBezTo>
                        <a:pt x="423598" y="288253"/>
                        <a:pt x="410900" y="291428"/>
                        <a:pt x="398631" y="289031"/>
                      </a:cubicBezTo>
                      <a:lnTo>
                        <a:pt x="249219" y="259149"/>
                      </a:lnTo>
                      <a:cubicBezTo>
                        <a:pt x="229503" y="254919"/>
                        <a:pt x="215427" y="237479"/>
                        <a:pt x="215452" y="217313"/>
                      </a:cubicBezTo>
                      <a:lnTo>
                        <a:pt x="215452" y="185937"/>
                      </a:lnTo>
                      <a:lnTo>
                        <a:pt x="250564" y="185937"/>
                      </a:lnTo>
                      <a:lnTo>
                        <a:pt x="250564" y="208199"/>
                      </a:lnTo>
                      <a:cubicBezTo>
                        <a:pt x="250564" y="212324"/>
                        <a:pt x="253909" y="215670"/>
                        <a:pt x="258035" y="215670"/>
                      </a:cubicBezTo>
                      <a:cubicBezTo>
                        <a:pt x="262160" y="215670"/>
                        <a:pt x="265505" y="212324"/>
                        <a:pt x="265505" y="208199"/>
                      </a:cubicBezTo>
                      <a:lnTo>
                        <a:pt x="265505" y="157997"/>
                      </a:lnTo>
                      <a:cubicBezTo>
                        <a:pt x="265505" y="153871"/>
                        <a:pt x="262160" y="150526"/>
                        <a:pt x="258035" y="150526"/>
                      </a:cubicBezTo>
                      <a:cubicBezTo>
                        <a:pt x="253909" y="150526"/>
                        <a:pt x="250564" y="153871"/>
                        <a:pt x="250564" y="157997"/>
                      </a:cubicBezTo>
                      <a:lnTo>
                        <a:pt x="250564" y="170846"/>
                      </a:lnTo>
                      <a:lnTo>
                        <a:pt x="215303" y="170846"/>
                      </a:lnTo>
                      <a:lnTo>
                        <a:pt x="215303" y="149630"/>
                      </a:lnTo>
                      <a:cubicBezTo>
                        <a:pt x="215233" y="129479"/>
                        <a:pt x="229345" y="112059"/>
                        <a:pt x="249070" y="107944"/>
                      </a:cubicBezTo>
                      <a:lnTo>
                        <a:pt x="292399" y="99128"/>
                      </a:lnTo>
                      <a:cubicBezTo>
                        <a:pt x="293090" y="99269"/>
                        <a:pt x="293801" y="99269"/>
                        <a:pt x="294491" y="99128"/>
                      </a:cubicBezTo>
                      <a:lnTo>
                        <a:pt x="397884" y="78211"/>
                      </a:lnTo>
                      <a:cubicBezTo>
                        <a:pt x="410211" y="75247"/>
                        <a:pt x="423217" y="77991"/>
                        <a:pt x="433295" y="85681"/>
                      </a:cubicBezTo>
                      <a:cubicBezTo>
                        <a:pt x="442933" y="93985"/>
                        <a:pt x="448403" y="106129"/>
                        <a:pt x="448236" y="118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47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5629EB3A-8DCA-10B0-6417-15D371F1674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07212" y="2941504"/>
                <a:ext cx="1061486" cy="1061486"/>
                <a:chOff x="3225132" y="2105234"/>
                <a:chExt cx="792088" cy="792088"/>
              </a:xfrm>
            </p:grpSpPr>
            <p:sp>
              <p:nvSpPr>
                <p:cNvPr id="286" name="Oval 285">
                  <a:extLst>
                    <a:ext uri="{FF2B5EF4-FFF2-40B4-BE49-F238E27FC236}">
                      <a16:creationId xmlns:a16="http://schemas.microsoft.com/office/drawing/2014/main" id="{8E845B41-3445-D605-27A3-187716D8780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25132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7" name="Graphic 14">
                  <a:extLst>
                    <a:ext uri="{FF2B5EF4-FFF2-40B4-BE49-F238E27FC236}">
                      <a16:creationId xmlns:a16="http://schemas.microsoft.com/office/drawing/2014/main" id="{77BCC51A-5E7D-18CA-2D46-C1105106B66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374309" y="2254724"/>
                  <a:ext cx="493421" cy="493091"/>
                  <a:chOff x="5864118" y="3152586"/>
                  <a:chExt cx="463471" cy="463161"/>
                </a:xfrm>
                <a:solidFill>
                  <a:schemeClr val="bg1"/>
                </a:solidFill>
              </p:grpSpPr>
              <p:sp>
                <p:nvSpPr>
                  <p:cNvPr id="288" name="Freeform: Shape 249">
                    <a:extLst>
                      <a:ext uri="{FF2B5EF4-FFF2-40B4-BE49-F238E27FC236}">
                        <a16:creationId xmlns:a16="http://schemas.microsoft.com/office/drawing/2014/main" id="{1B7B4407-CBA8-AB14-AEC9-FD60B2D6B3C1}"/>
                      </a:ext>
                    </a:extLst>
                  </p:cNvPr>
                  <p:cNvSpPr/>
                  <p:nvPr/>
                </p:nvSpPr>
                <p:spPr>
                  <a:xfrm>
                    <a:off x="6075566" y="3200266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9" name="Freeform: Shape 250">
                    <a:extLst>
                      <a:ext uri="{FF2B5EF4-FFF2-40B4-BE49-F238E27FC236}">
                        <a16:creationId xmlns:a16="http://schemas.microsoft.com/office/drawing/2014/main" id="{694F46D4-53FA-2928-78EB-942282CB4E69}"/>
                      </a:ext>
                    </a:extLst>
                  </p:cNvPr>
                  <p:cNvSpPr/>
                  <p:nvPr/>
                </p:nvSpPr>
                <p:spPr>
                  <a:xfrm>
                    <a:off x="5864412" y="3152586"/>
                    <a:ext cx="463177" cy="326948"/>
                  </a:xfrm>
                  <a:custGeom>
                    <a:avLst/>
                    <a:gdLst>
                      <a:gd name="connsiteX0" fmla="*/ 415497 w 463177"/>
                      <a:gd name="connsiteY0" fmla="*/ 0 h 326948"/>
                      <a:gd name="connsiteX1" fmla="*/ 47680 w 463177"/>
                      <a:gd name="connsiteY1" fmla="*/ 0 h 326948"/>
                      <a:gd name="connsiteX2" fmla="*/ 0 w 463177"/>
                      <a:gd name="connsiteY2" fmla="*/ 47680 h 326948"/>
                      <a:gd name="connsiteX3" fmla="*/ 47680 w 463177"/>
                      <a:gd name="connsiteY3" fmla="*/ 95360 h 326948"/>
                      <a:gd name="connsiteX4" fmla="*/ 163474 w 463177"/>
                      <a:gd name="connsiteY4" fmla="*/ 95360 h 326948"/>
                      <a:gd name="connsiteX5" fmla="*/ 163474 w 463177"/>
                      <a:gd name="connsiteY5" fmla="*/ 129417 h 326948"/>
                      <a:gd name="connsiteX6" fmla="*/ 165518 w 463177"/>
                      <a:gd name="connsiteY6" fmla="*/ 134185 h 326948"/>
                      <a:gd name="connsiteX7" fmla="*/ 206386 w 463177"/>
                      <a:gd name="connsiteY7" fmla="*/ 175054 h 326948"/>
                      <a:gd name="connsiteX8" fmla="*/ 211154 w 463177"/>
                      <a:gd name="connsiteY8" fmla="*/ 177097 h 326948"/>
                      <a:gd name="connsiteX9" fmla="*/ 224777 w 463177"/>
                      <a:gd name="connsiteY9" fmla="*/ 177097 h 326948"/>
                      <a:gd name="connsiteX10" fmla="*/ 224777 w 463177"/>
                      <a:gd name="connsiteY10" fmla="*/ 294117 h 326948"/>
                      <a:gd name="connsiteX11" fmla="*/ 212323 w 463177"/>
                      <a:gd name="connsiteY11" fmla="*/ 320194 h 326948"/>
                      <a:gd name="connsiteX12" fmla="*/ 238400 w 463177"/>
                      <a:gd name="connsiteY12" fmla="*/ 332648 h 326948"/>
                      <a:gd name="connsiteX13" fmla="*/ 250854 w 463177"/>
                      <a:gd name="connsiteY13" fmla="*/ 306571 h 326948"/>
                      <a:gd name="connsiteX14" fmla="*/ 238400 w 463177"/>
                      <a:gd name="connsiteY14" fmla="*/ 294117 h 326948"/>
                      <a:gd name="connsiteX15" fmla="*/ 238400 w 463177"/>
                      <a:gd name="connsiteY15" fmla="*/ 177097 h 326948"/>
                      <a:gd name="connsiteX16" fmla="*/ 252023 w 463177"/>
                      <a:gd name="connsiteY16" fmla="*/ 177097 h 326948"/>
                      <a:gd name="connsiteX17" fmla="*/ 256791 w 463177"/>
                      <a:gd name="connsiteY17" fmla="*/ 175054 h 326948"/>
                      <a:gd name="connsiteX18" fmla="*/ 297659 w 463177"/>
                      <a:gd name="connsiteY18" fmla="*/ 134185 h 326948"/>
                      <a:gd name="connsiteX19" fmla="*/ 299703 w 463177"/>
                      <a:gd name="connsiteY19" fmla="*/ 129417 h 326948"/>
                      <a:gd name="connsiteX20" fmla="*/ 299703 w 463177"/>
                      <a:gd name="connsiteY20" fmla="*/ 95360 h 326948"/>
                      <a:gd name="connsiteX21" fmla="*/ 415497 w 463177"/>
                      <a:gd name="connsiteY21" fmla="*/ 95360 h 326948"/>
                      <a:gd name="connsiteX22" fmla="*/ 463177 w 463177"/>
                      <a:gd name="connsiteY22" fmla="*/ 47680 h 326948"/>
                      <a:gd name="connsiteX23" fmla="*/ 415497 w 463177"/>
                      <a:gd name="connsiteY23" fmla="*/ 0 h 326948"/>
                      <a:gd name="connsiteX24" fmla="*/ 47680 w 463177"/>
                      <a:gd name="connsiteY24" fmla="*/ 81737 h 326948"/>
                      <a:gd name="connsiteX25" fmla="*/ 13623 w 463177"/>
                      <a:gd name="connsiteY25" fmla="*/ 47680 h 326948"/>
                      <a:gd name="connsiteX26" fmla="*/ 47680 w 463177"/>
                      <a:gd name="connsiteY26" fmla="*/ 13623 h 326948"/>
                      <a:gd name="connsiteX27" fmla="*/ 163474 w 463177"/>
                      <a:gd name="connsiteY27" fmla="*/ 13623 h 326948"/>
                      <a:gd name="connsiteX28" fmla="*/ 163474 w 463177"/>
                      <a:gd name="connsiteY28" fmla="*/ 81737 h 326948"/>
                      <a:gd name="connsiteX29" fmla="*/ 286080 w 463177"/>
                      <a:gd name="connsiteY29" fmla="*/ 126556 h 326948"/>
                      <a:gd name="connsiteX30" fmla="*/ 249162 w 463177"/>
                      <a:gd name="connsiteY30" fmla="*/ 163474 h 326948"/>
                      <a:gd name="connsiteX31" fmla="*/ 214015 w 463177"/>
                      <a:gd name="connsiteY31" fmla="*/ 163474 h 326948"/>
                      <a:gd name="connsiteX32" fmla="*/ 177097 w 463177"/>
                      <a:gd name="connsiteY32" fmla="*/ 126556 h 326948"/>
                      <a:gd name="connsiteX33" fmla="*/ 177097 w 463177"/>
                      <a:gd name="connsiteY33" fmla="*/ 13623 h 326948"/>
                      <a:gd name="connsiteX34" fmla="*/ 286080 w 463177"/>
                      <a:gd name="connsiteY34" fmla="*/ 13623 h 326948"/>
                      <a:gd name="connsiteX35" fmla="*/ 415497 w 463177"/>
                      <a:gd name="connsiteY35" fmla="*/ 81737 h 326948"/>
                      <a:gd name="connsiteX36" fmla="*/ 299703 w 463177"/>
                      <a:gd name="connsiteY36" fmla="*/ 81737 h 326948"/>
                      <a:gd name="connsiteX37" fmla="*/ 299703 w 463177"/>
                      <a:gd name="connsiteY37" fmla="*/ 13623 h 326948"/>
                      <a:gd name="connsiteX38" fmla="*/ 415497 w 463177"/>
                      <a:gd name="connsiteY38" fmla="*/ 13623 h 326948"/>
                      <a:gd name="connsiteX39" fmla="*/ 449554 w 463177"/>
                      <a:gd name="connsiteY39" fmla="*/ 47680 h 326948"/>
                      <a:gd name="connsiteX40" fmla="*/ 415497 w 463177"/>
                      <a:gd name="connsiteY40" fmla="*/ 81737 h 3269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463177" h="326948">
                        <a:moveTo>
                          <a:pt x="415497" y="0"/>
                        </a:moveTo>
                        <a:lnTo>
                          <a:pt x="47680" y="0"/>
                        </a:lnTo>
                        <a:cubicBezTo>
                          <a:pt x="21347" y="0"/>
                          <a:pt x="0" y="21347"/>
                          <a:pt x="0" y="47680"/>
                        </a:cubicBezTo>
                        <a:cubicBezTo>
                          <a:pt x="0" y="74013"/>
                          <a:pt x="21347" y="95360"/>
                          <a:pt x="47680" y="95360"/>
                        </a:cubicBezTo>
                        <a:lnTo>
                          <a:pt x="163474" y="95360"/>
                        </a:lnTo>
                        <a:lnTo>
                          <a:pt x="163474" y="129417"/>
                        </a:lnTo>
                        <a:cubicBezTo>
                          <a:pt x="163452" y="131223"/>
                          <a:pt x="164195" y="132955"/>
                          <a:pt x="165518" y="134185"/>
                        </a:cubicBezTo>
                        <a:lnTo>
                          <a:pt x="206386" y="175054"/>
                        </a:lnTo>
                        <a:cubicBezTo>
                          <a:pt x="207616" y="176376"/>
                          <a:pt x="209348" y="177119"/>
                          <a:pt x="211154" y="177097"/>
                        </a:cubicBezTo>
                        <a:lnTo>
                          <a:pt x="224777" y="177097"/>
                        </a:lnTo>
                        <a:lnTo>
                          <a:pt x="224777" y="294117"/>
                        </a:lnTo>
                        <a:cubicBezTo>
                          <a:pt x="214138" y="297879"/>
                          <a:pt x="208560" y="309555"/>
                          <a:pt x="212323" y="320194"/>
                        </a:cubicBezTo>
                        <a:cubicBezTo>
                          <a:pt x="216084" y="330835"/>
                          <a:pt x="227760" y="336411"/>
                          <a:pt x="238400" y="332648"/>
                        </a:cubicBezTo>
                        <a:cubicBezTo>
                          <a:pt x="249039" y="328887"/>
                          <a:pt x="254617" y="317212"/>
                          <a:pt x="250854" y="306571"/>
                        </a:cubicBezTo>
                        <a:cubicBezTo>
                          <a:pt x="248797" y="300752"/>
                          <a:pt x="244220" y="296174"/>
                          <a:pt x="238400" y="294117"/>
                        </a:cubicBezTo>
                        <a:lnTo>
                          <a:pt x="238400" y="177097"/>
                        </a:lnTo>
                        <a:lnTo>
                          <a:pt x="252023" y="177097"/>
                        </a:lnTo>
                        <a:cubicBezTo>
                          <a:pt x="253829" y="177119"/>
                          <a:pt x="255561" y="176376"/>
                          <a:pt x="256791" y="175054"/>
                        </a:cubicBezTo>
                        <a:lnTo>
                          <a:pt x="297659" y="134185"/>
                        </a:lnTo>
                        <a:cubicBezTo>
                          <a:pt x="298982" y="132955"/>
                          <a:pt x="299725" y="131223"/>
                          <a:pt x="299703" y="129417"/>
                        </a:cubicBezTo>
                        <a:lnTo>
                          <a:pt x="299703" y="95360"/>
                        </a:lnTo>
                        <a:lnTo>
                          <a:pt x="415497" y="95360"/>
                        </a:lnTo>
                        <a:cubicBezTo>
                          <a:pt x="441830" y="95360"/>
                          <a:pt x="463177" y="74013"/>
                          <a:pt x="463177" y="47680"/>
                        </a:cubicBezTo>
                        <a:cubicBezTo>
                          <a:pt x="463177" y="21347"/>
                          <a:pt x="441830" y="0"/>
                          <a:pt x="415497" y="0"/>
                        </a:cubicBezTo>
                        <a:close/>
                        <a:moveTo>
                          <a:pt x="47680" y="81737"/>
                        </a:moveTo>
                        <a:cubicBezTo>
                          <a:pt x="28871" y="81737"/>
                          <a:pt x="13623" y="66489"/>
                          <a:pt x="13623" y="47680"/>
                        </a:cubicBezTo>
                        <a:cubicBezTo>
                          <a:pt x="13623" y="28871"/>
                          <a:pt x="28871" y="13623"/>
                          <a:pt x="47680" y="13623"/>
                        </a:cubicBezTo>
                        <a:lnTo>
                          <a:pt x="163474" y="13623"/>
                        </a:lnTo>
                        <a:lnTo>
                          <a:pt x="163474" y="81737"/>
                        </a:lnTo>
                        <a:close/>
                        <a:moveTo>
                          <a:pt x="286080" y="126556"/>
                        </a:moveTo>
                        <a:lnTo>
                          <a:pt x="249162" y="163474"/>
                        </a:lnTo>
                        <a:lnTo>
                          <a:pt x="214015" y="163474"/>
                        </a:lnTo>
                        <a:lnTo>
                          <a:pt x="177097" y="126556"/>
                        </a:lnTo>
                        <a:lnTo>
                          <a:pt x="177097" y="13623"/>
                        </a:lnTo>
                        <a:lnTo>
                          <a:pt x="286080" y="13623"/>
                        </a:lnTo>
                        <a:close/>
                        <a:moveTo>
                          <a:pt x="415497" y="81737"/>
                        </a:moveTo>
                        <a:lnTo>
                          <a:pt x="299703" y="81737"/>
                        </a:lnTo>
                        <a:lnTo>
                          <a:pt x="299703" y="13623"/>
                        </a:lnTo>
                        <a:lnTo>
                          <a:pt x="415497" y="13623"/>
                        </a:lnTo>
                        <a:cubicBezTo>
                          <a:pt x="434306" y="13623"/>
                          <a:pt x="449554" y="28871"/>
                          <a:pt x="449554" y="47680"/>
                        </a:cubicBezTo>
                        <a:cubicBezTo>
                          <a:pt x="449554" y="66489"/>
                          <a:pt x="434306" y="81737"/>
                          <a:pt x="415497" y="8173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0" name="Freeform: Shape 251">
                    <a:extLst>
                      <a:ext uri="{FF2B5EF4-FFF2-40B4-BE49-F238E27FC236}">
                        <a16:creationId xmlns:a16="http://schemas.microsoft.com/office/drawing/2014/main" id="{98E2CB05-4B2D-6597-683E-3CB10ED64B5D}"/>
                      </a:ext>
                    </a:extLst>
                  </p:cNvPr>
                  <p:cNvSpPr/>
                  <p:nvPr/>
                </p:nvSpPr>
                <p:spPr>
                  <a:xfrm>
                    <a:off x="5864118" y="3356913"/>
                    <a:ext cx="463177" cy="258834"/>
                  </a:xfrm>
                  <a:custGeom>
                    <a:avLst/>
                    <a:gdLst>
                      <a:gd name="connsiteX0" fmla="*/ 456660 w 463177"/>
                      <a:gd name="connsiteY0" fmla="*/ 258850 h 258834"/>
                      <a:gd name="connsiteX1" fmla="*/ 7106 w 463177"/>
                      <a:gd name="connsiteY1" fmla="*/ 258850 h 258834"/>
                      <a:gd name="connsiteX2" fmla="*/ 1520 w 463177"/>
                      <a:gd name="connsiteY2" fmla="*/ 255989 h 258834"/>
                      <a:gd name="connsiteX3" fmla="*/ 294 w 463177"/>
                      <a:gd name="connsiteY3" fmla="*/ 249859 h 258834"/>
                      <a:gd name="connsiteX4" fmla="*/ 82031 w 463177"/>
                      <a:gd name="connsiteY4" fmla="*/ 4647 h 258834"/>
                      <a:gd name="connsiteX5" fmla="*/ 88843 w 463177"/>
                      <a:gd name="connsiteY5" fmla="*/ 15 h 258834"/>
                      <a:gd name="connsiteX6" fmla="*/ 191014 w 463177"/>
                      <a:gd name="connsiteY6" fmla="*/ 15 h 258834"/>
                      <a:gd name="connsiteX7" fmla="*/ 197825 w 463177"/>
                      <a:gd name="connsiteY7" fmla="*/ 6827 h 258834"/>
                      <a:gd name="connsiteX8" fmla="*/ 191014 w 463177"/>
                      <a:gd name="connsiteY8" fmla="*/ 13638 h 258834"/>
                      <a:gd name="connsiteX9" fmla="*/ 93747 w 463177"/>
                      <a:gd name="connsiteY9" fmla="*/ 13638 h 258834"/>
                      <a:gd name="connsiteX10" fmla="*/ 16505 w 463177"/>
                      <a:gd name="connsiteY10" fmla="*/ 245227 h 258834"/>
                      <a:gd name="connsiteX11" fmla="*/ 447260 w 463177"/>
                      <a:gd name="connsiteY11" fmla="*/ 245227 h 258834"/>
                      <a:gd name="connsiteX12" fmla="*/ 370018 w 463177"/>
                      <a:gd name="connsiteY12" fmla="*/ 13638 h 258834"/>
                      <a:gd name="connsiteX13" fmla="*/ 272751 w 463177"/>
                      <a:gd name="connsiteY13" fmla="*/ 13638 h 258834"/>
                      <a:gd name="connsiteX14" fmla="*/ 265940 w 463177"/>
                      <a:gd name="connsiteY14" fmla="*/ 6827 h 258834"/>
                      <a:gd name="connsiteX15" fmla="*/ 272751 w 463177"/>
                      <a:gd name="connsiteY15" fmla="*/ 15 h 258834"/>
                      <a:gd name="connsiteX16" fmla="*/ 374923 w 463177"/>
                      <a:gd name="connsiteY16" fmla="*/ 15 h 258834"/>
                      <a:gd name="connsiteX17" fmla="*/ 381325 w 463177"/>
                      <a:gd name="connsiteY17" fmla="*/ 4647 h 258834"/>
                      <a:gd name="connsiteX18" fmla="*/ 463062 w 463177"/>
                      <a:gd name="connsiteY18" fmla="*/ 249859 h 258834"/>
                      <a:gd name="connsiteX19" fmla="*/ 462245 w 463177"/>
                      <a:gd name="connsiteY19" fmla="*/ 255989 h 258834"/>
                      <a:gd name="connsiteX20" fmla="*/ 456660 w 463177"/>
                      <a:gd name="connsiteY20" fmla="*/ 258850 h 258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63177" h="258834">
                        <a:moveTo>
                          <a:pt x="456660" y="258850"/>
                        </a:moveTo>
                        <a:lnTo>
                          <a:pt x="7106" y="258850"/>
                        </a:lnTo>
                        <a:cubicBezTo>
                          <a:pt x="4900" y="258818"/>
                          <a:pt x="2835" y="257760"/>
                          <a:pt x="1520" y="255989"/>
                        </a:cubicBezTo>
                        <a:cubicBezTo>
                          <a:pt x="98" y="254286"/>
                          <a:pt x="-364" y="251978"/>
                          <a:pt x="294" y="249859"/>
                        </a:cubicBezTo>
                        <a:lnTo>
                          <a:pt x="82031" y="4647"/>
                        </a:lnTo>
                        <a:cubicBezTo>
                          <a:pt x="82965" y="1720"/>
                          <a:pt x="85777" y="-193"/>
                          <a:pt x="88843" y="15"/>
                        </a:cubicBezTo>
                        <a:lnTo>
                          <a:pt x="191014" y="15"/>
                        </a:lnTo>
                        <a:cubicBezTo>
                          <a:pt x="194775" y="15"/>
                          <a:pt x="197825" y="3066"/>
                          <a:pt x="197825" y="6827"/>
                        </a:cubicBezTo>
                        <a:cubicBezTo>
                          <a:pt x="197825" y="10588"/>
                          <a:pt x="194775" y="13638"/>
                          <a:pt x="191014" y="13638"/>
                        </a:cubicBezTo>
                        <a:lnTo>
                          <a:pt x="93747" y="13638"/>
                        </a:lnTo>
                        <a:lnTo>
                          <a:pt x="16505" y="245227"/>
                        </a:lnTo>
                        <a:lnTo>
                          <a:pt x="447260" y="245227"/>
                        </a:lnTo>
                        <a:lnTo>
                          <a:pt x="370018" y="13638"/>
                        </a:lnTo>
                        <a:lnTo>
                          <a:pt x="272751" y="13638"/>
                        </a:lnTo>
                        <a:cubicBezTo>
                          <a:pt x="268990" y="13638"/>
                          <a:pt x="265940" y="10588"/>
                          <a:pt x="265940" y="6827"/>
                        </a:cubicBezTo>
                        <a:cubicBezTo>
                          <a:pt x="265940" y="3066"/>
                          <a:pt x="268990" y="15"/>
                          <a:pt x="272751" y="15"/>
                        </a:cubicBezTo>
                        <a:lnTo>
                          <a:pt x="374923" y="15"/>
                        </a:lnTo>
                        <a:cubicBezTo>
                          <a:pt x="377839" y="-5"/>
                          <a:pt x="380433" y="1870"/>
                          <a:pt x="381325" y="4647"/>
                        </a:cubicBezTo>
                        <a:lnTo>
                          <a:pt x="463062" y="249859"/>
                        </a:lnTo>
                        <a:cubicBezTo>
                          <a:pt x="463835" y="251910"/>
                          <a:pt x="463528" y="254211"/>
                          <a:pt x="462245" y="255989"/>
                        </a:cubicBezTo>
                        <a:cubicBezTo>
                          <a:pt x="460930" y="257760"/>
                          <a:pt x="458865" y="258818"/>
                          <a:pt x="456660" y="25885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1" name="Freeform: Shape 252">
                    <a:extLst>
                      <a:ext uri="{FF2B5EF4-FFF2-40B4-BE49-F238E27FC236}">
                        <a16:creationId xmlns:a16="http://schemas.microsoft.com/office/drawing/2014/main" id="{E205F081-66A3-FA1E-57A0-4657C730769D}"/>
                      </a:ext>
                    </a:extLst>
                  </p:cNvPr>
                  <p:cNvSpPr/>
                  <p:nvPr/>
                </p:nvSpPr>
                <p:spPr>
                  <a:xfrm>
                    <a:off x="5946149" y="3438666"/>
                    <a:ext cx="299703" cy="136229"/>
                  </a:xfrm>
                  <a:custGeom>
                    <a:avLst/>
                    <a:gdLst>
                      <a:gd name="connsiteX0" fmla="*/ 292891 w 299702"/>
                      <a:gd name="connsiteY0" fmla="*/ 136229 h 136228"/>
                      <a:gd name="connsiteX1" fmla="*/ 129417 w 299702"/>
                      <a:gd name="connsiteY1" fmla="*/ 136229 h 136228"/>
                      <a:gd name="connsiteX2" fmla="*/ 124649 w 299702"/>
                      <a:gd name="connsiteY2" fmla="*/ 134185 h 136228"/>
                      <a:gd name="connsiteX3" fmla="*/ 85688 w 299702"/>
                      <a:gd name="connsiteY3" fmla="*/ 95360 h 136228"/>
                      <a:gd name="connsiteX4" fmla="*/ 6811 w 299702"/>
                      <a:gd name="connsiteY4" fmla="*/ 95360 h 136228"/>
                      <a:gd name="connsiteX5" fmla="*/ 0 w 299702"/>
                      <a:gd name="connsiteY5" fmla="*/ 88549 h 136228"/>
                      <a:gd name="connsiteX6" fmla="*/ 6811 w 299702"/>
                      <a:gd name="connsiteY6" fmla="*/ 81737 h 136228"/>
                      <a:gd name="connsiteX7" fmla="*/ 88549 w 299702"/>
                      <a:gd name="connsiteY7" fmla="*/ 81737 h 136228"/>
                      <a:gd name="connsiteX8" fmla="*/ 93317 w 299702"/>
                      <a:gd name="connsiteY8" fmla="*/ 83781 h 136228"/>
                      <a:gd name="connsiteX9" fmla="*/ 132278 w 299702"/>
                      <a:gd name="connsiteY9" fmla="*/ 122606 h 136228"/>
                      <a:gd name="connsiteX10" fmla="*/ 283492 w 299702"/>
                      <a:gd name="connsiteY10" fmla="*/ 122606 h 136228"/>
                      <a:gd name="connsiteX11" fmla="*/ 247119 w 299702"/>
                      <a:gd name="connsiteY11" fmla="*/ 13623 h 136228"/>
                      <a:gd name="connsiteX12" fmla="*/ 211154 w 299702"/>
                      <a:gd name="connsiteY12" fmla="*/ 13623 h 136228"/>
                      <a:gd name="connsiteX13" fmla="*/ 204343 w 299702"/>
                      <a:gd name="connsiteY13" fmla="*/ 6812 h 136228"/>
                      <a:gd name="connsiteX14" fmla="*/ 211154 w 299702"/>
                      <a:gd name="connsiteY14" fmla="*/ 0 h 136228"/>
                      <a:gd name="connsiteX15" fmla="*/ 252023 w 299702"/>
                      <a:gd name="connsiteY15" fmla="*/ 0 h 136228"/>
                      <a:gd name="connsiteX16" fmla="*/ 258426 w 299702"/>
                      <a:gd name="connsiteY16" fmla="*/ 4632 h 136228"/>
                      <a:gd name="connsiteX17" fmla="*/ 299294 w 299702"/>
                      <a:gd name="connsiteY17" fmla="*/ 127238 h 136228"/>
                      <a:gd name="connsiteX18" fmla="*/ 298477 w 299702"/>
                      <a:gd name="connsiteY18" fmla="*/ 133368 h 136228"/>
                      <a:gd name="connsiteX19" fmla="*/ 292891 w 299702"/>
                      <a:gd name="connsiteY19" fmla="*/ 136229 h 136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9702" h="136228">
                        <a:moveTo>
                          <a:pt x="292891" y="136229"/>
                        </a:moveTo>
                        <a:lnTo>
                          <a:pt x="129417" y="136229"/>
                        </a:lnTo>
                        <a:cubicBezTo>
                          <a:pt x="127611" y="136251"/>
                          <a:pt x="125879" y="135508"/>
                          <a:pt x="124649" y="134185"/>
                        </a:cubicBezTo>
                        <a:lnTo>
                          <a:pt x="85688" y="95360"/>
                        </a:ln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cubicBezTo>
                          <a:pt x="0" y="84787"/>
                          <a:pt x="3050" y="81737"/>
                          <a:pt x="6811" y="81737"/>
                        </a:cubicBezTo>
                        <a:lnTo>
                          <a:pt x="88549" y="81737"/>
                        </a:lnTo>
                        <a:cubicBezTo>
                          <a:pt x="90355" y="81715"/>
                          <a:pt x="92086" y="82458"/>
                          <a:pt x="93317" y="83781"/>
                        </a:cubicBezTo>
                        <a:lnTo>
                          <a:pt x="132278" y="122606"/>
                        </a:lnTo>
                        <a:lnTo>
                          <a:pt x="283492" y="122606"/>
                        </a:lnTo>
                        <a:lnTo>
                          <a:pt x="247119" y="13623"/>
                        </a:lnTo>
                        <a:lnTo>
                          <a:pt x="211154" y="13623"/>
                        </a:lnTo>
                        <a:cubicBezTo>
                          <a:pt x="207393" y="13623"/>
                          <a:pt x="204343" y="10573"/>
                          <a:pt x="204343" y="6812"/>
                        </a:cubicBezTo>
                        <a:cubicBezTo>
                          <a:pt x="204343" y="3050"/>
                          <a:pt x="207393" y="0"/>
                          <a:pt x="211154" y="0"/>
                        </a:cubicBezTo>
                        <a:lnTo>
                          <a:pt x="252023" y="0"/>
                        </a:lnTo>
                        <a:cubicBezTo>
                          <a:pt x="254939" y="-20"/>
                          <a:pt x="257533" y="1854"/>
                          <a:pt x="258426" y="4632"/>
                        </a:cubicBezTo>
                        <a:lnTo>
                          <a:pt x="299294" y="127238"/>
                        </a:lnTo>
                        <a:cubicBezTo>
                          <a:pt x="300066" y="129289"/>
                          <a:pt x="299760" y="131590"/>
                          <a:pt x="298477" y="133368"/>
                        </a:cubicBezTo>
                        <a:cubicBezTo>
                          <a:pt x="297162" y="135139"/>
                          <a:pt x="295097" y="136197"/>
                          <a:pt x="292891" y="136229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11130583-1E65-4432-BCA0-D9F0EA437A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91746" y="3866248"/>
                <a:ext cx="743042" cy="743042"/>
                <a:chOff x="3908026" y="2105234"/>
                <a:chExt cx="792088" cy="792088"/>
              </a:xfrm>
            </p:grpSpPr>
            <p:sp>
              <p:nvSpPr>
                <p:cNvPr id="281" name="Oval 280">
                  <a:extLst>
                    <a:ext uri="{FF2B5EF4-FFF2-40B4-BE49-F238E27FC236}">
                      <a16:creationId xmlns:a16="http://schemas.microsoft.com/office/drawing/2014/main" id="{C8C0441E-A5B2-DCC9-2488-3CE9ADDC0DB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08026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2" name="Graphic 5">
                  <a:extLst>
                    <a:ext uri="{FF2B5EF4-FFF2-40B4-BE49-F238E27FC236}">
                      <a16:creationId xmlns:a16="http://schemas.microsoft.com/office/drawing/2014/main" id="{54BCF006-875A-F333-B4D5-6A1DA34D4DE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059986" y="2257187"/>
                  <a:ext cx="478395" cy="488156"/>
                  <a:chOff x="5864412" y="3152586"/>
                  <a:chExt cx="453914" cy="463177"/>
                </a:xfrm>
                <a:solidFill>
                  <a:schemeClr val="bg1"/>
                </a:solidFill>
              </p:grpSpPr>
              <p:sp>
                <p:nvSpPr>
                  <p:cNvPr id="283" name="Freeform: Shape 244">
                    <a:extLst>
                      <a:ext uri="{FF2B5EF4-FFF2-40B4-BE49-F238E27FC236}">
                        <a16:creationId xmlns:a16="http://schemas.microsoft.com/office/drawing/2014/main" id="{DAEBB166-D85E-AEC2-A20E-C05A6598E35C}"/>
                      </a:ext>
                    </a:extLst>
                  </p:cNvPr>
                  <p:cNvSpPr/>
                  <p:nvPr/>
                </p:nvSpPr>
                <p:spPr>
                  <a:xfrm>
                    <a:off x="5864412" y="3430492"/>
                    <a:ext cx="185271" cy="185271"/>
                  </a:xfrm>
                  <a:custGeom>
                    <a:avLst/>
                    <a:gdLst>
                      <a:gd name="connsiteX0" fmla="*/ 92635 w 185270"/>
                      <a:gd name="connsiteY0" fmla="*/ 185271 h 185270"/>
                      <a:gd name="connsiteX1" fmla="*/ 0 w 185270"/>
                      <a:gd name="connsiteY1" fmla="*/ 92635 h 185270"/>
                      <a:gd name="connsiteX2" fmla="*/ 92635 w 185270"/>
                      <a:gd name="connsiteY2" fmla="*/ 0 h 185270"/>
                      <a:gd name="connsiteX3" fmla="*/ 185271 w 185270"/>
                      <a:gd name="connsiteY3" fmla="*/ 92635 h 185270"/>
                      <a:gd name="connsiteX4" fmla="*/ 92635 w 185270"/>
                      <a:gd name="connsiteY4" fmla="*/ 185271 h 185270"/>
                      <a:gd name="connsiteX5" fmla="*/ 92635 w 185270"/>
                      <a:gd name="connsiteY5" fmla="*/ 18527 h 185270"/>
                      <a:gd name="connsiteX6" fmla="*/ 18527 w 185270"/>
                      <a:gd name="connsiteY6" fmla="*/ 92635 h 185270"/>
                      <a:gd name="connsiteX7" fmla="*/ 92635 w 185270"/>
                      <a:gd name="connsiteY7" fmla="*/ 166744 h 185270"/>
                      <a:gd name="connsiteX8" fmla="*/ 166744 w 185270"/>
                      <a:gd name="connsiteY8" fmla="*/ 92635 h 185270"/>
                      <a:gd name="connsiteX9" fmla="*/ 92635 w 185270"/>
                      <a:gd name="connsiteY9" fmla="*/ 18527 h 18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5270" h="185270">
                        <a:moveTo>
                          <a:pt x="92635" y="185271"/>
                        </a:moveTo>
                        <a:cubicBezTo>
                          <a:pt x="41474" y="185271"/>
                          <a:pt x="0" y="143796"/>
                          <a:pt x="0" y="92635"/>
                        </a:cubicBezTo>
                        <a:cubicBezTo>
                          <a:pt x="0" y="41475"/>
                          <a:pt x="41474" y="0"/>
                          <a:pt x="92635" y="0"/>
                        </a:cubicBezTo>
                        <a:cubicBezTo>
                          <a:pt x="143796" y="0"/>
                          <a:pt x="185271" y="41475"/>
                          <a:pt x="185271" y="92635"/>
                        </a:cubicBezTo>
                        <a:cubicBezTo>
                          <a:pt x="185271" y="143796"/>
                          <a:pt x="143796" y="185271"/>
                          <a:pt x="92635" y="185271"/>
                        </a:cubicBezTo>
                        <a:close/>
                        <a:moveTo>
                          <a:pt x="92635" y="18527"/>
                        </a:moveTo>
                        <a:cubicBezTo>
                          <a:pt x="51706" y="18527"/>
                          <a:pt x="18527" y="51707"/>
                          <a:pt x="18527" y="92635"/>
                        </a:cubicBezTo>
                        <a:cubicBezTo>
                          <a:pt x="18527" y="133564"/>
                          <a:pt x="51706" y="166744"/>
                          <a:pt x="92635" y="166744"/>
                        </a:cubicBezTo>
                        <a:cubicBezTo>
                          <a:pt x="133564" y="166744"/>
                          <a:pt x="166744" y="133564"/>
                          <a:pt x="166744" y="92635"/>
                        </a:cubicBezTo>
                        <a:cubicBezTo>
                          <a:pt x="166744" y="51707"/>
                          <a:pt x="133564" y="18527"/>
                          <a:pt x="92635" y="18527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Freeform: Shape 245">
                    <a:extLst>
                      <a:ext uri="{FF2B5EF4-FFF2-40B4-BE49-F238E27FC236}">
                        <a16:creationId xmlns:a16="http://schemas.microsoft.com/office/drawing/2014/main" id="{E9C8822A-E69E-6CA4-246C-4A950B30258A}"/>
                      </a:ext>
                    </a:extLst>
                  </p:cNvPr>
                  <p:cNvSpPr/>
                  <p:nvPr/>
                </p:nvSpPr>
                <p:spPr>
                  <a:xfrm>
                    <a:off x="5947784" y="3303026"/>
                    <a:ext cx="222325" cy="222325"/>
                  </a:xfrm>
                  <a:custGeom>
                    <a:avLst/>
                    <a:gdLst>
                      <a:gd name="connsiteX0" fmla="*/ 220102 w 222324"/>
                      <a:gd name="connsiteY0" fmla="*/ 229365 h 222324"/>
                      <a:gd name="connsiteX1" fmla="*/ 210838 w 222324"/>
                      <a:gd name="connsiteY1" fmla="*/ 220102 h 222324"/>
                      <a:gd name="connsiteX2" fmla="*/ 9264 w 222324"/>
                      <a:gd name="connsiteY2" fmla="*/ 18527 h 222324"/>
                      <a:gd name="connsiteX3" fmla="*/ 0 w 222324"/>
                      <a:gd name="connsiteY3" fmla="*/ 9264 h 222324"/>
                      <a:gd name="connsiteX4" fmla="*/ 9264 w 222324"/>
                      <a:gd name="connsiteY4" fmla="*/ 0 h 222324"/>
                      <a:gd name="connsiteX5" fmla="*/ 229365 w 222324"/>
                      <a:gd name="connsiteY5" fmla="*/ 220102 h 222324"/>
                      <a:gd name="connsiteX6" fmla="*/ 220102 w 222324"/>
                      <a:gd name="connsiteY6" fmla="*/ 229365 h 222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22324" h="222324">
                        <a:moveTo>
                          <a:pt x="220102" y="229365"/>
                        </a:moveTo>
                        <a:cubicBezTo>
                          <a:pt x="214986" y="229365"/>
                          <a:pt x="210838" y="225217"/>
                          <a:pt x="210838" y="220102"/>
                        </a:cubicBezTo>
                        <a:cubicBezTo>
                          <a:pt x="210736" y="108817"/>
                          <a:pt x="120548" y="18629"/>
                          <a:pt x="9264" y="18527"/>
                        </a:cubicBezTo>
                        <a:cubicBezTo>
                          <a:pt x="4147" y="18527"/>
                          <a:pt x="0" y="14380"/>
                          <a:pt x="0" y="9264"/>
                        </a:cubicBezTo>
                        <a:cubicBezTo>
                          <a:pt x="0" y="4147"/>
                          <a:pt x="4147" y="0"/>
                          <a:pt x="9264" y="0"/>
                        </a:cubicBezTo>
                        <a:cubicBezTo>
                          <a:pt x="130781" y="102"/>
                          <a:pt x="229263" y="98584"/>
                          <a:pt x="229365" y="220102"/>
                        </a:cubicBezTo>
                        <a:cubicBezTo>
                          <a:pt x="229365" y="225217"/>
                          <a:pt x="225217" y="229365"/>
                          <a:pt x="220102" y="229365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5" name="Freeform: Shape 246">
                    <a:extLst>
                      <a:ext uri="{FF2B5EF4-FFF2-40B4-BE49-F238E27FC236}">
                        <a16:creationId xmlns:a16="http://schemas.microsoft.com/office/drawing/2014/main" id="{AD1CB07F-E7FF-06E5-75D8-1B0EBB52E606}"/>
                      </a:ext>
                    </a:extLst>
                  </p:cNvPr>
                  <p:cNvSpPr/>
                  <p:nvPr/>
                </p:nvSpPr>
                <p:spPr>
                  <a:xfrm>
                    <a:off x="5947784" y="3152586"/>
                    <a:ext cx="370542" cy="370542"/>
                  </a:xfrm>
                  <a:custGeom>
                    <a:avLst/>
                    <a:gdLst>
                      <a:gd name="connsiteX0" fmla="*/ 370542 w 370541"/>
                      <a:gd name="connsiteY0" fmla="*/ 379805 h 370541"/>
                      <a:gd name="connsiteX1" fmla="*/ 361278 w 370541"/>
                      <a:gd name="connsiteY1" fmla="*/ 370542 h 370541"/>
                      <a:gd name="connsiteX2" fmla="*/ 9264 w 370541"/>
                      <a:gd name="connsiteY2" fmla="*/ 18527 h 370541"/>
                      <a:gd name="connsiteX3" fmla="*/ 0 w 370541"/>
                      <a:gd name="connsiteY3" fmla="*/ 9264 h 370541"/>
                      <a:gd name="connsiteX4" fmla="*/ 9264 w 370541"/>
                      <a:gd name="connsiteY4" fmla="*/ 0 h 370541"/>
                      <a:gd name="connsiteX5" fmla="*/ 379805 w 370541"/>
                      <a:gd name="connsiteY5" fmla="*/ 370542 h 370541"/>
                      <a:gd name="connsiteX6" fmla="*/ 370542 w 370541"/>
                      <a:gd name="connsiteY6" fmla="*/ 379805 h 3705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70541" h="370541">
                        <a:moveTo>
                          <a:pt x="370542" y="379805"/>
                        </a:moveTo>
                        <a:cubicBezTo>
                          <a:pt x="365426" y="379805"/>
                          <a:pt x="361278" y="375657"/>
                          <a:pt x="361278" y="370542"/>
                        </a:cubicBezTo>
                        <a:cubicBezTo>
                          <a:pt x="361278" y="176129"/>
                          <a:pt x="203676" y="18527"/>
                          <a:pt x="9264" y="18527"/>
                        </a:cubicBezTo>
                        <a:cubicBezTo>
                          <a:pt x="4147" y="18527"/>
                          <a:pt x="0" y="14380"/>
                          <a:pt x="0" y="9264"/>
                        </a:cubicBezTo>
                        <a:cubicBezTo>
                          <a:pt x="0" y="4147"/>
                          <a:pt x="4147" y="0"/>
                          <a:pt x="9264" y="0"/>
                        </a:cubicBezTo>
                        <a:cubicBezTo>
                          <a:pt x="213908" y="0"/>
                          <a:pt x="379805" y="165897"/>
                          <a:pt x="379805" y="370542"/>
                        </a:cubicBezTo>
                        <a:cubicBezTo>
                          <a:pt x="379805" y="375657"/>
                          <a:pt x="375657" y="379805"/>
                          <a:pt x="370542" y="379805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064BDBE0-F6E4-815C-EFFB-33F54033D30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997141" y="4261217"/>
                <a:ext cx="990148" cy="990148"/>
                <a:chOff x="6639602" y="2105234"/>
                <a:chExt cx="792088" cy="792088"/>
              </a:xfrm>
            </p:grpSpPr>
            <p:sp>
              <p:nvSpPr>
                <p:cNvPr id="279" name="Oval 278">
                  <a:extLst>
                    <a:ext uri="{FF2B5EF4-FFF2-40B4-BE49-F238E27FC236}">
                      <a16:creationId xmlns:a16="http://schemas.microsoft.com/office/drawing/2014/main" id="{12F26D4D-8A78-FB57-2A6C-BD051D460DB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639602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Graphic 1">
                  <a:extLst>
                    <a:ext uri="{FF2B5EF4-FFF2-40B4-BE49-F238E27FC236}">
                      <a16:creationId xmlns:a16="http://schemas.microsoft.com/office/drawing/2014/main" id="{D6B585AA-2FF2-0F79-D182-BEBDE63F51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806360" y="2257199"/>
                  <a:ext cx="458572" cy="488157"/>
                </a:xfrm>
                <a:custGeom>
                  <a:avLst/>
                  <a:gdLst>
                    <a:gd name="connsiteX0" fmla="*/ 414052 w 435105"/>
                    <a:gd name="connsiteY0" fmla="*/ 391594 h 463176"/>
                    <a:gd name="connsiteX1" fmla="*/ 294749 w 435105"/>
                    <a:gd name="connsiteY1" fmla="*/ 391594 h 463176"/>
                    <a:gd name="connsiteX2" fmla="*/ 232992 w 435105"/>
                    <a:gd name="connsiteY2" fmla="*/ 329837 h 463176"/>
                    <a:gd name="connsiteX3" fmla="*/ 232992 w 435105"/>
                    <a:gd name="connsiteY3" fmla="*/ 300363 h 463176"/>
                    <a:gd name="connsiteX4" fmla="*/ 322820 w 435105"/>
                    <a:gd name="connsiteY4" fmla="*/ 300363 h 463176"/>
                    <a:gd name="connsiteX5" fmla="*/ 435105 w 435105"/>
                    <a:gd name="connsiteY5" fmla="*/ 188078 h 463176"/>
                    <a:gd name="connsiteX6" fmla="*/ 322820 w 435105"/>
                    <a:gd name="connsiteY6" fmla="*/ 75792 h 463176"/>
                    <a:gd name="connsiteX7" fmla="*/ 297556 w 435105"/>
                    <a:gd name="connsiteY7" fmla="*/ 78600 h 463176"/>
                    <a:gd name="connsiteX8" fmla="*/ 175446 w 435105"/>
                    <a:gd name="connsiteY8" fmla="*/ 0 h 463176"/>
                    <a:gd name="connsiteX9" fmla="*/ 42107 w 435105"/>
                    <a:gd name="connsiteY9" fmla="*/ 131935 h 463176"/>
                    <a:gd name="connsiteX10" fmla="*/ 0 w 435105"/>
                    <a:gd name="connsiteY10" fmla="*/ 209131 h 463176"/>
                    <a:gd name="connsiteX11" fmla="*/ 91232 w 435105"/>
                    <a:gd name="connsiteY11" fmla="*/ 300363 h 463176"/>
                    <a:gd name="connsiteX12" fmla="*/ 217553 w 435105"/>
                    <a:gd name="connsiteY12" fmla="*/ 300363 h 463176"/>
                    <a:gd name="connsiteX13" fmla="*/ 217553 w 435105"/>
                    <a:gd name="connsiteY13" fmla="*/ 329837 h 463176"/>
                    <a:gd name="connsiteX14" fmla="*/ 155796 w 435105"/>
                    <a:gd name="connsiteY14" fmla="*/ 391594 h 463176"/>
                    <a:gd name="connsiteX15" fmla="*/ 35089 w 435105"/>
                    <a:gd name="connsiteY15" fmla="*/ 391594 h 463176"/>
                    <a:gd name="connsiteX16" fmla="*/ 28071 w 435105"/>
                    <a:gd name="connsiteY16" fmla="*/ 398612 h 463176"/>
                    <a:gd name="connsiteX17" fmla="*/ 35089 w 435105"/>
                    <a:gd name="connsiteY17" fmla="*/ 405630 h 463176"/>
                    <a:gd name="connsiteX18" fmla="*/ 155796 w 435105"/>
                    <a:gd name="connsiteY18" fmla="*/ 405630 h 463176"/>
                    <a:gd name="connsiteX19" fmla="*/ 224570 w 435105"/>
                    <a:gd name="connsiteY19" fmla="*/ 468790 h 463176"/>
                    <a:gd name="connsiteX20" fmla="*/ 293345 w 435105"/>
                    <a:gd name="connsiteY20" fmla="*/ 405630 h 463176"/>
                    <a:gd name="connsiteX21" fmla="*/ 414052 w 435105"/>
                    <a:gd name="connsiteY21" fmla="*/ 405630 h 463176"/>
                    <a:gd name="connsiteX22" fmla="*/ 421069 w 435105"/>
                    <a:gd name="connsiteY22" fmla="*/ 398612 h 463176"/>
                    <a:gd name="connsiteX23" fmla="*/ 414052 w 435105"/>
                    <a:gd name="connsiteY23" fmla="*/ 391594 h 463176"/>
                    <a:gd name="connsiteX24" fmla="*/ 14036 w 435105"/>
                    <a:gd name="connsiteY24" fmla="*/ 209131 h 463176"/>
                    <a:gd name="connsiteX25" fmla="*/ 53335 w 435105"/>
                    <a:gd name="connsiteY25" fmla="*/ 141760 h 463176"/>
                    <a:gd name="connsiteX26" fmla="*/ 56143 w 435105"/>
                    <a:gd name="connsiteY26" fmla="*/ 136146 h 463176"/>
                    <a:gd name="connsiteX27" fmla="*/ 56143 w 435105"/>
                    <a:gd name="connsiteY27" fmla="*/ 133339 h 463176"/>
                    <a:gd name="connsiteX28" fmla="*/ 175446 w 435105"/>
                    <a:gd name="connsiteY28" fmla="*/ 14036 h 463176"/>
                    <a:gd name="connsiteX29" fmla="*/ 286327 w 435105"/>
                    <a:gd name="connsiteY29" fmla="*/ 89828 h 463176"/>
                    <a:gd name="connsiteX30" fmla="*/ 294749 w 435105"/>
                    <a:gd name="connsiteY30" fmla="*/ 94039 h 463176"/>
                    <a:gd name="connsiteX31" fmla="*/ 322820 w 435105"/>
                    <a:gd name="connsiteY31" fmla="*/ 89828 h 463176"/>
                    <a:gd name="connsiteX32" fmla="*/ 421069 w 435105"/>
                    <a:gd name="connsiteY32" fmla="*/ 188078 h 463176"/>
                    <a:gd name="connsiteX33" fmla="*/ 322820 w 435105"/>
                    <a:gd name="connsiteY33" fmla="*/ 286327 h 463176"/>
                    <a:gd name="connsiteX34" fmla="*/ 91232 w 435105"/>
                    <a:gd name="connsiteY34" fmla="*/ 286327 h 463176"/>
                    <a:gd name="connsiteX35" fmla="*/ 14036 w 435105"/>
                    <a:gd name="connsiteY35" fmla="*/ 209131 h 463176"/>
                    <a:gd name="connsiteX36" fmla="*/ 224570 w 435105"/>
                    <a:gd name="connsiteY36" fmla="*/ 454755 h 463176"/>
                    <a:gd name="connsiteX37" fmla="*/ 168428 w 435105"/>
                    <a:gd name="connsiteY37" fmla="*/ 398612 h 463176"/>
                    <a:gd name="connsiteX38" fmla="*/ 168428 w 435105"/>
                    <a:gd name="connsiteY38" fmla="*/ 398612 h 463176"/>
                    <a:gd name="connsiteX39" fmla="*/ 168428 w 435105"/>
                    <a:gd name="connsiteY39" fmla="*/ 398612 h 463176"/>
                    <a:gd name="connsiteX40" fmla="*/ 224570 w 435105"/>
                    <a:gd name="connsiteY40" fmla="*/ 342470 h 463176"/>
                    <a:gd name="connsiteX41" fmla="*/ 280713 w 435105"/>
                    <a:gd name="connsiteY41" fmla="*/ 398612 h 463176"/>
                    <a:gd name="connsiteX42" fmla="*/ 224570 w 435105"/>
                    <a:gd name="connsiteY42" fmla="*/ 454755 h 46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435105" h="463176">
                      <a:moveTo>
                        <a:pt x="414052" y="391594"/>
                      </a:moveTo>
                      <a:lnTo>
                        <a:pt x="294749" y="391594"/>
                      </a:lnTo>
                      <a:cubicBezTo>
                        <a:pt x="291941" y="357909"/>
                        <a:pt x="265274" y="332645"/>
                        <a:pt x="232992" y="329837"/>
                      </a:cubicBezTo>
                      <a:lnTo>
                        <a:pt x="232992" y="300363"/>
                      </a:lnTo>
                      <a:lnTo>
                        <a:pt x="322820" y="300363"/>
                      </a:lnTo>
                      <a:cubicBezTo>
                        <a:pt x="384577" y="300363"/>
                        <a:pt x="435105" y="249834"/>
                        <a:pt x="435105" y="188078"/>
                      </a:cubicBezTo>
                      <a:cubicBezTo>
                        <a:pt x="435105" y="126321"/>
                        <a:pt x="384577" y="75792"/>
                        <a:pt x="322820" y="75792"/>
                      </a:cubicBezTo>
                      <a:cubicBezTo>
                        <a:pt x="314398" y="75792"/>
                        <a:pt x="305977" y="77196"/>
                        <a:pt x="297556" y="78600"/>
                      </a:cubicBezTo>
                      <a:cubicBezTo>
                        <a:pt x="276502" y="30878"/>
                        <a:pt x="227377" y="0"/>
                        <a:pt x="175446" y="0"/>
                      </a:cubicBezTo>
                      <a:cubicBezTo>
                        <a:pt x="102460" y="0"/>
                        <a:pt x="42107" y="58950"/>
                        <a:pt x="42107" y="131935"/>
                      </a:cubicBezTo>
                      <a:cubicBezTo>
                        <a:pt x="15439" y="148778"/>
                        <a:pt x="0" y="178253"/>
                        <a:pt x="0" y="209131"/>
                      </a:cubicBezTo>
                      <a:cubicBezTo>
                        <a:pt x="0" y="259659"/>
                        <a:pt x="40703" y="300363"/>
                        <a:pt x="91232" y="300363"/>
                      </a:cubicBezTo>
                      <a:lnTo>
                        <a:pt x="217553" y="300363"/>
                      </a:lnTo>
                      <a:lnTo>
                        <a:pt x="217553" y="329837"/>
                      </a:lnTo>
                      <a:cubicBezTo>
                        <a:pt x="183867" y="332645"/>
                        <a:pt x="158603" y="359312"/>
                        <a:pt x="155796" y="391594"/>
                      </a:cubicBezTo>
                      <a:lnTo>
                        <a:pt x="35089" y="391594"/>
                      </a:lnTo>
                      <a:cubicBezTo>
                        <a:pt x="30878" y="391594"/>
                        <a:pt x="28071" y="394401"/>
                        <a:pt x="28071" y="398612"/>
                      </a:cubicBezTo>
                      <a:cubicBezTo>
                        <a:pt x="28071" y="402823"/>
                        <a:pt x="30878" y="405630"/>
                        <a:pt x="35089" y="405630"/>
                      </a:cubicBezTo>
                      <a:lnTo>
                        <a:pt x="155796" y="405630"/>
                      </a:lnTo>
                      <a:cubicBezTo>
                        <a:pt x="160006" y="440719"/>
                        <a:pt x="189481" y="468790"/>
                        <a:pt x="224570" y="468790"/>
                      </a:cubicBezTo>
                      <a:cubicBezTo>
                        <a:pt x="261063" y="468790"/>
                        <a:pt x="290538" y="440719"/>
                        <a:pt x="293345" y="405630"/>
                      </a:cubicBezTo>
                      <a:lnTo>
                        <a:pt x="414052" y="405630"/>
                      </a:lnTo>
                      <a:cubicBezTo>
                        <a:pt x="418262" y="405630"/>
                        <a:pt x="421069" y="402823"/>
                        <a:pt x="421069" y="398612"/>
                      </a:cubicBezTo>
                      <a:cubicBezTo>
                        <a:pt x="421069" y="394401"/>
                        <a:pt x="418262" y="391594"/>
                        <a:pt x="414052" y="391594"/>
                      </a:cubicBezTo>
                      <a:close/>
                      <a:moveTo>
                        <a:pt x="14036" y="209131"/>
                      </a:moveTo>
                      <a:cubicBezTo>
                        <a:pt x="14036" y="182463"/>
                        <a:pt x="29475" y="155796"/>
                        <a:pt x="53335" y="141760"/>
                      </a:cubicBezTo>
                      <a:cubicBezTo>
                        <a:pt x="54739" y="141760"/>
                        <a:pt x="56143" y="138953"/>
                        <a:pt x="56143" y="136146"/>
                      </a:cubicBezTo>
                      <a:lnTo>
                        <a:pt x="56143" y="133339"/>
                      </a:lnTo>
                      <a:cubicBezTo>
                        <a:pt x="56143" y="67371"/>
                        <a:pt x="109478" y="14036"/>
                        <a:pt x="175446" y="14036"/>
                      </a:cubicBezTo>
                      <a:cubicBezTo>
                        <a:pt x="224570" y="14036"/>
                        <a:pt x="269484" y="44914"/>
                        <a:pt x="286327" y="89828"/>
                      </a:cubicBezTo>
                      <a:cubicBezTo>
                        <a:pt x="287731" y="92635"/>
                        <a:pt x="291941" y="95442"/>
                        <a:pt x="294749" y="94039"/>
                      </a:cubicBezTo>
                      <a:cubicBezTo>
                        <a:pt x="303170" y="91232"/>
                        <a:pt x="312995" y="89828"/>
                        <a:pt x="322820" y="89828"/>
                      </a:cubicBezTo>
                      <a:cubicBezTo>
                        <a:pt x="377559" y="89828"/>
                        <a:pt x="421069" y="133339"/>
                        <a:pt x="421069" y="188078"/>
                      </a:cubicBezTo>
                      <a:cubicBezTo>
                        <a:pt x="421069" y="242817"/>
                        <a:pt x="377559" y="286327"/>
                        <a:pt x="322820" y="286327"/>
                      </a:cubicBezTo>
                      <a:lnTo>
                        <a:pt x="91232" y="286327"/>
                      </a:lnTo>
                      <a:cubicBezTo>
                        <a:pt x="49125" y="286327"/>
                        <a:pt x="14036" y="252641"/>
                        <a:pt x="14036" y="209131"/>
                      </a:cubicBezTo>
                      <a:close/>
                      <a:moveTo>
                        <a:pt x="224570" y="454755"/>
                      </a:moveTo>
                      <a:cubicBezTo>
                        <a:pt x="193692" y="454755"/>
                        <a:pt x="168428" y="429490"/>
                        <a:pt x="168428" y="398612"/>
                      </a:cubicBezTo>
                      <a:cubicBezTo>
                        <a:pt x="168428" y="398612"/>
                        <a:pt x="168428" y="398612"/>
                        <a:pt x="168428" y="398612"/>
                      </a:cubicBezTo>
                      <a:cubicBezTo>
                        <a:pt x="168428" y="398612"/>
                        <a:pt x="168428" y="398612"/>
                        <a:pt x="168428" y="398612"/>
                      </a:cubicBezTo>
                      <a:cubicBezTo>
                        <a:pt x="168428" y="367734"/>
                        <a:pt x="193692" y="342470"/>
                        <a:pt x="224570" y="342470"/>
                      </a:cubicBezTo>
                      <a:cubicBezTo>
                        <a:pt x="255449" y="342470"/>
                        <a:pt x="280713" y="367734"/>
                        <a:pt x="280713" y="398612"/>
                      </a:cubicBezTo>
                      <a:cubicBezTo>
                        <a:pt x="280713" y="429490"/>
                        <a:pt x="256852" y="454755"/>
                        <a:pt x="224570" y="45475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8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93832155-482E-0640-EED7-C6E83BF9474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478099" y="1529257"/>
                <a:ext cx="492228" cy="492228"/>
                <a:chOff x="2542238" y="2105234"/>
                <a:chExt cx="792088" cy="792088"/>
              </a:xfrm>
            </p:grpSpPr>
            <p:sp>
              <p:nvSpPr>
                <p:cNvPr id="268" name="Oval 267">
                  <a:extLst>
                    <a:ext uri="{FF2B5EF4-FFF2-40B4-BE49-F238E27FC236}">
                      <a16:creationId xmlns:a16="http://schemas.microsoft.com/office/drawing/2014/main" id="{473F0757-74CB-E410-7687-FD0E76D7EE5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54223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9" name="Graphic 22">
                  <a:extLst>
                    <a:ext uri="{FF2B5EF4-FFF2-40B4-BE49-F238E27FC236}">
                      <a16:creationId xmlns:a16="http://schemas.microsoft.com/office/drawing/2014/main" id="{2D4A9DC7-32A5-6E4A-FD2E-8B05D2302AD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711531" y="2254618"/>
                  <a:ext cx="453317" cy="479982"/>
                  <a:chOff x="5883102" y="3152586"/>
                  <a:chExt cx="425622" cy="450658"/>
                </a:xfrm>
                <a:solidFill>
                  <a:schemeClr val="bg1"/>
                </a:solidFill>
              </p:grpSpPr>
              <p:sp>
                <p:nvSpPr>
                  <p:cNvPr id="270" name="Freeform: Shape 231">
                    <a:extLst>
                      <a:ext uri="{FF2B5EF4-FFF2-40B4-BE49-F238E27FC236}">
                        <a16:creationId xmlns:a16="http://schemas.microsoft.com/office/drawing/2014/main" id="{7AEDFEBB-4996-0055-F8FA-DAF24C5807D5}"/>
                      </a:ext>
                    </a:extLst>
                  </p:cNvPr>
                  <p:cNvSpPr/>
                  <p:nvPr/>
                </p:nvSpPr>
                <p:spPr>
                  <a:xfrm>
                    <a:off x="5883102" y="3377915"/>
                    <a:ext cx="425622" cy="225329"/>
                  </a:xfrm>
                  <a:custGeom>
                    <a:avLst/>
                    <a:gdLst>
                      <a:gd name="connsiteX0" fmla="*/ 400673 w 425622"/>
                      <a:gd name="connsiteY0" fmla="*/ 150219 h 225328"/>
                      <a:gd name="connsiteX1" fmla="*/ 376512 w 425622"/>
                      <a:gd name="connsiteY1" fmla="*/ 168997 h 225328"/>
                      <a:gd name="connsiteX2" fmla="*/ 275490 w 425622"/>
                      <a:gd name="connsiteY2" fmla="*/ 168997 h 225328"/>
                      <a:gd name="connsiteX3" fmla="*/ 219783 w 425622"/>
                      <a:gd name="connsiteY3" fmla="*/ 113290 h 225328"/>
                      <a:gd name="connsiteX4" fmla="*/ 219783 w 425622"/>
                      <a:gd name="connsiteY4" fmla="*/ 87628 h 225328"/>
                      <a:gd name="connsiteX5" fmla="*/ 382521 w 425622"/>
                      <a:gd name="connsiteY5" fmla="*/ 87628 h 225328"/>
                      <a:gd name="connsiteX6" fmla="*/ 388780 w 425622"/>
                      <a:gd name="connsiteY6" fmla="*/ 81369 h 225328"/>
                      <a:gd name="connsiteX7" fmla="*/ 388780 w 425622"/>
                      <a:gd name="connsiteY7" fmla="*/ 6259 h 225328"/>
                      <a:gd name="connsiteX8" fmla="*/ 382521 w 425622"/>
                      <a:gd name="connsiteY8" fmla="*/ 0 h 225328"/>
                      <a:gd name="connsiteX9" fmla="*/ 43901 w 425622"/>
                      <a:gd name="connsiteY9" fmla="*/ 0 h 225328"/>
                      <a:gd name="connsiteX10" fmla="*/ 37642 w 425622"/>
                      <a:gd name="connsiteY10" fmla="*/ 6259 h 225328"/>
                      <a:gd name="connsiteX11" fmla="*/ 37642 w 425622"/>
                      <a:gd name="connsiteY11" fmla="*/ 81369 h 225328"/>
                      <a:gd name="connsiteX12" fmla="*/ 43901 w 425622"/>
                      <a:gd name="connsiteY12" fmla="*/ 87628 h 225328"/>
                      <a:gd name="connsiteX13" fmla="*/ 206639 w 425622"/>
                      <a:gd name="connsiteY13" fmla="*/ 87628 h 225328"/>
                      <a:gd name="connsiteX14" fmla="*/ 206639 w 425622"/>
                      <a:gd name="connsiteY14" fmla="*/ 113290 h 225328"/>
                      <a:gd name="connsiteX15" fmla="*/ 150933 w 425622"/>
                      <a:gd name="connsiteY15" fmla="*/ 168997 h 225328"/>
                      <a:gd name="connsiteX16" fmla="*/ 49284 w 425622"/>
                      <a:gd name="connsiteY16" fmla="*/ 168997 h 225328"/>
                      <a:gd name="connsiteX17" fmla="*/ 18784 w 425622"/>
                      <a:gd name="connsiteY17" fmla="*/ 151014 h 225328"/>
                      <a:gd name="connsiteX18" fmla="*/ 801 w 425622"/>
                      <a:gd name="connsiteY18" fmla="*/ 181515 h 225328"/>
                      <a:gd name="connsiteX19" fmla="*/ 31302 w 425622"/>
                      <a:gd name="connsiteY19" fmla="*/ 199497 h 225328"/>
                      <a:gd name="connsiteX20" fmla="*/ 49284 w 425622"/>
                      <a:gd name="connsiteY20" fmla="*/ 181515 h 225328"/>
                      <a:gd name="connsiteX21" fmla="*/ 150933 w 425622"/>
                      <a:gd name="connsiteY21" fmla="*/ 181515 h 225328"/>
                      <a:gd name="connsiteX22" fmla="*/ 221727 w 425622"/>
                      <a:gd name="connsiteY22" fmla="*/ 234651 h 225328"/>
                      <a:gd name="connsiteX23" fmla="*/ 274864 w 425622"/>
                      <a:gd name="connsiteY23" fmla="*/ 181515 h 225328"/>
                      <a:gd name="connsiteX24" fmla="*/ 376512 w 425622"/>
                      <a:gd name="connsiteY24" fmla="*/ 181515 h 225328"/>
                      <a:gd name="connsiteX25" fmla="*/ 407013 w 425622"/>
                      <a:gd name="connsiteY25" fmla="*/ 199497 h 225328"/>
                      <a:gd name="connsiteX26" fmla="*/ 424996 w 425622"/>
                      <a:gd name="connsiteY26" fmla="*/ 168997 h 225328"/>
                      <a:gd name="connsiteX27" fmla="*/ 400673 w 425622"/>
                      <a:gd name="connsiteY27" fmla="*/ 150219 h 225328"/>
                      <a:gd name="connsiteX28" fmla="*/ 50161 w 425622"/>
                      <a:gd name="connsiteY28" fmla="*/ 12518 h 225328"/>
                      <a:gd name="connsiteX29" fmla="*/ 375636 w 425622"/>
                      <a:gd name="connsiteY29" fmla="*/ 12518 h 225328"/>
                      <a:gd name="connsiteX30" fmla="*/ 375636 w 425622"/>
                      <a:gd name="connsiteY30" fmla="*/ 75110 h 225328"/>
                      <a:gd name="connsiteX31" fmla="*/ 50161 w 425622"/>
                      <a:gd name="connsiteY31" fmla="*/ 75110 h 225328"/>
                      <a:gd name="connsiteX32" fmla="*/ 25124 w 425622"/>
                      <a:gd name="connsiteY32" fmla="*/ 187774 h 225328"/>
                      <a:gd name="connsiteX33" fmla="*/ 12606 w 425622"/>
                      <a:gd name="connsiteY33" fmla="*/ 175256 h 225328"/>
                      <a:gd name="connsiteX34" fmla="*/ 25124 w 425622"/>
                      <a:gd name="connsiteY34" fmla="*/ 162738 h 225328"/>
                      <a:gd name="connsiteX35" fmla="*/ 37642 w 425622"/>
                      <a:gd name="connsiteY35" fmla="*/ 175256 h 225328"/>
                      <a:gd name="connsiteX36" fmla="*/ 25124 w 425622"/>
                      <a:gd name="connsiteY36" fmla="*/ 187774 h 225328"/>
                      <a:gd name="connsiteX37" fmla="*/ 212898 w 425622"/>
                      <a:gd name="connsiteY37" fmla="*/ 225329 h 225328"/>
                      <a:gd name="connsiteX38" fmla="*/ 162825 w 425622"/>
                      <a:gd name="connsiteY38" fmla="*/ 175256 h 225328"/>
                      <a:gd name="connsiteX39" fmla="*/ 162825 w 425622"/>
                      <a:gd name="connsiteY39" fmla="*/ 174004 h 225328"/>
                      <a:gd name="connsiteX40" fmla="*/ 214134 w 425622"/>
                      <a:gd name="connsiteY40" fmla="*/ 125198 h 225328"/>
                      <a:gd name="connsiteX41" fmla="*/ 262940 w 425622"/>
                      <a:gd name="connsiteY41" fmla="*/ 176508 h 225328"/>
                      <a:gd name="connsiteX42" fmla="*/ 212898 w 425622"/>
                      <a:gd name="connsiteY42" fmla="*/ 225329 h 225328"/>
                      <a:gd name="connsiteX43" fmla="*/ 400673 w 425622"/>
                      <a:gd name="connsiteY43" fmla="*/ 187774 h 225328"/>
                      <a:gd name="connsiteX44" fmla="*/ 388154 w 425622"/>
                      <a:gd name="connsiteY44" fmla="*/ 175256 h 225328"/>
                      <a:gd name="connsiteX45" fmla="*/ 400673 w 425622"/>
                      <a:gd name="connsiteY45" fmla="*/ 162738 h 225328"/>
                      <a:gd name="connsiteX46" fmla="*/ 413191 w 425622"/>
                      <a:gd name="connsiteY46" fmla="*/ 175256 h 225328"/>
                      <a:gd name="connsiteX47" fmla="*/ 400673 w 425622"/>
                      <a:gd name="connsiteY47" fmla="*/ 187774 h 2253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425622" h="225328">
                        <a:moveTo>
                          <a:pt x="400673" y="150219"/>
                        </a:moveTo>
                        <a:cubicBezTo>
                          <a:pt x="389286" y="150257"/>
                          <a:pt x="379359" y="157972"/>
                          <a:pt x="376512" y="168997"/>
                        </a:cubicBezTo>
                        <a:lnTo>
                          <a:pt x="275490" y="168997"/>
                        </a:lnTo>
                        <a:cubicBezTo>
                          <a:pt x="272400" y="139605"/>
                          <a:pt x="249175" y="116380"/>
                          <a:pt x="219783" y="113290"/>
                        </a:cubicBezTo>
                        <a:lnTo>
                          <a:pt x="219783" y="87628"/>
                        </a:lnTo>
                        <a:lnTo>
                          <a:pt x="382521" y="87628"/>
                        </a:lnTo>
                        <a:cubicBezTo>
                          <a:pt x="385978" y="87628"/>
                          <a:pt x="388780" y="84825"/>
                          <a:pt x="388780" y="81369"/>
                        </a:cubicBezTo>
                        <a:lnTo>
                          <a:pt x="388780" y="6259"/>
                        </a:lnTo>
                        <a:cubicBezTo>
                          <a:pt x="388780" y="2803"/>
                          <a:pt x="385978" y="0"/>
                          <a:pt x="382521" y="0"/>
                        </a:cubicBezTo>
                        <a:lnTo>
                          <a:pt x="43901" y="0"/>
                        </a:lnTo>
                        <a:cubicBezTo>
                          <a:pt x="40445" y="0"/>
                          <a:pt x="37642" y="2803"/>
                          <a:pt x="37642" y="6259"/>
                        </a:cubicBezTo>
                        <a:lnTo>
                          <a:pt x="37642" y="81369"/>
                        </a:lnTo>
                        <a:cubicBezTo>
                          <a:pt x="37642" y="84825"/>
                          <a:pt x="40445" y="87628"/>
                          <a:pt x="43901" y="87628"/>
                        </a:cubicBezTo>
                        <a:lnTo>
                          <a:pt x="206639" y="87628"/>
                        </a:lnTo>
                        <a:lnTo>
                          <a:pt x="206639" y="113290"/>
                        </a:lnTo>
                        <a:cubicBezTo>
                          <a:pt x="177247" y="116380"/>
                          <a:pt x="154022" y="139605"/>
                          <a:pt x="150933" y="168997"/>
                        </a:cubicBezTo>
                        <a:lnTo>
                          <a:pt x="49284" y="168997"/>
                        </a:lnTo>
                        <a:cubicBezTo>
                          <a:pt x="45827" y="155608"/>
                          <a:pt x="32172" y="147558"/>
                          <a:pt x="18784" y="151014"/>
                        </a:cubicBezTo>
                        <a:cubicBezTo>
                          <a:pt x="5395" y="154472"/>
                          <a:pt x="-2656" y="168127"/>
                          <a:pt x="801" y="181515"/>
                        </a:cubicBezTo>
                        <a:cubicBezTo>
                          <a:pt x="4258" y="194903"/>
                          <a:pt x="17914" y="202954"/>
                          <a:pt x="31302" y="199497"/>
                        </a:cubicBezTo>
                        <a:cubicBezTo>
                          <a:pt x="40121" y="197220"/>
                          <a:pt x="47007" y="190334"/>
                          <a:pt x="49284" y="181515"/>
                        </a:cubicBezTo>
                        <a:lnTo>
                          <a:pt x="150933" y="181515"/>
                        </a:lnTo>
                        <a:cubicBezTo>
                          <a:pt x="155809" y="215737"/>
                          <a:pt x="187505" y="239527"/>
                          <a:pt x="221727" y="234651"/>
                        </a:cubicBezTo>
                        <a:cubicBezTo>
                          <a:pt x="249284" y="230724"/>
                          <a:pt x="270937" y="209071"/>
                          <a:pt x="274864" y="181515"/>
                        </a:cubicBezTo>
                        <a:lnTo>
                          <a:pt x="376512" y="181515"/>
                        </a:lnTo>
                        <a:cubicBezTo>
                          <a:pt x="379969" y="194903"/>
                          <a:pt x="393625" y="202954"/>
                          <a:pt x="407013" y="199497"/>
                        </a:cubicBezTo>
                        <a:cubicBezTo>
                          <a:pt x="420402" y="196040"/>
                          <a:pt x="428452" y="182385"/>
                          <a:pt x="424996" y="168997"/>
                        </a:cubicBezTo>
                        <a:cubicBezTo>
                          <a:pt x="422134" y="157913"/>
                          <a:pt x="412119" y="150182"/>
                          <a:pt x="400673" y="150219"/>
                        </a:cubicBezTo>
                        <a:close/>
                        <a:moveTo>
                          <a:pt x="50161" y="12518"/>
                        </a:moveTo>
                        <a:lnTo>
                          <a:pt x="375636" y="12518"/>
                        </a:lnTo>
                        <a:lnTo>
                          <a:pt x="375636" y="75110"/>
                        </a:lnTo>
                        <a:lnTo>
                          <a:pt x="50161" y="75110"/>
                        </a:lnTo>
                        <a:close/>
                        <a:moveTo>
                          <a:pt x="25124" y="187774"/>
                        </a:moveTo>
                        <a:cubicBezTo>
                          <a:pt x="18210" y="187774"/>
                          <a:pt x="12606" y="182170"/>
                          <a:pt x="12606" y="175256"/>
                        </a:cubicBezTo>
                        <a:cubicBezTo>
                          <a:pt x="12606" y="168342"/>
                          <a:pt x="18210" y="162738"/>
                          <a:pt x="25124" y="162738"/>
                        </a:cubicBezTo>
                        <a:cubicBezTo>
                          <a:pt x="32038" y="162738"/>
                          <a:pt x="37642" y="168342"/>
                          <a:pt x="37642" y="175256"/>
                        </a:cubicBezTo>
                        <a:cubicBezTo>
                          <a:pt x="37642" y="182170"/>
                          <a:pt x="32038" y="187774"/>
                          <a:pt x="25124" y="187774"/>
                        </a:cubicBezTo>
                        <a:close/>
                        <a:moveTo>
                          <a:pt x="212898" y="225329"/>
                        </a:moveTo>
                        <a:cubicBezTo>
                          <a:pt x="185244" y="225329"/>
                          <a:pt x="162825" y="202910"/>
                          <a:pt x="162825" y="175256"/>
                        </a:cubicBezTo>
                        <a:cubicBezTo>
                          <a:pt x="162992" y="174855"/>
                          <a:pt x="162992" y="174405"/>
                          <a:pt x="162825" y="174004"/>
                        </a:cubicBezTo>
                        <a:cubicBezTo>
                          <a:pt x="163516" y="146359"/>
                          <a:pt x="186488" y="124507"/>
                          <a:pt x="214134" y="125198"/>
                        </a:cubicBezTo>
                        <a:cubicBezTo>
                          <a:pt x="241781" y="125890"/>
                          <a:pt x="263631" y="148862"/>
                          <a:pt x="262940" y="176508"/>
                        </a:cubicBezTo>
                        <a:cubicBezTo>
                          <a:pt x="262262" y="203660"/>
                          <a:pt x="240059" y="225320"/>
                          <a:pt x="212898" y="225329"/>
                        </a:cubicBezTo>
                        <a:close/>
                        <a:moveTo>
                          <a:pt x="400673" y="187774"/>
                        </a:moveTo>
                        <a:cubicBezTo>
                          <a:pt x="393759" y="187774"/>
                          <a:pt x="388154" y="182170"/>
                          <a:pt x="388154" y="175256"/>
                        </a:cubicBezTo>
                        <a:cubicBezTo>
                          <a:pt x="388154" y="168342"/>
                          <a:pt x="393759" y="162738"/>
                          <a:pt x="400673" y="162738"/>
                        </a:cubicBezTo>
                        <a:cubicBezTo>
                          <a:pt x="407587" y="162738"/>
                          <a:pt x="413191" y="168342"/>
                          <a:pt x="413191" y="175256"/>
                        </a:cubicBezTo>
                        <a:cubicBezTo>
                          <a:pt x="413191" y="182170"/>
                          <a:pt x="407587" y="187774"/>
                          <a:pt x="400673" y="187774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Freeform: Shape 232">
                    <a:extLst>
                      <a:ext uri="{FF2B5EF4-FFF2-40B4-BE49-F238E27FC236}">
                        <a16:creationId xmlns:a16="http://schemas.microsoft.com/office/drawing/2014/main" id="{2BA2A470-3890-A65A-43E1-F04513424A1D}"/>
                      </a:ext>
                    </a:extLst>
                  </p:cNvPr>
                  <p:cNvSpPr/>
                  <p:nvPr/>
                </p:nvSpPr>
                <p:spPr>
                  <a:xfrm>
                    <a:off x="5958299" y="3415470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5"/>
                          <a:pt x="0" y="6259"/>
                        </a:cubicBezTo>
                        <a:cubicBezTo>
                          <a:pt x="0" y="2803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3"/>
                          <a:pt x="50073" y="6259"/>
                        </a:cubicBezTo>
                        <a:cubicBezTo>
                          <a:pt x="50073" y="9715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Freeform: Shape 233">
                    <a:extLst>
                      <a:ext uri="{FF2B5EF4-FFF2-40B4-BE49-F238E27FC236}">
                        <a16:creationId xmlns:a16="http://schemas.microsoft.com/office/drawing/2014/main" id="{23E19DED-C2E2-63E7-F6A8-5FA926C471DA}"/>
                      </a:ext>
                    </a:extLst>
                  </p:cNvPr>
                  <p:cNvSpPr/>
                  <p:nvPr/>
                </p:nvSpPr>
                <p:spPr>
                  <a:xfrm>
                    <a:off x="6111523" y="3415470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5"/>
                          <a:pt x="0" y="6259"/>
                        </a:cubicBezTo>
                        <a:cubicBezTo>
                          <a:pt x="0" y="2803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3"/>
                          <a:pt x="122179" y="6259"/>
                        </a:cubicBezTo>
                        <a:cubicBezTo>
                          <a:pt x="122179" y="9715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Freeform: Shape 234">
                    <a:extLst>
                      <a:ext uri="{FF2B5EF4-FFF2-40B4-BE49-F238E27FC236}">
                        <a16:creationId xmlns:a16="http://schemas.microsoft.com/office/drawing/2014/main" id="{6B844BB3-3BD6-FC96-FD22-FD21698D0870}"/>
                      </a:ext>
                    </a:extLst>
                  </p:cNvPr>
                  <p:cNvSpPr/>
                  <p:nvPr/>
                </p:nvSpPr>
                <p:spPr>
                  <a:xfrm>
                    <a:off x="5920744" y="3265250"/>
                    <a:ext cx="350512" cy="87628"/>
                  </a:xfrm>
                  <a:custGeom>
                    <a:avLst/>
                    <a:gdLst>
                      <a:gd name="connsiteX0" fmla="*/ 344253 w 350512"/>
                      <a:gd name="connsiteY0" fmla="*/ 87628 h 87627"/>
                      <a:gd name="connsiteX1" fmla="*/ 6259 w 350512"/>
                      <a:gd name="connsiteY1" fmla="*/ 87628 h 87627"/>
                      <a:gd name="connsiteX2" fmla="*/ 0 w 350512"/>
                      <a:gd name="connsiteY2" fmla="*/ 81369 h 87627"/>
                      <a:gd name="connsiteX3" fmla="*/ 0 w 350512"/>
                      <a:gd name="connsiteY3" fmla="*/ 6259 h 87627"/>
                      <a:gd name="connsiteX4" fmla="*/ 6259 w 350512"/>
                      <a:gd name="connsiteY4" fmla="*/ 0 h 87627"/>
                      <a:gd name="connsiteX5" fmla="*/ 344253 w 350512"/>
                      <a:gd name="connsiteY5" fmla="*/ 0 h 87627"/>
                      <a:gd name="connsiteX6" fmla="*/ 350512 w 350512"/>
                      <a:gd name="connsiteY6" fmla="*/ 6259 h 87627"/>
                      <a:gd name="connsiteX7" fmla="*/ 350512 w 350512"/>
                      <a:gd name="connsiteY7" fmla="*/ 81369 h 87627"/>
                      <a:gd name="connsiteX8" fmla="*/ 344253 w 350512"/>
                      <a:gd name="connsiteY8" fmla="*/ 87628 h 87627"/>
                      <a:gd name="connsiteX9" fmla="*/ 12518 w 350512"/>
                      <a:gd name="connsiteY9" fmla="*/ 75110 h 87627"/>
                      <a:gd name="connsiteX10" fmla="*/ 337994 w 350512"/>
                      <a:gd name="connsiteY10" fmla="*/ 75110 h 87627"/>
                      <a:gd name="connsiteX11" fmla="*/ 337994 w 350512"/>
                      <a:gd name="connsiteY11" fmla="*/ 12518 h 87627"/>
                      <a:gd name="connsiteX12" fmla="*/ 12518 w 350512"/>
                      <a:gd name="connsiteY12" fmla="*/ 12518 h 87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50512" h="87627">
                        <a:moveTo>
                          <a:pt x="344253" y="87628"/>
                        </a:moveTo>
                        <a:lnTo>
                          <a:pt x="6259" y="87628"/>
                        </a:lnTo>
                        <a:cubicBezTo>
                          <a:pt x="2802" y="87628"/>
                          <a:pt x="0" y="84825"/>
                          <a:pt x="0" y="81369"/>
                        </a:cubicBezTo>
                        <a:lnTo>
                          <a:pt x="0" y="6259"/>
                        </a:ln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344253" y="0"/>
                        </a:lnTo>
                        <a:cubicBezTo>
                          <a:pt x="347709" y="0"/>
                          <a:pt x="350512" y="2802"/>
                          <a:pt x="350512" y="6259"/>
                        </a:cubicBezTo>
                        <a:lnTo>
                          <a:pt x="350512" y="81369"/>
                        </a:lnTo>
                        <a:cubicBezTo>
                          <a:pt x="350512" y="84825"/>
                          <a:pt x="347709" y="87628"/>
                          <a:pt x="344253" y="87628"/>
                        </a:cubicBezTo>
                        <a:close/>
                        <a:moveTo>
                          <a:pt x="12518" y="75110"/>
                        </a:moveTo>
                        <a:lnTo>
                          <a:pt x="337994" y="75110"/>
                        </a:lnTo>
                        <a:lnTo>
                          <a:pt x="337994" y="12518"/>
                        </a:lnTo>
                        <a:lnTo>
                          <a:pt x="12518" y="12518"/>
                        </a:ln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4" name="Freeform: Shape 235">
                    <a:extLst>
                      <a:ext uri="{FF2B5EF4-FFF2-40B4-BE49-F238E27FC236}">
                        <a16:creationId xmlns:a16="http://schemas.microsoft.com/office/drawing/2014/main" id="{5B1D9821-F5D0-922F-7482-3F7BE65AAA18}"/>
                      </a:ext>
                    </a:extLst>
                  </p:cNvPr>
                  <p:cNvSpPr/>
                  <p:nvPr/>
                </p:nvSpPr>
                <p:spPr>
                  <a:xfrm>
                    <a:off x="5958299" y="3302805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5"/>
                          <a:pt x="0" y="6259"/>
                        </a:cubicBezTo>
                        <a:cubicBezTo>
                          <a:pt x="0" y="2803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3"/>
                          <a:pt x="50073" y="6259"/>
                        </a:cubicBezTo>
                        <a:cubicBezTo>
                          <a:pt x="50073" y="9715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5" name="Freeform: Shape 236">
                    <a:extLst>
                      <a:ext uri="{FF2B5EF4-FFF2-40B4-BE49-F238E27FC236}">
                        <a16:creationId xmlns:a16="http://schemas.microsoft.com/office/drawing/2014/main" id="{EED4B55E-C10D-1421-D9E8-91579EC5AD02}"/>
                      </a:ext>
                    </a:extLst>
                  </p:cNvPr>
                  <p:cNvSpPr/>
                  <p:nvPr/>
                </p:nvSpPr>
                <p:spPr>
                  <a:xfrm>
                    <a:off x="6111523" y="3302805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5"/>
                          <a:pt x="0" y="6259"/>
                        </a:cubicBezTo>
                        <a:cubicBezTo>
                          <a:pt x="0" y="2803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3"/>
                          <a:pt x="122179" y="6259"/>
                        </a:cubicBezTo>
                        <a:cubicBezTo>
                          <a:pt x="122179" y="9715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6" name="Freeform: Shape 237">
                    <a:extLst>
                      <a:ext uri="{FF2B5EF4-FFF2-40B4-BE49-F238E27FC236}">
                        <a16:creationId xmlns:a16="http://schemas.microsoft.com/office/drawing/2014/main" id="{1675DB2C-7EEF-B5FC-712C-65B704772957}"/>
                      </a:ext>
                    </a:extLst>
                  </p:cNvPr>
                  <p:cNvSpPr/>
                  <p:nvPr/>
                </p:nvSpPr>
                <p:spPr>
                  <a:xfrm>
                    <a:off x="5920744" y="3152586"/>
                    <a:ext cx="350512" cy="87628"/>
                  </a:xfrm>
                  <a:custGeom>
                    <a:avLst/>
                    <a:gdLst>
                      <a:gd name="connsiteX0" fmla="*/ 344253 w 350512"/>
                      <a:gd name="connsiteY0" fmla="*/ 87628 h 87627"/>
                      <a:gd name="connsiteX1" fmla="*/ 6259 w 350512"/>
                      <a:gd name="connsiteY1" fmla="*/ 87628 h 87627"/>
                      <a:gd name="connsiteX2" fmla="*/ 0 w 350512"/>
                      <a:gd name="connsiteY2" fmla="*/ 81369 h 87627"/>
                      <a:gd name="connsiteX3" fmla="*/ 0 w 350512"/>
                      <a:gd name="connsiteY3" fmla="*/ 6259 h 87627"/>
                      <a:gd name="connsiteX4" fmla="*/ 6259 w 350512"/>
                      <a:gd name="connsiteY4" fmla="*/ 0 h 87627"/>
                      <a:gd name="connsiteX5" fmla="*/ 344253 w 350512"/>
                      <a:gd name="connsiteY5" fmla="*/ 0 h 87627"/>
                      <a:gd name="connsiteX6" fmla="*/ 350512 w 350512"/>
                      <a:gd name="connsiteY6" fmla="*/ 6259 h 87627"/>
                      <a:gd name="connsiteX7" fmla="*/ 350512 w 350512"/>
                      <a:gd name="connsiteY7" fmla="*/ 81369 h 87627"/>
                      <a:gd name="connsiteX8" fmla="*/ 344253 w 350512"/>
                      <a:gd name="connsiteY8" fmla="*/ 87628 h 87627"/>
                      <a:gd name="connsiteX9" fmla="*/ 12518 w 350512"/>
                      <a:gd name="connsiteY9" fmla="*/ 75110 h 87627"/>
                      <a:gd name="connsiteX10" fmla="*/ 337994 w 350512"/>
                      <a:gd name="connsiteY10" fmla="*/ 75110 h 87627"/>
                      <a:gd name="connsiteX11" fmla="*/ 337994 w 350512"/>
                      <a:gd name="connsiteY11" fmla="*/ 12518 h 87627"/>
                      <a:gd name="connsiteX12" fmla="*/ 12518 w 350512"/>
                      <a:gd name="connsiteY12" fmla="*/ 12518 h 87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50512" h="87627">
                        <a:moveTo>
                          <a:pt x="344253" y="87628"/>
                        </a:moveTo>
                        <a:lnTo>
                          <a:pt x="6259" y="87628"/>
                        </a:lnTo>
                        <a:cubicBezTo>
                          <a:pt x="2802" y="87628"/>
                          <a:pt x="0" y="84826"/>
                          <a:pt x="0" y="81369"/>
                        </a:cubicBezTo>
                        <a:lnTo>
                          <a:pt x="0" y="6259"/>
                        </a:ln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344253" y="0"/>
                        </a:lnTo>
                        <a:cubicBezTo>
                          <a:pt x="347709" y="0"/>
                          <a:pt x="350512" y="2802"/>
                          <a:pt x="350512" y="6259"/>
                        </a:cubicBezTo>
                        <a:lnTo>
                          <a:pt x="350512" y="81369"/>
                        </a:lnTo>
                        <a:cubicBezTo>
                          <a:pt x="350512" y="84826"/>
                          <a:pt x="347709" y="87628"/>
                          <a:pt x="344253" y="87628"/>
                        </a:cubicBezTo>
                        <a:close/>
                        <a:moveTo>
                          <a:pt x="12518" y="75110"/>
                        </a:moveTo>
                        <a:lnTo>
                          <a:pt x="337994" y="75110"/>
                        </a:lnTo>
                        <a:lnTo>
                          <a:pt x="337994" y="12518"/>
                        </a:lnTo>
                        <a:lnTo>
                          <a:pt x="12518" y="12518"/>
                        </a:ln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7" name="Freeform: Shape 238">
                    <a:extLst>
                      <a:ext uri="{FF2B5EF4-FFF2-40B4-BE49-F238E27FC236}">
                        <a16:creationId xmlns:a16="http://schemas.microsoft.com/office/drawing/2014/main" id="{310EE5B7-FE7A-1DE7-BBA8-0F727235AA29}"/>
                      </a:ext>
                    </a:extLst>
                  </p:cNvPr>
                  <p:cNvSpPr/>
                  <p:nvPr/>
                </p:nvSpPr>
                <p:spPr>
                  <a:xfrm>
                    <a:off x="5958299" y="3190141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6"/>
                          <a:pt x="0" y="6259"/>
                        </a:cubicBez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2"/>
                          <a:pt x="50073" y="6259"/>
                        </a:cubicBezTo>
                        <a:cubicBezTo>
                          <a:pt x="50073" y="9716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8" name="Freeform: Shape 239">
                    <a:extLst>
                      <a:ext uri="{FF2B5EF4-FFF2-40B4-BE49-F238E27FC236}">
                        <a16:creationId xmlns:a16="http://schemas.microsoft.com/office/drawing/2014/main" id="{7432CB1F-921C-871F-E8B3-04D0A2AD2DB3}"/>
                      </a:ext>
                    </a:extLst>
                  </p:cNvPr>
                  <p:cNvSpPr/>
                  <p:nvPr/>
                </p:nvSpPr>
                <p:spPr>
                  <a:xfrm>
                    <a:off x="6111523" y="3190141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6"/>
                          <a:pt x="0" y="6259"/>
                        </a:cubicBezTo>
                        <a:cubicBezTo>
                          <a:pt x="0" y="2802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2"/>
                          <a:pt x="122179" y="6259"/>
                        </a:cubicBezTo>
                        <a:cubicBezTo>
                          <a:pt x="122179" y="9716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C707013D-8972-C5AD-9C46-19CDD6EAC76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05938" y="2486861"/>
                <a:ext cx="1167636" cy="1167636"/>
                <a:chOff x="8688288" y="2105234"/>
                <a:chExt cx="792088" cy="792088"/>
              </a:xfrm>
            </p:grpSpPr>
            <p:sp>
              <p:nvSpPr>
                <p:cNvPr id="263" name="Oval 262">
                  <a:extLst>
                    <a:ext uri="{FF2B5EF4-FFF2-40B4-BE49-F238E27FC236}">
                      <a16:creationId xmlns:a16="http://schemas.microsoft.com/office/drawing/2014/main" id="{77331ED3-8066-E6D0-BE97-42F51D3B9D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68828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4" name="Graphic 13">
                  <a:extLst>
                    <a:ext uri="{FF2B5EF4-FFF2-40B4-BE49-F238E27FC236}">
                      <a16:creationId xmlns:a16="http://schemas.microsoft.com/office/drawing/2014/main" id="{B01D0AF5-9C72-F72D-BBEF-FBF9501925B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832302" y="2336926"/>
                  <a:ext cx="507998" cy="328705"/>
                  <a:chOff x="5841999" y="3219822"/>
                  <a:chExt cx="507998" cy="328705"/>
                </a:xfrm>
                <a:solidFill>
                  <a:schemeClr val="bg1"/>
                </a:solidFill>
              </p:grpSpPr>
              <p:sp>
                <p:nvSpPr>
                  <p:cNvPr id="265" name="Freeform: Shape 226">
                    <a:extLst>
                      <a:ext uri="{FF2B5EF4-FFF2-40B4-BE49-F238E27FC236}">
                        <a16:creationId xmlns:a16="http://schemas.microsoft.com/office/drawing/2014/main" id="{E80EF6C1-8737-34AB-9475-F58593366A11}"/>
                      </a:ext>
                    </a:extLst>
                  </p:cNvPr>
                  <p:cNvSpPr/>
                  <p:nvPr/>
                </p:nvSpPr>
                <p:spPr>
                  <a:xfrm>
                    <a:off x="5841999" y="3219822"/>
                    <a:ext cx="507998" cy="328705"/>
                  </a:xfrm>
                  <a:custGeom>
                    <a:avLst/>
                    <a:gdLst>
                      <a:gd name="connsiteX0" fmla="*/ 500529 w 507998"/>
                      <a:gd name="connsiteY0" fmla="*/ 268941 h 328705"/>
                      <a:gd name="connsiteX1" fmla="*/ 463176 w 507998"/>
                      <a:gd name="connsiteY1" fmla="*/ 268941 h 328705"/>
                      <a:gd name="connsiteX2" fmla="*/ 463176 w 507998"/>
                      <a:gd name="connsiteY2" fmla="*/ 52294 h 328705"/>
                      <a:gd name="connsiteX3" fmla="*/ 410882 w 507998"/>
                      <a:gd name="connsiteY3" fmla="*/ 0 h 328705"/>
                      <a:gd name="connsiteX4" fmla="*/ 410733 w 507998"/>
                      <a:gd name="connsiteY4" fmla="*/ 0 h 328705"/>
                      <a:gd name="connsiteX5" fmla="*/ 97119 w 507998"/>
                      <a:gd name="connsiteY5" fmla="*/ 0 h 328705"/>
                      <a:gd name="connsiteX6" fmla="*/ 44825 w 507998"/>
                      <a:gd name="connsiteY6" fmla="*/ 52294 h 328705"/>
                      <a:gd name="connsiteX7" fmla="*/ 44825 w 507998"/>
                      <a:gd name="connsiteY7" fmla="*/ 268941 h 328705"/>
                      <a:gd name="connsiteX8" fmla="*/ 7472 w 507998"/>
                      <a:gd name="connsiteY8" fmla="*/ 268941 h 328705"/>
                      <a:gd name="connsiteX9" fmla="*/ 1 w 507998"/>
                      <a:gd name="connsiteY9" fmla="*/ 276707 h 328705"/>
                      <a:gd name="connsiteX10" fmla="*/ 2 w 507998"/>
                      <a:gd name="connsiteY10" fmla="*/ 276710 h 328705"/>
                      <a:gd name="connsiteX11" fmla="*/ 52295 w 507998"/>
                      <a:gd name="connsiteY11" fmla="*/ 328705 h 328705"/>
                      <a:gd name="connsiteX12" fmla="*/ 455706 w 507998"/>
                      <a:gd name="connsiteY12" fmla="*/ 328705 h 328705"/>
                      <a:gd name="connsiteX13" fmla="*/ 508000 w 507998"/>
                      <a:gd name="connsiteY13" fmla="*/ 276411 h 328705"/>
                      <a:gd name="connsiteX14" fmla="*/ 508000 w 507998"/>
                      <a:gd name="connsiteY14" fmla="*/ 276411 h 328705"/>
                      <a:gd name="connsiteX15" fmla="*/ 500529 w 507998"/>
                      <a:gd name="connsiteY15" fmla="*/ 268941 h 328705"/>
                      <a:gd name="connsiteX16" fmla="*/ 59766 w 507998"/>
                      <a:gd name="connsiteY16" fmla="*/ 52294 h 328705"/>
                      <a:gd name="connsiteX17" fmla="*/ 97119 w 507998"/>
                      <a:gd name="connsiteY17" fmla="*/ 14941 h 328705"/>
                      <a:gd name="connsiteX18" fmla="*/ 410882 w 507998"/>
                      <a:gd name="connsiteY18" fmla="*/ 14941 h 328705"/>
                      <a:gd name="connsiteX19" fmla="*/ 448235 w 507998"/>
                      <a:gd name="connsiteY19" fmla="*/ 52294 h 328705"/>
                      <a:gd name="connsiteX20" fmla="*/ 448235 w 507998"/>
                      <a:gd name="connsiteY20" fmla="*/ 268941 h 328705"/>
                      <a:gd name="connsiteX21" fmla="*/ 59766 w 507998"/>
                      <a:gd name="connsiteY21" fmla="*/ 268941 h 328705"/>
                      <a:gd name="connsiteX22" fmla="*/ 455706 w 507998"/>
                      <a:gd name="connsiteY22" fmla="*/ 313764 h 328705"/>
                      <a:gd name="connsiteX23" fmla="*/ 52295 w 507998"/>
                      <a:gd name="connsiteY23" fmla="*/ 313764 h 328705"/>
                      <a:gd name="connsiteX24" fmla="*/ 15690 w 507998"/>
                      <a:gd name="connsiteY24" fmla="*/ 283882 h 328705"/>
                      <a:gd name="connsiteX25" fmla="*/ 493058 w 507998"/>
                      <a:gd name="connsiteY25" fmla="*/ 283882 h 328705"/>
                      <a:gd name="connsiteX26" fmla="*/ 455706 w 507998"/>
                      <a:gd name="connsiteY26" fmla="*/ 313764 h 3287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507998" h="328705">
                        <a:moveTo>
                          <a:pt x="500529" y="268941"/>
                        </a:moveTo>
                        <a:lnTo>
                          <a:pt x="463176" y="268941"/>
                        </a:lnTo>
                        <a:lnTo>
                          <a:pt x="463176" y="52294"/>
                        </a:lnTo>
                        <a:cubicBezTo>
                          <a:pt x="463176" y="23413"/>
                          <a:pt x="439763" y="0"/>
                          <a:pt x="410882" y="0"/>
                        </a:cubicBezTo>
                        <a:cubicBezTo>
                          <a:pt x="410833" y="0"/>
                          <a:pt x="410782" y="0"/>
                          <a:pt x="410733" y="0"/>
                        </a:cubicBezTo>
                        <a:lnTo>
                          <a:pt x="97119" y="0"/>
                        </a:lnTo>
                        <a:cubicBezTo>
                          <a:pt x="68238" y="0"/>
                          <a:pt x="44825" y="23413"/>
                          <a:pt x="44825" y="52294"/>
                        </a:cubicBezTo>
                        <a:lnTo>
                          <a:pt x="44825" y="268941"/>
                        </a:lnTo>
                        <a:lnTo>
                          <a:pt x="7472" y="268941"/>
                        </a:lnTo>
                        <a:cubicBezTo>
                          <a:pt x="3264" y="269023"/>
                          <a:pt x="-80" y="272500"/>
                          <a:pt x="1" y="276707"/>
                        </a:cubicBezTo>
                        <a:cubicBezTo>
                          <a:pt x="1" y="276709"/>
                          <a:pt x="2" y="276709"/>
                          <a:pt x="2" y="276710"/>
                        </a:cubicBezTo>
                        <a:cubicBezTo>
                          <a:pt x="166" y="305475"/>
                          <a:pt x="23531" y="328705"/>
                          <a:pt x="52295" y="328705"/>
                        </a:cubicBezTo>
                        <a:lnTo>
                          <a:pt x="455706" y="328705"/>
                        </a:lnTo>
                        <a:cubicBezTo>
                          <a:pt x="484587" y="328705"/>
                          <a:pt x="508000" y="305292"/>
                          <a:pt x="508000" y="276411"/>
                        </a:cubicBezTo>
                        <a:lnTo>
                          <a:pt x="508000" y="276411"/>
                        </a:lnTo>
                        <a:cubicBezTo>
                          <a:pt x="508000" y="272286"/>
                          <a:pt x="504654" y="268941"/>
                          <a:pt x="500529" y="268941"/>
                        </a:cubicBezTo>
                        <a:close/>
                        <a:moveTo>
                          <a:pt x="59766" y="52294"/>
                        </a:moveTo>
                        <a:cubicBezTo>
                          <a:pt x="59766" y="31665"/>
                          <a:pt x="76489" y="14941"/>
                          <a:pt x="97119" y="14941"/>
                        </a:cubicBezTo>
                        <a:lnTo>
                          <a:pt x="410882" y="14941"/>
                        </a:lnTo>
                        <a:cubicBezTo>
                          <a:pt x="431511" y="14941"/>
                          <a:pt x="448235" y="31665"/>
                          <a:pt x="448235" y="52294"/>
                        </a:cubicBezTo>
                        <a:lnTo>
                          <a:pt x="448235" y="268941"/>
                        </a:lnTo>
                        <a:lnTo>
                          <a:pt x="59766" y="268941"/>
                        </a:lnTo>
                        <a:close/>
                        <a:moveTo>
                          <a:pt x="455706" y="313764"/>
                        </a:moveTo>
                        <a:lnTo>
                          <a:pt x="52295" y="313764"/>
                        </a:lnTo>
                        <a:cubicBezTo>
                          <a:pt x="34543" y="313767"/>
                          <a:pt x="19240" y="301276"/>
                          <a:pt x="15690" y="283882"/>
                        </a:cubicBezTo>
                        <a:lnTo>
                          <a:pt x="493058" y="283882"/>
                        </a:lnTo>
                        <a:cubicBezTo>
                          <a:pt x="489455" y="301554"/>
                          <a:pt x="473738" y="314127"/>
                          <a:pt x="455706" y="31376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: Shape 227">
                    <a:extLst>
                      <a:ext uri="{FF2B5EF4-FFF2-40B4-BE49-F238E27FC236}">
                        <a16:creationId xmlns:a16="http://schemas.microsoft.com/office/drawing/2014/main" id="{C97B510A-4BA4-035C-7718-C3E1F7A7D9A5}"/>
                      </a:ext>
                    </a:extLst>
                  </p:cNvPr>
                  <p:cNvSpPr/>
                  <p:nvPr/>
                </p:nvSpPr>
                <p:spPr>
                  <a:xfrm>
                    <a:off x="6021294" y="3276150"/>
                    <a:ext cx="149411" cy="179294"/>
                  </a:xfrm>
                  <a:custGeom>
                    <a:avLst/>
                    <a:gdLst>
                      <a:gd name="connsiteX0" fmla="*/ 141941 w 149411"/>
                      <a:gd name="connsiteY0" fmla="*/ 67086 h 179293"/>
                      <a:gd name="connsiteX1" fmla="*/ 132528 w 149411"/>
                      <a:gd name="connsiteY1" fmla="*/ 67086 h 179293"/>
                      <a:gd name="connsiteX2" fmla="*/ 132528 w 149411"/>
                      <a:gd name="connsiteY2" fmla="*/ 57822 h 179293"/>
                      <a:gd name="connsiteX3" fmla="*/ 74706 w 149411"/>
                      <a:gd name="connsiteY3" fmla="*/ 0 h 179293"/>
                      <a:gd name="connsiteX4" fmla="*/ 16883 w 149411"/>
                      <a:gd name="connsiteY4" fmla="*/ 57822 h 179293"/>
                      <a:gd name="connsiteX5" fmla="*/ 16883 w 149411"/>
                      <a:gd name="connsiteY5" fmla="*/ 67086 h 179293"/>
                      <a:gd name="connsiteX6" fmla="*/ 7471 w 149411"/>
                      <a:gd name="connsiteY6" fmla="*/ 67086 h 179293"/>
                      <a:gd name="connsiteX7" fmla="*/ 0 w 149411"/>
                      <a:gd name="connsiteY7" fmla="*/ 74556 h 179293"/>
                      <a:gd name="connsiteX8" fmla="*/ 0 w 149411"/>
                      <a:gd name="connsiteY8" fmla="*/ 175409 h 179293"/>
                      <a:gd name="connsiteX9" fmla="*/ 7471 w 149411"/>
                      <a:gd name="connsiteY9" fmla="*/ 182880 h 179293"/>
                      <a:gd name="connsiteX10" fmla="*/ 141941 w 149411"/>
                      <a:gd name="connsiteY10" fmla="*/ 182880 h 179293"/>
                      <a:gd name="connsiteX11" fmla="*/ 149411 w 149411"/>
                      <a:gd name="connsiteY11" fmla="*/ 175409 h 179293"/>
                      <a:gd name="connsiteX12" fmla="*/ 149411 w 149411"/>
                      <a:gd name="connsiteY12" fmla="*/ 74556 h 179293"/>
                      <a:gd name="connsiteX13" fmla="*/ 141941 w 149411"/>
                      <a:gd name="connsiteY13" fmla="*/ 67086 h 179293"/>
                      <a:gd name="connsiteX14" fmla="*/ 31825 w 149411"/>
                      <a:gd name="connsiteY14" fmla="*/ 57822 h 179293"/>
                      <a:gd name="connsiteX15" fmla="*/ 74706 w 149411"/>
                      <a:gd name="connsiteY15" fmla="*/ 14941 h 179293"/>
                      <a:gd name="connsiteX16" fmla="*/ 117587 w 149411"/>
                      <a:gd name="connsiteY16" fmla="*/ 57822 h 179293"/>
                      <a:gd name="connsiteX17" fmla="*/ 117587 w 149411"/>
                      <a:gd name="connsiteY17" fmla="*/ 67086 h 179293"/>
                      <a:gd name="connsiteX18" fmla="*/ 31825 w 149411"/>
                      <a:gd name="connsiteY18" fmla="*/ 67086 h 179293"/>
                      <a:gd name="connsiteX19" fmla="*/ 134470 w 149411"/>
                      <a:gd name="connsiteY19" fmla="*/ 167789 h 179293"/>
                      <a:gd name="connsiteX20" fmla="*/ 14941 w 149411"/>
                      <a:gd name="connsiteY20" fmla="*/ 167789 h 179293"/>
                      <a:gd name="connsiteX21" fmla="*/ 14941 w 149411"/>
                      <a:gd name="connsiteY21" fmla="*/ 82027 h 179293"/>
                      <a:gd name="connsiteX22" fmla="*/ 134470 w 149411"/>
                      <a:gd name="connsiteY22" fmla="*/ 82027 h 1792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149411" h="179293">
                        <a:moveTo>
                          <a:pt x="141941" y="67086"/>
                        </a:moveTo>
                        <a:lnTo>
                          <a:pt x="132528" y="67086"/>
                        </a:lnTo>
                        <a:lnTo>
                          <a:pt x="132528" y="57822"/>
                        </a:lnTo>
                        <a:cubicBezTo>
                          <a:pt x="132528" y="25888"/>
                          <a:pt x="106639" y="0"/>
                          <a:pt x="74706" y="0"/>
                        </a:cubicBezTo>
                        <a:cubicBezTo>
                          <a:pt x="42772" y="0"/>
                          <a:pt x="16883" y="25888"/>
                          <a:pt x="16883" y="57822"/>
                        </a:cubicBezTo>
                        <a:lnTo>
                          <a:pt x="16883" y="67086"/>
                        </a:lnTo>
                        <a:lnTo>
                          <a:pt x="7471" y="67086"/>
                        </a:lnTo>
                        <a:cubicBezTo>
                          <a:pt x="3345" y="67086"/>
                          <a:pt x="0" y="70430"/>
                          <a:pt x="0" y="74556"/>
                        </a:cubicBezTo>
                        <a:lnTo>
                          <a:pt x="0" y="175409"/>
                        </a:lnTo>
                        <a:cubicBezTo>
                          <a:pt x="0" y="179534"/>
                          <a:pt x="3345" y="182880"/>
                          <a:pt x="7471" y="182880"/>
                        </a:cubicBezTo>
                        <a:lnTo>
                          <a:pt x="141941" y="182880"/>
                        </a:lnTo>
                        <a:cubicBezTo>
                          <a:pt x="146066" y="182880"/>
                          <a:pt x="149411" y="179534"/>
                          <a:pt x="149411" y="175409"/>
                        </a:cubicBezTo>
                        <a:lnTo>
                          <a:pt x="149411" y="74556"/>
                        </a:lnTo>
                        <a:cubicBezTo>
                          <a:pt x="149332" y="70464"/>
                          <a:pt x="146033" y="67165"/>
                          <a:pt x="141941" y="67086"/>
                        </a:cubicBezTo>
                        <a:close/>
                        <a:moveTo>
                          <a:pt x="31825" y="57822"/>
                        </a:moveTo>
                        <a:cubicBezTo>
                          <a:pt x="31825" y="34140"/>
                          <a:pt x="51022" y="14941"/>
                          <a:pt x="74706" y="14941"/>
                        </a:cubicBezTo>
                        <a:cubicBezTo>
                          <a:pt x="98389" y="14941"/>
                          <a:pt x="117587" y="34140"/>
                          <a:pt x="117587" y="57822"/>
                        </a:cubicBezTo>
                        <a:lnTo>
                          <a:pt x="117587" y="67086"/>
                        </a:lnTo>
                        <a:lnTo>
                          <a:pt x="31825" y="67086"/>
                        </a:lnTo>
                        <a:close/>
                        <a:moveTo>
                          <a:pt x="134470" y="167789"/>
                        </a:moveTo>
                        <a:lnTo>
                          <a:pt x="14941" y="167789"/>
                        </a:lnTo>
                        <a:lnTo>
                          <a:pt x="14941" y="82027"/>
                        </a:lnTo>
                        <a:lnTo>
                          <a:pt x="134470" y="82027"/>
                        </a:ln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Freeform: Shape 228">
                    <a:extLst>
                      <a:ext uri="{FF2B5EF4-FFF2-40B4-BE49-F238E27FC236}">
                        <a16:creationId xmlns:a16="http://schemas.microsoft.com/office/drawing/2014/main" id="{AC11B83F-B119-AA51-AA87-A7CA8F6D37B3}"/>
                      </a:ext>
                    </a:extLst>
                  </p:cNvPr>
                  <p:cNvSpPr/>
                  <p:nvPr/>
                </p:nvSpPr>
                <p:spPr>
                  <a:xfrm>
                    <a:off x="6079003" y="3383224"/>
                    <a:ext cx="29882" cy="44823"/>
                  </a:xfrm>
                  <a:custGeom>
                    <a:avLst/>
                    <a:gdLst>
                      <a:gd name="connsiteX0" fmla="*/ 33731 w 29882"/>
                      <a:gd name="connsiteY0" fmla="*/ 17984 h 44823"/>
                      <a:gd name="connsiteX1" fmla="*/ 17983 w 29882"/>
                      <a:gd name="connsiteY1" fmla="*/ 37 h 44823"/>
                      <a:gd name="connsiteX2" fmla="*/ 36 w 29882"/>
                      <a:gd name="connsiteY2" fmla="*/ 15783 h 44823"/>
                      <a:gd name="connsiteX3" fmla="*/ 11619 w 29882"/>
                      <a:gd name="connsiteY3" fmla="*/ 32925 h 44823"/>
                      <a:gd name="connsiteX4" fmla="*/ 11619 w 29882"/>
                      <a:gd name="connsiteY4" fmla="*/ 50854 h 44823"/>
                      <a:gd name="connsiteX5" fmla="*/ 22376 w 29882"/>
                      <a:gd name="connsiteY5" fmla="*/ 50854 h 44823"/>
                      <a:gd name="connsiteX6" fmla="*/ 22376 w 29882"/>
                      <a:gd name="connsiteY6" fmla="*/ 32925 h 44823"/>
                      <a:gd name="connsiteX7" fmla="*/ 33731 w 29882"/>
                      <a:gd name="connsiteY7" fmla="*/ 17984 h 44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9882" h="44823">
                        <a:moveTo>
                          <a:pt x="33731" y="17984"/>
                        </a:moveTo>
                        <a:cubicBezTo>
                          <a:pt x="34339" y="8679"/>
                          <a:pt x="27289" y="643"/>
                          <a:pt x="17983" y="37"/>
                        </a:cubicBezTo>
                        <a:cubicBezTo>
                          <a:pt x="8680" y="-572"/>
                          <a:pt x="644" y="6479"/>
                          <a:pt x="36" y="15783"/>
                        </a:cubicBezTo>
                        <a:cubicBezTo>
                          <a:pt x="-466" y="23470"/>
                          <a:pt x="4299" y="30522"/>
                          <a:pt x="11619" y="32925"/>
                        </a:cubicBezTo>
                        <a:lnTo>
                          <a:pt x="11619" y="50854"/>
                        </a:lnTo>
                        <a:lnTo>
                          <a:pt x="22376" y="50854"/>
                        </a:lnTo>
                        <a:lnTo>
                          <a:pt x="22376" y="32925"/>
                        </a:lnTo>
                        <a:cubicBezTo>
                          <a:pt x="28886" y="30770"/>
                          <a:pt x="33400" y="24833"/>
                          <a:pt x="33731" y="1798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7A7D8273-A173-F2B3-44CE-656DA096E69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86044" y="3211115"/>
                <a:ext cx="743042" cy="743042"/>
                <a:chOff x="7322496" y="2105234"/>
                <a:chExt cx="792088" cy="792088"/>
              </a:xfrm>
            </p:grpSpPr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993EC435-FA0F-1503-2BD3-F75626E438F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322496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9" name="Graphic 4">
                  <a:extLst>
                    <a:ext uri="{FF2B5EF4-FFF2-40B4-BE49-F238E27FC236}">
                      <a16:creationId xmlns:a16="http://schemas.microsoft.com/office/drawing/2014/main" id="{B01B24B7-AC08-BBB0-E6C3-25DF229993D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592327" y="2280405"/>
                  <a:ext cx="252426" cy="441746"/>
                  <a:chOff x="5963664" y="3152586"/>
                  <a:chExt cx="264672" cy="463176"/>
                </a:xfrm>
                <a:solidFill>
                  <a:schemeClr val="bg1"/>
                </a:solidFill>
              </p:grpSpPr>
              <p:sp>
                <p:nvSpPr>
                  <p:cNvPr id="260" name="Freeform: Shape 221">
                    <a:extLst>
                      <a:ext uri="{FF2B5EF4-FFF2-40B4-BE49-F238E27FC236}">
                        <a16:creationId xmlns:a16="http://schemas.microsoft.com/office/drawing/2014/main" id="{F79EA65C-F86F-EEDE-CE70-D3C05B71C879}"/>
                      </a:ext>
                    </a:extLst>
                  </p:cNvPr>
                  <p:cNvSpPr/>
                  <p:nvPr/>
                </p:nvSpPr>
                <p:spPr>
                  <a:xfrm>
                    <a:off x="5963664" y="3152586"/>
                    <a:ext cx="264672" cy="463176"/>
                  </a:xfrm>
                  <a:custGeom>
                    <a:avLst/>
                    <a:gdLst>
                      <a:gd name="connsiteX0" fmla="*/ 206775 w 264672"/>
                      <a:gd name="connsiteY0" fmla="*/ 463176 h 463176"/>
                      <a:gd name="connsiteX1" fmla="*/ 57897 w 264672"/>
                      <a:gd name="connsiteY1" fmla="*/ 463176 h 463176"/>
                      <a:gd name="connsiteX2" fmla="*/ 0 w 264672"/>
                      <a:gd name="connsiteY2" fmla="*/ 405279 h 463176"/>
                      <a:gd name="connsiteX3" fmla="*/ 0 w 264672"/>
                      <a:gd name="connsiteY3" fmla="*/ 57897 h 463176"/>
                      <a:gd name="connsiteX4" fmla="*/ 57897 w 264672"/>
                      <a:gd name="connsiteY4" fmla="*/ 0 h 463176"/>
                      <a:gd name="connsiteX5" fmla="*/ 206775 w 264672"/>
                      <a:gd name="connsiteY5" fmla="*/ 0 h 463176"/>
                      <a:gd name="connsiteX6" fmla="*/ 264672 w 264672"/>
                      <a:gd name="connsiteY6" fmla="*/ 57897 h 463176"/>
                      <a:gd name="connsiteX7" fmla="*/ 264672 w 264672"/>
                      <a:gd name="connsiteY7" fmla="*/ 405279 h 463176"/>
                      <a:gd name="connsiteX8" fmla="*/ 206775 w 264672"/>
                      <a:gd name="connsiteY8" fmla="*/ 463176 h 463176"/>
                      <a:gd name="connsiteX9" fmla="*/ 57897 w 264672"/>
                      <a:gd name="connsiteY9" fmla="*/ 16542 h 463176"/>
                      <a:gd name="connsiteX10" fmla="*/ 16542 w 264672"/>
                      <a:gd name="connsiteY10" fmla="*/ 57897 h 463176"/>
                      <a:gd name="connsiteX11" fmla="*/ 16542 w 264672"/>
                      <a:gd name="connsiteY11" fmla="*/ 405279 h 463176"/>
                      <a:gd name="connsiteX12" fmla="*/ 57897 w 264672"/>
                      <a:gd name="connsiteY12" fmla="*/ 446634 h 463176"/>
                      <a:gd name="connsiteX13" fmla="*/ 206775 w 264672"/>
                      <a:gd name="connsiteY13" fmla="*/ 446634 h 463176"/>
                      <a:gd name="connsiteX14" fmla="*/ 248130 w 264672"/>
                      <a:gd name="connsiteY14" fmla="*/ 405279 h 463176"/>
                      <a:gd name="connsiteX15" fmla="*/ 248130 w 264672"/>
                      <a:gd name="connsiteY15" fmla="*/ 57897 h 463176"/>
                      <a:gd name="connsiteX16" fmla="*/ 206775 w 264672"/>
                      <a:gd name="connsiteY16" fmla="*/ 16542 h 46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64672" h="463176">
                        <a:moveTo>
                          <a:pt x="206775" y="463176"/>
                        </a:moveTo>
                        <a:lnTo>
                          <a:pt x="57897" y="463176"/>
                        </a:lnTo>
                        <a:cubicBezTo>
                          <a:pt x="25921" y="463176"/>
                          <a:pt x="0" y="437255"/>
                          <a:pt x="0" y="405279"/>
                        </a:cubicBezTo>
                        <a:lnTo>
                          <a:pt x="0" y="57897"/>
                        </a:lnTo>
                        <a:cubicBezTo>
                          <a:pt x="0" y="25921"/>
                          <a:pt x="25921" y="0"/>
                          <a:pt x="57897" y="0"/>
                        </a:cubicBezTo>
                        <a:lnTo>
                          <a:pt x="206775" y="0"/>
                        </a:lnTo>
                        <a:cubicBezTo>
                          <a:pt x="238751" y="0"/>
                          <a:pt x="264672" y="25921"/>
                          <a:pt x="264672" y="57897"/>
                        </a:cubicBezTo>
                        <a:lnTo>
                          <a:pt x="264672" y="405279"/>
                        </a:lnTo>
                        <a:cubicBezTo>
                          <a:pt x="264672" y="437255"/>
                          <a:pt x="238751" y="463176"/>
                          <a:pt x="206775" y="463176"/>
                        </a:cubicBezTo>
                        <a:close/>
                        <a:moveTo>
                          <a:pt x="57897" y="16542"/>
                        </a:moveTo>
                        <a:cubicBezTo>
                          <a:pt x="35057" y="16542"/>
                          <a:pt x="16542" y="35057"/>
                          <a:pt x="16542" y="57897"/>
                        </a:cubicBezTo>
                        <a:lnTo>
                          <a:pt x="16542" y="405279"/>
                        </a:lnTo>
                        <a:cubicBezTo>
                          <a:pt x="16542" y="428119"/>
                          <a:pt x="35057" y="446634"/>
                          <a:pt x="57897" y="446634"/>
                        </a:cubicBezTo>
                        <a:lnTo>
                          <a:pt x="206775" y="446634"/>
                        </a:lnTo>
                        <a:cubicBezTo>
                          <a:pt x="229615" y="446634"/>
                          <a:pt x="248130" y="428119"/>
                          <a:pt x="248130" y="405279"/>
                        </a:cubicBezTo>
                        <a:lnTo>
                          <a:pt x="248130" y="57897"/>
                        </a:lnTo>
                        <a:cubicBezTo>
                          <a:pt x="248130" y="35057"/>
                          <a:pt x="229615" y="16542"/>
                          <a:pt x="206775" y="16542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: Shape 222">
                    <a:extLst>
                      <a:ext uri="{FF2B5EF4-FFF2-40B4-BE49-F238E27FC236}">
                        <a16:creationId xmlns:a16="http://schemas.microsoft.com/office/drawing/2014/main" id="{23692D5F-CFDE-4A33-18D6-3A7659FF32EB}"/>
                      </a:ext>
                    </a:extLst>
                  </p:cNvPr>
                  <p:cNvSpPr/>
                  <p:nvPr/>
                </p:nvSpPr>
                <p:spPr>
                  <a:xfrm>
                    <a:off x="6062916" y="3182031"/>
                    <a:ext cx="66168" cy="16542"/>
                  </a:xfrm>
                  <a:custGeom>
                    <a:avLst/>
                    <a:gdLst>
                      <a:gd name="connsiteX0" fmla="*/ 57897 w 66168"/>
                      <a:gd name="connsiteY0" fmla="*/ 16542 h 16542"/>
                      <a:gd name="connsiteX1" fmla="*/ 8271 w 66168"/>
                      <a:gd name="connsiteY1" fmla="*/ 16542 h 16542"/>
                      <a:gd name="connsiteX2" fmla="*/ 0 w 66168"/>
                      <a:gd name="connsiteY2" fmla="*/ 8271 h 16542"/>
                      <a:gd name="connsiteX3" fmla="*/ 8271 w 66168"/>
                      <a:gd name="connsiteY3" fmla="*/ 0 h 16542"/>
                      <a:gd name="connsiteX4" fmla="*/ 57897 w 66168"/>
                      <a:gd name="connsiteY4" fmla="*/ 0 h 16542"/>
                      <a:gd name="connsiteX5" fmla="*/ 66168 w 66168"/>
                      <a:gd name="connsiteY5" fmla="*/ 8271 h 16542"/>
                      <a:gd name="connsiteX6" fmla="*/ 57897 w 66168"/>
                      <a:gd name="connsiteY6" fmla="*/ 16542 h 165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6168" h="16542">
                        <a:moveTo>
                          <a:pt x="57897" y="16542"/>
                        </a:moveTo>
                        <a:lnTo>
                          <a:pt x="8271" y="16542"/>
                        </a:lnTo>
                        <a:cubicBezTo>
                          <a:pt x="3703" y="16542"/>
                          <a:pt x="0" y="12839"/>
                          <a:pt x="0" y="8271"/>
                        </a:cubicBezTo>
                        <a:cubicBezTo>
                          <a:pt x="0" y="3703"/>
                          <a:pt x="3703" y="0"/>
                          <a:pt x="8271" y="0"/>
                        </a:cubicBezTo>
                        <a:lnTo>
                          <a:pt x="57897" y="0"/>
                        </a:lnTo>
                        <a:cubicBezTo>
                          <a:pt x="62465" y="0"/>
                          <a:pt x="66168" y="3703"/>
                          <a:pt x="66168" y="8271"/>
                        </a:cubicBezTo>
                        <a:cubicBezTo>
                          <a:pt x="66168" y="12839"/>
                          <a:pt x="62465" y="16542"/>
                          <a:pt x="57897" y="16542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: Shape 223">
                    <a:extLst>
                      <a:ext uri="{FF2B5EF4-FFF2-40B4-BE49-F238E27FC236}">
                        <a16:creationId xmlns:a16="http://schemas.microsoft.com/office/drawing/2014/main" id="{1FFADE27-8AB2-37F4-C646-85CB0FB22357}"/>
                      </a:ext>
                    </a:extLst>
                  </p:cNvPr>
                  <p:cNvSpPr/>
                  <p:nvPr/>
                </p:nvSpPr>
                <p:spPr>
                  <a:xfrm>
                    <a:off x="6071187" y="3533052"/>
                    <a:ext cx="49626" cy="49626"/>
                  </a:xfrm>
                  <a:custGeom>
                    <a:avLst/>
                    <a:gdLst>
                      <a:gd name="connsiteX0" fmla="*/ 49626 w 49626"/>
                      <a:gd name="connsiteY0" fmla="*/ 24813 h 49626"/>
                      <a:gd name="connsiteX1" fmla="*/ 24813 w 49626"/>
                      <a:gd name="connsiteY1" fmla="*/ 49626 h 49626"/>
                      <a:gd name="connsiteX2" fmla="*/ 0 w 49626"/>
                      <a:gd name="connsiteY2" fmla="*/ 24813 h 49626"/>
                      <a:gd name="connsiteX3" fmla="*/ 24813 w 49626"/>
                      <a:gd name="connsiteY3" fmla="*/ 0 h 49626"/>
                      <a:gd name="connsiteX4" fmla="*/ 49626 w 49626"/>
                      <a:gd name="connsiteY4" fmla="*/ 24813 h 49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9626" h="49626">
                        <a:moveTo>
                          <a:pt x="49626" y="24813"/>
                        </a:moveTo>
                        <a:cubicBezTo>
                          <a:pt x="49626" y="38517"/>
                          <a:pt x="38517" y="49626"/>
                          <a:pt x="24813" y="49626"/>
                        </a:cubicBezTo>
                        <a:cubicBezTo>
                          <a:pt x="11109" y="49626"/>
                          <a:pt x="0" y="38517"/>
                          <a:pt x="0" y="24813"/>
                        </a:cubicBezTo>
                        <a:cubicBezTo>
                          <a:pt x="0" y="11109"/>
                          <a:pt x="11109" y="0"/>
                          <a:pt x="24813" y="0"/>
                        </a:cubicBezTo>
                        <a:cubicBezTo>
                          <a:pt x="38517" y="0"/>
                          <a:pt x="49626" y="11109"/>
                          <a:pt x="49626" y="24813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4EB50F0C-D8D7-6088-E4CF-B925E20178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86044" y="539491"/>
                <a:ext cx="1061486" cy="1061486"/>
                <a:chOff x="3935760" y="1733455"/>
                <a:chExt cx="720080" cy="720080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3DE77DC0-B619-9C57-8DA0-DA8BAD572A8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3576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4" name="Graphic 2">
                  <a:extLst>
                    <a:ext uri="{FF2B5EF4-FFF2-40B4-BE49-F238E27FC236}">
                      <a16:creationId xmlns:a16="http://schemas.microsoft.com/office/drawing/2014/main" id="{F2372CDC-5198-81B6-2FF1-4318128CD3D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047090" y="1866766"/>
                  <a:ext cx="489666" cy="433573"/>
                  <a:chOff x="5841920" y="3152602"/>
                  <a:chExt cx="500154" cy="442865"/>
                </a:xfrm>
                <a:solidFill>
                  <a:schemeClr val="bg1"/>
                </a:solidFill>
              </p:grpSpPr>
              <p:sp>
                <p:nvSpPr>
                  <p:cNvPr id="255" name="Freeform: Shape 216">
                    <a:extLst>
                      <a:ext uri="{FF2B5EF4-FFF2-40B4-BE49-F238E27FC236}">
                        <a16:creationId xmlns:a16="http://schemas.microsoft.com/office/drawing/2014/main" id="{2E785F3E-027E-68ED-86BA-1D0DC85ECFA5}"/>
                      </a:ext>
                    </a:extLst>
                  </p:cNvPr>
                  <p:cNvSpPr/>
                  <p:nvPr/>
                </p:nvSpPr>
                <p:spPr>
                  <a:xfrm>
                    <a:off x="6075510" y="3152602"/>
                    <a:ext cx="89647" cy="89647"/>
                  </a:xfrm>
                  <a:custGeom>
                    <a:avLst/>
                    <a:gdLst>
                      <a:gd name="connsiteX0" fmla="*/ 20490 w 89646"/>
                      <a:gd name="connsiteY0" fmla="*/ 84851 h 89646"/>
                      <a:gd name="connsiteX1" fmla="*/ 85062 w 89646"/>
                      <a:gd name="connsiteY1" fmla="*/ 72656 h 89646"/>
                      <a:gd name="connsiteX2" fmla="*/ 72869 w 89646"/>
                      <a:gd name="connsiteY2" fmla="*/ 8084 h 89646"/>
                      <a:gd name="connsiteX3" fmla="*/ 37672 w 89646"/>
                      <a:gd name="connsiteY3" fmla="*/ 882 h 89646"/>
                      <a:gd name="connsiteX4" fmla="*/ 7790 w 89646"/>
                      <a:gd name="connsiteY4" fmla="*/ 20454 h 89646"/>
                      <a:gd name="connsiteX5" fmla="*/ 20490 w 89646"/>
                      <a:gd name="connsiteY5" fmla="*/ 84851 h 89646"/>
                      <a:gd name="connsiteX6" fmla="*/ 20490 w 89646"/>
                      <a:gd name="connsiteY6" fmla="*/ 28821 h 89646"/>
                      <a:gd name="connsiteX7" fmla="*/ 40511 w 89646"/>
                      <a:gd name="connsiteY7" fmla="*/ 14926 h 89646"/>
                      <a:gd name="connsiteX8" fmla="*/ 46488 w 89646"/>
                      <a:gd name="connsiteY8" fmla="*/ 14926 h 89646"/>
                      <a:gd name="connsiteX9" fmla="*/ 63969 w 89646"/>
                      <a:gd name="connsiteY9" fmla="*/ 20305 h 89646"/>
                      <a:gd name="connsiteX10" fmla="*/ 77266 w 89646"/>
                      <a:gd name="connsiteY10" fmla="*/ 40476 h 89646"/>
                      <a:gd name="connsiteX11" fmla="*/ 52413 w 89646"/>
                      <a:gd name="connsiteY11" fmla="*/ 77236 h 89646"/>
                      <a:gd name="connsiteX12" fmla="*/ 15654 w 89646"/>
                      <a:gd name="connsiteY12" fmla="*/ 52383 h 89646"/>
                      <a:gd name="connsiteX13" fmla="*/ 20490 w 89646"/>
                      <a:gd name="connsiteY13" fmla="*/ 28821 h 89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9646" h="89646">
                        <a:moveTo>
                          <a:pt x="20490" y="84851"/>
                        </a:moveTo>
                        <a:cubicBezTo>
                          <a:pt x="41688" y="99315"/>
                          <a:pt x="70599" y="93855"/>
                          <a:pt x="85062" y="72656"/>
                        </a:cubicBezTo>
                        <a:cubicBezTo>
                          <a:pt x="99527" y="51458"/>
                          <a:pt x="94067" y="22547"/>
                          <a:pt x="72869" y="8084"/>
                        </a:cubicBezTo>
                        <a:cubicBezTo>
                          <a:pt x="62576" y="1061"/>
                          <a:pt x="49896" y="-1534"/>
                          <a:pt x="37672" y="882"/>
                        </a:cubicBezTo>
                        <a:cubicBezTo>
                          <a:pt x="25470" y="3084"/>
                          <a:pt x="14684" y="10148"/>
                          <a:pt x="7790" y="20454"/>
                        </a:cubicBezTo>
                        <a:cubicBezTo>
                          <a:pt x="-6367" y="41768"/>
                          <a:pt x="-698" y="70508"/>
                          <a:pt x="20490" y="84851"/>
                        </a:cubicBezTo>
                        <a:close/>
                        <a:moveTo>
                          <a:pt x="20490" y="28821"/>
                        </a:moveTo>
                        <a:cubicBezTo>
                          <a:pt x="24968" y="21632"/>
                          <a:pt x="32210" y="16606"/>
                          <a:pt x="40511" y="14926"/>
                        </a:cubicBezTo>
                        <a:cubicBezTo>
                          <a:pt x="42497" y="14705"/>
                          <a:pt x="44502" y="14705"/>
                          <a:pt x="46488" y="14926"/>
                        </a:cubicBezTo>
                        <a:cubicBezTo>
                          <a:pt x="52733" y="14848"/>
                          <a:pt x="58847" y="16729"/>
                          <a:pt x="63969" y="20305"/>
                        </a:cubicBezTo>
                        <a:cubicBezTo>
                          <a:pt x="70940" y="24960"/>
                          <a:pt x="75735" y="32234"/>
                          <a:pt x="77266" y="40476"/>
                        </a:cubicBezTo>
                        <a:cubicBezTo>
                          <a:pt x="80555" y="57489"/>
                          <a:pt x="69428" y="73947"/>
                          <a:pt x="52413" y="77236"/>
                        </a:cubicBezTo>
                        <a:cubicBezTo>
                          <a:pt x="35400" y="80524"/>
                          <a:pt x="18942" y="69397"/>
                          <a:pt x="15654" y="52383"/>
                        </a:cubicBezTo>
                        <a:cubicBezTo>
                          <a:pt x="14071" y="44199"/>
                          <a:pt x="15812" y="35721"/>
                          <a:pt x="20490" y="28821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: Shape 217">
                    <a:extLst>
                      <a:ext uri="{FF2B5EF4-FFF2-40B4-BE49-F238E27FC236}">
                        <a16:creationId xmlns:a16="http://schemas.microsoft.com/office/drawing/2014/main" id="{FC2D6B1F-1F77-952F-AB35-2574D1EDB011}"/>
                      </a:ext>
                    </a:extLst>
                  </p:cNvPr>
                  <p:cNvSpPr/>
                  <p:nvPr/>
                </p:nvSpPr>
                <p:spPr>
                  <a:xfrm>
                    <a:off x="5878899" y="3177115"/>
                    <a:ext cx="463175" cy="418352"/>
                  </a:xfrm>
                  <a:custGeom>
                    <a:avLst/>
                    <a:gdLst>
                      <a:gd name="connsiteX0" fmla="*/ 469905 w 463174"/>
                      <a:gd name="connsiteY0" fmla="*/ 171649 h 418351"/>
                      <a:gd name="connsiteX1" fmla="*/ 442115 w 463174"/>
                      <a:gd name="connsiteY1" fmla="*/ 129515 h 418351"/>
                      <a:gd name="connsiteX2" fmla="*/ 350675 w 463174"/>
                      <a:gd name="connsiteY2" fmla="*/ 147146 h 418351"/>
                      <a:gd name="connsiteX3" fmla="*/ 339917 w 463174"/>
                      <a:gd name="connsiteY3" fmla="*/ 178074 h 418351"/>
                      <a:gd name="connsiteX4" fmla="*/ 288072 w 463174"/>
                      <a:gd name="connsiteY4" fmla="*/ 184648 h 418351"/>
                      <a:gd name="connsiteX5" fmla="*/ 254753 w 463174"/>
                      <a:gd name="connsiteY5" fmla="*/ 132504 h 418351"/>
                      <a:gd name="connsiteX6" fmla="*/ 254753 w 463174"/>
                      <a:gd name="connsiteY6" fmla="*/ 132504 h 418351"/>
                      <a:gd name="connsiteX7" fmla="*/ 152855 w 463174"/>
                      <a:gd name="connsiteY7" fmla="*/ 144606 h 418351"/>
                      <a:gd name="connsiteX8" fmla="*/ 117145 w 463174"/>
                      <a:gd name="connsiteY8" fmla="*/ 111736 h 418351"/>
                      <a:gd name="connsiteX9" fmla="*/ 122375 w 463174"/>
                      <a:gd name="connsiteY9" fmla="*/ 105012 h 418351"/>
                      <a:gd name="connsiteX10" fmla="*/ 105212 w 463174"/>
                      <a:gd name="connsiteY10" fmla="*/ 12993 h 418351"/>
                      <a:gd name="connsiteX11" fmla="*/ 104744 w 463174"/>
                      <a:gd name="connsiteY11" fmla="*/ 12676 h 418351"/>
                      <a:gd name="connsiteX12" fmla="*/ 104744 w 463174"/>
                      <a:gd name="connsiteY12" fmla="*/ 12676 h 418351"/>
                      <a:gd name="connsiteX13" fmla="*/ 12676 w 463174"/>
                      <a:gd name="connsiteY13" fmla="*/ 27046 h 418351"/>
                      <a:gd name="connsiteX14" fmla="*/ 27046 w 463174"/>
                      <a:gd name="connsiteY14" fmla="*/ 119114 h 418351"/>
                      <a:gd name="connsiteX15" fmla="*/ 30935 w 463174"/>
                      <a:gd name="connsiteY15" fmla="*/ 121746 h 418351"/>
                      <a:gd name="connsiteX16" fmla="*/ 67690 w 463174"/>
                      <a:gd name="connsiteY16" fmla="*/ 133101 h 418351"/>
                      <a:gd name="connsiteX17" fmla="*/ 105939 w 463174"/>
                      <a:gd name="connsiteY17" fmla="*/ 120999 h 418351"/>
                      <a:gd name="connsiteX18" fmla="*/ 143741 w 463174"/>
                      <a:gd name="connsiteY18" fmla="*/ 155812 h 418351"/>
                      <a:gd name="connsiteX19" fmla="*/ 166451 w 463174"/>
                      <a:gd name="connsiteY19" fmla="*/ 262342 h 418351"/>
                      <a:gd name="connsiteX20" fmla="*/ 174071 w 463174"/>
                      <a:gd name="connsiteY20" fmla="*/ 266675 h 418351"/>
                      <a:gd name="connsiteX21" fmla="*/ 151958 w 463174"/>
                      <a:gd name="connsiteY21" fmla="*/ 338841 h 418351"/>
                      <a:gd name="connsiteX22" fmla="*/ 105470 w 463174"/>
                      <a:gd name="connsiteY22" fmla="*/ 384988 h 418351"/>
                      <a:gd name="connsiteX23" fmla="*/ 126110 w 463174"/>
                      <a:gd name="connsiteY23" fmla="*/ 423706 h 418351"/>
                      <a:gd name="connsiteX24" fmla="*/ 152108 w 463174"/>
                      <a:gd name="connsiteY24" fmla="*/ 431775 h 418351"/>
                      <a:gd name="connsiteX25" fmla="*/ 160923 w 463174"/>
                      <a:gd name="connsiteY25" fmla="*/ 430878 h 418351"/>
                      <a:gd name="connsiteX26" fmla="*/ 197944 w 463174"/>
                      <a:gd name="connsiteY26" fmla="*/ 376840 h 418351"/>
                      <a:gd name="connsiteX27" fmla="*/ 178254 w 463174"/>
                      <a:gd name="connsiteY27" fmla="*/ 346909 h 418351"/>
                      <a:gd name="connsiteX28" fmla="*/ 178254 w 463174"/>
                      <a:gd name="connsiteY28" fmla="*/ 346909 h 418351"/>
                      <a:gd name="connsiteX29" fmla="*/ 166899 w 463174"/>
                      <a:gd name="connsiteY29" fmla="*/ 341530 h 418351"/>
                      <a:gd name="connsiteX30" fmla="*/ 187966 w 463174"/>
                      <a:gd name="connsiteY30" fmla="*/ 272651 h 418351"/>
                      <a:gd name="connsiteX31" fmla="*/ 210527 w 463174"/>
                      <a:gd name="connsiteY31" fmla="*/ 275939 h 418351"/>
                      <a:gd name="connsiteX32" fmla="*/ 289267 w 463174"/>
                      <a:gd name="connsiteY32" fmla="*/ 198842 h 418351"/>
                      <a:gd name="connsiteX33" fmla="*/ 340216 w 463174"/>
                      <a:gd name="connsiteY33" fmla="*/ 193314 h 418351"/>
                      <a:gd name="connsiteX34" fmla="*/ 414867 w 463174"/>
                      <a:gd name="connsiteY34" fmla="*/ 248732 h 418351"/>
                      <a:gd name="connsiteX35" fmla="*/ 470285 w 463174"/>
                      <a:gd name="connsiteY35" fmla="*/ 174082 h 418351"/>
                      <a:gd name="connsiteX36" fmla="*/ 469905 w 463174"/>
                      <a:gd name="connsiteY36" fmla="*/ 171799 h 418351"/>
                      <a:gd name="connsiteX37" fmla="*/ 178254 w 463174"/>
                      <a:gd name="connsiteY37" fmla="*/ 402789 h 418351"/>
                      <a:gd name="connsiteX38" fmla="*/ 158084 w 463174"/>
                      <a:gd name="connsiteY38" fmla="*/ 416086 h 418351"/>
                      <a:gd name="connsiteX39" fmla="*/ 134626 w 463174"/>
                      <a:gd name="connsiteY39" fmla="*/ 411156 h 418351"/>
                      <a:gd name="connsiteX40" fmla="*/ 126195 w 463174"/>
                      <a:gd name="connsiteY40" fmla="*/ 367590 h 418351"/>
                      <a:gd name="connsiteX41" fmla="*/ 152257 w 463174"/>
                      <a:gd name="connsiteY41" fmla="*/ 353782 h 418351"/>
                      <a:gd name="connsiteX42" fmla="*/ 169887 w 463174"/>
                      <a:gd name="connsiteY42" fmla="*/ 359161 h 418351"/>
                      <a:gd name="connsiteX43" fmla="*/ 178295 w 463174"/>
                      <a:gd name="connsiteY43" fmla="*/ 402730 h 418351"/>
                      <a:gd name="connsiteX44" fmla="*/ 178254 w 463174"/>
                      <a:gd name="connsiteY44" fmla="*/ 402789 h 418351"/>
                      <a:gd name="connsiteX45" fmla="*/ 39302 w 463174"/>
                      <a:gd name="connsiteY45" fmla="*/ 109943 h 418351"/>
                      <a:gd name="connsiteX46" fmla="*/ 17787 w 463174"/>
                      <a:gd name="connsiteY46" fmla="*/ 76923 h 418351"/>
                      <a:gd name="connsiteX47" fmla="*/ 58770 w 463174"/>
                      <a:gd name="connsiteY47" fmla="*/ 17660 h 418351"/>
                      <a:gd name="connsiteX48" fmla="*/ 118033 w 463174"/>
                      <a:gd name="connsiteY48" fmla="*/ 58643 h 418351"/>
                      <a:gd name="connsiteX49" fmla="*/ 77049 w 463174"/>
                      <a:gd name="connsiteY49" fmla="*/ 117906 h 418351"/>
                      <a:gd name="connsiteX50" fmla="*/ 39302 w 463174"/>
                      <a:gd name="connsiteY50" fmla="*/ 109943 h 418351"/>
                      <a:gd name="connsiteX51" fmla="*/ 263419 w 463174"/>
                      <a:gd name="connsiteY51" fmla="*/ 233356 h 418351"/>
                      <a:gd name="connsiteX52" fmla="*/ 174818 w 463174"/>
                      <a:gd name="connsiteY52" fmla="*/ 250389 h 418351"/>
                      <a:gd name="connsiteX53" fmla="*/ 157141 w 463174"/>
                      <a:gd name="connsiteY53" fmla="*/ 161482 h 418351"/>
                      <a:gd name="connsiteX54" fmla="*/ 157337 w 463174"/>
                      <a:gd name="connsiteY54" fmla="*/ 161191 h 418351"/>
                      <a:gd name="connsiteX55" fmla="*/ 210378 w 463174"/>
                      <a:gd name="connsiteY55" fmla="*/ 133251 h 418351"/>
                      <a:gd name="connsiteX56" fmla="*/ 246087 w 463174"/>
                      <a:gd name="connsiteY56" fmla="*/ 144158 h 418351"/>
                      <a:gd name="connsiteX57" fmla="*/ 246087 w 463174"/>
                      <a:gd name="connsiteY57" fmla="*/ 144158 h 418351"/>
                      <a:gd name="connsiteX58" fmla="*/ 263419 w 463174"/>
                      <a:gd name="connsiteY58" fmla="*/ 232908 h 418351"/>
                      <a:gd name="connsiteX59" fmla="*/ 447344 w 463174"/>
                      <a:gd name="connsiteY59" fmla="*/ 213036 h 418351"/>
                      <a:gd name="connsiteX60" fmla="*/ 376649 w 463174"/>
                      <a:gd name="connsiteY60" fmla="*/ 226954 h 418351"/>
                      <a:gd name="connsiteX61" fmla="*/ 362729 w 463174"/>
                      <a:gd name="connsiteY61" fmla="*/ 156259 h 418351"/>
                      <a:gd name="connsiteX62" fmla="*/ 405359 w 463174"/>
                      <a:gd name="connsiteY62" fmla="*/ 133699 h 418351"/>
                      <a:gd name="connsiteX63" fmla="*/ 433748 w 463174"/>
                      <a:gd name="connsiteY63" fmla="*/ 142365 h 418351"/>
                      <a:gd name="connsiteX64" fmla="*/ 455263 w 463174"/>
                      <a:gd name="connsiteY64" fmla="*/ 174937 h 418351"/>
                      <a:gd name="connsiteX65" fmla="*/ 447344 w 463174"/>
                      <a:gd name="connsiteY65" fmla="*/ 212588 h 418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</a:cxnLst>
                    <a:rect l="l" t="t" r="r" b="b"/>
                    <a:pathLst>
                      <a:path w="463174" h="418351">
                        <a:moveTo>
                          <a:pt x="469905" y="171649"/>
                        </a:moveTo>
                        <a:cubicBezTo>
                          <a:pt x="466696" y="154434"/>
                          <a:pt x="456676" y="139242"/>
                          <a:pt x="442115" y="129515"/>
                        </a:cubicBezTo>
                        <a:cubicBezTo>
                          <a:pt x="411972" y="109245"/>
                          <a:pt x="371119" y="117122"/>
                          <a:pt x="350675" y="147146"/>
                        </a:cubicBezTo>
                        <a:cubicBezTo>
                          <a:pt x="344584" y="156405"/>
                          <a:pt x="340887" y="167033"/>
                          <a:pt x="339917" y="178074"/>
                        </a:cubicBezTo>
                        <a:lnTo>
                          <a:pt x="288072" y="184648"/>
                        </a:lnTo>
                        <a:cubicBezTo>
                          <a:pt x="284598" y="163429"/>
                          <a:pt x="272548" y="144573"/>
                          <a:pt x="254753" y="132504"/>
                        </a:cubicBezTo>
                        <a:lnTo>
                          <a:pt x="254753" y="132504"/>
                        </a:lnTo>
                        <a:cubicBezTo>
                          <a:pt x="222477" y="110747"/>
                          <a:pt x="179138" y="115894"/>
                          <a:pt x="152855" y="144606"/>
                        </a:cubicBezTo>
                        <a:lnTo>
                          <a:pt x="117145" y="111736"/>
                        </a:lnTo>
                        <a:cubicBezTo>
                          <a:pt x="119007" y="109588"/>
                          <a:pt x="120752" y="107344"/>
                          <a:pt x="122375" y="105012"/>
                        </a:cubicBezTo>
                        <a:cubicBezTo>
                          <a:pt x="143046" y="74862"/>
                          <a:pt x="135362" y="33664"/>
                          <a:pt x="105212" y="12993"/>
                        </a:cubicBezTo>
                        <a:cubicBezTo>
                          <a:pt x="105056" y="12887"/>
                          <a:pt x="104900" y="12781"/>
                          <a:pt x="104744" y="12676"/>
                        </a:cubicBezTo>
                        <a:lnTo>
                          <a:pt x="104744" y="12676"/>
                        </a:lnTo>
                        <a:cubicBezTo>
                          <a:pt x="75352" y="-8780"/>
                          <a:pt x="34132" y="-2346"/>
                          <a:pt x="12676" y="27046"/>
                        </a:cubicBezTo>
                        <a:cubicBezTo>
                          <a:pt x="-8780" y="56438"/>
                          <a:pt x="-2346" y="97658"/>
                          <a:pt x="27046" y="119114"/>
                        </a:cubicBezTo>
                        <a:cubicBezTo>
                          <a:pt x="28310" y="120037"/>
                          <a:pt x="29608" y="120915"/>
                          <a:pt x="30935" y="121746"/>
                        </a:cubicBezTo>
                        <a:cubicBezTo>
                          <a:pt x="41748" y="129179"/>
                          <a:pt x="54569" y="133140"/>
                          <a:pt x="67690" y="133101"/>
                        </a:cubicBezTo>
                        <a:cubicBezTo>
                          <a:pt x="81379" y="133082"/>
                          <a:pt x="94731" y="128858"/>
                          <a:pt x="105939" y="120999"/>
                        </a:cubicBezTo>
                        <a:lnTo>
                          <a:pt x="143741" y="155812"/>
                        </a:lnTo>
                        <a:cubicBezTo>
                          <a:pt x="121238" y="191617"/>
                          <a:pt x="131302" y="238828"/>
                          <a:pt x="166451" y="262342"/>
                        </a:cubicBezTo>
                        <a:cubicBezTo>
                          <a:pt x="168906" y="263930"/>
                          <a:pt x="171450" y="265377"/>
                          <a:pt x="174071" y="266675"/>
                        </a:cubicBezTo>
                        <a:lnTo>
                          <a:pt x="151958" y="338841"/>
                        </a:lnTo>
                        <a:cubicBezTo>
                          <a:pt x="126377" y="338747"/>
                          <a:pt x="105565" y="359407"/>
                          <a:pt x="105470" y="384988"/>
                        </a:cubicBezTo>
                        <a:cubicBezTo>
                          <a:pt x="105413" y="400540"/>
                          <a:pt x="113165" y="415084"/>
                          <a:pt x="126110" y="423706"/>
                        </a:cubicBezTo>
                        <a:cubicBezTo>
                          <a:pt x="133755" y="428973"/>
                          <a:pt x="142823" y="431786"/>
                          <a:pt x="152108" y="431775"/>
                        </a:cubicBezTo>
                        <a:cubicBezTo>
                          <a:pt x="155069" y="431767"/>
                          <a:pt x="158021" y="431467"/>
                          <a:pt x="160923" y="430878"/>
                        </a:cubicBezTo>
                        <a:cubicBezTo>
                          <a:pt x="186069" y="426179"/>
                          <a:pt x="202643" y="401986"/>
                          <a:pt x="197944" y="376840"/>
                        </a:cubicBezTo>
                        <a:cubicBezTo>
                          <a:pt x="195661" y="364626"/>
                          <a:pt x="188567" y="353842"/>
                          <a:pt x="178254" y="346909"/>
                        </a:cubicBezTo>
                        <a:lnTo>
                          <a:pt x="178254" y="346909"/>
                        </a:lnTo>
                        <a:cubicBezTo>
                          <a:pt x="174715" y="344639"/>
                          <a:pt x="170897" y="342831"/>
                          <a:pt x="166899" y="341530"/>
                        </a:cubicBezTo>
                        <a:lnTo>
                          <a:pt x="187966" y="272651"/>
                        </a:lnTo>
                        <a:cubicBezTo>
                          <a:pt x="195281" y="274860"/>
                          <a:pt x="202885" y="275967"/>
                          <a:pt x="210527" y="275939"/>
                        </a:cubicBezTo>
                        <a:cubicBezTo>
                          <a:pt x="253446" y="276109"/>
                          <a:pt x="288532" y="241755"/>
                          <a:pt x="289267" y="198842"/>
                        </a:cubicBezTo>
                        <a:lnTo>
                          <a:pt x="340216" y="193314"/>
                        </a:lnTo>
                        <a:cubicBezTo>
                          <a:pt x="345526" y="229231"/>
                          <a:pt x="378948" y="254042"/>
                          <a:pt x="414867" y="248732"/>
                        </a:cubicBezTo>
                        <a:cubicBezTo>
                          <a:pt x="450783" y="243422"/>
                          <a:pt x="475595" y="209999"/>
                          <a:pt x="470285" y="174082"/>
                        </a:cubicBezTo>
                        <a:cubicBezTo>
                          <a:pt x="470171" y="173318"/>
                          <a:pt x="470044" y="172558"/>
                          <a:pt x="469905" y="171799"/>
                        </a:cubicBezTo>
                        <a:close/>
                        <a:moveTo>
                          <a:pt x="178254" y="402789"/>
                        </a:moveTo>
                        <a:cubicBezTo>
                          <a:pt x="173575" y="409736"/>
                          <a:pt x="166314" y="414523"/>
                          <a:pt x="158084" y="416086"/>
                        </a:cubicBezTo>
                        <a:cubicBezTo>
                          <a:pt x="149919" y="417788"/>
                          <a:pt x="141416" y="416001"/>
                          <a:pt x="134626" y="411156"/>
                        </a:cubicBezTo>
                        <a:cubicBezTo>
                          <a:pt x="120268" y="401454"/>
                          <a:pt x="116494" y="381949"/>
                          <a:pt x="126195" y="367590"/>
                        </a:cubicBezTo>
                        <a:cubicBezTo>
                          <a:pt x="132043" y="358938"/>
                          <a:pt x="141813" y="353761"/>
                          <a:pt x="152257" y="353782"/>
                        </a:cubicBezTo>
                        <a:cubicBezTo>
                          <a:pt x="158544" y="353741"/>
                          <a:pt x="164694" y="355618"/>
                          <a:pt x="169887" y="359161"/>
                        </a:cubicBezTo>
                        <a:cubicBezTo>
                          <a:pt x="184240" y="368871"/>
                          <a:pt x="188004" y="388377"/>
                          <a:pt x="178295" y="402730"/>
                        </a:cubicBezTo>
                        <a:cubicBezTo>
                          <a:pt x="178281" y="402750"/>
                          <a:pt x="178268" y="402769"/>
                          <a:pt x="178254" y="402789"/>
                        </a:cubicBezTo>
                        <a:close/>
                        <a:moveTo>
                          <a:pt x="39302" y="109943"/>
                        </a:moveTo>
                        <a:cubicBezTo>
                          <a:pt x="28040" y="102220"/>
                          <a:pt x="20302" y="90345"/>
                          <a:pt x="17787" y="76923"/>
                        </a:cubicBezTo>
                        <a:cubicBezTo>
                          <a:pt x="12739" y="49241"/>
                          <a:pt x="31088" y="22708"/>
                          <a:pt x="58770" y="17660"/>
                        </a:cubicBezTo>
                        <a:cubicBezTo>
                          <a:pt x="86452" y="12612"/>
                          <a:pt x="112984" y="30961"/>
                          <a:pt x="118033" y="58643"/>
                        </a:cubicBezTo>
                        <a:cubicBezTo>
                          <a:pt x="123080" y="86325"/>
                          <a:pt x="104731" y="112858"/>
                          <a:pt x="77049" y="117906"/>
                        </a:cubicBezTo>
                        <a:cubicBezTo>
                          <a:pt x="63910" y="120302"/>
                          <a:pt x="50354" y="117442"/>
                          <a:pt x="39302" y="109943"/>
                        </a:cubicBezTo>
                        <a:close/>
                        <a:moveTo>
                          <a:pt x="263419" y="233356"/>
                        </a:moveTo>
                        <a:cubicBezTo>
                          <a:pt x="243656" y="262526"/>
                          <a:pt x="203988" y="270152"/>
                          <a:pt x="174818" y="250389"/>
                        </a:cubicBezTo>
                        <a:cubicBezTo>
                          <a:pt x="145386" y="230719"/>
                          <a:pt x="137471" y="190915"/>
                          <a:pt x="157141" y="161482"/>
                        </a:cubicBezTo>
                        <a:cubicBezTo>
                          <a:pt x="157205" y="161385"/>
                          <a:pt x="157271" y="161288"/>
                          <a:pt x="157337" y="161191"/>
                        </a:cubicBezTo>
                        <a:cubicBezTo>
                          <a:pt x="169287" y="143653"/>
                          <a:pt x="189157" y="133187"/>
                          <a:pt x="210378" y="133251"/>
                        </a:cubicBezTo>
                        <a:cubicBezTo>
                          <a:pt x="223109" y="133198"/>
                          <a:pt x="235558" y="137001"/>
                          <a:pt x="246087" y="144158"/>
                        </a:cubicBezTo>
                        <a:lnTo>
                          <a:pt x="246087" y="144158"/>
                        </a:lnTo>
                        <a:cubicBezTo>
                          <a:pt x="275378" y="163882"/>
                          <a:pt x="283137" y="203613"/>
                          <a:pt x="263419" y="232908"/>
                        </a:cubicBezTo>
                        <a:close/>
                        <a:moveTo>
                          <a:pt x="447344" y="213036"/>
                        </a:moveTo>
                        <a:cubicBezTo>
                          <a:pt x="431665" y="236401"/>
                          <a:pt x="400014" y="242633"/>
                          <a:pt x="376649" y="226954"/>
                        </a:cubicBezTo>
                        <a:cubicBezTo>
                          <a:pt x="353282" y="211275"/>
                          <a:pt x="347052" y="179624"/>
                          <a:pt x="362729" y="156259"/>
                        </a:cubicBezTo>
                        <a:cubicBezTo>
                          <a:pt x="372256" y="142063"/>
                          <a:pt x="388265" y="133591"/>
                          <a:pt x="405359" y="133699"/>
                        </a:cubicBezTo>
                        <a:cubicBezTo>
                          <a:pt x="415482" y="133642"/>
                          <a:pt x="425384" y="136663"/>
                          <a:pt x="433748" y="142365"/>
                        </a:cubicBezTo>
                        <a:cubicBezTo>
                          <a:pt x="444947" y="149947"/>
                          <a:pt x="452684" y="161660"/>
                          <a:pt x="455263" y="174937"/>
                        </a:cubicBezTo>
                        <a:cubicBezTo>
                          <a:pt x="457679" y="188040"/>
                          <a:pt x="454834" y="201568"/>
                          <a:pt x="447344" y="212588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: Shape 218">
                    <a:extLst>
                      <a:ext uri="{FF2B5EF4-FFF2-40B4-BE49-F238E27FC236}">
                        <a16:creationId xmlns:a16="http://schemas.microsoft.com/office/drawing/2014/main" id="{009C125B-E20B-8C5B-19D3-4B3430E2DEAF}"/>
                      </a:ext>
                    </a:extLst>
                  </p:cNvPr>
                  <p:cNvSpPr/>
                  <p:nvPr/>
                </p:nvSpPr>
                <p:spPr>
                  <a:xfrm>
                    <a:off x="5841920" y="3373112"/>
                    <a:ext cx="119529" cy="119529"/>
                  </a:xfrm>
                  <a:custGeom>
                    <a:avLst/>
                    <a:gdLst>
                      <a:gd name="connsiteX0" fmla="*/ 102876 w 119528"/>
                      <a:gd name="connsiteY0" fmla="*/ 11362 h 119529"/>
                      <a:gd name="connsiteX1" fmla="*/ 11362 w 119528"/>
                      <a:gd name="connsiteY1" fmla="*/ 28917 h 119529"/>
                      <a:gd name="connsiteX2" fmla="*/ 28918 w 119528"/>
                      <a:gd name="connsiteY2" fmla="*/ 120432 h 119529"/>
                      <a:gd name="connsiteX3" fmla="*/ 65822 w 119528"/>
                      <a:gd name="connsiteY3" fmla="*/ 131787 h 119529"/>
                      <a:gd name="connsiteX4" fmla="*/ 78373 w 119528"/>
                      <a:gd name="connsiteY4" fmla="*/ 130592 h 119529"/>
                      <a:gd name="connsiteX5" fmla="*/ 120507 w 119528"/>
                      <a:gd name="connsiteY5" fmla="*/ 102801 h 119529"/>
                      <a:gd name="connsiteX6" fmla="*/ 102876 w 119528"/>
                      <a:gd name="connsiteY6" fmla="*/ 11362 h 119529"/>
                      <a:gd name="connsiteX7" fmla="*/ 108105 w 119528"/>
                      <a:gd name="connsiteY7" fmla="*/ 94434 h 119529"/>
                      <a:gd name="connsiteX8" fmla="*/ 37863 w 119528"/>
                      <a:gd name="connsiteY8" fmla="*/ 108470 h 119529"/>
                      <a:gd name="connsiteX9" fmla="*/ 37434 w 119528"/>
                      <a:gd name="connsiteY9" fmla="*/ 108180 h 119529"/>
                      <a:gd name="connsiteX10" fmla="*/ 23660 w 119528"/>
                      <a:gd name="connsiteY10" fmla="*/ 37671 h 119529"/>
                      <a:gd name="connsiteX11" fmla="*/ 56260 w 119528"/>
                      <a:gd name="connsiteY11" fmla="*/ 16143 h 119529"/>
                      <a:gd name="connsiteX12" fmla="*/ 65971 w 119528"/>
                      <a:gd name="connsiteY12" fmla="*/ 15097 h 119529"/>
                      <a:gd name="connsiteX13" fmla="*/ 94509 w 119528"/>
                      <a:gd name="connsiteY13" fmla="*/ 23912 h 119529"/>
                      <a:gd name="connsiteX14" fmla="*/ 94509 w 119528"/>
                      <a:gd name="connsiteY14" fmla="*/ 23912 h 119529"/>
                      <a:gd name="connsiteX15" fmla="*/ 108105 w 119528"/>
                      <a:gd name="connsiteY15" fmla="*/ 94434 h 1195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9528" h="119529">
                        <a:moveTo>
                          <a:pt x="102876" y="11362"/>
                        </a:moveTo>
                        <a:cubicBezTo>
                          <a:pt x="72757" y="-9061"/>
                          <a:pt x="31785" y="-1201"/>
                          <a:pt x="11362" y="28917"/>
                        </a:cubicBezTo>
                        <a:cubicBezTo>
                          <a:pt x="-9061" y="59037"/>
                          <a:pt x="-1201" y="100009"/>
                          <a:pt x="28918" y="120432"/>
                        </a:cubicBezTo>
                        <a:cubicBezTo>
                          <a:pt x="39809" y="127817"/>
                          <a:pt x="52663" y="131772"/>
                          <a:pt x="65822" y="131787"/>
                        </a:cubicBezTo>
                        <a:cubicBezTo>
                          <a:pt x="70033" y="131759"/>
                          <a:pt x="74233" y="131360"/>
                          <a:pt x="78373" y="130592"/>
                        </a:cubicBezTo>
                        <a:cubicBezTo>
                          <a:pt x="95588" y="127383"/>
                          <a:pt x="110779" y="117363"/>
                          <a:pt x="120507" y="102801"/>
                        </a:cubicBezTo>
                        <a:cubicBezTo>
                          <a:pt x="140777" y="72659"/>
                          <a:pt x="132900" y="31806"/>
                          <a:pt x="102876" y="11362"/>
                        </a:cubicBezTo>
                        <a:close/>
                        <a:moveTo>
                          <a:pt x="108105" y="94434"/>
                        </a:moveTo>
                        <a:cubicBezTo>
                          <a:pt x="92584" y="117707"/>
                          <a:pt x="61136" y="123991"/>
                          <a:pt x="37863" y="108470"/>
                        </a:cubicBezTo>
                        <a:cubicBezTo>
                          <a:pt x="37720" y="108374"/>
                          <a:pt x="37577" y="108277"/>
                          <a:pt x="37434" y="108180"/>
                        </a:cubicBezTo>
                        <a:cubicBezTo>
                          <a:pt x="14160" y="92513"/>
                          <a:pt x="7993" y="60945"/>
                          <a:pt x="23660" y="37671"/>
                        </a:cubicBezTo>
                        <a:cubicBezTo>
                          <a:pt x="31222" y="26436"/>
                          <a:pt x="42958" y="18687"/>
                          <a:pt x="56260" y="16143"/>
                        </a:cubicBezTo>
                        <a:cubicBezTo>
                          <a:pt x="59448" y="15435"/>
                          <a:pt x="62705" y="15083"/>
                          <a:pt x="65971" y="15097"/>
                        </a:cubicBezTo>
                        <a:cubicBezTo>
                          <a:pt x="76158" y="15072"/>
                          <a:pt x="86111" y="18146"/>
                          <a:pt x="94509" y="23912"/>
                        </a:cubicBezTo>
                        <a:lnTo>
                          <a:pt x="94509" y="23912"/>
                        </a:lnTo>
                        <a:cubicBezTo>
                          <a:pt x="117583" y="39733"/>
                          <a:pt x="123643" y="71168"/>
                          <a:pt x="108105" y="9443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3" name="Group 182">
                <a:extLst>
                  <a:ext uri="{FF2B5EF4-FFF2-40B4-BE49-F238E27FC236}">
                    <a16:creationId xmlns:a16="http://schemas.microsoft.com/office/drawing/2014/main" id="{7C8B851A-C12D-6592-819A-3290FE57FC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816080" y="1822783"/>
                <a:ext cx="624646" cy="624646"/>
                <a:chOff x="5735960" y="1733455"/>
                <a:chExt cx="720080" cy="720080"/>
              </a:xfrm>
            </p:grpSpPr>
            <p:sp>
              <p:nvSpPr>
                <p:cNvPr id="248" name="Oval 247">
                  <a:extLst>
                    <a:ext uri="{FF2B5EF4-FFF2-40B4-BE49-F238E27FC236}">
                      <a16:creationId xmlns:a16="http://schemas.microsoft.com/office/drawing/2014/main" id="{831BD2BA-FF3C-8107-D655-7CD07A997EC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73596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9" name="Graphic 2">
                  <a:extLst>
                    <a:ext uri="{FF2B5EF4-FFF2-40B4-BE49-F238E27FC236}">
                      <a16:creationId xmlns:a16="http://schemas.microsoft.com/office/drawing/2014/main" id="{F08E6957-5A51-8E90-3F75-26A5E308BB0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869272" y="1847701"/>
                  <a:ext cx="450095" cy="490027"/>
                  <a:chOff x="5884846" y="3143651"/>
                  <a:chExt cx="419174" cy="456364"/>
                </a:xfrm>
                <a:solidFill>
                  <a:schemeClr val="bg1"/>
                </a:solidFill>
              </p:grpSpPr>
              <p:sp>
                <p:nvSpPr>
                  <p:cNvPr id="250" name="Freeform: Shape 211">
                    <a:extLst>
                      <a:ext uri="{FF2B5EF4-FFF2-40B4-BE49-F238E27FC236}">
                        <a16:creationId xmlns:a16="http://schemas.microsoft.com/office/drawing/2014/main" id="{C62FD7B7-5805-C182-5D7C-5C18460FD62A}"/>
                      </a:ext>
                    </a:extLst>
                  </p:cNvPr>
                  <p:cNvSpPr/>
                  <p:nvPr/>
                </p:nvSpPr>
                <p:spPr>
                  <a:xfrm>
                    <a:off x="6154169" y="3409295"/>
                    <a:ext cx="149851" cy="190720"/>
                  </a:xfrm>
                  <a:custGeom>
                    <a:avLst/>
                    <a:gdLst>
                      <a:gd name="connsiteX0" fmla="*/ 76561 w 149851"/>
                      <a:gd name="connsiteY0" fmla="*/ 198663 h 190719"/>
                      <a:gd name="connsiteX1" fmla="*/ 15394 w 149851"/>
                      <a:gd name="connsiteY1" fmla="*/ 118969 h 190719"/>
                      <a:gd name="connsiteX2" fmla="*/ 0 w 149851"/>
                      <a:gd name="connsiteY2" fmla="*/ 73333 h 190719"/>
                      <a:gd name="connsiteX3" fmla="*/ 79721 w 149851"/>
                      <a:gd name="connsiteY3" fmla="*/ 69 h 190719"/>
                      <a:gd name="connsiteX4" fmla="*/ 152985 w 149851"/>
                      <a:gd name="connsiteY4" fmla="*/ 73333 h 190719"/>
                      <a:gd name="connsiteX5" fmla="*/ 137727 w 149851"/>
                      <a:gd name="connsiteY5" fmla="*/ 118969 h 190719"/>
                      <a:gd name="connsiteX6" fmla="*/ 76561 w 149851"/>
                      <a:gd name="connsiteY6" fmla="*/ 10940 h 190719"/>
                      <a:gd name="connsiteX7" fmla="*/ 13623 w 149851"/>
                      <a:gd name="connsiteY7" fmla="*/ 73332 h 190719"/>
                      <a:gd name="connsiteX8" fmla="*/ 13623 w 149851"/>
                      <a:gd name="connsiteY8" fmla="*/ 73333 h 190719"/>
                      <a:gd name="connsiteX9" fmla="*/ 26292 w 149851"/>
                      <a:gd name="connsiteY9" fmla="*/ 110796 h 190719"/>
                      <a:gd name="connsiteX10" fmla="*/ 76561 w 149851"/>
                      <a:gd name="connsiteY10" fmla="*/ 176321 h 190719"/>
                      <a:gd name="connsiteX11" fmla="*/ 126829 w 149851"/>
                      <a:gd name="connsiteY11" fmla="*/ 110796 h 190719"/>
                      <a:gd name="connsiteX12" fmla="*/ 139362 w 149851"/>
                      <a:gd name="connsiteY12" fmla="*/ 73333 h 190719"/>
                      <a:gd name="connsiteX13" fmla="*/ 76561 w 149851"/>
                      <a:gd name="connsiteY13" fmla="*/ 10940 h 190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9851" h="190719">
                        <a:moveTo>
                          <a:pt x="76561" y="198663"/>
                        </a:moveTo>
                        <a:lnTo>
                          <a:pt x="15394" y="118969"/>
                        </a:lnTo>
                        <a:cubicBezTo>
                          <a:pt x="5362" y="105875"/>
                          <a:pt x="-51" y="89827"/>
                          <a:pt x="0" y="73333"/>
                        </a:cubicBezTo>
                        <a:cubicBezTo>
                          <a:pt x="1784" y="31087"/>
                          <a:pt x="37475" y="-1714"/>
                          <a:pt x="79721" y="69"/>
                        </a:cubicBezTo>
                        <a:cubicBezTo>
                          <a:pt x="119469" y="1748"/>
                          <a:pt x="151307" y="33587"/>
                          <a:pt x="152985" y="73333"/>
                        </a:cubicBezTo>
                        <a:cubicBezTo>
                          <a:pt x="153024" y="89804"/>
                          <a:pt x="147665" y="105834"/>
                          <a:pt x="137727" y="118969"/>
                        </a:cubicBezTo>
                        <a:close/>
                        <a:moveTo>
                          <a:pt x="76561" y="10940"/>
                        </a:moveTo>
                        <a:cubicBezTo>
                          <a:pt x="41952" y="10789"/>
                          <a:pt x="13774" y="38723"/>
                          <a:pt x="13623" y="73332"/>
                        </a:cubicBezTo>
                        <a:cubicBezTo>
                          <a:pt x="13623" y="73332"/>
                          <a:pt x="13623" y="73333"/>
                          <a:pt x="13623" y="73333"/>
                        </a:cubicBezTo>
                        <a:cubicBezTo>
                          <a:pt x="13592" y="86877"/>
                          <a:pt x="18047" y="100050"/>
                          <a:pt x="26292" y="110796"/>
                        </a:cubicBezTo>
                        <a:lnTo>
                          <a:pt x="76561" y="176321"/>
                        </a:lnTo>
                        <a:lnTo>
                          <a:pt x="126829" y="110796"/>
                        </a:lnTo>
                        <a:cubicBezTo>
                          <a:pt x="134981" y="100009"/>
                          <a:pt x="139382" y="86854"/>
                          <a:pt x="139362" y="73333"/>
                        </a:cubicBezTo>
                        <a:cubicBezTo>
                          <a:pt x="139212" y="38777"/>
                          <a:pt x="111116" y="10865"/>
                          <a:pt x="76561" y="10940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: Shape 212">
                    <a:extLst>
                      <a:ext uri="{FF2B5EF4-FFF2-40B4-BE49-F238E27FC236}">
                        <a16:creationId xmlns:a16="http://schemas.microsoft.com/office/drawing/2014/main" id="{E2B5F2D0-E495-0994-7883-450995B9574E}"/>
                      </a:ext>
                    </a:extLst>
                  </p:cNvPr>
                  <p:cNvSpPr/>
                  <p:nvPr/>
                </p:nvSpPr>
                <p:spPr>
                  <a:xfrm>
                    <a:off x="5884846" y="3143651"/>
                    <a:ext cx="149851" cy="190720"/>
                  </a:xfrm>
                  <a:custGeom>
                    <a:avLst/>
                    <a:gdLst>
                      <a:gd name="connsiteX0" fmla="*/ 76424 w 149851"/>
                      <a:gd name="connsiteY0" fmla="*/ 198663 h 190719"/>
                      <a:gd name="connsiteX1" fmla="*/ 15258 w 149851"/>
                      <a:gd name="connsiteY1" fmla="*/ 118969 h 190719"/>
                      <a:gd name="connsiteX2" fmla="*/ 0 w 149851"/>
                      <a:gd name="connsiteY2" fmla="*/ 73333 h 190719"/>
                      <a:gd name="connsiteX3" fmla="*/ 79721 w 149851"/>
                      <a:gd name="connsiteY3" fmla="*/ 69 h 190719"/>
                      <a:gd name="connsiteX4" fmla="*/ 152985 w 149851"/>
                      <a:gd name="connsiteY4" fmla="*/ 73333 h 190719"/>
                      <a:gd name="connsiteX5" fmla="*/ 137727 w 149851"/>
                      <a:gd name="connsiteY5" fmla="*/ 118969 h 190719"/>
                      <a:gd name="connsiteX6" fmla="*/ 76424 w 149851"/>
                      <a:gd name="connsiteY6" fmla="*/ 10940 h 190719"/>
                      <a:gd name="connsiteX7" fmla="*/ 13623 w 149851"/>
                      <a:gd name="connsiteY7" fmla="*/ 73333 h 190719"/>
                      <a:gd name="connsiteX8" fmla="*/ 26156 w 149851"/>
                      <a:gd name="connsiteY8" fmla="*/ 110659 h 190719"/>
                      <a:gd name="connsiteX9" fmla="*/ 76424 w 149851"/>
                      <a:gd name="connsiteY9" fmla="*/ 176321 h 190719"/>
                      <a:gd name="connsiteX10" fmla="*/ 126829 w 149851"/>
                      <a:gd name="connsiteY10" fmla="*/ 110659 h 190719"/>
                      <a:gd name="connsiteX11" fmla="*/ 139362 w 149851"/>
                      <a:gd name="connsiteY11" fmla="*/ 73333 h 190719"/>
                      <a:gd name="connsiteX12" fmla="*/ 76426 w 149851"/>
                      <a:gd name="connsiteY12" fmla="*/ 10940 h 190719"/>
                      <a:gd name="connsiteX13" fmla="*/ 76424 w 149851"/>
                      <a:gd name="connsiteY13" fmla="*/ 10940 h 190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9851" h="190719">
                        <a:moveTo>
                          <a:pt x="76424" y="198663"/>
                        </a:moveTo>
                        <a:lnTo>
                          <a:pt x="15258" y="118969"/>
                        </a:lnTo>
                        <a:cubicBezTo>
                          <a:pt x="5320" y="105834"/>
                          <a:pt x="-40" y="89804"/>
                          <a:pt x="0" y="73333"/>
                        </a:cubicBezTo>
                        <a:cubicBezTo>
                          <a:pt x="1783" y="31087"/>
                          <a:pt x="37476" y="-1714"/>
                          <a:pt x="79721" y="69"/>
                        </a:cubicBezTo>
                        <a:cubicBezTo>
                          <a:pt x="119468" y="1747"/>
                          <a:pt x="151306" y="33586"/>
                          <a:pt x="152985" y="73333"/>
                        </a:cubicBezTo>
                        <a:cubicBezTo>
                          <a:pt x="153024" y="89804"/>
                          <a:pt x="147665" y="105834"/>
                          <a:pt x="137727" y="118969"/>
                        </a:cubicBezTo>
                        <a:close/>
                        <a:moveTo>
                          <a:pt x="76424" y="10940"/>
                        </a:moveTo>
                        <a:cubicBezTo>
                          <a:pt x="41868" y="10865"/>
                          <a:pt x="13773" y="38777"/>
                          <a:pt x="13623" y="73333"/>
                        </a:cubicBezTo>
                        <a:cubicBezTo>
                          <a:pt x="13583" y="86815"/>
                          <a:pt x="17988" y="99934"/>
                          <a:pt x="26156" y="110659"/>
                        </a:cubicBezTo>
                        <a:lnTo>
                          <a:pt x="76424" y="176321"/>
                        </a:lnTo>
                        <a:lnTo>
                          <a:pt x="126829" y="110659"/>
                        </a:lnTo>
                        <a:cubicBezTo>
                          <a:pt x="134997" y="99934"/>
                          <a:pt x="139403" y="86815"/>
                          <a:pt x="139362" y="73333"/>
                        </a:cubicBezTo>
                        <a:cubicBezTo>
                          <a:pt x="139212" y="38724"/>
                          <a:pt x="111034" y="10790"/>
                          <a:pt x="76426" y="10940"/>
                        </a:cubicBezTo>
                        <a:cubicBezTo>
                          <a:pt x="76425" y="10940"/>
                          <a:pt x="76425" y="10940"/>
                          <a:pt x="76424" y="10940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: Shape 213">
                    <a:extLst>
                      <a:ext uri="{FF2B5EF4-FFF2-40B4-BE49-F238E27FC236}">
                        <a16:creationId xmlns:a16="http://schemas.microsoft.com/office/drawing/2014/main" id="{B54A6F95-0166-1BA9-C8AF-7E5ED7491F75}"/>
                      </a:ext>
                    </a:extLst>
                  </p:cNvPr>
                  <p:cNvSpPr/>
                  <p:nvPr/>
                </p:nvSpPr>
                <p:spPr>
                  <a:xfrm>
                    <a:off x="5925630" y="3222705"/>
                    <a:ext cx="367817" cy="299702"/>
                  </a:xfrm>
                  <a:custGeom>
                    <a:avLst/>
                    <a:gdLst>
                      <a:gd name="connsiteX0" fmla="*/ 87543 w 367816"/>
                      <a:gd name="connsiteY0" fmla="*/ 299702 h 299702"/>
                      <a:gd name="connsiteX1" fmla="*/ 21472 w 367816"/>
                      <a:gd name="connsiteY1" fmla="*/ 277906 h 299702"/>
                      <a:gd name="connsiteX2" fmla="*/ 84 w 367816"/>
                      <a:gd name="connsiteY2" fmla="*/ 224504 h 299702"/>
                      <a:gd name="connsiteX3" fmla="*/ 82503 w 367816"/>
                      <a:gd name="connsiteY3" fmla="*/ 142767 h 299702"/>
                      <a:gd name="connsiteX4" fmla="*/ 298970 w 367816"/>
                      <a:gd name="connsiteY4" fmla="*/ 142767 h 299702"/>
                      <a:gd name="connsiteX5" fmla="*/ 351281 w 367816"/>
                      <a:gd name="connsiteY5" fmla="*/ 123014 h 299702"/>
                      <a:gd name="connsiteX6" fmla="*/ 367901 w 367816"/>
                      <a:gd name="connsiteY6" fmla="*/ 80238 h 299702"/>
                      <a:gd name="connsiteX7" fmla="*/ 296517 w 367816"/>
                      <a:gd name="connsiteY7" fmla="*/ 13623 h 299702"/>
                      <a:gd name="connsiteX8" fmla="*/ 129501 w 367816"/>
                      <a:gd name="connsiteY8" fmla="*/ 13623 h 299702"/>
                      <a:gd name="connsiteX9" fmla="*/ 122690 w 367816"/>
                      <a:gd name="connsiteY9" fmla="*/ 6811 h 299702"/>
                      <a:gd name="connsiteX10" fmla="*/ 129501 w 367816"/>
                      <a:gd name="connsiteY10" fmla="*/ 0 h 299702"/>
                      <a:gd name="connsiteX11" fmla="*/ 296517 w 367816"/>
                      <a:gd name="connsiteY11" fmla="*/ 0 h 299702"/>
                      <a:gd name="connsiteX12" fmla="*/ 381252 w 367816"/>
                      <a:gd name="connsiteY12" fmla="*/ 80238 h 299702"/>
                      <a:gd name="connsiteX13" fmla="*/ 360954 w 367816"/>
                      <a:gd name="connsiteY13" fmla="*/ 132823 h 299702"/>
                      <a:gd name="connsiteX14" fmla="*/ 298970 w 367816"/>
                      <a:gd name="connsiteY14" fmla="*/ 156662 h 299702"/>
                      <a:gd name="connsiteX15" fmla="*/ 82639 w 367816"/>
                      <a:gd name="connsiteY15" fmla="*/ 156662 h 299702"/>
                      <a:gd name="connsiteX16" fmla="*/ 13844 w 367816"/>
                      <a:gd name="connsiteY16" fmla="*/ 224777 h 299702"/>
                      <a:gd name="connsiteX17" fmla="*/ 30600 w 367816"/>
                      <a:gd name="connsiteY17" fmla="*/ 268097 h 299702"/>
                      <a:gd name="connsiteX18" fmla="*/ 93401 w 367816"/>
                      <a:gd name="connsiteY18" fmla="*/ 286079 h 299702"/>
                      <a:gd name="connsiteX19" fmla="*/ 209195 w 367816"/>
                      <a:gd name="connsiteY19" fmla="*/ 286079 h 299702"/>
                      <a:gd name="connsiteX20" fmla="*/ 216007 w 367816"/>
                      <a:gd name="connsiteY20" fmla="*/ 292891 h 299702"/>
                      <a:gd name="connsiteX21" fmla="*/ 209195 w 367816"/>
                      <a:gd name="connsiteY21" fmla="*/ 299702 h 299702"/>
                      <a:gd name="connsiteX22" fmla="*/ 93946 w 367816"/>
                      <a:gd name="connsiteY22" fmla="*/ 299702 h 299702"/>
                      <a:gd name="connsiteX23" fmla="*/ 87543 w 367816"/>
                      <a:gd name="connsiteY23" fmla="*/ 299702 h 2997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367816" h="299702">
                        <a:moveTo>
                          <a:pt x="87543" y="299702"/>
                        </a:moveTo>
                        <a:cubicBezTo>
                          <a:pt x="63631" y="300507"/>
                          <a:pt x="40212" y="292782"/>
                          <a:pt x="21472" y="277906"/>
                        </a:cubicBezTo>
                        <a:cubicBezTo>
                          <a:pt x="6901" y="264073"/>
                          <a:pt x="-909" y="244571"/>
                          <a:pt x="84" y="224504"/>
                        </a:cubicBezTo>
                        <a:cubicBezTo>
                          <a:pt x="965" y="179467"/>
                          <a:pt x="37460" y="143274"/>
                          <a:pt x="82503" y="142767"/>
                        </a:cubicBezTo>
                        <a:lnTo>
                          <a:pt x="298970" y="142767"/>
                        </a:lnTo>
                        <a:cubicBezTo>
                          <a:pt x="318340" y="143399"/>
                          <a:pt x="337164" y="136292"/>
                          <a:pt x="351281" y="123014"/>
                        </a:cubicBezTo>
                        <a:cubicBezTo>
                          <a:pt x="362449" y="111636"/>
                          <a:pt x="368457" y="96172"/>
                          <a:pt x="367901" y="80238"/>
                        </a:cubicBezTo>
                        <a:cubicBezTo>
                          <a:pt x="367901" y="36100"/>
                          <a:pt x="343516" y="13623"/>
                          <a:pt x="296517" y="13623"/>
                        </a:cubicBezTo>
                        <a:lnTo>
                          <a:pt x="129501" y="13623"/>
                        </a:lnTo>
                        <a:cubicBezTo>
                          <a:pt x="125740" y="13623"/>
                          <a:pt x="122690" y="10573"/>
                          <a:pt x="122690" y="6811"/>
                        </a:cubicBezTo>
                        <a:cubicBezTo>
                          <a:pt x="122690" y="3050"/>
                          <a:pt x="125740" y="0"/>
                          <a:pt x="129501" y="0"/>
                        </a:cubicBezTo>
                        <a:lnTo>
                          <a:pt x="296517" y="0"/>
                        </a:lnTo>
                        <a:cubicBezTo>
                          <a:pt x="351009" y="0"/>
                          <a:pt x="381115" y="28472"/>
                          <a:pt x="381252" y="80238"/>
                        </a:cubicBezTo>
                        <a:cubicBezTo>
                          <a:pt x="381920" y="99798"/>
                          <a:pt x="374591" y="118786"/>
                          <a:pt x="360954" y="132823"/>
                        </a:cubicBezTo>
                        <a:cubicBezTo>
                          <a:pt x="344304" y="148726"/>
                          <a:pt x="321985" y="157310"/>
                          <a:pt x="298970" y="156662"/>
                        </a:cubicBezTo>
                        <a:lnTo>
                          <a:pt x="82639" y="156662"/>
                        </a:lnTo>
                        <a:cubicBezTo>
                          <a:pt x="45264" y="157510"/>
                          <a:pt x="15063" y="187412"/>
                          <a:pt x="13844" y="224777"/>
                        </a:cubicBezTo>
                        <a:cubicBezTo>
                          <a:pt x="12893" y="240962"/>
                          <a:pt x="19006" y="256764"/>
                          <a:pt x="30600" y="268097"/>
                        </a:cubicBezTo>
                        <a:cubicBezTo>
                          <a:pt x="53758" y="289076"/>
                          <a:pt x="92992" y="286079"/>
                          <a:pt x="93401" y="286079"/>
                        </a:cubicBezTo>
                        <a:lnTo>
                          <a:pt x="209195" y="286079"/>
                        </a:lnTo>
                        <a:cubicBezTo>
                          <a:pt x="212956" y="286079"/>
                          <a:pt x="216007" y="289129"/>
                          <a:pt x="216007" y="292891"/>
                        </a:cubicBezTo>
                        <a:cubicBezTo>
                          <a:pt x="216007" y="296652"/>
                          <a:pt x="212956" y="299702"/>
                          <a:pt x="209195" y="299702"/>
                        </a:cubicBezTo>
                        <a:lnTo>
                          <a:pt x="93946" y="299702"/>
                        </a:lnTo>
                        <a:cubicBezTo>
                          <a:pt x="93946" y="299702"/>
                          <a:pt x="91358" y="299702"/>
                          <a:pt x="87543" y="299702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E83E84B8-F24B-1CC0-10E4-6A6839FB5A7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40869" y="296070"/>
                <a:ext cx="797133" cy="797133"/>
                <a:chOff x="4727848" y="1733455"/>
                <a:chExt cx="720080" cy="720080"/>
              </a:xfrm>
            </p:grpSpPr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A1FB95EA-3C23-094A-D48A-70716EE55F1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727848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3" name="Graphic 15">
                  <a:extLst>
                    <a:ext uri="{FF2B5EF4-FFF2-40B4-BE49-F238E27FC236}">
                      <a16:creationId xmlns:a16="http://schemas.microsoft.com/office/drawing/2014/main" id="{C15C0ACA-7700-5A9C-7D32-3CFC985EEF5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837843" y="1843468"/>
                  <a:ext cx="492944" cy="498266"/>
                  <a:chOff x="5864412" y="3152586"/>
                  <a:chExt cx="456583" cy="461513"/>
                </a:xfrm>
                <a:solidFill>
                  <a:schemeClr val="bg1"/>
                </a:solidFill>
              </p:grpSpPr>
              <p:sp>
                <p:nvSpPr>
                  <p:cNvPr id="244" name="Freeform: Shape 205">
                    <a:extLst>
                      <a:ext uri="{FF2B5EF4-FFF2-40B4-BE49-F238E27FC236}">
                        <a16:creationId xmlns:a16="http://schemas.microsoft.com/office/drawing/2014/main" id="{316F11F6-06D6-C664-63BE-3548E73B9DE8}"/>
                      </a:ext>
                    </a:extLst>
                  </p:cNvPr>
                  <p:cNvSpPr/>
                  <p:nvPr/>
                </p:nvSpPr>
                <p:spPr>
                  <a:xfrm>
                    <a:off x="5864412" y="3290748"/>
                    <a:ext cx="108983" cy="177097"/>
                  </a:xfrm>
                  <a:custGeom>
                    <a:avLst/>
                    <a:gdLst>
                      <a:gd name="connsiteX0" fmla="*/ 102171 w 108982"/>
                      <a:gd name="connsiteY0" fmla="*/ 183201 h 177097"/>
                      <a:gd name="connsiteX1" fmla="*/ 100128 w 108982"/>
                      <a:gd name="connsiteY1" fmla="*/ 183201 h 177097"/>
                      <a:gd name="connsiteX2" fmla="*/ 0 w 108982"/>
                      <a:gd name="connsiteY2" fmla="*/ 93426 h 177097"/>
                      <a:gd name="connsiteX3" fmla="*/ 113206 w 108982"/>
                      <a:gd name="connsiteY3" fmla="*/ 246 h 177097"/>
                      <a:gd name="connsiteX4" fmla="*/ 121856 w 108982"/>
                      <a:gd name="connsiteY4" fmla="*/ 5218 h 177097"/>
                      <a:gd name="connsiteX5" fmla="*/ 116884 w 108982"/>
                      <a:gd name="connsiteY5" fmla="*/ 13869 h 177097"/>
                      <a:gd name="connsiteX6" fmla="*/ 13623 w 108982"/>
                      <a:gd name="connsiteY6" fmla="*/ 93426 h 177097"/>
                      <a:gd name="connsiteX7" fmla="*/ 104215 w 108982"/>
                      <a:gd name="connsiteY7" fmla="*/ 169714 h 177097"/>
                      <a:gd name="connsiteX8" fmla="*/ 110005 w 108982"/>
                      <a:gd name="connsiteY8" fmla="*/ 177547 h 177097"/>
                      <a:gd name="connsiteX9" fmla="*/ 102171 w 108982"/>
                      <a:gd name="connsiteY9" fmla="*/ 183337 h 177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982" h="177097">
                        <a:moveTo>
                          <a:pt x="102171" y="183201"/>
                        </a:moveTo>
                        <a:lnTo>
                          <a:pt x="100128" y="183201"/>
                        </a:lnTo>
                        <a:cubicBezTo>
                          <a:pt x="36509" y="162630"/>
                          <a:pt x="0" y="130072"/>
                          <a:pt x="0" y="93426"/>
                        </a:cubicBezTo>
                        <a:cubicBezTo>
                          <a:pt x="0" y="54601"/>
                          <a:pt x="42367" y="19727"/>
                          <a:pt x="113206" y="246"/>
                        </a:cubicBezTo>
                        <a:cubicBezTo>
                          <a:pt x="116968" y="-770"/>
                          <a:pt x="120841" y="1457"/>
                          <a:pt x="121856" y="5218"/>
                        </a:cubicBezTo>
                        <a:cubicBezTo>
                          <a:pt x="122872" y="8979"/>
                          <a:pt x="120646" y="12852"/>
                          <a:pt x="116884" y="13869"/>
                        </a:cubicBezTo>
                        <a:cubicBezTo>
                          <a:pt x="53129" y="31033"/>
                          <a:pt x="13623" y="61685"/>
                          <a:pt x="13623" y="93426"/>
                        </a:cubicBezTo>
                        <a:cubicBezTo>
                          <a:pt x="13623" y="123260"/>
                          <a:pt x="47544" y="151732"/>
                          <a:pt x="104215" y="169714"/>
                        </a:cubicBezTo>
                        <a:cubicBezTo>
                          <a:pt x="107977" y="170278"/>
                          <a:pt x="110569" y="173786"/>
                          <a:pt x="110005" y="177547"/>
                        </a:cubicBezTo>
                        <a:cubicBezTo>
                          <a:pt x="109440" y="181309"/>
                          <a:pt x="105933" y="183901"/>
                          <a:pt x="102171" y="18333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: Shape 206">
                    <a:extLst>
                      <a:ext uri="{FF2B5EF4-FFF2-40B4-BE49-F238E27FC236}">
                        <a16:creationId xmlns:a16="http://schemas.microsoft.com/office/drawing/2014/main" id="{472E413B-2C72-D219-0D90-89222A3A89AD}"/>
                      </a:ext>
                    </a:extLst>
                  </p:cNvPr>
                  <p:cNvSpPr/>
                  <p:nvPr/>
                </p:nvSpPr>
                <p:spPr>
                  <a:xfrm>
                    <a:off x="6005243" y="3505116"/>
                    <a:ext cx="177097" cy="108983"/>
                  </a:xfrm>
                  <a:custGeom>
                    <a:avLst/>
                    <a:gdLst>
                      <a:gd name="connsiteX0" fmla="*/ 90757 w 177097"/>
                      <a:gd name="connsiteY0" fmla="*/ 111328 h 108982"/>
                      <a:gd name="connsiteX1" fmla="*/ 302 w 177097"/>
                      <a:gd name="connsiteY1" fmla="*/ 9156 h 108982"/>
                      <a:gd name="connsiteX2" fmla="*/ 5070 w 177097"/>
                      <a:gd name="connsiteY2" fmla="*/ 302 h 108982"/>
                      <a:gd name="connsiteX3" fmla="*/ 13924 w 177097"/>
                      <a:gd name="connsiteY3" fmla="*/ 5070 h 108982"/>
                      <a:gd name="connsiteX4" fmla="*/ 91302 w 177097"/>
                      <a:gd name="connsiteY4" fmla="*/ 97705 h 108982"/>
                      <a:gd name="connsiteX5" fmla="*/ 166909 w 177097"/>
                      <a:gd name="connsiteY5" fmla="*/ 11064 h 108982"/>
                      <a:gd name="connsiteX6" fmla="*/ 175994 w 177097"/>
                      <a:gd name="connsiteY6" fmla="*/ 7864 h 108982"/>
                      <a:gd name="connsiteX7" fmla="*/ 179715 w 177097"/>
                      <a:gd name="connsiteY7" fmla="*/ 15423 h 108982"/>
                      <a:gd name="connsiteX8" fmla="*/ 90757 w 177097"/>
                      <a:gd name="connsiteY8" fmla="*/ 111328 h 1089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097" h="108982">
                        <a:moveTo>
                          <a:pt x="90757" y="111328"/>
                        </a:moveTo>
                        <a:cubicBezTo>
                          <a:pt x="54112" y="111328"/>
                          <a:pt x="20327" y="73184"/>
                          <a:pt x="302" y="9156"/>
                        </a:cubicBezTo>
                        <a:cubicBezTo>
                          <a:pt x="-826" y="5395"/>
                          <a:pt x="1308" y="1429"/>
                          <a:pt x="5070" y="302"/>
                        </a:cubicBezTo>
                        <a:cubicBezTo>
                          <a:pt x="8831" y="-826"/>
                          <a:pt x="12796" y="1308"/>
                          <a:pt x="13924" y="5070"/>
                        </a:cubicBezTo>
                        <a:cubicBezTo>
                          <a:pt x="32043" y="63103"/>
                          <a:pt x="60923" y="97705"/>
                          <a:pt x="91302" y="97705"/>
                        </a:cubicBezTo>
                        <a:cubicBezTo>
                          <a:pt x="121681" y="97705"/>
                          <a:pt x="148654" y="65283"/>
                          <a:pt x="166909" y="11064"/>
                        </a:cubicBezTo>
                        <a:cubicBezTo>
                          <a:pt x="168534" y="7671"/>
                          <a:pt x="172602" y="6238"/>
                          <a:pt x="175994" y="7864"/>
                        </a:cubicBezTo>
                        <a:cubicBezTo>
                          <a:pt x="178832" y="9222"/>
                          <a:pt x="180368" y="12347"/>
                          <a:pt x="179715" y="15423"/>
                        </a:cubicBezTo>
                        <a:cubicBezTo>
                          <a:pt x="158872" y="76317"/>
                          <a:pt x="126313" y="111328"/>
                          <a:pt x="90757" y="111328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: Shape 207">
                    <a:extLst>
                      <a:ext uri="{FF2B5EF4-FFF2-40B4-BE49-F238E27FC236}">
                        <a16:creationId xmlns:a16="http://schemas.microsoft.com/office/drawing/2014/main" id="{FEECF63A-E2AA-718B-ADE6-9790B88743FD}"/>
                      </a:ext>
                    </a:extLst>
                  </p:cNvPr>
                  <p:cNvSpPr/>
                  <p:nvPr/>
                </p:nvSpPr>
                <p:spPr>
                  <a:xfrm>
                    <a:off x="5955995" y="3152586"/>
                    <a:ext cx="245211" cy="299703"/>
                  </a:xfrm>
                  <a:custGeom>
                    <a:avLst/>
                    <a:gdLst>
                      <a:gd name="connsiteX0" fmla="*/ 140005 w 245211"/>
                      <a:gd name="connsiteY0" fmla="*/ 0 h 299702"/>
                      <a:gd name="connsiteX1" fmla="*/ 31023 w 245211"/>
                      <a:gd name="connsiteY1" fmla="*/ 231589 h 299702"/>
                      <a:gd name="connsiteX2" fmla="*/ 33883 w 245211"/>
                      <a:gd name="connsiteY2" fmla="*/ 282129 h 299702"/>
                      <a:gd name="connsiteX3" fmla="*/ 11542 w 245211"/>
                      <a:gd name="connsiteY3" fmla="*/ 261014 h 299702"/>
                      <a:gd name="connsiteX4" fmla="*/ 1870 w 245211"/>
                      <a:gd name="connsiteY4" fmla="*/ 261286 h 299702"/>
                      <a:gd name="connsiteX5" fmla="*/ 2142 w 245211"/>
                      <a:gd name="connsiteY5" fmla="*/ 270959 h 299702"/>
                      <a:gd name="connsiteX6" fmla="*/ 37834 w 245211"/>
                      <a:gd name="connsiteY6" fmla="*/ 305016 h 299702"/>
                      <a:gd name="connsiteX7" fmla="*/ 37834 w 245211"/>
                      <a:gd name="connsiteY7" fmla="*/ 305016 h 299702"/>
                      <a:gd name="connsiteX8" fmla="*/ 37834 w 245211"/>
                      <a:gd name="connsiteY8" fmla="*/ 305016 h 299702"/>
                      <a:gd name="connsiteX9" fmla="*/ 38651 w 245211"/>
                      <a:gd name="connsiteY9" fmla="*/ 305016 h 299702"/>
                      <a:gd name="connsiteX10" fmla="*/ 39333 w 245211"/>
                      <a:gd name="connsiteY10" fmla="*/ 305016 h 299702"/>
                      <a:gd name="connsiteX11" fmla="*/ 39333 w 245211"/>
                      <a:gd name="connsiteY11" fmla="*/ 305016 h 299702"/>
                      <a:gd name="connsiteX12" fmla="*/ 40967 w 245211"/>
                      <a:gd name="connsiteY12" fmla="*/ 305016 h 299702"/>
                      <a:gd name="connsiteX13" fmla="*/ 42602 w 245211"/>
                      <a:gd name="connsiteY13" fmla="*/ 305016 h 299702"/>
                      <a:gd name="connsiteX14" fmla="*/ 43419 w 245211"/>
                      <a:gd name="connsiteY14" fmla="*/ 305016 h 299702"/>
                      <a:gd name="connsiteX15" fmla="*/ 44373 w 245211"/>
                      <a:gd name="connsiteY15" fmla="*/ 305016 h 299702"/>
                      <a:gd name="connsiteX16" fmla="*/ 44373 w 245211"/>
                      <a:gd name="connsiteY16" fmla="*/ 305016 h 299702"/>
                      <a:gd name="connsiteX17" fmla="*/ 45599 w 245211"/>
                      <a:gd name="connsiteY17" fmla="*/ 304198 h 299702"/>
                      <a:gd name="connsiteX18" fmla="*/ 45599 w 245211"/>
                      <a:gd name="connsiteY18" fmla="*/ 304198 h 299702"/>
                      <a:gd name="connsiteX19" fmla="*/ 45599 w 245211"/>
                      <a:gd name="connsiteY19" fmla="*/ 304198 h 299702"/>
                      <a:gd name="connsiteX20" fmla="*/ 45599 w 245211"/>
                      <a:gd name="connsiteY20" fmla="*/ 304198 h 299702"/>
                      <a:gd name="connsiteX21" fmla="*/ 75433 w 245211"/>
                      <a:gd name="connsiteY21" fmla="*/ 267962 h 299702"/>
                      <a:gd name="connsiteX22" fmla="*/ 74759 w 245211"/>
                      <a:gd name="connsiteY22" fmla="*/ 258545 h 299702"/>
                      <a:gd name="connsiteX23" fmla="*/ 74616 w 245211"/>
                      <a:gd name="connsiteY23" fmla="*/ 258426 h 299702"/>
                      <a:gd name="connsiteX24" fmla="*/ 64943 w 245211"/>
                      <a:gd name="connsiteY24" fmla="*/ 259243 h 299702"/>
                      <a:gd name="connsiteX25" fmla="*/ 45327 w 245211"/>
                      <a:gd name="connsiteY25" fmla="*/ 283083 h 299702"/>
                      <a:gd name="connsiteX26" fmla="*/ 44645 w 245211"/>
                      <a:gd name="connsiteY26" fmla="*/ 231589 h 299702"/>
                      <a:gd name="connsiteX27" fmla="*/ 140005 w 245211"/>
                      <a:gd name="connsiteY27" fmla="*/ 13623 h 299702"/>
                      <a:gd name="connsiteX28" fmla="*/ 235365 w 245211"/>
                      <a:gd name="connsiteY28" fmla="*/ 231589 h 299702"/>
                      <a:gd name="connsiteX29" fmla="*/ 232777 w 245211"/>
                      <a:gd name="connsiteY29" fmla="*/ 281448 h 299702"/>
                      <a:gd name="connsiteX30" fmla="*/ 238839 w 245211"/>
                      <a:gd name="connsiteY30" fmla="*/ 288934 h 299702"/>
                      <a:gd name="connsiteX31" fmla="*/ 238907 w 245211"/>
                      <a:gd name="connsiteY31" fmla="*/ 288941 h 299702"/>
                      <a:gd name="connsiteX32" fmla="*/ 246400 w 245211"/>
                      <a:gd name="connsiteY32" fmla="*/ 282810 h 299702"/>
                      <a:gd name="connsiteX33" fmla="*/ 248988 w 245211"/>
                      <a:gd name="connsiteY33" fmla="*/ 231589 h 299702"/>
                      <a:gd name="connsiteX34" fmla="*/ 140005 w 245211"/>
                      <a:gd name="connsiteY34" fmla="*/ 0 h 2997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</a:cxnLst>
                    <a:rect l="l" t="t" r="r" b="b"/>
                    <a:pathLst>
                      <a:path w="245211" h="299702">
                        <a:moveTo>
                          <a:pt x="140005" y="0"/>
                        </a:moveTo>
                        <a:cubicBezTo>
                          <a:pt x="78839" y="0"/>
                          <a:pt x="31023" y="101899"/>
                          <a:pt x="31023" y="231589"/>
                        </a:cubicBezTo>
                        <a:cubicBezTo>
                          <a:pt x="31077" y="248474"/>
                          <a:pt x="32032" y="265345"/>
                          <a:pt x="33883" y="282129"/>
                        </a:cubicBezTo>
                        <a:lnTo>
                          <a:pt x="11542" y="261014"/>
                        </a:lnTo>
                        <a:cubicBezTo>
                          <a:pt x="8796" y="258419"/>
                          <a:pt x="4465" y="258540"/>
                          <a:pt x="1870" y="261286"/>
                        </a:cubicBezTo>
                        <a:cubicBezTo>
                          <a:pt x="-726" y="264033"/>
                          <a:pt x="-604" y="268363"/>
                          <a:pt x="2142" y="270959"/>
                        </a:cubicBezTo>
                        <a:lnTo>
                          <a:pt x="37834" y="305016"/>
                        </a:lnTo>
                        <a:lnTo>
                          <a:pt x="37834" y="305016"/>
                        </a:lnTo>
                        <a:lnTo>
                          <a:pt x="37834" y="305016"/>
                        </a:lnTo>
                        <a:lnTo>
                          <a:pt x="38651" y="305016"/>
                        </a:lnTo>
                        <a:lnTo>
                          <a:pt x="39333" y="305016"/>
                        </a:lnTo>
                        <a:lnTo>
                          <a:pt x="39333" y="305016"/>
                        </a:lnTo>
                        <a:lnTo>
                          <a:pt x="40967" y="305016"/>
                        </a:lnTo>
                        <a:lnTo>
                          <a:pt x="42602" y="305016"/>
                        </a:lnTo>
                        <a:lnTo>
                          <a:pt x="43419" y="305016"/>
                        </a:lnTo>
                        <a:lnTo>
                          <a:pt x="44373" y="305016"/>
                        </a:lnTo>
                        <a:lnTo>
                          <a:pt x="44373" y="305016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75433" y="267962"/>
                        </a:lnTo>
                        <a:cubicBezTo>
                          <a:pt x="77847" y="265176"/>
                          <a:pt x="77545" y="260959"/>
                          <a:pt x="74759" y="258545"/>
                        </a:cubicBezTo>
                        <a:cubicBezTo>
                          <a:pt x="74711" y="258505"/>
                          <a:pt x="74663" y="258465"/>
                          <a:pt x="74616" y="258426"/>
                        </a:cubicBezTo>
                        <a:cubicBezTo>
                          <a:pt x="71705" y="256027"/>
                          <a:pt x="67411" y="256390"/>
                          <a:pt x="64943" y="259243"/>
                        </a:cubicBezTo>
                        <a:lnTo>
                          <a:pt x="45327" y="283083"/>
                        </a:lnTo>
                        <a:cubicBezTo>
                          <a:pt x="44194" y="265943"/>
                          <a:pt x="43967" y="248753"/>
                          <a:pt x="44645" y="231589"/>
                        </a:cubicBezTo>
                        <a:cubicBezTo>
                          <a:pt x="44645" y="113342"/>
                          <a:pt x="88239" y="13623"/>
                          <a:pt x="140005" y="13623"/>
                        </a:cubicBezTo>
                        <a:cubicBezTo>
                          <a:pt x="191772" y="13623"/>
                          <a:pt x="235365" y="113615"/>
                          <a:pt x="235365" y="231589"/>
                        </a:cubicBezTo>
                        <a:cubicBezTo>
                          <a:pt x="235335" y="248241"/>
                          <a:pt x="234472" y="264881"/>
                          <a:pt x="232777" y="281448"/>
                        </a:cubicBezTo>
                        <a:cubicBezTo>
                          <a:pt x="232383" y="285189"/>
                          <a:pt x="235098" y="288542"/>
                          <a:pt x="238839" y="288934"/>
                        </a:cubicBezTo>
                        <a:cubicBezTo>
                          <a:pt x="238862" y="288937"/>
                          <a:pt x="238884" y="288938"/>
                          <a:pt x="238907" y="288941"/>
                        </a:cubicBezTo>
                        <a:cubicBezTo>
                          <a:pt x="242629" y="289189"/>
                          <a:pt x="245905" y="286508"/>
                          <a:pt x="246400" y="282810"/>
                        </a:cubicBezTo>
                        <a:cubicBezTo>
                          <a:pt x="248035" y="266191"/>
                          <a:pt x="248988" y="248890"/>
                          <a:pt x="248988" y="231589"/>
                        </a:cubicBezTo>
                        <a:cubicBezTo>
                          <a:pt x="248988" y="101899"/>
                          <a:pt x="200763" y="0"/>
                          <a:pt x="140005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: Shape 208">
                    <a:extLst>
                      <a:ext uri="{FF2B5EF4-FFF2-40B4-BE49-F238E27FC236}">
                        <a16:creationId xmlns:a16="http://schemas.microsoft.com/office/drawing/2014/main" id="{51D05CB5-CB4E-443D-2004-4B57D596D124}"/>
                      </a:ext>
                    </a:extLst>
                  </p:cNvPr>
                  <p:cNvSpPr/>
                  <p:nvPr/>
                </p:nvSpPr>
                <p:spPr>
                  <a:xfrm>
                    <a:off x="6034915" y="3293570"/>
                    <a:ext cx="286080" cy="217966"/>
                  </a:xfrm>
                  <a:custGeom>
                    <a:avLst/>
                    <a:gdLst>
                      <a:gd name="connsiteX0" fmla="*/ 188732 w 286079"/>
                      <a:gd name="connsiteY0" fmla="*/ 285 h 217965"/>
                      <a:gd name="connsiteX1" fmla="*/ 180286 w 286079"/>
                      <a:gd name="connsiteY1" fmla="*/ 4781 h 217965"/>
                      <a:gd name="connsiteX2" fmla="*/ 184781 w 286079"/>
                      <a:gd name="connsiteY2" fmla="*/ 13363 h 217965"/>
                      <a:gd name="connsiteX3" fmla="*/ 279051 w 286079"/>
                      <a:gd name="connsiteY3" fmla="*/ 90605 h 217965"/>
                      <a:gd name="connsiteX4" fmla="*/ 61086 w 286079"/>
                      <a:gd name="connsiteY4" fmla="*/ 185965 h 217965"/>
                      <a:gd name="connsiteX5" fmla="*/ 22942 w 286079"/>
                      <a:gd name="connsiteY5" fmla="*/ 184194 h 217965"/>
                      <a:gd name="connsiteX6" fmla="*/ 47463 w 286079"/>
                      <a:gd name="connsiteY6" fmla="*/ 165122 h 217965"/>
                      <a:gd name="connsiteX7" fmla="*/ 49277 w 286079"/>
                      <a:gd name="connsiteY7" fmla="*/ 155662 h 217965"/>
                      <a:gd name="connsiteX8" fmla="*/ 39818 w 286079"/>
                      <a:gd name="connsiteY8" fmla="*/ 153846 h 217965"/>
                      <a:gd name="connsiteX9" fmla="*/ 39153 w 286079"/>
                      <a:gd name="connsiteY9" fmla="*/ 154360 h 217965"/>
                      <a:gd name="connsiteX10" fmla="*/ 736 w 286079"/>
                      <a:gd name="connsiteY10" fmla="*/ 184194 h 217965"/>
                      <a:gd name="connsiteX11" fmla="*/ 736 w 286079"/>
                      <a:gd name="connsiteY11" fmla="*/ 184194 h 217965"/>
                      <a:gd name="connsiteX12" fmla="*/ 736 w 286079"/>
                      <a:gd name="connsiteY12" fmla="*/ 184194 h 217965"/>
                      <a:gd name="connsiteX13" fmla="*/ 736 w 286079"/>
                      <a:gd name="connsiteY13" fmla="*/ 184194 h 217965"/>
                      <a:gd name="connsiteX14" fmla="*/ 736 w 286079"/>
                      <a:gd name="connsiteY14" fmla="*/ 184875 h 217965"/>
                      <a:gd name="connsiteX15" fmla="*/ 55 w 286079"/>
                      <a:gd name="connsiteY15" fmla="*/ 184875 h 217965"/>
                      <a:gd name="connsiteX16" fmla="*/ 55 w 286079"/>
                      <a:gd name="connsiteY16" fmla="*/ 185965 h 217965"/>
                      <a:gd name="connsiteX17" fmla="*/ 55 w 286079"/>
                      <a:gd name="connsiteY17" fmla="*/ 186782 h 217965"/>
                      <a:gd name="connsiteX18" fmla="*/ 55 w 286079"/>
                      <a:gd name="connsiteY18" fmla="*/ 186782 h 217965"/>
                      <a:gd name="connsiteX19" fmla="*/ 55 w 286079"/>
                      <a:gd name="connsiteY19" fmla="*/ 186782 h 217965"/>
                      <a:gd name="connsiteX20" fmla="*/ 55 w 286079"/>
                      <a:gd name="connsiteY20" fmla="*/ 188008 h 217965"/>
                      <a:gd name="connsiteX21" fmla="*/ 55 w 286079"/>
                      <a:gd name="connsiteY21" fmla="*/ 188962 h 217965"/>
                      <a:gd name="connsiteX22" fmla="*/ 55 w 286079"/>
                      <a:gd name="connsiteY22" fmla="*/ 188962 h 217965"/>
                      <a:gd name="connsiteX23" fmla="*/ 55 w 286079"/>
                      <a:gd name="connsiteY23" fmla="*/ 190052 h 217965"/>
                      <a:gd name="connsiteX24" fmla="*/ 55 w 286079"/>
                      <a:gd name="connsiteY24" fmla="*/ 190052 h 217965"/>
                      <a:gd name="connsiteX25" fmla="*/ 55 w 286079"/>
                      <a:gd name="connsiteY25" fmla="*/ 190733 h 217965"/>
                      <a:gd name="connsiteX26" fmla="*/ 55 w 286079"/>
                      <a:gd name="connsiteY26" fmla="*/ 190733 h 217965"/>
                      <a:gd name="connsiteX27" fmla="*/ 55 w 286079"/>
                      <a:gd name="connsiteY27" fmla="*/ 190733 h 217965"/>
                      <a:gd name="connsiteX28" fmla="*/ 55 w 286079"/>
                      <a:gd name="connsiteY28" fmla="*/ 190733 h 217965"/>
                      <a:gd name="connsiteX29" fmla="*/ 35747 w 286079"/>
                      <a:gd name="connsiteY29" fmla="*/ 224381 h 217965"/>
                      <a:gd name="connsiteX30" fmla="*/ 40379 w 286079"/>
                      <a:gd name="connsiteY30" fmla="*/ 226152 h 217965"/>
                      <a:gd name="connsiteX31" fmla="*/ 45283 w 286079"/>
                      <a:gd name="connsiteY31" fmla="*/ 224109 h 217965"/>
                      <a:gd name="connsiteX32" fmla="*/ 45323 w 286079"/>
                      <a:gd name="connsiteY32" fmla="*/ 214476 h 217965"/>
                      <a:gd name="connsiteX33" fmla="*/ 45283 w 286079"/>
                      <a:gd name="connsiteY33" fmla="*/ 214437 h 217965"/>
                      <a:gd name="connsiteX34" fmla="*/ 23895 w 286079"/>
                      <a:gd name="connsiteY34" fmla="*/ 194139 h 217965"/>
                      <a:gd name="connsiteX35" fmla="*/ 61086 w 286079"/>
                      <a:gd name="connsiteY35" fmla="*/ 195773 h 217965"/>
                      <a:gd name="connsiteX36" fmla="*/ 292674 w 286079"/>
                      <a:gd name="connsiteY36" fmla="*/ 87608 h 217965"/>
                      <a:gd name="connsiteX37" fmla="*/ 188732 w 286079"/>
                      <a:gd name="connsiteY37" fmla="*/ 285 h 2179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286079" h="217965">
                        <a:moveTo>
                          <a:pt x="188732" y="285"/>
                        </a:moveTo>
                        <a:cubicBezTo>
                          <a:pt x="185161" y="-779"/>
                          <a:pt x="181397" y="1224"/>
                          <a:pt x="180286" y="4781"/>
                        </a:cubicBezTo>
                        <a:cubicBezTo>
                          <a:pt x="179213" y="8387"/>
                          <a:pt x="181206" y="12192"/>
                          <a:pt x="184781" y="13363"/>
                        </a:cubicBezTo>
                        <a:cubicBezTo>
                          <a:pt x="243768" y="31345"/>
                          <a:pt x="279051" y="60226"/>
                          <a:pt x="279051" y="90605"/>
                        </a:cubicBezTo>
                        <a:cubicBezTo>
                          <a:pt x="279051" y="141963"/>
                          <a:pt x="179196" y="185965"/>
                          <a:pt x="61086" y="185965"/>
                        </a:cubicBezTo>
                        <a:cubicBezTo>
                          <a:pt x="48144" y="185965"/>
                          <a:pt x="35475" y="185284"/>
                          <a:pt x="22942" y="184194"/>
                        </a:cubicBezTo>
                        <a:lnTo>
                          <a:pt x="47463" y="165122"/>
                        </a:lnTo>
                        <a:cubicBezTo>
                          <a:pt x="50577" y="163010"/>
                          <a:pt x="51389" y="158775"/>
                          <a:pt x="49277" y="155662"/>
                        </a:cubicBezTo>
                        <a:cubicBezTo>
                          <a:pt x="47167" y="152548"/>
                          <a:pt x="42930" y="151736"/>
                          <a:pt x="39818" y="153846"/>
                        </a:cubicBezTo>
                        <a:cubicBezTo>
                          <a:pt x="39586" y="154004"/>
                          <a:pt x="39364" y="154175"/>
                          <a:pt x="39153" y="154360"/>
                        </a:cubicBezTo>
                        <a:lnTo>
                          <a:pt x="736" y="184194"/>
                        </a:lnTo>
                        <a:lnTo>
                          <a:pt x="736" y="184194"/>
                        </a:lnTo>
                        <a:lnTo>
                          <a:pt x="736" y="184194"/>
                        </a:lnTo>
                        <a:lnTo>
                          <a:pt x="736" y="184194"/>
                        </a:lnTo>
                        <a:cubicBezTo>
                          <a:pt x="736" y="184194"/>
                          <a:pt x="736" y="184194"/>
                          <a:pt x="736" y="184875"/>
                        </a:cubicBezTo>
                        <a:cubicBezTo>
                          <a:pt x="736" y="185556"/>
                          <a:pt x="736" y="184875"/>
                          <a:pt x="55" y="184875"/>
                        </a:cubicBezTo>
                        <a:lnTo>
                          <a:pt x="55" y="185965"/>
                        </a:lnTo>
                        <a:cubicBezTo>
                          <a:pt x="114" y="186235"/>
                          <a:pt x="114" y="186512"/>
                          <a:pt x="55" y="186782"/>
                        </a:cubicBezTo>
                        <a:lnTo>
                          <a:pt x="55" y="186782"/>
                        </a:lnTo>
                        <a:cubicBezTo>
                          <a:pt x="55" y="186782"/>
                          <a:pt x="55" y="186782"/>
                          <a:pt x="55" y="186782"/>
                        </a:cubicBezTo>
                        <a:lnTo>
                          <a:pt x="55" y="188008"/>
                        </a:lnTo>
                        <a:cubicBezTo>
                          <a:pt x="55" y="188008"/>
                          <a:pt x="55" y="188008"/>
                          <a:pt x="55" y="188962"/>
                        </a:cubicBezTo>
                        <a:lnTo>
                          <a:pt x="55" y="188962"/>
                        </a:lnTo>
                        <a:cubicBezTo>
                          <a:pt x="-18" y="189321"/>
                          <a:pt x="-18" y="189692"/>
                          <a:pt x="55" y="190052"/>
                        </a:cubicBezTo>
                        <a:lnTo>
                          <a:pt x="55" y="190052"/>
                        </a:lnTo>
                        <a:cubicBezTo>
                          <a:pt x="12" y="190276"/>
                          <a:pt x="12" y="190508"/>
                          <a:pt x="55" y="190733"/>
                        </a:cubicBezTo>
                        <a:lnTo>
                          <a:pt x="55" y="190733"/>
                        </a:lnTo>
                        <a:lnTo>
                          <a:pt x="55" y="190733"/>
                        </a:lnTo>
                        <a:lnTo>
                          <a:pt x="55" y="190733"/>
                        </a:lnTo>
                        <a:lnTo>
                          <a:pt x="35747" y="224381"/>
                        </a:lnTo>
                        <a:cubicBezTo>
                          <a:pt x="36999" y="225557"/>
                          <a:pt x="38662" y="226193"/>
                          <a:pt x="40379" y="226152"/>
                        </a:cubicBezTo>
                        <a:cubicBezTo>
                          <a:pt x="42226" y="226179"/>
                          <a:pt x="44001" y="225440"/>
                          <a:pt x="45283" y="224109"/>
                        </a:cubicBezTo>
                        <a:cubicBezTo>
                          <a:pt x="47954" y="221459"/>
                          <a:pt x="47972" y="217148"/>
                          <a:pt x="45323" y="214476"/>
                        </a:cubicBezTo>
                        <a:cubicBezTo>
                          <a:pt x="45309" y="214462"/>
                          <a:pt x="45297" y="214450"/>
                          <a:pt x="45283" y="214437"/>
                        </a:cubicBezTo>
                        <a:lnTo>
                          <a:pt x="23895" y="194139"/>
                        </a:lnTo>
                        <a:cubicBezTo>
                          <a:pt x="36156" y="195092"/>
                          <a:pt x="48553" y="195773"/>
                          <a:pt x="61086" y="195773"/>
                        </a:cubicBezTo>
                        <a:cubicBezTo>
                          <a:pt x="190911" y="195773"/>
                          <a:pt x="292674" y="148229"/>
                          <a:pt x="292674" y="87608"/>
                        </a:cubicBezTo>
                        <a:cubicBezTo>
                          <a:pt x="292674" y="53959"/>
                          <a:pt x="253849" y="20175"/>
                          <a:pt x="188732" y="285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5" name="Group 184">
                <a:extLst>
                  <a:ext uri="{FF2B5EF4-FFF2-40B4-BE49-F238E27FC236}">
                    <a16:creationId xmlns:a16="http://schemas.microsoft.com/office/drawing/2014/main" id="{19442F6F-7D9E-185D-3016-1479A44E77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71133" y="620632"/>
                <a:ext cx="1061486" cy="1061486"/>
                <a:chOff x="6672064" y="1733455"/>
                <a:chExt cx="720080" cy="720080"/>
              </a:xfrm>
            </p:grpSpPr>
            <p:sp>
              <p:nvSpPr>
                <p:cNvPr id="229" name="Oval 228">
                  <a:extLst>
                    <a:ext uri="{FF2B5EF4-FFF2-40B4-BE49-F238E27FC236}">
                      <a16:creationId xmlns:a16="http://schemas.microsoft.com/office/drawing/2014/main" id="{C5EDB74D-7327-5540-54B7-7F5385500D7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672064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0" name="Graphic 2">
                  <a:extLst>
                    <a:ext uri="{FF2B5EF4-FFF2-40B4-BE49-F238E27FC236}">
                      <a16:creationId xmlns:a16="http://schemas.microsoft.com/office/drawing/2014/main" id="{3B697DA6-EFAD-3A6F-574A-8F3CD1E9C1A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786818" y="1849198"/>
                  <a:ext cx="477295" cy="489527"/>
                  <a:chOff x="5864386" y="3153510"/>
                  <a:chExt cx="450670" cy="462223"/>
                </a:xfrm>
                <a:solidFill>
                  <a:schemeClr val="bg1"/>
                </a:solidFill>
              </p:grpSpPr>
              <p:sp>
                <p:nvSpPr>
                  <p:cNvPr id="231" name="Freeform: Shape 192">
                    <a:extLst>
                      <a:ext uri="{FF2B5EF4-FFF2-40B4-BE49-F238E27FC236}">
                        <a16:creationId xmlns:a16="http://schemas.microsoft.com/office/drawing/2014/main" id="{236F669D-DF71-87B7-5A11-90126B57291A}"/>
                      </a:ext>
                    </a:extLst>
                  </p:cNvPr>
                  <p:cNvSpPr/>
                  <p:nvPr/>
                </p:nvSpPr>
                <p:spPr>
                  <a:xfrm>
                    <a:off x="6151582" y="3438908"/>
                    <a:ext cx="163474" cy="163474"/>
                  </a:xfrm>
                  <a:custGeom>
                    <a:avLst/>
                    <a:gdLst>
                      <a:gd name="connsiteX0" fmla="*/ 175054 w 163474"/>
                      <a:gd name="connsiteY0" fmla="*/ 44032 h 163474"/>
                      <a:gd name="connsiteX1" fmla="*/ 174236 w 163474"/>
                      <a:gd name="connsiteY1" fmla="*/ 43214 h 163474"/>
                      <a:gd name="connsiteX2" fmla="*/ 172738 w 163474"/>
                      <a:gd name="connsiteY2" fmla="*/ 41580 h 163474"/>
                      <a:gd name="connsiteX3" fmla="*/ 172738 w 163474"/>
                      <a:gd name="connsiteY3" fmla="*/ 41580 h 163474"/>
                      <a:gd name="connsiteX4" fmla="*/ 172738 w 163474"/>
                      <a:gd name="connsiteY4" fmla="*/ 41580 h 163474"/>
                      <a:gd name="connsiteX5" fmla="*/ 91001 w 163474"/>
                      <a:gd name="connsiteY5" fmla="*/ 711 h 163474"/>
                      <a:gd name="connsiteX6" fmla="*/ 85007 w 163474"/>
                      <a:gd name="connsiteY6" fmla="*/ 711 h 163474"/>
                      <a:gd name="connsiteX7" fmla="*/ 51631 w 163474"/>
                      <a:gd name="connsiteY7" fmla="*/ 17331 h 163474"/>
                      <a:gd name="connsiteX8" fmla="*/ 48906 w 163474"/>
                      <a:gd name="connsiteY8" fmla="*/ 11337 h 163474"/>
                      <a:gd name="connsiteX9" fmla="*/ 40078 w 163474"/>
                      <a:gd name="connsiteY9" fmla="*/ 7991 h 163474"/>
                      <a:gd name="connsiteX10" fmla="*/ 39915 w 163474"/>
                      <a:gd name="connsiteY10" fmla="*/ 8067 h 163474"/>
                      <a:gd name="connsiteX11" fmla="*/ 36509 w 163474"/>
                      <a:gd name="connsiteY11" fmla="*/ 17059 h 163474"/>
                      <a:gd name="connsiteX12" fmla="*/ 39506 w 163474"/>
                      <a:gd name="connsiteY12" fmla="*/ 23461 h 163474"/>
                      <a:gd name="connsiteX13" fmla="*/ 3269 w 163474"/>
                      <a:gd name="connsiteY13" fmla="*/ 41580 h 163474"/>
                      <a:gd name="connsiteX14" fmla="*/ 3269 w 163474"/>
                      <a:gd name="connsiteY14" fmla="*/ 41580 h 163474"/>
                      <a:gd name="connsiteX15" fmla="*/ 3269 w 163474"/>
                      <a:gd name="connsiteY15" fmla="*/ 41580 h 163474"/>
                      <a:gd name="connsiteX16" fmla="*/ 1771 w 163474"/>
                      <a:gd name="connsiteY16" fmla="*/ 43214 h 163474"/>
                      <a:gd name="connsiteX17" fmla="*/ 954 w 163474"/>
                      <a:gd name="connsiteY17" fmla="*/ 44032 h 163474"/>
                      <a:gd name="connsiteX18" fmla="*/ 0 w 163474"/>
                      <a:gd name="connsiteY18" fmla="*/ 47437 h 163474"/>
                      <a:gd name="connsiteX19" fmla="*/ 0 w 163474"/>
                      <a:gd name="connsiteY19" fmla="*/ 129175 h 163474"/>
                      <a:gd name="connsiteX20" fmla="*/ 3814 w 163474"/>
                      <a:gd name="connsiteY20" fmla="*/ 135305 h 163474"/>
                      <a:gd name="connsiteX21" fmla="*/ 85552 w 163474"/>
                      <a:gd name="connsiteY21" fmla="*/ 176173 h 163474"/>
                      <a:gd name="connsiteX22" fmla="*/ 91546 w 163474"/>
                      <a:gd name="connsiteY22" fmla="*/ 176173 h 163474"/>
                      <a:gd name="connsiteX23" fmla="*/ 173283 w 163474"/>
                      <a:gd name="connsiteY23" fmla="*/ 135305 h 163474"/>
                      <a:gd name="connsiteX24" fmla="*/ 176007 w 163474"/>
                      <a:gd name="connsiteY24" fmla="*/ 129175 h 163474"/>
                      <a:gd name="connsiteX25" fmla="*/ 176007 w 163474"/>
                      <a:gd name="connsiteY25" fmla="*/ 47437 h 163474"/>
                      <a:gd name="connsiteX26" fmla="*/ 175054 w 163474"/>
                      <a:gd name="connsiteY26" fmla="*/ 44032 h 163474"/>
                      <a:gd name="connsiteX27" fmla="*/ 87459 w 163474"/>
                      <a:gd name="connsiteY27" fmla="*/ 14198 h 163474"/>
                      <a:gd name="connsiteX28" fmla="*/ 153938 w 163474"/>
                      <a:gd name="connsiteY28" fmla="*/ 47437 h 163474"/>
                      <a:gd name="connsiteX29" fmla="*/ 87459 w 163474"/>
                      <a:gd name="connsiteY29" fmla="*/ 80677 h 163474"/>
                      <a:gd name="connsiteX30" fmla="*/ 20979 w 163474"/>
                      <a:gd name="connsiteY30" fmla="*/ 47437 h 163474"/>
                      <a:gd name="connsiteX31" fmla="*/ 12533 w 163474"/>
                      <a:gd name="connsiteY31" fmla="*/ 58472 h 163474"/>
                      <a:gd name="connsiteX32" fmla="*/ 80647 w 163474"/>
                      <a:gd name="connsiteY32" fmla="*/ 92529 h 163474"/>
                      <a:gd name="connsiteX33" fmla="*/ 80647 w 163474"/>
                      <a:gd name="connsiteY33" fmla="*/ 159009 h 163474"/>
                      <a:gd name="connsiteX34" fmla="*/ 12533 w 163474"/>
                      <a:gd name="connsiteY34" fmla="*/ 124952 h 163474"/>
                      <a:gd name="connsiteX35" fmla="*/ 94270 w 163474"/>
                      <a:gd name="connsiteY35" fmla="*/ 159009 h 163474"/>
                      <a:gd name="connsiteX36" fmla="*/ 94270 w 163474"/>
                      <a:gd name="connsiteY36" fmla="*/ 92529 h 163474"/>
                      <a:gd name="connsiteX37" fmla="*/ 162384 w 163474"/>
                      <a:gd name="connsiteY37" fmla="*/ 58472 h 163474"/>
                      <a:gd name="connsiteX38" fmla="*/ 162384 w 163474"/>
                      <a:gd name="connsiteY38" fmla="*/ 124952 h 163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163474" h="163474">
                        <a:moveTo>
                          <a:pt x="175054" y="44032"/>
                        </a:moveTo>
                        <a:lnTo>
                          <a:pt x="174236" y="43214"/>
                        </a:lnTo>
                        <a:cubicBezTo>
                          <a:pt x="173851" y="42576"/>
                          <a:pt x="173341" y="42018"/>
                          <a:pt x="172738" y="41580"/>
                        </a:cubicBezTo>
                        <a:lnTo>
                          <a:pt x="172738" y="41580"/>
                        </a:lnTo>
                        <a:lnTo>
                          <a:pt x="172738" y="41580"/>
                        </a:lnTo>
                        <a:lnTo>
                          <a:pt x="91001" y="711"/>
                        </a:lnTo>
                        <a:cubicBezTo>
                          <a:pt x="89115" y="-237"/>
                          <a:pt x="86892" y="-237"/>
                          <a:pt x="85007" y="711"/>
                        </a:cubicBezTo>
                        <a:lnTo>
                          <a:pt x="51631" y="17331"/>
                        </a:lnTo>
                        <a:lnTo>
                          <a:pt x="48906" y="11337"/>
                        </a:lnTo>
                        <a:cubicBezTo>
                          <a:pt x="47393" y="7975"/>
                          <a:pt x="43441" y="6478"/>
                          <a:pt x="40078" y="7991"/>
                        </a:cubicBezTo>
                        <a:cubicBezTo>
                          <a:pt x="40024" y="8016"/>
                          <a:pt x="39969" y="8042"/>
                          <a:pt x="39915" y="8067"/>
                        </a:cubicBezTo>
                        <a:cubicBezTo>
                          <a:pt x="36497" y="9615"/>
                          <a:pt x="34974" y="13635"/>
                          <a:pt x="36509" y="17059"/>
                        </a:cubicBezTo>
                        <a:lnTo>
                          <a:pt x="39506" y="23461"/>
                        </a:lnTo>
                        <a:lnTo>
                          <a:pt x="3269" y="41580"/>
                        </a:lnTo>
                        <a:lnTo>
                          <a:pt x="3269" y="41580"/>
                        </a:lnTo>
                        <a:lnTo>
                          <a:pt x="3269" y="41580"/>
                        </a:lnTo>
                        <a:cubicBezTo>
                          <a:pt x="2666" y="42018"/>
                          <a:pt x="2157" y="42574"/>
                          <a:pt x="1771" y="43214"/>
                        </a:cubicBezTo>
                        <a:cubicBezTo>
                          <a:pt x="1466" y="43451"/>
                          <a:pt x="1191" y="43727"/>
                          <a:pt x="954" y="44032"/>
                        </a:cubicBezTo>
                        <a:cubicBezTo>
                          <a:pt x="353" y="45068"/>
                          <a:pt x="25" y="46240"/>
                          <a:pt x="0" y="47437"/>
                        </a:cubicBezTo>
                        <a:lnTo>
                          <a:pt x="0" y="129175"/>
                        </a:lnTo>
                        <a:cubicBezTo>
                          <a:pt x="26" y="131770"/>
                          <a:pt x="1497" y="134135"/>
                          <a:pt x="3814" y="135305"/>
                        </a:cubicBezTo>
                        <a:lnTo>
                          <a:pt x="85552" y="176173"/>
                        </a:lnTo>
                        <a:cubicBezTo>
                          <a:pt x="87446" y="177079"/>
                          <a:pt x="89651" y="177079"/>
                          <a:pt x="91546" y="176173"/>
                        </a:cubicBezTo>
                        <a:lnTo>
                          <a:pt x="173283" y="135305"/>
                        </a:lnTo>
                        <a:cubicBezTo>
                          <a:pt x="175183" y="133865"/>
                          <a:pt x="176212" y="131550"/>
                          <a:pt x="176007" y="129175"/>
                        </a:cubicBezTo>
                        <a:lnTo>
                          <a:pt x="176007" y="47437"/>
                        </a:lnTo>
                        <a:cubicBezTo>
                          <a:pt x="175983" y="46240"/>
                          <a:pt x="175654" y="45068"/>
                          <a:pt x="175054" y="44032"/>
                        </a:cubicBezTo>
                        <a:close/>
                        <a:moveTo>
                          <a:pt x="87459" y="14198"/>
                        </a:moveTo>
                        <a:lnTo>
                          <a:pt x="153938" y="47437"/>
                        </a:lnTo>
                        <a:lnTo>
                          <a:pt x="87459" y="80677"/>
                        </a:lnTo>
                        <a:lnTo>
                          <a:pt x="20979" y="47437"/>
                        </a:lnTo>
                        <a:close/>
                        <a:moveTo>
                          <a:pt x="12533" y="58472"/>
                        </a:moveTo>
                        <a:lnTo>
                          <a:pt x="80647" y="92529"/>
                        </a:lnTo>
                        <a:lnTo>
                          <a:pt x="80647" y="159009"/>
                        </a:lnTo>
                        <a:lnTo>
                          <a:pt x="12533" y="124952"/>
                        </a:lnTo>
                        <a:close/>
                        <a:moveTo>
                          <a:pt x="94270" y="159009"/>
                        </a:moveTo>
                        <a:lnTo>
                          <a:pt x="94270" y="92529"/>
                        </a:lnTo>
                        <a:lnTo>
                          <a:pt x="162384" y="58472"/>
                        </a:lnTo>
                        <a:lnTo>
                          <a:pt x="162384" y="124952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: Shape 193">
                    <a:extLst>
                      <a:ext uri="{FF2B5EF4-FFF2-40B4-BE49-F238E27FC236}">
                        <a16:creationId xmlns:a16="http://schemas.microsoft.com/office/drawing/2014/main" id="{E5BEB6C5-405B-069E-8F25-CC3F72DC0BEE}"/>
                      </a:ext>
                    </a:extLst>
                  </p:cNvPr>
                  <p:cNvSpPr/>
                  <p:nvPr/>
                </p:nvSpPr>
                <p:spPr>
                  <a:xfrm>
                    <a:off x="6018741" y="3374492"/>
                    <a:ext cx="13623" cy="13623"/>
                  </a:xfrm>
                  <a:custGeom>
                    <a:avLst/>
                    <a:gdLst>
                      <a:gd name="connsiteX0" fmla="*/ 6285 w 13622"/>
                      <a:gd name="connsiteY0" fmla="*/ 3825 h 13622"/>
                      <a:gd name="connsiteX1" fmla="*/ 563 w 13622"/>
                      <a:gd name="connsiteY1" fmla="*/ 16221 h 13622"/>
                      <a:gd name="connsiteX2" fmla="*/ 3969 w 13622"/>
                      <a:gd name="connsiteY2" fmla="*/ 25349 h 13622"/>
                      <a:gd name="connsiteX3" fmla="*/ 6830 w 13622"/>
                      <a:gd name="connsiteY3" fmla="*/ 25349 h 13622"/>
                      <a:gd name="connsiteX4" fmla="*/ 12960 w 13622"/>
                      <a:gd name="connsiteY4" fmla="*/ 21398 h 13622"/>
                      <a:gd name="connsiteX5" fmla="*/ 18682 w 13622"/>
                      <a:gd name="connsiteY5" fmla="*/ 9683 h 13622"/>
                      <a:gd name="connsiteX6" fmla="*/ 15276 w 13622"/>
                      <a:gd name="connsiteY6" fmla="*/ 691 h 13622"/>
                      <a:gd name="connsiteX7" fmla="*/ 6335 w 13622"/>
                      <a:gd name="connsiteY7" fmla="*/ 3721 h 13622"/>
                      <a:gd name="connsiteX8" fmla="*/ 6285 w 13622"/>
                      <a:gd name="connsiteY8" fmla="*/ 3825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622" h="13622">
                        <a:moveTo>
                          <a:pt x="6285" y="3825"/>
                        </a:moveTo>
                        <a:lnTo>
                          <a:pt x="563" y="16221"/>
                        </a:lnTo>
                        <a:cubicBezTo>
                          <a:pt x="-905" y="19686"/>
                          <a:pt x="591" y="23694"/>
                          <a:pt x="3969" y="25349"/>
                        </a:cubicBezTo>
                        <a:cubicBezTo>
                          <a:pt x="4912" y="25556"/>
                          <a:pt x="5887" y="25556"/>
                          <a:pt x="6830" y="25349"/>
                        </a:cubicBezTo>
                        <a:cubicBezTo>
                          <a:pt x="9466" y="25328"/>
                          <a:pt x="11853" y="23790"/>
                          <a:pt x="12960" y="21398"/>
                        </a:cubicBezTo>
                        <a:lnTo>
                          <a:pt x="18682" y="9683"/>
                        </a:lnTo>
                        <a:cubicBezTo>
                          <a:pt x="20217" y="6259"/>
                          <a:pt x="18694" y="2239"/>
                          <a:pt x="15276" y="691"/>
                        </a:cubicBezTo>
                        <a:cubicBezTo>
                          <a:pt x="11971" y="-941"/>
                          <a:pt x="7967" y="415"/>
                          <a:pt x="6335" y="3721"/>
                        </a:cubicBezTo>
                        <a:cubicBezTo>
                          <a:pt x="6318" y="3755"/>
                          <a:pt x="6301" y="3789"/>
                          <a:pt x="6285" y="3825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: Shape 194">
                    <a:extLst>
                      <a:ext uri="{FF2B5EF4-FFF2-40B4-BE49-F238E27FC236}">
                        <a16:creationId xmlns:a16="http://schemas.microsoft.com/office/drawing/2014/main" id="{106EA809-322D-1255-051F-4EC992D0F077}"/>
                      </a:ext>
                    </a:extLst>
                  </p:cNvPr>
                  <p:cNvSpPr/>
                  <p:nvPr/>
                </p:nvSpPr>
                <p:spPr>
                  <a:xfrm>
                    <a:off x="6035802" y="3337293"/>
                    <a:ext cx="13623" cy="13623"/>
                  </a:xfrm>
                  <a:custGeom>
                    <a:avLst/>
                    <a:gdLst>
                      <a:gd name="connsiteX0" fmla="*/ 3936 w 13622"/>
                      <a:gd name="connsiteY0" fmla="*/ 25357 h 13622"/>
                      <a:gd name="connsiteX1" fmla="*/ 6797 w 13622"/>
                      <a:gd name="connsiteY1" fmla="*/ 26038 h 13622"/>
                      <a:gd name="connsiteX2" fmla="*/ 12927 w 13622"/>
                      <a:gd name="connsiteY2" fmla="*/ 22087 h 13622"/>
                      <a:gd name="connsiteX3" fmla="*/ 18649 w 13622"/>
                      <a:gd name="connsiteY3" fmla="*/ 9691 h 13622"/>
                      <a:gd name="connsiteX4" fmla="*/ 15460 w 13622"/>
                      <a:gd name="connsiteY4" fmla="*/ 601 h 13622"/>
                      <a:gd name="connsiteX5" fmla="*/ 15380 w 13622"/>
                      <a:gd name="connsiteY5" fmla="*/ 563 h 13622"/>
                      <a:gd name="connsiteX6" fmla="*/ 6252 w 13622"/>
                      <a:gd name="connsiteY6" fmla="*/ 3969 h 13622"/>
                      <a:gd name="connsiteX7" fmla="*/ 667 w 13622"/>
                      <a:gd name="connsiteY7" fmla="*/ 16366 h 13622"/>
                      <a:gd name="connsiteX8" fmla="*/ 3773 w 13622"/>
                      <a:gd name="connsiteY8" fmla="*/ 25281 h 13622"/>
                      <a:gd name="connsiteX9" fmla="*/ 3936 w 13622"/>
                      <a:gd name="connsiteY9" fmla="*/ 2535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36" y="25357"/>
                        </a:moveTo>
                        <a:cubicBezTo>
                          <a:pt x="4834" y="25774"/>
                          <a:pt x="5807" y="26005"/>
                          <a:pt x="6797" y="26038"/>
                        </a:cubicBezTo>
                        <a:cubicBezTo>
                          <a:pt x="9443" y="26053"/>
                          <a:pt x="11847" y="24503"/>
                          <a:pt x="12927" y="22087"/>
                        </a:cubicBezTo>
                        <a:lnTo>
                          <a:pt x="18649" y="9691"/>
                        </a:lnTo>
                        <a:cubicBezTo>
                          <a:pt x="20278" y="6300"/>
                          <a:pt x="18851" y="2231"/>
                          <a:pt x="15460" y="601"/>
                        </a:cubicBezTo>
                        <a:cubicBezTo>
                          <a:pt x="15433" y="588"/>
                          <a:pt x="15407" y="576"/>
                          <a:pt x="15380" y="563"/>
                        </a:cubicBezTo>
                        <a:cubicBezTo>
                          <a:pt x="11915" y="-905"/>
                          <a:pt x="7907" y="591"/>
                          <a:pt x="6252" y="3969"/>
                        </a:cubicBezTo>
                        <a:lnTo>
                          <a:pt x="667" y="16366"/>
                        </a:lnTo>
                        <a:cubicBezTo>
                          <a:pt x="-938" y="19686"/>
                          <a:pt x="453" y="23676"/>
                          <a:pt x="3773" y="25281"/>
                        </a:cubicBezTo>
                        <a:cubicBezTo>
                          <a:pt x="3827" y="25306"/>
                          <a:pt x="3882" y="25332"/>
                          <a:pt x="3936" y="2535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: Shape 195">
                    <a:extLst>
                      <a:ext uri="{FF2B5EF4-FFF2-40B4-BE49-F238E27FC236}">
                        <a16:creationId xmlns:a16="http://schemas.microsoft.com/office/drawing/2014/main" id="{7BBE021F-A319-DA49-47C0-A37D06DF9399}"/>
                      </a:ext>
                    </a:extLst>
                  </p:cNvPr>
                  <p:cNvSpPr/>
                  <p:nvPr/>
                </p:nvSpPr>
                <p:spPr>
                  <a:xfrm>
                    <a:off x="6001608" y="3411538"/>
                    <a:ext cx="13623" cy="13623"/>
                  </a:xfrm>
                  <a:custGeom>
                    <a:avLst/>
                    <a:gdLst>
                      <a:gd name="connsiteX0" fmla="*/ 3936 w 13622"/>
                      <a:gd name="connsiteY0" fmla="*/ 25357 h 13622"/>
                      <a:gd name="connsiteX1" fmla="*/ 6797 w 13622"/>
                      <a:gd name="connsiteY1" fmla="*/ 26038 h 13622"/>
                      <a:gd name="connsiteX2" fmla="*/ 12927 w 13622"/>
                      <a:gd name="connsiteY2" fmla="*/ 22087 h 13622"/>
                      <a:gd name="connsiteX3" fmla="*/ 18649 w 13622"/>
                      <a:gd name="connsiteY3" fmla="*/ 9691 h 13622"/>
                      <a:gd name="connsiteX4" fmla="*/ 15460 w 13622"/>
                      <a:gd name="connsiteY4" fmla="*/ 601 h 13622"/>
                      <a:gd name="connsiteX5" fmla="*/ 15380 w 13622"/>
                      <a:gd name="connsiteY5" fmla="*/ 563 h 13622"/>
                      <a:gd name="connsiteX6" fmla="*/ 6252 w 13622"/>
                      <a:gd name="connsiteY6" fmla="*/ 3969 h 13622"/>
                      <a:gd name="connsiteX7" fmla="*/ 667 w 13622"/>
                      <a:gd name="connsiteY7" fmla="*/ 16366 h 13622"/>
                      <a:gd name="connsiteX8" fmla="*/ 3773 w 13622"/>
                      <a:gd name="connsiteY8" fmla="*/ 25281 h 13622"/>
                      <a:gd name="connsiteX9" fmla="*/ 3936 w 13622"/>
                      <a:gd name="connsiteY9" fmla="*/ 2535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36" y="25357"/>
                        </a:moveTo>
                        <a:cubicBezTo>
                          <a:pt x="4834" y="25774"/>
                          <a:pt x="5807" y="26005"/>
                          <a:pt x="6797" y="26038"/>
                        </a:cubicBezTo>
                        <a:cubicBezTo>
                          <a:pt x="9443" y="26053"/>
                          <a:pt x="11847" y="24503"/>
                          <a:pt x="12927" y="22087"/>
                        </a:cubicBezTo>
                        <a:lnTo>
                          <a:pt x="18649" y="9691"/>
                        </a:lnTo>
                        <a:cubicBezTo>
                          <a:pt x="20278" y="6300"/>
                          <a:pt x="18851" y="2231"/>
                          <a:pt x="15460" y="601"/>
                        </a:cubicBezTo>
                        <a:cubicBezTo>
                          <a:pt x="15433" y="588"/>
                          <a:pt x="15407" y="576"/>
                          <a:pt x="15380" y="563"/>
                        </a:cubicBezTo>
                        <a:cubicBezTo>
                          <a:pt x="11915" y="-905"/>
                          <a:pt x="7907" y="591"/>
                          <a:pt x="6252" y="3969"/>
                        </a:cubicBezTo>
                        <a:lnTo>
                          <a:pt x="667" y="16366"/>
                        </a:lnTo>
                        <a:cubicBezTo>
                          <a:pt x="-938" y="19686"/>
                          <a:pt x="453" y="23676"/>
                          <a:pt x="3773" y="25281"/>
                        </a:cubicBezTo>
                        <a:cubicBezTo>
                          <a:pt x="3827" y="25307"/>
                          <a:pt x="3882" y="25332"/>
                          <a:pt x="3936" y="2535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: Shape 196">
                    <a:extLst>
                      <a:ext uri="{FF2B5EF4-FFF2-40B4-BE49-F238E27FC236}">
                        <a16:creationId xmlns:a16="http://schemas.microsoft.com/office/drawing/2014/main" id="{BCA81184-2CF9-B466-704B-74105F5A357C}"/>
                      </a:ext>
                    </a:extLst>
                  </p:cNvPr>
                  <p:cNvSpPr/>
                  <p:nvPr/>
                </p:nvSpPr>
                <p:spPr>
                  <a:xfrm>
                    <a:off x="6169844" y="3408859"/>
                    <a:ext cx="13623" cy="13623"/>
                  </a:xfrm>
                  <a:custGeom>
                    <a:avLst/>
                    <a:gdLst>
                      <a:gd name="connsiteX0" fmla="*/ 3943 w 13622"/>
                      <a:gd name="connsiteY0" fmla="*/ 654 h 13622"/>
                      <a:gd name="connsiteX1" fmla="*/ 635 w 13622"/>
                      <a:gd name="connsiteY1" fmla="*/ 9701 h 13622"/>
                      <a:gd name="connsiteX2" fmla="*/ 673 w 13622"/>
                      <a:gd name="connsiteY2" fmla="*/ 9782 h 13622"/>
                      <a:gd name="connsiteX3" fmla="*/ 6395 w 13622"/>
                      <a:gd name="connsiteY3" fmla="*/ 22178 h 13622"/>
                      <a:gd name="connsiteX4" fmla="*/ 12525 w 13622"/>
                      <a:gd name="connsiteY4" fmla="*/ 26129 h 13622"/>
                      <a:gd name="connsiteX5" fmla="*/ 15386 w 13622"/>
                      <a:gd name="connsiteY5" fmla="*/ 25448 h 13622"/>
                      <a:gd name="connsiteX6" fmla="*/ 18818 w 13622"/>
                      <a:gd name="connsiteY6" fmla="*/ 16241 h 13622"/>
                      <a:gd name="connsiteX7" fmla="*/ 18792 w 13622"/>
                      <a:gd name="connsiteY7" fmla="*/ 16184 h 13622"/>
                      <a:gd name="connsiteX8" fmla="*/ 13070 w 13622"/>
                      <a:gd name="connsiteY8" fmla="*/ 3787 h 13622"/>
                      <a:gd name="connsiteX9" fmla="*/ 3943 w 13622"/>
                      <a:gd name="connsiteY9" fmla="*/ 654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43" y="654"/>
                        </a:moveTo>
                        <a:cubicBezTo>
                          <a:pt x="532" y="2240"/>
                          <a:pt x="-949" y="6290"/>
                          <a:pt x="635" y="9701"/>
                        </a:cubicBezTo>
                        <a:cubicBezTo>
                          <a:pt x="648" y="9728"/>
                          <a:pt x="661" y="9754"/>
                          <a:pt x="673" y="9782"/>
                        </a:cubicBezTo>
                        <a:lnTo>
                          <a:pt x="6395" y="22178"/>
                        </a:lnTo>
                        <a:cubicBezTo>
                          <a:pt x="7475" y="24594"/>
                          <a:pt x="9880" y="26144"/>
                          <a:pt x="12525" y="26129"/>
                        </a:cubicBezTo>
                        <a:cubicBezTo>
                          <a:pt x="13516" y="26096"/>
                          <a:pt x="14488" y="25865"/>
                          <a:pt x="15386" y="25448"/>
                        </a:cubicBezTo>
                        <a:cubicBezTo>
                          <a:pt x="18876" y="23854"/>
                          <a:pt x="20413" y="19732"/>
                          <a:pt x="18818" y="16241"/>
                        </a:cubicBezTo>
                        <a:cubicBezTo>
                          <a:pt x="18810" y="16222"/>
                          <a:pt x="18800" y="16203"/>
                          <a:pt x="18792" y="16184"/>
                        </a:cubicBezTo>
                        <a:lnTo>
                          <a:pt x="13070" y="3787"/>
                        </a:lnTo>
                        <a:cubicBezTo>
                          <a:pt x="11367" y="455"/>
                          <a:pt x="7332" y="-929"/>
                          <a:pt x="3943" y="65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: Shape 197">
                    <a:extLst>
                      <a:ext uri="{FF2B5EF4-FFF2-40B4-BE49-F238E27FC236}">
                        <a16:creationId xmlns:a16="http://schemas.microsoft.com/office/drawing/2014/main" id="{EA141E4E-A7AE-DC17-A3B8-99062C01B87D}"/>
                      </a:ext>
                    </a:extLst>
                  </p:cNvPr>
                  <p:cNvSpPr/>
                  <p:nvPr/>
                </p:nvSpPr>
                <p:spPr>
                  <a:xfrm>
                    <a:off x="6152755" y="3371792"/>
                    <a:ext cx="13623" cy="13623"/>
                  </a:xfrm>
                  <a:custGeom>
                    <a:avLst/>
                    <a:gdLst>
                      <a:gd name="connsiteX0" fmla="*/ 18716 w 13622"/>
                      <a:gd name="connsiteY0" fmla="*/ 16333 h 13622"/>
                      <a:gd name="connsiteX1" fmla="*/ 12995 w 13622"/>
                      <a:gd name="connsiteY1" fmla="*/ 3936 h 13622"/>
                      <a:gd name="connsiteX2" fmla="*/ 4167 w 13622"/>
                      <a:gd name="connsiteY2" fmla="*/ 590 h 13622"/>
                      <a:gd name="connsiteX3" fmla="*/ 4004 w 13622"/>
                      <a:gd name="connsiteY3" fmla="*/ 667 h 13622"/>
                      <a:gd name="connsiteX4" fmla="*/ 598 w 13622"/>
                      <a:gd name="connsiteY4" fmla="*/ 9658 h 13622"/>
                      <a:gd name="connsiteX5" fmla="*/ 6319 w 13622"/>
                      <a:gd name="connsiteY5" fmla="*/ 22054 h 13622"/>
                      <a:gd name="connsiteX6" fmla="*/ 15447 w 13622"/>
                      <a:gd name="connsiteY6" fmla="*/ 25460 h 13622"/>
                      <a:gd name="connsiteX7" fmla="*/ 18754 w 13622"/>
                      <a:gd name="connsiteY7" fmla="*/ 16413 h 13622"/>
                      <a:gd name="connsiteX8" fmla="*/ 18716 w 13622"/>
                      <a:gd name="connsiteY8" fmla="*/ 16333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622" h="13622">
                        <a:moveTo>
                          <a:pt x="18716" y="16333"/>
                        </a:moveTo>
                        <a:lnTo>
                          <a:pt x="12995" y="3936"/>
                        </a:lnTo>
                        <a:cubicBezTo>
                          <a:pt x="11481" y="574"/>
                          <a:pt x="7529" y="-923"/>
                          <a:pt x="4167" y="590"/>
                        </a:cubicBezTo>
                        <a:cubicBezTo>
                          <a:pt x="4113" y="615"/>
                          <a:pt x="4058" y="641"/>
                          <a:pt x="4004" y="667"/>
                        </a:cubicBezTo>
                        <a:cubicBezTo>
                          <a:pt x="586" y="2214"/>
                          <a:pt x="-937" y="6234"/>
                          <a:pt x="598" y="9658"/>
                        </a:cubicBezTo>
                        <a:lnTo>
                          <a:pt x="6319" y="22054"/>
                        </a:lnTo>
                        <a:cubicBezTo>
                          <a:pt x="7975" y="25433"/>
                          <a:pt x="11983" y="26929"/>
                          <a:pt x="15447" y="25460"/>
                        </a:cubicBezTo>
                        <a:cubicBezTo>
                          <a:pt x="18858" y="23874"/>
                          <a:pt x="20339" y="19824"/>
                          <a:pt x="18754" y="16413"/>
                        </a:cubicBezTo>
                        <a:cubicBezTo>
                          <a:pt x="18742" y="16386"/>
                          <a:pt x="18729" y="16360"/>
                          <a:pt x="18716" y="16333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: Shape 198">
                    <a:extLst>
                      <a:ext uri="{FF2B5EF4-FFF2-40B4-BE49-F238E27FC236}">
                        <a16:creationId xmlns:a16="http://schemas.microsoft.com/office/drawing/2014/main" id="{FEA856F7-4344-7596-A0F6-948C25772200}"/>
                      </a:ext>
                    </a:extLst>
                  </p:cNvPr>
                  <p:cNvSpPr/>
                  <p:nvPr/>
                </p:nvSpPr>
                <p:spPr>
                  <a:xfrm>
                    <a:off x="6135651" y="3334664"/>
                    <a:ext cx="13623" cy="13623"/>
                  </a:xfrm>
                  <a:custGeom>
                    <a:avLst/>
                    <a:gdLst>
                      <a:gd name="connsiteX0" fmla="*/ 18792 w 13622"/>
                      <a:gd name="connsiteY0" fmla="*/ 16407 h 13622"/>
                      <a:gd name="connsiteX1" fmla="*/ 13070 w 13622"/>
                      <a:gd name="connsiteY1" fmla="*/ 4010 h 13622"/>
                      <a:gd name="connsiteX2" fmla="*/ 3943 w 13622"/>
                      <a:gd name="connsiteY2" fmla="*/ 605 h 13622"/>
                      <a:gd name="connsiteX3" fmla="*/ 635 w 13622"/>
                      <a:gd name="connsiteY3" fmla="*/ 9652 h 13622"/>
                      <a:gd name="connsiteX4" fmla="*/ 673 w 13622"/>
                      <a:gd name="connsiteY4" fmla="*/ 9732 h 13622"/>
                      <a:gd name="connsiteX5" fmla="*/ 6395 w 13622"/>
                      <a:gd name="connsiteY5" fmla="*/ 22129 h 13622"/>
                      <a:gd name="connsiteX6" fmla="*/ 12525 w 13622"/>
                      <a:gd name="connsiteY6" fmla="*/ 26079 h 13622"/>
                      <a:gd name="connsiteX7" fmla="*/ 15386 w 13622"/>
                      <a:gd name="connsiteY7" fmla="*/ 26079 h 13622"/>
                      <a:gd name="connsiteX8" fmla="*/ 19184 w 13622"/>
                      <a:gd name="connsiteY8" fmla="*/ 17227 h 13622"/>
                      <a:gd name="connsiteX9" fmla="*/ 18792 w 13622"/>
                      <a:gd name="connsiteY9" fmla="*/ 1640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18792" y="16407"/>
                        </a:moveTo>
                        <a:lnTo>
                          <a:pt x="13070" y="4010"/>
                        </a:lnTo>
                        <a:cubicBezTo>
                          <a:pt x="11467" y="575"/>
                          <a:pt x="7405" y="-940"/>
                          <a:pt x="3943" y="605"/>
                        </a:cubicBezTo>
                        <a:cubicBezTo>
                          <a:pt x="532" y="2190"/>
                          <a:pt x="-949" y="6241"/>
                          <a:pt x="635" y="9652"/>
                        </a:cubicBezTo>
                        <a:cubicBezTo>
                          <a:pt x="648" y="9679"/>
                          <a:pt x="661" y="9705"/>
                          <a:pt x="673" y="9732"/>
                        </a:cubicBezTo>
                        <a:lnTo>
                          <a:pt x="6395" y="22129"/>
                        </a:lnTo>
                        <a:cubicBezTo>
                          <a:pt x="7475" y="24544"/>
                          <a:pt x="9880" y="26094"/>
                          <a:pt x="12525" y="26079"/>
                        </a:cubicBezTo>
                        <a:cubicBezTo>
                          <a:pt x="13469" y="26266"/>
                          <a:pt x="14442" y="26266"/>
                          <a:pt x="15386" y="26079"/>
                        </a:cubicBezTo>
                        <a:cubicBezTo>
                          <a:pt x="18879" y="24684"/>
                          <a:pt x="20581" y="20720"/>
                          <a:pt x="19184" y="17227"/>
                        </a:cubicBezTo>
                        <a:cubicBezTo>
                          <a:pt x="19073" y="16945"/>
                          <a:pt x="18940" y="16672"/>
                          <a:pt x="18792" y="1640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: Shape 199">
                    <a:extLst>
                      <a:ext uri="{FF2B5EF4-FFF2-40B4-BE49-F238E27FC236}">
                        <a16:creationId xmlns:a16="http://schemas.microsoft.com/office/drawing/2014/main" id="{A420AEEE-C4A3-F157-22A0-CE9E1C654E8D}"/>
                      </a:ext>
                    </a:extLst>
                  </p:cNvPr>
                  <p:cNvSpPr/>
                  <p:nvPr/>
                </p:nvSpPr>
                <p:spPr>
                  <a:xfrm>
                    <a:off x="6008542" y="3153510"/>
                    <a:ext cx="163474" cy="163474"/>
                  </a:xfrm>
                  <a:custGeom>
                    <a:avLst/>
                    <a:gdLst>
                      <a:gd name="connsiteX0" fmla="*/ 116339 w 163474"/>
                      <a:gd name="connsiteY0" fmla="*/ 166092 h 163474"/>
                      <a:gd name="connsiteX1" fmla="*/ 125466 w 163474"/>
                      <a:gd name="connsiteY1" fmla="*/ 169498 h 163474"/>
                      <a:gd name="connsiteX2" fmla="*/ 128774 w 163474"/>
                      <a:gd name="connsiteY2" fmla="*/ 160451 h 163474"/>
                      <a:gd name="connsiteX3" fmla="*/ 128736 w 163474"/>
                      <a:gd name="connsiteY3" fmla="*/ 160370 h 163474"/>
                      <a:gd name="connsiteX4" fmla="*/ 127237 w 163474"/>
                      <a:gd name="connsiteY4" fmla="*/ 157101 h 163474"/>
                      <a:gd name="connsiteX5" fmla="*/ 172193 w 163474"/>
                      <a:gd name="connsiteY5" fmla="*/ 135304 h 163474"/>
                      <a:gd name="connsiteX6" fmla="*/ 176007 w 163474"/>
                      <a:gd name="connsiteY6" fmla="*/ 129174 h 163474"/>
                      <a:gd name="connsiteX7" fmla="*/ 176007 w 163474"/>
                      <a:gd name="connsiteY7" fmla="*/ 47437 h 163474"/>
                      <a:gd name="connsiteX8" fmla="*/ 175054 w 163474"/>
                      <a:gd name="connsiteY8" fmla="*/ 44031 h 163474"/>
                      <a:gd name="connsiteX9" fmla="*/ 174236 w 163474"/>
                      <a:gd name="connsiteY9" fmla="*/ 43214 h 163474"/>
                      <a:gd name="connsiteX10" fmla="*/ 172738 w 163474"/>
                      <a:gd name="connsiteY10" fmla="*/ 41579 h 163474"/>
                      <a:gd name="connsiteX11" fmla="*/ 172738 w 163474"/>
                      <a:gd name="connsiteY11" fmla="*/ 41579 h 163474"/>
                      <a:gd name="connsiteX12" fmla="*/ 172738 w 163474"/>
                      <a:gd name="connsiteY12" fmla="*/ 41579 h 163474"/>
                      <a:gd name="connsiteX13" fmla="*/ 91001 w 163474"/>
                      <a:gd name="connsiteY13" fmla="*/ 711 h 163474"/>
                      <a:gd name="connsiteX14" fmla="*/ 85007 w 163474"/>
                      <a:gd name="connsiteY14" fmla="*/ 711 h 163474"/>
                      <a:gd name="connsiteX15" fmla="*/ 3269 w 163474"/>
                      <a:gd name="connsiteY15" fmla="*/ 41579 h 163474"/>
                      <a:gd name="connsiteX16" fmla="*/ 3269 w 163474"/>
                      <a:gd name="connsiteY16" fmla="*/ 41579 h 163474"/>
                      <a:gd name="connsiteX17" fmla="*/ 3269 w 163474"/>
                      <a:gd name="connsiteY17" fmla="*/ 41579 h 163474"/>
                      <a:gd name="connsiteX18" fmla="*/ 1771 w 163474"/>
                      <a:gd name="connsiteY18" fmla="*/ 43214 h 163474"/>
                      <a:gd name="connsiteX19" fmla="*/ 954 w 163474"/>
                      <a:gd name="connsiteY19" fmla="*/ 44031 h 163474"/>
                      <a:gd name="connsiteX20" fmla="*/ 0 w 163474"/>
                      <a:gd name="connsiteY20" fmla="*/ 47437 h 163474"/>
                      <a:gd name="connsiteX21" fmla="*/ 0 w 163474"/>
                      <a:gd name="connsiteY21" fmla="*/ 129174 h 163474"/>
                      <a:gd name="connsiteX22" fmla="*/ 3814 w 163474"/>
                      <a:gd name="connsiteY22" fmla="*/ 135304 h 163474"/>
                      <a:gd name="connsiteX23" fmla="*/ 48770 w 163474"/>
                      <a:gd name="connsiteY23" fmla="*/ 157782 h 163474"/>
                      <a:gd name="connsiteX24" fmla="*/ 46045 w 163474"/>
                      <a:gd name="connsiteY24" fmla="*/ 163640 h 163474"/>
                      <a:gd name="connsiteX25" fmla="*/ 49451 w 163474"/>
                      <a:gd name="connsiteY25" fmla="*/ 172631 h 163474"/>
                      <a:gd name="connsiteX26" fmla="*/ 52312 w 163474"/>
                      <a:gd name="connsiteY26" fmla="*/ 173312 h 163474"/>
                      <a:gd name="connsiteX27" fmla="*/ 58442 w 163474"/>
                      <a:gd name="connsiteY27" fmla="*/ 169362 h 163474"/>
                      <a:gd name="connsiteX28" fmla="*/ 61030 w 163474"/>
                      <a:gd name="connsiteY28" fmla="*/ 163912 h 163474"/>
                      <a:gd name="connsiteX29" fmla="*/ 85552 w 163474"/>
                      <a:gd name="connsiteY29" fmla="*/ 176173 h 163474"/>
                      <a:gd name="connsiteX30" fmla="*/ 91546 w 163474"/>
                      <a:gd name="connsiteY30" fmla="*/ 176173 h 163474"/>
                      <a:gd name="connsiteX31" fmla="*/ 116067 w 163474"/>
                      <a:gd name="connsiteY31" fmla="*/ 163912 h 163474"/>
                      <a:gd name="connsiteX32" fmla="*/ 87459 w 163474"/>
                      <a:gd name="connsiteY32" fmla="*/ 13516 h 163474"/>
                      <a:gd name="connsiteX33" fmla="*/ 153938 w 163474"/>
                      <a:gd name="connsiteY33" fmla="*/ 46756 h 163474"/>
                      <a:gd name="connsiteX34" fmla="*/ 87459 w 163474"/>
                      <a:gd name="connsiteY34" fmla="*/ 79996 h 163474"/>
                      <a:gd name="connsiteX35" fmla="*/ 20979 w 163474"/>
                      <a:gd name="connsiteY35" fmla="*/ 46756 h 163474"/>
                      <a:gd name="connsiteX36" fmla="*/ 12533 w 163474"/>
                      <a:gd name="connsiteY36" fmla="*/ 57790 h 163474"/>
                      <a:gd name="connsiteX37" fmla="*/ 80647 w 163474"/>
                      <a:gd name="connsiteY37" fmla="*/ 91848 h 163474"/>
                      <a:gd name="connsiteX38" fmla="*/ 80647 w 163474"/>
                      <a:gd name="connsiteY38" fmla="*/ 158327 h 163474"/>
                      <a:gd name="connsiteX39" fmla="*/ 61984 w 163474"/>
                      <a:gd name="connsiteY39" fmla="*/ 148927 h 163474"/>
                      <a:gd name="connsiteX40" fmla="*/ 59668 w 163474"/>
                      <a:gd name="connsiteY40" fmla="*/ 147156 h 163474"/>
                      <a:gd name="connsiteX41" fmla="*/ 57488 w 163474"/>
                      <a:gd name="connsiteY41" fmla="*/ 147156 h 163474"/>
                      <a:gd name="connsiteX42" fmla="*/ 12533 w 163474"/>
                      <a:gd name="connsiteY42" fmla="*/ 124270 h 163474"/>
                      <a:gd name="connsiteX43" fmla="*/ 94270 w 163474"/>
                      <a:gd name="connsiteY43" fmla="*/ 91848 h 163474"/>
                      <a:gd name="connsiteX44" fmla="*/ 162384 w 163474"/>
                      <a:gd name="connsiteY44" fmla="*/ 57790 h 163474"/>
                      <a:gd name="connsiteX45" fmla="*/ 162384 w 163474"/>
                      <a:gd name="connsiteY45" fmla="*/ 124270 h 163474"/>
                      <a:gd name="connsiteX46" fmla="*/ 117429 w 163474"/>
                      <a:gd name="connsiteY46" fmla="*/ 146748 h 163474"/>
                      <a:gd name="connsiteX47" fmla="*/ 115249 w 163474"/>
                      <a:gd name="connsiteY47" fmla="*/ 146748 h 163474"/>
                      <a:gd name="connsiteX48" fmla="*/ 112933 w 163474"/>
                      <a:gd name="connsiteY48" fmla="*/ 148519 h 163474"/>
                      <a:gd name="connsiteX49" fmla="*/ 94270 w 163474"/>
                      <a:gd name="connsiteY49" fmla="*/ 157782 h 163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</a:cxnLst>
                    <a:rect l="l" t="t" r="r" b="b"/>
                    <a:pathLst>
                      <a:path w="163474" h="163474">
                        <a:moveTo>
                          <a:pt x="116339" y="166092"/>
                        </a:moveTo>
                        <a:cubicBezTo>
                          <a:pt x="117994" y="169471"/>
                          <a:pt x="122002" y="170966"/>
                          <a:pt x="125466" y="169498"/>
                        </a:cubicBezTo>
                        <a:cubicBezTo>
                          <a:pt x="128878" y="167912"/>
                          <a:pt x="130358" y="163862"/>
                          <a:pt x="128774" y="160451"/>
                        </a:cubicBezTo>
                        <a:cubicBezTo>
                          <a:pt x="128762" y="160424"/>
                          <a:pt x="128748" y="160398"/>
                          <a:pt x="128736" y="160370"/>
                        </a:cubicBezTo>
                        <a:lnTo>
                          <a:pt x="127237" y="157101"/>
                        </a:lnTo>
                        <a:lnTo>
                          <a:pt x="172193" y="135304"/>
                        </a:lnTo>
                        <a:cubicBezTo>
                          <a:pt x="174510" y="134134"/>
                          <a:pt x="175981" y="131770"/>
                          <a:pt x="176007" y="129174"/>
                        </a:cubicBezTo>
                        <a:lnTo>
                          <a:pt x="176007" y="47437"/>
                        </a:lnTo>
                        <a:cubicBezTo>
                          <a:pt x="175983" y="46239"/>
                          <a:pt x="175654" y="45068"/>
                          <a:pt x="175054" y="44031"/>
                        </a:cubicBezTo>
                        <a:lnTo>
                          <a:pt x="174236" y="43214"/>
                        </a:lnTo>
                        <a:cubicBezTo>
                          <a:pt x="173851" y="42574"/>
                          <a:pt x="173341" y="42019"/>
                          <a:pt x="172738" y="41579"/>
                        </a:cubicBezTo>
                        <a:lnTo>
                          <a:pt x="172738" y="41579"/>
                        </a:lnTo>
                        <a:lnTo>
                          <a:pt x="172738" y="41579"/>
                        </a:lnTo>
                        <a:lnTo>
                          <a:pt x="91001" y="711"/>
                        </a:lnTo>
                        <a:cubicBezTo>
                          <a:pt x="89115" y="-237"/>
                          <a:pt x="86892" y="-237"/>
                          <a:pt x="85007" y="711"/>
                        </a:cubicBezTo>
                        <a:lnTo>
                          <a:pt x="3269" y="41579"/>
                        </a:lnTo>
                        <a:lnTo>
                          <a:pt x="3269" y="41579"/>
                        </a:lnTo>
                        <a:lnTo>
                          <a:pt x="3269" y="41579"/>
                        </a:lnTo>
                        <a:cubicBezTo>
                          <a:pt x="2666" y="42019"/>
                          <a:pt x="2157" y="42574"/>
                          <a:pt x="1771" y="43214"/>
                        </a:cubicBezTo>
                        <a:cubicBezTo>
                          <a:pt x="1466" y="43451"/>
                          <a:pt x="1191" y="43726"/>
                          <a:pt x="954" y="44031"/>
                        </a:cubicBezTo>
                        <a:cubicBezTo>
                          <a:pt x="353" y="45068"/>
                          <a:pt x="25" y="46239"/>
                          <a:pt x="0" y="47437"/>
                        </a:cubicBezTo>
                        <a:lnTo>
                          <a:pt x="0" y="129174"/>
                        </a:lnTo>
                        <a:cubicBezTo>
                          <a:pt x="26" y="131770"/>
                          <a:pt x="1497" y="134134"/>
                          <a:pt x="3814" y="135304"/>
                        </a:cubicBezTo>
                        <a:lnTo>
                          <a:pt x="48770" y="157782"/>
                        </a:lnTo>
                        <a:lnTo>
                          <a:pt x="46045" y="163640"/>
                        </a:lnTo>
                        <a:cubicBezTo>
                          <a:pt x="44510" y="167063"/>
                          <a:pt x="46033" y="171083"/>
                          <a:pt x="49451" y="172631"/>
                        </a:cubicBezTo>
                        <a:cubicBezTo>
                          <a:pt x="50319" y="173130"/>
                          <a:pt x="51312" y="173367"/>
                          <a:pt x="52312" y="173312"/>
                        </a:cubicBezTo>
                        <a:cubicBezTo>
                          <a:pt x="54948" y="173292"/>
                          <a:pt x="57335" y="171754"/>
                          <a:pt x="58442" y="169362"/>
                        </a:cubicBezTo>
                        <a:lnTo>
                          <a:pt x="61030" y="163912"/>
                        </a:lnTo>
                        <a:lnTo>
                          <a:pt x="85552" y="176173"/>
                        </a:lnTo>
                        <a:cubicBezTo>
                          <a:pt x="87446" y="177079"/>
                          <a:pt x="89651" y="177079"/>
                          <a:pt x="91546" y="176173"/>
                        </a:cubicBezTo>
                        <a:lnTo>
                          <a:pt x="116067" y="163912"/>
                        </a:lnTo>
                        <a:close/>
                        <a:moveTo>
                          <a:pt x="87459" y="13516"/>
                        </a:moveTo>
                        <a:lnTo>
                          <a:pt x="153938" y="46756"/>
                        </a:lnTo>
                        <a:lnTo>
                          <a:pt x="87459" y="79996"/>
                        </a:lnTo>
                        <a:lnTo>
                          <a:pt x="20979" y="46756"/>
                        </a:lnTo>
                        <a:close/>
                        <a:moveTo>
                          <a:pt x="12533" y="57790"/>
                        </a:moveTo>
                        <a:lnTo>
                          <a:pt x="80647" y="91848"/>
                        </a:lnTo>
                        <a:lnTo>
                          <a:pt x="80647" y="158327"/>
                        </a:lnTo>
                        <a:lnTo>
                          <a:pt x="61984" y="148927"/>
                        </a:lnTo>
                        <a:cubicBezTo>
                          <a:pt x="61374" y="148151"/>
                          <a:pt x="60577" y="147542"/>
                          <a:pt x="59668" y="147156"/>
                        </a:cubicBezTo>
                        <a:cubicBezTo>
                          <a:pt x="58953" y="146972"/>
                          <a:pt x="58204" y="146972"/>
                          <a:pt x="57488" y="147156"/>
                        </a:cubicBezTo>
                        <a:lnTo>
                          <a:pt x="12533" y="124270"/>
                        </a:lnTo>
                        <a:close/>
                        <a:moveTo>
                          <a:pt x="94270" y="91848"/>
                        </a:moveTo>
                        <a:lnTo>
                          <a:pt x="162384" y="57790"/>
                        </a:lnTo>
                        <a:lnTo>
                          <a:pt x="162384" y="124270"/>
                        </a:lnTo>
                        <a:lnTo>
                          <a:pt x="117429" y="146748"/>
                        </a:lnTo>
                        <a:cubicBezTo>
                          <a:pt x="116714" y="146564"/>
                          <a:pt x="115965" y="146564"/>
                          <a:pt x="115249" y="146748"/>
                        </a:cubicBezTo>
                        <a:cubicBezTo>
                          <a:pt x="114341" y="147133"/>
                          <a:pt x="113544" y="147742"/>
                          <a:pt x="112933" y="148519"/>
                        </a:cubicBezTo>
                        <a:lnTo>
                          <a:pt x="94270" y="157782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: Shape 200">
                    <a:extLst>
                      <a:ext uri="{FF2B5EF4-FFF2-40B4-BE49-F238E27FC236}">
                        <a16:creationId xmlns:a16="http://schemas.microsoft.com/office/drawing/2014/main" id="{8A298B7E-F042-6E3C-5006-D7E7CF22CBA1}"/>
                      </a:ext>
                    </a:extLst>
                  </p:cNvPr>
                  <p:cNvSpPr/>
                  <p:nvPr/>
                </p:nvSpPr>
                <p:spPr>
                  <a:xfrm>
                    <a:off x="5864386" y="3438636"/>
                    <a:ext cx="190720" cy="177097"/>
                  </a:xfrm>
                  <a:custGeom>
                    <a:avLst/>
                    <a:gdLst>
                      <a:gd name="connsiteX0" fmla="*/ 183934 w 190719"/>
                      <a:gd name="connsiteY0" fmla="*/ 81767 h 177097"/>
                      <a:gd name="connsiteX1" fmla="*/ 177123 w 190719"/>
                      <a:gd name="connsiteY1" fmla="*/ 81767 h 177097"/>
                      <a:gd name="connsiteX2" fmla="*/ 177123 w 190719"/>
                      <a:gd name="connsiteY2" fmla="*/ 47710 h 177097"/>
                      <a:gd name="connsiteX3" fmla="*/ 176169 w 190719"/>
                      <a:gd name="connsiteY3" fmla="*/ 44304 h 177097"/>
                      <a:gd name="connsiteX4" fmla="*/ 175352 w 190719"/>
                      <a:gd name="connsiteY4" fmla="*/ 43487 h 177097"/>
                      <a:gd name="connsiteX5" fmla="*/ 173853 w 190719"/>
                      <a:gd name="connsiteY5" fmla="*/ 41852 h 177097"/>
                      <a:gd name="connsiteX6" fmla="*/ 173853 w 190719"/>
                      <a:gd name="connsiteY6" fmla="*/ 41852 h 177097"/>
                      <a:gd name="connsiteX7" fmla="*/ 173853 w 190719"/>
                      <a:gd name="connsiteY7" fmla="*/ 41852 h 177097"/>
                      <a:gd name="connsiteX8" fmla="*/ 137617 w 190719"/>
                      <a:gd name="connsiteY8" fmla="*/ 23734 h 177097"/>
                      <a:gd name="connsiteX9" fmla="*/ 139388 w 190719"/>
                      <a:gd name="connsiteY9" fmla="*/ 19919 h 177097"/>
                      <a:gd name="connsiteX10" fmla="*/ 135982 w 190719"/>
                      <a:gd name="connsiteY10" fmla="*/ 10928 h 177097"/>
                      <a:gd name="connsiteX11" fmla="*/ 127067 w 190719"/>
                      <a:gd name="connsiteY11" fmla="*/ 14034 h 177097"/>
                      <a:gd name="connsiteX12" fmla="*/ 126991 w 190719"/>
                      <a:gd name="connsiteY12" fmla="*/ 14198 h 177097"/>
                      <a:gd name="connsiteX13" fmla="*/ 125492 w 190719"/>
                      <a:gd name="connsiteY13" fmla="*/ 17603 h 177097"/>
                      <a:gd name="connsiteX14" fmla="*/ 91571 w 190719"/>
                      <a:gd name="connsiteY14" fmla="*/ 711 h 177097"/>
                      <a:gd name="connsiteX15" fmla="*/ 85577 w 190719"/>
                      <a:gd name="connsiteY15" fmla="*/ 711 h 177097"/>
                      <a:gd name="connsiteX16" fmla="*/ 3840 w 190719"/>
                      <a:gd name="connsiteY16" fmla="*/ 41580 h 177097"/>
                      <a:gd name="connsiteX17" fmla="*/ 3840 w 190719"/>
                      <a:gd name="connsiteY17" fmla="*/ 41580 h 177097"/>
                      <a:gd name="connsiteX18" fmla="*/ 3840 w 190719"/>
                      <a:gd name="connsiteY18" fmla="*/ 41580 h 177097"/>
                      <a:gd name="connsiteX19" fmla="*/ 2342 w 190719"/>
                      <a:gd name="connsiteY19" fmla="*/ 43214 h 177097"/>
                      <a:gd name="connsiteX20" fmla="*/ 1524 w 190719"/>
                      <a:gd name="connsiteY20" fmla="*/ 44032 h 177097"/>
                      <a:gd name="connsiteX21" fmla="*/ 26 w 190719"/>
                      <a:gd name="connsiteY21" fmla="*/ 47710 h 177097"/>
                      <a:gd name="connsiteX22" fmla="*/ 26 w 190719"/>
                      <a:gd name="connsiteY22" fmla="*/ 129447 h 177097"/>
                      <a:gd name="connsiteX23" fmla="*/ 3840 w 190719"/>
                      <a:gd name="connsiteY23" fmla="*/ 136259 h 177097"/>
                      <a:gd name="connsiteX24" fmla="*/ 85577 w 190719"/>
                      <a:gd name="connsiteY24" fmla="*/ 177127 h 177097"/>
                      <a:gd name="connsiteX25" fmla="*/ 91571 w 190719"/>
                      <a:gd name="connsiteY25" fmla="*/ 177127 h 177097"/>
                      <a:gd name="connsiteX26" fmla="*/ 173309 w 190719"/>
                      <a:gd name="connsiteY26" fmla="*/ 136259 h 177097"/>
                      <a:gd name="connsiteX27" fmla="*/ 177123 w 190719"/>
                      <a:gd name="connsiteY27" fmla="*/ 129447 h 177097"/>
                      <a:gd name="connsiteX28" fmla="*/ 177123 w 190719"/>
                      <a:gd name="connsiteY28" fmla="*/ 95390 h 177097"/>
                      <a:gd name="connsiteX29" fmla="*/ 183934 w 190719"/>
                      <a:gd name="connsiteY29" fmla="*/ 95390 h 177097"/>
                      <a:gd name="connsiteX30" fmla="*/ 190746 w 190719"/>
                      <a:gd name="connsiteY30" fmla="*/ 88579 h 177097"/>
                      <a:gd name="connsiteX31" fmla="*/ 183934 w 190719"/>
                      <a:gd name="connsiteY31" fmla="*/ 81767 h 177097"/>
                      <a:gd name="connsiteX32" fmla="*/ 88574 w 190719"/>
                      <a:gd name="connsiteY32" fmla="*/ 14470 h 177097"/>
                      <a:gd name="connsiteX33" fmla="*/ 155054 w 190719"/>
                      <a:gd name="connsiteY33" fmla="*/ 47710 h 177097"/>
                      <a:gd name="connsiteX34" fmla="*/ 88574 w 190719"/>
                      <a:gd name="connsiteY34" fmla="*/ 80950 h 177097"/>
                      <a:gd name="connsiteX35" fmla="*/ 22095 w 190719"/>
                      <a:gd name="connsiteY35" fmla="*/ 47710 h 177097"/>
                      <a:gd name="connsiteX36" fmla="*/ 13649 w 190719"/>
                      <a:gd name="connsiteY36" fmla="*/ 58744 h 177097"/>
                      <a:gd name="connsiteX37" fmla="*/ 81763 w 190719"/>
                      <a:gd name="connsiteY37" fmla="*/ 92802 h 177097"/>
                      <a:gd name="connsiteX38" fmla="*/ 81763 w 190719"/>
                      <a:gd name="connsiteY38" fmla="*/ 159281 h 177097"/>
                      <a:gd name="connsiteX39" fmla="*/ 13649 w 190719"/>
                      <a:gd name="connsiteY39" fmla="*/ 125224 h 177097"/>
                      <a:gd name="connsiteX40" fmla="*/ 163500 w 190719"/>
                      <a:gd name="connsiteY40" fmla="*/ 125224 h 177097"/>
                      <a:gd name="connsiteX41" fmla="*/ 95386 w 190719"/>
                      <a:gd name="connsiteY41" fmla="*/ 159281 h 177097"/>
                      <a:gd name="connsiteX42" fmla="*/ 95386 w 190719"/>
                      <a:gd name="connsiteY42" fmla="*/ 92802 h 177097"/>
                      <a:gd name="connsiteX43" fmla="*/ 163500 w 190719"/>
                      <a:gd name="connsiteY43" fmla="*/ 58744 h 177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90719" h="177097">
                        <a:moveTo>
                          <a:pt x="183934" y="81767"/>
                        </a:moveTo>
                        <a:lnTo>
                          <a:pt x="177123" y="81767"/>
                        </a:lnTo>
                        <a:lnTo>
                          <a:pt x="177123" y="47710"/>
                        </a:lnTo>
                        <a:cubicBezTo>
                          <a:pt x="177098" y="46513"/>
                          <a:pt x="176770" y="45341"/>
                          <a:pt x="176169" y="44304"/>
                        </a:cubicBezTo>
                        <a:cubicBezTo>
                          <a:pt x="175932" y="43999"/>
                          <a:pt x="175657" y="43724"/>
                          <a:pt x="175352" y="43487"/>
                        </a:cubicBezTo>
                        <a:cubicBezTo>
                          <a:pt x="174966" y="42848"/>
                          <a:pt x="174457" y="42291"/>
                          <a:pt x="173853" y="41852"/>
                        </a:cubicBezTo>
                        <a:lnTo>
                          <a:pt x="173853" y="41852"/>
                        </a:lnTo>
                        <a:lnTo>
                          <a:pt x="173853" y="41852"/>
                        </a:lnTo>
                        <a:lnTo>
                          <a:pt x="137617" y="23734"/>
                        </a:lnTo>
                        <a:lnTo>
                          <a:pt x="139388" y="19919"/>
                        </a:lnTo>
                        <a:cubicBezTo>
                          <a:pt x="140923" y="16496"/>
                          <a:pt x="139400" y="12476"/>
                          <a:pt x="135982" y="10928"/>
                        </a:cubicBezTo>
                        <a:cubicBezTo>
                          <a:pt x="132663" y="9323"/>
                          <a:pt x="128671" y="10714"/>
                          <a:pt x="127067" y="14034"/>
                        </a:cubicBezTo>
                        <a:cubicBezTo>
                          <a:pt x="127041" y="14089"/>
                          <a:pt x="127016" y="14143"/>
                          <a:pt x="126991" y="14198"/>
                        </a:cubicBezTo>
                        <a:lnTo>
                          <a:pt x="125492" y="17603"/>
                        </a:lnTo>
                        <a:lnTo>
                          <a:pt x="91571" y="711"/>
                        </a:lnTo>
                        <a:cubicBezTo>
                          <a:pt x="89686" y="-237"/>
                          <a:pt x="87463" y="-237"/>
                          <a:pt x="85577" y="711"/>
                        </a:cubicBezTo>
                        <a:lnTo>
                          <a:pt x="3840" y="41580"/>
                        </a:lnTo>
                        <a:lnTo>
                          <a:pt x="3840" y="41580"/>
                        </a:lnTo>
                        <a:lnTo>
                          <a:pt x="3840" y="41580"/>
                        </a:lnTo>
                        <a:cubicBezTo>
                          <a:pt x="3237" y="42018"/>
                          <a:pt x="2727" y="42574"/>
                          <a:pt x="2342" y="43214"/>
                        </a:cubicBezTo>
                        <a:cubicBezTo>
                          <a:pt x="2036" y="43451"/>
                          <a:pt x="1762" y="43727"/>
                          <a:pt x="1524" y="44032"/>
                        </a:cubicBezTo>
                        <a:cubicBezTo>
                          <a:pt x="684" y="45090"/>
                          <a:pt x="164" y="46367"/>
                          <a:pt x="26" y="47710"/>
                        </a:cubicBezTo>
                        <a:lnTo>
                          <a:pt x="26" y="129447"/>
                        </a:lnTo>
                        <a:cubicBezTo>
                          <a:pt x="-219" y="132285"/>
                          <a:pt x="1293" y="134985"/>
                          <a:pt x="3840" y="136259"/>
                        </a:cubicBezTo>
                        <a:lnTo>
                          <a:pt x="85577" y="177127"/>
                        </a:lnTo>
                        <a:cubicBezTo>
                          <a:pt x="87473" y="178033"/>
                          <a:pt x="89676" y="178033"/>
                          <a:pt x="91571" y="177127"/>
                        </a:cubicBezTo>
                        <a:lnTo>
                          <a:pt x="173309" y="136259"/>
                        </a:lnTo>
                        <a:cubicBezTo>
                          <a:pt x="175856" y="134985"/>
                          <a:pt x="177368" y="132285"/>
                          <a:pt x="177123" y="129447"/>
                        </a:cubicBezTo>
                        <a:lnTo>
                          <a:pt x="177123" y="95390"/>
                        </a:lnTo>
                        <a:lnTo>
                          <a:pt x="183934" y="95390"/>
                        </a:lnTo>
                        <a:cubicBezTo>
                          <a:pt x="187696" y="95390"/>
                          <a:pt x="190746" y="92340"/>
                          <a:pt x="190746" y="88579"/>
                        </a:cubicBezTo>
                        <a:cubicBezTo>
                          <a:pt x="190746" y="84817"/>
                          <a:pt x="187696" y="81767"/>
                          <a:pt x="183934" y="81767"/>
                        </a:cubicBezTo>
                        <a:close/>
                        <a:moveTo>
                          <a:pt x="88574" y="14470"/>
                        </a:moveTo>
                        <a:lnTo>
                          <a:pt x="155054" y="47710"/>
                        </a:lnTo>
                        <a:lnTo>
                          <a:pt x="88574" y="80950"/>
                        </a:lnTo>
                        <a:lnTo>
                          <a:pt x="22095" y="47710"/>
                        </a:lnTo>
                        <a:close/>
                        <a:moveTo>
                          <a:pt x="13649" y="58744"/>
                        </a:moveTo>
                        <a:lnTo>
                          <a:pt x="81763" y="92802"/>
                        </a:lnTo>
                        <a:lnTo>
                          <a:pt x="81763" y="159281"/>
                        </a:lnTo>
                        <a:lnTo>
                          <a:pt x="13649" y="125224"/>
                        </a:lnTo>
                        <a:close/>
                        <a:moveTo>
                          <a:pt x="163500" y="125224"/>
                        </a:moveTo>
                        <a:lnTo>
                          <a:pt x="95386" y="159281"/>
                        </a:lnTo>
                        <a:lnTo>
                          <a:pt x="95386" y="92802"/>
                        </a:lnTo>
                        <a:lnTo>
                          <a:pt x="163500" y="58744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: Shape 201">
                    <a:extLst>
                      <a:ext uri="{FF2B5EF4-FFF2-40B4-BE49-F238E27FC236}">
                        <a16:creationId xmlns:a16="http://schemas.microsoft.com/office/drawing/2014/main" id="{5CBCDDFC-4EC6-F495-38B6-C11464EB2506}"/>
                      </a:ext>
                    </a:extLst>
                  </p:cNvPr>
                  <p:cNvSpPr/>
                  <p:nvPr/>
                </p:nvSpPr>
                <p:spPr>
                  <a:xfrm>
                    <a:off x="6068755" y="3520403"/>
                    <a:ext cx="27246" cy="13623"/>
                  </a:xfrm>
                  <a:custGeom>
                    <a:avLst/>
                    <a:gdLst>
                      <a:gd name="connsiteX0" fmla="*/ 20434 w 27245"/>
                      <a:gd name="connsiteY0" fmla="*/ 0 h 13622"/>
                      <a:gd name="connsiteX1" fmla="*/ 6811 w 27245"/>
                      <a:gd name="connsiteY1" fmla="*/ 0 h 13622"/>
                      <a:gd name="connsiteX2" fmla="*/ 0 w 27245"/>
                      <a:gd name="connsiteY2" fmla="*/ 6811 h 13622"/>
                      <a:gd name="connsiteX3" fmla="*/ 6811 w 27245"/>
                      <a:gd name="connsiteY3" fmla="*/ 13623 h 13622"/>
                      <a:gd name="connsiteX4" fmla="*/ 20434 w 27245"/>
                      <a:gd name="connsiteY4" fmla="*/ 13623 h 13622"/>
                      <a:gd name="connsiteX5" fmla="*/ 27246 w 27245"/>
                      <a:gd name="connsiteY5" fmla="*/ 6811 h 13622"/>
                      <a:gd name="connsiteX6" fmla="*/ 20434 w 27245"/>
                      <a:gd name="connsiteY6" fmla="*/ 0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245" h="13622">
                        <a:moveTo>
                          <a:pt x="20434" y="0"/>
                        </a:moveTo>
                        <a:lnTo>
                          <a:pt x="6811" y="0"/>
                        </a:lnTo>
                        <a:cubicBezTo>
                          <a:pt x="3050" y="0"/>
                          <a:pt x="0" y="3050"/>
                          <a:pt x="0" y="6811"/>
                        </a:cubicBezTo>
                        <a:cubicBezTo>
                          <a:pt x="0" y="10573"/>
                          <a:pt x="3050" y="13623"/>
                          <a:pt x="6811" y="13623"/>
                        </a:cubicBezTo>
                        <a:lnTo>
                          <a:pt x="20434" y="13623"/>
                        </a:lnTo>
                        <a:cubicBezTo>
                          <a:pt x="24196" y="13623"/>
                          <a:pt x="27246" y="10573"/>
                          <a:pt x="27246" y="6811"/>
                        </a:cubicBezTo>
                        <a:cubicBezTo>
                          <a:pt x="27246" y="3050"/>
                          <a:pt x="24196" y="0"/>
                          <a:pt x="20434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: Shape 202">
                    <a:extLst>
                      <a:ext uri="{FF2B5EF4-FFF2-40B4-BE49-F238E27FC236}">
                        <a16:creationId xmlns:a16="http://schemas.microsoft.com/office/drawing/2014/main" id="{76FF2444-F060-58AF-FB7B-672DE8142EFE}"/>
                      </a:ext>
                    </a:extLst>
                  </p:cNvPr>
                  <p:cNvSpPr/>
                  <p:nvPr/>
                </p:nvSpPr>
                <p:spPr>
                  <a:xfrm>
                    <a:off x="6109623" y="3520403"/>
                    <a:ext cx="27246" cy="13623"/>
                  </a:xfrm>
                  <a:custGeom>
                    <a:avLst/>
                    <a:gdLst>
                      <a:gd name="connsiteX0" fmla="*/ 20434 w 27245"/>
                      <a:gd name="connsiteY0" fmla="*/ 0 h 13622"/>
                      <a:gd name="connsiteX1" fmla="*/ 6811 w 27245"/>
                      <a:gd name="connsiteY1" fmla="*/ 0 h 13622"/>
                      <a:gd name="connsiteX2" fmla="*/ 0 w 27245"/>
                      <a:gd name="connsiteY2" fmla="*/ 6811 h 13622"/>
                      <a:gd name="connsiteX3" fmla="*/ 6811 w 27245"/>
                      <a:gd name="connsiteY3" fmla="*/ 13623 h 13622"/>
                      <a:gd name="connsiteX4" fmla="*/ 20434 w 27245"/>
                      <a:gd name="connsiteY4" fmla="*/ 13623 h 13622"/>
                      <a:gd name="connsiteX5" fmla="*/ 27246 w 27245"/>
                      <a:gd name="connsiteY5" fmla="*/ 6811 h 13622"/>
                      <a:gd name="connsiteX6" fmla="*/ 20434 w 27245"/>
                      <a:gd name="connsiteY6" fmla="*/ 0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245" h="13622">
                        <a:moveTo>
                          <a:pt x="20434" y="0"/>
                        </a:moveTo>
                        <a:lnTo>
                          <a:pt x="6811" y="0"/>
                        </a:lnTo>
                        <a:cubicBezTo>
                          <a:pt x="3050" y="0"/>
                          <a:pt x="0" y="3050"/>
                          <a:pt x="0" y="6811"/>
                        </a:cubicBezTo>
                        <a:cubicBezTo>
                          <a:pt x="0" y="10573"/>
                          <a:pt x="3050" y="13623"/>
                          <a:pt x="6811" y="13623"/>
                        </a:cubicBezTo>
                        <a:lnTo>
                          <a:pt x="20434" y="13623"/>
                        </a:lnTo>
                        <a:cubicBezTo>
                          <a:pt x="24196" y="13623"/>
                          <a:pt x="27246" y="10573"/>
                          <a:pt x="27246" y="6811"/>
                        </a:cubicBezTo>
                        <a:cubicBezTo>
                          <a:pt x="27246" y="3050"/>
                          <a:pt x="24196" y="0"/>
                          <a:pt x="20434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D420995C-864A-0487-C4C9-14B3C40A157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86226" y="4677652"/>
                <a:ext cx="578869" cy="578869"/>
                <a:chOff x="2133373" y="1733455"/>
                <a:chExt cx="720080" cy="720080"/>
              </a:xfrm>
            </p:grpSpPr>
            <p:sp>
              <p:nvSpPr>
                <p:cNvPr id="218" name="Oval 217">
                  <a:extLst>
                    <a:ext uri="{FF2B5EF4-FFF2-40B4-BE49-F238E27FC236}">
                      <a16:creationId xmlns:a16="http://schemas.microsoft.com/office/drawing/2014/main" id="{5B7B1AFE-312F-1EC8-A35D-5CF57DDACA9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133373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9" name="Graphic 3">
                  <a:extLst>
                    <a:ext uri="{FF2B5EF4-FFF2-40B4-BE49-F238E27FC236}">
                      <a16:creationId xmlns:a16="http://schemas.microsoft.com/office/drawing/2014/main" id="{F8C3B871-031B-F6FF-40F2-81E0B1F41D2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279576" y="1904562"/>
                  <a:ext cx="427674" cy="377837"/>
                  <a:chOff x="5943600" y="3300412"/>
                  <a:chExt cx="291465" cy="257502"/>
                </a:xfrm>
                <a:solidFill>
                  <a:schemeClr val="bg1"/>
                </a:solidFill>
              </p:grpSpPr>
              <p:grpSp>
                <p:nvGrpSpPr>
                  <p:cNvPr id="220" name="Graphic 3">
                    <a:extLst>
                      <a:ext uri="{FF2B5EF4-FFF2-40B4-BE49-F238E27FC236}">
                        <a16:creationId xmlns:a16="http://schemas.microsoft.com/office/drawing/2014/main" id="{27305DC2-49A9-B3C1-8E06-269765303982}"/>
                      </a:ext>
                    </a:extLst>
                  </p:cNvPr>
                  <p:cNvGrpSpPr/>
                  <p:nvPr/>
                </p:nvGrpSpPr>
                <p:grpSpPr>
                  <a:xfrm>
                    <a:off x="5943600" y="3348037"/>
                    <a:ext cx="180975" cy="180975"/>
                    <a:chOff x="5943600" y="3348037"/>
                    <a:chExt cx="180975" cy="180975"/>
                  </a:xfrm>
                  <a:grpFill/>
                </p:grpSpPr>
                <p:sp>
                  <p:nvSpPr>
                    <p:cNvPr id="227" name="Freeform: Shape 188">
                      <a:extLst>
                        <a:ext uri="{FF2B5EF4-FFF2-40B4-BE49-F238E27FC236}">
                          <a16:creationId xmlns:a16="http://schemas.microsoft.com/office/drawing/2014/main" id="{99914018-D303-58C0-A1A1-2F6C17A2D9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43600" y="3348037"/>
                      <a:ext cx="180975" cy="180975"/>
                    </a:xfrm>
                    <a:custGeom>
                      <a:avLst/>
                      <a:gdLst>
                        <a:gd name="connsiteX0" fmla="*/ 105728 w 180975"/>
                        <a:gd name="connsiteY0" fmla="*/ 180975 h 180975"/>
                        <a:gd name="connsiteX1" fmla="*/ 75248 w 180975"/>
                        <a:gd name="connsiteY1" fmla="*/ 180975 h 180975"/>
                        <a:gd name="connsiteX2" fmla="*/ 70485 w 180975"/>
                        <a:gd name="connsiteY2" fmla="*/ 178118 h 180975"/>
                        <a:gd name="connsiteX3" fmla="*/ 65723 w 180975"/>
                        <a:gd name="connsiteY3" fmla="*/ 164783 h 180975"/>
                        <a:gd name="connsiteX4" fmla="*/ 55245 w 180975"/>
                        <a:gd name="connsiteY4" fmla="*/ 160020 h 180975"/>
                        <a:gd name="connsiteX5" fmla="*/ 42863 w 180975"/>
                        <a:gd name="connsiteY5" fmla="*/ 165735 h 180975"/>
                        <a:gd name="connsiteX6" fmla="*/ 37148 w 180975"/>
                        <a:gd name="connsiteY6" fmla="*/ 164783 h 180975"/>
                        <a:gd name="connsiteX7" fmla="*/ 15240 w 180975"/>
                        <a:gd name="connsiteY7" fmla="*/ 142875 h 180975"/>
                        <a:gd name="connsiteX8" fmla="*/ 14288 w 180975"/>
                        <a:gd name="connsiteY8" fmla="*/ 137160 h 180975"/>
                        <a:gd name="connsiteX9" fmla="*/ 20003 w 180975"/>
                        <a:gd name="connsiteY9" fmla="*/ 124778 h 180975"/>
                        <a:gd name="connsiteX10" fmla="*/ 16193 w 180975"/>
                        <a:gd name="connsiteY10" fmla="*/ 114300 h 180975"/>
                        <a:gd name="connsiteX11" fmla="*/ 2858 w 180975"/>
                        <a:gd name="connsiteY11" fmla="*/ 109538 h 180975"/>
                        <a:gd name="connsiteX12" fmla="*/ 0 w 180975"/>
                        <a:gd name="connsiteY12" fmla="*/ 105728 h 180975"/>
                        <a:gd name="connsiteX13" fmla="*/ 0 w 180975"/>
                        <a:gd name="connsiteY13" fmla="*/ 75248 h 180975"/>
                        <a:gd name="connsiteX14" fmla="*/ 2858 w 180975"/>
                        <a:gd name="connsiteY14" fmla="*/ 70485 h 180975"/>
                        <a:gd name="connsiteX15" fmla="*/ 16193 w 180975"/>
                        <a:gd name="connsiteY15" fmla="*/ 65723 h 180975"/>
                        <a:gd name="connsiteX16" fmla="*/ 20955 w 180975"/>
                        <a:gd name="connsiteY16" fmla="*/ 55245 h 180975"/>
                        <a:gd name="connsiteX17" fmla="*/ 15240 w 180975"/>
                        <a:gd name="connsiteY17" fmla="*/ 41910 h 180975"/>
                        <a:gd name="connsiteX18" fmla="*/ 15240 w 180975"/>
                        <a:gd name="connsiteY18" fmla="*/ 37147 h 180975"/>
                        <a:gd name="connsiteX19" fmla="*/ 37148 w 180975"/>
                        <a:gd name="connsiteY19" fmla="*/ 15240 h 180975"/>
                        <a:gd name="connsiteX20" fmla="*/ 42863 w 180975"/>
                        <a:gd name="connsiteY20" fmla="*/ 14288 h 180975"/>
                        <a:gd name="connsiteX21" fmla="*/ 55245 w 180975"/>
                        <a:gd name="connsiteY21" fmla="*/ 20003 h 180975"/>
                        <a:gd name="connsiteX22" fmla="*/ 65723 w 180975"/>
                        <a:gd name="connsiteY22" fmla="*/ 15240 h 180975"/>
                        <a:gd name="connsiteX23" fmla="*/ 70485 w 180975"/>
                        <a:gd name="connsiteY23" fmla="*/ 1905 h 180975"/>
                        <a:gd name="connsiteX24" fmla="*/ 75248 w 180975"/>
                        <a:gd name="connsiteY24" fmla="*/ 0 h 180975"/>
                        <a:gd name="connsiteX25" fmla="*/ 90488 w 180975"/>
                        <a:gd name="connsiteY25" fmla="*/ 0 h 180975"/>
                        <a:gd name="connsiteX26" fmla="*/ 105728 w 180975"/>
                        <a:gd name="connsiteY26" fmla="*/ 0 h 180975"/>
                        <a:gd name="connsiteX27" fmla="*/ 110490 w 180975"/>
                        <a:gd name="connsiteY27" fmla="*/ 2858 h 180975"/>
                        <a:gd name="connsiteX28" fmla="*/ 115253 w 180975"/>
                        <a:gd name="connsiteY28" fmla="*/ 16192 h 180975"/>
                        <a:gd name="connsiteX29" fmla="*/ 125730 w 180975"/>
                        <a:gd name="connsiteY29" fmla="*/ 20955 h 180975"/>
                        <a:gd name="connsiteX30" fmla="*/ 138113 w 180975"/>
                        <a:gd name="connsiteY30" fmla="*/ 15240 h 180975"/>
                        <a:gd name="connsiteX31" fmla="*/ 143828 w 180975"/>
                        <a:gd name="connsiteY31" fmla="*/ 16192 h 180975"/>
                        <a:gd name="connsiteX32" fmla="*/ 165735 w 180975"/>
                        <a:gd name="connsiteY32" fmla="*/ 38100 h 180975"/>
                        <a:gd name="connsiteX33" fmla="*/ 166688 w 180975"/>
                        <a:gd name="connsiteY33" fmla="*/ 43815 h 180975"/>
                        <a:gd name="connsiteX34" fmla="*/ 160973 w 180975"/>
                        <a:gd name="connsiteY34" fmla="*/ 56197 h 180975"/>
                        <a:gd name="connsiteX35" fmla="*/ 165735 w 180975"/>
                        <a:gd name="connsiteY35" fmla="*/ 66675 h 180975"/>
                        <a:gd name="connsiteX36" fmla="*/ 179070 w 180975"/>
                        <a:gd name="connsiteY36" fmla="*/ 71438 h 180975"/>
                        <a:gd name="connsiteX37" fmla="*/ 181928 w 180975"/>
                        <a:gd name="connsiteY37" fmla="*/ 76200 h 180975"/>
                        <a:gd name="connsiteX38" fmla="*/ 181928 w 180975"/>
                        <a:gd name="connsiteY38" fmla="*/ 106680 h 180975"/>
                        <a:gd name="connsiteX39" fmla="*/ 179070 w 180975"/>
                        <a:gd name="connsiteY39" fmla="*/ 111443 h 180975"/>
                        <a:gd name="connsiteX40" fmla="*/ 164783 w 180975"/>
                        <a:gd name="connsiteY40" fmla="*/ 114300 h 180975"/>
                        <a:gd name="connsiteX41" fmla="*/ 160020 w 180975"/>
                        <a:gd name="connsiteY41" fmla="*/ 124778 h 180975"/>
                        <a:gd name="connsiteX42" fmla="*/ 165735 w 180975"/>
                        <a:gd name="connsiteY42" fmla="*/ 137160 h 180975"/>
                        <a:gd name="connsiteX43" fmla="*/ 164783 w 180975"/>
                        <a:gd name="connsiteY43" fmla="*/ 142875 h 180975"/>
                        <a:gd name="connsiteX44" fmla="*/ 142875 w 180975"/>
                        <a:gd name="connsiteY44" fmla="*/ 164783 h 180975"/>
                        <a:gd name="connsiteX45" fmla="*/ 137160 w 180975"/>
                        <a:gd name="connsiteY45" fmla="*/ 165735 h 180975"/>
                        <a:gd name="connsiteX46" fmla="*/ 124778 w 180975"/>
                        <a:gd name="connsiteY46" fmla="*/ 160020 h 180975"/>
                        <a:gd name="connsiteX47" fmla="*/ 114300 w 180975"/>
                        <a:gd name="connsiteY47" fmla="*/ 164783 h 180975"/>
                        <a:gd name="connsiteX48" fmla="*/ 109538 w 180975"/>
                        <a:gd name="connsiteY48" fmla="*/ 178118 h 180975"/>
                        <a:gd name="connsiteX49" fmla="*/ 105728 w 180975"/>
                        <a:gd name="connsiteY49" fmla="*/ 180975 h 180975"/>
                        <a:gd name="connsiteX50" fmla="*/ 79058 w 180975"/>
                        <a:gd name="connsiteY50" fmla="*/ 171450 h 180975"/>
                        <a:gd name="connsiteX51" fmla="*/ 102870 w 180975"/>
                        <a:gd name="connsiteY51" fmla="*/ 171450 h 180975"/>
                        <a:gd name="connsiteX52" fmla="*/ 106680 w 180975"/>
                        <a:gd name="connsiteY52" fmla="*/ 159068 h 180975"/>
                        <a:gd name="connsiteX53" fmla="*/ 109538 w 180975"/>
                        <a:gd name="connsiteY53" fmla="*/ 156210 h 180975"/>
                        <a:gd name="connsiteX54" fmla="*/ 122873 w 180975"/>
                        <a:gd name="connsiteY54" fmla="*/ 150495 h 180975"/>
                        <a:gd name="connsiteX55" fmla="*/ 127635 w 180975"/>
                        <a:gd name="connsiteY55" fmla="*/ 150495 h 180975"/>
                        <a:gd name="connsiteX56" fmla="*/ 139065 w 180975"/>
                        <a:gd name="connsiteY56" fmla="*/ 156210 h 180975"/>
                        <a:gd name="connsiteX57" fmla="*/ 156210 w 180975"/>
                        <a:gd name="connsiteY57" fmla="*/ 139065 h 180975"/>
                        <a:gd name="connsiteX58" fmla="*/ 150495 w 180975"/>
                        <a:gd name="connsiteY58" fmla="*/ 127635 h 180975"/>
                        <a:gd name="connsiteX59" fmla="*/ 150495 w 180975"/>
                        <a:gd name="connsiteY59" fmla="*/ 122873 h 180975"/>
                        <a:gd name="connsiteX60" fmla="*/ 156210 w 180975"/>
                        <a:gd name="connsiteY60" fmla="*/ 109538 h 180975"/>
                        <a:gd name="connsiteX61" fmla="*/ 159068 w 180975"/>
                        <a:gd name="connsiteY61" fmla="*/ 106680 h 180975"/>
                        <a:gd name="connsiteX62" fmla="*/ 171450 w 180975"/>
                        <a:gd name="connsiteY62" fmla="*/ 102870 h 180975"/>
                        <a:gd name="connsiteX63" fmla="*/ 171450 w 180975"/>
                        <a:gd name="connsiteY63" fmla="*/ 79058 h 180975"/>
                        <a:gd name="connsiteX64" fmla="*/ 159068 w 180975"/>
                        <a:gd name="connsiteY64" fmla="*/ 75248 h 180975"/>
                        <a:gd name="connsiteX65" fmla="*/ 156210 w 180975"/>
                        <a:gd name="connsiteY65" fmla="*/ 72390 h 180975"/>
                        <a:gd name="connsiteX66" fmla="*/ 150495 w 180975"/>
                        <a:gd name="connsiteY66" fmla="*/ 59055 h 180975"/>
                        <a:gd name="connsiteX67" fmla="*/ 150495 w 180975"/>
                        <a:gd name="connsiteY67" fmla="*/ 54293 h 180975"/>
                        <a:gd name="connsiteX68" fmla="*/ 156210 w 180975"/>
                        <a:gd name="connsiteY68" fmla="*/ 42863 h 180975"/>
                        <a:gd name="connsiteX69" fmla="*/ 139065 w 180975"/>
                        <a:gd name="connsiteY69" fmla="*/ 25717 h 180975"/>
                        <a:gd name="connsiteX70" fmla="*/ 127635 w 180975"/>
                        <a:gd name="connsiteY70" fmla="*/ 31433 h 180975"/>
                        <a:gd name="connsiteX71" fmla="*/ 122873 w 180975"/>
                        <a:gd name="connsiteY71" fmla="*/ 31433 h 180975"/>
                        <a:gd name="connsiteX72" fmla="*/ 109538 w 180975"/>
                        <a:gd name="connsiteY72" fmla="*/ 25717 h 180975"/>
                        <a:gd name="connsiteX73" fmla="*/ 106680 w 180975"/>
                        <a:gd name="connsiteY73" fmla="*/ 22860 h 180975"/>
                        <a:gd name="connsiteX74" fmla="*/ 102870 w 180975"/>
                        <a:gd name="connsiteY74" fmla="*/ 9525 h 180975"/>
                        <a:gd name="connsiteX75" fmla="*/ 90488 w 180975"/>
                        <a:gd name="connsiteY75" fmla="*/ 9525 h 180975"/>
                        <a:gd name="connsiteX76" fmla="*/ 79058 w 180975"/>
                        <a:gd name="connsiteY76" fmla="*/ 9525 h 180975"/>
                        <a:gd name="connsiteX77" fmla="*/ 74295 w 180975"/>
                        <a:gd name="connsiteY77" fmla="*/ 20955 h 180975"/>
                        <a:gd name="connsiteX78" fmla="*/ 71438 w 180975"/>
                        <a:gd name="connsiteY78" fmla="*/ 23813 h 180975"/>
                        <a:gd name="connsiteX79" fmla="*/ 58103 w 180975"/>
                        <a:gd name="connsiteY79" fmla="*/ 29528 h 180975"/>
                        <a:gd name="connsiteX80" fmla="*/ 53340 w 180975"/>
                        <a:gd name="connsiteY80" fmla="*/ 29528 h 180975"/>
                        <a:gd name="connsiteX81" fmla="*/ 41910 w 180975"/>
                        <a:gd name="connsiteY81" fmla="*/ 24765 h 180975"/>
                        <a:gd name="connsiteX82" fmla="*/ 24765 w 180975"/>
                        <a:gd name="connsiteY82" fmla="*/ 40958 h 180975"/>
                        <a:gd name="connsiteX83" fmla="*/ 30480 w 180975"/>
                        <a:gd name="connsiteY83" fmla="*/ 52388 h 180975"/>
                        <a:gd name="connsiteX84" fmla="*/ 30480 w 180975"/>
                        <a:gd name="connsiteY84" fmla="*/ 57150 h 180975"/>
                        <a:gd name="connsiteX85" fmla="*/ 24765 w 180975"/>
                        <a:gd name="connsiteY85" fmla="*/ 70485 h 180975"/>
                        <a:gd name="connsiteX86" fmla="*/ 21908 w 180975"/>
                        <a:gd name="connsiteY86" fmla="*/ 73343 h 180975"/>
                        <a:gd name="connsiteX87" fmla="*/ 9525 w 180975"/>
                        <a:gd name="connsiteY87" fmla="*/ 78105 h 180975"/>
                        <a:gd name="connsiteX88" fmla="*/ 9525 w 180975"/>
                        <a:gd name="connsiteY88" fmla="*/ 101918 h 180975"/>
                        <a:gd name="connsiteX89" fmla="*/ 21908 w 180975"/>
                        <a:gd name="connsiteY89" fmla="*/ 105728 h 180975"/>
                        <a:gd name="connsiteX90" fmla="*/ 24765 w 180975"/>
                        <a:gd name="connsiteY90" fmla="*/ 108585 h 180975"/>
                        <a:gd name="connsiteX91" fmla="*/ 30480 w 180975"/>
                        <a:gd name="connsiteY91" fmla="*/ 121920 h 180975"/>
                        <a:gd name="connsiteX92" fmla="*/ 30480 w 180975"/>
                        <a:gd name="connsiteY92" fmla="*/ 126682 h 180975"/>
                        <a:gd name="connsiteX93" fmla="*/ 24765 w 180975"/>
                        <a:gd name="connsiteY93" fmla="*/ 138113 h 180975"/>
                        <a:gd name="connsiteX94" fmla="*/ 41910 w 180975"/>
                        <a:gd name="connsiteY94" fmla="*/ 155258 h 180975"/>
                        <a:gd name="connsiteX95" fmla="*/ 53340 w 180975"/>
                        <a:gd name="connsiteY95" fmla="*/ 149543 h 180975"/>
                        <a:gd name="connsiteX96" fmla="*/ 58103 w 180975"/>
                        <a:gd name="connsiteY96" fmla="*/ 149543 h 180975"/>
                        <a:gd name="connsiteX97" fmla="*/ 71438 w 180975"/>
                        <a:gd name="connsiteY97" fmla="*/ 156210 h 180975"/>
                        <a:gd name="connsiteX98" fmla="*/ 74295 w 180975"/>
                        <a:gd name="connsiteY98" fmla="*/ 159068 h 180975"/>
                        <a:gd name="connsiteX99" fmla="*/ 79058 w 180975"/>
                        <a:gd name="connsiteY99" fmla="*/ 171450 h 1809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</a:cxnLst>
                      <a:rect l="l" t="t" r="r" b="b"/>
                      <a:pathLst>
                        <a:path w="180975" h="180975">
                          <a:moveTo>
                            <a:pt x="105728" y="180975"/>
                          </a:moveTo>
                          <a:lnTo>
                            <a:pt x="75248" y="180975"/>
                          </a:lnTo>
                          <a:cubicBezTo>
                            <a:pt x="73343" y="180975"/>
                            <a:pt x="71438" y="180023"/>
                            <a:pt x="70485" y="178118"/>
                          </a:cubicBezTo>
                          <a:lnTo>
                            <a:pt x="65723" y="164783"/>
                          </a:lnTo>
                          <a:cubicBezTo>
                            <a:pt x="61913" y="163830"/>
                            <a:pt x="58103" y="161925"/>
                            <a:pt x="55245" y="160020"/>
                          </a:cubicBezTo>
                          <a:lnTo>
                            <a:pt x="42863" y="165735"/>
                          </a:lnTo>
                          <a:cubicBezTo>
                            <a:pt x="40958" y="166688"/>
                            <a:pt x="39053" y="166688"/>
                            <a:pt x="37148" y="164783"/>
                          </a:cubicBezTo>
                          <a:lnTo>
                            <a:pt x="15240" y="142875"/>
                          </a:lnTo>
                          <a:cubicBezTo>
                            <a:pt x="13335" y="140970"/>
                            <a:pt x="13335" y="139065"/>
                            <a:pt x="14288" y="137160"/>
                          </a:cubicBezTo>
                          <a:lnTo>
                            <a:pt x="20003" y="124778"/>
                          </a:lnTo>
                          <a:cubicBezTo>
                            <a:pt x="19050" y="121920"/>
                            <a:pt x="17145" y="118110"/>
                            <a:pt x="16193" y="114300"/>
                          </a:cubicBezTo>
                          <a:lnTo>
                            <a:pt x="2858" y="109538"/>
                          </a:lnTo>
                          <a:cubicBezTo>
                            <a:pt x="953" y="109538"/>
                            <a:pt x="0" y="107632"/>
                            <a:pt x="0" y="105728"/>
                          </a:cubicBezTo>
                          <a:lnTo>
                            <a:pt x="0" y="75248"/>
                          </a:lnTo>
                          <a:cubicBezTo>
                            <a:pt x="0" y="73343"/>
                            <a:pt x="953" y="71438"/>
                            <a:pt x="2858" y="70485"/>
                          </a:cubicBezTo>
                          <a:lnTo>
                            <a:pt x="16193" y="65723"/>
                          </a:lnTo>
                          <a:cubicBezTo>
                            <a:pt x="17145" y="61913"/>
                            <a:pt x="19050" y="58103"/>
                            <a:pt x="20955" y="55245"/>
                          </a:cubicBezTo>
                          <a:lnTo>
                            <a:pt x="15240" y="41910"/>
                          </a:lnTo>
                          <a:cubicBezTo>
                            <a:pt x="14288" y="40958"/>
                            <a:pt x="14288" y="38100"/>
                            <a:pt x="15240" y="37147"/>
                          </a:cubicBezTo>
                          <a:lnTo>
                            <a:pt x="37148" y="15240"/>
                          </a:lnTo>
                          <a:cubicBezTo>
                            <a:pt x="38100" y="14288"/>
                            <a:pt x="40958" y="13335"/>
                            <a:pt x="42863" y="14288"/>
                          </a:cubicBezTo>
                          <a:lnTo>
                            <a:pt x="55245" y="20003"/>
                          </a:lnTo>
                          <a:cubicBezTo>
                            <a:pt x="59055" y="18098"/>
                            <a:pt x="62865" y="17145"/>
                            <a:pt x="65723" y="15240"/>
                          </a:cubicBezTo>
                          <a:lnTo>
                            <a:pt x="70485" y="1905"/>
                          </a:lnTo>
                          <a:cubicBezTo>
                            <a:pt x="71438" y="952"/>
                            <a:pt x="73343" y="0"/>
                            <a:pt x="75248" y="0"/>
                          </a:cubicBezTo>
                          <a:lnTo>
                            <a:pt x="90488" y="0"/>
                          </a:lnTo>
                          <a:lnTo>
                            <a:pt x="105728" y="0"/>
                          </a:lnTo>
                          <a:cubicBezTo>
                            <a:pt x="107633" y="0"/>
                            <a:pt x="109538" y="952"/>
                            <a:pt x="110490" y="2858"/>
                          </a:cubicBezTo>
                          <a:lnTo>
                            <a:pt x="115253" y="16192"/>
                          </a:lnTo>
                          <a:cubicBezTo>
                            <a:pt x="119063" y="17145"/>
                            <a:pt x="122873" y="19050"/>
                            <a:pt x="125730" y="20955"/>
                          </a:cubicBezTo>
                          <a:lnTo>
                            <a:pt x="138113" y="15240"/>
                          </a:lnTo>
                          <a:cubicBezTo>
                            <a:pt x="140018" y="14288"/>
                            <a:pt x="141923" y="14288"/>
                            <a:pt x="143828" y="16192"/>
                          </a:cubicBezTo>
                          <a:lnTo>
                            <a:pt x="165735" y="38100"/>
                          </a:lnTo>
                          <a:cubicBezTo>
                            <a:pt x="167640" y="40005"/>
                            <a:pt x="167640" y="41910"/>
                            <a:pt x="166688" y="43815"/>
                          </a:cubicBezTo>
                          <a:lnTo>
                            <a:pt x="160973" y="56197"/>
                          </a:lnTo>
                          <a:cubicBezTo>
                            <a:pt x="162878" y="60008"/>
                            <a:pt x="163830" y="63818"/>
                            <a:pt x="165735" y="66675"/>
                          </a:cubicBezTo>
                          <a:lnTo>
                            <a:pt x="179070" y="71438"/>
                          </a:lnTo>
                          <a:cubicBezTo>
                            <a:pt x="180975" y="72390"/>
                            <a:pt x="181928" y="74295"/>
                            <a:pt x="181928" y="76200"/>
                          </a:cubicBezTo>
                          <a:lnTo>
                            <a:pt x="181928" y="106680"/>
                          </a:lnTo>
                          <a:cubicBezTo>
                            <a:pt x="181928" y="108585"/>
                            <a:pt x="180975" y="110490"/>
                            <a:pt x="179070" y="111443"/>
                          </a:cubicBezTo>
                          <a:lnTo>
                            <a:pt x="164783" y="114300"/>
                          </a:lnTo>
                          <a:cubicBezTo>
                            <a:pt x="163830" y="118110"/>
                            <a:pt x="161925" y="121920"/>
                            <a:pt x="160020" y="124778"/>
                          </a:cubicBezTo>
                          <a:lnTo>
                            <a:pt x="165735" y="137160"/>
                          </a:lnTo>
                          <a:cubicBezTo>
                            <a:pt x="166688" y="139065"/>
                            <a:pt x="166688" y="140970"/>
                            <a:pt x="164783" y="142875"/>
                          </a:cubicBezTo>
                          <a:lnTo>
                            <a:pt x="142875" y="164783"/>
                          </a:lnTo>
                          <a:cubicBezTo>
                            <a:pt x="141923" y="166688"/>
                            <a:pt x="139065" y="166688"/>
                            <a:pt x="137160" y="165735"/>
                          </a:cubicBezTo>
                          <a:lnTo>
                            <a:pt x="124778" y="160020"/>
                          </a:lnTo>
                          <a:cubicBezTo>
                            <a:pt x="120968" y="161925"/>
                            <a:pt x="117158" y="162878"/>
                            <a:pt x="114300" y="164783"/>
                          </a:cubicBezTo>
                          <a:lnTo>
                            <a:pt x="109538" y="178118"/>
                          </a:lnTo>
                          <a:cubicBezTo>
                            <a:pt x="109538" y="179070"/>
                            <a:pt x="107633" y="180975"/>
                            <a:pt x="105728" y="180975"/>
                          </a:cubicBezTo>
                          <a:close/>
                          <a:moveTo>
                            <a:pt x="79058" y="171450"/>
                          </a:moveTo>
                          <a:lnTo>
                            <a:pt x="102870" y="171450"/>
                          </a:lnTo>
                          <a:lnTo>
                            <a:pt x="106680" y="159068"/>
                          </a:lnTo>
                          <a:cubicBezTo>
                            <a:pt x="107633" y="157163"/>
                            <a:pt x="108585" y="156210"/>
                            <a:pt x="109538" y="156210"/>
                          </a:cubicBezTo>
                          <a:cubicBezTo>
                            <a:pt x="114300" y="155258"/>
                            <a:pt x="119063" y="153353"/>
                            <a:pt x="122873" y="150495"/>
                          </a:cubicBezTo>
                          <a:cubicBezTo>
                            <a:pt x="123825" y="149543"/>
                            <a:pt x="125730" y="149543"/>
                            <a:pt x="127635" y="150495"/>
                          </a:cubicBezTo>
                          <a:lnTo>
                            <a:pt x="139065" y="156210"/>
                          </a:lnTo>
                          <a:lnTo>
                            <a:pt x="156210" y="139065"/>
                          </a:lnTo>
                          <a:lnTo>
                            <a:pt x="150495" y="127635"/>
                          </a:lnTo>
                          <a:cubicBezTo>
                            <a:pt x="149543" y="126682"/>
                            <a:pt x="149543" y="124778"/>
                            <a:pt x="150495" y="122873"/>
                          </a:cubicBezTo>
                          <a:cubicBezTo>
                            <a:pt x="153353" y="118110"/>
                            <a:pt x="155258" y="114300"/>
                            <a:pt x="156210" y="109538"/>
                          </a:cubicBezTo>
                          <a:cubicBezTo>
                            <a:pt x="156210" y="107632"/>
                            <a:pt x="158115" y="106680"/>
                            <a:pt x="159068" y="106680"/>
                          </a:cubicBezTo>
                          <a:lnTo>
                            <a:pt x="171450" y="102870"/>
                          </a:lnTo>
                          <a:lnTo>
                            <a:pt x="171450" y="79058"/>
                          </a:lnTo>
                          <a:lnTo>
                            <a:pt x="159068" y="75248"/>
                          </a:lnTo>
                          <a:cubicBezTo>
                            <a:pt x="157163" y="74295"/>
                            <a:pt x="156210" y="73343"/>
                            <a:pt x="156210" y="72390"/>
                          </a:cubicBezTo>
                          <a:cubicBezTo>
                            <a:pt x="155258" y="67628"/>
                            <a:pt x="153353" y="62865"/>
                            <a:pt x="150495" y="59055"/>
                          </a:cubicBezTo>
                          <a:cubicBezTo>
                            <a:pt x="149543" y="58103"/>
                            <a:pt x="149543" y="56197"/>
                            <a:pt x="150495" y="54293"/>
                          </a:cubicBezTo>
                          <a:lnTo>
                            <a:pt x="156210" y="42863"/>
                          </a:lnTo>
                          <a:lnTo>
                            <a:pt x="139065" y="25717"/>
                          </a:lnTo>
                          <a:lnTo>
                            <a:pt x="127635" y="31433"/>
                          </a:lnTo>
                          <a:cubicBezTo>
                            <a:pt x="126683" y="32385"/>
                            <a:pt x="124778" y="32385"/>
                            <a:pt x="122873" y="31433"/>
                          </a:cubicBezTo>
                          <a:cubicBezTo>
                            <a:pt x="118110" y="28575"/>
                            <a:pt x="114300" y="26670"/>
                            <a:pt x="109538" y="25717"/>
                          </a:cubicBezTo>
                          <a:cubicBezTo>
                            <a:pt x="107633" y="25717"/>
                            <a:pt x="106680" y="23813"/>
                            <a:pt x="106680" y="22860"/>
                          </a:cubicBezTo>
                          <a:lnTo>
                            <a:pt x="102870" y="9525"/>
                          </a:lnTo>
                          <a:lnTo>
                            <a:pt x="90488" y="9525"/>
                          </a:lnTo>
                          <a:lnTo>
                            <a:pt x="79058" y="9525"/>
                          </a:lnTo>
                          <a:lnTo>
                            <a:pt x="74295" y="20955"/>
                          </a:lnTo>
                          <a:cubicBezTo>
                            <a:pt x="73343" y="22860"/>
                            <a:pt x="72390" y="23813"/>
                            <a:pt x="71438" y="23813"/>
                          </a:cubicBezTo>
                          <a:cubicBezTo>
                            <a:pt x="66675" y="25717"/>
                            <a:pt x="61913" y="27623"/>
                            <a:pt x="58103" y="29528"/>
                          </a:cubicBezTo>
                          <a:cubicBezTo>
                            <a:pt x="57150" y="30480"/>
                            <a:pt x="55245" y="30480"/>
                            <a:pt x="53340" y="29528"/>
                          </a:cubicBezTo>
                          <a:lnTo>
                            <a:pt x="41910" y="24765"/>
                          </a:lnTo>
                          <a:lnTo>
                            <a:pt x="24765" y="40958"/>
                          </a:lnTo>
                          <a:lnTo>
                            <a:pt x="30480" y="52388"/>
                          </a:lnTo>
                          <a:cubicBezTo>
                            <a:pt x="31433" y="53340"/>
                            <a:pt x="31433" y="55245"/>
                            <a:pt x="30480" y="57150"/>
                          </a:cubicBezTo>
                          <a:cubicBezTo>
                            <a:pt x="27623" y="61913"/>
                            <a:pt x="25718" y="65723"/>
                            <a:pt x="24765" y="70485"/>
                          </a:cubicBezTo>
                          <a:cubicBezTo>
                            <a:pt x="24765" y="72390"/>
                            <a:pt x="22860" y="73343"/>
                            <a:pt x="21908" y="73343"/>
                          </a:cubicBezTo>
                          <a:lnTo>
                            <a:pt x="9525" y="78105"/>
                          </a:lnTo>
                          <a:lnTo>
                            <a:pt x="9525" y="101918"/>
                          </a:lnTo>
                          <a:lnTo>
                            <a:pt x="21908" y="105728"/>
                          </a:lnTo>
                          <a:cubicBezTo>
                            <a:pt x="23813" y="106680"/>
                            <a:pt x="24765" y="107632"/>
                            <a:pt x="24765" y="108585"/>
                          </a:cubicBezTo>
                          <a:cubicBezTo>
                            <a:pt x="25718" y="113348"/>
                            <a:pt x="27623" y="118110"/>
                            <a:pt x="30480" y="121920"/>
                          </a:cubicBezTo>
                          <a:cubicBezTo>
                            <a:pt x="31433" y="122873"/>
                            <a:pt x="31433" y="124778"/>
                            <a:pt x="30480" y="126682"/>
                          </a:cubicBezTo>
                          <a:lnTo>
                            <a:pt x="24765" y="138113"/>
                          </a:lnTo>
                          <a:lnTo>
                            <a:pt x="41910" y="155258"/>
                          </a:lnTo>
                          <a:lnTo>
                            <a:pt x="53340" y="149543"/>
                          </a:lnTo>
                          <a:cubicBezTo>
                            <a:pt x="54293" y="148590"/>
                            <a:pt x="56198" y="148590"/>
                            <a:pt x="58103" y="149543"/>
                          </a:cubicBezTo>
                          <a:cubicBezTo>
                            <a:pt x="61913" y="152400"/>
                            <a:pt x="66675" y="154305"/>
                            <a:pt x="71438" y="156210"/>
                          </a:cubicBezTo>
                          <a:cubicBezTo>
                            <a:pt x="73343" y="156210"/>
                            <a:pt x="74295" y="158115"/>
                            <a:pt x="74295" y="159068"/>
                          </a:cubicBezTo>
                          <a:lnTo>
                            <a:pt x="79058" y="171450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" name="Freeform: Shape 189">
                      <a:extLst>
                        <a:ext uri="{FF2B5EF4-FFF2-40B4-BE49-F238E27FC236}">
                          <a16:creationId xmlns:a16="http://schemas.microsoft.com/office/drawing/2014/main" id="{1C4867BE-B78B-2E4E-8516-788C05B2D5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0274" y="3405663"/>
                      <a:ext cx="66675" cy="57150"/>
                    </a:xfrm>
                    <a:custGeom>
                      <a:avLst/>
                      <a:gdLst>
                        <a:gd name="connsiteX0" fmla="*/ 33814 w 66675"/>
                        <a:gd name="connsiteY0" fmla="*/ 66199 h 57150"/>
                        <a:gd name="connsiteX1" fmla="*/ 10001 w 66675"/>
                        <a:gd name="connsiteY1" fmla="*/ 56674 h 57150"/>
                        <a:gd name="connsiteX2" fmla="*/ 10001 w 66675"/>
                        <a:gd name="connsiteY2" fmla="*/ 10001 h 57150"/>
                        <a:gd name="connsiteX3" fmla="*/ 56674 w 66675"/>
                        <a:gd name="connsiteY3" fmla="*/ 10001 h 57150"/>
                        <a:gd name="connsiteX4" fmla="*/ 56674 w 66675"/>
                        <a:gd name="connsiteY4" fmla="*/ 10001 h 57150"/>
                        <a:gd name="connsiteX5" fmla="*/ 56674 w 66675"/>
                        <a:gd name="connsiteY5" fmla="*/ 56674 h 57150"/>
                        <a:gd name="connsiteX6" fmla="*/ 33814 w 66675"/>
                        <a:gd name="connsiteY6" fmla="*/ 66199 h 57150"/>
                        <a:gd name="connsiteX7" fmla="*/ 33814 w 66675"/>
                        <a:gd name="connsiteY7" fmla="*/ 9049 h 57150"/>
                        <a:gd name="connsiteX8" fmla="*/ 16669 w 66675"/>
                        <a:gd name="connsiteY8" fmla="*/ 15716 h 57150"/>
                        <a:gd name="connsiteX9" fmla="*/ 16669 w 66675"/>
                        <a:gd name="connsiteY9" fmla="*/ 49054 h 57150"/>
                        <a:gd name="connsiteX10" fmla="*/ 50006 w 66675"/>
                        <a:gd name="connsiteY10" fmla="*/ 49054 h 57150"/>
                        <a:gd name="connsiteX11" fmla="*/ 50006 w 66675"/>
                        <a:gd name="connsiteY11" fmla="*/ 15716 h 57150"/>
                        <a:gd name="connsiteX12" fmla="*/ 33814 w 66675"/>
                        <a:gd name="connsiteY12" fmla="*/ 9049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675" h="57150">
                          <a:moveTo>
                            <a:pt x="33814" y="66199"/>
                          </a:moveTo>
                          <a:cubicBezTo>
                            <a:pt x="25241" y="66199"/>
                            <a:pt x="16669" y="63341"/>
                            <a:pt x="10001" y="56674"/>
                          </a:cubicBezTo>
                          <a:cubicBezTo>
                            <a:pt x="-3334" y="43339"/>
                            <a:pt x="-3334" y="22384"/>
                            <a:pt x="10001" y="10001"/>
                          </a:cubicBezTo>
                          <a:cubicBezTo>
                            <a:pt x="23336" y="-3334"/>
                            <a:pt x="44291" y="-3334"/>
                            <a:pt x="56674" y="10001"/>
                          </a:cubicBezTo>
                          <a:lnTo>
                            <a:pt x="56674" y="10001"/>
                          </a:lnTo>
                          <a:cubicBezTo>
                            <a:pt x="70009" y="23336"/>
                            <a:pt x="70009" y="44291"/>
                            <a:pt x="56674" y="56674"/>
                          </a:cubicBezTo>
                          <a:cubicBezTo>
                            <a:pt x="50959" y="62389"/>
                            <a:pt x="42386" y="66199"/>
                            <a:pt x="33814" y="66199"/>
                          </a:cubicBezTo>
                          <a:close/>
                          <a:moveTo>
                            <a:pt x="33814" y="9049"/>
                          </a:moveTo>
                          <a:cubicBezTo>
                            <a:pt x="28099" y="9049"/>
                            <a:pt x="21431" y="10954"/>
                            <a:pt x="16669" y="15716"/>
                          </a:cubicBezTo>
                          <a:cubicBezTo>
                            <a:pt x="7144" y="25241"/>
                            <a:pt x="7144" y="40481"/>
                            <a:pt x="16669" y="49054"/>
                          </a:cubicBezTo>
                          <a:cubicBezTo>
                            <a:pt x="26194" y="58579"/>
                            <a:pt x="41434" y="58579"/>
                            <a:pt x="50006" y="49054"/>
                          </a:cubicBezTo>
                          <a:cubicBezTo>
                            <a:pt x="59531" y="39529"/>
                            <a:pt x="59531" y="24289"/>
                            <a:pt x="50006" y="15716"/>
                          </a:cubicBezTo>
                          <a:cubicBezTo>
                            <a:pt x="46196" y="10954"/>
                            <a:pt x="39529" y="9049"/>
                            <a:pt x="33814" y="904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" name="Graphic 3">
                    <a:extLst>
                      <a:ext uri="{FF2B5EF4-FFF2-40B4-BE49-F238E27FC236}">
                        <a16:creationId xmlns:a16="http://schemas.microsoft.com/office/drawing/2014/main" id="{B425E9DE-7ACD-4A4D-3765-DE763B0BD3B3}"/>
                      </a:ext>
                    </a:extLst>
                  </p:cNvPr>
                  <p:cNvGrpSpPr/>
                  <p:nvPr/>
                </p:nvGrpSpPr>
                <p:grpSpPr>
                  <a:xfrm>
                    <a:off x="6111240" y="3300412"/>
                    <a:ext cx="123825" cy="123825"/>
                    <a:chOff x="6111240" y="3300412"/>
                    <a:chExt cx="123825" cy="123825"/>
                  </a:xfrm>
                  <a:grpFill/>
                </p:grpSpPr>
                <p:sp>
                  <p:nvSpPr>
                    <p:cNvPr id="225" name="Freeform: Shape 186">
                      <a:extLst>
                        <a:ext uri="{FF2B5EF4-FFF2-40B4-BE49-F238E27FC236}">
                          <a16:creationId xmlns:a16="http://schemas.microsoft.com/office/drawing/2014/main" id="{ED1A415F-8F2D-8DAD-C6E7-E3A6BA67FE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1240" y="3300412"/>
                      <a:ext cx="123825" cy="123825"/>
                    </a:xfrm>
                    <a:custGeom>
                      <a:avLst/>
                      <a:gdLst>
                        <a:gd name="connsiteX0" fmla="*/ 77153 w 123825"/>
                        <a:gd name="connsiteY0" fmla="*/ 132398 h 123825"/>
                        <a:gd name="connsiteX1" fmla="*/ 55245 w 123825"/>
                        <a:gd name="connsiteY1" fmla="*/ 132398 h 123825"/>
                        <a:gd name="connsiteX2" fmla="*/ 50482 w 123825"/>
                        <a:gd name="connsiteY2" fmla="*/ 129540 h 123825"/>
                        <a:gd name="connsiteX3" fmla="*/ 47625 w 123825"/>
                        <a:gd name="connsiteY3" fmla="*/ 120968 h 123825"/>
                        <a:gd name="connsiteX4" fmla="*/ 40957 w 123825"/>
                        <a:gd name="connsiteY4" fmla="*/ 118110 h 123825"/>
                        <a:gd name="connsiteX5" fmla="*/ 32385 w 123825"/>
                        <a:gd name="connsiteY5" fmla="*/ 121920 h 123825"/>
                        <a:gd name="connsiteX6" fmla="*/ 26670 w 123825"/>
                        <a:gd name="connsiteY6" fmla="*/ 120968 h 123825"/>
                        <a:gd name="connsiteX7" fmla="*/ 11430 w 123825"/>
                        <a:gd name="connsiteY7" fmla="*/ 105728 h 123825"/>
                        <a:gd name="connsiteX8" fmla="*/ 10478 w 123825"/>
                        <a:gd name="connsiteY8" fmla="*/ 100013 h 123825"/>
                        <a:gd name="connsiteX9" fmla="*/ 14288 w 123825"/>
                        <a:gd name="connsiteY9" fmla="*/ 91440 h 123825"/>
                        <a:gd name="connsiteX10" fmla="*/ 11430 w 123825"/>
                        <a:gd name="connsiteY10" fmla="*/ 84773 h 123825"/>
                        <a:gd name="connsiteX11" fmla="*/ 2857 w 123825"/>
                        <a:gd name="connsiteY11" fmla="*/ 81915 h 123825"/>
                        <a:gd name="connsiteX12" fmla="*/ 0 w 123825"/>
                        <a:gd name="connsiteY12" fmla="*/ 77153 h 123825"/>
                        <a:gd name="connsiteX13" fmla="*/ 0 w 123825"/>
                        <a:gd name="connsiteY13" fmla="*/ 55245 h 123825"/>
                        <a:gd name="connsiteX14" fmla="*/ 2857 w 123825"/>
                        <a:gd name="connsiteY14" fmla="*/ 50483 h 123825"/>
                        <a:gd name="connsiteX15" fmla="*/ 11430 w 123825"/>
                        <a:gd name="connsiteY15" fmla="*/ 47625 h 123825"/>
                        <a:gd name="connsiteX16" fmla="*/ 14288 w 123825"/>
                        <a:gd name="connsiteY16" fmla="*/ 40958 h 123825"/>
                        <a:gd name="connsiteX17" fmla="*/ 10478 w 123825"/>
                        <a:gd name="connsiteY17" fmla="*/ 32385 h 123825"/>
                        <a:gd name="connsiteX18" fmla="*/ 11430 w 123825"/>
                        <a:gd name="connsiteY18" fmla="*/ 26670 h 123825"/>
                        <a:gd name="connsiteX19" fmla="*/ 26670 w 123825"/>
                        <a:gd name="connsiteY19" fmla="*/ 11430 h 123825"/>
                        <a:gd name="connsiteX20" fmla="*/ 32385 w 123825"/>
                        <a:gd name="connsiteY20" fmla="*/ 10478 h 123825"/>
                        <a:gd name="connsiteX21" fmla="*/ 40957 w 123825"/>
                        <a:gd name="connsiteY21" fmla="*/ 14288 h 123825"/>
                        <a:gd name="connsiteX22" fmla="*/ 47625 w 123825"/>
                        <a:gd name="connsiteY22" fmla="*/ 11430 h 123825"/>
                        <a:gd name="connsiteX23" fmla="*/ 50482 w 123825"/>
                        <a:gd name="connsiteY23" fmla="*/ 2858 h 123825"/>
                        <a:gd name="connsiteX24" fmla="*/ 54292 w 123825"/>
                        <a:gd name="connsiteY24" fmla="*/ 0 h 123825"/>
                        <a:gd name="connsiteX25" fmla="*/ 65723 w 123825"/>
                        <a:gd name="connsiteY25" fmla="*/ 0 h 123825"/>
                        <a:gd name="connsiteX26" fmla="*/ 77153 w 123825"/>
                        <a:gd name="connsiteY26" fmla="*/ 0 h 123825"/>
                        <a:gd name="connsiteX27" fmla="*/ 81915 w 123825"/>
                        <a:gd name="connsiteY27" fmla="*/ 2858 h 123825"/>
                        <a:gd name="connsiteX28" fmla="*/ 84773 w 123825"/>
                        <a:gd name="connsiteY28" fmla="*/ 11430 h 123825"/>
                        <a:gd name="connsiteX29" fmla="*/ 91440 w 123825"/>
                        <a:gd name="connsiteY29" fmla="*/ 14288 h 123825"/>
                        <a:gd name="connsiteX30" fmla="*/ 99060 w 123825"/>
                        <a:gd name="connsiteY30" fmla="*/ 10478 h 123825"/>
                        <a:gd name="connsiteX31" fmla="*/ 104775 w 123825"/>
                        <a:gd name="connsiteY31" fmla="*/ 11430 h 123825"/>
                        <a:gd name="connsiteX32" fmla="*/ 120015 w 123825"/>
                        <a:gd name="connsiteY32" fmla="*/ 26670 h 123825"/>
                        <a:gd name="connsiteX33" fmla="*/ 120967 w 123825"/>
                        <a:gd name="connsiteY33" fmla="*/ 32385 h 123825"/>
                        <a:gd name="connsiteX34" fmla="*/ 117157 w 123825"/>
                        <a:gd name="connsiteY34" fmla="*/ 40958 h 123825"/>
                        <a:gd name="connsiteX35" fmla="*/ 120015 w 123825"/>
                        <a:gd name="connsiteY35" fmla="*/ 47625 h 123825"/>
                        <a:gd name="connsiteX36" fmla="*/ 128588 w 123825"/>
                        <a:gd name="connsiteY36" fmla="*/ 50483 h 123825"/>
                        <a:gd name="connsiteX37" fmla="*/ 131445 w 123825"/>
                        <a:gd name="connsiteY37" fmla="*/ 55245 h 123825"/>
                        <a:gd name="connsiteX38" fmla="*/ 131445 w 123825"/>
                        <a:gd name="connsiteY38" fmla="*/ 77153 h 123825"/>
                        <a:gd name="connsiteX39" fmla="*/ 128588 w 123825"/>
                        <a:gd name="connsiteY39" fmla="*/ 81915 h 123825"/>
                        <a:gd name="connsiteX40" fmla="*/ 120015 w 123825"/>
                        <a:gd name="connsiteY40" fmla="*/ 84773 h 123825"/>
                        <a:gd name="connsiteX41" fmla="*/ 117157 w 123825"/>
                        <a:gd name="connsiteY41" fmla="*/ 91440 h 123825"/>
                        <a:gd name="connsiteX42" fmla="*/ 120967 w 123825"/>
                        <a:gd name="connsiteY42" fmla="*/ 100013 h 123825"/>
                        <a:gd name="connsiteX43" fmla="*/ 120015 w 123825"/>
                        <a:gd name="connsiteY43" fmla="*/ 105728 h 123825"/>
                        <a:gd name="connsiteX44" fmla="*/ 104775 w 123825"/>
                        <a:gd name="connsiteY44" fmla="*/ 120968 h 123825"/>
                        <a:gd name="connsiteX45" fmla="*/ 99060 w 123825"/>
                        <a:gd name="connsiteY45" fmla="*/ 121920 h 123825"/>
                        <a:gd name="connsiteX46" fmla="*/ 90488 w 123825"/>
                        <a:gd name="connsiteY46" fmla="*/ 118110 h 123825"/>
                        <a:gd name="connsiteX47" fmla="*/ 83820 w 123825"/>
                        <a:gd name="connsiteY47" fmla="*/ 120968 h 123825"/>
                        <a:gd name="connsiteX48" fmla="*/ 80963 w 123825"/>
                        <a:gd name="connsiteY48" fmla="*/ 129540 h 123825"/>
                        <a:gd name="connsiteX49" fmla="*/ 77153 w 123825"/>
                        <a:gd name="connsiteY49" fmla="*/ 132398 h 123825"/>
                        <a:gd name="connsiteX50" fmla="*/ 58103 w 123825"/>
                        <a:gd name="connsiteY50" fmla="*/ 122873 h 123825"/>
                        <a:gd name="connsiteX51" fmla="*/ 73342 w 123825"/>
                        <a:gd name="connsiteY51" fmla="*/ 122873 h 123825"/>
                        <a:gd name="connsiteX52" fmla="*/ 76200 w 123825"/>
                        <a:gd name="connsiteY52" fmla="*/ 115253 h 123825"/>
                        <a:gd name="connsiteX53" fmla="*/ 79057 w 123825"/>
                        <a:gd name="connsiteY53" fmla="*/ 112395 h 123825"/>
                        <a:gd name="connsiteX54" fmla="*/ 88582 w 123825"/>
                        <a:gd name="connsiteY54" fmla="*/ 108585 h 123825"/>
                        <a:gd name="connsiteX55" fmla="*/ 93345 w 123825"/>
                        <a:gd name="connsiteY55" fmla="*/ 108585 h 123825"/>
                        <a:gd name="connsiteX56" fmla="*/ 100965 w 123825"/>
                        <a:gd name="connsiteY56" fmla="*/ 112395 h 123825"/>
                        <a:gd name="connsiteX57" fmla="*/ 111442 w 123825"/>
                        <a:gd name="connsiteY57" fmla="*/ 101918 h 123825"/>
                        <a:gd name="connsiteX58" fmla="*/ 107632 w 123825"/>
                        <a:gd name="connsiteY58" fmla="*/ 94298 h 123825"/>
                        <a:gd name="connsiteX59" fmla="*/ 107632 w 123825"/>
                        <a:gd name="connsiteY59" fmla="*/ 89535 h 123825"/>
                        <a:gd name="connsiteX60" fmla="*/ 111442 w 123825"/>
                        <a:gd name="connsiteY60" fmla="*/ 80010 h 123825"/>
                        <a:gd name="connsiteX61" fmla="*/ 114300 w 123825"/>
                        <a:gd name="connsiteY61" fmla="*/ 77153 h 123825"/>
                        <a:gd name="connsiteX62" fmla="*/ 121920 w 123825"/>
                        <a:gd name="connsiteY62" fmla="*/ 74295 h 123825"/>
                        <a:gd name="connsiteX63" fmla="*/ 121920 w 123825"/>
                        <a:gd name="connsiteY63" fmla="*/ 59055 h 123825"/>
                        <a:gd name="connsiteX64" fmla="*/ 114300 w 123825"/>
                        <a:gd name="connsiteY64" fmla="*/ 56198 h 123825"/>
                        <a:gd name="connsiteX65" fmla="*/ 111442 w 123825"/>
                        <a:gd name="connsiteY65" fmla="*/ 53340 h 123825"/>
                        <a:gd name="connsiteX66" fmla="*/ 107632 w 123825"/>
                        <a:gd name="connsiteY66" fmla="*/ 43815 h 123825"/>
                        <a:gd name="connsiteX67" fmla="*/ 107632 w 123825"/>
                        <a:gd name="connsiteY67" fmla="*/ 39053 h 123825"/>
                        <a:gd name="connsiteX68" fmla="*/ 111442 w 123825"/>
                        <a:gd name="connsiteY68" fmla="*/ 31433 h 123825"/>
                        <a:gd name="connsiteX69" fmla="*/ 100965 w 123825"/>
                        <a:gd name="connsiteY69" fmla="*/ 20955 h 123825"/>
                        <a:gd name="connsiteX70" fmla="*/ 93345 w 123825"/>
                        <a:gd name="connsiteY70" fmla="*/ 24765 h 123825"/>
                        <a:gd name="connsiteX71" fmla="*/ 88582 w 123825"/>
                        <a:gd name="connsiteY71" fmla="*/ 24765 h 123825"/>
                        <a:gd name="connsiteX72" fmla="*/ 79057 w 123825"/>
                        <a:gd name="connsiteY72" fmla="*/ 20955 h 123825"/>
                        <a:gd name="connsiteX73" fmla="*/ 76200 w 123825"/>
                        <a:gd name="connsiteY73" fmla="*/ 18098 h 123825"/>
                        <a:gd name="connsiteX74" fmla="*/ 73342 w 123825"/>
                        <a:gd name="connsiteY74" fmla="*/ 9525 h 123825"/>
                        <a:gd name="connsiteX75" fmla="*/ 65723 w 123825"/>
                        <a:gd name="connsiteY75" fmla="*/ 9525 h 123825"/>
                        <a:gd name="connsiteX76" fmla="*/ 58103 w 123825"/>
                        <a:gd name="connsiteY76" fmla="*/ 9525 h 123825"/>
                        <a:gd name="connsiteX77" fmla="*/ 55245 w 123825"/>
                        <a:gd name="connsiteY77" fmla="*/ 17145 h 123825"/>
                        <a:gd name="connsiteX78" fmla="*/ 52388 w 123825"/>
                        <a:gd name="connsiteY78" fmla="*/ 20003 h 123825"/>
                        <a:gd name="connsiteX79" fmla="*/ 42863 w 123825"/>
                        <a:gd name="connsiteY79" fmla="*/ 23813 h 123825"/>
                        <a:gd name="connsiteX80" fmla="*/ 38100 w 123825"/>
                        <a:gd name="connsiteY80" fmla="*/ 23813 h 123825"/>
                        <a:gd name="connsiteX81" fmla="*/ 30480 w 123825"/>
                        <a:gd name="connsiteY81" fmla="*/ 20003 h 123825"/>
                        <a:gd name="connsiteX82" fmla="*/ 20003 w 123825"/>
                        <a:gd name="connsiteY82" fmla="*/ 30480 h 123825"/>
                        <a:gd name="connsiteX83" fmla="*/ 23813 w 123825"/>
                        <a:gd name="connsiteY83" fmla="*/ 38100 h 123825"/>
                        <a:gd name="connsiteX84" fmla="*/ 23813 w 123825"/>
                        <a:gd name="connsiteY84" fmla="*/ 42863 h 123825"/>
                        <a:gd name="connsiteX85" fmla="*/ 20003 w 123825"/>
                        <a:gd name="connsiteY85" fmla="*/ 52388 h 123825"/>
                        <a:gd name="connsiteX86" fmla="*/ 17145 w 123825"/>
                        <a:gd name="connsiteY86" fmla="*/ 55245 h 123825"/>
                        <a:gd name="connsiteX87" fmla="*/ 9525 w 123825"/>
                        <a:gd name="connsiteY87" fmla="*/ 58103 h 123825"/>
                        <a:gd name="connsiteX88" fmla="*/ 9525 w 123825"/>
                        <a:gd name="connsiteY88" fmla="*/ 73343 h 123825"/>
                        <a:gd name="connsiteX89" fmla="*/ 17145 w 123825"/>
                        <a:gd name="connsiteY89" fmla="*/ 76200 h 123825"/>
                        <a:gd name="connsiteX90" fmla="*/ 20003 w 123825"/>
                        <a:gd name="connsiteY90" fmla="*/ 79058 h 123825"/>
                        <a:gd name="connsiteX91" fmla="*/ 23813 w 123825"/>
                        <a:gd name="connsiteY91" fmla="*/ 88583 h 123825"/>
                        <a:gd name="connsiteX92" fmla="*/ 23813 w 123825"/>
                        <a:gd name="connsiteY92" fmla="*/ 93345 h 123825"/>
                        <a:gd name="connsiteX93" fmla="*/ 20003 w 123825"/>
                        <a:gd name="connsiteY93" fmla="*/ 100965 h 123825"/>
                        <a:gd name="connsiteX94" fmla="*/ 30480 w 123825"/>
                        <a:gd name="connsiteY94" fmla="*/ 111443 h 123825"/>
                        <a:gd name="connsiteX95" fmla="*/ 38100 w 123825"/>
                        <a:gd name="connsiteY95" fmla="*/ 107633 h 123825"/>
                        <a:gd name="connsiteX96" fmla="*/ 42863 w 123825"/>
                        <a:gd name="connsiteY96" fmla="*/ 107633 h 123825"/>
                        <a:gd name="connsiteX97" fmla="*/ 52388 w 123825"/>
                        <a:gd name="connsiteY97" fmla="*/ 111443 h 123825"/>
                        <a:gd name="connsiteX98" fmla="*/ 55245 w 123825"/>
                        <a:gd name="connsiteY98" fmla="*/ 114300 h 123825"/>
                        <a:gd name="connsiteX99" fmla="*/ 58103 w 123825"/>
                        <a:gd name="connsiteY99" fmla="*/ 122873 h 1238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</a:cxnLst>
                      <a:rect l="l" t="t" r="r" b="b"/>
                      <a:pathLst>
                        <a:path w="123825" h="123825">
                          <a:moveTo>
                            <a:pt x="77153" y="132398"/>
                          </a:moveTo>
                          <a:lnTo>
                            <a:pt x="55245" y="132398"/>
                          </a:lnTo>
                          <a:cubicBezTo>
                            <a:pt x="53340" y="132398"/>
                            <a:pt x="51435" y="131445"/>
                            <a:pt x="50482" y="129540"/>
                          </a:cubicBezTo>
                          <a:lnTo>
                            <a:pt x="47625" y="120968"/>
                          </a:lnTo>
                          <a:cubicBezTo>
                            <a:pt x="45720" y="120015"/>
                            <a:pt x="42863" y="119063"/>
                            <a:pt x="40957" y="118110"/>
                          </a:cubicBezTo>
                          <a:lnTo>
                            <a:pt x="32385" y="121920"/>
                          </a:lnTo>
                          <a:cubicBezTo>
                            <a:pt x="30480" y="122873"/>
                            <a:pt x="28575" y="122873"/>
                            <a:pt x="26670" y="120968"/>
                          </a:cubicBezTo>
                          <a:lnTo>
                            <a:pt x="11430" y="105728"/>
                          </a:lnTo>
                          <a:cubicBezTo>
                            <a:pt x="9525" y="103823"/>
                            <a:pt x="9525" y="101918"/>
                            <a:pt x="10478" y="100013"/>
                          </a:cubicBezTo>
                          <a:lnTo>
                            <a:pt x="14288" y="91440"/>
                          </a:lnTo>
                          <a:cubicBezTo>
                            <a:pt x="13335" y="89535"/>
                            <a:pt x="12382" y="86678"/>
                            <a:pt x="11430" y="84773"/>
                          </a:cubicBezTo>
                          <a:lnTo>
                            <a:pt x="2857" y="81915"/>
                          </a:lnTo>
                          <a:cubicBezTo>
                            <a:pt x="953" y="80963"/>
                            <a:pt x="0" y="79058"/>
                            <a:pt x="0" y="77153"/>
                          </a:cubicBezTo>
                          <a:lnTo>
                            <a:pt x="0" y="55245"/>
                          </a:lnTo>
                          <a:cubicBezTo>
                            <a:pt x="0" y="53340"/>
                            <a:pt x="953" y="51435"/>
                            <a:pt x="2857" y="50483"/>
                          </a:cubicBezTo>
                          <a:lnTo>
                            <a:pt x="11430" y="47625"/>
                          </a:lnTo>
                          <a:cubicBezTo>
                            <a:pt x="12382" y="45720"/>
                            <a:pt x="13335" y="42863"/>
                            <a:pt x="14288" y="40958"/>
                          </a:cubicBezTo>
                          <a:lnTo>
                            <a:pt x="10478" y="32385"/>
                          </a:lnTo>
                          <a:cubicBezTo>
                            <a:pt x="9525" y="30480"/>
                            <a:pt x="9525" y="28575"/>
                            <a:pt x="11430" y="26670"/>
                          </a:cubicBezTo>
                          <a:lnTo>
                            <a:pt x="26670" y="11430"/>
                          </a:lnTo>
                          <a:cubicBezTo>
                            <a:pt x="27622" y="10478"/>
                            <a:pt x="30480" y="9525"/>
                            <a:pt x="32385" y="10478"/>
                          </a:cubicBezTo>
                          <a:lnTo>
                            <a:pt x="40957" y="14288"/>
                          </a:lnTo>
                          <a:cubicBezTo>
                            <a:pt x="42863" y="13335"/>
                            <a:pt x="45720" y="12383"/>
                            <a:pt x="47625" y="11430"/>
                          </a:cubicBezTo>
                          <a:lnTo>
                            <a:pt x="50482" y="2858"/>
                          </a:lnTo>
                          <a:cubicBezTo>
                            <a:pt x="50482" y="953"/>
                            <a:pt x="52388" y="0"/>
                            <a:pt x="54292" y="0"/>
                          </a:cubicBezTo>
                          <a:lnTo>
                            <a:pt x="65723" y="0"/>
                          </a:lnTo>
                          <a:lnTo>
                            <a:pt x="77153" y="0"/>
                          </a:lnTo>
                          <a:cubicBezTo>
                            <a:pt x="79057" y="0"/>
                            <a:pt x="80963" y="953"/>
                            <a:pt x="81915" y="2858"/>
                          </a:cubicBezTo>
                          <a:lnTo>
                            <a:pt x="84773" y="11430"/>
                          </a:lnTo>
                          <a:cubicBezTo>
                            <a:pt x="86678" y="12383"/>
                            <a:pt x="89535" y="13335"/>
                            <a:pt x="91440" y="14288"/>
                          </a:cubicBezTo>
                          <a:lnTo>
                            <a:pt x="99060" y="10478"/>
                          </a:lnTo>
                          <a:cubicBezTo>
                            <a:pt x="100965" y="9525"/>
                            <a:pt x="102870" y="9525"/>
                            <a:pt x="104775" y="11430"/>
                          </a:cubicBezTo>
                          <a:lnTo>
                            <a:pt x="120015" y="26670"/>
                          </a:lnTo>
                          <a:cubicBezTo>
                            <a:pt x="121920" y="28575"/>
                            <a:pt x="121920" y="30480"/>
                            <a:pt x="120967" y="32385"/>
                          </a:cubicBezTo>
                          <a:lnTo>
                            <a:pt x="117157" y="40958"/>
                          </a:lnTo>
                          <a:cubicBezTo>
                            <a:pt x="118110" y="42863"/>
                            <a:pt x="119063" y="45720"/>
                            <a:pt x="120015" y="47625"/>
                          </a:cubicBezTo>
                          <a:lnTo>
                            <a:pt x="128588" y="50483"/>
                          </a:lnTo>
                          <a:cubicBezTo>
                            <a:pt x="130492" y="51435"/>
                            <a:pt x="131445" y="53340"/>
                            <a:pt x="131445" y="55245"/>
                          </a:cubicBezTo>
                          <a:lnTo>
                            <a:pt x="131445" y="77153"/>
                          </a:lnTo>
                          <a:cubicBezTo>
                            <a:pt x="131445" y="79058"/>
                            <a:pt x="130492" y="80963"/>
                            <a:pt x="128588" y="81915"/>
                          </a:cubicBezTo>
                          <a:lnTo>
                            <a:pt x="120015" y="84773"/>
                          </a:lnTo>
                          <a:cubicBezTo>
                            <a:pt x="119063" y="86678"/>
                            <a:pt x="118110" y="89535"/>
                            <a:pt x="117157" y="91440"/>
                          </a:cubicBezTo>
                          <a:lnTo>
                            <a:pt x="120967" y="100013"/>
                          </a:lnTo>
                          <a:cubicBezTo>
                            <a:pt x="121920" y="101918"/>
                            <a:pt x="121920" y="103823"/>
                            <a:pt x="120015" y="105728"/>
                          </a:cubicBezTo>
                          <a:lnTo>
                            <a:pt x="104775" y="120968"/>
                          </a:lnTo>
                          <a:cubicBezTo>
                            <a:pt x="103823" y="121920"/>
                            <a:pt x="100965" y="122873"/>
                            <a:pt x="99060" y="121920"/>
                          </a:cubicBezTo>
                          <a:lnTo>
                            <a:pt x="90488" y="118110"/>
                          </a:lnTo>
                          <a:cubicBezTo>
                            <a:pt x="88582" y="119063"/>
                            <a:pt x="85725" y="120015"/>
                            <a:pt x="83820" y="120968"/>
                          </a:cubicBezTo>
                          <a:lnTo>
                            <a:pt x="80963" y="129540"/>
                          </a:lnTo>
                          <a:cubicBezTo>
                            <a:pt x="80963" y="131445"/>
                            <a:pt x="79057" y="132398"/>
                            <a:pt x="77153" y="132398"/>
                          </a:cubicBezTo>
                          <a:close/>
                          <a:moveTo>
                            <a:pt x="58103" y="122873"/>
                          </a:moveTo>
                          <a:lnTo>
                            <a:pt x="73342" y="122873"/>
                          </a:lnTo>
                          <a:lnTo>
                            <a:pt x="76200" y="115253"/>
                          </a:lnTo>
                          <a:cubicBezTo>
                            <a:pt x="77153" y="113348"/>
                            <a:pt x="78105" y="112395"/>
                            <a:pt x="79057" y="112395"/>
                          </a:cubicBezTo>
                          <a:cubicBezTo>
                            <a:pt x="81915" y="111443"/>
                            <a:pt x="85725" y="110490"/>
                            <a:pt x="88582" y="108585"/>
                          </a:cubicBezTo>
                          <a:cubicBezTo>
                            <a:pt x="89535" y="107633"/>
                            <a:pt x="91440" y="107633"/>
                            <a:pt x="93345" y="108585"/>
                          </a:cubicBezTo>
                          <a:lnTo>
                            <a:pt x="100965" y="112395"/>
                          </a:lnTo>
                          <a:lnTo>
                            <a:pt x="111442" y="101918"/>
                          </a:lnTo>
                          <a:lnTo>
                            <a:pt x="107632" y="94298"/>
                          </a:lnTo>
                          <a:cubicBezTo>
                            <a:pt x="106680" y="93345"/>
                            <a:pt x="106680" y="91440"/>
                            <a:pt x="107632" y="89535"/>
                          </a:cubicBezTo>
                          <a:cubicBezTo>
                            <a:pt x="109538" y="86678"/>
                            <a:pt x="110490" y="82868"/>
                            <a:pt x="111442" y="80010"/>
                          </a:cubicBezTo>
                          <a:cubicBezTo>
                            <a:pt x="111442" y="78105"/>
                            <a:pt x="113348" y="77153"/>
                            <a:pt x="114300" y="77153"/>
                          </a:cubicBezTo>
                          <a:lnTo>
                            <a:pt x="121920" y="74295"/>
                          </a:lnTo>
                          <a:lnTo>
                            <a:pt x="121920" y="59055"/>
                          </a:lnTo>
                          <a:lnTo>
                            <a:pt x="114300" y="56198"/>
                          </a:lnTo>
                          <a:cubicBezTo>
                            <a:pt x="112395" y="55245"/>
                            <a:pt x="111442" y="54293"/>
                            <a:pt x="111442" y="53340"/>
                          </a:cubicBezTo>
                          <a:cubicBezTo>
                            <a:pt x="110490" y="50483"/>
                            <a:pt x="109538" y="46673"/>
                            <a:pt x="107632" y="43815"/>
                          </a:cubicBezTo>
                          <a:cubicBezTo>
                            <a:pt x="106680" y="42863"/>
                            <a:pt x="106680" y="40958"/>
                            <a:pt x="107632" y="39053"/>
                          </a:cubicBezTo>
                          <a:lnTo>
                            <a:pt x="111442" y="31433"/>
                          </a:lnTo>
                          <a:lnTo>
                            <a:pt x="100965" y="20955"/>
                          </a:lnTo>
                          <a:lnTo>
                            <a:pt x="93345" y="24765"/>
                          </a:lnTo>
                          <a:cubicBezTo>
                            <a:pt x="92392" y="25718"/>
                            <a:pt x="90488" y="25718"/>
                            <a:pt x="88582" y="24765"/>
                          </a:cubicBezTo>
                          <a:cubicBezTo>
                            <a:pt x="85725" y="22860"/>
                            <a:pt x="81915" y="21908"/>
                            <a:pt x="79057" y="20955"/>
                          </a:cubicBezTo>
                          <a:cubicBezTo>
                            <a:pt x="77153" y="20955"/>
                            <a:pt x="76200" y="19050"/>
                            <a:pt x="76200" y="18098"/>
                          </a:cubicBezTo>
                          <a:lnTo>
                            <a:pt x="73342" y="9525"/>
                          </a:lnTo>
                          <a:lnTo>
                            <a:pt x="65723" y="9525"/>
                          </a:lnTo>
                          <a:lnTo>
                            <a:pt x="58103" y="9525"/>
                          </a:lnTo>
                          <a:lnTo>
                            <a:pt x="55245" y="17145"/>
                          </a:lnTo>
                          <a:cubicBezTo>
                            <a:pt x="54292" y="19050"/>
                            <a:pt x="53340" y="20003"/>
                            <a:pt x="52388" y="20003"/>
                          </a:cubicBezTo>
                          <a:cubicBezTo>
                            <a:pt x="49530" y="20955"/>
                            <a:pt x="45720" y="21908"/>
                            <a:pt x="42863" y="23813"/>
                          </a:cubicBezTo>
                          <a:cubicBezTo>
                            <a:pt x="41910" y="24765"/>
                            <a:pt x="40005" y="24765"/>
                            <a:pt x="38100" y="23813"/>
                          </a:cubicBezTo>
                          <a:lnTo>
                            <a:pt x="30480" y="20003"/>
                          </a:lnTo>
                          <a:lnTo>
                            <a:pt x="20003" y="30480"/>
                          </a:lnTo>
                          <a:lnTo>
                            <a:pt x="23813" y="38100"/>
                          </a:lnTo>
                          <a:cubicBezTo>
                            <a:pt x="24765" y="39053"/>
                            <a:pt x="24765" y="40958"/>
                            <a:pt x="23813" y="42863"/>
                          </a:cubicBezTo>
                          <a:cubicBezTo>
                            <a:pt x="21907" y="45720"/>
                            <a:pt x="20955" y="49530"/>
                            <a:pt x="20003" y="52388"/>
                          </a:cubicBezTo>
                          <a:cubicBezTo>
                            <a:pt x="20003" y="54293"/>
                            <a:pt x="18097" y="55245"/>
                            <a:pt x="17145" y="55245"/>
                          </a:cubicBezTo>
                          <a:lnTo>
                            <a:pt x="9525" y="58103"/>
                          </a:lnTo>
                          <a:lnTo>
                            <a:pt x="9525" y="73343"/>
                          </a:lnTo>
                          <a:lnTo>
                            <a:pt x="17145" y="76200"/>
                          </a:lnTo>
                          <a:cubicBezTo>
                            <a:pt x="19050" y="77153"/>
                            <a:pt x="20003" y="78105"/>
                            <a:pt x="20003" y="79058"/>
                          </a:cubicBezTo>
                          <a:cubicBezTo>
                            <a:pt x="20955" y="81915"/>
                            <a:pt x="21907" y="85725"/>
                            <a:pt x="23813" y="88583"/>
                          </a:cubicBezTo>
                          <a:cubicBezTo>
                            <a:pt x="24765" y="89535"/>
                            <a:pt x="24765" y="91440"/>
                            <a:pt x="23813" y="93345"/>
                          </a:cubicBezTo>
                          <a:lnTo>
                            <a:pt x="20003" y="100965"/>
                          </a:lnTo>
                          <a:lnTo>
                            <a:pt x="30480" y="111443"/>
                          </a:lnTo>
                          <a:lnTo>
                            <a:pt x="38100" y="107633"/>
                          </a:lnTo>
                          <a:cubicBezTo>
                            <a:pt x="39053" y="106680"/>
                            <a:pt x="40957" y="106680"/>
                            <a:pt x="42863" y="107633"/>
                          </a:cubicBezTo>
                          <a:cubicBezTo>
                            <a:pt x="45720" y="109538"/>
                            <a:pt x="49530" y="110490"/>
                            <a:pt x="52388" y="111443"/>
                          </a:cubicBezTo>
                          <a:cubicBezTo>
                            <a:pt x="54292" y="111443"/>
                            <a:pt x="55245" y="113348"/>
                            <a:pt x="55245" y="114300"/>
                          </a:cubicBezTo>
                          <a:lnTo>
                            <a:pt x="58103" y="122873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" name="Freeform: Shape 187">
                      <a:extLst>
                        <a:ext uri="{FF2B5EF4-FFF2-40B4-BE49-F238E27FC236}">
                          <a16:creationId xmlns:a16="http://schemas.microsoft.com/office/drawing/2014/main" id="{D237A570-B5B2-C80F-BCAC-AAFCD8B2A5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1721" y="3341846"/>
                      <a:ext cx="47625" cy="47625"/>
                    </a:xfrm>
                    <a:custGeom>
                      <a:avLst/>
                      <a:gdLst>
                        <a:gd name="connsiteX0" fmla="*/ 25241 w 47625"/>
                        <a:gd name="connsiteY0" fmla="*/ 50006 h 47625"/>
                        <a:gd name="connsiteX1" fmla="*/ 7144 w 47625"/>
                        <a:gd name="connsiteY1" fmla="*/ 42386 h 47625"/>
                        <a:gd name="connsiteX2" fmla="*/ 7144 w 47625"/>
                        <a:gd name="connsiteY2" fmla="*/ 7144 h 47625"/>
                        <a:gd name="connsiteX3" fmla="*/ 42386 w 47625"/>
                        <a:gd name="connsiteY3" fmla="*/ 7144 h 47625"/>
                        <a:gd name="connsiteX4" fmla="*/ 42386 w 47625"/>
                        <a:gd name="connsiteY4" fmla="*/ 7144 h 47625"/>
                        <a:gd name="connsiteX5" fmla="*/ 42386 w 47625"/>
                        <a:gd name="connsiteY5" fmla="*/ 7144 h 47625"/>
                        <a:gd name="connsiteX6" fmla="*/ 50006 w 47625"/>
                        <a:gd name="connsiteY6" fmla="*/ 25241 h 47625"/>
                        <a:gd name="connsiteX7" fmla="*/ 42386 w 47625"/>
                        <a:gd name="connsiteY7" fmla="*/ 43339 h 47625"/>
                        <a:gd name="connsiteX8" fmla="*/ 25241 w 47625"/>
                        <a:gd name="connsiteY8" fmla="*/ 50006 h 47625"/>
                        <a:gd name="connsiteX9" fmla="*/ 25241 w 47625"/>
                        <a:gd name="connsiteY9" fmla="*/ 9049 h 47625"/>
                        <a:gd name="connsiteX10" fmla="*/ 13811 w 47625"/>
                        <a:gd name="connsiteY10" fmla="*/ 13811 h 47625"/>
                        <a:gd name="connsiteX11" fmla="*/ 13811 w 47625"/>
                        <a:gd name="connsiteY11" fmla="*/ 35719 h 47625"/>
                        <a:gd name="connsiteX12" fmla="*/ 35719 w 47625"/>
                        <a:gd name="connsiteY12" fmla="*/ 35719 h 47625"/>
                        <a:gd name="connsiteX13" fmla="*/ 41434 w 47625"/>
                        <a:gd name="connsiteY13" fmla="*/ 25241 h 47625"/>
                        <a:gd name="connsiteX14" fmla="*/ 36671 w 47625"/>
                        <a:gd name="connsiteY14" fmla="*/ 13811 h 47625"/>
                        <a:gd name="connsiteX15" fmla="*/ 36671 w 47625"/>
                        <a:gd name="connsiteY15" fmla="*/ 13811 h 47625"/>
                        <a:gd name="connsiteX16" fmla="*/ 25241 w 47625"/>
                        <a:gd name="connsiteY16" fmla="*/ 9049 h 476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47625" h="47625">
                          <a:moveTo>
                            <a:pt x="25241" y="50006"/>
                          </a:moveTo>
                          <a:cubicBezTo>
                            <a:pt x="18574" y="50006"/>
                            <a:pt x="11906" y="47149"/>
                            <a:pt x="7144" y="42386"/>
                          </a:cubicBezTo>
                          <a:cubicBezTo>
                            <a:pt x="-2381" y="32861"/>
                            <a:pt x="-2381" y="16669"/>
                            <a:pt x="7144" y="7144"/>
                          </a:cubicBezTo>
                          <a:cubicBezTo>
                            <a:pt x="16669" y="-2381"/>
                            <a:pt x="32861" y="-2381"/>
                            <a:pt x="42386" y="7144"/>
                          </a:cubicBezTo>
                          <a:lnTo>
                            <a:pt x="42386" y="7144"/>
                          </a:lnTo>
                          <a:lnTo>
                            <a:pt x="42386" y="7144"/>
                          </a:lnTo>
                          <a:cubicBezTo>
                            <a:pt x="47149" y="11906"/>
                            <a:pt x="50006" y="18574"/>
                            <a:pt x="50006" y="25241"/>
                          </a:cubicBezTo>
                          <a:cubicBezTo>
                            <a:pt x="50006" y="31909"/>
                            <a:pt x="47149" y="38576"/>
                            <a:pt x="42386" y="43339"/>
                          </a:cubicBezTo>
                          <a:cubicBezTo>
                            <a:pt x="38576" y="47149"/>
                            <a:pt x="31909" y="50006"/>
                            <a:pt x="25241" y="50006"/>
                          </a:cubicBezTo>
                          <a:close/>
                          <a:moveTo>
                            <a:pt x="25241" y="9049"/>
                          </a:moveTo>
                          <a:cubicBezTo>
                            <a:pt x="21431" y="9049"/>
                            <a:pt x="16669" y="10954"/>
                            <a:pt x="13811" y="13811"/>
                          </a:cubicBezTo>
                          <a:cubicBezTo>
                            <a:pt x="8096" y="19526"/>
                            <a:pt x="8096" y="30004"/>
                            <a:pt x="13811" y="35719"/>
                          </a:cubicBezTo>
                          <a:cubicBezTo>
                            <a:pt x="19526" y="41434"/>
                            <a:pt x="30004" y="41434"/>
                            <a:pt x="35719" y="35719"/>
                          </a:cubicBezTo>
                          <a:cubicBezTo>
                            <a:pt x="39529" y="32861"/>
                            <a:pt x="41434" y="29051"/>
                            <a:pt x="41434" y="25241"/>
                          </a:cubicBezTo>
                          <a:cubicBezTo>
                            <a:pt x="41434" y="21431"/>
                            <a:pt x="39529" y="16669"/>
                            <a:pt x="36671" y="13811"/>
                          </a:cubicBezTo>
                          <a:lnTo>
                            <a:pt x="36671" y="13811"/>
                          </a:lnTo>
                          <a:cubicBezTo>
                            <a:pt x="33814" y="10954"/>
                            <a:pt x="29051" y="9049"/>
                            <a:pt x="25241" y="904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2" name="Graphic 3">
                    <a:extLst>
                      <a:ext uri="{FF2B5EF4-FFF2-40B4-BE49-F238E27FC236}">
                        <a16:creationId xmlns:a16="http://schemas.microsoft.com/office/drawing/2014/main" id="{7EE1C2AF-F729-9925-5D34-526219AA33BB}"/>
                      </a:ext>
                    </a:extLst>
                  </p:cNvPr>
                  <p:cNvGrpSpPr/>
                  <p:nvPr/>
                </p:nvGrpSpPr>
                <p:grpSpPr>
                  <a:xfrm>
                    <a:off x="6119187" y="3443614"/>
                    <a:ext cx="114300" cy="114300"/>
                    <a:chOff x="6119187" y="3443614"/>
                    <a:chExt cx="114300" cy="114300"/>
                  </a:xfrm>
                  <a:grpFill/>
                </p:grpSpPr>
                <p:sp>
                  <p:nvSpPr>
                    <p:cNvPr id="223" name="Freeform: Shape 184">
                      <a:extLst>
                        <a:ext uri="{FF2B5EF4-FFF2-40B4-BE49-F238E27FC236}">
                          <a16:creationId xmlns:a16="http://schemas.microsoft.com/office/drawing/2014/main" id="{F92F7ADE-DEE9-C666-8CA7-20588EBE8E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9187" y="3443614"/>
                      <a:ext cx="114300" cy="114300"/>
                    </a:xfrm>
                    <a:custGeom>
                      <a:avLst/>
                      <a:gdLst>
                        <a:gd name="connsiteX0" fmla="*/ 46346 w 114300"/>
                        <a:gd name="connsiteY0" fmla="*/ 113973 h 114300"/>
                        <a:gd name="connsiteX1" fmla="*/ 44441 w 114300"/>
                        <a:gd name="connsiteY1" fmla="*/ 113973 h 114300"/>
                        <a:gd name="connsiteX2" fmla="*/ 27296 w 114300"/>
                        <a:gd name="connsiteY2" fmla="*/ 107306 h 114300"/>
                        <a:gd name="connsiteX3" fmla="*/ 24438 w 114300"/>
                        <a:gd name="connsiteY3" fmla="*/ 102543 h 114300"/>
                        <a:gd name="connsiteX4" fmla="*/ 24438 w 114300"/>
                        <a:gd name="connsiteY4" fmla="*/ 94923 h 114300"/>
                        <a:gd name="connsiteX5" fmla="*/ 20628 w 114300"/>
                        <a:gd name="connsiteY5" fmla="*/ 91113 h 114300"/>
                        <a:gd name="connsiteX6" fmla="*/ 13008 w 114300"/>
                        <a:gd name="connsiteY6" fmla="*/ 91113 h 114300"/>
                        <a:gd name="connsiteX7" fmla="*/ 8246 w 114300"/>
                        <a:gd name="connsiteY7" fmla="*/ 88256 h 114300"/>
                        <a:gd name="connsiteX8" fmla="*/ 626 w 114300"/>
                        <a:gd name="connsiteY8" fmla="*/ 71111 h 114300"/>
                        <a:gd name="connsiteX9" fmla="*/ 1578 w 114300"/>
                        <a:gd name="connsiteY9" fmla="*/ 65396 h 114300"/>
                        <a:gd name="connsiteX10" fmla="*/ 7293 w 114300"/>
                        <a:gd name="connsiteY10" fmla="*/ 60633 h 114300"/>
                        <a:gd name="connsiteX11" fmla="*/ 7293 w 114300"/>
                        <a:gd name="connsiteY11" fmla="*/ 54918 h 114300"/>
                        <a:gd name="connsiteX12" fmla="*/ 1578 w 114300"/>
                        <a:gd name="connsiteY12" fmla="*/ 50156 h 114300"/>
                        <a:gd name="connsiteX13" fmla="*/ 626 w 114300"/>
                        <a:gd name="connsiteY13" fmla="*/ 44441 h 114300"/>
                        <a:gd name="connsiteX14" fmla="*/ 7293 w 114300"/>
                        <a:gd name="connsiteY14" fmla="*/ 27296 h 114300"/>
                        <a:gd name="connsiteX15" fmla="*/ 12056 w 114300"/>
                        <a:gd name="connsiteY15" fmla="*/ 24438 h 114300"/>
                        <a:gd name="connsiteX16" fmla="*/ 19676 w 114300"/>
                        <a:gd name="connsiteY16" fmla="*/ 24438 h 114300"/>
                        <a:gd name="connsiteX17" fmla="*/ 23486 w 114300"/>
                        <a:gd name="connsiteY17" fmla="*/ 20628 h 114300"/>
                        <a:gd name="connsiteX18" fmla="*/ 23486 w 114300"/>
                        <a:gd name="connsiteY18" fmla="*/ 13008 h 114300"/>
                        <a:gd name="connsiteX19" fmla="*/ 26343 w 114300"/>
                        <a:gd name="connsiteY19" fmla="*/ 8246 h 114300"/>
                        <a:gd name="connsiteX20" fmla="*/ 43488 w 114300"/>
                        <a:gd name="connsiteY20" fmla="*/ 626 h 114300"/>
                        <a:gd name="connsiteX21" fmla="*/ 49203 w 114300"/>
                        <a:gd name="connsiteY21" fmla="*/ 1578 h 114300"/>
                        <a:gd name="connsiteX22" fmla="*/ 53966 w 114300"/>
                        <a:gd name="connsiteY22" fmla="*/ 7293 h 114300"/>
                        <a:gd name="connsiteX23" fmla="*/ 59681 w 114300"/>
                        <a:gd name="connsiteY23" fmla="*/ 7293 h 114300"/>
                        <a:gd name="connsiteX24" fmla="*/ 64443 w 114300"/>
                        <a:gd name="connsiteY24" fmla="*/ 1578 h 114300"/>
                        <a:gd name="connsiteX25" fmla="*/ 70158 w 114300"/>
                        <a:gd name="connsiteY25" fmla="*/ 626 h 114300"/>
                        <a:gd name="connsiteX26" fmla="*/ 87303 w 114300"/>
                        <a:gd name="connsiteY26" fmla="*/ 7293 h 114300"/>
                        <a:gd name="connsiteX27" fmla="*/ 90161 w 114300"/>
                        <a:gd name="connsiteY27" fmla="*/ 12056 h 114300"/>
                        <a:gd name="connsiteX28" fmla="*/ 90161 w 114300"/>
                        <a:gd name="connsiteY28" fmla="*/ 19676 h 114300"/>
                        <a:gd name="connsiteX29" fmla="*/ 93971 w 114300"/>
                        <a:gd name="connsiteY29" fmla="*/ 23486 h 114300"/>
                        <a:gd name="connsiteX30" fmla="*/ 101591 w 114300"/>
                        <a:gd name="connsiteY30" fmla="*/ 23486 h 114300"/>
                        <a:gd name="connsiteX31" fmla="*/ 106353 w 114300"/>
                        <a:gd name="connsiteY31" fmla="*/ 26343 h 114300"/>
                        <a:gd name="connsiteX32" fmla="*/ 113973 w 114300"/>
                        <a:gd name="connsiteY32" fmla="*/ 43488 h 114300"/>
                        <a:gd name="connsiteX33" fmla="*/ 113021 w 114300"/>
                        <a:gd name="connsiteY33" fmla="*/ 49203 h 114300"/>
                        <a:gd name="connsiteX34" fmla="*/ 107306 w 114300"/>
                        <a:gd name="connsiteY34" fmla="*/ 53966 h 114300"/>
                        <a:gd name="connsiteX35" fmla="*/ 107306 w 114300"/>
                        <a:gd name="connsiteY35" fmla="*/ 59681 h 114300"/>
                        <a:gd name="connsiteX36" fmla="*/ 113021 w 114300"/>
                        <a:gd name="connsiteY36" fmla="*/ 64443 h 114300"/>
                        <a:gd name="connsiteX37" fmla="*/ 113973 w 114300"/>
                        <a:gd name="connsiteY37" fmla="*/ 70158 h 114300"/>
                        <a:gd name="connsiteX38" fmla="*/ 107306 w 114300"/>
                        <a:gd name="connsiteY38" fmla="*/ 87303 h 114300"/>
                        <a:gd name="connsiteX39" fmla="*/ 102543 w 114300"/>
                        <a:gd name="connsiteY39" fmla="*/ 90161 h 114300"/>
                        <a:gd name="connsiteX40" fmla="*/ 94923 w 114300"/>
                        <a:gd name="connsiteY40" fmla="*/ 90161 h 114300"/>
                        <a:gd name="connsiteX41" fmla="*/ 91113 w 114300"/>
                        <a:gd name="connsiteY41" fmla="*/ 93971 h 114300"/>
                        <a:gd name="connsiteX42" fmla="*/ 91113 w 114300"/>
                        <a:gd name="connsiteY42" fmla="*/ 101591 h 114300"/>
                        <a:gd name="connsiteX43" fmla="*/ 88256 w 114300"/>
                        <a:gd name="connsiteY43" fmla="*/ 106353 h 114300"/>
                        <a:gd name="connsiteX44" fmla="*/ 71111 w 114300"/>
                        <a:gd name="connsiteY44" fmla="*/ 113973 h 114300"/>
                        <a:gd name="connsiteX45" fmla="*/ 65396 w 114300"/>
                        <a:gd name="connsiteY45" fmla="*/ 113021 h 114300"/>
                        <a:gd name="connsiteX46" fmla="*/ 60633 w 114300"/>
                        <a:gd name="connsiteY46" fmla="*/ 107306 h 114300"/>
                        <a:gd name="connsiteX47" fmla="*/ 54918 w 114300"/>
                        <a:gd name="connsiteY47" fmla="*/ 107306 h 114300"/>
                        <a:gd name="connsiteX48" fmla="*/ 50156 w 114300"/>
                        <a:gd name="connsiteY48" fmla="*/ 113021 h 114300"/>
                        <a:gd name="connsiteX49" fmla="*/ 46346 w 114300"/>
                        <a:gd name="connsiteY49" fmla="*/ 113973 h 114300"/>
                        <a:gd name="connsiteX50" fmla="*/ 33963 w 114300"/>
                        <a:gd name="connsiteY50" fmla="*/ 98733 h 114300"/>
                        <a:gd name="connsiteX51" fmla="*/ 45393 w 114300"/>
                        <a:gd name="connsiteY51" fmla="*/ 103496 h 114300"/>
                        <a:gd name="connsiteX52" fmla="*/ 50156 w 114300"/>
                        <a:gd name="connsiteY52" fmla="*/ 98733 h 114300"/>
                        <a:gd name="connsiteX53" fmla="*/ 53966 w 114300"/>
                        <a:gd name="connsiteY53" fmla="*/ 96828 h 114300"/>
                        <a:gd name="connsiteX54" fmla="*/ 62538 w 114300"/>
                        <a:gd name="connsiteY54" fmla="*/ 96828 h 114300"/>
                        <a:gd name="connsiteX55" fmla="*/ 66348 w 114300"/>
                        <a:gd name="connsiteY55" fmla="*/ 98733 h 114300"/>
                        <a:gd name="connsiteX56" fmla="*/ 71111 w 114300"/>
                        <a:gd name="connsiteY56" fmla="*/ 103496 h 114300"/>
                        <a:gd name="connsiteX57" fmla="*/ 82541 w 114300"/>
                        <a:gd name="connsiteY57" fmla="*/ 98733 h 114300"/>
                        <a:gd name="connsiteX58" fmla="*/ 82541 w 114300"/>
                        <a:gd name="connsiteY58" fmla="*/ 92066 h 114300"/>
                        <a:gd name="connsiteX59" fmla="*/ 84446 w 114300"/>
                        <a:gd name="connsiteY59" fmla="*/ 88256 h 114300"/>
                        <a:gd name="connsiteX60" fmla="*/ 90161 w 114300"/>
                        <a:gd name="connsiteY60" fmla="*/ 82541 h 114300"/>
                        <a:gd name="connsiteX61" fmla="*/ 93971 w 114300"/>
                        <a:gd name="connsiteY61" fmla="*/ 80636 h 114300"/>
                        <a:gd name="connsiteX62" fmla="*/ 100638 w 114300"/>
                        <a:gd name="connsiteY62" fmla="*/ 80636 h 114300"/>
                        <a:gd name="connsiteX63" fmla="*/ 105401 w 114300"/>
                        <a:gd name="connsiteY63" fmla="*/ 69206 h 114300"/>
                        <a:gd name="connsiteX64" fmla="*/ 100638 w 114300"/>
                        <a:gd name="connsiteY64" fmla="*/ 64443 h 114300"/>
                        <a:gd name="connsiteX65" fmla="*/ 98733 w 114300"/>
                        <a:gd name="connsiteY65" fmla="*/ 60633 h 114300"/>
                        <a:gd name="connsiteX66" fmla="*/ 98733 w 114300"/>
                        <a:gd name="connsiteY66" fmla="*/ 52061 h 114300"/>
                        <a:gd name="connsiteX67" fmla="*/ 100638 w 114300"/>
                        <a:gd name="connsiteY67" fmla="*/ 48251 h 114300"/>
                        <a:gd name="connsiteX68" fmla="*/ 105401 w 114300"/>
                        <a:gd name="connsiteY68" fmla="*/ 43488 h 114300"/>
                        <a:gd name="connsiteX69" fmla="*/ 100638 w 114300"/>
                        <a:gd name="connsiteY69" fmla="*/ 32058 h 114300"/>
                        <a:gd name="connsiteX70" fmla="*/ 93971 w 114300"/>
                        <a:gd name="connsiteY70" fmla="*/ 32058 h 114300"/>
                        <a:gd name="connsiteX71" fmla="*/ 90161 w 114300"/>
                        <a:gd name="connsiteY71" fmla="*/ 30153 h 114300"/>
                        <a:gd name="connsiteX72" fmla="*/ 84446 w 114300"/>
                        <a:gd name="connsiteY72" fmla="*/ 24438 h 114300"/>
                        <a:gd name="connsiteX73" fmla="*/ 82541 w 114300"/>
                        <a:gd name="connsiteY73" fmla="*/ 20628 h 114300"/>
                        <a:gd name="connsiteX74" fmla="*/ 82541 w 114300"/>
                        <a:gd name="connsiteY74" fmla="*/ 13961 h 114300"/>
                        <a:gd name="connsiteX75" fmla="*/ 71111 w 114300"/>
                        <a:gd name="connsiteY75" fmla="*/ 9198 h 114300"/>
                        <a:gd name="connsiteX76" fmla="*/ 66348 w 114300"/>
                        <a:gd name="connsiteY76" fmla="*/ 13961 h 114300"/>
                        <a:gd name="connsiteX77" fmla="*/ 62538 w 114300"/>
                        <a:gd name="connsiteY77" fmla="*/ 15866 h 114300"/>
                        <a:gd name="connsiteX78" fmla="*/ 53966 w 114300"/>
                        <a:gd name="connsiteY78" fmla="*/ 15866 h 114300"/>
                        <a:gd name="connsiteX79" fmla="*/ 50156 w 114300"/>
                        <a:gd name="connsiteY79" fmla="*/ 13961 h 114300"/>
                        <a:gd name="connsiteX80" fmla="*/ 45393 w 114300"/>
                        <a:gd name="connsiteY80" fmla="*/ 9198 h 114300"/>
                        <a:gd name="connsiteX81" fmla="*/ 33963 w 114300"/>
                        <a:gd name="connsiteY81" fmla="*/ 14913 h 114300"/>
                        <a:gd name="connsiteX82" fmla="*/ 33963 w 114300"/>
                        <a:gd name="connsiteY82" fmla="*/ 21581 h 114300"/>
                        <a:gd name="connsiteX83" fmla="*/ 32058 w 114300"/>
                        <a:gd name="connsiteY83" fmla="*/ 25391 h 114300"/>
                        <a:gd name="connsiteX84" fmla="*/ 26343 w 114300"/>
                        <a:gd name="connsiteY84" fmla="*/ 31106 h 114300"/>
                        <a:gd name="connsiteX85" fmla="*/ 22533 w 114300"/>
                        <a:gd name="connsiteY85" fmla="*/ 33011 h 114300"/>
                        <a:gd name="connsiteX86" fmla="*/ 15866 w 114300"/>
                        <a:gd name="connsiteY86" fmla="*/ 33011 h 114300"/>
                        <a:gd name="connsiteX87" fmla="*/ 11103 w 114300"/>
                        <a:gd name="connsiteY87" fmla="*/ 44441 h 114300"/>
                        <a:gd name="connsiteX88" fmla="*/ 15866 w 114300"/>
                        <a:gd name="connsiteY88" fmla="*/ 49203 h 114300"/>
                        <a:gd name="connsiteX89" fmla="*/ 17771 w 114300"/>
                        <a:gd name="connsiteY89" fmla="*/ 53013 h 114300"/>
                        <a:gd name="connsiteX90" fmla="*/ 17771 w 114300"/>
                        <a:gd name="connsiteY90" fmla="*/ 61586 h 114300"/>
                        <a:gd name="connsiteX91" fmla="*/ 15866 w 114300"/>
                        <a:gd name="connsiteY91" fmla="*/ 65396 h 114300"/>
                        <a:gd name="connsiteX92" fmla="*/ 11103 w 114300"/>
                        <a:gd name="connsiteY92" fmla="*/ 70158 h 114300"/>
                        <a:gd name="connsiteX93" fmla="*/ 15866 w 114300"/>
                        <a:gd name="connsiteY93" fmla="*/ 81588 h 114300"/>
                        <a:gd name="connsiteX94" fmla="*/ 22533 w 114300"/>
                        <a:gd name="connsiteY94" fmla="*/ 81588 h 114300"/>
                        <a:gd name="connsiteX95" fmla="*/ 26343 w 114300"/>
                        <a:gd name="connsiteY95" fmla="*/ 83493 h 114300"/>
                        <a:gd name="connsiteX96" fmla="*/ 32058 w 114300"/>
                        <a:gd name="connsiteY96" fmla="*/ 89208 h 114300"/>
                        <a:gd name="connsiteX97" fmla="*/ 33963 w 114300"/>
                        <a:gd name="connsiteY97" fmla="*/ 93018 h 114300"/>
                        <a:gd name="connsiteX98" fmla="*/ 33963 w 114300"/>
                        <a:gd name="connsiteY98" fmla="*/ 98733 h 1143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14300" h="114300">
                          <a:moveTo>
                            <a:pt x="46346" y="113973"/>
                          </a:moveTo>
                          <a:cubicBezTo>
                            <a:pt x="45393" y="113973"/>
                            <a:pt x="45393" y="113973"/>
                            <a:pt x="44441" y="113973"/>
                          </a:cubicBezTo>
                          <a:lnTo>
                            <a:pt x="27296" y="107306"/>
                          </a:lnTo>
                          <a:cubicBezTo>
                            <a:pt x="25391" y="106353"/>
                            <a:pt x="24438" y="104448"/>
                            <a:pt x="24438" y="102543"/>
                          </a:cubicBezTo>
                          <a:lnTo>
                            <a:pt x="24438" y="94923"/>
                          </a:lnTo>
                          <a:cubicBezTo>
                            <a:pt x="23486" y="93971"/>
                            <a:pt x="21581" y="92066"/>
                            <a:pt x="20628" y="91113"/>
                          </a:cubicBezTo>
                          <a:lnTo>
                            <a:pt x="13008" y="91113"/>
                          </a:lnTo>
                          <a:cubicBezTo>
                            <a:pt x="11103" y="91113"/>
                            <a:pt x="9198" y="90161"/>
                            <a:pt x="8246" y="88256"/>
                          </a:cubicBezTo>
                          <a:lnTo>
                            <a:pt x="626" y="71111"/>
                          </a:lnTo>
                          <a:cubicBezTo>
                            <a:pt x="-327" y="69206"/>
                            <a:pt x="626" y="67301"/>
                            <a:pt x="1578" y="65396"/>
                          </a:cubicBezTo>
                          <a:lnTo>
                            <a:pt x="7293" y="60633"/>
                          </a:lnTo>
                          <a:cubicBezTo>
                            <a:pt x="7293" y="58728"/>
                            <a:pt x="7293" y="56823"/>
                            <a:pt x="7293" y="54918"/>
                          </a:cubicBezTo>
                          <a:lnTo>
                            <a:pt x="1578" y="50156"/>
                          </a:lnTo>
                          <a:cubicBezTo>
                            <a:pt x="-327" y="49203"/>
                            <a:pt x="-327" y="46346"/>
                            <a:pt x="626" y="44441"/>
                          </a:cubicBezTo>
                          <a:lnTo>
                            <a:pt x="7293" y="27296"/>
                          </a:lnTo>
                          <a:cubicBezTo>
                            <a:pt x="8246" y="25391"/>
                            <a:pt x="10151" y="24438"/>
                            <a:pt x="12056" y="24438"/>
                          </a:cubicBezTo>
                          <a:lnTo>
                            <a:pt x="19676" y="24438"/>
                          </a:lnTo>
                          <a:cubicBezTo>
                            <a:pt x="20628" y="23486"/>
                            <a:pt x="22533" y="21581"/>
                            <a:pt x="23486" y="20628"/>
                          </a:cubicBezTo>
                          <a:lnTo>
                            <a:pt x="23486" y="13008"/>
                          </a:lnTo>
                          <a:cubicBezTo>
                            <a:pt x="23486" y="11103"/>
                            <a:pt x="24438" y="9198"/>
                            <a:pt x="26343" y="8246"/>
                          </a:cubicBezTo>
                          <a:lnTo>
                            <a:pt x="43488" y="626"/>
                          </a:lnTo>
                          <a:cubicBezTo>
                            <a:pt x="45393" y="-327"/>
                            <a:pt x="47298" y="626"/>
                            <a:pt x="49203" y="1578"/>
                          </a:cubicBezTo>
                          <a:lnTo>
                            <a:pt x="53966" y="7293"/>
                          </a:lnTo>
                          <a:cubicBezTo>
                            <a:pt x="55871" y="7293"/>
                            <a:pt x="57776" y="7293"/>
                            <a:pt x="59681" y="7293"/>
                          </a:cubicBezTo>
                          <a:lnTo>
                            <a:pt x="64443" y="1578"/>
                          </a:lnTo>
                          <a:cubicBezTo>
                            <a:pt x="65396" y="-327"/>
                            <a:pt x="68253" y="-327"/>
                            <a:pt x="70158" y="626"/>
                          </a:cubicBezTo>
                          <a:lnTo>
                            <a:pt x="87303" y="7293"/>
                          </a:lnTo>
                          <a:cubicBezTo>
                            <a:pt x="89208" y="8246"/>
                            <a:pt x="90161" y="10151"/>
                            <a:pt x="90161" y="12056"/>
                          </a:cubicBezTo>
                          <a:lnTo>
                            <a:pt x="90161" y="19676"/>
                          </a:lnTo>
                          <a:cubicBezTo>
                            <a:pt x="91113" y="20628"/>
                            <a:pt x="93018" y="22533"/>
                            <a:pt x="93971" y="23486"/>
                          </a:cubicBezTo>
                          <a:lnTo>
                            <a:pt x="101591" y="23486"/>
                          </a:lnTo>
                          <a:cubicBezTo>
                            <a:pt x="103496" y="23486"/>
                            <a:pt x="105401" y="24438"/>
                            <a:pt x="106353" y="26343"/>
                          </a:cubicBezTo>
                          <a:lnTo>
                            <a:pt x="113973" y="43488"/>
                          </a:lnTo>
                          <a:cubicBezTo>
                            <a:pt x="114926" y="45393"/>
                            <a:pt x="113973" y="47298"/>
                            <a:pt x="113021" y="49203"/>
                          </a:cubicBezTo>
                          <a:lnTo>
                            <a:pt x="107306" y="53966"/>
                          </a:lnTo>
                          <a:cubicBezTo>
                            <a:pt x="107306" y="55871"/>
                            <a:pt x="107306" y="57776"/>
                            <a:pt x="107306" y="59681"/>
                          </a:cubicBezTo>
                          <a:lnTo>
                            <a:pt x="113021" y="64443"/>
                          </a:lnTo>
                          <a:cubicBezTo>
                            <a:pt x="114926" y="65396"/>
                            <a:pt x="114926" y="68253"/>
                            <a:pt x="113973" y="70158"/>
                          </a:cubicBezTo>
                          <a:lnTo>
                            <a:pt x="107306" y="87303"/>
                          </a:lnTo>
                          <a:cubicBezTo>
                            <a:pt x="106353" y="89208"/>
                            <a:pt x="104448" y="90161"/>
                            <a:pt x="102543" y="90161"/>
                          </a:cubicBezTo>
                          <a:lnTo>
                            <a:pt x="94923" y="90161"/>
                          </a:lnTo>
                          <a:cubicBezTo>
                            <a:pt x="93971" y="91113"/>
                            <a:pt x="92066" y="93018"/>
                            <a:pt x="91113" y="93971"/>
                          </a:cubicBezTo>
                          <a:lnTo>
                            <a:pt x="91113" y="101591"/>
                          </a:lnTo>
                          <a:cubicBezTo>
                            <a:pt x="91113" y="103496"/>
                            <a:pt x="90161" y="105401"/>
                            <a:pt x="88256" y="106353"/>
                          </a:cubicBezTo>
                          <a:lnTo>
                            <a:pt x="71111" y="113973"/>
                          </a:lnTo>
                          <a:cubicBezTo>
                            <a:pt x="69206" y="114926"/>
                            <a:pt x="67301" y="113973"/>
                            <a:pt x="65396" y="113021"/>
                          </a:cubicBezTo>
                          <a:lnTo>
                            <a:pt x="60633" y="107306"/>
                          </a:lnTo>
                          <a:cubicBezTo>
                            <a:pt x="58728" y="107306"/>
                            <a:pt x="56823" y="107306"/>
                            <a:pt x="54918" y="107306"/>
                          </a:cubicBezTo>
                          <a:lnTo>
                            <a:pt x="50156" y="113021"/>
                          </a:lnTo>
                          <a:cubicBezTo>
                            <a:pt x="49203" y="113021"/>
                            <a:pt x="48251" y="113973"/>
                            <a:pt x="46346" y="113973"/>
                          </a:cubicBezTo>
                          <a:close/>
                          <a:moveTo>
                            <a:pt x="33963" y="98733"/>
                          </a:moveTo>
                          <a:lnTo>
                            <a:pt x="45393" y="103496"/>
                          </a:lnTo>
                          <a:lnTo>
                            <a:pt x="50156" y="98733"/>
                          </a:lnTo>
                          <a:cubicBezTo>
                            <a:pt x="51108" y="97781"/>
                            <a:pt x="53013" y="96828"/>
                            <a:pt x="53966" y="96828"/>
                          </a:cubicBezTo>
                          <a:cubicBezTo>
                            <a:pt x="56823" y="96828"/>
                            <a:pt x="59681" y="96828"/>
                            <a:pt x="62538" y="96828"/>
                          </a:cubicBezTo>
                          <a:cubicBezTo>
                            <a:pt x="64443" y="96828"/>
                            <a:pt x="65396" y="96828"/>
                            <a:pt x="66348" y="98733"/>
                          </a:cubicBezTo>
                          <a:lnTo>
                            <a:pt x="71111" y="103496"/>
                          </a:lnTo>
                          <a:lnTo>
                            <a:pt x="82541" y="98733"/>
                          </a:lnTo>
                          <a:lnTo>
                            <a:pt x="82541" y="92066"/>
                          </a:lnTo>
                          <a:cubicBezTo>
                            <a:pt x="82541" y="90161"/>
                            <a:pt x="83493" y="89208"/>
                            <a:pt x="84446" y="88256"/>
                          </a:cubicBezTo>
                          <a:cubicBezTo>
                            <a:pt x="86351" y="86351"/>
                            <a:pt x="89208" y="84446"/>
                            <a:pt x="90161" y="82541"/>
                          </a:cubicBezTo>
                          <a:cubicBezTo>
                            <a:pt x="91113" y="81588"/>
                            <a:pt x="93018" y="80636"/>
                            <a:pt x="93971" y="80636"/>
                          </a:cubicBezTo>
                          <a:lnTo>
                            <a:pt x="100638" y="80636"/>
                          </a:lnTo>
                          <a:lnTo>
                            <a:pt x="105401" y="69206"/>
                          </a:lnTo>
                          <a:lnTo>
                            <a:pt x="100638" y="64443"/>
                          </a:lnTo>
                          <a:cubicBezTo>
                            <a:pt x="99686" y="63491"/>
                            <a:pt x="98733" y="61586"/>
                            <a:pt x="98733" y="60633"/>
                          </a:cubicBezTo>
                          <a:cubicBezTo>
                            <a:pt x="98733" y="57776"/>
                            <a:pt x="98733" y="54918"/>
                            <a:pt x="98733" y="52061"/>
                          </a:cubicBezTo>
                          <a:cubicBezTo>
                            <a:pt x="98733" y="50156"/>
                            <a:pt x="98733" y="49203"/>
                            <a:pt x="100638" y="48251"/>
                          </a:cubicBezTo>
                          <a:lnTo>
                            <a:pt x="105401" y="43488"/>
                          </a:lnTo>
                          <a:lnTo>
                            <a:pt x="100638" y="32058"/>
                          </a:lnTo>
                          <a:lnTo>
                            <a:pt x="93971" y="32058"/>
                          </a:lnTo>
                          <a:cubicBezTo>
                            <a:pt x="92066" y="32058"/>
                            <a:pt x="91113" y="31106"/>
                            <a:pt x="90161" y="30153"/>
                          </a:cubicBezTo>
                          <a:cubicBezTo>
                            <a:pt x="88256" y="28248"/>
                            <a:pt x="86351" y="25391"/>
                            <a:pt x="84446" y="24438"/>
                          </a:cubicBezTo>
                          <a:cubicBezTo>
                            <a:pt x="83493" y="23486"/>
                            <a:pt x="82541" y="21581"/>
                            <a:pt x="82541" y="20628"/>
                          </a:cubicBezTo>
                          <a:lnTo>
                            <a:pt x="82541" y="13961"/>
                          </a:lnTo>
                          <a:lnTo>
                            <a:pt x="71111" y="9198"/>
                          </a:lnTo>
                          <a:lnTo>
                            <a:pt x="66348" y="13961"/>
                          </a:lnTo>
                          <a:cubicBezTo>
                            <a:pt x="65396" y="14913"/>
                            <a:pt x="63491" y="15866"/>
                            <a:pt x="62538" y="15866"/>
                          </a:cubicBezTo>
                          <a:cubicBezTo>
                            <a:pt x="59681" y="15866"/>
                            <a:pt x="56823" y="15866"/>
                            <a:pt x="53966" y="15866"/>
                          </a:cubicBezTo>
                          <a:cubicBezTo>
                            <a:pt x="52061" y="15866"/>
                            <a:pt x="51108" y="15866"/>
                            <a:pt x="50156" y="13961"/>
                          </a:cubicBezTo>
                          <a:lnTo>
                            <a:pt x="45393" y="9198"/>
                          </a:lnTo>
                          <a:lnTo>
                            <a:pt x="33963" y="14913"/>
                          </a:lnTo>
                          <a:lnTo>
                            <a:pt x="33963" y="21581"/>
                          </a:lnTo>
                          <a:cubicBezTo>
                            <a:pt x="33963" y="23486"/>
                            <a:pt x="33011" y="24438"/>
                            <a:pt x="32058" y="25391"/>
                          </a:cubicBezTo>
                          <a:cubicBezTo>
                            <a:pt x="30153" y="27296"/>
                            <a:pt x="27296" y="29201"/>
                            <a:pt x="26343" y="31106"/>
                          </a:cubicBezTo>
                          <a:cubicBezTo>
                            <a:pt x="25391" y="32058"/>
                            <a:pt x="23486" y="33011"/>
                            <a:pt x="22533" y="33011"/>
                          </a:cubicBezTo>
                          <a:lnTo>
                            <a:pt x="15866" y="33011"/>
                          </a:lnTo>
                          <a:lnTo>
                            <a:pt x="11103" y="44441"/>
                          </a:lnTo>
                          <a:lnTo>
                            <a:pt x="15866" y="49203"/>
                          </a:lnTo>
                          <a:cubicBezTo>
                            <a:pt x="16818" y="50156"/>
                            <a:pt x="17771" y="52061"/>
                            <a:pt x="17771" y="53013"/>
                          </a:cubicBezTo>
                          <a:cubicBezTo>
                            <a:pt x="17771" y="55871"/>
                            <a:pt x="17771" y="58728"/>
                            <a:pt x="17771" y="61586"/>
                          </a:cubicBezTo>
                          <a:cubicBezTo>
                            <a:pt x="17771" y="63491"/>
                            <a:pt x="17771" y="64443"/>
                            <a:pt x="15866" y="65396"/>
                          </a:cubicBezTo>
                          <a:lnTo>
                            <a:pt x="11103" y="70158"/>
                          </a:lnTo>
                          <a:lnTo>
                            <a:pt x="15866" y="81588"/>
                          </a:lnTo>
                          <a:lnTo>
                            <a:pt x="22533" y="81588"/>
                          </a:lnTo>
                          <a:cubicBezTo>
                            <a:pt x="24438" y="81588"/>
                            <a:pt x="25391" y="82541"/>
                            <a:pt x="26343" y="83493"/>
                          </a:cubicBezTo>
                          <a:cubicBezTo>
                            <a:pt x="28248" y="85398"/>
                            <a:pt x="30153" y="88256"/>
                            <a:pt x="32058" y="89208"/>
                          </a:cubicBezTo>
                          <a:cubicBezTo>
                            <a:pt x="33011" y="90161"/>
                            <a:pt x="33963" y="92066"/>
                            <a:pt x="33963" y="93018"/>
                          </a:cubicBezTo>
                          <a:lnTo>
                            <a:pt x="33963" y="98733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" name="Freeform: Shape 185">
                      <a:extLst>
                        <a:ext uri="{FF2B5EF4-FFF2-40B4-BE49-F238E27FC236}">
                          <a16:creationId xmlns:a16="http://schemas.microsoft.com/office/drawing/2014/main" id="{69330F34-9468-EF00-33E0-C1AD5A25A4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4323" y="3476845"/>
                      <a:ext cx="38100" cy="38100"/>
                    </a:xfrm>
                    <a:custGeom>
                      <a:avLst/>
                      <a:gdLst>
                        <a:gd name="connsiteX0" fmla="*/ 22639 w 38100"/>
                        <a:gd name="connsiteY0" fmla="*/ 45499 h 38100"/>
                        <a:gd name="connsiteX1" fmla="*/ 14067 w 38100"/>
                        <a:gd name="connsiteY1" fmla="*/ 43594 h 38100"/>
                        <a:gd name="connsiteX2" fmla="*/ 1684 w 38100"/>
                        <a:gd name="connsiteY2" fmla="*/ 31212 h 38100"/>
                        <a:gd name="connsiteX3" fmla="*/ 14067 w 38100"/>
                        <a:gd name="connsiteY3" fmla="*/ 1684 h 38100"/>
                        <a:gd name="connsiteX4" fmla="*/ 43594 w 38100"/>
                        <a:gd name="connsiteY4" fmla="*/ 14067 h 38100"/>
                        <a:gd name="connsiteX5" fmla="*/ 43594 w 38100"/>
                        <a:gd name="connsiteY5" fmla="*/ 14067 h 38100"/>
                        <a:gd name="connsiteX6" fmla="*/ 31212 w 38100"/>
                        <a:gd name="connsiteY6" fmla="*/ 43594 h 38100"/>
                        <a:gd name="connsiteX7" fmla="*/ 22639 w 38100"/>
                        <a:gd name="connsiteY7" fmla="*/ 45499 h 38100"/>
                        <a:gd name="connsiteX8" fmla="*/ 22639 w 38100"/>
                        <a:gd name="connsiteY8" fmla="*/ 10257 h 38100"/>
                        <a:gd name="connsiteX9" fmla="*/ 17877 w 38100"/>
                        <a:gd name="connsiteY9" fmla="*/ 11209 h 38100"/>
                        <a:gd name="connsiteX10" fmla="*/ 11209 w 38100"/>
                        <a:gd name="connsiteY10" fmla="*/ 28354 h 38100"/>
                        <a:gd name="connsiteX11" fmla="*/ 17877 w 38100"/>
                        <a:gd name="connsiteY11" fmla="*/ 35022 h 38100"/>
                        <a:gd name="connsiteX12" fmla="*/ 27402 w 38100"/>
                        <a:gd name="connsiteY12" fmla="*/ 35022 h 38100"/>
                        <a:gd name="connsiteX13" fmla="*/ 34069 w 38100"/>
                        <a:gd name="connsiteY13" fmla="*/ 17877 h 38100"/>
                        <a:gd name="connsiteX14" fmla="*/ 22639 w 38100"/>
                        <a:gd name="connsiteY14" fmla="*/ 10257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8100" h="38100">
                          <a:moveTo>
                            <a:pt x="22639" y="45499"/>
                          </a:moveTo>
                          <a:cubicBezTo>
                            <a:pt x="19782" y="45499"/>
                            <a:pt x="16924" y="44547"/>
                            <a:pt x="14067" y="43594"/>
                          </a:cubicBezTo>
                          <a:cubicBezTo>
                            <a:pt x="8352" y="41689"/>
                            <a:pt x="4542" y="36927"/>
                            <a:pt x="1684" y="31212"/>
                          </a:cubicBezTo>
                          <a:cubicBezTo>
                            <a:pt x="-3078" y="19782"/>
                            <a:pt x="2637" y="6447"/>
                            <a:pt x="14067" y="1684"/>
                          </a:cubicBezTo>
                          <a:cubicBezTo>
                            <a:pt x="25497" y="-3078"/>
                            <a:pt x="38832" y="2637"/>
                            <a:pt x="43594" y="14067"/>
                          </a:cubicBezTo>
                          <a:lnTo>
                            <a:pt x="43594" y="14067"/>
                          </a:lnTo>
                          <a:cubicBezTo>
                            <a:pt x="48357" y="25497"/>
                            <a:pt x="42642" y="38832"/>
                            <a:pt x="31212" y="43594"/>
                          </a:cubicBezTo>
                          <a:cubicBezTo>
                            <a:pt x="28354" y="44547"/>
                            <a:pt x="25497" y="45499"/>
                            <a:pt x="22639" y="45499"/>
                          </a:cubicBezTo>
                          <a:close/>
                          <a:moveTo>
                            <a:pt x="22639" y="10257"/>
                          </a:moveTo>
                          <a:cubicBezTo>
                            <a:pt x="20734" y="10257"/>
                            <a:pt x="19782" y="10257"/>
                            <a:pt x="17877" y="11209"/>
                          </a:cubicBezTo>
                          <a:cubicBezTo>
                            <a:pt x="11209" y="14067"/>
                            <a:pt x="8352" y="21687"/>
                            <a:pt x="11209" y="28354"/>
                          </a:cubicBezTo>
                          <a:cubicBezTo>
                            <a:pt x="12162" y="31212"/>
                            <a:pt x="15019" y="34069"/>
                            <a:pt x="17877" y="35022"/>
                          </a:cubicBezTo>
                          <a:cubicBezTo>
                            <a:pt x="20734" y="35974"/>
                            <a:pt x="24544" y="35974"/>
                            <a:pt x="27402" y="35022"/>
                          </a:cubicBezTo>
                          <a:cubicBezTo>
                            <a:pt x="34069" y="32164"/>
                            <a:pt x="36927" y="24544"/>
                            <a:pt x="34069" y="17877"/>
                          </a:cubicBezTo>
                          <a:cubicBezTo>
                            <a:pt x="32164" y="13114"/>
                            <a:pt x="27402" y="10257"/>
                            <a:pt x="22639" y="1025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67775F16-5199-B83C-EF02-5E2D57CA339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463678" y="1918878"/>
                <a:ext cx="694917" cy="694917"/>
                <a:chOff x="3215680" y="1733455"/>
                <a:chExt cx="720080" cy="720080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C00CD254-0499-E904-E23A-89D5523029E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1568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5" name="Graphic 2">
                  <a:extLst>
                    <a:ext uri="{FF2B5EF4-FFF2-40B4-BE49-F238E27FC236}">
                      <a16:creationId xmlns:a16="http://schemas.microsoft.com/office/drawing/2014/main" id="{74B4DA2E-1850-480C-848D-031A7F5B8CB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333921" y="1848457"/>
                  <a:ext cx="483569" cy="432667"/>
                  <a:chOff x="5875044" y="3160249"/>
                  <a:chExt cx="441940" cy="395420"/>
                </a:xfrm>
                <a:solidFill>
                  <a:schemeClr val="bg1"/>
                </a:solidFill>
              </p:grpSpPr>
              <p:sp>
                <p:nvSpPr>
                  <p:cNvPr id="216" name="Freeform: Shape 177">
                    <a:extLst>
                      <a:ext uri="{FF2B5EF4-FFF2-40B4-BE49-F238E27FC236}">
                        <a16:creationId xmlns:a16="http://schemas.microsoft.com/office/drawing/2014/main" id="{9A95D161-410D-D80E-A0D2-832281D1E7BA}"/>
                      </a:ext>
                    </a:extLst>
                  </p:cNvPr>
                  <p:cNvSpPr/>
                  <p:nvPr/>
                </p:nvSpPr>
                <p:spPr>
                  <a:xfrm>
                    <a:off x="6068996" y="3195680"/>
                    <a:ext cx="53473" cy="53474"/>
                  </a:xfrm>
                  <a:custGeom>
                    <a:avLst/>
                    <a:gdLst>
                      <a:gd name="connsiteX0" fmla="*/ 28876 w 53473"/>
                      <a:gd name="connsiteY0" fmla="*/ 0 h 53473"/>
                      <a:gd name="connsiteX1" fmla="*/ 0 w 53473"/>
                      <a:gd name="connsiteY1" fmla="*/ 29143 h 53473"/>
                      <a:gd name="connsiteX2" fmla="*/ 29143 w 53473"/>
                      <a:gd name="connsiteY2" fmla="*/ 58018 h 53473"/>
                      <a:gd name="connsiteX3" fmla="*/ 58019 w 53473"/>
                      <a:gd name="connsiteY3" fmla="*/ 28876 h 53473"/>
                      <a:gd name="connsiteX4" fmla="*/ 28876 w 53473"/>
                      <a:gd name="connsiteY4" fmla="*/ 0 h 53473"/>
                      <a:gd name="connsiteX5" fmla="*/ 28876 w 53473"/>
                      <a:gd name="connsiteY5" fmla="*/ 0 h 53473"/>
                      <a:gd name="connsiteX6" fmla="*/ 28876 w 53473"/>
                      <a:gd name="connsiteY6" fmla="*/ 44517 h 53473"/>
                      <a:gd name="connsiteX7" fmla="*/ 13369 w 53473"/>
                      <a:gd name="connsiteY7" fmla="*/ 28743 h 53473"/>
                      <a:gd name="connsiteX8" fmla="*/ 29143 w 53473"/>
                      <a:gd name="connsiteY8" fmla="*/ 13236 h 53473"/>
                      <a:gd name="connsiteX9" fmla="*/ 44651 w 53473"/>
                      <a:gd name="connsiteY9" fmla="*/ 28876 h 53473"/>
                      <a:gd name="connsiteX10" fmla="*/ 29010 w 53473"/>
                      <a:gd name="connsiteY10" fmla="*/ 44518 h 53473"/>
                      <a:gd name="connsiteX11" fmla="*/ 28876 w 53473"/>
                      <a:gd name="connsiteY11" fmla="*/ 44517 h 53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53473" h="53473">
                        <a:moveTo>
                          <a:pt x="28876" y="0"/>
                        </a:moveTo>
                        <a:cubicBezTo>
                          <a:pt x="12855" y="74"/>
                          <a:pt x="-73" y="13122"/>
                          <a:pt x="0" y="29143"/>
                        </a:cubicBezTo>
                        <a:cubicBezTo>
                          <a:pt x="75" y="45165"/>
                          <a:pt x="13123" y="58092"/>
                          <a:pt x="29143" y="58018"/>
                        </a:cubicBezTo>
                        <a:cubicBezTo>
                          <a:pt x="45165" y="57944"/>
                          <a:pt x="58093" y="44897"/>
                          <a:pt x="58019" y="28876"/>
                        </a:cubicBezTo>
                        <a:cubicBezTo>
                          <a:pt x="57946" y="12855"/>
                          <a:pt x="44898" y="-73"/>
                          <a:pt x="28876" y="0"/>
                        </a:cubicBezTo>
                        <a:cubicBezTo>
                          <a:pt x="28876" y="0"/>
                          <a:pt x="28876" y="0"/>
                          <a:pt x="28876" y="0"/>
                        </a:cubicBezTo>
                        <a:close/>
                        <a:moveTo>
                          <a:pt x="28876" y="44517"/>
                        </a:moveTo>
                        <a:cubicBezTo>
                          <a:pt x="20239" y="44443"/>
                          <a:pt x="13295" y="37381"/>
                          <a:pt x="13369" y="28743"/>
                        </a:cubicBezTo>
                        <a:cubicBezTo>
                          <a:pt x="13444" y="20105"/>
                          <a:pt x="20505" y="13162"/>
                          <a:pt x="29143" y="13236"/>
                        </a:cubicBezTo>
                        <a:cubicBezTo>
                          <a:pt x="37729" y="13309"/>
                          <a:pt x="44651" y="20290"/>
                          <a:pt x="44651" y="28876"/>
                        </a:cubicBezTo>
                        <a:cubicBezTo>
                          <a:pt x="44651" y="37514"/>
                          <a:pt x="37648" y="44517"/>
                          <a:pt x="29010" y="44518"/>
                        </a:cubicBezTo>
                        <a:cubicBezTo>
                          <a:pt x="28966" y="44518"/>
                          <a:pt x="28920" y="44517"/>
                          <a:pt x="28876" y="44517"/>
                        </a:cubicBezTo>
                        <a:close/>
                      </a:path>
                    </a:pathLst>
                  </a:custGeom>
                  <a:grpFill/>
                  <a:ln w="132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Freeform: Shape 178">
                    <a:extLst>
                      <a:ext uri="{FF2B5EF4-FFF2-40B4-BE49-F238E27FC236}">
                        <a16:creationId xmlns:a16="http://schemas.microsoft.com/office/drawing/2014/main" id="{5A05D1AE-41E0-21BA-0890-4DAB42260A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875044" y="3160249"/>
                    <a:ext cx="441940" cy="395420"/>
                  </a:xfrm>
                  <a:custGeom>
                    <a:avLst/>
                    <a:gdLst>
                      <a:gd name="connsiteX0" fmla="*/ 505592 w 507998"/>
                      <a:gd name="connsiteY0" fmla="*/ 441256 h 454525"/>
                      <a:gd name="connsiteX1" fmla="*/ 483267 w 507998"/>
                      <a:gd name="connsiteY1" fmla="*/ 441256 h 454525"/>
                      <a:gd name="connsiteX2" fmla="*/ 483267 w 507998"/>
                      <a:gd name="connsiteY2" fmla="*/ 421203 h 454525"/>
                      <a:gd name="connsiteX3" fmla="*/ 473909 w 507998"/>
                      <a:gd name="connsiteY3" fmla="*/ 411845 h 454525"/>
                      <a:gd name="connsiteX4" fmla="*/ 464150 w 507998"/>
                      <a:gd name="connsiteY4" fmla="*/ 411845 h 454525"/>
                      <a:gd name="connsiteX5" fmla="*/ 464150 w 507998"/>
                      <a:gd name="connsiteY5" fmla="*/ 391392 h 454525"/>
                      <a:gd name="connsiteX6" fmla="*/ 454792 w 507998"/>
                      <a:gd name="connsiteY6" fmla="*/ 382034 h 454525"/>
                      <a:gd name="connsiteX7" fmla="*/ 436344 w 507998"/>
                      <a:gd name="connsiteY7" fmla="*/ 382034 h 454525"/>
                      <a:gd name="connsiteX8" fmla="*/ 436344 w 507998"/>
                      <a:gd name="connsiteY8" fmla="*/ 159718 h 454525"/>
                      <a:gd name="connsiteX9" fmla="*/ 439953 w 507998"/>
                      <a:gd name="connsiteY9" fmla="*/ 159718 h 454525"/>
                      <a:gd name="connsiteX10" fmla="*/ 449179 w 507998"/>
                      <a:gd name="connsiteY10" fmla="*/ 150495 h 454525"/>
                      <a:gd name="connsiteX11" fmla="*/ 449177 w 507998"/>
                      <a:gd name="connsiteY11" fmla="*/ 150360 h 454525"/>
                      <a:gd name="connsiteX12" fmla="*/ 449177 w 507998"/>
                      <a:gd name="connsiteY12" fmla="*/ 115335 h 454525"/>
                      <a:gd name="connsiteX13" fmla="*/ 440088 w 507998"/>
                      <a:gd name="connsiteY13" fmla="*/ 105978 h 454525"/>
                      <a:gd name="connsiteX14" fmla="*/ 439953 w 507998"/>
                      <a:gd name="connsiteY14" fmla="*/ 105977 h 454525"/>
                      <a:gd name="connsiteX15" fmla="*/ 415222 w 507998"/>
                      <a:gd name="connsiteY15" fmla="*/ 105977 h 454525"/>
                      <a:gd name="connsiteX16" fmla="*/ 266298 w 507998"/>
                      <a:gd name="connsiteY16" fmla="*/ 2906 h 454525"/>
                      <a:gd name="connsiteX17" fmla="*/ 245577 w 507998"/>
                      <a:gd name="connsiteY17" fmla="*/ 2906 h 454525"/>
                      <a:gd name="connsiteX18" fmla="*/ 96653 w 507998"/>
                      <a:gd name="connsiteY18" fmla="*/ 105977 h 454525"/>
                      <a:gd name="connsiteX19" fmla="*/ 72457 w 507998"/>
                      <a:gd name="connsiteY19" fmla="*/ 105977 h 454525"/>
                      <a:gd name="connsiteX20" fmla="*/ 63099 w 507998"/>
                      <a:gd name="connsiteY20" fmla="*/ 115335 h 454525"/>
                      <a:gd name="connsiteX21" fmla="*/ 63099 w 507998"/>
                      <a:gd name="connsiteY21" fmla="*/ 150360 h 454525"/>
                      <a:gd name="connsiteX22" fmla="*/ 72457 w 507998"/>
                      <a:gd name="connsiteY22" fmla="*/ 159718 h 454525"/>
                      <a:gd name="connsiteX23" fmla="*/ 74997 w 507998"/>
                      <a:gd name="connsiteY23" fmla="*/ 159718 h 454525"/>
                      <a:gd name="connsiteX24" fmla="*/ 74997 w 507998"/>
                      <a:gd name="connsiteY24" fmla="*/ 382034 h 454525"/>
                      <a:gd name="connsiteX25" fmla="*/ 57484 w 507998"/>
                      <a:gd name="connsiteY25" fmla="*/ 382034 h 454525"/>
                      <a:gd name="connsiteX26" fmla="*/ 48126 w 507998"/>
                      <a:gd name="connsiteY26" fmla="*/ 391392 h 454525"/>
                      <a:gd name="connsiteX27" fmla="*/ 48126 w 507998"/>
                      <a:gd name="connsiteY27" fmla="*/ 411845 h 454525"/>
                      <a:gd name="connsiteX28" fmla="*/ 38501 w 507998"/>
                      <a:gd name="connsiteY28" fmla="*/ 411845 h 454525"/>
                      <a:gd name="connsiteX29" fmla="*/ 29143 w 507998"/>
                      <a:gd name="connsiteY29" fmla="*/ 421203 h 454525"/>
                      <a:gd name="connsiteX30" fmla="*/ 29143 w 507998"/>
                      <a:gd name="connsiteY30" fmla="*/ 441256 h 454525"/>
                      <a:gd name="connsiteX31" fmla="*/ 6684 w 507998"/>
                      <a:gd name="connsiteY31" fmla="*/ 441256 h 454525"/>
                      <a:gd name="connsiteX32" fmla="*/ 0 w 507998"/>
                      <a:gd name="connsiteY32" fmla="*/ 447940 h 454525"/>
                      <a:gd name="connsiteX33" fmla="*/ 6684 w 507998"/>
                      <a:gd name="connsiteY33" fmla="*/ 454624 h 454525"/>
                      <a:gd name="connsiteX34" fmla="*/ 505592 w 507998"/>
                      <a:gd name="connsiteY34" fmla="*/ 454624 h 454525"/>
                      <a:gd name="connsiteX35" fmla="*/ 512276 w 507998"/>
                      <a:gd name="connsiteY35" fmla="*/ 447940 h 454525"/>
                      <a:gd name="connsiteX36" fmla="*/ 505592 w 507998"/>
                      <a:gd name="connsiteY36" fmla="*/ 441256 h 454525"/>
                      <a:gd name="connsiteX37" fmla="*/ 422975 w 507998"/>
                      <a:gd name="connsiteY37" fmla="*/ 381499 h 454525"/>
                      <a:gd name="connsiteX38" fmla="*/ 403190 w 507998"/>
                      <a:gd name="connsiteY38" fmla="*/ 381499 h 454525"/>
                      <a:gd name="connsiteX39" fmla="*/ 403190 w 507998"/>
                      <a:gd name="connsiteY39" fmla="*/ 159718 h 454525"/>
                      <a:gd name="connsiteX40" fmla="*/ 422975 w 507998"/>
                      <a:gd name="connsiteY40" fmla="*/ 159718 h 454525"/>
                      <a:gd name="connsiteX41" fmla="*/ 331536 w 507998"/>
                      <a:gd name="connsiteY41" fmla="*/ 381499 h 454525"/>
                      <a:gd name="connsiteX42" fmla="*/ 331536 w 507998"/>
                      <a:gd name="connsiteY42" fmla="*/ 159718 h 454525"/>
                      <a:gd name="connsiteX43" fmla="*/ 389822 w 507998"/>
                      <a:gd name="connsiteY43" fmla="*/ 159718 h 454525"/>
                      <a:gd name="connsiteX44" fmla="*/ 389822 w 507998"/>
                      <a:gd name="connsiteY44" fmla="*/ 382034 h 454525"/>
                      <a:gd name="connsiteX45" fmla="*/ 226728 w 507998"/>
                      <a:gd name="connsiteY45" fmla="*/ 381499 h 454525"/>
                      <a:gd name="connsiteX46" fmla="*/ 226728 w 507998"/>
                      <a:gd name="connsiteY46" fmla="*/ 159718 h 454525"/>
                      <a:gd name="connsiteX47" fmla="*/ 280201 w 507998"/>
                      <a:gd name="connsiteY47" fmla="*/ 159718 h 454525"/>
                      <a:gd name="connsiteX48" fmla="*/ 280201 w 507998"/>
                      <a:gd name="connsiteY48" fmla="*/ 382034 h 454525"/>
                      <a:gd name="connsiteX49" fmla="*/ 122454 w 507998"/>
                      <a:gd name="connsiteY49" fmla="*/ 381499 h 454525"/>
                      <a:gd name="connsiteX50" fmla="*/ 122454 w 507998"/>
                      <a:gd name="connsiteY50" fmla="*/ 159718 h 454525"/>
                      <a:gd name="connsiteX51" fmla="*/ 175126 w 507998"/>
                      <a:gd name="connsiteY51" fmla="*/ 159718 h 454525"/>
                      <a:gd name="connsiteX52" fmla="*/ 175126 w 507998"/>
                      <a:gd name="connsiteY52" fmla="*/ 382034 h 454525"/>
                      <a:gd name="connsiteX53" fmla="*/ 188494 w 507998"/>
                      <a:gd name="connsiteY53" fmla="*/ 159718 h 454525"/>
                      <a:gd name="connsiteX54" fmla="*/ 213894 w 507998"/>
                      <a:gd name="connsiteY54" fmla="*/ 159718 h 454525"/>
                      <a:gd name="connsiteX55" fmla="*/ 213894 w 507998"/>
                      <a:gd name="connsiteY55" fmla="*/ 382034 h 454525"/>
                      <a:gd name="connsiteX56" fmla="*/ 188494 w 507998"/>
                      <a:gd name="connsiteY56" fmla="*/ 382034 h 454525"/>
                      <a:gd name="connsiteX57" fmla="*/ 293302 w 507998"/>
                      <a:gd name="connsiteY57" fmla="*/ 159718 h 454525"/>
                      <a:gd name="connsiteX58" fmla="*/ 318167 w 507998"/>
                      <a:gd name="connsiteY58" fmla="*/ 159718 h 454525"/>
                      <a:gd name="connsiteX59" fmla="*/ 318167 w 507998"/>
                      <a:gd name="connsiteY59" fmla="*/ 382034 h 454525"/>
                      <a:gd name="connsiteX60" fmla="*/ 293302 w 507998"/>
                      <a:gd name="connsiteY60" fmla="*/ 382034 h 454525"/>
                      <a:gd name="connsiteX61" fmla="*/ 253197 w 507998"/>
                      <a:gd name="connsiteY61" fmla="*/ 14403 h 454525"/>
                      <a:gd name="connsiteX62" fmla="*/ 259614 w 507998"/>
                      <a:gd name="connsiteY62" fmla="*/ 14403 h 454525"/>
                      <a:gd name="connsiteX63" fmla="*/ 391693 w 507998"/>
                      <a:gd name="connsiteY63" fmla="*/ 105977 h 454525"/>
                      <a:gd name="connsiteX64" fmla="*/ 120315 w 507998"/>
                      <a:gd name="connsiteY64" fmla="*/ 105977 h 454525"/>
                      <a:gd name="connsiteX65" fmla="*/ 76467 w 507998"/>
                      <a:gd name="connsiteY65" fmla="*/ 119345 h 454525"/>
                      <a:gd name="connsiteX66" fmla="*/ 435809 w 507998"/>
                      <a:gd name="connsiteY66" fmla="*/ 119345 h 454525"/>
                      <a:gd name="connsiteX67" fmla="*/ 435809 w 507998"/>
                      <a:gd name="connsiteY67" fmla="*/ 146082 h 454525"/>
                      <a:gd name="connsiteX68" fmla="*/ 76467 w 507998"/>
                      <a:gd name="connsiteY68" fmla="*/ 146082 h 454525"/>
                      <a:gd name="connsiteX69" fmla="*/ 88365 w 507998"/>
                      <a:gd name="connsiteY69" fmla="*/ 159450 h 454525"/>
                      <a:gd name="connsiteX70" fmla="*/ 109086 w 507998"/>
                      <a:gd name="connsiteY70" fmla="*/ 159450 h 454525"/>
                      <a:gd name="connsiteX71" fmla="*/ 109086 w 507998"/>
                      <a:gd name="connsiteY71" fmla="*/ 382034 h 454525"/>
                      <a:gd name="connsiteX72" fmla="*/ 88365 w 507998"/>
                      <a:gd name="connsiteY72" fmla="*/ 382034 h 454525"/>
                      <a:gd name="connsiteX73" fmla="*/ 61628 w 507998"/>
                      <a:gd name="connsiteY73" fmla="*/ 395135 h 454525"/>
                      <a:gd name="connsiteX74" fmla="*/ 450781 w 507998"/>
                      <a:gd name="connsiteY74" fmla="*/ 395135 h 454525"/>
                      <a:gd name="connsiteX75" fmla="*/ 450781 w 507998"/>
                      <a:gd name="connsiteY75" fmla="*/ 411845 h 454525"/>
                      <a:gd name="connsiteX76" fmla="*/ 61494 w 507998"/>
                      <a:gd name="connsiteY76" fmla="*/ 411845 h 454525"/>
                      <a:gd name="connsiteX77" fmla="*/ 42511 w 507998"/>
                      <a:gd name="connsiteY77" fmla="*/ 425214 h 454525"/>
                      <a:gd name="connsiteX78" fmla="*/ 470299 w 507998"/>
                      <a:gd name="connsiteY78" fmla="*/ 425214 h 454525"/>
                      <a:gd name="connsiteX79" fmla="*/ 470299 w 507998"/>
                      <a:gd name="connsiteY79" fmla="*/ 441256 h 454525"/>
                      <a:gd name="connsiteX80" fmla="*/ 42511 w 507998"/>
                      <a:gd name="connsiteY80" fmla="*/ 441256 h 454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</a:cxnLst>
                    <a:rect l="l" t="t" r="r" b="b"/>
                    <a:pathLst>
                      <a:path w="507998" h="454525">
                        <a:moveTo>
                          <a:pt x="505592" y="441256"/>
                        </a:moveTo>
                        <a:lnTo>
                          <a:pt x="483267" y="441256"/>
                        </a:lnTo>
                        <a:lnTo>
                          <a:pt x="483267" y="421203"/>
                        </a:lnTo>
                        <a:cubicBezTo>
                          <a:pt x="483267" y="416035"/>
                          <a:pt x="479077" y="411845"/>
                          <a:pt x="473909" y="411845"/>
                        </a:cubicBezTo>
                        <a:lnTo>
                          <a:pt x="464150" y="411845"/>
                        </a:lnTo>
                        <a:lnTo>
                          <a:pt x="464150" y="391392"/>
                        </a:lnTo>
                        <a:cubicBezTo>
                          <a:pt x="464150" y="386223"/>
                          <a:pt x="459960" y="382034"/>
                          <a:pt x="454792" y="382034"/>
                        </a:cubicBezTo>
                        <a:lnTo>
                          <a:pt x="436344" y="382034"/>
                        </a:lnTo>
                        <a:lnTo>
                          <a:pt x="436344" y="159718"/>
                        </a:lnTo>
                        <a:lnTo>
                          <a:pt x="439953" y="159718"/>
                        </a:lnTo>
                        <a:cubicBezTo>
                          <a:pt x="445048" y="159718"/>
                          <a:pt x="449177" y="155588"/>
                          <a:pt x="449179" y="150495"/>
                        </a:cubicBezTo>
                        <a:cubicBezTo>
                          <a:pt x="449179" y="150449"/>
                          <a:pt x="449177" y="150405"/>
                          <a:pt x="449177" y="150360"/>
                        </a:cubicBezTo>
                        <a:lnTo>
                          <a:pt x="449177" y="115335"/>
                        </a:lnTo>
                        <a:cubicBezTo>
                          <a:pt x="449251" y="110241"/>
                          <a:pt x="445181" y="106052"/>
                          <a:pt x="440088" y="105978"/>
                        </a:cubicBezTo>
                        <a:cubicBezTo>
                          <a:pt x="440043" y="105977"/>
                          <a:pt x="439998" y="105977"/>
                          <a:pt x="439953" y="105977"/>
                        </a:cubicBezTo>
                        <a:lnTo>
                          <a:pt x="415222" y="105977"/>
                        </a:lnTo>
                        <a:lnTo>
                          <a:pt x="266298" y="2906"/>
                        </a:lnTo>
                        <a:cubicBezTo>
                          <a:pt x="259935" y="-969"/>
                          <a:pt x="251940" y="-969"/>
                          <a:pt x="245577" y="2906"/>
                        </a:cubicBezTo>
                        <a:lnTo>
                          <a:pt x="96653" y="105977"/>
                        </a:lnTo>
                        <a:lnTo>
                          <a:pt x="72457" y="105977"/>
                        </a:lnTo>
                        <a:cubicBezTo>
                          <a:pt x="67288" y="105977"/>
                          <a:pt x="63099" y="110166"/>
                          <a:pt x="63099" y="115335"/>
                        </a:cubicBezTo>
                        <a:lnTo>
                          <a:pt x="63099" y="150360"/>
                        </a:lnTo>
                        <a:cubicBezTo>
                          <a:pt x="63099" y="155528"/>
                          <a:pt x="67288" y="159718"/>
                          <a:pt x="72457" y="159718"/>
                        </a:cubicBezTo>
                        <a:lnTo>
                          <a:pt x="74997" y="159718"/>
                        </a:lnTo>
                        <a:lnTo>
                          <a:pt x="74997" y="382034"/>
                        </a:lnTo>
                        <a:lnTo>
                          <a:pt x="57484" y="382034"/>
                        </a:lnTo>
                        <a:cubicBezTo>
                          <a:pt x="52346" y="382106"/>
                          <a:pt x="48198" y="386253"/>
                          <a:pt x="48126" y="391392"/>
                        </a:cubicBezTo>
                        <a:lnTo>
                          <a:pt x="48126" y="411845"/>
                        </a:lnTo>
                        <a:lnTo>
                          <a:pt x="38501" y="411845"/>
                        </a:lnTo>
                        <a:cubicBezTo>
                          <a:pt x="33333" y="411845"/>
                          <a:pt x="29143" y="416035"/>
                          <a:pt x="29143" y="421203"/>
                        </a:cubicBezTo>
                        <a:lnTo>
                          <a:pt x="29143" y="441256"/>
                        </a:lnTo>
                        <a:lnTo>
                          <a:pt x="6684" y="441256"/>
                        </a:lnTo>
                        <a:cubicBezTo>
                          <a:pt x="2993" y="441256"/>
                          <a:pt x="0" y="444249"/>
                          <a:pt x="0" y="447940"/>
                        </a:cubicBezTo>
                        <a:cubicBezTo>
                          <a:pt x="0" y="451631"/>
                          <a:pt x="2993" y="454624"/>
                          <a:pt x="6684" y="454624"/>
                        </a:cubicBezTo>
                        <a:lnTo>
                          <a:pt x="505592" y="454624"/>
                        </a:lnTo>
                        <a:cubicBezTo>
                          <a:pt x="509283" y="454624"/>
                          <a:pt x="512276" y="451631"/>
                          <a:pt x="512276" y="447940"/>
                        </a:cubicBezTo>
                        <a:cubicBezTo>
                          <a:pt x="512276" y="444249"/>
                          <a:pt x="509283" y="441256"/>
                          <a:pt x="505592" y="441256"/>
                        </a:cubicBezTo>
                        <a:close/>
                        <a:moveTo>
                          <a:pt x="422975" y="381499"/>
                        </a:moveTo>
                        <a:lnTo>
                          <a:pt x="403190" y="381499"/>
                        </a:lnTo>
                        <a:lnTo>
                          <a:pt x="403190" y="159718"/>
                        </a:lnTo>
                        <a:lnTo>
                          <a:pt x="422975" y="159718"/>
                        </a:lnTo>
                        <a:close/>
                        <a:moveTo>
                          <a:pt x="331536" y="381499"/>
                        </a:moveTo>
                        <a:lnTo>
                          <a:pt x="331536" y="159718"/>
                        </a:lnTo>
                        <a:lnTo>
                          <a:pt x="389822" y="159718"/>
                        </a:lnTo>
                        <a:lnTo>
                          <a:pt x="389822" y="382034"/>
                        </a:lnTo>
                        <a:close/>
                        <a:moveTo>
                          <a:pt x="226728" y="381499"/>
                        </a:moveTo>
                        <a:lnTo>
                          <a:pt x="226728" y="159718"/>
                        </a:lnTo>
                        <a:lnTo>
                          <a:pt x="280201" y="159718"/>
                        </a:lnTo>
                        <a:lnTo>
                          <a:pt x="280201" y="382034"/>
                        </a:lnTo>
                        <a:close/>
                        <a:moveTo>
                          <a:pt x="122454" y="381499"/>
                        </a:moveTo>
                        <a:lnTo>
                          <a:pt x="122454" y="159718"/>
                        </a:lnTo>
                        <a:lnTo>
                          <a:pt x="175126" y="159718"/>
                        </a:lnTo>
                        <a:lnTo>
                          <a:pt x="175126" y="382034"/>
                        </a:lnTo>
                        <a:close/>
                        <a:moveTo>
                          <a:pt x="188494" y="159718"/>
                        </a:moveTo>
                        <a:lnTo>
                          <a:pt x="213894" y="159718"/>
                        </a:lnTo>
                        <a:lnTo>
                          <a:pt x="213894" y="382034"/>
                        </a:lnTo>
                        <a:lnTo>
                          <a:pt x="188494" y="382034"/>
                        </a:lnTo>
                        <a:close/>
                        <a:moveTo>
                          <a:pt x="293302" y="159718"/>
                        </a:moveTo>
                        <a:lnTo>
                          <a:pt x="318167" y="159718"/>
                        </a:lnTo>
                        <a:lnTo>
                          <a:pt x="318167" y="382034"/>
                        </a:lnTo>
                        <a:lnTo>
                          <a:pt x="293302" y="382034"/>
                        </a:lnTo>
                        <a:close/>
                        <a:moveTo>
                          <a:pt x="253197" y="14403"/>
                        </a:moveTo>
                        <a:cubicBezTo>
                          <a:pt x="255166" y="13199"/>
                          <a:pt x="257645" y="13199"/>
                          <a:pt x="259614" y="14403"/>
                        </a:cubicBezTo>
                        <a:lnTo>
                          <a:pt x="391693" y="105977"/>
                        </a:lnTo>
                        <a:lnTo>
                          <a:pt x="120315" y="105977"/>
                        </a:lnTo>
                        <a:close/>
                        <a:moveTo>
                          <a:pt x="76467" y="119345"/>
                        </a:moveTo>
                        <a:lnTo>
                          <a:pt x="435809" y="119345"/>
                        </a:lnTo>
                        <a:lnTo>
                          <a:pt x="435809" y="146082"/>
                        </a:lnTo>
                        <a:lnTo>
                          <a:pt x="76467" y="146082"/>
                        </a:lnTo>
                        <a:close/>
                        <a:moveTo>
                          <a:pt x="88365" y="159450"/>
                        </a:moveTo>
                        <a:lnTo>
                          <a:pt x="109086" y="159450"/>
                        </a:lnTo>
                        <a:lnTo>
                          <a:pt x="109086" y="382034"/>
                        </a:lnTo>
                        <a:lnTo>
                          <a:pt x="88365" y="382034"/>
                        </a:lnTo>
                        <a:close/>
                        <a:moveTo>
                          <a:pt x="61628" y="395135"/>
                        </a:moveTo>
                        <a:lnTo>
                          <a:pt x="450781" y="395135"/>
                        </a:lnTo>
                        <a:lnTo>
                          <a:pt x="450781" y="411845"/>
                        </a:lnTo>
                        <a:lnTo>
                          <a:pt x="61494" y="411845"/>
                        </a:lnTo>
                        <a:close/>
                        <a:moveTo>
                          <a:pt x="42511" y="425214"/>
                        </a:moveTo>
                        <a:lnTo>
                          <a:pt x="470299" y="425214"/>
                        </a:lnTo>
                        <a:lnTo>
                          <a:pt x="470299" y="441256"/>
                        </a:lnTo>
                        <a:lnTo>
                          <a:pt x="42511" y="441256"/>
                        </a:lnTo>
                        <a:close/>
                      </a:path>
                    </a:pathLst>
                  </a:custGeom>
                  <a:grpFill/>
                  <a:ln w="132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A50CCCDB-13D8-A56B-E331-2FD367B4A2E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190589" y="1442056"/>
                <a:ext cx="1022265" cy="1022265"/>
                <a:chOff x="7680176" y="1733455"/>
                <a:chExt cx="720080" cy="720080"/>
              </a:xfrm>
            </p:grpSpPr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55C05DF2-4164-D657-9B44-6E8FD256CF8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80176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Graphic 2">
                  <a:extLst>
                    <a:ext uri="{FF2B5EF4-FFF2-40B4-BE49-F238E27FC236}">
                      <a16:creationId xmlns:a16="http://schemas.microsoft.com/office/drawing/2014/main" id="{0C95B25B-588E-B7BA-BDFD-E8428CDD980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91545" y="1844824"/>
                  <a:ext cx="497342" cy="497342"/>
                </a:xfrm>
                <a:custGeom>
                  <a:avLst/>
                  <a:gdLst>
                    <a:gd name="connsiteX0" fmla="*/ 228614 w 449554"/>
                    <a:gd name="connsiteY0" fmla="*/ 41 h 449554"/>
                    <a:gd name="connsiteX1" fmla="*/ 65140 w 449554"/>
                    <a:gd name="connsiteY1" fmla="*/ 65840 h 449554"/>
                    <a:gd name="connsiteX2" fmla="*/ 51517 w 449554"/>
                    <a:gd name="connsiteY2" fmla="*/ 80688 h 449554"/>
                    <a:gd name="connsiteX3" fmla="*/ 51517 w 449554"/>
                    <a:gd name="connsiteY3" fmla="*/ 80688 h 449554"/>
                    <a:gd name="connsiteX4" fmla="*/ 51517 w 449554"/>
                    <a:gd name="connsiteY4" fmla="*/ 82323 h 449554"/>
                    <a:gd name="connsiteX5" fmla="*/ 23 w 449554"/>
                    <a:gd name="connsiteY5" fmla="*/ 228633 h 449554"/>
                    <a:gd name="connsiteX6" fmla="*/ 233791 w 449554"/>
                    <a:gd name="connsiteY6" fmla="*/ 462401 h 449554"/>
                    <a:gd name="connsiteX7" fmla="*/ 236652 w 449554"/>
                    <a:gd name="connsiteY7" fmla="*/ 462401 h 449554"/>
                    <a:gd name="connsiteX8" fmla="*/ 462413 w 449554"/>
                    <a:gd name="connsiteY8" fmla="*/ 238611 h 449554"/>
                    <a:gd name="connsiteX9" fmla="*/ 462383 w 449554"/>
                    <a:gd name="connsiteY9" fmla="*/ 233809 h 449554"/>
                    <a:gd name="connsiteX10" fmla="*/ 228614 w 449554"/>
                    <a:gd name="connsiteY10" fmla="*/ 41 h 449554"/>
                    <a:gd name="connsiteX11" fmla="*/ 353264 w 449554"/>
                    <a:gd name="connsiteY11" fmla="*/ 221685 h 449554"/>
                    <a:gd name="connsiteX12" fmla="*/ 334328 w 449554"/>
                    <a:gd name="connsiteY12" fmla="*/ 112702 h 449554"/>
                    <a:gd name="connsiteX13" fmla="*/ 395903 w 449554"/>
                    <a:gd name="connsiteY13" fmla="*/ 94175 h 449554"/>
                    <a:gd name="connsiteX14" fmla="*/ 448079 w 449554"/>
                    <a:gd name="connsiteY14" fmla="*/ 222366 h 449554"/>
                    <a:gd name="connsiteX15" fmla="*/ 235426 w 449554"/>
                    <a:gd name="connsiteY15" fmla="*/ 16525 h 449554"/>
                    <a:gd name="connsiteX16" fmla="*/ 317163 w 449554"/>
                    <a:gd name="connsiteY16" fmla="*/ 101940 h 449554"/>
                    <a:gd name="connsiteX17" fmla="*/ 237061 w 449554"/>
                    <a:gd name="connsiteY17" fmla="*/ 110795 h 449554"/>
                    <a:gd name="connsiteX18" fmla="*/ 222893 w 449554"/>
                    <a:gd name="connsiteY18" fmla="*/ 110931 h 449554"/>
                    <a:gd name="connsiteX19" fmla="*/ 219760 w 449554"/>
                    <a:gd name="connsiteY19" fmla="*/ 110931 h 449554"/>
                    <a:gd name="connsiteX20" fmla="*/ 140611 w 449554"/>
                    <a:gd name="connsiteY20" fmla="*/ 104120 h 449554"/>
                    <a:gd name="connsiteX21" fmla="*/ 179572 w 449554"/>
                    <a:gd name="connsiteY21" fmla="*/ 38730 h 449554"/>
                    <a:gd name="connsiteX22" fmla="*/ 221803 w 449554"/>
                    <a:gd name="connsiteY22" fmla="*/ 16525 h 449554"/>
                    <a:gd name="connsiteX23" fmla="*/ 219623 w 449554"/>
                    <a:gd name="connsiteY23" fmla="*/ 124554 h 449554"/>
                    <a:gd name="connsiteX24" fmla="*/ 223165 w 449554"/>
                    <a:gd name="connsiteY24" fmla="*/ 124554 h 449554"/>
                    <a:gd name="connsiteX25" fmla="*/ 224255 w 449554"/>
                    <a:gd name="connsiteY25" fmla="*/ 221685 h 449554"/>
                    <a:gd name="connsiteX26" fmla="*/ 120313 w 449554"/>
                    <a:gd name="connsiteY26" fmla="*/ 221685 h 449554"/>
                    <a:gd name="connsiteX27" fmla="*/ 136251 w 449554"/>
                    <a:gd name="connsiteY27" fmla="*/ 117198 h 449554"/>
                    <a:gd name="connsiteX28" fmla="*/ 219623 w 449554"/>
                    <a:gd name="connsiteY28" fmla="*/ 124554 h 449554"/>
                    <a:gd name="connsiteX29" fmla="*/ 106690 w 449554"/>
                    <a:gd name="connsiteY29" fmla="*/ 221685 h 449554"/>
                    <a:gd name="connsiteX30" fmla="*/ 13646 w 449554"/>
                    <a:gd name="connsiteY30" fmla="*/ 221685 h 449554"/>
                    <a:gd name="connsiteX31" fmla="*/ 57103 w 449554"/>
                    <a:gd name="connsiteY31" fmla="*/ 96900 h 449554"/>
                    <a:gd name="connsiteX32" fmla="*/ 122629 w 449554"/>
                    <a:gd name="connsiteY32" fmla="*/ 114746 h 449554"/>
                    <a:gd name="connsiteX33" fmla="*/ 106690 w 449554"/>
                    <a:gd name="connsiteY33" fmla="*/ 221685 h 449554"/>
                    <a:gd name="connsiteX34" fmla="*/ 106690 w 449554"/>
                    <a:gd name="connsiteY34" fmla="*/ 235308 h 449554"/>
                    <a:gd name="connsiteX35" fmla="*/ 126034 w 449554"/>
                    <a:gd name="connsiteY35" fmla="*/ 352737 h 449554"/>
                    <a:gd name="connsiteX36" fmla="*/ 64732 w 449554"/>
                    <a:gd name="connsiteY36" fmla="*/ 367041 h 449554"/>
                    <a:gd name="connsiteX37" fmla="*/ 13646 w 449554"/>
                    <a:gd name="connsiteY37" fmla="*/ 235308 h 449554"/>
                    <a:gd name="connsiteX38" fmla="*/ 120313 w 449554"/>
                    <a:gd name="connsiteY38" fmla="*/ 235308 h 449554"/>
                    <a:gd name="connsiteX39" fmla="*/ 224391 w 449554"/>
                    <a:gd name="connsiteY39" fmla="*/ 235308 h 449554"/>
                    <a:gd name="connsiteX40" fmla="*/ 225754 w 449554"/>
                    <a:gd name="connsiteY40" fmla="*/ 345789 h 449554"/>
                    <a:gd name="connsiteX41" fmla="*/ 220849 w 449554"/>
                    <a:gd name="connsiteY41" fmla="*/ 345789 h 449554"/>
                    <a:gd name="connsiteX42" fmla="*/ 139112 w 449554"/>
                    <a:gd name="connsiteY42" fmla="*/ 350830 h 449554"/>
                    <a:gd name="connsiteX43" fmla="*/ 120313 w 449554"/>
                    <a:gd name="connsiteY43" fmla="*/ 235308 h 449554"/>
                    <a:gd name="connsiteX44" fmla="*/ 220713 w 449554"/>
                    <a:gd name="connsiteY44" fmla="*/ 359276 h 449554"/>
                    <a:gd name="connsiteX45" fmla="*/ 225890 w 449554"/>
                    <a:gd name="connsiteY45" fmla="*/ 359276 h 449554"/>
                    <a:gd name="connsiteX46" fmla="*/ 226980 w 449554"/>
                    <a:gd name="connsiteY46" fmla="*/ 447824 h 449554"/>
                    <a:gd name="connsiteX47" fmla="*/ 144153 w 449554"/>
                    <a:gd name="connsiteY47" fmla="*/ 363771 h 449554"/>
                    <a:gd name="connsiteX48" fmla="*/ 220713 w 449554"/>
                    <a:gd name="connsiteY48" fmla="*/ 359276 h 449554"/>
                    <a:gd name="connsiteX49" fmla="*/ 280518 w 449554"/>
                    <a:gd name="connsiteY49" fmla="*/ 425347 h 449554"/>
                    <a:gd name="connsiteX50" fmla="*/ 240603 w 449554"/>
                    <a:gd name="connsiteY50" fmla="*/ 447416 h 449554"/>
                    <a:gd name="connsiteX51" fmla="*/ 239513 w 449554"/>
                    <a:gd name="connsiteY51" fmla="*/ 359821 h 449554"/>
                    <a:gd name="connsiteX52" fmla="*/ 315664 w 449554"/>
                    <a:gd name="connsiteY52" fmla="*/ 370038 h 449554"/>
                    <a:gd name="connsiteX53" fmla="*/ 280518 w 449554"/>
                    <a:gd name="connsiteY53" fmla="*/ 425347 h 449554"/>
                    <a:gd name="connsiteX54" fmla="*/ 329015 w 449554"/>
                    <a:gd name="connsiteY54" fmla="*/ 372899 h 449554"/>
                    <a:gd name="connsiteX55" fmla="*/ 383506 w 449554"/>
                    <a:gd name="connsiteY55" fmla="*/ 389655 h 449554"/>
                    <a:gd name="connsiteX56" fmla="*/ 278747 w 449554"/>
                    <a:gd name="connsiteY56" fmla="*/ 444146 h 449554"/>
                    <a:gd name="connsiteX57" fmla="*/ 289645 w 449554"/>
                    <a:gd name="connsiteY57" fmla="*/ 434746 h 449554"/>
                    <a:gd name="connsiteX58" fmla="*/ 329015 w 449554"/>
                    <a:gd name="connsiteY58" fmla="*/ 372899 h 449554"/>
                    <a:gd name="connsiteX59" fmla="*/ 239376 w 449554"/>
                    <a:gd name="connsiteY59" fmla="*/ 345653 h 449554"/>
                    <a:gd name="connsiteX60" fmla="*/ 238014 w 449554"/>
                    <a:gd name="connsiteY60" fmla="*/ 234763 h 449554"/>
                    <a:gd name="connsiteX61" fmla="*/ 340594 w 449554"/>
                    <a:gd name="connsiteY61" fmla="*/ 234763 h 449554"/>
                    <a:gd name="connsiteX62" fmla="*/ 321250 w 449554"/>
                    <a:gd name="connsiteY62" fmla="*/ 357369 h 449554"/>
                    <a:gd name="connsiteX63" fmla="*/ 239376 w 449554"/>
                    <a:gd name="connsiteY63" fmla="*/ 346198 h 449554"/>
                    <a:gd name="connsiteX64" fmla="*/ 237878 w 449554"/>
                    <a:gd name="connsiteY64" fmla="*/ 221140 h 449554"/>
                    <a:gd name="connsiteX65" fmla="*/ 236788 w 449554"/>
                    <a:gd name="connsiteY65" fmla="*/ 123737 h 449554"/>
                    <a:gd name="connsiteX66" fmla="*/ 321386 w 449554"/>
                    <a:gd name="connsiteY66" fmla="*/ 114337 h 449554"/>
                    <a:gd name="connsiteX67" fmla="*/ 339641 w 449554"/>
                    <a:gd name="connsiteY67" fmla="*/ 221140 h 449554"/>
                    <a:gd name="connsiteX68" fmla="*/ 385958 w 449554"/>
                    <a:gd name="connsiteY68" fmla="*/ 82596 h 449554"/>
                    <a:gd name="connsiteX69" fmla="*/ 329696 w 449554"/>
                    <a:gd name="connsiteY69" fmla="*/ 99216 h 449554"/>
                    <a:gd name="connsiteX70" fmla="*/ 275205 w 449554"/>
                    <a:gd name="connsiteY70" fmla="*/ 19386 h 449554"/>
                    <a:gd name="connsiteX71" fmla="*/ 385958 w 449554"/>
                    <a:gd name="connsiteY71" fmla="*/ 82596 h 449554"/>
                    <a:gd name="connsiteX72" fmla="*/ 75494 w 449554"/>
                    <a:gd name="connsiteY72" fmla="*/ 75512 h 449554"/>
                    <a:gd name="connsiteX73" fmla="*/ 183114 w 449554"/>
                    <a:gd name="connsiteY73" fmla="*/ 17887 h 449554"/>
                    <a:gd name="connsiteX74" fmla="*/ 169491 w 449554"/>
                    <a:gd name="connsiteY74" fmla="*/ 29058 h 449554"/>
                    <a:gd name="connsiteX75" fmla="*/ 127124 w 449554"/>
                    <a:gd name="connsiteY75" fmla="*/ 101668 h 449554"/>
                    <a:gd name="connsiteX76" fmla="*/ 66230 w 449554"/>
                    <a:gd name="connsiteY76" fmla="*/ 85729 h 449554"/>
                    <a:gd name="connsiteX77" fmla="*/ 75494 w 449554"/>
                    <a:gd name="connsiteY77" fmla="*/ 75512 h 449554"/>
                    <a:gd name="connsiteX78" fmla="*/ 75494 w 449554"/>
                    <a:gd name="connsiteY78" fmla="*/ 378212 h 449554"/>
                    <a:gd name="connsiteX79" fmla="*/ 131483 w 449554"/>
                    <a:gd name="connsiteY79" fmla="*/ 365679 h 449554"/>
                    <a:gd name="connsiteX80" fmla="*/ 181343 w 449554"/>
                    <a:gd name="connsiteY80" fmla="*/ 441285 h 449554"/>
                    <a:gd name="connsiteX81" fmla="*/ 74812 w 449554"/>
                    <a:gd name="connsiteY81" fmla="*/ 378212 h 449554"/>
                    <a:gd name="connsiteX82" fmla="*/ 394405 w 449554"/>
                    <a:gd name="connsiteY82" fmla="*/ 379574 h 449554"/>
                    <a:gd name="connsiteX83" fmla="*/ 394405 w 449554"/>
                    <a:gd name="connsiteY83" fmla="*/ 378756 h 449554"/>
                    <a:gd name="connsiteX84" fmla="*/ 334192 w 449554"/>
                    <a:gd name="connsiteY84" fmla="*/ 360093 h 449554"/>
                    <a:gd name="connsiteX85" fmla="*/ 354217 w 449554"/>
                    <a:gd name="connsiteY85" fmla="*/ 235308 h 449554"/>
                    <a:gd name="connsiteX86" fmla="*/ 449577 w 449554"/>
                    <a:gd name="connsiteY86" fmla="*/ 235308 h 449554"/>
                    <a:gd name="connsiteX87" fmla="*/ 393723 w 449554"/>
                    <a:gd name="connsiteY87" fmla="*/ 379574 h 449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449554" h="449554">
                      <a:moveTo>
                        <a:pt x="228614" y="41"/>
                      </a:moveTo>
                      <a:cubicBezTo>
                        <a:pt x="167451" y="-1127"/>
                        <a:pt x="108440" y="22624"/>
                        <a:pt x="65140" y="65840"/>
                      </a:cubicBezTo>
                      <a:cubicBezTo>
                        <a:pt x="60372" y="70608"/>
                        <a:pt x="56013" y="75648"/>
                        <a:pt x="51517" y="80688"/>
                      </a:cubicBezTo>
                      <a:lnTo>
                        <a:pt x="51517" y="80688"/>
                      </a:lnTo>
                      <a:lnTo>
                        <a:pt x="51517" y="82323"/>
                      </a:lnTo>
                      <a:cubicBezTo>
                        <a:pt x="17516" y="123426"/>
                        <a:pt x="-740" y="175294"/>
                        <a:pt x="23" y="228633"/>
                      </a:cubicBezTo>
                      <a:cubicBezTo>
                        <a:pt x="2278" y="356794"/>
                        <a:pt x="105630" y="460146"/>
                        <a:pt x="233791" y="462401"/>
                      </a:cubicBezTo>
                      <a:lnTo>
                        <a:pt x="236652" y="462401"/>
                      </a:lnTo>
                      <a:cubicBezTo>
                        <a:pt x="360792" y="462946"/>
                        <a:pt x="461868" y="362751"/>
                        <a:pt x="462413" y="238611"/>
                      </a:cubicBezTo>
                      <a:cubicBezTo>
                        <a:pt x="462419" y="237011"/>
                        <a:pt x="462410" y="235410"/>
                        <a:pt x="462383" y="233809"/>
                      </a:cubicBezTo>
                      <a:cubicBezTo>
                        <a:pt x="460128" y="105648"/>
                        <a:pt x="356776" y="2296"/>
                        <a:pt x="228614" y="41"/>
                      </a:cubicBezTo>
                      <a:close/>
                      <a:moveTo>
                        <a:pt x="353264" y="221685"/>
                      </a:moveTo>
                      <a:cubicBezTo>
                        <a:pt x="352210" y="184638"/>
                        <a:pt x="345832" y="147934"/>
                        <a:pt x="334328" y="112702"/>
                      </a:cubicBezTo>
                      <a:cubicBezTo>
                        <a:pt x="355270" y="108009"/>
                        <a:pt x="375849" y="101817"/>
                        <a:pt x="395903" y="94175"/>
                      </a:cubicBezTo>
                      <a:cubicBezTo>
                        <a:pt x="426499" y="130261"/>
                        <a:pt x="444778" y="175171"/>
                        <a:pt x="448079" y="222366"/>
                      </a:cubicBezTo>
                      <a:close/>
                      <a:moveTo>
                        <a:pt x="235426" y="16525"/>
                      </a:moveTo>
                      <a:cubicBezTo>
                        <a:pt x="268393" y="20612"/>
                        <a:pt x="297546" y="53170"/>
                        <a:pt x="317163" y="101940"/>
                      </a:cubicBezTo>
                      <a:cubicBezTo>
                        <a:pt x="290756" y="107122"/>
                        <a:pt x="263962" y="110084"/>
                        <a:pt x="237061" y="110795"/>
                      </a:cubicBezTo>
                      <a:close/>
                      <a:moveTo>
                        <a:pt x="222893" y="110931"/>
                      </a:moveTo>
                      <a:lnTo>
                        <a:pt x="219760" y="110931"/>
                      </a:lnTo>
                      <a:cubicBezTo>
                        <a:pt x="193244" y="110621"/>
                        <a:pt x="166788" y="108345"/>
                        <a:pt x="140611" y="104120"/>
                      </a:cubicBezTo>
                      <a:cubicBezTo>
                        <a:pt x="148813" y="79807"/>
                        <a:pt x="162095" y="57517"/>
                        <a:pt x="179572" y="38730"/>
                      </a:cubicBezTo>
                      <a:cubicBezTo>
                        <a:pt x="190650" y="26659"/>
                        <a:pt x="205578" y="18810"/>
                        <a:pt x="221803" y="16525"/>
                      </a:cubicBezTo>
                      <a:close/>
                      <a:moveTo>
                        <a:pt x="219623" y="124554"/>
                      </a:moveTo>
                      <a:lnTo>
                        <a:pt x="223165" y="124554"/>
                      </a:lnTo>
                      <a:lnTo>
                        <a:pt x="224255" y="221685"/>
                      </a:lnTo>
                      <a:lnTo>
                        <a:pt x="120313" y="221685"/>
                      </a:lnTo>
                      <a:cubicBezTo>
                        <a:pt x="120626" y="186275"/>
                        <a:pt x="125993" y="151091"/>
                        <a:pt x="136251" y="117198"/>
                      </a:cubicBezTo>
                      <a:cubicBezTo>
                        <a:pt x="163809" y="121806"/>
                        <a:pt x="191684" y="124266"/>
                        <a:pt x="219623" y="124554"/>
                      </a:cubicBezTo>
                      <a:close/>
                      <a:moveTo>
                        <a:pt x="106690" y="221685"/>
                      </a:moveTo>
                      <a:lnTo>
                        <a:pt x="13646" y="221685"/>
                      </a:lnTo>
                      <a:cubicBezTo>
                        <a:pt x="14302" y="176493"/>
                        <a:pt x="29545" y="132723"/>
                        <a:pt x="57103" y="96900"/>
                      </a:cubicBezTo>
                      <a:cubicBezTo>
                        <a:pt x="78474" y="104459"/>
                        <a:pt x="100376" y="110424"/>
                        <a:pt x="122629" y="114746"/>
                      </a:cubicBezTo>
                      <a:cubicBezTo>
                        <a:pt x="112265" y="149454"/>
                        <a:pt x="106898" y="185463"/>
                        <a:pt x="106690" y="221685"/>
                      </a:cubicBezTo>
                      <a:close/>
                      <a:moveTo>
                        <a:pt x="106690" y="235308"/>
                      </a:moveTo>
                      <a:cubicBezTo>
                        <a:pt x="107017" y="275216"/>
                        <a:pt x="113543" y="314833"/>
                        <a:pt x="126034" y="352737"/>
                      </a:cubicBezTo>
                      <a:cubicBezTo>
                        <a:pt x="105277" y="355995"/>
                        <a:pt x="84787" y="360776"/>
                        <a:pt x="64732" y="367041"/>
                      </a:cubicBezTo>
                      <a:cubicBezTo>
                        <a:pt x="33858" y="329838"/>
                        <a:pt x="15927" y="283599"/>
                        <a:pt x="13646" y="235308"/>
                      </a:cubicBezTo>
                      <a:close/>
                      <a:moveTo>
                        <a:pt x="120313" y="235308"/>
                      </a:moveTo>
                      <a:lnTo>
                        <a:pt x="224391" y="235308"/>
                      </a:lnTo>
                      <a:lnTo>
                        <a:pt x="225754" y="345789"/>
                      </a:lnTo>
                      <a:lnTo>
                        <a:pt x="220849" y="345789"/>
                      </a:lnTo>
                      <a:cubicBezTo>
                        <a:pt x="193515" y="345389"/>
                        <a:pt x="166190" y="347074"/>
                        <a:pt x="139112" y="350830"/>
                      </a:cubicBezTo>
                      <a:cubicBezTo>
                        <a:pt x="126940" y="313519"/>
                        <a:pt x="120599" y="274553"/>
                        <a:pt x="120313" y="235308"/>
                      </a:cubicBezTo>
                      <a:close/>
                      <a:moveTo>
                        <a:pt x="220713" y="359276"/>
                      </a:moveTo>
                      <a:lnTo>
                        <a:pt x="225890" y="359276"/>
                      </a:lnTo>
                      <a:lnTo>
                        <a:pt x="226980" y="447824"/>
                      </a:lnTo>
                      <a:cubicBezTo>
                        <a:pt x="193467" y="445100"/>
                        <a:pt x="163497" y="412814"/>
                        <a:pt x="144153" y="363771"/>
                      </a:cubicBezTo>
                      <a:cubicBezTo>
                        <a:pt x="169528" y="360402"/>
                        <a:pt x="195117" y="358900"/>
                        <a:pt x="220713" y="359276"/>
                      </a:cubicBezTo>
                      <a:close/>
                      <a:moveTo>
                        <a:pt x="280518" y="425347"/>
                      </a:moveTo>
                      <a:cubicBezTo>
                        <a:pt x="269898" y="436761"/>
                        <a:pt x="255916" y="444492"/>
                        <a:pt x="240603" y="447416"/>
                      </a:cubicBezTo>
                      <a:lnTo>
                        <a:pt x="239513" y="359821"/>
                      </a:lnTo>
                      <a:cubicBezTo>
                        <a:pt x="265120" y="361281"/>
                        <a:pt x="290578" y="364696"/>
                        <a:pt x="315664" y="370038"/>
                      </a:cubicBezTo>
                      <a:cubicBezTo>
                        <a:pt x="307646" y="390578"/>
                        <a:pt x="295710" y="409364"/>
                        <a:pt x="280518" y="425347"/>
                      </a:cubicBezTo>
                      <a:close/>
                      <a:moveTo>
                        <a:pt x="329015" y="372899"/>
                      </a:moveTo>
                      <a:cubicBezTo>
                        <a:pt x="347492" y="377413"/>
                        <a:pt x="365686" y="383008"/>
                        <a:pt x="383506" y="389655"/>
                      </a:cubicBezTo>
                      <a:cubicBezTo>
                        <a:pt x="354524" y="417474"/>
                        <a:pt x="318163" y="436388"/>
                        <a:pt x="278747" y="444146"/>
                      </a:cubicBezTo>
                      <a:cubicBezTo>
                        <a:pt x="282573" y="441245"/>
                        <a:pt x="286213" y="438106"/>
                        <a:pt x="289645" y="434746"/>
                      </a:cubicBezTo>
                      <a:cubicBezTo>
                        <a:pt x="306706" y="416918"/>
                        <a:pt x="320084" y="395902"/>
                        <a:pt x="329015" y="372899"/>
                      </a:cubicBezTo>
                      <a:close/>
                      <a:moveTo>
                        <a:pt x="239376" y="345653"/>
                      </a:moveTo>
                      <a:lnTo>
                        <a:pt x="238014" y="234763"/>
                      </a:lnTo>
                      <a:lnTo>
                        <a:pt x="340594" y="234763"/>
                      </a:lnTo>
                      <a:cubicBezTo>
                        <a:pt x="341064" y="276427"/>
                        <a:pt x="334525" y="317873"/>
                        <a:pt x="321250" y="357369"/>
                      </a:cubicBezTo>
                      <a:cubicBezTo>
                        <a:pt x="294301" y="351466"/>
                        <a:pt x="266922" y="347730"/>
                        <a:pt x="239376" y="346198"/>
                      </a:cubicBezTo>
                      <a:close/>
                      <a:moveTo>
                        <a:pt x="237878" y="221140"/>
                      </a:moveTo>
                      <a:lnTo>
                        <a:pt x="236788" y="123737"/>
                      </a:lnTo>
                      <a:cubicBezTo>
                        <a:pt x="265205" y="123047"/>
                        <a:pt x="293510" y="119902"/>
                        <a:pt x="321386" y="114337"/>
                      </a:cubicBezTo>
                      <a:cubicBezTo>
                        <a:pt x="332628" y="148863"/>
                        <a:pt x="338777" y="184841"/>
                        <a:pt x="339641" y="221140"/>
                      </a:cubicBezTo>
                      <a:close/>
                      <a:moveTo>
                        <a:pt x="385958" y="82596"/>
                      </a:moveTo>
                      <a:cubicBezTo>
                        <a:pt x="367595" y="89380"/>
                        <a:pt x="348798" y="94932"/>
                        <a:pt x="329696" y="99216"/>
                      </a:cubicBezTo>
                      <a:cubicBezTo>
                        <a:pt x="319010" y="68205"/>
                        <a:pt x="300192" y="40634"/>
                        <a:pt x="275205" y="19386"/>
                      </a:cubicBezTo>
                      <a:cubicBezTo>
                        <a:pt x="317468" y="29278"/>
                        <a:pt x="355946" y="51238"/>
                        <a:pt x="385958" y="82596"/>
                      </a:cubicBezTo>
                      <a:close/>
                      <a:moveTo>
                        <a:pt x="75494" y="75512"/>
                      </a:moveTo>
                      <a:cubicBezTo>
                        <a:pt x="104812" y="45993"/>
                        <a:pt x="142293" y="25924"/>
                        <a:pt x="183114" y="17887"/>
                      </a:cubicBezTo>
                      <a:cubicBezTo>
                        <a:pt x="178279" y="21237"/>
                        <a:pt x="173724" y="24973"/>
                        <a:pt x="169491" y="29058"/>
                      </a:cubicBezTo>
                      <a:cubicBezTo>
                        <a:pt x="150256" y="49892"/>
                        <a:pt x="135798" y="74671"/>
                        <a:pt x="127124" y="101668"/>
                      </a:cubicBezTo>
                      <a:cubicBezTo>
                        <a:pt x="106470" y="97824"/>
                        <a:pt x="86119" y="92497"/>
                        <a:pt x="66230" y="85729"/>
                      </a:cubicBezTo>
                      <a:cubicBezTo>
                        <a:pt x="69227" y="81778"/>
                        <a:pt x="72224" y="78781"/>
                        <a:pt x="75494" y="75512"/>
                      </a:cubicBezTo>
                      <a:close/>
                      <a:moveTo>
                        <a:pt x="75494" y="378212"/>
                      </a:moveTo>
                      <a:cubicBezTo>
                        <a:pt x="93866" y="372826"/>
                        <a:pt x="112568" y="368639"/>
                        <a:pt x="131483" y="365679"/>
                      </a:cubicBezTo>
                      <a:cubicBezTo>
                        <a:pt x="141724" y="394552"/>
                        <a:pt x="158835" y="420501"/>
                        <a:pt x="181343" y="441285"/>
                      </a:cubicBezTo>
                      <a:cubicBezTo>
                        <a:pt x="140637" y="430627"/>
                        <a:pt x="103732" y="408776"/>
                        <a:pt x="74812" y="378212"/>
                      </a:cubicBezTo>
                      <a:close/>
                      <a:moveTo>
                        <a:pt x="394405" y="379574"/>
                      </a:moveTo>
                      <a:lnTo>
                        <a:pt x="394405" y="378756"/>
                      </a:lnTo>
                      <a:cubicBezTo>
                        <a:pt x="374747" y="371273"/>
                        <a:pt x="354635" y="365040"/>
                        <a:pt x="334192" y="360093"/>
                      </a:cubicBezTo>
                      <a:cubicBezTo>
                        <a:pt x="347730" y="319893"/>
                        <a:pt x="354496" y="277725"/>
                        <a:pt x="354217" y="235308"/>
                      </a:cubicBezTo>
                      <a:lnTo>
                        <a:pt x="449577" y="235308"/>
                      </a:lnTo>
                      <a:cubicBezTo>
                        <a:pt x="449893" y="288733"/>
                        <a:pt x="429933" y="340290"/>
                        <a:pt x="393723" y="3795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4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12BD2D2B-9FE4-2745-320C-DD8E09A549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010008" y="1465662"/>
                <a:ext cx="811405" cy="811405"/>
                <a:chOff x="9840416" y="2957992"/>
                <a:chExt cx="942015" cy="942015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47915DE9-C849-91C1-99DD-CB97AE7435B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840416" y="2957992"/>
                  <a:ext cx="942015" cy="942015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Graphic 2">
                  <a:extLst>
                    <a:ext uri="{FF2B5EF4-FFF2-40B4-BE49-F238E27FC236}">
                      <a16:creationId xmlns:a16="http://schemas.microsoft.com/office/drawing/2014/main" id="{9DFCF659-05EA-EF97-5CBF-E546C4116D1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052619" y="3125575"/>
                  <a:ext cx="517608" cy="606848"/>
                </a:xfrm>
                <a:custGeom>
                  <a:avLst/>
                  <a:gdLst>
                    <a:gd name="connsiteX0" fmla="*/ 407087 w 395062"/>
                    <a:gd name="connsiteY0" fmla="*/ 252295 h 463176"/>
                    <a:gd name="connsiteX1" fmla="*/ 407087 w 395062"/>
                    <a:gd name="connsiteY1" fmla="*/ 58033 h 463176"/>
                    <a:gd name="connsiteX2" fmla="*/ 382839 w 395062"/>
                    <a:gd name="connsiteY2" fmla="*/ 32559 h 463176"/>
                    <a:gd name="connsiteX3" fmla="*/ 207240 w 395062"/>
                    <a:gd name="connsiteY3" fmla="*/ 954 h 463176"/>
                    <a:gd name="connsiteX4" fmla="*/ 206287 w 395062"/>
                    <a:gd name="connsiteY4" fmla="*/ 954 h 463176"/>
                    <a:gd name="connsiteX5" fmla="*/ 204379 w 395062"/>
                    <a:gd name="connsiteY5" fmla="*/ 0 h 463176"/>
                    <a:gd name="connsiteX6" fmla="*/ 201791 w 395062"/>
                    <a:gd name="connsiteY6" fmla="*/ 0 h 463176"/>
                    <a:gd name="connsiteX7" fmla="*/ 200429 w 395062"/>
                    <a:gd name="connsiteY7" fmla="*/ 0 h 463176"/>
                    <a:gd name="connsiteX8" fmla="*/ 199475 w 395062"/>
                    <a:gd name="connsiteY8" fmla="*/ 0 h 463176"/>
                    <a:gd name="connsiteX9" fmla="*/ 24422 w 395062"/>
                    <a:gd name="connsiteY9" fmla="*/ 32559 h 463176"/>
                    <a:gd name="connsiteX10" fmla="*/ 37 w 395062"/>
                    <a:gd name="connsiteY10" fmla="*/ 58033 h 463176"/>
                    <a:gd name="connsiteX11" fmla="*/ 37 w 395062"/>
                    <a:gd name="connsiteY11" fmla="*/ 251477 h 463176"/>
                    <a:gd name="connsiteX12" fmla="*/ 201791 w 395062"/>
                    <a:gd name="connsiteY12" fmla="*/ 463176 h 463176"/>
                    <a:gd name="connsiteX13" fmla="*/ 203562 w 395062"/>
                    <a:gd name="connsiteY13" fmla="*/ 463176 h 463176"/>
                    <a:gd name="connsiteX14" fmla="*/ 203562 w 395062"/>
                    <a:gd name="connsiteY14" fmla="*/ 463176 h 463176"/>
                    <a:gd name="connsiteX15" fmla="*/ 205333 w 395062"/>
                    <a:gd name="connsiteY15" fmla="*/ 463176 h 463176"/>
                    <a:gd name="connsiteX16" fmla="*/ 407087 w 395062"/>
                    <a:gd name="connsiteY16" fmla="*/ 252295 h 463176"/>
                    <a:gd name="connsiteX17" fmla="*/ 203562 w 395062"/>
                    <a:gd name="connsiteY17" fmla="*/ 449553 h 463176"/>
                    <a:gd name="connsiteX18" fmla="*/ 68151 w 395062"/>
                    <a:gd name="connsiteY18" fmla="*/ 375990 h 463176"/>
                    <a:gd name="connsiteX19" fmla="*/ 68151 w 395062"/>
                    <a:gd name="connsiteY19" fmla="*/ 372720 h 463176"/>
                    <a:gd name="connsiteX20" fmla="*/ 68151 w 395062"/>
                    <a:gd name="connsiteY20" fmla="*/ 355556 h 463176"/>
                    <a:gd name="connsiteX21" fmla="*/ 133132 w 395062"/>
                    <a:gd name="connsiteY21" fmla="*/ 289076 h 463176"/>
                    <a:gd name="connsiteX22" fmla="*/ 177134 w 395062"/>
                    <a:gd name="connsiteY22" fmla="*/ 244393 h 463176"/>
                    <a:gd name="connsiteX23" fmla="*/ 204379 w 395062"/>
                    <a:gd name="connsiteY23" fmla="*/ 250387 h 463176"/>
                    <a:gd name="connsiteX24" fmla="*/ 204379 w 395062"/>
                    <a:gd name="connsiteY24" fmla="*/ 250387 h 463176"/>
                    <a:gd name="connsiteX25" fmla="*/ 230535 w 395062"/>
                    <a:gd name="connsiteY25" fmla="*/ 245211 h 463176"/>
                    <a:gd name="connsiteX26" fmla="*/ 274673 w 395062"/>
                    <a:gd name="connsiteY26" fmla="*/ 288804 h 463176"/>
                    <a:gd name="connsiteX27" fmla="*/ 340608 w 395062"/>
                    <a:gd name="connsiteY27" fmla="*/ 355692 h 463176"/>
                    <a:gd name="connsiteX28" fmla="*/ 340608 w 395062"/>
                    <a:gd name="connsiteY28" fmla="*/ 375581 h 463176"/>
                    <a:gd name="connsiteX29" fmla="*/ 203562 w 395062"/>
                    <a:gd name="connsiteY29" fmla="*/ 449553 h 463176"/>
                    <a:gd name="connsiteX30" fmla="*/ 240889 w 395062"/>
                    <a:gd name="connsiteY30" fmla="*/ 222733 h 463176"/>
                    <a:gd name="connsiteX31" fmla="*/ 204379 w 395062"/>
                    <a:gd name="connsiteY31" fmla="*/ 236765 h 463176"/>
                    <a:gd name="connsiteX32" fmla="*/ 204379 w 395062"/>
                    <a:gd name="connsiteY32" fmla="*/ 236765 h 463176"/>
                    <a:gd name="connsiteX33" fmla="*/ 167325 w 395062"/>
                    <a:gd name="connsiteY33" fmla="*/ 221643 h 463176"/>
                    <a:gd name="connsiteX34" fmla="*/ 147981 w 395062"/>
                    <a:gd name="connsiteY34" fmla="*/ 168514 h 463176"/>
                    <a:gd name="connsiteX35" fmla="*/ 147981 w 395062"/>
                    <a:gd name="connsiteY35" fmla="*/ 165790 h 463176"/>
                    <a:gd name="connsiteX36" fmla="*/ 147981 w 395062"/>
                    <a:gd name="connsiteY36" fmla="*/ 133367 h 463176"/>
                    <a:gd name="connsiteX37" fmla="*/ 203290 w 395062"/>
                    <a:gd name="connsiteY37" fmla="*/ 95360 h 463176"/>
                    <a:gd name="connsiteX38" fmla="*/ 259824 w 395062"/>
                    <a:gd name="connsiteY38" fmla="*/ 133504 h 463176"/>
                    <a:gd name="connsiteX39" fmla="*/ 259824 w 395062"/>
                    <a:gd name="connsiteY39" fmla="*/ 165926 h 463176"/>
                    <a:gd name="connsiteX40" fmla="*/ 258871 w 395062"/>
                    <a:gd name="connsiteY40" fmla="*/ 171648 h 463176"/>
                    <a:gd name="connsiteX41" fmla="*/ 240889 w 395062"/>
                    <a:gd name="connsiteY41" fmla="*/ 222324 h 463176"/>
                    <a:gd name="connsiteX42" fmla="*/ 354231 w 395062"/>
                    <a:gd name="connsiteY42" fmla="*/ 360460 h 463176"/>
                    <a:gd name="connsiteX43" fmla="*/ 354231 w 395062"/>
                    <a:gd name="connsiteY43" fmla="*/ 355283 h 463176"/>
                    <a:gd name="connsiteX44" fmla="*/ 275354 w 395062"/>
                    <a:gd name="connsiteY44" fmla="*/ 275453 h 463176"/>
                    <a:gd name="connsiteX45" fmla="*/ 244567 w 395062"/>
                    <a:gd name="connsiteY45" fmla="*/ 242759 h 463176"/>
                    <a:gd name="connsiteX46" fmla="*/ 244567 w 395062"/>
                    <a:gd name="connsiteY46" fmla="*/ 237718 h 463176"/>
                    <a:gd name="connsiteX47" fmla="*/ 251514 w 395062"/>
                    <a:gd name="connsiteY47" fmla="*/ 231179 h 463176"/>
                    <a:gd name="connsiteX48" fmla="*/ 272494 w 395062"/>
                    <a:gd name="connsiteY48" fmla="*/ 173827 h 463176"/>
                    <a:gd name="connsiteX49" fmla="*/ 273311 w 395062"/>
                    <a:gd name="connsiteY49" fmla="*/ 167969 h 463176"/>
                    <a:gd name="connsiteX50" fmla="*/ 273311 w 395062"/>
                    <a:gd name="connsiteY50" fmla="*/ 130643 h 463176"/>
                    <a:gd name="connsiteX51" fmla="*/ 203426 w 395062"/>
                    <a:gd name="connsiteY51" fmla="*/ 81601 h 463176"/>
                    <a:gd name="connsiteX52" fmla="*/ 134086 w 395062"/>
                    <a:gd name="connsiteY52" fmla="*/ 130643 h 463176"/>
                    <a:gd name="connsiteX53" fmla="*/ 134086 w 395062"/>
                    <a:gd name="connsiteY53" fmla="*/ 167969 h 463176"/>
                    <a:gd name="connsiteX54" fmla="*/ 134086 w 395062"/>
                    <a:gd name="connsiteY54" fmla="*/ 170694 h 463176"/>
                    <a:gd name="connsiteX55" fmla="*/ 156563 w 395062"/>
                    <a:gd name="connsiteY55" fmla="*/ 230498 h 463176"/>
                    <a:gd name="connsiteX56" fmla="*/ 162012 w 395062"/>
                    <a:gd name="connsiteY56" fmla="*/ 235675 h 463176"/>
                    <a:gd name="connsiteX57" fmla="*/ 162830 w 395062"/>
                    <a:gd name="connsiteY57" fmla="*/ 242759 h 463176"/>
                    <a:gd name="connsiteX58" fmla="*/ 132042 w 395062"/>
                    <a:gd name="connsiteY58" fmla="*/ 275453 h 463176"/>
                    <a:gd name="connsiteX59" fmla="*/ 53438 w 395062"/>
                    <a:gd name="connsiteY59" fmla="*/ 355283 h 463176"/>
                    <a:gd name="connsiteX60" fmla="*/ 53438 w 395062"/>
                    <a:gd name="connsiteY60" fmla="*/ 360732 h 463176"/>
                    <a:gd name="connsiteX61" fmla="*/ 13387 w 395062"/>
                    <a:gd name="connsiteY61" fmla="*/ 251750 h 463176"/>
                    <a:gd name="connsiteX62" fmla="*/ 13387 w 395062"/>
                    <a:gd name="connsiteY62" fmla="*/ 58033 h 463176"/>
                    <a:gd name="connsiteX63" fmla="*/ 24831 w 395062"/>
                    <a:gd name="connsiteY63" fmla="*/ 46181 h 463176"/>
                    <a:gd name="connsiteX64" fmla="*/ 203426 w 395062"/>
                    <a:gd name="connsiteY64" fmla="*/ 14440 h 463176"/>
                    <a:gd name="connsiteX65" fmla="*/ 381885 w 395062"/>
                    <a:gd name="connsiteY65" fmla="*/ 46181 h 463176"/>
                    <a:gd name="connsiteX66" fmla="*/ 393192 w 395062"/>
                    <a:gd name="connsiteY66" fmla="*/ 58033 h 463176"/>
                    <a:gd name="connsiteX67" fmla="*/ 393192 w 395062"/>
                    <a:gd name="connsiteY67" fmla="*/ 252840 h 463176"/>
                    <a:gd name="connsiteX68" fmla="*/ 354231 w 395062"/>
                    <a:gd name="connsiteY68" fmla="*/ 360460 h 46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395062" h="463176">
                      <a:moveTo>
                        <a:pt x="407087" y="252295"/>
                      </a:moveTo>
                      <a:lnTo>
                        <a:pt x="407087" y="58033"/>
                      </a:lnTo>
                      <a:cubicBezTo>
                        <a:pt x="407104" y="44429"/>
                        <a:pt x="396427" y="33213"/>
                        <a:pt x="382839" y="32559"/>
                      </a:cubicBezTo>
                      <a:cubicBezTo>
                        <a:pt x="341970" y="30515"/>
                        <a:pt x="243749" y="23431"/>
                        <a:pt x="207240" y="954"/>
                      </a:cubicBezTo>
                      <a:cubicBezTo>
                        <a:pt x="207240" y="954"/>
                        <a:pt x="207240" y="954"/>
                        <a:pt x="206287" y="954"/>
                      </a:cubicBezTo>
                      <a:lnTo>
                        <a:pt x="204379" y="0"/>
                      </a:lnTo>
                      <a:lnTo>
                        <a:pt x="201791" y="0"/>
                      </a:lnTo>
                      <a:lnTo>
                        <a:pt x="200429" y="0"/>
                      </a:lnTo>
                      <a:cubicBezTo>
                        <a:pt x="200429" y="0"/>
                        <a:pt x="199748" y="0"/>
                        <a:pt x="199475" y="0"/>
                      </a:cubicBezTo>
                      <a:cubicBezTo>
                        <a:pt x="163511" y="23431"/>
                        <a:pt x="65018" y="30515"/>
                        <a:pt x="24422" y="32559"/>
                      </a:cubicBezTo>
                      <a:cubicBezTo>
                        <a:pt x="10811" y="33211"/>
                        <a:pt x="94" y="44407"/>
                        <a:pt x="37" y="58033"/>
                      </a:cubicBezTo>
                      <a:lnTo>
                        <a:pt x="37" y="251477"/>
                      </a:lnTo>
                      <a:cubicBezTo>
                        <a:pt x="37" y="252976"/>
                        <a:pt x="-7728" y="406369"/>
                        <a:pt x="201791" y="463176"/>
                      </a:cubicBezTo>
                      <a:cubicBezTo>
                        <a:pt x="202374" y="463305"/>
                        <a:pt x="202979" y="463305"/>
                        <a:pt x="203562" y="463176"/>
                      </a:cubicBezTo>
                      <a:lnTo>
                        <a:pt x="203562" y="463176"/>
                      </a:lnTo>
                      <a:cubicBezTo>
                        <a:pt x="204145" y="463305"/>
                        <a:pt x="204750" y="463305"/>
                        <a:pt x="205333" y="463176"/>
                      </a:cubicBezTo>
                      <a:cubicBezTo>
                        <a:pt x="417168" y="405279"/>
                        <a:pt x="407223" y="253248"/>
                        <a:pt x="407087" y="252295"/>
                      </a:cubicBezTo>
                      <a:close/>
                      <a:moveTo>
                        <a:pt x="203562" y="449553"/>
                      </a:moveTo>
                      <a:cubicBezTo>
                        <a:pt x="152738" y="437374"/>
                        <a:pt x="106029" y="411999"/>
                        <a:pt x="68151" y="375990"/>
                      </a:cubicBezTo>
                      <a:lnTo>
                        <a:pt x="68151" y="372720"/>
                      </a:lnTo>
                      <a:cubicBezTo>
                        <a:pt x="68151" y="367135"/>
                        <a:pt x="68151" y="356509"/>
                        <a:pt x="68151" y="355556"/>
                      </a:cubicBezTo>
                      <a:cubicBezTo>
                        <a:pt x="67996" y="319359"/>
                        <a:pt x="96940" y="289747"/>
                        <a:pt x="133132" y="289076"/>
                      </a:cubicBezTo>
                      <a:cubicBezTo>
                        <a:pt x="157390" y="288350"/>
                        <a:pt x="176780" y="268660"/>
                        <a:pt x="177134" y="244393"/>
                      </a:cubicBezTo>
                      <a:cubicBezTo>
                        <a:pt x="185790" y="247989"/>
                        <a:pt x="195014" y="250018"/>
                        <a:pt x="204379" y="250387"/>
                      </a:cubicBezTo>
                      <a:lnTo>
                        <a:pt x="204379" y="250387"/>
                      </a:lnTo>
                      <a:cubicBezTo>
                        <a:pt x="213338" y="250243"/>
                        <a:pt x="222197" y="248488"/>
                        <a:pt x="230535" y="245211"/>
                      </a:cubicBezTo>
                      <a:cubicBezTo>
                        <a:pt x="231394" y="269133"/>
                        <a:pt x="250743" y="288243"/>
                        <a:pt x="274673" y="288804"/>
                      </a:cubicBezTo>
                      <a:cubicBezTo>
                        <a:pt x="311148" y="289542"/>
                        <a:pt x="340394" y="319210"/>
                        <a:pt x="340608" y="355692"/>
                      </a:cubicBezTo>
                      <a:lnTo>
                        <a:pt x="340608" y="375581"/>
                      </a:lnTo>
                      <a:cubicBezTo>
                        <a:pt x="302284" y="411942"/>
                        <a:pt x="254990" y="437470"/>
                        <a:pt x="203562" y="449553"/>
                      </a:cubicBezTo>
                      <a:close/>
                      <a:moveTo>
                        <a:pt x="240889" y="222733"/>
                      </a:moveTo>
                      <a:cubicBezTo>
                        <a:pt x="231054" y="232055"/>
                        <a:pt x="217926" y="237101"/>
                        <a:pt x="204379" y="236765"/>
                      </a:cubicBezTo>
                      <a:lnTo>
                        <a:pt x="204379" y="236765"/>
                      </a:lnTo>
                      <a:cubicBezTo>
                        <a:pt x="190580" y="236500"/>
                        <a:pt x="177371" y="231110"/>
                        <a:pt x="167325" y="221643"/>
                      </a:cubicBezTo>
                      <a:cubicBezTo>
                        <a:pt x="156209" y="205999"/>
                        <a:pt x="149526" y="187644"/>
                        <a:pt x="147981" y="168514"/>
                      </a:cubicBezTo>
                      <a:lnTo>
                        <a:pt x="147981" y="165790"/>
                      </a:lnTo>
                      <a:cubicBezTo>
                        <a:pt x="146269" y="155050"/>
                        <a:pt x="146269" y="144108"/>
                        <a:pt x="147981" y="133367"/>
                      </a:cubicBezTo>
                      <a:cubicBezTo>
                        <a:pt x="155337" y="94406"/>
                        <a:pt x="200974" y="95360"/>
                        <a:pt x="203290" y="95360"/>
                      </a:cubicBezTo>
                      <a:cubicBezTo>
                        <a:pt x="205606" y="95360"/>
                        <a:pt x="251514" y="94134"/>
                        <a:pt x="259824" y="133504"/>
                      </a:cubicBezTo>
                      <a:cubicBezTo>
                        <a:pt x="261541" y="144243"/>
                        <a:pt x="261541" y="155187"/>
                        <a:pt x="259824" y="165926"/>
                      </a:cubicBezTo>
                      <a:lnTo>
                        <a:pt x="258871" y="171648"/>
                      </a:lnTo>
                      <a:cubicBezTo>
                        <a:pt x="257714" y="189886"/>
                        <a:pt x="251486" y="207437"/>
                        <a:pt x="240889" y="222324"/>
                      </a:cubicBezTo>
                      <a:close/>
                      <a:moveTo>
                        <a:pt x="354231" y="360460"/>
                      </a:moveTo>
                      <a:lnTo>
                        <a:pt x="354231" y="355283"/>
                      </a:lnTo>
                      <a:cubicBezTo>
                        <a:pt x="353246" y="311976"/>
                        <a:pt x="318646" y="276959"/>
                        <a:pt x="275354" y="275453"/>
                      </a:cubicBezTo>
                      <a:cubicBezTo>
                        <a:pt x="257855" y="274861"/>
                        <a:pt x="244108" y="260263"/>
                        <a:pt x="244567" y="242759"/>
                      </a:cubicBezTo>
                      <a:cubicBezTo>
                        <a:pt x="244567" y="240988"/>
                        <a:pt x="244567" y="239353"/>
                        <a:pt x="244567" y="237718"/>
                      </a:cubicBezTo>
                      <a:cubicBezTo>
                        <a:pt x="247078" y="235757"/>
                        <a:pt x="249404" y="233567"/>
                        <a:pt x="251514" y="231179"/>
                      </a:cubicBezTo>
                      <a:cubicBezTo>
                        <a:pt x="263680" y="214371"/>
                        <a:pt x="270942" y="194518"/>
                        <a:pt x="272494" y="173827"/>
                      </a:cubicBezTo>
                      <a:lnTo>
                        <a:pt x="273311" y="167969"/>
                      </a:lnTo>
                      <a:cubicBezTo>
                        <a:pt x="275399" y="155615"/>
                        <a:pt x="275399" y="142997"/>
                        <a:pt x="273311" y="130643"/>
                      </a:cubicBezTo>
                      <a:cubicBezTo>
                        <a:pt x="264729" y="89774"/>
                        <a:pt x="223588" y="80920"/>
                        <a:pt x="203426" y="81601"/>
                      </a:cubicBezTo>
                      <a:cubicBezTo>
                        <a:pt x="183264" y="82282"/>
                        <a:pt x="142259" y="90319"/>
                        <a:pt x="134086" y="130643"/>
                      </a:cubicBezTo>
                      <a:cubicBezTo>
                        <a:pt x="131997" y="142997"/>
                        <a:pt x="131997" y="155615"/>
                        <a:pt x="134086" y="167969"/>
                      </a:cubicBezTo>
                      <a:lnTo>
                        <a:pt x="134086" y="170694"/>
                      </a:lnTo>
                      <a:cubicBezTo>
                        <a:pt x="135914" y="192322"/>
                        <a:pt x="143694" y="213020"/>
                        <a:pt x="156563" y="230498"/>
                      </a:cubicBezTo>
                      <a:cubicBezTo>
                        <a:pt x="158278" y="232328"/>
                        <a:pt x="160097" y="234056"/>
                        <a:pt x="162012" y="235675"/>
                      </a:cubicBezTo>
                      <a:cubicBezTo>
                        <a:pt x="162491" y="238008"/>
                        <a:pt x="162764" y="240377"/>
                        <a:pt x="162830" y="242759"/>
                      </a:cubicBezTo>
                      <a:cubicBezTo>
                        <a:pt x="163289" y="260263"/>
                        <a:pt x="149542" y="274861"/>
                        <a:pt x="132042" y="275453"/>
                      </a:cubicBezTo>
                      <a:cubicBezTo>
                        <a:pt x="88433" y="276124"/>
                        <a:pt x="53433" y="311668"/>
                        <a:pt x="53438" y="355283"/>
                      </a:cubicBezTo>
                      <a:lnTo>
                        <a:pt x="53438" y="360732"/>
                      </a:lnTo>
                      <a:cubicBezTo>
                        <a:pt x="27620" y="330284"/>
                        <a:pt x="13430" y="291670"/>
                        <a:pt x="13387" y="251750"/>
                      </a:cubicBezTo>
                      <a:lnTo>
                        <a:pt x="13387" y="58033"/>
                      </a:lnTo>
                      <a:cubicBezTo>
                        <a:pt x="13453" y="51672"/>
                        <a:pt x="18476" y="46470"/>
                        <a:pt x="24831" y="46181"/>
                      </a:cubicBezTo>
                      <a:cubicBezTo>
                        <a:pt x="65699" y="44138"/>
                        <a:pt x="162012" y="37054"/>
                        <a:pt x="203426" y="14440"/>
                      </a:cubicBezTo>
                      <a:cubicBezTo>
                        <a:pt x="244294" y="37054"/>
                        <a:pt x="341289" y="44138"/>
                        <a:pt x="381885" y="46181"/>
                      </a:cubicBezTo>
                      <a:cubicBezTo>
                        <a:pt x="388217" y="46473"/>
                        <a:pt x="393199" y="51695"/>
                        <a:pt x="393192" y="58033"/>
                      </a:cubicBezTo>
                      <a:lnTo>
                        <a:pt x="393192" y="252840"/>
                      </a:lnTo>
                      <a:cubicBezTo>
                        <a:pt x="393240" y="292174"/>
                        <a:pt x="379447" y="330272"/>
                        <a:pt x="354231" y="36046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3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24AE96EC-08EA-B4B7-82A3-153B6C3B535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37690" y="2324807"/>
                <a:ext cx="639036" cy="639036"/>
                <a:chOff x="8760296" y="2132856"/>
                <a:chExt cx="942016" cy="942016"/>
              </a:xfrm>
            </p:grpSpPr>
            <p:sp>
              <p:nvSpPr>
                <p:cNvPr id="200" name="Oval 199">
                  <a:extLst>
                    <a:ext uri="{FF2B5EF4-FFF2-40B4-BE49-F238E27FC236}">
                      <a16:creationId xmlns:a16="http://schemas.microsoft.com/office/drawing/2014/main" id="{6D993F4A-5316-B788-58C3-9BED46F77CD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60296" y="2132856"/>
                  <a:ext cx="942016" cy="942016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01" name="Graphic 2">
                  <a:extLst>
                    <a:ext uri="{FF2B5EF4-FFF2-40B4-BE49-F238E27FC236}">
                      <a16:creationId xmlns:a16="http://schemas.microsoft.com/office/drawing/2014/main" id="{E0A06A82-BC58-517B-9315-1A54E3CC3E2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978888" y="2351451"/>
                  <a:ext cx="504828" cy="504826"/>
                  <a:chOff x="5864412" y="3152586"/>
                  <a:chExt cx="463177" cy="463177"/>
                </a:xfrm>
                <a:solidFill>
                  <a:schemeClr val="bg1"/>
                </a:solidFill>
              </p:grpSpPr>
              <p:sp>
                <p:nvSpPr>
                  <p:cNvPr id="202" name="Freeform: Shape 163">
                    <a:extLst>
                      <a:ext uri="{FF2B5EF4-FFF2-40B4-BE49-F238E27FC236}">
                        <a16:creationId xmlns:a16="http://schemas.microsoft.com/office/drawing/2014/main" id="{2325C9E6-8538-3B28-CBC5-36B8B18F3871}"/>
                      </a:ext>
                    </a:extLst>
                  </p:cNvPr>
                  <p:cNvSpPr/>
                  <p:nvPr/>
                </p:nvSpPr>
                <p:spPr>
                  <a:xfrm>
                    <a:off x="5905278" y="3193455"/>
                    <a:ext cx="381440" cy="422308"/>
                  </a:xfrm>
                  <a:custGeom>
                    <a:avLst/>
                    <a:gdLst>
                      <a:gd name="connsiteX0" fmla="*/ 347385 w 381439"/>
                      <a:gd name="connsiteY0" fmla="*/ 163474 h 422308"/>
                      <a:gd name="connsiteX1" fmla="*/ 340574 w 381439"/>
                      <a:gd name="connsiteY1" fmla="*/ 163474 h 422308"/>
                      <a:gd name="connsiteX2" fmla="*/ 340574 w 381439"/>
                      <a:gd name="connsiteY2" fmla="*/ 97812 h 422308"/>
                      <a:gd name="connsiteX3" fmla="*/ 242762 w 381439"/>
                      <a:gd name="connsiteY3" fmla="*/ 0 h 422308"/>
                      <a:gd name="connsiteX4" fmla="*/ 138683 w 381439"/>
                      <a:gd name="connsiteY4" fmla="*/ 0 h 422308"/>
                      <a:gd name="connsiteX5" fmla="*/ 40871 w 381439"/>
                      <a:gd name="connsiteY5" fmla="*/ 97812 h 422308"/>
                      <a:gd name="connsiteX6" fmla="*/ 40871 w 381439"/>
                      <a:gd name="connsiteY6" fmla="*/ 163474 h 422308"/>
                      <a:gd name="connsiteX7" fmla="*/ 34060 w 381439"/>
                      <a:gd name="connsiteY7" fmla="*/ 163474 h 422308"/>
                      <a:gd name="connsiteX8" fmla="*/ 3 w 381439"/>
                      <a:gd name="connsiteY8" fmla="*/ 197531 h 422308"/>
                      <a:gd name="connsiteX9" fmla="*/ 3 w 381439"/>
                      <a:gd name="connsiteY9" fmla="*/ 211154 h 422308"/>
                      <a:gd name="connsiteX10" fmla="*/ 40871 w 381439"/>
                      <a:gd name="connsiteY10" fmla="*/ 258834 h 422308"/>
                      <a:gd name="connsiteX11" fmla="*/ 40871 w 381439"/>
                      <a:gd name="connsiteY11" fmla="*/ 279269 h 422308"/>
                      <a:gd name="connsiteX12" fmla="*/ 183911 w 381439"/>
                      <a:gd name="connsiteY12" fmla="*/ 422308 h 422308"/>
                      <a:gd name="connsiteX13" fmla="*/ 197534 w 381439"/>
                      <a:gd name="connsiteY13" fmla="*/ 422308 h 422308"/>
                      <a:gd name="connsiteX14" fmla="*/ 340574 w 381439"/>
                      <a:gd name="connsiteY14" fmla="*/ 279269 h 422308"/>
                      <a:gd name="connsiteX15" fmla="*/ 340574 w 381439"/>
                      <a:gd name="connsiteY15" fmla="*/ 258834 h 422308"/>
                      <a:gd name="connsiteX16" fmla="*/ 381442 w 381439"/>
                      <a:gd name="connsiteY16" fmla="*/ 211835 h 422308"/>
                      <a:gd name="connsiteX17" fmla="*/ 381442 w 381439"/>
                      <a:gd name="connsiteY17" fmla="*/ 198213 h 422308"/>
                      <a:gd name="connsiteX18" fmla="*/ 348073 w 381439"/>
                      <a:gd name="connsiteY18" fmla="*/ 163481 h 422308"/>
                      <a:gd name="connsiteX19" fmla="*/ 347385 w 381439"/>
                      <a:gd name="connsiteY19" fmla="*/ 163474 h 422308"/>
                      <a:gd name="connsiteX20" fmla="*/ 13625 w 381439"/>
                      <a:gd name="connsiteY20" fmla="*/ 211154 h 422308"/>
                      <a:gd name="connsiteX21" fmla="*/ 13625 w 381439"/>
                      <a:gd name="connsiteY21" fmla="*/ 197531 h 422308"/>
                      <a:gd name="connsiteX22" fmla="*/ 34060 w 381439"/>
                      <a:gd name="connsiteY22" fmla="*/ 177097 h 422308"/>
                      <a:gd name="connsiteX23" fmla="*/ 40871 w 381439"/>
                      <a:gd name="connsiteY23" fmla="*/ 177097 h 422308"/>
                      <a:gd name="connsiteX24" fmla="*/ 40871 w 381439"/>
                      <a:gd name="connsiteY24" fmla="*/ 245211 h 422308"/>
                      <a:gd name="connsiteX25" fmla="*/ 13625 w 381439"/>
                      <a:gd name="connsiteY25" fmla="*/ 211154 h 422308"/>
                      <a:gd name="connsiteX26" fmla="*/ 326951 w 381439"/>
                      <a:gd name="connsiteY26" fmla="*/ 279269 h 422308"/>
                      <a:gd name="connsiteX27" fmla="*/ 197534 w 381439"/>
                      <a:gd name="connsiteY27" fmla="*/ 408686 h 422308"/>
                      <a:gd name="connsiteX28" fmla="*/ 183911 w 381439"/>
                      <a:gd name="connsiteY28" fmla="*/ 408686 h 422308"/>
                      <a:gd name="connsiteX29" fmla="*/ 54494 w 381439"/>
                      <a:gd name="connsiteY29" fmla="*/ 279269 h 422308"/>
                      <a:gd name="connsiteX30" fmla="*/ 54494 w 381439"/>
                      <a:gd name="connsiteY30" fmla="*/ 97812 h 422308"/>
                      <a:gd name="connsiteX31" fmla="*/ 138683 w 381439"/>
                      <a:gd name="connsiteY31" fmla="*/ 13623 h 422308"/>
                      <a:gd name="connsiteX32" fmla="*/ 242762 w 381439"/>
                      <a:gd name="connsiteY32" fmla="*/ 13623 h 422308"/>
                      <a:gd name="connsiteX33" fmla="*/ 326951 w 381439"/>
                      <a:gd name="connsiteY33" fmla="*/ 97812 h 422308"/>
                      <a:gd name="connsiteX34" fmla="*/ 326951 w 381439"/>
                      <a:gd name="connsiteY34" fmla="*/ 122606 h 422308"/>
                      <a:gd name="connsiteX35" fmla="*/ 129420 w 381439"/>
                      <a:gd name="connsiteY35" fmla="*/ 122606 h 422308"/>
                      <a:gd name="connsiteX36" fmla="*/ 95363 w 381439"/>
                      <a:gd name="connsiteY36" fmla="*/ 88549 h 422308"/>
                      <a:gd name="connsiteX37" fmla="*/ 95363 w 381439"/>
                      <a:gd name="connsiteY37" fmla="*/ 86233 h 422308"/>
                      <a:gd name="connsiteX38" fmla="*/ 88551 w 381439"/>
                      <a:gd name="connsiteY38" fmla="*/ 79421 h 422308"/>
                      <a:gd name="connsiteX39" fmla="*/ 81740 w 381439"/>
                      <a:gd name="connsiteY39" fmla="*/ 86233 h 422308"/>
                      <a:gd name="connsiteX40" fmla="*/ 81740 w 381439"/>
                      <a:gd name="connsiteY40" fmla="*/ 88549 h 422308"/>
                      <a:gd name="connsiteX41" fmla="*/ 129420 w 381439"/>
                      <a:gd name="connsiteY41" fmla="*/ 136229 h 422308"/>
                      <a:gd name="connsiteX42" fmla="*/ 326951 w 381439"/>
                      <a:gd name="connsiteY42" fmla="*/ 136229 h 422308"/>
                      <a:gd name="connsiteX43" fmla="*/ 367820 w 381439"/>
                      <a:gd name="connsiteY43" fmla="*/ 211154 h 422308"/>
                      <a:gd name="connsiteX44" fmla="*/ 340574 w 381439"/>
                      <a:gd name="connsiteY44" fmla="*/ 245211 h 422308"/>
                      <a:gd name="connsiteX45" fmla="*/ 340574 w 381439"/>
                      <a:gd name="connsiteY45" fmla="*/ 177097 h 422308"/>
                      <a:gd name="connsiteX46" fmla="*/ 347385 w 381439"/>
                      <a:gd name="connsiteY46" fmla="*/ 177097 h 422308"/>
                      <a:gd name="connsiteX47" fmla="*/ 367820 w 381439"/>
                      <a:gd name="connsiteY47" fmla="*/ 197531 h 422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81439" h="422308">
                        <a:moveTo>
                          <a:pt x="347385" y="163474"/>
                        </a:moveTo>
                        <a:lnTo>
                          <a:pt x="340574" y="163474"/>
                        </a:lnTo>
                        <a:lnTo>
                          <a:pt x="340574" y="97812"/>
                        </a:lnTo>
                        <a:cubicBezTo>
                          <a:pt x="340499" y="43823"/>
                          <a:pt x="296751" y="75"/>
                          <a:pt x="242762" y="0"/>
                        </a:cubicBezTo>
                        <a:lnTo>
                          <a:pt x="138683" y="0"/>
                        </a:lnTo>
                        <a:cubicBezTo>
                          <a:pt x="84694" y="75"/>
                          <a:pt x="40946" y="43823"/>
                          <a:pt x="40871" y="97812"/>
                        </a:cubicBezTo>
                        <a:lnTo>
                          <a:pt x="40871" y="163474"/>
                        </a:lnTo>
                        <a:lnTo>
                          <a:pt x="34060" y="163474"/>
                        </a:lnTo>
                        <a:cubicBezTo>
                          <a:pt x="15250" y="163474"/>
                          <a:pt x="3" y="178722"/>
                          <a:pt x="3" y="197531"/>
                        </a:cubicBezTo>
                        <a:lnTo>
                          <a:pt x="3" y="211154"/>
                        </a:lnTo>
                        <a:cubicBezTo>
                          <a:pt x="-242" y="235042"/>
                          <a:pt x="17228" y="255423"/>
                          <a:pt x="40871" y="258834"/>
                        </a:cubicBezTo>
                        <a:lnTo>
                          <a:pt x="40871" y="279269"/>
                        </a:lnTo>
                        <a:cubicBezTo>
                          <a:pt x="40946" y="358236"/>
                          <a:pt x="104943" y="422234"/>
                          <a:pt x="183911" y="422308"/>
                        </a:cubicBezTo>
                        <a:lnTo>
                          <a:pt x="197534" y="422308"/>
                        </a:lnTo>
                        <a:cubicBezTo>
                          <a:pt x="276502" y="422234"/>
                          <a:pt x="340499" y="358236"/>
                          <a:pt x="340574" y="279269"/>
                        </a:cubicBezTo>
                        <a:lnTo>
                          <a:pt x="340574" y="258834"/>
                        </a:lnTo>
                        <a:cubicBezTo>
                          <a:pt x="363960" y="255458"/>
                          <a:pt x="381347" y="235464"/>
                          <a:pt x="381442" y="211835"/>
                        </a:cubicBezTo>
                        <a:lnTo>
                          <a:pt x="381442" y="198213"/>
                        </a:lnTo>
                        <a:cubicBezTo>
                          <a:pt x="381818" y="179408"/>
                          <a:pt x="366878" y="163857"/>
                          <a:pt x="348073" y="163481"/>
                        </a:cubicBezTo>
                        <a:cubicBezTo>
                          <a:pt x="347844" y="163477"/>
                          <a:pt x="347614" y="163474"/>
                          <a:pt x="347385" y="163474"/>
                        </a:cubicBezTo>
                        <a:close/>
                        <a:moveTo>
                          <a:pt x="13625" y="211154"/>
                        </a:moveTo>
                        <a:lnTo>
                          <a:pt x="13625" y="197531"/>
                        </a:lnTo>
                        <a:cubicBezTo>
                          <a:pt x="13625" y="186246"/>
                          <a:pt x="22774" y="177097"/>
                          <a:pt x="34060" y="177097"/>
                        </a:cubicBezTo>
                        <a:lnTo>
                          <a:pt x="40871" y="177097"/>
                        </a:lnTo>
                        <a:lnTo>
                          <a:pt x="40871" y="245211"/>
                        </a:lnTo>
                        <a:cubicBezTo>
                          <a:pt x="24758" y="241926"/>
                          <a:pt x="13294" y="227596"/>
                          <a:pt x="13625" y="211154"/>
                        </a:cubicBezTo>
                        <a:close/>
                        <a:moveTo>
                          <a:pt x="326951" y="279269"/>
                        </a:moveTo>
                        <a:cubicBezTo>
                          <a:pt x="326876" y="350712"/>
                          <a:pt x="268978" y="408611"/>
                          <a:pt x="197534" y="408686"/>
                        </a:cubicBezTo>
                        <a:lnTo>
                          <a:pt x="183911" y="408686"/>
                        </a:lnTo>
                        <a:cubicBezTo>
                          <a:pt x="112467" y="408611"/>
                          <a:pt x="54569" y="350712"/>
                          <a:pt x="54494" y="279269"/>
                        </a:cubicBezTo>
                        <a:lnTo>
                          <a:pt x="54494" y="97812"/>
                        </a:lnTo>
                        <a:cubicBezTo>
                          <a:pt x="54494" y="51316"/>
                          <a:pt x="92187" y="13623"/>
                          <a:pt x="138683" y="13623"/>
                        </a:cubicBezTo>
                        <a:lnTo>
                          <a:pt x="242762" y="13623"/>
                        </a:lnTo>
                        <a:cubicBezTo>
                          <a:pt x="289258" y="13623"/>
                          <a:pt x="326951" y="51316"/>
                          <a:pt x="326951" y="97812"/>
                        </a:cubicBezTo>
                        <a:lnTo>
                          <a:pt x="326951" y="122606"/>
                        </a:lnTo>
                        <a:lnTo>
                          <a:pt x="129420" y="122606"/>
                        </a:lnTo>
                        <a:cubicBezTo>
                          <a:pt x="110611" y="122606"/>
                          <a:pt x="95363" y="107358"/>
                          <a:pt x="95363" y="88549"/>
                        </a:cubicBezTo>
                        <a:lnTo>
                          <a:pt x="95363" y="86233"/>
                        </a:lnTo>
                        <a:cubicBezTo>
                          <a:pt x="95363" y="82471"/>
                          <a:pt x="92313" y="79421"/>
                          <a:pt x="88551" y="79421"/>
                        </a:cubicBezTo>
                        <a:cubicBezTo>
                          <a:pt x="84789" y="79421"/>
                          <a:pt x="81740" y="82471"/>
                          <a:pt x="81740" y="86233"/>
                        </a:cubicBezTo>
                        <a:lnTo>
                          <a:pt x="81740" y="88549"/>
                        </a:lnTo>
                        <a:cubicBezTo>
                          <a:pt x="81740" y="114882"/>
                          <a:pt x="103087" y="136229"/>
                          <a:pt x="129420" y="136229"/>
                        </a:cubicBezTo>
                        <a:lnTo>
                          <a:pt x="326951" y="136229"/>
                        </a:lnTo>
                        <a:close/>
                        <a:moveTo>
                          <a:pt x="367820" y="211154"/>
                        </a:moveTo>
                        <a:cubicBezTo>
                          <a:pt x="368151" y="227596"/>
                          <a:pt x="356687" y="241926"/>
                          <a:pt x="340574" y="245211"/>
                        </a:cubicBezTo>
                        <a:lnTo>
                          <a:pt x="340574" y="177097"/>
                        </a:lnTo>
                        <a:lnTo>
                          <a:pt x="347385" y="177097"/>
                        </a:lnTo>
                        <a:cubicBezTo>
                          <a:pt x="358670" y="177097"/>
                          <a:pt x="367820" y="186246"/>
                          <a:pt x="367820" y="197531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3" name="Freeform: Shape 164">
                    <a:extLst>
                      <a:ext uri="{FF2B5EF4-FFF2-40B4-BE49-F238E27FC236}">
                        <a16:creationId xmlns:a16="http://schemas.microsoft.com/office/drawing/2014/main" id="{E81156EE-8A4E-6E29-4CE1-2904083B6CF7}"/>
                      </a:ext>
                    </a:extLst>
                  </p:cNvPr>
                  <p:cNvSpPr/>
                  <p:nvPr/>
                </p:nvSpPr>
                <p:spPr>
                  <a:xfrm>
                    <a:off x="6014263" y="3363740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Freeform: Shape 165">
                    <a:extLst>
                      <a:ext uri="{FF2B5EF4-FFF2-40B4-BE49-F238E27FC236}">
                        <a16:creationId xmlns:a16="http://schemas.microsoft.com/office/drawing/2014/main" id="{D6BF95BD-C6C4-5774-625A-B62EF478A455}"/>
                      </a:ext>
                    </a:extLst>
                  </p:cNvPr>
                  <p:cNvSpPr/>
                  <p:nvPr/>
                </p:nvSpPr>
                <p:spPr>
                  <a:xfrm>
                    <a:off x="6136869" y="3363740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Freeform: Shape 166">
                    <a:extLst>
                      <a:ext uri="{FF2B5EF4-FFF2-40B4-BE49-F238E27FC236}">
                        <a16:creationId xmlns:a16="http://schemas.microsoft.com/office/drawing/2014/main" id="{511B5E18-2498-17A1-D268-70A0772285C1}"/>
                      </a:ext>
                    </a:extLst>
                  </p:cNvPr>
                  <p:cNvSpPr/>
                  <p:nvPr/>
                </p:nvSpPr>
                <p:spPr>
                  <a:xfrm>
                    <a:off x="6007452" y="3479398"/>
                    <a:ext cx="177097" cy="54491"/>
                  </a:xfrm>
                  <a:custGeom>
                    <a:avLst/>
                    <a:gdLst>
                      <a:gd name="connsiteX0" fmla="*/ 88549 w 177097"/>
                      <a:gd name="connsiteY0" fmla="*/ 54628 h 54491"/>
                      <a:gd name="connsiteX1" fmla="*/ 1363 w 177097"/>
                      <a:gd name="connsiteY1" fmla="*/ 10899 h 54491"/>
                      <a:gd name="connsiteX2" fmla="*/ 2725 w 177097"/>
                      <a:gd name="connsiteY2" fmla="*/ 1363 h 54491"/>
                      <a:gd name="connsiteX3" fmla="*/ 12261 w 177097"/>
                      <a:gd name="connsiteY3" fmla="*/ 2725 h 54491"/>
                      <a:gd name="connsiteX4" fmla="*/ 145765 w 177097"/>
                      <a:gd name="connsiteY4" fmla="*/ 21797 h 54491"/>
                      <a:gd name="connsiteX5" fmla="*/ 164837 w 177097"/>
                      <a:gd name="connsiteY5" fmla="*/ 2725 h 54491"/>
                      <a:gd name="connsiteX6" fmla="*/ 174373 w 177097"/>
                      <a:gd name="connsiteY6" fmla="*/ 1363 h 54491"/>
                      <a:gd name="connsiteX7" fmla="*/ 175735 w 177097"/>
                      <a:gd name="connsiteY7" fmla="*/ 10899 h 54491"/>
                      <a:gd name="connsiteX8" fmla="*/ 88549 w 177097"/>
                      <a:gd name="connsiteY8" fmla="*/ 54628 h 54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097" h="54491">
                        <a:moveTo>
                          <a:pt x="88549" y="54628"/>
                        </a:moveTo>
                        <a:cubicBezTo>
                          <a:pt x="54181" y="54770"/>
                          <a:pt x="21801" y="38530"/>
                          <a:pt x="1363" y="10899"/>
                        </a:cubicBezTo>
                        <a:cubicBezTo>
                          <a:pt x="-895" y="7889"/>
                          <a:pt x="-284" y="3620"/>
                          <a:pt x="2725" y="1363"/>
                        </a:cubicBezTo>
                        <a:cubicBezTo>
                          <a:pt x="5753" y="-818"/>
                          <a:pt x="9964" y="-216"/>
                          <a:pt x="12261" y="2725"/>
                        </a:cubicBezTo>
                        <a:cubicBezTo>
                          <a:pt x="43861" y="44858"/>
                          <a:pt x="103632" y="53397"/>
                          <a:pt x="145765" y="21797"/>
                        </a:cubicBezTo>
                        <a:cubicBezTo>
                          <a:pt x="152993" y="16375"/>
                          <a:pt x="159415" y="9953"/>
                          <a:pt x="164837" y="2725"/>
                        </a:cubicBezTo>
                        <a:cubicBezTo>
                          <a:pt x="167094" y="-284"/>
                          <a:pt x="171364" y="-895"/>
                          <a:pt x="174373" y="1363"/>
                        </a:cubicBezTo>
                        <a:cubicBezTo>
                          <a:pt x="177382" y="3620"/>
                          <a:pt x="177993" y="7889"/>
                          <a:pt x="175735" y="10899"/>
                        </a:cubicBezTo>
                        <a:cubicBezTo>
                          <a:pt x="155297" y="38530"/>
                          <a:pt x="122917" y="54770"/>
                          <a:pt x="88549" y="54628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6" name="Freeform: Shape 167">
                    <a:extLst>
                      <a:ext uri="{FF2B5EF4-FFF2-40B4-BE49-F238E27FC236}">
                        <a16:creationId xmlns:a16="http://schemas.microsoft.com/office/drawing/2014/main" id="{D472057D-8F75-3187-FED8-FA48795272C6}"/>
                      </a:ext>
                    </a:extLst>
                  </p:cNvPr>
                  <p:cNvSpPr/>
                  <p:nvPr/>
                </p:nvSpPr>
                <p:spPr>
                  <a:xfrm>
                    <a:off x="6232229" y="3152586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81737 w 95359"/>
                      <a:gd name="connsiteY1" fmla="*/ 88549 h 95359"/>
                      <a:gd name="connsiteX2" fmla="*/ 81737 w 95359"/>
                      <a:gd name="connsiteY2" fmla="*/ 13623 h 95359"/>
                      <a:gd name="connsiteX3" fmla="*/ 6811 w 95359"/>
                      <a:gd name="connsiteY3" fmla="*/ 13623 h 95359"/>
                      <a:gd name="connsiteX4" fmla="*/ 0 w 95359"/>
                      <a:gd name="connsiteY4" fmla="*/ 6811 h 95359"/>
                      <a:gd name="connsiteX5" fmla="*/ 6811 w 95359"/>
                      <a:gd name="connsiteY5" fmla="*/ 0 h 95359"/>
                      <a:gd name="connsiteX6" fmla="*/ 88549 w 95359"/>
                      <a:gd name="connsiteY6" fmla="*/ 0 h 95359"/>
                      <a:gd name="connsiteX7" fmla="*/ 95360 w 95359"/>
                      <a:gd name="connsiteY7" fmla="*/ 6811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cubicBezTo>
                          <a:pt x="84787" y="95360"/>
                          <a:pt x="81737" y="92310"/>
                          <a:pt x="81737" y="88549"/>
                        </a:cubicBezTo>
                        <a:lnTo>
                          <a:pt x="81737" y="13623"/>
                        </a:lnTo>
                        <a:lnTo>
                          <a:pt x="6811" y="13623"/>
                        </a:lnTo>
                        <a:cubicBezTo>
                          <a:pt x="3050" y="13623"/>
                          <a:pt x="0" y="10573"/>
                          <a:pt x="0" y="6811"/>
                        </a:cubicBezTo>
                        <a:cubicBezTo>
                          <a:pt x="0" y="3050"/>
                          <a:pt x="3050" y="0"/>
                          <a:pt x="6811" y="0"/>
                        </a:cubicBezTo>
                        <a:lnTo>
                          <a:pt x="88549" y="0"/>
                        </a:lnTo>
                        <a:cubicBezTo>
                          <a:pt x="92310" y="0"/>
                          <a:pt x="95360" y="3050"/>
                          <a:pt x="95360" y="6811"/>
                        </a:cubicBezTo>
                        <a:lnTo>
                          <a:pt x="95360" y="88549"/>
                        </a:ln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Freeform: Shape 168">
                    <a:extLst>
                      <a:ext uri="{FF2B5EF4-FFF2-40B4-BE49-F238E27FC236}">
                        <a16:creationId xmlns:a16="http://schemas.microsoft.com/office/drawing/2014/main" id="{F767681B-0B47-DA11-62BF-140C3746B40D}"/>
                      </a:ext>
                    </a:extLst>
                  </p:cNvPr>
                  <p:cNvSpPr/>
                  <p:nvPr/>
                </p:nvSpPr>
                <p:spPr>
                  <a:xfrm>
                    <a:off x="5864412" y="3152586"/>
                    <a:ext cx="95360" cy="95360"/>
                  </a:xfrm>
                  <a:custGeom>
                    <a:avLst/>
                    <a:gdLst>
                      <a:gd name="connsiteX0" fmla="*/ 6811 w 95359"/>
                      <a:gd name="connsiteY0" fmla="*/ 95360 h 95359"/>
                      <a:gd name="connsiteX1" fmla="*/ 0 w 95359"/>
                      <a:gd name="connsiteY1" fmla="*/ 88549 h 95359"/>
                      <a:gd name="connsiteX2" fmla="*/ 0 w 95359"/>
                      <a:gd name="connsiteY2" fmla="*/ 6811 h 95359"/>
                      <a:gd name="connsiteX3" fmla="*/ 6811 w 95359"/>
                      <a:gd name="connsiteY3" fmla="*/ 0 h 95359"/>
                      <a:gd name="connsiteX4" fmla="*/ 88549 w 95359"/>
                      <a:gd name="connsiteY4" fmla="*/ 0 h 95359"/>
                      <a:gd name="connsiteX5" fmla="*/ 95360 w 95359"/>
                      <a:gd name="connsiteY5" fmla="*/ 6811 h 95359"/>
                      <a:gd name="connsiteX6" fmla="*/ 88549 w 95359"/>
                      <a:gd name="connsiteY6" fmla="*/ 13623 h 95359"/>
                      <a:gd name="connsiteX7" fmla="*/ 13623 w 95359"/>
                      <a:gd name="connsiteY7" fmla="*/ 13623 h 95359"/>
                      <a:gd name="connsiteX8" fmla="*/ 13623 w 95359"/>
                      <a:gd name="connsiteY8" fmla="*/ 88549 h 95359"/>
                      <a:gd name="connsiteX9" fmla="*/ 6811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6811" y="95360"/>
                        </a:moveTo>
                        <a:cubicBezTo>
                          <a:pt x="3050" y="95360"/>
                          <a:pt x="0" y="92310"/>
                          <a:pt x="0" y="88549"/>
                        </a:cubicBezTo>
                        <a:lnTo>
                          <a:pt x="0" y="6811"/>
                        </a:lnTo>
                        <a:cubicBezTo>
                          <a:pt x="0" y="3050"/>
                          <a:pt x="3050" y="0"/>
                          <a:pt x="6811" y="0"/>
                        </a:cubicBezTo>
                        <a:lnTo>
                          <a:pt x="88549" y="0"/>
                        </a:lnTo>
                        <a:cubicBezTo>
                          <a:pt x="92310" y="0"/>
                          <a:pt x="95360" y="3050"/>
                          <a:pt x="95360" y="6811"/>
                        </a:cubicBezTo>
                        <a:cubicBezTo>
                          <a:pt x="95360" y="10573"/>
                          <a:pt x="92310" y="13623"/>
                          <a:pt x="88549" y="13623"/>
                        </a:cubicBezTo>
                        <a:lnTo>
                          <a:pt x="13623" y="13623"/>
                        </a:lnTo>
                        <a:lnTo>
                          <a:pt x="13623" y="88549"/>
                        </a:lnTo>
                        <a:cubicBezTo>
                          <a:pt x="13623" y="92310"/>
                          <a:pt x="10573" y="95360"/>
                          <a:pt x="6811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8" name="Freeform: Shape 169">
                    <a:extLst>
                      <a:ext uri="{FF2B5EF4-FFF2-40B4-BE49-F238E27FC236}">
                        <a16:creationId xmlns:a16="http://schemas.microsoft.com/office/drawing/2014/main" id="{13A3A597-C65B-27D7-A6E4-9C9ACEE0277C}"/>
                      </a:ext>
                    </a:extLst>
                  </p:cNvPr>
                  <p:cNvSpPr/>
                  <p:nvPr/>
                </p:nvSpPr>
                <p:spPr>
                  <a:xfrm>
                    <a:off x="6232229" y="3520403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6811 w 95359"/>
                      <a:gd name="connsiteY1" fmla="*/ 95360 h 95359"/>
                      <a:gd name="connsiteX2" fmla="*/ 0 w 95359"/>
                      <a:gd name="connsiteY2" fmla="*/ 88549 h 95359"/>
                      <a:gd name="connsiteX3" fmla="*/ 6811 w 95359"/>
                      <a:gd name="connsiteY3" fmla="*/ 81737 h 95359"/>
                      <a:gd name="connsiteX4" fmla="*/ 81737 w 95359"/>
                      <a:gd name="connsiteY4" fmla="*/ 81737 h 95359"/>
                      <a:gd name="connsiteX5" fmla="*/ 81737 w 95359"/>
                      <a:gd name="connsiteY5" fmla="*/ 6811 h 95359"/>
                      <a:gd name="connsiteX6" fmla="*/ 88549 w 95359"/>
                      <a:gd name="connsiteY6" fmla="*/ 0 h 95359"/>
                      <a:gd name="connsiteX7" fmla="*/ 95360 w 95359"/>
                      <a:gd name="connsiteY7" fmla="*/ 6811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cubicBezTo>
                          <a:pt x="0" y="84787"/>
                          <a:pt x="3050" y="81737"/>
                          <a:pt x="6811" y="81737"/>
                        </a:cubicBezTo>
                        <a:lnTo>
                          <a:pt x="81737" y="81737"/>
                        </a:lnTo>
                        <a:lnTo>
                          <a:pt x="81737" y="6811"/>
                        </a:lnTo>
                        <a:cubicBezTo>
                          <a:pt x="81737" y="3050"/>
                          <a:pt x="84787" y="0"/>
                          <a:pt x="88549" y="0"/>
                        </a:cubicBezTo>
                        <a:cubicBezTo>
                          <a:pt x="92310" y="0"/>
                          <a:pt x="95360" y="3050"/>
                          <a:pt x="95360" y="6811"/>
                        </a:cubicBezTo>
                        <a:lnTo>
                          <a:pt x="95360" y="88549"/>
                        </a:ln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9" name="Freeform: Shape 170">
                    <a:extLst>
                      <a:ext uri="{FF2B5EF4-FFF2-40B4-BE49-F238E27FC236}">
                        <a16:creationId xmlns:a16="http://schemas.microsoft.com/office/drawing/2014/main" id="{840EF555-0FF6-CDB6-0A4A-54C83BAC8667}"/>
                      </a:ext>
                    </a:extLst>
                  </p:cNvPr>
                  <p:cNvSpPr/>
                  <p:nvPr/>
                </p:nvSpPr>
                <p:spPr>
                  <a:xfrm>
                    <a:off x="5864412" y="3520403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6811 w 95359"/>
                      <a:gd name="connsiteY1" fmla="*/ 95360 h 95359"/>
                      <a:gd name="connsiteX2" fmla="*/ 0 w 95359"/>
                      <a:gd name="connsiteY2" fmla="*/ 88549 h 95359"/>
                      <a:gd name="connsiteX3" fmla="*/ 0 w 95359"/>
                      <a:gd name="connsiteY3" fmla="*/ 6811 h 95359"/>
                      <a:gd name="connsiteX4" fmla="*/ 6811 w 95359"/>
                      <a:gd name="connsiteY4" fmla="*/ 0 h 95359"/>
                      <a:gd name="connsiteX5" fmla="*/ 13623 w 95359"/>
                      <a:gd name="connsiteY5" fmla="*/ 6811 h 95359"/>
                      <a:gd name="connsiteX6" fmla="*/ 13623 w 95359"/>
                      <a:gd name="connsiteY6" fmla="*/ 81737 h 95359"/>
                      <a:gd name="connsiteX7" fmla="*/ 88549 w 95359"/>
                      <a:gd name="connsiteY7" fmla="*/ 81737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lnTo>
                          <a:pt x="0" y="6811"/>
                        </a:lnTo>
                        <a:cubicBezTo>
                          <a:pt x="0" y="3050"/>
                          <a:pt x="3050" y="0"/>
                          <a:pt x="6811" y="0"/>
                        </a:cubicBezTo>
                        <a:cubicBezTo>
                          <a:pt x="10573" y="0"/>
                          <a:pt x="13623" y="3050"/>
                          <a:pt x="13623" y="6811"/>
                        </a:cubicBezTo>
                        <a:lnTo>
                          <a:pt x="13623" y="81737"/>
                        </a:lnTo>
                        <a:lnTo>
                          <a:pt x="88549" y="81737"/>
                        </a:lnTo>
                        <a:cubicBezTo>
                          <a:pt x="92310" y="81737"/>
                          <a:pt x="95360" y="84787"/>
                          <a:pt x="95360" y="88549"/>
                        </a:cubicBez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47D0017C-30B2-0C4F-9AED-09C6D2E2376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560920" y="1366996"/>
                <a:ext cx="486842" cy="486842"/>
                <a:chOff x="7382619" y="1700808"/>
                <a:chExt cx="432048" cy="432048"/>
              </a:xfrm>
            </p:grpSpPr>
            <p:sp>
              <p:nvSpPr>
                <p:cNvPr id="198" name="Oval 197">
                  <a:extLst>
                    <a:ext uri="{FF2B5EF4-FFF2-40B4-BE49-F238E27FC236}">
                      <a16:creationId xmlns:a16="http://schemas.microsoft.com/office/drawing/2014/main" id="{4C0650F3-FAEB-72DB-9A67-7F2E65E6AA5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382619" y="1700808"/>
                  <a:ext cx="432048" cy="43204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Graphic 3">
                  <a:extLst>
                    <a:ext uri="{FF2B5EF4-FFF2-40B4-BE49-F238E27FC236}">
                      <a16:creationId xmlns:a16="http://schemas.microsoft.com/office/drawing/2014/main" id="{8872D640-5BE7-ABFE-AFD5-FB43D964889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30277" y="1787847"/>
                  <a:ext cx="336734" cy="257969"/>
                </a:xfrm>
                <a:custGeom>
                  <a:avLst/>
                  <a:gdLst>
                    <a:gd name="connsiteX0" fmla="*/ 1949017 w 1949016"/>
                    <a:gd name="connsiteY0" fmla="*/ 645190 h 1478560"/>
                    <a:gd name="connsiteX1" fmla="*/ 1841485 w 1949016"/>
                    <a:gd name="connsiteY1" fmla="*/ 598145 h 1478560"/>
                    <a:gd name="connsiteX2" fmla="*/ 1841485 w 1949016"/>
                    <a:gd name="connsiteY2" fmla="*/ 598145 h 1478560"/>
                    <a:gd name="connsiteX3" fmla="*/ 1707070 w 1949016"/>
                    <a:gd name="connsiteY3" fmla="*/ 678794 h 1478560"/>
                    <a:gd name="connsiteX4" fmla="*/ 1666745 w 1949016"/>
                    <a:gd name="connsiteY4" fmla="*/ 678794 h 1478560"/>
                    <a:gd name="connsiteX5" fmla="*/ 1666745 w 1949016"/>
                    <a:gd name="connsiteY5" fmla="*/ 349478 h 1478560"/>
                    <a:gd name="connsiteX6" fmla="*/ 1646583 w 1949016"/>
                    <a:gd name="connsiteY6" fmla="*/ 329316 h 1478560"/>
                    <a:gd name="connsiteX7" fmla="*/ 1646583 w 1949016"/>
                    <a:gd name="connsiteY7" fmla="*/ 329316 h 1478560"/>
                    <a:gd name="connsiteX8" fmla="*/ 1303825 w 1949016"/>
                    <a:gd name="connsiteY8" fmla="*/ 329316 h 1478560"/>
                    <a:gd name="connsiteX9" fmla="*/ 1283663 w 1949016"/>
                    <a:gd name="connsiteY9" fmla="*/ 349478 h 1478560"/>
                    <a:gd name="connsiteX10" fmla="*/ 1283663 w 1949016"/>
                    <a:gd name="connsiteY10" fmla="*/ 349478 h 1478560"/>
                    <a:gd name="connsiteX11" fmla="*/ 1283663 w 1949016"/>
                    <a:gd name="connsiteY11" fmla="*/ 349478 h 1478560"/>
                    <a:gd name="connsiteX12" fmla="*/ 1283663 w 1949016"/>
                    <a:gd name="connsiteY12" fmla="*/ 423406 h 1478560"/>
                    <a:gd name="connsiteX13" fmla="*/ 1283663 w 1949016"/>
                    <a:gd name="connsiteY13" fmla="*/ 423406 h 1478560"/>
                    <a:gd name="connsiteX14" fmla="*/ 1297104 w 1949016"/>
                    <a:gd name="connsiteY14" fmla="*/ 450289 h 1478560"/>
                    <a:gd name="connsiteX15" fmla="*/ 1364312 w 1949016"/>
                    <a:gd name="connsiteY15" fmla="*/ 551100 h 1478560"/>
                    <a:gd name="connsiteX16" fmla="*/ 1330708 w 1949016"/>
                    <a:gd name="connsiteY16" fmla="*/ 631749 h 1478560"/>
                    <a:gd name="connsiteX17" fmla="*/ 1250059 w 1949016"/>
                    <a:gd name="connsiteY17" fmla="*/ 665352 h 1478560"/>
                    <a:gd name="connsiteX18" fmla="*/ 1135806 w 1949016"/>
                    <a:gd name="connsiteY18" fmla="*/ 551100 h 1478560"/>
                    <a:gd name="connsiteX19" fmla="*/ 1209734 w 1949016"/>
                    <a:gd name="connsiteY19" fmla="*/ 443568 h 1478560"/>
                    <a:gd name="connsiteX20" fmla="*/ 1223176 w 1949016"/>
                    <a:gd name="connsiteY20" fmla="*/ 423406 h 1478560"/>
                    <a:gd name="connsiteX21" fmla="*/ 1223176 w 1949016"/>
                    <a:gd name="connsiteY21" fmla="*/ 349478 h 1478560"/>
                    <a:gd name="connsiteX22" fmla="*/ 1223176 w 1949016"/>
                    <a:gd name="connsiteY22" fmla="*/ 349478 h 1478560"/>
                    <a:gd name="connsiteX23" fmla="*/ 1223176 w 1949016"/>
                    <a:gd name="connsiteY23" fmla="*/ 349478 h 1478560"/>
                    <a:gd name="connsiteX24" fmla="*/ 1182852 w 1949016"/>
                    <a:gd name="connsiteY24" fmla="*/ 336037 h 1478560"/>
                    <a:gd name="connsiteX25" fmla="*/ 1182852 w 1949016"/>
                    <a:gd name="connsiteY25" fmla="*/ 336037 h 1478560"/>
                    <a:gd name="connsiteX26" fmla="*/ 826652 w 1949016"/>
                    <a:gd name="connsiteY26" fmla="*/ 336037 h 1478560"/>
                    <a:gd name="connsiteX27" fmla="*/ 826652 w 1949016"/>
                    <a:gd name="connsiteY27" fmla="*/ 336037 h 1478560"/>
                    <a:gd name="connsiteX28" fmla="*/ 826652 w 1949016"/>
                    <a:gd name="connsiteY28" fmla="*/ 336037 h 1478560"/>
                    <a:gd name="connsiteX29" fmla="*/ 497335 w 1949016"/>
                    <a:gd name="connsiteY29" fmla="*/ 336037 h 1478560"/>
                    <a:gd name="connsiteX30" fmla="*/ 497335 w 1949016"/>
                    <a:gd name="connsiteY30" fmla="*/ 295712 h 1478560"/>
                    <a:gd name="connsiteX31" fmla="*/ 584705 w 1949016"/>
                    <a:gd name="connsiteY31" fmla="*/ 154577 h 1478560"/>
                    <a:gd name="connsiteX32" fmla="*/ 537660 w 1949016"/>
                    <a:gd name="connsiteY32" fmla="*/ 47045 h 1478560"/>
                    <a:gd name="connsiteX33" fmla="*/ 423407 w 1949016"/>
                    <a:gd name="connsiteY33" fmla="*/ 0 h 1478560"/>
                    <a:gd name="connsiteX34" fmla="*/ 423407 w 1949016"/>
                    <a:gd name="connsiteY34" fmla="*/ 0 h 1478560"/>
                    <a:gd name="connsiteX35" fmla="*/ 268830 w 1949016"/>
                    <a:gd name="connsiteY35" fmla="*/ 154577 h 1478560"/>
                    <a:gd name="connsiteX36" fmla="*/ 349479 w 1949016"/>
                    <a:gd name="connsiteY36" fmla="*/ 288991 h 1478560"/>
                    <a:gd name="connsiteX37" fmla="*/ 349479 w 1949016"/>
                    <a:gd name="connsiteY37" fmla="*/ 329316 h 1478560"/>
                    <a:gd name="connsiteX38" fmla="*/ 20162 w 1949016"/>
                    <a:gd name="connsiteY38" fmla="*/ 336037 h 1478560"/>
                    <a:gd name="connsiteX39" fmla="*/ 0 w 1949016"/>
                    <a:gd name="connsiteY39" fmla="*/ 356199 h 1478560"/>
                    <a:gd name="connsiteX40" fmla="*/ 0 w 1949016"/>
                    <a:gd name="connsiteY40" fmla="*/ 698956 h 1478560"/>
                    <a:gd name="connsiteX41" fmla="*/ 20162 w 1949016"/>
                    <a:gd name="connsiteY41" fmla="*/ 719118 h 1478560"/>
                    <a:gd name="connsiteX42" fmla="*/ 20162 w 1949016"/>
                    <a:gd name="connsiteY42" fmla="*/ 719118 h 1478560"/>
                    <a:gd name="connsiteX43" fmla="*/ 20162 w 1949016"/>
                    <a:gd name="connsiteY43" fmla="*/ 719118 h 1478560"/>
                    <a:gd name="connsiteX44" fmla="*/ 20162 w 1949016"/>
                    <a:gd name="connsiteY44" fmla="*/ 719118 h 1478560"/>
                    <a:gd name="connsiteX45" fmla="*/ 94090 w 1949016"/>
                    <a:gd name="connsiteY45" fmla="*/ 719118 h 1478560"/>
                    <a:gd name="connsiteX46" fmla="*/ 94090 w 1949016"/>
                    <a:gd name="connsiteY46" fmla="*/ 719118 h 1478560"/>
                    <a:gd name="connsiteX47" fmla="*/ 120973 w 1949016"/>
                    <a:gd name="connsiteY47" fmla="*/ 705677 h 1478560"/>
                    <a:gd name="connsiteX48" fmla="*/ 221785 w 1949016"/>
                    <a:gd name="connsiteY48" fmla="*/ 638469 h 1478560"/>
                    <a:gd name="connsiteX49" fmla="*/ 221785 w 1949016"/>
                    <a:gd name="connsiteY49" fmla="*/ 638469 h 1478560"/>
                    <a:gd name="connsiteX50" fmla="*/ 336037 w 1949016"/>
                    <a:gd name="connsiteY50" fmla="*/ 752722 h 1478560"/>
                    <a:gd name="connsiteX51" fmla="*/ 221785 w 1949016"/>
                    <a:gd name="connsiteY51" fmla="*/ 873695 h 1478560"/>
                    <a:gd name="connsiteX52" fmla="*/ 221785 w 1949016"/>
                    <a:gd name="connsiteY52" fmla="*/ 873695 h 1478560"/>
                    <a:gd name="connsiteX53" fmla="*/ 114253 w 1949016"/>
                    <a:gd name="connsiteY53" fmla="*/ 799767 h 1478560"/>
                    <a:gd name="connsiteX54" fmla="*/ 94090 w 1949016"/>
                    <a:gd name="connsiteY54" fmla="*/ 786325 h 1478560"/>
                    <a:gd name="connsiteX55" fmla="*/ 20162 w 1949016"/>
                    <a:gd name="connsiteY55" fmla="*/ 786325 h 1478560"/>
                    <a:gd name="connsiteX56" fmla="*/ 20162 w 1949016"/>
                    <a:gd name="connsiteY56" fmla="*/ 786325 h 1478560"/>
                    <a:gd name="connsiteX57" fmla="*/ 20162 w 1949016"/>
                    <a:gd name="connsiteY57" fmla="*/ 786325 h 1478560"/>
                    <a:gd name="connsiteX58" fmla="*/ 20162 w 1949016"/>
                    <a:gd name="connsiteY58" fmla="*/ 786325 h 1478560"/>
                    <a:gd name="connsiteX59" fmla="*/ 20162 w 1949016"/>
                    <a:gd name="connsiteY59" fmla="*/ 786325 h 1478560"/>
                    <a:gd name="connsiteX60" fmla="*/ 0 w 1949016"/>
                    <a:gd name="connsiteY60" fmla="*/ 806488 h 1478560"/>
                    <a:gd name="connsiteX61" fmla="*/ 0 w 1949016"/>
                    <a:gd name="connsiteY61" fmla="*/ 1162686 h 1478560"/>
                    <a:gd name="connsiteX62" fmla="*/ 20162 w 1949016"/>
                    <a:gd name="connsiteY62" fmla="*/ 1182849 h 1478560"/>
                    <a:gd name="connsiteX63" fmla="*/ 20162 w 1949016"/>
                    <a:gd name="connsiteY63" fmla="*/ 1182849 h 1478560"/>
                    <a:gd name="connsiteX64" fmla="*/ 356200 w 1949016"/>
                    <a:gd name="connsiteY64" fmla="*/ 1182849 h 1478560"/>
                    <a:gd name="connsiteX65" fmla="*/ 356200 w 1949016"/>
                    <a:gd name="connsiteY65" fmla="*/ 1223173 h 1478560"/>
                    <a:gd name="connsiteX66" fmla="*/ 268830 w 1949016"/>
                    <a:gd name="connsiteY66" fmla="*/ 1364308 h 1478560"/>
                    <a:gd name="connsiteX67" fmla="*/ 315875 w 1949016"/>
                    <a:gd name="connsiteY67" fmla="*/ 1471840 h 1478560"/>
                    <a:gd name="connsiteX68" fmla="*/ 423407 w 1949016"/>
                    <a:gd name="connsiteY68" fmla="*/ 1518885 h 1478560"/>
                    <a:gd name="connsiteX69" fmla="*/ 423407 w 1949016"/>
                    <a:gd name="connsiteY69" fmla="*/ 1518885 h 1478560"/>
                    <a:gd name="connsiteX70" fmla="*/ 537660 w 1949016"/>
                    <a:gd name="connsiteY70" fmla="*/ 1478561 h 1478560"/>
                    <a:gd name="connsiteX71" fmla="*/ 584705 w 1949016"/>
                    <a:gd name="connsiteY71" fmla="*/ 1371029 h 1478560"/>
                    <a:gd name="connsiteX72" fmla="*/ 510777 w 1949016"/>
                    <a:gd name="connsiteY72" fmla="*/ 1236614 h 1478560"/>
                    <a:gd name="connsiteX73" fmla="*/ 510777 w 1949016"/>
                    <a:gd name="connsiteY73" fmla="*/ 1189569 h 1478560"/>
                    <a:gd name="connsiteX74" fmla="*/ 833373 w 1949016"/>
                    <a:gd name="connsiteY74" fmla="*/ 1189569 h 1478560"/>
                    <a:gd name="connsiteX75" fmla="*/ 833373 w 1949016"/>
                    <a:gd name="connsiteY75" fmla="*/ 1189569 h 1478560"/>
                    <a:gd name="connsiteX76" fmla="*/ 833373 w 1949016"/>
                    <a:gd name="connsiteY76" fmla="*/ 1189569 h 1478560"/>
                    <a:gd name="connsiteX77" fmla="*/ 1189572 w 1949016"/>
                    <a:gd name="connsiteY77" fmla="*/ 1189569 h 1478560"/>
                    <a:gd name="connsiteX78" fmla="*/ 1203014 w 1949016"/>
                    <a:gd name="connsiteY78" fmla="*/ 1182849 h 1478560"/>
                    <a:gd name="connsiteX79" fmla="*/ 1209734 w 1949016"/>
                    <a:gd name="connsiteY79" fmla="*/ 1169407 h 1478560"/>
                    <a:gd name="connsiteX80" fmla="*/ 1209734 w 1949016"/>
                    <a:gd name="connsiteY80" fmla="*/ 1095479 h 1478560"/>
                    <a:gd name="connsiteX81" fmla="*/ 1196293 w 1949016"/>
                    <a:gd name="connsiteY81" fmla="*/ 1075317 h 1478560"/>
                    <a:gd name="connsiteX82" fmla="*/ 1122365 w 1949016"/>
                    <a:gd name="connsiteY82" fmla="*/ 967785 h 1478560"/>
                    <a:gd name="connsiteX83" fmla="*/ 1155969 w 1949016"/>
                    <a:gd name="connsiteY83" fmla="*/ 887136 h 1478560"/>
                    <a:gd name="connsiteX84" fmla="*/ 1236617 w 1949016"/>
                    <a:gd name="connsiteY84" fmla="*/ 853533 h 1478560"/>
                    <a:gd name="connsiteX85" fmla="*/ 1236617 w 1949016"/>
                    <a:gd name="connsiteY85" fmla="*/ 853533 h 1478560"/>
                    <a:gd name="connsiteX86" fmla="*/ 1317266 w 1949016"/>
                    <a:gd name="connsiteY86" fmla="*/ 887136 h 1478560"/>
                    <a:gd name="connsiteX87" fmla="*/ 1350870 w 1949016"/>
                    <a:gd name="connsiteY87" fmla="*/ 967785 h 1478560"/>
                    <a:gd name="connsiteX88" fmla="*/ 1283663 w 1949016"/>
                    <a:gd name="connsiteY88" fmla="*/ 1068596 h 1478560"/>
                    <a:gd name="connsiteX89" fmla="*/ 1270221 w 1949016"/>
                    <a:gd name="connsiteY89" fmla="*/ 1088758 h 1478560"/>
                    <a:gd name="connsiteX90" fmla="*/ 1270221 w 1949016"/>
                    <a:gd name="connsiteY90" fmla="*/ 1162686 h 1478560"/>
                    <a:gd name="connsiteX91" fmla="*/ 1276942 w 1949016"/>
                    <a:gd name="connsiteY91" fmla="*/ 1176128 h 1478560"/>
                    <a:gd name="connsiteX92" fmla="*/ 1290383 w 1949016"/>
                    <a:gd name="connsiteY92" fmla="*/ 1182849 h 1478560"/>
                    <a:gd name="connsiteX93" fmla="*/ 1290383 w 1949016"/>
                    <a:gd name="connsiteY93" fmla="*/ 1182849 h 1478560"/>
                    <a:gd name="connsiteX94" fmla="*/ 1633141 w 1949016"/>
                    <a:gd name="connsiteY94" fmla="*/ 1182849 h 1478560"/>
                    <a:gd name="connsiteX95" fmla="*/ 1653304 w 1949016"/>
                    <a:gd name="connsiteY95" fmla="*/ 1162686 h 1478560"/>
                    <a:gd name="connsiteX96" fmla="*/ 1653304 w 1949016"/>
                    <a:gd name="connsiteY96" fmla="*/ 833371 h 1478560"/>
                    <a:gd name="connsiteX97" fmla="*/ 1693628 w 1949016"/>
                    <a:gd name="connsiteY97" fmla="*/ 833371 h 1478560"/>
                    <a:gd name="connsiteX98" fmla="*/ 1828043 w 1949016"/>
                    <a:gd name="connsiteY98" fmla="*/ 914019 h 1478560"/>
                    <a:gd name="connsiteX99" fmla="*/ 1828043 w 1949016"/>
                    <a:gd name="connsiteY99" fmla="*/ 914019 h 1478560"/>
                    <a:gd name="connsiteX100" fmla="*/ 1935575 w 1949016"/>
                    <a:gd name="connsiteY100" fmla="*/ 866974 h 1478560"/>
                    <a:gd name="connsiteX101" fmla="*/ 1982620 w 1949016"/>
                    <a:gd name="connsiteY101" fmla="*/ 759443 h 1478560"/>
                    <a:gd name="connsiteX102" fmla="*/ 1949017 w 1949016"/>
                    <a:gd name="connsiteY102" fmla="*/ 645190 h 1478560"/>
                    <a:gd name="connsiteX103" fmla="*/ 483894 w 1949016"/>
                    <a:gd name="connsiteY103" fmla="*/ 1142524 h 1478560"/>
                    <a:gd name="connsiteX104" fmla="*/ 463732 w 1949016"/>
                    <a:gd name="connsiteY104" fmla="*/ 1162686 h 1478560"/>
                    <a:gd name="connsiteX105" fmla="*/ 463732 w 1949016"/>
                    <a:gd name="connsiteY105" fmla="*/ 1162686 h 1478560"/>
                    <a:gd name="connsiteX106" fmla="*/ 463732 w 1949016"/>
                    <a:gd name="connsiteY106" fmla="*/ 1162686 h 1478560"/>
                    <a:gd name="connsiteX107" fmla="*/ 463732 w 1949016"/>
                    <a:gd name="connsiteY107" fmla="*/ 1236614 h 1478560"/>
                    <a:gd name="connsiteX108" fmla="*/ 463732 w 1949016"/>
                    <a:gd name="connsiteY108" fmla="*/ 1236614 h 1478560"/>
                    <a:gd name="connsiteX109" fmla="*/ 477173 w 1949016"/>
                    <a:gd name="connsiteY109" fmla="*/ 1263497 h 1478560"/>
                    <a:gd name="connsiteX110" fmla="*/ 544381 w 1949016"/>
                    <a:gd name="connsiteY110" fmla="*/ 1364308 h 1478560"/>
                    <a:gd name="connsiteX111" fmla="*/ 510777 w 1949016"/>
                    <a:gd name="connsiteY111" fmla="*/ 1444957 h 1478560"/>
                    <a:gd name="connsiteX112" fmla="*/ 423407 w 1949016"/>
                    <a:gd name="connsiteY112" fmla="*/ 1478561 h 1478560"/>
                    <a:gd name="connsiteX113" fmla="*/ 423407 w 1949016"/>
                    <a:gd name="connsiteY113" fmla="*/ 1478561 h 1478560"/>
                    <a:gd name="connsiteX114" fmla="*/ 342758 w 1949016"/>
                    <a:gd name="connsiteY114" fmla="*/ 1444957 h 1478560"/>
                    <a:gd name="connsiteX115" fmla="*/ 309154 w 1949016"/>
                    <a:gd name="connsiteY115" fmla="*/ 1364308 h 1478560"/>
                    <a:gd name="connsiteX116" fmla="*/ 383083 w 1949016"/>
                    <a:gd name="connsiteY116" fmla="*/ 1256777 h 1478560"/>
                    <a:gd name="connsiteX117" fmla="*/ 396524 w 1949016"/>
                    <a:gd name="connsiteY117" fmla="*/ 1236614 h 1478560"/>
                    <a:gd name="connsiteX118" fmla="*/ 396524 w 1949016"/>
                    <a:gd name="connsiteY118" fmla="*/ 1162686 h 1478560"/>
                    <a:gd name="connsiteX119" fmla="*/ 396524 w 1949016"/>
                    <a:gd name="connsiteY119" fmla="*/ 1162686 h 1478560"/>
                    <a:gd name="connsiteX120" fmla="*/ 396524 w 1949016"/>
                    <a:gd name="connsiteY120" fmla="*/ 1162686 h 1478560"/>
                    <a:gd name="connsiteX121" fmla="*/ 376362 w 1949016"/>
                    <a:gd name="connsiteY121" fmla="*/ 1142524 h 1478560"/>
                    <a:gd name="connsiteX122" fmla="*/ 376362 w 1949016"/>
                    <a:gd name="connsiteY122" fmla="*/ 1142524 h 1478560"/>
                    <a:gd name="connsiteX123" fmla="*/ 40324 w 1949016"/>
                    <a:gd name="connsiteY123" fmla="*/ 1142524 h 1478560"/>
                    <a:gd name="connsiteX124" fmla="*/ 40324 w 1949016"/>
                    <a:gd name="connsiteY124" fmla="*/ 833371 h 1478560"/>
                    <a:gd name="connsiteX125" fmla="*/ 80649 w 1949016"/>
                    <a:gd name="connsiteY125" fmla="*/ 833371 h 1478560"/>
                    <a:gd name="connsiteX126" fmla="*/ 221785 w 1949016"/>
                    <a:gd name="connsiteY126" fmla="*/ 920740 h 1478560"/>
                    <a:gd name="connsiteX127" fmla="*/ 221785 w 1949016"/>
                    <a:gd name="connsiteY127" fmla="*/ 920740 h 1478560"/>
                    <a:gd name="connsiteX128" fmla="*/ 376362 w 1949016"/>
                    <a:gd name="connsiteY128" fmla="*/ 766163 h 1478560"/>
                    <a:gd name="connsiteX129" fmla="*/ 221785 w 1949016"/>
                    <a:gd name="connsiteY129" fmla="*/ 604866 h 1478560"/>
                    <a:gd name="connsiteX130" fmla="*/ 221785 w 1949016"/>
                    <a:gd name="connsiteY130" fmla="*/ 604866 h 1478560"/>
                    <a:gd name="connsiteX131" fmla="*/ 87370 w 1949016"/>
                    <a:gd name="connsiteY131" fmla="*/ 678794 h 1478560"/>
                    <a:gd name="connsiteX132" fmla="*/ 40324 w 1949016"/>
                    <a:gd name="connsiteY132" fmla="*/ 678794 h 1478560"/>
                    <a:gd name="connsiteX133" fmla="*/ 40324 w 1949016"/>
                    <a:gd name="connsiteY133" fmla="*/ 376361 h 1478560"/>
                    <a:gd name="connsiteX134" fmla="*/ 369641 w 1949016"/>
                    <a:gd name="connsiteY134" fmla="*/ 376361 h 1478560"/>
                    <a:gd name="connsiteX135" fmla="*/ 383083 w 1949016"/>
                    <a:gd name="connsiteY135" fmla="*/ 369640 h 1478560"/>
                    <a:gd name="connsiteX136" fmla="*/ 389803 w 1949016"/>
                    <a:gd name="connsiteY136" fmla="*/ 356199 h 1478560"/>
                    <a:gd name="connsiteX137" fmla="*/ 389803 w 1949016"/>
                    <a:gd name="connsiteY137" fmla="*/ 275550 h 1478560"/>
                    <a:gd name="connsiteX138" fmla="*/ 376362 w 1949016"/>
                    <a:gd name="connsiteY138" fmla="*/ 255388 h 1478560"/>
                    <a:gd name="connsiteX139" fmla="*/ 309154 w 1949016"/>
                    <a:gd name="connsiteY139" fmla="*/ 154577 h 1478560"/>
                    <a:gd name="connsiteX140" fmla="*/ 423407 w 1949016"/>
                    <a:gd name="connsiteY140" fmla="*/ 40324 h 1478560"/>
                    <a:gd name="connsiteX141" fmla="*/ 504056 w 1949016"/>
                    <a:gd name="connsiteY141" fmla="*/ 73928 h 1478560"/>
                    <a:gd name="connsiteX142" fmla="*/ 537660 w 1949016"/>
                    <a:gd name="connsiteY142" fmla="*/ 154577 h 1478560"/>
                    <a:gd name="connsiteX143" fmla="*/ 470452 w 1949016"/>
                    <a:gd name="connsiteY143" fmla="*/ 262109 h 1478560"/>
                    <a:gd name="connsiteX144" fmla="*/ 457011 w 1949016"/>
                    <a:gd name="connsiteY144" fmla="*/ 282271 h 1478560"/>
                    <a:gd name="connsiteX145" fmla="*/ 457011 w 1949016"/>
                    <a:gd name="connsiteY145" fmla="*/ 362919 h 1478560"/>
                    <a:gd name="connsiteX146" fmla="*/ 477173 w 1949016"/>
                    <a:gd name="connsiteY146" fmla="*/ 383082 h 1478560"/>
                    <a:gd name="connsiteX147" fmla="*/ 477173 w 1949016"/>
                    <a:gd name="connsiteY147" fmla="*/ 383082 h 1478560"/>
                    <a:gd name="connsiteX148" fmla="*/ 806490 w 1949016"/>
                    <a:gd name="connsiteY148" fmla="*/ 383082 h 1478560"/>
                    <a:gd name="connsiteX149" fmla="*/ 806490 w 1949016"/>
                    <a:gd name="connsiteY149" fmla="*/ 631749 h 1478560"/>
                    <a:gd name="connsiteX150" fmla="*/ 806490 w 1949016"/>
                    <a:gd name="connsiteY150" fmla="*/ 685515 h 1478560"/>
                    <a:gd name="connsiteX151" fmla="*/ 766165 w 1949016"/>
                    <a:gd name="connsiteY151" fmla="*/ 685515 h 1478560"/>
                    <a:gd name="connsiteX152" fmla="*/ 631750 w 1949016"/>
                    <a:gd name="connsiteY152" fmla="*/ 604866 h 1478560"/>
                    <a:gd name="connsiteX153" fmla="*/ 631750 w 1949016"/>
                    <a:gd name="connsiteY153" fmla="*/ 604866 h 1478560"/>
                    <a:gd name="connsiteX154" fmla="*/ 517497 w 1949016"/>
                    <a:gd name="connsiteY154" fmla="*/ 651911 h 1478560"/>
                    <a:gd name="connsiteX155" fmla="*/ 470452 w 1949016"/>
                    <a:gd name="connsiteY155" fmla="*/ 759443 h 1478560"/>
                    <a:gd name="connsiteX156" fmla="*/ 517497 w 1949016"/>
                    <a:gd name="connsiteY156" fmla="*/ 866974 h 1478560"/>
                    <a:gd name="connsiteX157" fmla="*/ 625029 w 1949016"/>
                    <a:gd name="connsiteY157" fmla="*/ 914019 h 1478560"/>
                    <a:gd name="connsiteX158" fmla="*/ 625029 w 1949016"/>
                    <a:gd name="connsiteY158" fmla="*/ 914019 h 1478560"/>
                    <a:gd name="connsiteX159" fmla="*/ 766165 w 1949016"/>
                    <a:gd name="connsiteY159" fmla="*/ 826650 h 1478560"/>
                    <a:gd name="connsiteX160" fmla="*/ 799769 w 1949016"/>
                    <a:gd name="connsiteY160" fmla="*/ 826650 h 1478560"/>
                    <a:gd name="connsiteX161" fmla="*/ 799769 w 1949016"/>
                    <a:gd name="connsiteY161" fmla="*/ 1135803 h 1478560"/>
                    <a:gd name="connsiteX162" fmla="*/ 483894 w 1949016"/>
                    <a:gd name="connsiteY162" fmla="*/ 1142524 h 1478560"/>
                    <a:gd name="connsiteX163" fmla="*/ 1915413 w 1949016"/>
                    <a:gd name="connsiteY163" fmla="*/ 840091 h 1478560"/>
                    <a:gd name="connsiteX164" fmla="*/ 1834764 w 1949016"/>
                    <a:gd name="connsiteY164" fmla="*/ 873695 h 1478560"/>
                    <a:gd name="connsiteX165" fmla="*/ 1834764 w 1949016"/>
                    <a:gd name="connsiteY165" fmla="*/ 873695 h 1478560"/>
                    <a:gd name="connsiteX166" fmla="*/ 1733953 w 1949016"/>
                    <a:gd name="connsiteY166" fmla="*/ 806488 h 1478560"/>
                    <a:gd name="connsiteX167" fmla="*/ 1713790 w 1949016"/>
                    <a:gd name="connsiteY167" fmla="*/ 793046 h 1478560"/>
                    <a:gd name="connsiteX168" fmla="*/ 1713790 w 1949016"/>
                    <a:gd name="connsiteY168" fmla="*/ 793046 h 1478560"/>
                    <a:gd name="connsiteX169" fmla="*/ 1633141 w 1949016"/>
                    <a:gd name="connsiteY169" fmla="*/ 793046 h 1478560"/>
                    <a:gd name="connsiteX170" fmla="*/ 1612979 w 1949016"/>
                    <a:gd name="connsiteY170" fmla="*/ 813208 h 1478560"/>
                    <a:gd name="connsiteX171" fmla="*/ 1612979 w 1949016"/>
                    <a:gd name="connsiteY171" fmla="*/ 1142524 h 1478560"/>
                    <a:gd name="connsiteX172" fmla="*/ 1310546 w 1949016"/>
                    <a:gd name="connsiteY172" fmla="*/ 1142524 h 1478560"/>
                    <a:gd name="connsiteX173" fmla="*/ 1310546 w 1949016"/>
                    <a:gd name="connsiteY173" fmla="*/ 1102200 h 1478560"/>
                    <a:gd name="connsiteX174" fmla="*/ 1384474 w 1949016"/>
                    <a:gd name="connsiteY174" fmla="*/ 967785 h 1478560"/>
                    <a:gd name="connsiteX175" fmla="*/ 1337429 w 1949016"/>
                    <a:gd name="connsiteY175" fmla="*/ 860254 h 1478560"/>
                    <a:gd name="connsiteX176" fmla="*/ 1229897 w 1949016"/>
                    <a:gd name="connsiteY176" fmla="*/ 813208 h 1478560"/>
                    <a:gd name="connsiteX177" fmla="*/ 1229897 w 1949016"/>
                    <a:gd name="connsiteY177" fmla="*/ 813208 h 1478560"/>
                    <a:gd name="connsiteX178" fmla="*/ 1122365 w 1949016"/>
                    <a:gd name="connsiteY178" fmla="*/ 860254 h 1478560"/>
                    <a:gd name="connsiteX179" fmla="*/ 1075320 w 1949016"/>
                    <a:gd name="connsiteY179" fmla="*/ 967785 h 1478560"/>
                    <a:gd name="connsiteX180" fmla="*/ 1162689 w 1949016"/>
                    <a:gd name="connsiteY180" fmla="*/ 1108921 h 1478560"/>
                    <a:gd name="connsiteX181" fmla="*/ 1162689 w 1949016"/>
                    <a:gd name="connsiteY181" fmla="*/ 1142524 h 1478560"/>
                    <a:gd name="connsiteX182" fmla="*/ 853535 w 1949016"/>
                    <a:gd name="connsiteY182" fmla="*/ 1142524 h 1478560"/>
                    <a:gd name="connsiteX183" fmla="*/ 853535 w 1949016"/>
                    <a:gd name="connsiteY183" fmla="*/ 819929 h 1478560"/>
                    <a:gd name="connsiteX184" fmla="*/ 853535 w 1949016"/>
                    <a:gd name="connsiteY184" fmla="*/ 819929 h 1478560"/>
                    <a:gd name="connsiteX185" fmla="*/ 853535 w 1949016"/>
                    <a:gd name="connsiteY185" fmla="*/ 806488 h 1478560"/>
                    <a:gd name="connsiteX186" fmla="*/ 846814 w 1949016"/>
                    <a:gd name="connsiteY186" fmla="*/ 793046 h 1478560"/>
                    <a:gd name="connsiteX187" fmla="*/ 833373 w 1949016"/>
                    <a:gd name="connsiteY187" fmla="*/ 786325 h 1478560"/>
                    <a:gd name="connsiteX188" fmla="*/ 833373 w 1949016"/>
                    <a:gd name="connsiteY188" fmla="*/ 786325 h 1478560"/>
                    <a:gd name="connsiteX189" fmla="*/ 759444 w 1949016"/>
                    <a:gd name="connsiteY189" fmla="*/ 786325 h 1478560"/>
                    <a:gd name="connsiteX190" fmla="*/ 739282 w 1949016"/>
                    <a:gd name="connsiteY190" fmla="*/ 799767 h 1478560"/>
                    <a:gd name="connsiteX191" fmla="*/ 631750 w 1949016"/>
                    <a:gd name="connsiteY191" fmla="*/ 873695 h 1478560"/>
                    <a:gd name="connsiteX192" fmla="*/ 631750 w 1949016"/>
                    <a:gd name="connsiteY192" fmla="*/ 873695 h 1478560"/>
                    <a:gd name="connsiteX193" fmla="*/ 551101 w 1949016"/>
                    <a:gd name="connsiteY193" fmla="*/ 840091 h 1478560"/>
                    <a:gd name="connsiteX194" fmla="*/ 517497 w 1949016"/>
                    <a:gd name="connsiteY194" fmla="*/ 759443 h 1478560"/>
                    <a:gd name="connsiteX195" fmla="*/ 551101 w 1949016"/>
                    <a:gd name="connsiteY195" fmla="*/ 678794 h 1478560"/>
                    <a:gd name="connsiteX196" fmla="*/ 631750 w 1949016"/>
                    <a:gd name="connsiteY196" fmla="*/ 645190 h 1478560"/>
                    <a:gd name="connsiteX197" fmla="*/ 631750 w 1949016"/>
                    <a:gd name="connsiteY197" fmla="*/ 645190 h 1478560"/>
                    <a:gd name="connsiteX198" fmla="*/ 732561 w 1949016"/>
                    <a:gd name="connsiteY198" fmla="*/ 712397 h 1478560"/>
                    <a:gd name="connsiteX199" fmla="*/ 752724 w 1949016"/>
                    <a:gd name="connsiteY199" fmla="*/ 725839 h 1478560"/>
                    <a:gd name="connsiteX200" fmla="*/ 752724 w 1949016"/>
                    <a:gd name="connsiteY200" fmla="*/ 725839 h 1478560"/>
                    <a:gd name="connsiteX201" fmla="*/ 826652 w 1949016"/>
                    <a:gd name="connsiteY201" fmla="*/ 725839 h 1478560"/>
                    <a:gd name="connsiteX202" fmla="*/ 826652 w 1949016"/>
                    <a:gd name="connsiteY202" fmla="*/ 725839 h 1478560"/>
                    <a:gd name="connsiteX203" fmla="*/ 840093 w 1949016"/>
                    <a:gd name="connsiteY203" fmla="*/ 719118 h 1478560"/>
                    <a:gd name="connsiteX204" fmla="*/ 840093 w 1949016"/>
                    <a:gd name="connsiteY204" fmla="*/ 719118 h 1478560"/>
                    <a:gd name="connsiteX205" fmla="*/ 840093 w 1949016"/>
                    <a:gd name="connsiteY205" fmla="*/ 719118 h 1478560"/>
                    <a:gd name="connsiteX206" fmla="*/ 846814 w 1949016"/>
                    <a:gd name="connsiteY206" fmla="*/ 705677 h 1478560"/>
                    <a:gd name="connsiteX207" fmla="*/ 846814 w 1949016"/>
                    <a:gd name="connsiteY207" fmla="*/ 705677 h 1478560"/>
                    <a:gd name="connsiteX208" fmla="*/ 846814 w 1949016"/>
                    <a:gd name="connsiteY208" fmla="*/ 705677 h 1478560"/>
                    <a:gd name="connsiteX209" fmla="*/ 846814 w 1949016"/>
                    <a:gd name="connsiteY209" fmla="*/ 705677 h 1478560"/>
                    <a:gd name="connsiteX210" fmla="*/ 846814 w 1949016"/>
                    <a:gd name="connsiteY210" fmla="*/ 383082 h 1478560"/>
                    <a:gd name="connsiteX211" fmla="*/ 1155969 w 1949016"/>
                    <a:gd name="connsiteY211" fmla="*/ 383082 h 1478560"/>
                    <a:gd name="connsiteX212" fmla="*/ 1155969 w 1949016"/>
                    <a:gd name="connsiteY212" fmla="*/ 423406 h 1478560"/>
                    <a:gd name="connsiteX213" fmla="*/ 1075320 w 1949016"/>
                    <a:gd name="connsiteY213" fmla="*/ 557821 h 1478560"/>
                    <a:gd name="connsiteX214" fmla="*/ 1229897 w 1949016"/>
                    <a:gd name="connsiteY214" fmla="*/ 712397 h 1478560"/>
                    <a:gd name="connsiteX215" fmla="*/ 1229897 w 1949016"/>
                    <a:gd name="connsiteY215" fmla="*/ 712397 h 1478560"/>
                    <a:gd name="connsiteX216" fmla="*/ 1337429 w 1949016"/>
                    <a:gd name="connsiteY216" fmla="*/ 665352 h 1478560"/>
                    <a:gd name="connsiteX217" fmla="*/ 1384474 w 1949016"/>
                    <a:gd name="connsiteY217" fmla="*/ 557821 h 1478560"/>
                    <a:gd name="connsiteX218" fmla="*/ 1310546 w 1949016"/>
                    <a:gd name="connsiteY218" fmla="*/ 423406 h 1478560"/>
                    <a:gd name="connsiteX219" fmla="*/ 1310546 w 1949016"/>
                    <a:gd name="connsiteY219" fmla="*/ 376361 h 1478560"/>
                    <a:gd name="connsiteX220" fmla="*/ 1612979 w 1949016"/>
                    <a:gd name="connsiteY220" fmla="*/ 376361 h 1478560"/>
                    <a:gd name="connsiteX221" fmla="*/ 1612979 w 1949016"/>
                    <a:gd name="connsiteY221" fmla="*/ 705677 h 1478560"/>
                    <a:gd name="connsiteX222" fmla="*/ 1633141 w 1949016"/>
                    <a:gd name="connsiteY222" fmla="*/ 725839 h 1478560"/>
                    <a:gd name="connsiteX223" fmla="*/ 1633141 w 1949016"/>
                    <a:gd name="connsiteY223" fmla="*/ 725839 h 1478560"/>
                    <a:gd name="connsiteX224" fmla="*/ 1713790 w 1949016"/>
                    <a:gd name="connsiteY224" fmla="*/ 725839 h 1478560"/>
                    <a:gd name="connsiteX225" fmla="*/ 1733953 w 1949016"/>
                    <a:gd name="connsiteY225" fmla="*/ 712397 h 1478560"/>
                    <a:gd name="connsiteX226" fmla="*/ 1834764 w 1949016"/>
                    <a:gd name="connsiteY226" fmla="*/ 645190 h 1478560"/>
                    <a:gd name="connsiteX227" fmla="*/ 1834764 w 1949016"/>
                    <a:gd name="connsiteY227" fmla="*/ 645190 h 1478560"/>
                    <a:gd name="connsiteX228" fmla="*/ 1915413 w 1949016"/>
                    <a:gd name="connsiteY228" fmla="*/ 678794 h 1478560"/>
                    <a:gd name="connsiteX229" fmla="*/ 1949017 w 1949016"/>
                    <a:gd name="connsiteY229" fmla="*/ 759443 h 1478560"/>
                    <a:gd name="connsiteX230" fmla="*/ 1915413 w 1949016"/>
                    <a:gd name="connsiteY230" fmla="*/ 840091 h 1478560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4097 w 1984332"/>
                    <a:gd name="connsiteY216" fmla="*/ 670115 h 1520187"/>
                    <a:gd name="connsiteX217" fmla="*/ 1384474 w 1984332"/>
                    <a:gd name="connsiteY217" fmla="*/ 557821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4097 w 1984332"/>
                    <a:gd name="connsiteY216" fmla="*/ 670115 h 1520187"/>
                    <a:gd name="connsiteX217" fmla="*/ 1396380 w 1984332"/>
                    <a:gd name="connsiteY217" fmla="*/ 543533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43533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0372 w 1984332"/>
                    <a:gd name="connsiteY215" fmla="*/ 729066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98940 w 1984332"/>
                    <a:gd name="connsiteY214" fmla="*/ 705254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98940 w 1984332"/>
                    <a:gd name="connsiteY214" fmla="*/ 705254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51328 w 1984332"/>
                    <a:gd name="connsiteY215" fmla="*/ 721923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39409 w 1984332"/>
                    <a:gd name="connsiteY214" fmla="*/ 664773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76520 w 1984332"/>
                    <a:gd name="connsiteY13" fmla="*/ 437694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309010 w 1984332"/>
                    <a:gd name="connsiteY14" fmla="*/ 471720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</a:cxnLst>
                  <a:rect l="l" t="t" r="r" b="b"/>
                  <a:pathLst>
                    <a:path w="1984332" h="1520187">
                      <a:moveTo>
                        <a:pt x="1949017" y="645190"/>
                      </a:moveTo>
                      <a:cubicBezTo>
                        <a:pt x="1922134" y="618307"/>
                        <a:pt x="1881809" y="598145"/>
                        <a:pt x="1841485" y="598145"/>
                      </a:cubicBezTo>
                      <a:lnTo>
                        <a:pt x="1841485" y="598145"/>
                      </a:lnTo>
                      <a:cubicBezTo>
                        <a:pt x="1780998" y="598145"/>
                        <a:pt x="1733953" y="631749"/>
                        <a:pt x="1707070" y="678794"/>
                      </a:cubicBezTo>
                      <a:lnTo>
                        <a:pt x="1666745" y="678794"/>
                      </a:lnTo>
                      <a:lnTo>
                        <a:pt x="1666745" y="349478"/>
                      </a:lnTo>
                      <a:cubicBezTo>
                        <a:pt x="1666745" y="336037"/>
                        <a:pt x="1660025" y="329316"/>
                        <a:pt x="1646583" y="329316"/>
                      </a:cubicBezTo>
                      <a:lnTo>
                        <a:pt x="1646583" y="329316"/>
                      </a:lnTo>
                      <a:lnTo>
                        <a:pt x="1303825" y="329316"/>
                      </a:lnTo>
                      <a:cubicBezTo>
                        <a:pt x="1290383" y="329316"/>
                        <a:pt x="1283663" y="336037"/>
                        <a:pt x="1283663" y="349478"/>
                      </a:cubicBezTo>
                      <a:lnTo>
                        <a:pt x="1283663" y="349478"/>
                      </a:lnTo>
                      <a:lnTo>
                        <a:pt x="1283663" y="349478"/>
                      </a:lnTo>
                      <a:lnTo>
                        <a:pt x="1283663" y="423406"/>
                      </a:lnTo>
                      <a:cubicBezTo>
                        <a:pt x="1282869" y="429756"/>
                        <a:pt x="1286044" y="436503"/>
                        <a:pt x="1288425" y="449600"/>
                      </a:cubicBezTo>
                      <a:cubicBezTo>
                        <a:pt x="1319726" y="473264"/>
                        <a:pt x="1350121" y="520742"/>
                        <a:pt x="1357168" y="551100"/>
                      </a:cubicBezTo>
                      <a:cubicBezTo>
                        <a:pt x="1364215" y="581458"/>
                        <a:pt x="1348559" y="612707"/>
                        <a:pt x="1330708" y="631749"/>
                      </a:cubicBezTo>
                      <a:cubicBezTo>
                        <a:pt x="1312857" y="650791"/>
                        <a:pt x="1283663" y="665352"/>
                        <a:pt x="1250059" y="665352"/>
                      </a:cubicBezTo>
                      <a:cubicBezTo>
                        <a:pt x="1189572" y="665352"/>
                        <a:pt x="1135806" y="618307"/>
                        <a:pt x="1135806" y="551100"/>
                      </a:cubicBezTo>
                      <a:cubicBezTo>
                        <a:pt x="1135806" y="504055"/>
                        <a:pt x="1162689" y="463730"/>
                        <a:pt x="1209734" y="443568"/>
                      </a:cubicBezTo>
                      <a:cubicBezTo>
                        <a:pt x="1216455" y="443568"/>
                        <a:pt x="1223176" y="430127"/>
                        <a:pt x="1223176" y="423406"/>
                      </a:cubicBezTo>
                      <a:lnTo>
                        <a:pt x="1223176" y="349478"/>
                      </a:lnTo>
                      <a:lnTo>
                        <a:pt x="1223176" y="349478"/>
                      </a:lnTo>
                      <a:lnTo>
                        <a:pt x="1223176" y="349478"/>
                      </a:lnTo>
                      <a:cubicBezTo>
                        <a:pt x="1209734" y="342757"/>
                        <a:pt x="1196293" y="336037"/>
                        <a:pt x="1182852" y="336037"/>
                      </a:cubicBezTo>
                      <a:lnTo>
                        <a:pt x="1182852" y="336037"/>
                      </a:lnTo>
                      <a:lnTo>
                        <a:pt x="826652" y="336037"/>
                      </a:lnTo>
                      <a:lnTo>
                        <a:pt x="826652" y="336037"/>
                      </a:lnTo>
                      <a:lnTo>
                        <a:pt x="826652" y="336037"/>
                      </a:lnTo>
                      <a:lnTo>
                        <a:pt x="497335" y="336037"/>
                      </a:lnTo>
                      <a:lnTo>
                        <a:pt x="497335" y="295712"/>
                      </a:lnTo>
                      <a:cubicBezTo>
                        <a:pt x="551101" y="268829"/>
                        <a:pt x="584705" y="215063"/>
                        <a:pt x="584705" y="154577"/>
                      </a:cubicBezTo>
                      <a:cubicBezTo>
                        <a:pt x="584705" y="114252"/>
                        <a:pt x="571263" y="73928"/>
                        <a:pt x="537660" y="47045"/>
                      </a:cubicBezTo>
                      <a:cubicBezTo>
                        <a:pt x="504056" y="13441"/>
                        <a:pt x="463732" y="0"/>
                        <a:pt x="423407" y="0"/>
                      </a:cubicBezTo>
                      <a:lnTo>
                        <a:pt x="423407" y="0"/>
                      </a:lnTo>
                      <a:cubicBezTo>
                        <a:pt x="336037" y="0"/>
                        <a:pt x="268830" y="67207"/>
                        <a:pt x="268830" y="154577"/>
                      </a:cubicBezTo>
                      <a:cubicBezTo>
                        <a:pt x="268830" y="215063"/>
                        <a:pt x="302434" y="262109"/>
                        <a:pt x="349479" y="288991"/>
                      </a:cubicBezTo>
                      <a:lnTo>
                        <a:pt x="349479" y="329316"/>
                      </a:lnTo>
                      <a:lnTo>
                        <a:pt x="20162" y="336037"/>
                      </a:lnTo>
                      <a:cubicBezTo>
                        <a:pt x="6721" y="336037"/>
                        <a:pt x="0" y="342757"/>
                        <a:pt x="0" y="356199"/>
                      </a:cubicBezTo>
                      <a:lnTo>
                        <a:pt x="0" y="698956"/>
                      </a:lnTo>
                      <a:cubicBezTo>
                        <a:pt x="0" y="712397"/>
                        <a:pt x="6721" y="719118"/>
                        <a:pt x="20162" y="719118"/>
                      </a:cubicBezTo>
                      <a:lnTo>
                        <a:pt x="20162" y="719118"/>
                      </a:lnTo>
                      <a:lnTo>
                        <a:pt x="20162" y="719118"/>
                      </a:lnTo>
                      <a:lnTo>
                        <a:pt x="20162" y="719118"/>
                      </a:lnTo>
                      <a:lnTo>
                        <a:pt x="94090" y="719118"/>
                      </a:lnTo>
                      <a:lnTo>
                        <a:pt x="94090" y="719118"/>
                      </a:lnTo>
                      <a:cubicBezTo>
                        <a:pt x="107532" y="719118"/>
                        <a:pt x="114253" y="719118"/>
                        <a:pt x="120973" y="705677"/>
                      </a:cubicBezTo>
                      <a:cubicBezTo>
                        <a:pt x="141136" y="665352"/>
                        <a:pt x="181460" y="638469"/>
                        <a:pt x="221785" y="638469"/>
                      </a:cubicBezTo>
                      <a:lnTo>
                        <a:pt x="221785" y="638469"/>
                      </a:lnTo>
                      <a:cubicBezTo>
                        <a:pt x="282271" y="638469"/>
                        <a:pt x="336037" y="685515"/>
                        <a:pt x="336037" y="752722"/>
                      </a:cubicBezTo>
                      <a:cubicBezTo>
                        <a:pt x="336037" y="819929"/>
                        <a:pt x="288992" y="873695"/>
                        <a:pt x="221785" y="873695"/>
                      </a:cubicBezTo>
                      <a:lnTo>
                        <a:pt x="221785" y="873695"/>
                      </a:lnTo>
                      <a:cubicBezTo>
                        <a:pt x="174739" y="873695"/>
                        <a:pt x="134415" y="846812"/>
                        <a:pt x="114253" y="799767"/>
                      </a:cubicBezTo>
                      <a:cubicBezTo>
                        <a:pt x="114253" y="793046"/>
                        <a:pt x="100811" y="786325"/>
                        <a:pt x="94090" y="786325"/>
                      </a:cubicBez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cubicBezTo>
                        <a:pt x="13441" y="786325"/>
                        <a:pt x="0" y="793046"/>
                        <a:pt x="0" y="806488"/>
                      </a:cubicBezTo>
                      <a:lnTo>
                        <a:pt x="0" y="1162686"/>
                      </a:lnTo>
                      <a:cubicBezTo>
                        <a:pt x="0" y="1176128"/>
                        <a:pt x="6721" y="1182849"/>
                        <a:pt x="20162" y="1182849"/>
                      </a:cubicBezTo>
                      <a:lnTo>
                        <a:pt x="20162" y="1182849"/>
                      </a:lnTo>
                      <a:lnTo>
                        <a:pt x="356200" y="1182849"/>
                      </a:lnTo>
                      <a:lnTo>
                        <a:pt x="356200" y="1223173"/>
                      </a:lnTo>
                      <a:cubicBezTo>
                        <a:pt x="302434" y="1250056"/>
                        <a:pt x="268830" y="1303822"/>
                        <a:pt x="268830" y="1364308"/>
                      </a:cubicBezTo>
                      <a:cubicBezTo>
                        <a:pt x="268830" y="1404633"/>
                        <a:pt x="282271" y="1444957"/>
                        <a:pt x="315875" y="1471840"/>
                      </a:cubicBezTo>
                      <a:cubicBezTo>
                        <a:pt x="342758" y="1498723"/>
                        <a:pt x="383083" y="1518885"/>
                        <a:pt x="423407" y="1518885"/>
                      </a:cubicBezTo>
                      <a:lnTo>
                        <a:pt x="423407" y="1518885"/>
                      </a:lnTo>
                      <a:cubicBezTo>
                        <a:pt x="470452" y="1525606"/>
                        <a:pt x="504056" y="1505444"/>
                        <a:pt x="537660" y="1478561"/>
                      </a:cubicBezTo>
                      <a:cubicBezTo>
                        <a:pt x="571263" y="1451678"/>
                        <a:pt x="584705" y="1411353"/>
                        <a:pt x="584705" y="1371029"/>
                      </a:cubicBezTo>
                      <a:cubicBezTo>
                        <a:pt x="584705" y="1317263"/>
                        <a:pt x="557822" y="1263497"/>
                        <a:pt x="510777" y="1236614"/>
                      </a:cubicBezTo>
                      <a:lnTo>
                        <a:pt x="510777" y="1189569"/>
                      </a:lnTo>
                      <a:lnTo>
                        <a:pt x="833373" y="1189569"/>
                      </a:lnTo>
                      <a:lnTo>
                        <a:pt x="833373" y="1189569"/>
                      </a:lnTo>
                      <a:lnTo>
                        <a:pt x="833373" y="1189569"/>
                      </a:lnTo>
                      <a:lnTo>
                        <a:pt x="1189572" y="1189569"/>
                      </a:lnTo>
                      <a:cubicBezTo>
                        <a:pt x="1196293" y="1189569"/>
                        <a:pt x="1203014" y="1189569"/>
                        <a:pt x="1203014" y="1182849"/>
                      </a:cubicBezTo>
                      <a:cubicBezTo>
                        <a:pt x="1203014" y="1176128"/>
                        <a:pt x="1209734" y="1176128"/>
                        <a:pt x="1209734" y="1169407"/>
                      </a:cubicBezTo>
                      <a:lnTo>
                        <a:pt x="1209734" y="1095479"/>
                      </a:lnTo>
                      <a:cubicBezTo>
                        <a:pt x="1209734" y="1088758"/>
                        <a:pt x="1203014" y="1075317"/>
                        <a:pt x="1196293" y="1075317"/>
                      </a:cubicBezTo>
                      <a:cubicBezTo>
                        <a:pt x="1155969" y="1061875"/>
                        <a:pt x="1122365" y="1014830"/>
                        <a:pt x="1122365" y="967785"/>
                      </a:cubicBezTo>
                      <a:cubicBezTo>
                        <a:pt x="1122365" y="940902"/>
                        <a:pt x="1135806" y="907299"/>
                        <a:pt x="1155969" y="887136"/>
                      </a:cubicBezTo>
                      <a:cubicBezTo>
                        <a:pt x="1176131" y="866974"/>
                        <a:pt x="1203014" y="853533"/>
                        <a:pt x="1236617" y="853533"/>
                      </a:cubicBezTo>
                      <a:lnTo>
                        <a:pt x="1236617" y="853533"/>
                      </a:lnTo>
                      <a:cubicBezTo>
                        <a:pt x="1263500" y="853533"/>
                        <a:pt x="1297104" y="866974"/>
                        <a:pt x="1317266" y="887136"/>
                      </a:cubicBezTo>
                      <a:cubicBezTo>
                        <a:pt x="1337429" y="907299"/>
                        <a:pt x="1350870" y="934182"/>
                        <a:pt x="1350870" y="967785"/>
                      </a:cubicBezTo>
                      <a:cubicBezTo>
                        <a:pt x="1350870" y="1008110"/>
                        <a:pt x="1323987" y="1048434"/>
                        <a:pt x="1283663" y="1068596"/>
                      </a:cubicBezTo>
                      <a:cubicBezTo>
                        <a:pt x="1276942" y="1075317"/>
                        <a:pt x="1270221" y="1082038"/>
                        <a:pt x="1270221" y="1088758"/>
                      </a:cubicBezTo>
                      <a:lnTo>
                        <a:pt x="1270221" y="1162686"/>
                      </a:lnTo>
                      <a:cubicBezTo>
                        <a:pt x="1270221" y="1169407"/>
                        <a:pt x="1270221" y="1176128"/>
                        <a:pt x="1276942" y="1176128"/>
                      </a:cubicBezTo>
                      <a:cubicBezTo>
                        <a:pt x="1283663" y="1182849"/>
                        <a:pt x="1283663" y="1182849"/>
                        <a:pt x="1290383" y="1182849"/>
                      </a:cubicBezTo>
                      <a:lnTo>
                        <a:pt x="1290383" y="1182849"/>
                      </a:lnTo>
                      <a:lnTo>
                        <a:pt x="1633141" y="1182849"/>
                      </a:lnTo>
                      <a:cubicBezTo>
                        <a:pt x="1646583" y="1182849"/>
                        <a:pt x="1653304" y="1176128"/>
                        <a:pt x="1653304" y="1162686"/>
                      </a:cubicBezTo>
                      <a:lnTo>
                        <a:pt x="1653304" y="833371"/>
                      </a:lnTo>
                      <a:lnTo>
                        <a:pt x="1693628" y="833371"/>
                      </a:lnTo>
                      <a:cubicBezTo>
                        <a:pt x="1720511" y="880416"/>
                        <a:pt x="1774277" y="914019"/>
                        <a:pt x="1828043" y="914019"/>
                      </a:cubicBezTo>
                      <a:lnTo>
                        <a:pt x="1828043" y="914019"/>
                      </a:lnTo>
                      <a:cubicBezTo>
                        <a:pt x="1868368" y="914019"/>
                        <a:pt x="1908692" y="900578"/>
                        <a:pt x="1935575" y="866974"/>
                      </a:cubicBezTo>
                      <a:cubicBezTo>
                        <a:pt x="1962458" y="840091"/>
                        <a:pt x="1982620" y="799767"/>
                        <a:pt x="1982620" y="759443"/>
                      </a:cubicBezTo>
                      <a:cubicBezTo>
                        <a:pt x="1989341" y="719118"/>
                        <a:pt x="1975900" y="678794"/>
                        <a:pt x="1949017" y="645190"/>
                      </a:cubicBezTo>
                      <a:close/>
                      <a:moveTo>
                        <a:pt x="483894" y="1142524"/>
                      </a:moveTo>
                      <a:cubicBezTo>
                        <a:pt x="470452" y="1142524"/>
                        <a:pt x="463732" y="1149245"/>
                        <a:pt x="463732" y="1162686"/>
                      </a:cubicBezTo>
                      <a:lnTo>
                        <a:pt x="463732" y="1162686"/>
                      </a:lnTo>
                      <a:lnTo>
                        <a:pt x="463732" y="1162686"/>
                      </a:lnTo>
                      <a:lnTo>
                        <a:pt x="463732" y="1236614"/>
                      </a:lnTo>
                      <a:lnTo>
                        <a:pt x="463732" y="1236614"/>
                      </a:lnTo>
                      <a:cubicBezTo>
                        <a:pt x="463732" y="1250056"/>
                        <a:pt x="463732" y="1256777"/>
                        <a:pt x="477173" y="1263497"/>
                      </a:cubicBezTo>
                      <a:cubicBezTo>
                        <a:pt x="517497" y="1283660"/>
                        <a:pt x="544381" y="1323984"/>
                        <a:pt x="544381" y="1364308"/>
                      </a:cubicBezTo>
                      <a:cubicBezTo>
                        <a:pt x="544381" y="1391191"/>
                        <a:pt x="530939" y="1424795"/>
                        <a:pt x="510777" y="1444957"/>
                      </a:cubicBezTo>
                      <a:cubicBezTo>
                        <a:pt x="483894" y="1465119"/>
                        <a:pt x="457011" y="1478561"/>
                        <a:pt x="423407" y="1478561"/>
                      </a:cubicBezTo>
                      <a:lnTo>
                        <a:pt x="423407" y="1478561"/>
                      </a:lnTo>
                      <a:cubicBezTo>
                        <a:pt x="396524" y="1478561"/>
                        <a:pt x="362920" y="1465119"/>
                        <a:pt x="342758" y="1444957"/>
                      </a:cubicBezTo>
                      <a:cubicBezTo>
                        <a:pt x="322596" y="1424795"/>
                        <a:pt x="309154" y="1397912"/>
                        <a:pt x="309154" y="1364308"/>
                      </a:cubicBezTo>
                      <a:cubicBezTo>
                        <a:pt x="309154" y="1317263"/>
                        <a:pt x="336037" y="1276939"/>
                        <a:pt x="383083" y="1256777"/>
                      </a:cubicBezTo>
                      <a:cubicBezTo>
                        <a:pt x="389803" y="1256777"/>
                        <a:pt x="396524" y="1243335"/>
                        <a:pt x="396524" y="1236614"/>
                      </a:cubicBezTo>
                      <a:lnTo>
                        <a:pt x="396524" y="1162686"/>
                      </a:lnTo>
                      <a:lnTo>
                        <a:pt x="396524" y="1162686"/>
                      </a:lnTo>
                      <a:lnTo>
                        <a:pt x="396524" y="1162686"/>
                      </a:lnTo>
                      <a:cubicBezTo>
                        <a:pt x="403245" y="1149245"/>
                        <a:pt x="389803" y="1142524"/>
                        <a:pt x="376362" y="1142524"/>
                      </a:cubicBezTo>
                      <a:lnTo>
                        <a:pt x="376362" y="1142524"/>
                      </a:lnTo>
                      <a:lnTo>
                        <a:pt x="40324" y="1142524"/>
                      </a:lnTo>
                      <a:lnTo>
                        <a:pt x="40324" y="833371"/>
                      </a:lnTo>
                      <a:lnTo>
                        <a:pt x="80649" y="833371"/>
                      </a:lnTo>
                      <a:cubicBezTo>
                        <a:pt x="107532" y="887136"/>
                        <a:pt x="161298" y="920740"/>
                        <a:pt x="221785" y="920740"/>
                      </a:cubicBezTo>
                      <a:lnTo>
                        <a:pt x="221785" y="920740"/>
                      </a:lnTo>
                      <a:cubicBezTo>
                        <a:pt x="309154" y="920740"/>
                        <a:pt x="376362" y="853533"/>
                        <a:pt x="376362" y="766163"/>
                      </a:cubicBezTo>
                      <a:cubicBezTo>
                        <a:pt x="383083" y="672073"/>
                        <a:pt x="309154" y="604866"/>
                        <a:pt x="221785" y="604866"/>
                      </a:cubicBezTo>
                      <a:lnTo>
                        <a:pt x="221785" y="604866"/>
                      </a:lnTo>
                      <a:cubicBezTo>
                        <a:pt x="168019" y="604866"/>
                        <a:pt x="114253" y="631749"/>
                        <a:pt x="87370" y="678794"/>
                      </a:cubicBezTo>
                      <a:lnTo>
                        <a:pt x="40324" y="678794"/>
                      </a:lnTo>
                      <a:lnTo>
                        <a:pt x="40324" y="376361"/>
                      </a:lnTo>
                      <a:lnTo>
                        <a:pt x="369641" y="376361"/>
                      </a:lnTo>
                      <a:cubicBezTo>
                        <a:pt x="376362" y="376361"/>
                        <a:pt x="383083" y="376361"/>
                        <a:pt x="383083" y="369640"/>
                      </a:cubicBezTo>
                      <a:cubicBezTo>
                        <a:pt x="383083" y="362919"/>
                        <a:pt x="389803" y="362919"/>
                        <a:pt x="389803" y="356199"/>
                      </a:cubicBezTo>
                      <a:lnTo>
                        <a:pt x="389803" y="275550"/>
                      </a:lnTo>
                      <a:cubicBezTo>
                        <a:pt x="389803" y="268829"/>
                        <a:pt x="383083" y="255388"/>
                        <a:pt x="376362" y="255388"/>
                      </a:cubicBezTo>
                      <a:cubicBezTo>
                        <a:pt x="336037" y="235226"/>
                        <a:pt x="309154" y="194901"/>
                        <a:pt x="309154" y="154577"/>
                      </a:cubicBezTo>
                      <a:cubicBezTo>
                        <a:pt x="309154" y="94090"/>
                        <a:pt x="356200" y="40324"/>
                        <a:pt x="423407" y="40324"/>
                      </a:cubicBezTo>
                      <a:cubicBezTo>
                        <a:pt x="457011" y="40324"/>
                        <a:pt x="483894" y="53766"/>
                        <a:pt x="504056" y="73928"/>
                      </a:cubicBezTo>
                      <a:cubicBezTo>
                        <a:pt x="524218" y="100811"/>
                        <a:pt x="537660" y="127694"/>
                        <a:pt x="537660" y="154577"/>
                      </a:cubicBezTo>
                      <a:cubicBezTo>
                        <a:pt x="537660" y="201622"/>
                        <a:pt x="510777" y="241946"/>
                        <a:pt x="470452" y="262109"/>
                      </a:cubicBezTo>
                      <a:cubicBezTo>
                        <a:pt x="457011" y="262109"/>
                        <a:pt x="457011" y="268829"/>
                        <a:pt x="457011" y="282271"/>
                      </a:cubicBezTo>
                      <a:lnTo>
                        <a:pt x="457011" y="362919"/>
                      </a:lnTo>
                      <a:cubicBezTo>
                        <a:pt x="457011" y="376361"/>
                        <a:pt x="463732" y="383082"/>
                        <a:pt x="477173" y="383082"/>
                      </a:cubicBezTo>
                      <a:lnTo>
                        <a:pt x="477173" y="383082"/>
                      </a:lnTo>
                      <a:lnTo>
                        <a:pt x="806490" y="383082"/>
                      </a:lnTo>
                      <a:lnTo>
                        <a:pt x="806490" y="631749"/>
                      </a:lnTo>
                      <a:lnTo>
                        <a:pt x="806490" y="685515"/>
                      </a:lnTo>
                      <a:lnTo>
                        <a:pt x="766165" y="685515"/>
                      </a:lnTo>
                      <a:cubicBezTo>
                        <a:pt x="739282" y="631749"/>
                        <a:pt x="685516" y="604866"/>
                        <a:pt x="631750" y="604866"/>
                      </a:cubicBezTo>
                      <a:lnTo>
                        <a:pt x="631750" y="604866"/>
                      </a:lnTo>
                      <a:cubicBezTo>
                        <a:pt x="591426" y="604866"/>
                        <a:pt x="551101" y="618307"/>
                        <a:pt x="517497" y="651911"/>
                      </a:cubicBezTo>
                      <a:cubicBezTo>
                        <a:pt x="490615" y="678794"/>
                        <a:pt x="470452" y="719118"/>
                        <a:pt x="470452" y="759443"/>
                      </a:cubicBezTo>
                      <a:cubicBezTo>
                        <a:pt x="470452" y="799767"/>
                        <a:pt x="483894" y="840091"/>
                        <a:pt x="517497" y="866974"/>
                      </a:cubicBezTo>
                      <a:cubicBezTo>
                        <a:pt x="544381" y="893857"/>
                        <a:pt x="584705" y="914019"/>
                        <a:pt x="625029" y="914019"/>
                      </a:cubicBezTo>
                      <a:lnTo>
                        <a:pt x="625029" y="914019"/>
                      </a:lnTo>
                      <a:cubicBezTo>
                        <a:pt x="685516" y="914019"/>
                        <a:pt x="739282" y="880416"/>
                        <a:pt x="766165" y="826650"/>
                      </a:cubicBezTo>
                      <a:lnTo>
                        <a:pt x="799769" y="826650"/>
                      </a:lnTo>
                      <a:lnTo>
                        <a:pt x="799769" y="1135803"/>
                      </a:lnTo>
                      <a:lnTo>
                        <a:pt x="483894" y="1142524"/>
                      </a:lnTo>
                      <a:close/>
                      <a:moveTo>
                        <a:pt x="1915413" y="840091"/>
                      </a:moveTo>
                      <a:cubicBezTo>
                        <a:pt x="1895251" y="860254"/>
                        <a:pt x="1868368" y="873695"/>
                        <a:pt x="1834764" y="873695"/>
                      </a:cubicBezTo>
                      <a:lnTo>
                        <a:pt x="1834764" y="873695"/>
                      </a:lnTo>
                      <a:cubicBezTo>
                        <a:pt x="1787719" y="873695"/>
                        <a:pt x="1747394" y="846812"/>
                        <a:pt x="1733953" y="806488"/>
                      </a:cubicBezTo>
                      <a:cubicBezTo>
                        <a:pt x="1727232" y="799767"/>
                        <a:pt x="1720511" y="793046"/>
                        <a:pt x="1713790" y="793046"/>
                      </a:cubicBezTo>
                      <a:lnTo>
                        <a:pt x="1713790" y="793046"/>
                      </a:lnTo>
                      <a:lnTo>
                        <a:pt x="1633141" y="793046"/>
                      </a:lnTo>
                      <a:cubicBezTo>
                        <a:pt x="1619700" y="793046"/>
                        <a:pt x="1612979" y="799767"/>
                        <a:pt x="1612979" y="813208"/>
                      </a:cubicBezTo>
                      <a:lnTo>
                        <a:pt x="1612979" y="1142524"/>
                      </a:lnTo>
                      <a:lnTo>
                        <a:pt x="1310546" y="1142524"/>
                      </a:lnTo>
                      <a:lnTo>
                        <a:pt x="1310546" y="1102200"/>
                      </a:lnTo>
                      <a:cubicBezTo>
                        <a:pt x="1357591" y="1075317"/>
                        <a:pt x="1384474" y="1021551"/>
                        <a:pt x="1384474" y="967785"/>
                      </a:cubicBezTo>
                      <a:cubicBezTo>
                        <a:pt x="1384474" y="927461"/>
                        <a:pt x="1371032" y="887136"/>
                        <a:pt x="1337429" y="860254"/>
                      </a:cubicBezTo>
                      <a:cubicBezTo>
                        <a:pt x="1310546" y="833371"/>
                        <a:pt x="1270221" y="813208"/>
                        <a:pt x="1229897" y="813208"/>
                      </a:cubicBezTo>
                      <a:lnTo>
                        <a:pt x="1229897" y="813208"/>
                      </a:lnTo>
                      <a:cubicBezTo>
                        <a:pt x="1189572" y="813208"/>
                        <a:pt x="1149248" y="826650"/>
                        <a:pt x="1122365" y="860254"/>
                      </a:cubicBezTo>
                      <a:cubicBezTo>
                        <a:pt x="1095482" y="887136"/>
                        <a:pt x="1075320" y="927461"/>
                        <a:pt x="1075320" y="967785"/>
                      </a:cubicBezTo>
                      <a:cubicBezTo>
                        <a:pt x="1075320" y="1028272"/>
                        <a:pt x="1108923" y="1082038"/>
                        <a:pt x="1162689" y="1108921"/>
                      </a:cubicBezTo>
                      <a:lnTo>
                        <a:pt x="1162689" y="1142524"/>
                      </a:lnTo>
                      <a:lnTo>
                        <a:pt x="853535" y="1142524"/>
                      </a:lnTo>
                      <a:lnTo>
                        <a:pt x="853535" y="819929"/>
                      </a:lnTo>
                      <a:lnTo>
                        <a:pt x="853535" y="819929"/>
                      </a:lnTo>
                      <a:lnTo>
                        <a:pt x="853535" y="806488"/>
                      </a:lnTo>
                      <a:cubicBezTo>
                        <a:pt x="853535" y="799767"/>
                        <a:pt x="853535" y="793046"/>
                        <a:pt x="846814" y="793046"/>
                      </a:cubicBezTo>
                      <a:cubicBezTo>
                        <a:pt x="840093" y="793046"/>
                        <a:pt x="840093" y="786325"/>
                        <a:pt x="833373" y="786325"/>
                      </a:cubicBezTo>
                      <a:lnTo>
                        <a:pt x="833373" y="786325"/>
                      </a:lnTo>
                      <a:lnTo>
                        <a:pt x="759444" y="786325"/>
                      </a:lnTo>
                      <a:cubicBezTo>
                        <a:pt x="752724" y="786325"/>
                        <a:pt x="739282" y="793046"/>
                        <a:pt x="739282" y="799767"/>
                      </a:cubicBezTo>
                      <a:cubicBezTo>
                        <a:pt x="725841" y="840091"/>
                        <a:pt x="678795" y="873695"/>
                        <a:pt x="631750" y="873695"/>
                      </a:cubicBezTo>
                      <a:lnTo>
                        <a:pt x="631750" y="873695"/>
                      </a:lnTo>
                      <a:cubicBezTo>
                        <a:pt x="604867" y="873695"/>
                        <a:pt x="571263" y="860254"/>
                        <a:pt x="551101" y="840091"/>
                      </a:cubicBezTo>
                      <a:cubicBezTo>
                        <a:pt x="530939" y="819929"/>
                        <a:pt x="517497" y="793046"/>
                        <a:pt x="517497" y="759443"/>
                      </a:cubicBezTo>
                      <a:cubicBezTo>
                        <a:pt x="517497" y="732560"/>
                        <a:pt x="530939" y="698956"/>
                        <a:pt x="551101" y="678794"/>
                      </a:cubicBezTo>
                      <a:cubicBezTo>
                        <a:pt x="571263" y="658632"/>
                        <a:pt x="598146" y="645190"/>
                        <a:pt x="631750" y="645190"/>
                      </a:cubicBezTo>
                      <a:lnTo>
                        <a:pt x="631750" y="645190"/>
                      </a:lnTo>
                      <a:cubicBezTo>
                        <a:pt x="672075" y="645190"/>
                        <a:pt x="712399" y="672073"/>
                        <a:pt x="732561" y="712397"/>
                      </a:cubicBezTo>
                      <a:cubicBezTo>
                        <a:pt x="739282" y="719118"/>
                        <a:pt x="746003" y="725839"/>
                        <a:pt x="752724" y="725839"/>
                      </a:cubicBezTo>
                      <a:lnTo>
                        <a:pt x="752724" y="725839"/>
                      </a:lnTo>
                      <a:lnTo>
                        <a:pt x="826652" y="725839"/>
                      </a:lnTo>
                      <a:lnTo>
                        <a:pt x="826652" y="725839"/>
                      </a:lnTo>
                      <a:cubicBezTo>
                        <a:pt x="833373" y="725839"/>
                        <a:pt x="833373" y="725839"/>
                        <a:pt x="840093" y="719118"/>
                      </a:cubicBezTo>
                      <a:lnTo>
                        <a:pt x="840093" y="719118"/>
                      </a:lnTo>
                      <a:lnTo>
                        <a:pt x="840093" y="719118"/>
                      </a:lnTo>
                      <a:cubicBezTo>
                        <a:pt x="846814" y="712397"/>
                        <a:pt x="846814" y="712397"/>
                        <a:pt x="846814" y="705677"/>
                      </a:cubicBezTo>
                      <a:lnTo>
                        <a:pt x="846814" y="705677"/>
                      </a:lnTo>
                      <a:lnTo>
                        <a:pt x="846814" y="705677"/>
                      </a:lnTo>
                      <a:lnTo>
                        <a:pt x="846814" y="705677"/>
                      </a:lnTo>
                      <a:lnTo>
                        <a:pt x="846814" y="383082"/>
                      </a:lnTo>
                      <a:lnTo>
                        <a:pt x="1155969" y="383082"/>
                      </a:lnTo>
                      <a:lnTo>
                        <a:pt x="1155969" y="423406"/>
                      </a:lnTo>
                      <a:cubicBezTo>
                        <a:pt x="1108923" y="443568"/>
                        <a:pt x="1087606" y="515212"/>
                        <a:pt x="1084846" y="555440"/>
                      </a:cubicBezTo>
                      <a:cubicBezTo>
                        <a:pt x="1082086" y="595668"/>
                        <a:pt x="1113250" y="638613"/>
                        <a:pt x="1139409" y="664773"/>
                      </a:cubicBezTo>
                      <a:cubicBezTo>
                        <a:pt x="1165568" y="690933"/>
                        <a:pt x="1206022" y="711510"/>
                        <a:pt x="1241803" y="712400"/>
                      </a:cubicBezTo>
                      <a:cubicBezTo>
                        <a:pt x="1277584" y="713290"/>
                        <a:pt x="1328335" y="696672"/>
                        <a:pt x="1354098" y="670115"/>
                      </a:cubicBezTo>
                      <a:cubicBezTo>
                        <a:pt x="1379861" y="643558"/>
                        <a:pt x="1403639" y="594176"/>
                        <a:pt x="1396380" y="553058"/>
                      </a:cubicBezTo>
                      <a:cubicBezTo>
                        <a:pt x="1389121" y="511940"/>
                        <a:pt x="1357591" y="450289"/>
                        <a:pt x="1310546" y="423406"/>
                      </a:cubicBezTo>
                      <a:lnTo>
                        <a:pt x="1310546" y="376361"/>
                      </a:lnTo>
                      <a:lnTo>
                        <a:pt x="1612979" y="376361"/>
                      </a:lnTo>
                      <a:lnTo>
                        <a:pt x="1612979" y="705677"/>
                      </a:lnTo>
                      <a:cubicBezTo>
                        <a:pt x="1612979" y="719118"/>
                        <a:pt x="1619700" y="725839"/>
                        <a:pt x="1633141" y="725839"/>
                      </a:cubicBezTo>
                      <a:lnTo>
                        <a:pt x="1633141" y="725839"/>
                      </a:lnTo>
                      <a:lnTo>
                        <a:pt x="1713790" y="725839"/>
                      </a:lnTo>
                      <a:cubicBezTo>
                        <a:pt x="1720511" y="725839"/>
                        <a:pt x="1733953" y="719118"/>
                        <a:pt x="1733953" y="712397"/>
                      </a:cubicBezTo>
                      <a:cubicBezTo>
                        <a:pt x="1754115" y="672073"/>
                        <a:pt x="1794439" y="645190"/>
                        <a:pt x="1834764" y="645190"/>
                      </a:cubicBezTo>
                      <a:lnTo>
                        <a:pt x="1834764" y="645190"/>
                      </a:lnTo>
                      <a:cubicBezTo>
                        <a:pt x="1861647" y="645190"/>
                        <a:pt x="1895251" y="658632"/>
                        <a:pt x="1915413" y="678794"/>
                      </a:cubicBezTo>
                      <a:cubicBezTo>
                        <a:pt x="1935575" y="698956"/>
                        <a:pt x="1949017" y="725839"/>
                        <a:pt x="1949017" y="759443"/>
                      </a:cubicBezTo>
                      <a:cubicBezTo>
                        <a:pt x="1949017" y="786325"/>
                        <a:pt x="1935575" y="819929"/>
                        <a:pt x="1915413" y="84009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699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D9504295-B0A9-1C2B-24DF-E594F4569E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80559" y="4031605"/>
                <a:ext cx="288032" cy="28803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3FF3A1B9-C148-298C-3DF0-AB0BDD59367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63861" y="1829156"/>
                <a:ext cx="184067" cy="18406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2AD66ECB-F7E7-FAD8-2F5B-37C1F802A56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5085" y="1117823"/>
                <a:ext cx="412107" cy="41210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C6BA6BFF-80D4-E5F0-14F2-3B54C3FC5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381327" y="3090168"/>
                <a:ext cx="258168" cy="25816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7144FA30-A4C4-7092-0334-C5C81B55A4B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91727" y="1645982"/>
                <a:ext cx="268651" cy="268651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CF26A895-76DE-12D4-9FCA-C9D816B5A15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312024" y="1151285"/>
                <a:ext cx="226843" cy="226843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</p:grp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C20A3671-A870-A7B4-31E9-C47A0C435F16}"/>
                </a:ext>
              </a:extLst>
            </p:cNvPr>
            <p:cNvSpPr txBox="1"/>
            <p:nvPr/>
          </p:nvSpPr>
          <p:spPr>
            <a:xfrm>
              <a:off x="-52054" y="4930420"/>
              <a:ext cx="2548370" cy="987786"/>
            </a:xfrm>
            <a:prstGeom prst="rect">
              <a:avLst/>
            </a:prstGeom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400" b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ata Discovery enables impactful Data-Driven Decision Making</a:t>
              </a: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DE3DDA-32E5-F57D-BFCF-F5AB85516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The data analysis across 3 main areas yielded significant findings and a comprehensive representation of key data within the OECD countries</a:t>
            </a:r>
          </a:p>
        </p:txBody>
      </p:sp>
      <p:pic>
        <p:nvPicPr>
          <p:cNvPr id="18" name="Graphic 17" descr="Dance outline">
            <a:extLst>
              <a:ext uri="{FF2B5EF4-FFF2-40B4-BE49-F238E27FC236}">
                <a16:creationId xmlns:a16="http://schemas.microsoft.com/office/drawing/2014/main" id="{422850B9-8A84-ECD2-8C23-9300649997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60680" y="4142477"/>
            <a:ext cx="625324" cy="625324"/>
          </a:xfrm>
          <a:prstGeom prst="rect">
            <a:avLst/>
          </a:prstGeom>
        </p:spPr>
      </p:pic>
      <p:pic>
        <p:nvPicPr>
          <p:cNvPr id="20" name="Graphic 19" descr="Remote learning language outline">
            <a:extLst>
              <a:ext uri="{FF2B5EF4-FFF2-40B4-BE49-F238E27FC236}">
                <a16:creationId xmlns:a16="http://schemas.microsoft.com/office/drawing/2014/main" id="{38961174-3C2F-2E4D-F2C0-9992DF6FF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32355" y="3099752"/>
            <a:ext cx="653649" cy="653649"/>
          </a:xfrm>
          <a:prstGeom prst="rect">
            <a:avLst/>
          </a:prstGeom>
        </p:spPr>
      </p:pic>
      <p:pic>
        <p:nvPicPr>
          <p:cNvPr id="22" name="Graphic 21" descr="Factory outline">
            <a:extLst>
              <a:ext uri="{FF2B5EF4-FFF2-40B4-BE49-F238E27FC236}">
                <a16:creationId xmlns:a16="http://schemas.microsoft.com/office/drawing/2014/main" id="{2F86AF0E-F4F4-9854-B441-D6D7175596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61507" y="2055872"/>
            <a:ext cx="572474" cy="572474"/>
          </a:xfrm>
          <a:prstGeom prst="rect">
            <a:avLst/>
          </a:prstGeom>
        </p:spPr>
      </p:pic>
      <p:pic>
        <p:nvPicPr>
          <p:cNvPr id="24" name="Graphic 23" descr="Venn diagram outline">
            <a:extLst>
              <a:ext uri="{FF2B5EF4-FFF2-40B4-BE49-F238E27FC236}">
                <a16:creationId xmlns:a16="http://schemas.microsoft.com/office/drawing/2014/main" id="{98C9E88B-6D96-68C9-CDD9-0CA83644290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34954" y="5137757"/>
            <a:ext cx="615996" cy="615996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FF5D2F6-606B-72C4-B8E5-52BB763AF13C}"/>
              </a:ext>
            </a:extLst>
          </p:cNvPr>
          <p:cNvSpPr txBox="1">
            <a:spLocks/>
          </p:cNvSpPr>
          <p:nvPr/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280494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/>
      <p:bldP spid="114" grpId="0"/>
      <p:bldP spid="115" grpId="0"/>
      <p:bldP spid="1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EA6B0E-0645-193E-FA74-0A204BBCA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11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EA6B0E-0645-193E-FA74-0A204BBCA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BFED8D-6F52-76E1-F389-73CF04E11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5DC49D-055B-FEC5-D101-3C15B6370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Appendix</a:t>
            </a:r>
            <a:endParaRPr lang="en-GB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411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312DA8-88E5-6911-1D4B-B80B89B93C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072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The dashboard provides an interactive overview of key OECD economic indicators via targeted visualization for in-depth analysis of various metr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- Overvie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</p:txBody>
      </p:sp>
      <p:pic>
        <p:nvPicPr>
          <p:cNvPr id="9" name="Content Placeholder 1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A0FD665-2292-8060-89ED-17B2D1B384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2" y="2422936"/>
            <a:ext cx="5610923" cy="31567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1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p Visualization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ECD countries with bubble sizes representing specific metrics like GDP or population are displayed in a map forma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49327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y Indicators Overview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OECD GDP in trillions; Average OECD GDP per capita in thousands; Total OECD Population in billions are shown as the key metric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499338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debar Navigation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s for navigating different data dimensions such as Overview, Economics, Employment &amp; Education, Quality of Life, Individual Outcomes, and Measures of Well-being are enabled for easy handling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697443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ity and Data Exploration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clicking on map elements for more data, tab selection for varied views, and potential filtering, sorting, and detailed data pop-ups on hover are embedded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228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6673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The Power BI dashboard presents key aggregate economic figures alongside detailed bar charts comparing various economic indicators across OECD count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- Economic Indicato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2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ggregated Data Display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key figures provide a quick statistical summary of the data, helpful for understanding the overall distribution across OECD countrie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576026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r Chart Visual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use of a bar charts for various economic indicators effectively illustrates comparative statistic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395264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rehensive Country Overview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spective distributions per OECD country are shown in order to facilitate comparis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266002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tensive Selection of Indicator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clicking on map elements for more data, tab selection for varied views, and potential filtering, sorting, and detailed data pop-ups on hover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119BAD-3FE2-7A7C-61C7-4DC68A5640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DE1D3D-59F3-B279-1660-7A198C587C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551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65610000000000012754E+00&quot;&gt;&lt;m_msothmcolidx val=&quot;0&quot;/&gt;&lt;m_rgb r=&quot;FB&quot; g=&quot;BB&quot; b=&quot;74&quot;/&gt;&lt;/elem&gt;&lt;elem m_fUsage=&quot;9.00000000000000022204E-01&quot;&gt;&lt;m_msothmcolidx val=&quot;0&quot;/&gt;&lt;m_rgb r=&quot;F2&quot; g=&quot;F2&quot; b=&quot;F2&quot;/&gt;&lt;/elem&gt;&lt;elem m_fUsage=&quot;8.10000000000000053291E-01&quot;&gt;&lt;m_msothmcolidx val=&quot;0&quot;/&gt;&lt;m_rgb r=&quot;FE&quot; g=&quot;E8&quot; b=&quot;D1&quot;/&gt;&lt;/elem&gt;&lt;elem m_fUsage=&quot;7.29000000000000092371E-01&quot;&gt;&lt;m_msothmcolidx val=&quot;0&quot;/&gt;&lt;m_rgb r=&quot;FC&quot; g=&quot;D1&quot; b=&quot;A3&quot;/&gt;&lt;/elem&gt;&lt;elem m_fUsage=&quot;5.90490000000000181402E-01&quot;&gt;&lt;m_msothmcolidx val=&quot;0&quot;/&gt;&lt;m_rgb r=&quot;E2&quot; g=&quot;C3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3A3838"/>
      </a:dk2>
      <a:lt2>
        <a:srgbClr val="E7E6E6"/>
      </a:lt2>
      <a:accent1>
        <a:srgbClr val="083979"/>
      </a:accent1>
      <a:accent2>
        <a:srgbClr val="084F99"/>
      </a:accent2>
      <a:accent3>
        <a:srgbClr val="77B5D9"/>
      </a:accent3>
      <a:accent4>
        <a:srgbClr val="C9DDF0"/>
      </a:accent4>
      <a:accent5>
        <a:srgbClr val="6EBB39"/>
      </a:accent5>
      <a:accent6>
        <a:srgbClr val="A5D981"/>
      </a:accent6>
      <a:hlink>
        <a:srgbClr val="B1AEAE"/>
      </a:hlink>
      <a:folHlink>
        <a:srgbClr val="8A8686"/>
      </a:folHlink>
    </a:clrScheme>
    <a:fontScheme name="Custom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anchor="ctr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a3911e-084d-4441-95c6-84219ac3dc47">
      <Terms xmlns="http://schemas.microsoft.com/office/infopath/2007/PartnerControls"/>
    </lcf76f155ced4ddcb4097134ff3c332f>
    <TaxCatchAll xmlns="9fe362d6-ae50-4ee6-ae7e-7e9aca4ffa8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D1E0772DCE5B74BB5E0D99BBE55DAD4" ma:contentTypeVersion="11" ma:contentTypeDescription="Ein neues Dokument erstellen." ma:contentTypeScope="" ma:versionID="0821a41dbf804085aecde6b7340dfc2b">
  <xsd:schema xmlns:xsd="http://www.w3.org/2001/XMLSchema" xmlns:xs="http://www.w3.org/2001/XMLSchema" xmlns:p="http://schemas.microsoft.com/office/2006/metadata/properties" xmlns:ns2="78a3911e-084d-4441-95c6-84219ac3dc47" xmlns:ns3="9fe362d6-ae50-4ee6-ae7e-7e9aca4ffa8b" targetNamespace="http://schemas.microsoft.com/office/2006/metadata/properties" ma:root="true" ma:fieldsID="6c3a1dff609dfe34c589f1115cf79480" ns2:_="" ns3:_="">
    <xsd:import namespace="78a3911e-084d-4441-95c6-84219ac3dc47"/>
    <xsd:import namespace="9fe362d6-ae50-4ee6-ae7e-7e9aca4ffa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a3911e-084d-4441-95c6-84219ac3dc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c6159e26-e387-4955-8c38-302e604e49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e362d6-ae50-4ee6-ae7e-7e9aca4ffa8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343ae82-2ef3-464b-935a-c046918ba7ff}" ma:internalName="TaxCatchAll" ma:showField="CatchAllData" ma:web="9fe362d6-ae50-4ee6-ae7e-7e9aca4ffa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99481A-4F34-4BAE-AD75-7DC30678CD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418E9B6-F841-4000-B19D-2EFC72705298}">
  <ds:schemaRefs>
    <ds:schemaRef ds:uri="78a3911e-084d-4441-95c6-84219ac3dc47"/>
    <ds:schemaRef ds:uri="9fe362d6-ae50-4ee6-ae7e-7e9aca4ffa8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5B2F20B-9C68-460C-A42D-8897E78065C9}">
  <ds:schemaRefs>
    <ds:schemaRef ds:uri="78a3911e-084d-4441-95c6-84219ac3dc47"/>
    <ds:schemaRef ds:uri="9fe362d6-ae50-4ee6-ae7e-7e9aca4ffa8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1487</Words>
  <Application>Microsoft Office PowerPoint</Application>
  <PresentationFormat>Widescreen</PresentationFormat>
  <Paragraphs>220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Roboto Bold</vt:lpstr>
      <vt:lpstr>Arial</vt:lpstr>
      <vt:lpstr>Calibri</vt:lpstr>
      <vt:lpstr>Ubuntu</vt:lpstr>
      <vt:lpstr>Verdana</vt:lpstr>
      <vt:lpstr>Office Theme</vt:lpstr>
      <vt:lpstr>think-cell Slide</vt:lpstr>
      <vt:lpstr>OECD Well-Being Data</vt:lpstr>
      <vt:lpstr>Fostering a deep understanding of your dataset and extracting meaningful conclusions using Power BI's dynamic reporting features</vt:lpstr>
      <vt:lpstr>The tailored and structured data is pivotal for conducting in-depth analytical research that leads to insightful discoveries</vt:lpstr>
      <vt:lpstr>A broad-scale dataset analysis dissects 34 critical economic and well-being indicators, offering a comparative view across OECD countries</vt:lpstr>
      <vt:lpstr>By analysing and visualising the data set, a series of insightful discoveries have emerged</vt:lpstr>
      <vt:lpstr>The data analysis across 3 main areas yielded significant findings and a comprehensive representation of key data within the OECD countries</vt:lpstr>
      <vt:lpstr>Appendix</vt:lpstr>
      <vt:lpstr>The dashboard provides an interactive overview of key OECD economic indicators via targeted visualization for in-depth analysis of various metrics</vt:lpstr>
      <vt:lpstr>The Power BI dashboard presents key aggregate economic figures alongside detailed bar charts comparing various economic indicators across OECD countries</vt:lpstr>
      <vt:lpstr>The slide juxtaposes employment earnings against education levels in OECD countries, using bar charts and statistical summaries to highlight trends</vt:lpstr>
      <vt:lpstr>Focusing on OECD countries, this slide offers a snapshot of public safety and health metrics, with interactive charts that highlight extremes in the data</vt:lpstr>
      <vt:lpstr>A detailed cross-analysis of life quality indicators reveals their positive or negative correlations with personal earnings and life expectancy in OECD n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iegler, Caroline</dc:creator>
  <cp:lastModifiedBy>Ziegler, Caroline</cp:lastModifiedBy>
  <cp:revision>2</cp:revision>
  <cp:lastPrinted>2024-02-06T21:17:16Z</cp:lastPrinted>
  <dcterms:created xsi:type="dcterms:W3CDTF">2023-12-28T11:39:12Z</dcterms:created>
  <dcterms:modified xsi:type="dcterms:W3CDTF">2024-03-19T21:3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1E0772DCE5B74BB5E0D99BBE55DAD4</vt:lpwstr>
  </property>
  <property fmtid="{D5CDD505-2E9C-101B-9397-08002B2CF9AE}" pid="3" name="MediaServiceImageTags">
    <vt:lpwstr/>
  </property>
</Properties>
</file>